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Lst>
  <p:notesMasterIdLst>
    <p:notesMasterId r:id="rId33"/>
  </p:notesMasterIdLst>
  <p:handoutMasterIdLst>
    <p:handoutMasterId r:id="rId34"/>
  </p:handoutMasterIdLst>
  <p:sldIdLst>
    <p:sldId id="1408" r:id="rId2"/>
    <p:sldId id="1411" r:id="rId3"/>
    <p:sldId id="1412" r:id="rId4"/>
    <p:sldId id="1439" r:id="rId5"/>
    <p:sldId id="1413" r:id="rId6"/>
    <p:sldId id="1414" r:id="rId7"/>
    <p:sldId id="1415" r:id="rId8"/>
    <p:sldId id="1416" r:id="rId9"/>
    <p:sldId id="1417" r:id="rId10"/>
    <p:sldId id="1418" r:id="rId11"/>
    <p:sldId id="1419" r:id="rId12"/>
    <p:sldId id="1420" r:id="rId13"/>
    <p:sldId id="1421" r:id="rId14"/>
    <p:sldId id="1422" r:id="rId15"/>
    <p:sldId id="1423" r:id="rId16"/>
    <p:sldId id="1425" r:id="rId17"/>
    <p:sldId id="1426" r:id="rId18"/>
    <p:sldId id="1427" r:id="rId19"/>
    <p:sldId id="1428" r:id="rId20"/>
    <p:sldId id="1429" r:id="rId21"/>
    <p:sldId id="1430" r:id="rId22"/>
    <p:sldId id="1431" r:id="rId23"/>
    <p:sldId id="1432" r:id="rId24"/>
    <p:sldId id="1433" r:id="rId25"/>
    <p:sldId id="1434" r:id="rId26"/>
    <p:sldId id="1435" r:id="rId27"/>
    <p:sldId id="1442" r:id="rId28"/>
    <p:sldId id="1440" r:id="rId29"/>
    <p:sldId id="1436" r:id="rId30"/>
    <p:sldId id="1441" r:id="rId31"/>
    <p:sldId id="1326" r:id="rId3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gnite 2016 Template Light" id="{A073DAE3-B461-442F-A3D3-6642BD875E45}">
          <p14:sldIdLst>
            <p14:sldId id="1408"/>
            <p14:sldId id="1411"/>
            <p14:sldId id="1412"/>
            <p14:sldId id="1439"/>
            <p14:sldId id="1413"/>
            <p14:sldId id="1414"/>
            <p14:sldId id="1415"/>
            <p14:sldId id="1416"/>
            <p14:sldId id="1417"/>
            <p14:sldId id="1418"/>
            <p14:sldId id="1419"/>
            <p14:sldId id="1420"/>
            <p14:sldId id="1421"/>
            <p14:sldId id="1422"/>
            <p14:sldId id="1423"/>
            <p14:sldId id="1425"/>
            <p14:sldId id="1426"/>
            <p14:sldId id="1427"/>
            <p14:sldId id="1428"/>
            <p14:sldId id="1429"/>
            <p14:sldId id="1430"/>
            <p14:sldId id="1431"/>
            <p14:sldId id="1432"/>
            <p14:sldId id="1433"/>
            <p14:sldId id="1434"/>
            <p14:sldId id="1435"/>
            <p14:sldId id="1442"/>
            <p14:sldId id="1440"/>
            <p14:sldId id="1436"/>
            <p14:sldId id="1441"/>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a:srgbClr val="505050"/>
    <a:srgbClr val="FFB900"/>
    <a:srgbClr val="292929"/>
    <a:srgbClr val="FFFFFF"/>
    <a:srgbClr val="BAD80A"/>
    <a:srgbClr val="A80000"/>
    <a:srgbClr val="5C2D91"/>
    <a:srgbClr val="0078D7"/>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69436" autoAdjust="0"/>
  </p:normalViewPr>
  <p:slideViewPr>
    <p:cSldViewPr>
      <p:cViewPr varScale="1">
        <p:scale>
          <a:sx n="73" d="100"/>
          <a:sy n="73" d="100"/>
        </p:scale>
        <p:origin x="1158"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1122"/>
    </p:cViewPr>
  </p:sorterViewPr>
  <p:notesViewPr>
    <p:cSldViewPr showGuides="1">
      <p:cViewPr varScale="1">
        <p:scale>
          <a:sx n="73" d="100"/>
          <a:sy n="73" d="100"/>
        </p:scale>
        <p:origin x="3174" y="5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0/28/2016 1:0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0/28/2016 1:0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1169798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6 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1538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8/2016 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070458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22B3E36-5CE0-4CB7-82DE-38A88C71BFA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Footer Placeholder 5"/>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b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
        <p:nvSpPr>
          <p:cNvPr id="8" name="Header Placeholder 7"/>
          <p:cNvSpPr>
            <a:spLocks noGrp="1"/>
          </p:cNvSpPr>
          <p:nvPr>
            <p:ph type="hd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ech Ready 15</a:t>
            </a:r>
          </a:p>
        </p:txBody>
      </p:sp>
    </p:spTree>
    <p:extLst>
      <p:ext uri="{BB962C8B-B14F-4D97-AF65-F5344CB8AC3E}">
        <p14:creationId xmlns:p14="http://schemas.microsoft.com/office/powerpoint/2010/main" val="4122353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10/28/2016 1:0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
        <p:nvSpPr>
          <p:cNvPr id="10" name="Date Placeholder 9"/>
          <p:cNvSpPr>
            <a:spLocks noGrp="1"/>
          </p:cNvSpPr>
          <p:nvPr>
            <p:ph type="dt" idx="13"/>
          </p:nvPr>
        </p:nvSpPr>
        <p:spPr/>
        <p:txBody>
          <a:bodyPr/>
          <a:lstStyle/>
          <a:p>
            <a:fld id="{495562DE-B93B-4FA5-ACB5-9EF3421E072B}" type="datetime8">
              <a:rPr lang="en-US" smtClean="0"/>
              <a:t>10/28/2016 1:02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146200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2000" y="1200150"/>
            <a:ext cx="3668713" cy="20637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rPr>
              <a:t>Microsoft Confidential NDA Only</a:t>
            </a:r>
          </a:p>
        </p:txBody>
      </p:sp>
      <p:sp>
        <p:nvSpPr>
          <p:cNvPr id="5" name="Footer Placeholder 4"/>
          <p:cNvSpPr>
            <a:spLocks noGrp="1"/>
          </p:cNvSpPr>
          <p:nvPr>
            <p:ph type="ftr" sz="quarter" idx="11"/>
          </p:nvPr>
        </p:nvSpPr>
        <p:spPr/>
        <p:txBody>
          <a:bodyPr/>
          <a:lstStyle/>
          <a:p>
            <a:pPr marL="0" marR="0" lvl="0" indent="0" defTabSz="9861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a:t>
            </a:r>
          </a:p>
          <a:p>
            <a:pPr marL="0" marR="0" lvl="0" indent="0" defTabSz="9861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7381B078-E73F-4C08-B2CF-8A477D8F52FD}" type="datetime1">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66612" eaLnBrk="1" fontAlgn="auto" latinLnBrk="0" hangingPunct="1">
                <a:lnSpc>
                  <a:spcPct val="100000"/>
                </a:lnSpc>
                <a:spcBef>
                  <a:spcPts val="0"/>
                </a:spcBef>
                <a:spcAft>
                  <a:spcPts val="0"/>
                </a:spcAft>
                <a:buClrTx/>
                <a:buSzTx/>
                <a:buFontTx/>
                <a:buNone/>
                <a:tabLst/>
                <a:defRPr/>
              </a:pPr>
              <a:t>10/28/2016</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7" name="Slide Number Placeholder 6"/>
          <p:cNvSpPr>
            <a:spLocks noGrp="1"/>
          </p:cNvSpPr>
          <p:nvPr>
            <p:ph type="sldNum" sz="quarter" idx="13"/>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66612"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4231919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453890"/>
            <a:ext cx="5852160" cy="4320540"/>
          </a:xfrm>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577F15-4695-43CD-83B0-974BBDDCBE58}" type="datetime1">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138929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8/2016 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041094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8/2016 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871233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8/2016 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64300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8/2016 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4237563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8/2016 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925001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1.w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_Walk_i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ext uri="{D42A27DB-BD31-4B8C-83A1-F6EECF244321}">
                <p14:modId xmlns:p14="http://schemas.microsoft.com/office/powerpoint/2010/main" val="1331019803"/>
              </p:ext>
            </p:extLst>
          </p:nvPr>
        </p:nvGraphicFramePr>
        <p:xfrm>
          <a:off x="0" y="0"/>
          <a:ext cx="12435839" cy="5999384"/>
        </p:xfrm>
        <a:graphic>
          <a:graphicData uri="http://schemas.openxmlformats.org/presentationml/2006/ole">
            <mc:AlternateContent xmlns:mc="http://schemas.openxmlformats.org/markup-compatibility/2006">
              <mc:Choice xmlns:v="urn:schemas-microsoft-com:vml" Requires="v">
                <p:oleObj spid="_x0000_s2098"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0" y="0"/>
                        <a:ext cx="12435839" cy="5999384"/>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385589" y="6233566"/>
            <a:ext cx="1456418" cy="310896"/>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3" name="TextBox 2"/>
          <p:cNvSpPr txBox="1"/>
          <p:nvPr userDrawn="1"/>
        </p:nvSpPr>
        <p:spPr>
          <a:xfrm>
            <a:off x="241573" y="1913086"/>
            <a:ext cx="8568952" cy="1264962"/>
          </a:xfrm>
          <a:prstGeom prst="rect">
            <a:avLst/>
          </a:prstGeom>
          <a:noFill/>
        </p:spPr>
        <p:txBody>
          <a:bodyPr wrap="square" lIns="182880" tIns="146304" rIns="182880" bIns="146304" rtlCol="0">
            <a:spAutoFit/>
          </a:bodyPr>
          <a:lstStyle/>
          <a:p>
            <a:pPr>
              <a:lnSpc>
                <a:spcPct val="90000"/>
              </a:lnSpc>
              <a:spcAft>
                <a:spcPts val="600"/>
              </a:spcAft>
            </a:pPr>
            <a:r>
              <a:rPr lang="en-NZ" sz="7000" dirty="0">
                <a:solidFill>
                  <a:schemeClr val="bg1"/>
                </a:solidFill>
                <a:latin typeface="+mn-lt"/>
              </a:rPr>
              <a:t>Microsoft Ignite</a:t>
            </a:r>
            <a:r>
              <a:rPr lang="en-NZ" sz="7000" baseline="0" dirty="0">
                <a:solidFill>
                  <a:schemeClr val="bg1"/>
                </a:solidFill>
                <a:latin typeface="+mn-lt"/>
              </a:rPr>
              <a:t> NZ</a:t>
            </a:r>
            <a:endParaRPr lang="en-NZ" sz="7000" dirty="0">
              <a:solidFill>
                <a:schemeClr val="bg1"/>
              </a:solidFill>
              <a:latin typeface="+mn-lt"/>
            </a:endParaRPr>
          </a:p>
        </p:txBody>
      </p:sp>
      <p:sp>
        <p:nvSpPr>
          <p:cNvPr id="5" name="TextBox 4"/>
          <p:cNvSpPr txBox="1"/>
          <p:nvPr userDrawn="1"/>
        </p:nvSpPr>
        <p:spPr>
          <a:xfrm>
            <a:off x="241573" y="2921198"/>
            <a:ext cx="8208912" cy="1480405"/>
          </a:xfrm>
          <a:prstGeom prst="rect">
            <a:avLst/>
          </a:prstGeom>
          <a:noFill/>
        </p:spPr>
        <p:txBody>
          <a:bodyPr wrap="square" lIns="182880" tIns="146304" rIns="182880" bIns="146304" rtlCol="0">
            <a:spAutoFit/>
          </a:bodyPr>
          <a:lstStyle/>
          <a:p>
            <a:pPr>
              <a:lnSpc>
                <a:spcPct val="90000"/>
              </a:lnSpc>
              <a:spcAft>
                <a:spcPts val="600"/>
              </a:spcAft>
            </a:pPr>
            <a:r>
              <a:rPr lang="en-NZ" sz="4000" dirty="0">
                <a:solidFill>
                  <a:schemeClr val="bg1"/>
                </a:solidFill>
                <a:latin typeface="+mn-lt"/>
              </a:rPr>
              <a:t>25-28</a:t>
            </a:r>
            <a:r>
              <a:rPr lang="en-NZ" sz="4000" baseline="0" dirty="0">
                <a:solidFill>
                  <a:schemeClr val="bg1"/>
                </a:solidFill>
                <a:latin typeface="+mn-lt"/>
              </a:rPr>
              <a:t> October 2016</a:t>
            </a:r>
          </a:p>
          <a:p>
            <a:pPr>
              <a:lnSpc>
                <a:spcPct val="90000"/>
              </a:lnSpc>
              <a:spcAft>
                <a:spcPts val="600"/>
              </a:spcAft>
            </a:pPr>
            <a:r>
              <a:rPr lang="en-NZ" sz="4000" baseline="0" dirty="0">
                <a:solidFill>
                  <a:schemeClr val="bg1"/>
                </a:solidFill>
                <a:latin typeface="+mn-lt"/>
              </a:rPr>
              <a:t>SKYCITY, Auckland</a:t>
            </a:r>
            <a:endParaRPr lang="en-NZ" sz="4000" dirty="0">
              <a:solidFill>
                <a:schemeClr val="bg1"/>
              </a:solidFill>
              <a:latin typeface="+mn-lt"/>
            </a:endParaRPr>
          </a:p>
        </p:txBody>
      </p:sp>
      <p:pic>
        <p:nvPicPr>
          <p:cNvPr id="8" name="Picture 7"/>
          <p:cNvPicPr>
            <a:picLocks noChangeAspect="1"/>
          </p:cNvPicPr>
          <p:nvPr userDrawn="1"/>
        </p:nvPicPr>
        <p:blipFill>
          <a:blip r:embed="rId7"/>
          <a:stretch>
            <a:fillRect/>
          </a:stretch>
        </p:blipFill>
        <p:spPr>
          <a:xfrm>
            <a:off x="31410" y="-234182"/>
            <a:ext cx="12405065" cy="2205345"/>
          </a:xfrm>
          <a:prstGeom prst="rect">
            <a:avLst/>
          </a:prstGeom>
        </p:spPr>
      </p:pic>
    </p:spTree>
    <p:extLst>
      <p:ext uri="{BB962C8B-B14F-4D97-AF65-F5344CB8AC3E}">
        <p14:creationId xmlns:p14="http://schemas.microsoft.com/office/powerpoint/2010/main" val="215290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ext uri="{D42A27DB-BD31-4B8C-83A1-F6EECF244321}">
                <p14:modId xmlns:p14="http://schemas.microsoft.com/office/powerpoint/2010/main" val="1740786856"/>
              </p:ext>
            </p:extLst>
          </p:nvPr>
        </p:nvGraphicFramePr>
        <p:xfrm>
          <a:off x="636" y="0"/>
          <a:ext cx="12435839" cy="6080284"/>
        </p:xfrm>
        <a:graphic>
          <a:graphicData uri="http://schemas.openxmlformats.org/presentationml/2006/ole">
            <mc:AlternateContent xmlns:mc="http://schemas.openxmlformats.org/markup-compatibility/2006">
              <mc:Choice xmlns:v="urn:schemas-microsoft-com:vml" Requires="v">
                <p:oleObj spid="_x0000_s1075" name="Image" r:id="rId3" imgW="24380640" imgH="15238080" progId="Photoshop.Image.12">
                  <p:embed/>
                </p:oleObj>
              </mc:Choice>
              <mc:Fallback>
                <p:oleObj name="Image" r:id="rId3" imgW="24380640" imgH="15238080" progId="Photoshop.Image.12">
                  <p:embed/>
                  <p:pic>
                    <p:nvPicPr>
                      <p:cNvPr id="0" name=""/>
                      <p:cNvPicPr/>
                      <p:nvPr/>
                    </p:nvPicPr>
                    <p:blipFill>
                      <a:blip r:embed="rId4"/>
                      <a:stretch>
                        <a:fillRect/>
                      </a:stretch>
                    </p:blipFill>
                    <p:spPr>
                      <a:xfrm>
                        <a:off x="636" y="0"/>
                        <a:ext cx="12435839" cy="6080284"/>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457597" y="6285063"/>
            <a:ext cx="1456418" cy="310896"/>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87481" y="182554"/>
            <a:ext cx="11672947" cy="2119277"/>
          </a:xfrm>
          <a:noFill/>
        </p:spPr>
        <p:txBody>
          <a:bodyPr lIns="146304" tIns="91440" rIns="146304" bIns="91440" anchor="t" anchorCtr="0"/>
          <a:lstStyle>
            <a:lvl1pPr>
              <a:defRPr sz="6000" spc="-100" baseline="0">
                <a:solidFill>
                  <a:schemeClr val="bg1"/>
                </a:soli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003" y="3497262"/>
            <a:ext cx="7640499" cy="829612"/>
          </a:xfrm>
          <a:no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a:t>Speaker Name</a:t>
            </a:r>
          </a:p>
        </p:txBody>
      </p:sp>
      <p:sp>
        <p:nvSpPr>
          <p:cNvPr id="12" name="Text Placeholder 4"/>
          <p:cNvSpPr>
            <a:spLocks noGrp="1"/>
          </p:cNvSpPr>
          <p:nvPr>
            <p:ph type="body" sz="quarter" idx="13" hasCustomPrompt="1"/>
          </p:nvPr>
        </p:nvSpPr>
        <p:spPr bwMode="white">
          <a:xfrm>
            <a:off x="287481" y="2506609"/>
            <a:ext cx="7382067" cy="888264"/>
          </a:xfrm>
          <a:no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a:t>Session Code</a:t>
            </a:r>
          </a:p>
        </p:txBody>
      </p:sp>
    </p:spTree>
    <p:extLst>
      <p:ext uri="{BB962C8B-B14F-4D97-AF65-F5344CB8AC3E}">
        <p14:creationId xmlns:p14="http://schemas.microsoft.com/office/powerpoint/2010/main" val="168501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0" y="1212851"/>
            <a:ext cx="11887200" cy="2108386"/>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40" y="295277"/>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6905506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434388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41"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 id="2147484343" r:id="rId23"/>
    <p:sldLayoutId id="2147484344"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2.emf"/><Relationship Id="rId2" Type="http://schemas.openxmlformats.org/officeDocument/2006/relationships/image" Target="../media/image9.emf"/><Relationship Id="rId1" Type="http://schemas.openxmlformats.org/officeDocument/2006/relationships/slideLayout" Target="../slideLayouts/slideLayout4.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hyperlink" Target="https://azure.microsoft.com/en-us/documentation/articles/active-directory-ds-comparison" TargetMode="Externa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1.xml"/><Relationship Id="rId1" Type="http://schemas.openxmlformats.org/officeDocument/2006/relationships/tags" Target="../tags/tag2.xml"/><Relationship Id="rId4" Type="http://schemas.openxmlformats.org/officeDocument/2006/relationships/hyperlink" Target="https://azure.microsoft.com/en-us/documentation/articles/active-directory-azureadjoin-overview/"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image" Target="../media/image11.png"/><Relationship Id="rId7" Type="http://schemas.openxmlformats.org/officeDocument/2006/relationships/image" Target="../media/image13.emf"/><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microsoft.com/office/2007/relationships/hdphoto" Target="../media/hdphoto2.wdp"/><Relationship Id="rId5" Type="http://schemas.openxmlformats.org/officeDocument/2006/relationships/image" Target="../media/image12.png"/><Relationship Id="rId10" Type="http://schemas.openxmlformats.org/officeDocument/2006/relationships/image" Target="../media/image9.emf"/><Relationship Id="rId4" Type="http://schemas.microsoft.com/office/2007/relationships/hdphoto" Target="../media/hdphoto1.wdp"/><Relationship Id="rId9" Type="http://schemas.openxmlformats.org/officeDocument/2006/relationships/image" Target="../media/image15.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533" y="1974535"/>
            <a:ext cx="9143936" cy="1828786"/>
          </a:xfrm>
        </p:spPr>
        <p:txBody>
          <a:bodyPr/>
          <a:lstStyle/>
          <a:p>
            <a:r>
              <a:rPr lang="en-NZ" sz="8000" dirty="0">
                <a:latin typeface="+mn-lt"/>
              </a:rPr>
              <a:t>Microsoft Ignite NZ</a:t>
            </a:r>
          </a:p>
        </p:txBody>
      </p:sp>
      <p:sp>
        <p:nvSpPr>
          <p:cNvPr id="4" name="TextBox 3"/>
          <p:cNvSpPr txBox="1"/>
          <p:nvPr/>
        </p:nvSpPr>
        <p:spPr>
          <a:xfrm>
            <a:off x="259500" y="3083633"/>
            <a:ext cx="8208912" cy="1480405"/>
          </a:xfrm>
          <a:prstGeom prst="rect">
            <a:avLst/>
          </a:prstGeom>
          <a:noFill/>
        </p:spPr>
        <p:txBody>
          <a:bodyPr wrap="square" lIns="182880" tIns="146304" rIns="182880" bIns="146304" rtlCol="0">
            <a:spAutoFit/>
          </a:bodyPr>
          <a:lstStyle/>
          <a:p>
            <a:pPr>
              <a:lnSpc>
                <a:spcPct val="90000"/>
              </a:lnSpc>
              <a:spcAft>
                <a:spcPts val="600"/>
              </a:spcAft>
            </a:pPr>
            <a:r>
              <a:rPr lang="en-NZ" sz="4000" dirty="0">
                <a:solidFill>
                  <a:schemeClr val="bg1"/>
                </a:solidFill>
                <a:latin typeface="+mn-lt"/>
              </a:rPr>
              <a:t>25-28</a:t>
            </a:r>
            <a:r>
              <a:rPr lang="en-NZ" sz="4000" baseline="0" dirty="0">
                <a:solidFill>
                  <a:schemeClr val="bg1"/>
                </a:solidFill>
                <a:latin typeface="+mn-lt"/>
              </a:rPr>
              <a:t> October 2016</a:t>
            </a:r>
          </a:p>
          <a:p>
            <a:pPr>
              <a:lnSpc>
                <a:spcPct val="90000"/>
              </a:lnSpc>
              <a:spcAft>
                <a:spcPts val="600"/>
              </a:spcAft>
            </a:pPr>
            <a:r>
              <a:rPr lang="en-NZ" sz="4000" baseline="0" dirty="0">
                <a:solidFill>
                  <a:schemeClr val="bg1"/>
                </a:solidFill>
                <a:latin typeface="+mn-lt"/>
              </a:rPr>
              <a:t>SKYCITY, Auckland</a:t>
            </a:r>
            <a:endParaRPr lang="en-NZ" sz="4000" dirty="0">
              <a:solidFill>
                <a:schemeClr val="bg1"/>
              </a:solidFill>
              <a:latin typeface="+mn-lt"/>
            </a:endParaRPr>
          </a:p>
        </p:txBody>
      </p:sp>
      <p:pic>
        <p:nvPicPr>
          <p:cNvPr id="3" name="Picture 2"/>
          <p:cNvPicPr>
            <a:picLocks noChangeAspect="1"/>
          </p:cNvPicPr>
          <p:nvPr/>
        </p:nvPicPr>
        <p:blipFill>
          <a:blip r:embed="rId2"/>
          <a:stretch>
            <a:fillRect/>
          </a:stretch>
        </p:blipFill>
        <p:spPr>
          <a:xfrm>
            <a:off x="0" y="-205224"/>
            <a:ext cx="12436475" cy="2210929"/>
          </a:xfrm>
          <a:prstGeom prst="rect">
            <a:avLst/>
          </a:prstGeom>
        </p:spPr>
      </p:pic>
    </p:spTree>
    <p:extLst>
      <p:ext uri="{BB962C8B-B14F-4D97-AF65-F5344CB8AC3E}">
        <p14:creationId xmlns:p14="http://schemas.microsoft.com/office/powerpoint/2010/main" val="219345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68262"/>
            <a:ext cx="11889564" cy="917575"/>
          </a:xfrm>
        </p:spPr>
        <p:txBody>
          <a:bodyPr/>
          <a:lstStyle/>
          <a:p>
            <a:r>
              <a:rPr lang="en-US" dirty="0"/>
              <a:t>Imagine</a:t>
            </a:r>
            <a:r>
              <a:rPr lang="en-US" sz="4000" dirty="0">
                <a:solidFill>
                  <a:schemeClr val="accent1"/>
                </a:solidFill>
              </a:rPr>
              <a:t> </a:t>
            </a:r>
            <a:r>
              <a:rPr lang="en-US" dirty="0"/>
              <a:t>a simpler alternative</a:t>
            </a:r>
          </a:p>
        </p:txBody>
      </p:sp>
      <p:sp>
        <p:nvSpPr>
          <p:cNvPr id="3" name="TextBox 2"/>
          <p:cNvSpPr txBox="1"/>
          <p:nvPr/>
        </p:nvSpPr>
        <p:spPr>
          <a:xfrm>
            <a:off x="274637" y="2049462"/>
            <a:ext cx="4572000" cy="3404009"/>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imple </a:t>
            </a:r>
          </a:p>
          <a:p>
            <a:pPr marL="0" marR="0" lvl="0" indent="0" defTabSz="914400" eaLnBrk="1" fontAlgn="auto" latinLnBrk="0" hangingPunct="1">
              <a:lnSpc>
                <a:spcPct val="90000"/>
              </a:lnSpc>
              <a:spcBef>
                <a:spcPts val="0"/>
              </a:spcBef>
              <a:spcAft>
                <a:spcPts val="600"/>
              </a:spcAft>
              <a:buClrTx/>
              <a:buSzTx/>
              <a:buFontTx/>
              <a:buNone/>
              <a:tabLst/>
              <a:defRPr/>
            </a:pPr>
            <a:endParaRPr lang="en-US" sz="2000" b="1" kern="0" dirty="0">
              <a:gradFill>
                <a:gsLst>
                  <a:gs pos="2917">
                    <a:schemeClr val="tx1"/>
                  </a:gs>
                  <a:gs pos="30000">
                    <a:schemeClr val="tx1"/>
                  </a:gs>
                </a:gsLst>
                <a:lin ang="5400000" scaled="0"/>
              </a:gradFill>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lang="en-US" sz="2000" b="1" kern="0" dirty="0">
              <a:gradFill>
                <a:gsLst>
                  <a:gs pos="2917">
                    <a:schemeClr val="tx1"/>
                  </a:gs>
                  <a:gs pos="30000">
                    <a:schemeClr val="tx1"/>
                  </a:gs>
                </a:gsLst>
                <a:lin ang="5400000" scaled="0"/>
              </a:gradFill>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lang="en-US" sz="2000" b="1" kern="0" dirty="0">
              <a:gradFill>
                <a:gsLst>
                  <a:gs pos="2917">
                    <a:schemeClr val="tx1"/>
                  </a:gs>
                  <a:gs pos="30000">
                    <a:schemeClr val="tx1"/>
                  </a:gs>
                </a:gsLst>
                <a:lin ang="5400000" scaled="0"/>
              </a:gradFill>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mpatible</a:t>
            </a:r>
          </a:p>
        </p:txBody>
      </p:sp>
      <p:sp>
        <p:nvSpPr>
          <p:cNvPr id="13" name="TextBox 12"/>
          <p:cNvSpPr txBox="1"/>
          <p:nvPr/>
        </p:nvSpPr>
        <p:spPr>
          <a:xfrm>
            <a:off x="8047037" y="2049462"/>
            <a:ext cx="4193364" cy="3757952"/>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gradFill>
                  <a:gsLst>
                    <a:gs pos="2917">
                      <a:schemeClr val="tx1"/>
                    </a:gs>
                    <a:gs pos="30000">
                      <a:schemeClr val="tx1"/>
                    </a:gs>
                  </a:gsLst>
                  <a:lin ang="5400000" scaled="0"/>
                </a:gradFill>
                <a:latin typeface="+mj-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vailable </a:t>
            </a:r>
          </a:p>
          <a:p>
            <a:pPr marL="0" marR="0" lvl="0" indent="0" defTabSz="914400" eaLnBrk="1" fontAlgn="auto" latinLnBrk="0" hangingPunct="1">
              <a:lnSpc>
                <a:spcPct val="90000"/>
              </a:lnSpc>
              <a:spcBef>
                <a:spcPts val="0"/>
              </a:spcBef>
              <a:spcAft>
                <a:spcPts val="600"/>
              </a:spcAft>
              <a:buClrTx/>
              <a:buSzTx/>
              <a:buFontTx/>
              <a:buNone/>
              <a:tabLst/>
              <a:defRPr/>
            </a:pPr>
            <a:endParaRPr lang="en-US" kern="0" dirty="0"/>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lang="en-US" kern="0" dirty="0"/>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lang="en-US" kern="0" dirty="0"/>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st-effective</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5" name="Cloud 4"/>
          <p:cNvSpPr/>
          <p:nvPr/>
        </p:nvSpPr>
        <p:spPr bwMode="auto">
          <a:xfrm>
            <a:off x="4846757" y="3127966"/>
            <a:ext cx="2743200" cy="1524000"/>
          </a:xfrm>
          <a:prstGeom prst="cloud">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5237" y="2506662"/>
            <a:ext cx="2286241" cy="1512790"/>
          </a:xfrm>
          <a:prstGeom prst="rect">
            <a:avLst/>
          </a:prstGeom>
        </p:spPr>
      </p:pic>
    </p:spTree>
    <p:extLst>
      <p:ext uri="{BB962C8B-B14F-4D97-AF65-F5344CB8AC3E}">
        <p14:creationId xmlns:p14="http://schemas.microsoft.com/office/powerpoint/2010/main" val="31408545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68262"/>
            <a:ext cx="11889564" cy="917575"/>
          </a:xfrm>
        </p:spPr>
        <p:txBody>
          <a:bodyPr/>
          <a:lstStyle/>
          <a:p>
            <a:r>
              <a:rPr lang="en-US" dirty="0"/>
              <a:t>Introducing ‘Azure AD Domain Services’</a:t>
            </a:r>
          </a:p>
        </p:txBody>
      </p:sp>
      <p:grpSp>
        <p:nvGrpSpPr>
          <p:cNvPr id="198" name="Group 197"/>
          <p:cNvGrpSpPr/>
          <p:nvPr/>
        </p:nvGrpSpPr>
        <p:grpSpPr>
          <a:xfrm>
            <a:off x="122237" y="801687"/>
            <a:ext cx="11300938" cy="5848350"/>
            <a:chOff x="122237" y="801687"/>
            <a:chExt cx="11300938" cy="5848350"/>
          </a:xfrm>
        </p:grpSpPr>
        <p:sp>
          <p:nvSpPr>
            <p:cNvPr id="164" name="Freeform 163"/>
            <p:cNvSpPr>
              <a:spLocks noChangeAspect="1"/>
            </p:cNvSpPr>
            <p:nvPr/>
          </p:nvSpPr>
          <p:spPr bwMode="black">
            <a:xfrm>
              <a:off x="122237" y="801687"/>
              <a:ext cx="11300938" cy="5848350"/>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2">
                <a:lumMod val="20000"/>
                <a:lumOff val="80000"/>
              </a:schemeClr>
            </a:solidFill>
            <a:ln>
              <a:solidFill>
                <a:schemeClr val="bg1">
                  <a:lumMod val="85000"/>
                </a:schemeClr>
              </a:solidFill>
            </a:ln>
          </p:spPr>
          <p:txBody>
            <a:bodyPr vert="horz" wrap="square" lIns="65910" tIns="32955" rIns="65910" bIns="32955" numCol="1" anchor="t" anchorCtr="0" compatLnSpc="1">
              <a:prstTxWarp prst="textNoShape">
                <a:avLst/>
              </a:prstTxWarp>
            </a:bodyPr>
            <a:lstStyle/>
            <a:p>
              <a:pPr marL="0" marR="0" lvl="0" indent="0" defTabSz="672334" eaLnBrk="1" fontAlgn="auto" latinLnBrk="0" hangingPunct="1">
                <a:lnSpc>
                  <a:spcPct val="100000"/>
                </a:lnSpc>
                <a:spcBef>
                  <a:spcPts val="0"/>
                </a:spcBef>
                <a:spcAft>
                  <a:spcPts val="0"/>
                </a:spcAft>
                <a:buClrTx/>
                <a:buSzTx/>
                <a:buFontTx/>
                <a:buNone/>
                <a:tabLst/>
                <a:defRPr/>
              </a:pPr>
              <a:endParaRPr kumimoji="0" lang="en-US" sz="1298" b="0" i="0" u="none" strike="noStrike" kern="0" cap="none" spc="0" normalizeH="0" baseline="0" noProof="0" dirty="0">
                <a:ln>
                  <a:noFill/>
                </a:ln>
                <a:solidFill>
                  <a:srgbClr val="FFFFFF"/>
                </a:solidFill>
                <a:effectLst/>
                <a:uLnTx/>
                <a:uFillTx/>
              </a:endParaRPr>
            </a:p>
          </p:txBody>
        </p:sp>
        <p:sp>
          <p:nvSpPr>
            <p:cNvPr id="4" name="Rectangle 3"/>
            <p:cNvSpPr/>
            <p:nvPr/>
          </p:nvSpPr>
          <p:spPr bwMode="auto">
            <a:xfrm>
              <a:off x="1036637" y="374491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15" name="Group 14"/>
            <p:cNvGrpSpPr/>
            <p:nvPr/>
          </p:nvGrpSpPr>
          <p:grpSpPr>
            <a:xfrm>
              <a:off x="4156185" y="4964112"/>
              <a:ext cx="458002" cy="468411"/>
              <a:chOff x="8047037" y="3712007"/>
              <a:chExt cx="609600" cy="623455"/>
            </a:xfrm>
          </p:grpSpPr>
          <p:sp>
            <p:nvSpPr>
              <p:cNvPr id="11" name="Hexagon 10"/>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4" name="Rectangle 13"/>
              <p:cNvSpPr/>
              <p:nvPr/>
            </p:nvSpPr>
            <p:spPr bwMode="auto">
              <a:xfrm>
                <a:off x="8176884" y="3712007"/>
                <a:ext cx="355928" cy="62345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grpSp>
          <p:nvGrpSpPr>
            <p:cNvPr id="18" name="Group 17"/>
            <p:cNvGrpSpPr/>
            <p:nvPr/>
          </p:nvGrpSpPr>
          <p:grpSpPr bwMode="black">
            <a:xfrm>
              <a:off x="3388989" y="4328790"/>
              <a:ext cx="589950" cy="455404"/>
              <a:chOff x="7010400" y="2133600"/>
              <a:chExt cx="1379538" cy="1065213"/>
            </a:xfrm>
            <a:solidFill>
              <a:srgbClr val="505050"/>
            </a:solidFill>
          </p:grpSpPr>
          <p:sp>
            <p:nvSpPr>
              <p:cNvPr id="19" name="Freeform 18"/>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0" name="Freeform 19"/>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1" name="Freeform 20"/>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2" name="Freeform 21"/>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3" name="Freeform 22"/>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4" name="Freeform 23"/>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5" name="Freeform 24"/>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6" name="Freeform 25"/>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7" name="Freeform 26"/>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8" name="Freeform 27"/>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9" name="Freeform 28"/>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0" name="Freeform 29"/>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1" name="Freeform 30"/>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115" name="Group 114"/>
            <p:cNvGrpSpPr/>
            <p:nvPr/>
          </p:nvGrpSpPr>
          <p:grpSpPr>
            <a:xfrm>
              <a:off x="2325700" y="4342092"/>
              <a:ext cx="692137" cy="496267"/>
              <a:chOff x="1492615" y="2860796"/>
              <a:chExt cx="572014" cy="410138"/>
            </a:xfrm>
          </p:grpSpPr>
          <p:grpSp>
            <p:nvGrpSpPr>
              <p:cNvPr id="66" name="Group 65"/>
              <p:cNvGrpSpPr/>
              <p:nvPr/>
            </p:nvGrpSpPr>
            <p:grpSpPr bwMode="black">
              <a:xfrm>
                <a:off x="1492615" y="2860796"/>
                <a:ext cx="487562" cy="376367"/>
                <a:chOff x="7010400" y="2133600"/>
                <a:chExt cx="1379538" cy="1065213"/>
              </a:xfrm>
              <a:solidFill>
                <a:srgbClr val="505050"/>
              </a:solidFill>
            </p:grpSpPr>
            <p:sp>
              <p:nvSpPr>
                <p:cNvPr id="67" name="Freeform 6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8" name="Freeform 7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9" name="Freeform 7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0" name="Freeform 7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1" name="Freeform 8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2" name="Freeform 8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3" name="Freeform 8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4" name="Freeform 8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5" name="Freeform 8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6" name="Freeform 8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7" name="Freeform 8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8" name="Freeform 8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9" name="Freeform 8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0" name="Freeform 8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1" name="Freeform 9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2" name="Freeform 9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3" name="Freeform 9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4" name="Freeform 9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5" name="Freeform 9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6" name="Freeform 9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7" name="Freeform 9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8" name="Freeform 9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9" name="Freeform 9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0" name="Freeform 9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10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2" name="Freeform 10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3" name="Freeform 10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4" name="Freeform 10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5" name="Freeform 10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6" name="Freeform 10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7" name="Freeform 10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8" name="Freeform 10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9" name="Freeform 10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0" name="Freeform 10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1" name="Freeform 11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2" name="Freeform 11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3" name="Freeform 11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grpSp>
          <p:sp>
            <p:nvSpPr>
              <p:cNvPr id="114" name="Freeform 113"/>
              <p:cNvSpPr>
                <a:spLocks noChangeAspect="1"/>
              </p:cNvSpPr>
              <p:nvPr/>
            </p:nvSpPr>
            <p:spPr bwMode="black">
              <a:xfrm>
                <a:off x="1866552" y="3074252"/>
                <a:ext cx="198077" cy="19668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marL="0" marR="0" lvl="0" indent="0" algn="ctr" defTabSz="672139"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6" name="Group 115"/>
            <p:cNvGrpSpPr/>
            <p:nvPr/>
          </p:nvGrpSpPr>
          <p:grpSpPr bwMode="black">
            <a:xfrm>
              <a:off x="1217668" y="4395302"/>
              <a:ext cx="589950" cy="455404"/>
              <a:chOff x="7010400" y="2133600"/>
              <a:chExt cx="1379538" cy="1065213"/>
            </a:xfrm>
            <a:solidFill>
              <a:srgbClr val="505050"/>
            </a:solidFill>
          </p:grpSpPr>
          <p:sp>
            <p:nvSpPr>
              <p:cNvPr id="117" name="Freeform 11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9" name="Freeform 11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0" name="Freeform 12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1" name="Freeform 13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3" name="Freeform 13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4" name="Freeform 13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5" name="Freeform 13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6" name="Freeform 13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7" name="Freeform 13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8" name="Freeform 13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0" name="Freeform 13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1" name="Freeform 14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2" name="Freeform 14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3" name="Freeform 14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4" name="Freeform 14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5" name="Freeform 14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5" name="Freeform 15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6" name="Freeform 15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7" name="Freeform 15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8" name="Freeform 15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9" name="Freeform 15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0" name="Freeform 15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1" name="Freeform 16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2" name="Freeform 16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3" name="Freeform 16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pic>
          <p:nvPicPr>
            <p:cNvPr id="165" name="Picture 164"/>
            <p:cNvPicPr>
              <a:picLocks noChangeAspect="1"/>
            </p:cNvPicPr>
            <p:nvPr/>
          </p:nvPicPr>
          <p:blipFill>
            <a:blip r:embed="rId2"/>
            <a:stretch>
              <a:fillRect/>
            </a:stretch>
          </p:blipFill>
          <p:spPr>
            <a:xfrm>
              <a:off x="9296570" y="3278187"/>
              <a:ext cx="1610314" cy="1610314"/>
            </a:xfrm>
            <a:prstGeom prst="rect">
              <a:avLst/>
            </a:prstGeom>
          </p:spPr>
        </p:pic>
        <p:sp>
          <p:nvSpPr>
            <p:cNvPr id="166" name="Rectangle 165"/>
            <p:cNvSpPr/>
            <p:nvPr/>
          </p:nvSpPr>
          <p:spPr>
            <a:xfrm>
              <a:off x="9383581" y="5157469"/>
              <a:ext cx="1436292" cy="492443"/>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1679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0B0F0"/>
                  </a:solidFill>
                  <a:effectLst/>
                  <a:uLnTx/>
                  <a:uFillTx/>
                  <a:latin typeface="Segoe"/>
                  <a:ea typeface="+mn-ea"/>
                  <a:cs typeface="+mn-cs"/>
                </a:rPr>
                <a:t>Azure</a:t>
              </a:r>
            </a:p>
            <a:p>
              <a:pPr marL="0" marR="0" lvl="0" indent="0" algn="ctr" defTabSz="61679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0B0F0"/>
                  </a:solidFill>
                  <a:effectLst/>
                  <a:uLnTx/>
                  <a:uFillTx/>
                  <a:latin typeface="Segoe"/>
                  <a:ea typeface="+mn-ea"/>
                  <a:cs typeface="+mn-cs"/>
                </a:rPr>
                <a:t>Active Directory</a:t>
              </a:r>
            </a:p>
          </p:txBody>
        </p:sp>
        <p:pic>
          <p:nvPicPr>
            <p:cNvPr id="168" name="Picture 1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9714" y="3899585"/>
              <a:ext cx="889046" cy="588277"/>
            </a:xfrm>
            <a:prstGeom prst="rect">
              <a:avLst/>
            </a:prstGeom>
          </p:spPr>
        </p:pic>
        <p:grpSp>
          <p:nvGrpSpPr>
            <p:cNvPr id="175" name="Group 174"/>
            <p:cNvGrpSpPr/>
            <p:nvPr/>
          </p:nvGrpSpPr>
          <p:grpSpPr>
            <a:xfrm>
              <a:off x="1587660" y="3973512"/>
              <a:ext cx="2652937" cy="372556"/>
              <a:chOff x="1587660" y="4261331"/>
              <a:chExt cx="2652937" cy="548147"/>
            </a:xfrm>
          </p:grpSpPr>
          <p:cxnSp>
            <p:nvCxnSpPr>
              <p:cNvPr id="170" name="Elbow Connector 169"/>
              <p:cNvCxnSpPr/>
              <p:nvPr/>
            </p:nvCxnSpPr>
            <p:spPr>
              <a:xfrm flipV="1">
                <a:off x="1587660" y="4274587"/>
                <a:ext cx="2652937" cy="534891"/>
              </a:xfrm>
              <a:prstGeom prst="bentConnector3">
                <a:avLst>
                  <a:gd name="adj1" fmla="val -265"/>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2644098" y="4278506"/>
                <a:ext cx="7316" cy="394462"/>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flipV="1">
                <a:off x="3716890" y="4261331"/>
                <a:ext cx="1" cy="441593"/>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85" name="Straight Arrow Connector 184"/>
            <p:cNvCxnSpPr/>
            <p:nvPr/>
          </p:nvCxnSpPr>
          <p:spPr>
            <a:xfrm flipH="1">
              <a:off x="7782127" y="4195939"/>
              <a:ext cx="1407910" cy="0"/>
            </a:xfrm>
            <a:prstGeom prst="straightConnector1">
              <a:avLst/>
            </a:prstGeom>
            <a:ln w="28575">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p:cNvCxnSpPr/>
            <p:nvPr/>
          </p:nvCxnSpPr>
          <p:spPr>
            <a:xfrm flipH="1">
              <a:off x="5214960" y="4204949"/>
              <a:ext cx="1231877" cy="0"/>
            </a:xfrm>
            <a:prstGeom prst="straightConnector1">
              <a:avLst/>
            </a:prstGeom>
            <a:ln w="28575">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a:xfrm>
              <a:off x="6321989" y="5157468"/>
              <a:ext cx="1572648" cy="492443"/>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1679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0B0F0"/>
                  </a:solidFill>
                  <a:effectLst/>
                  <a:uLnTx/>
                  <a:uFillTx/>
                  <a:latin typeface="Segoe"/>
                  <a:ea typeface="+mn-ea"/>
                  <a:cs typeface="+mn-cs"/>
                </a:rPr>
                <a:t>Azure AD Domain Services</a:t>
              </a:r>
            </a:p>
          </p:txBody>
        </p:sp>
        <p:sp>
          <p:nvSpPr>
            <p:cNvPr id="189" name="TextBox 188"/>
            <p:cNvSpPr txBox="1"/>
            <p:nvPr/>
          </p:nvSpPr>
          <p:spPr>
            <a:xfrm>
              <a:off x="1036637" y="5852991"/>
              <a:ext cx="3953076"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ntoso’s workloads/apps in Azure IaaS</a:t>
              </a:r>
            </a:p>
          </p:txBody>
        </p:sp>
        <p:sp>
          <p:nvSpPr>
            <p:cNvPr id="190" name="TextBox 189"/>
            <p:cNvSpPr txBox="1"/>
            <p:nvPr/>
          </p:nvSpPr>
          <p:spPr>
            <a:xfrm>
              <a:off x="3334030" y="5268912"/>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192" name="Freeform 54"/>
            <p:cNvSpPr>
              <a:spLocks noChangeAspect="1" noEditPoints="1"/>
            </p:cNvSpPr>
            <p:nvPr/>
          </p:nvSpPr>
          <p:spPr bwMode="black">
            <a:xfrm>
              <a:off x="1673113" y="4612169"/>
              <a:ext cx="230299" cy="23029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3" name="Rounded Rectangular Callout 192"/>
            <p:cNvSpPr/>
            <p:nvPr/>
          </p:nvSpPr>
          <p:spPr bwMode="auto">
            <a:xfrm>
              <a:off x="4313237" y="3211512"/>
              <a:ext cx="2286000" cy="616567"/>
            </a:xfrm>
            <a:prstGeom prst="wedgeRoundRectCallout">
              <a:avLst>
                <a:gd name="adj1" fmla="val -36259"/>
                <a:gd name="adj2" fmla="val 68323"/>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Managed domain available in your Azure </a:t>
              </a:r>
              <a:r>
                <a:rPr kumimoji="0" lang="en-US" sz="1400" b="0" i="0" u="none" strike="noStrike" kern="0" cap="none" spc="0" normalizeH="0" baseline="0" noProof="0" dirty="0" err="1">
                  <a:ln>
                    <a:noFill/>
                  </a:ln>
                  <a:solidFill>
                    <a:srgbClr val="505050"/>
                  </a:solidFill>
                  <a:effectLst/>
                  <a:uLnTx/>
                  <a:uFillTx/>
                </a:rPr>
                <a:t>VNet</a:t>
              </a:r>
              <a:r>
                <a:rPr kumimoji="0" lang="en-US" sz="1400" b="0" i="0" u="none" strike="noStrike" kern="0" cap="none" spc="0" normalizeH="0" baseline="0" noProof="0" dirty="0">
                  <a:ln>
                    <a:noFill/>
                  </a:ln>
                  <a:solidFill>
                    <a:srgbClr val="505050"/>
                  </a:solidFill>
                  <a:effectLst/>
                  <a:uLnTx/>
                  <a:uFillTx/>
                </a:rPr>
                <a:t>.</a:t>
              </a:r>
            </a:p>
          </p:txBody>
        </p:sp>
        <p:sp>
          <p:nvSpPr>
            <p:cNvPr id="194" name="Freeform 193"/>
            <p:cNvSpPr>
              <a:spLocks noEditPoints="1"/>
            </p:cNvSpPr>
            <p:nvPr/>
          </p:nvSpPr>
          <p:spPr bwMode="auto">
            <a:xfrm>
              <a:off x="8367283" y="4293370"/>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5" name="Freeform 194"/>
            <p:cNvSpPr>
              <a:spLocks noEditPoints="1"/>
            </p:cNvSpPr>
            <p:nvPr/>
          </p:nvSpPr>
          <p:spPr bwMode="auto">
            <a:xfrm>
              <a:off x="8271919" y="3881037"/>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6" name="Freeform 195"/>
            <p:cNvSpPr>
              <a:spLocks noEditPoints="1"/>
            </p:cNvSpPr>
            <p:nvPr/>
          </p:nvSpPr>
          <p:spPr bwMode="auto">
            <a:xfrm>
              <a:off x="8643727" y="3882980"/>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7" name="Freeform 196"/>
            <p:cNvSpPr>
              <a:spLocks noChangeAspect="1" noEditPoints="1"/>
            </p:cNvSpPr>
            <p:nvPr/>
          </p:nvSpPr>
          <p:spPr bwMode="auto">
            <a:xfrm>
              <a:off x="6610999" y="3707426"/>
              <a:ext cx="1028159" cy="1014569"/>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spTree>
    <p:extLst>
      <p:ext uri="{BB962C8B-B14F-4D97-AF65-F5344CB8AC3E}">
        <p14:creationId xmlns:p14="http://schemas.microsoft.com/office/powerpoint/2010/main" val="26672286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loud Callout 5"/>
          <p:cNvSpPr/>
          <p:nvPr/>
        </p:nvSpPr>
        <p:spPr bwMode="auto">
          <a:xfrm>
            <a:off x="7208837" y="830262"/>
            <a:ext cx="5029200" cy="4267200"/>
          </a:xfrm>
          <a:prstGeom prst="cloudCallout">
            <a:avLst>
              <a:gd name="adj1" fmla="val -40909"/>
              <a:gd name="adj2" fmla="val 66071"/>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4" name="Title 1"/>
          <p:cNvSpPr>
            <a:spLocks noGrp="1"/>
          </p:cNvSpPr>
          <p:nvPr>
            <p:ph type="title"/>
          </p:nvPr>
        </p:nvSpPr>
        <p:spPr>
          <a:xfrm>
            <a:off x="46037" y="68262"/>
            <a:ext cx="11889564" cy="917575"/>
          </a:xfrm>
        </p:spPr>
        <p:txBody>
          <a:bodyPr/>
          <a:lstStyle/>
          <a:p>
            <a:r>
              <a:rPr lang="en-US" dirty="0"/>
              <a:t>Managed domains</a:t>
            </a:r>
          </a:p>
        </p:txBody>
      </p:sp>
      <p:pic>
        <p:nvPicPr>
          <p:cNvPr id="5" name="Picture 4"/>
          <p:cNvPicPr>
            <a:picLocks noChangeAspect="1"/>
          </p:cNvPicPr>
          <p:nvPr/>
        </p:nvPicPr>
        <p:blipFill>
          <a:blip r:embed="rId2"/>
          <a:stretch>
            <a:fillRect/>
          </a:stretch>
        </p:blipFill>
        <p:spPr>
          <a:xfrm>
            <a:off x="8069551" y="1803623"/>
            <a:ext cx="3177886" cy="2455639"/>
          </a:xfrm>
          <a:prstGeom prst="rect">
            <a:avLst/>
          </a:prstGeom>
        </p:spPr>
      </p:pic>
      <p:sp>
        <p:nvSpPr>
          <p:cNvPr id="10" name="TextBox 9"/>
          <p:cNvSpPr txBox="1"/>
          <p:nvPr/>
        </p:nvSpPr>
        <p:spPr>
          <a:xfrm>
            <a:off x="1184887" y="5785299"/>
            <a:ext cx="62535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Highly available domain.</a:t>
            </a:r>
          </a:p>
        </p:txBody>
      </p:sp>
      <p:sp>
        <p:nvSpPr>
          <p:cNvPr id="11" name="Freeform 10"/>
          <p:cNvSpPr>
            <a:spLocks noEditPoints="1"/>
          </p:cNvSpPr>
          <p:nvPr/>
        </p:nvSpPr>
        <p:spPr bwMode="auto">
          <a:xfrm>
            <a:off x="557209" y="4384713"/>
            <a:ext cx="403225" cy="487363"/>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2" name="TextBox 11"/>
          <p:cNvSpPr txBox="1"/>
          <p:nvPr/>
        </p:nvSpPr>
        <p:spPr>
          <a:xfrm>
            <a:off x="1186475" y="1217585"/>
            <a:ext cx="62535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 controllers are patched automatically.</a:t>
            </a:r>
          </a:p>
        </p:txBody>
      </p:sp>
      <p:sp>
        <p:nvSpPr>
          <p:cNvPr id="13" name="Freeform 12"/>
          <p:cNvSpPr>
            <a:spLocks noEditPoints="1"/>
          </p:cNvSpPr>
          <p:nvPr/>
        </p:nvSpPr>
        <p:spPr bwMode="auto">
          <a:xfrm>
            <a:off x="576260" y="1332285"/>
            <a:ext cx="365125" cy="398463"/>
          </a:xfrm>
          <a:custGeom>
            <a:avLst/>
            <a:gdLst>
              <a:gd name="T0" fmla="*/ 48 w 97"/>
              <a:gd name="T1" fmla="*/ 106 h 106"/>
              <a:gd name="T2" fmla="*/ 49 w 97"/>
              <a:gd name="T3" fmla="*/ 105 h 106"/>
              <a:gd name="T4" fmla="*/ 97 w 97"/>
              <a:gd name="T5" fmla="*/ 45 h 106"/>
              <a:gd name="T6" fmla="*/ 97 w 97"/>
              <a:gd name="T7" fmla="*/ 0 h 106"/>
              <a:gd name="T8" fmla="*/ 90 w 97"/>
              <a:gd name="T9" fmla="*/ 5 h 106"/>
              <a:gd name="T10" fmla="*/ 71 w 97"/>
              <a:gd name="T11" fmla="*/ 10 h 106"/>
              <a:gd name="T12" fmla="*/ 50 w 97"/>
              <a:gd name="T13" fmla="*/ 5 h 106"/>
              <a:gd name="T14" fmla="*/ 48 w 97"/>
              <a:gd name="T15" fmla="*/ 3 h 106"/>
              <a:gd name="T16" fmla="*/ 46 w 97"/>
              <a:gd name="T17" fmla="*/ 4 h 106"/>
              <a:gd name="T18" fmla="*/ 25 w 97"/>
              <a:gd name="T19" fmla="*/ 10 h 106"/>
              <a:gd name="T20" fmla="*/ 6 w 97"/>
              <a:gd name="T21" fmla="*/ 5 h 106"/>
              <a:gd name="T22" fmla="*/ 0 w 97"/>
              <a:gd name="T23" fmla="*/ 1 h 106"/>
              <a:gd name="T24" fmla="*/ 0 w 97"/>
              <a:gd name="T25" fmla="*/ 45 h 106"/>
              <a:gd name="T26" fmla="*/ 47 w 97"/>
              <a:gd name="T27" fmla="*/ 105 h 106"/>
              <a:gd name="T28" fmla="*/ 48 w 97"/>
              <a:gd name="T29" fmla="*/ 106 h 106"/>
              <a:gd name="T30" fmla="*/ 8 w 97"/>
              <a:gd name="T31" fmla="*/ 45 h 106"/>
              <a:gd name="T32" fmla="*/ 8 w 97"/>
              <a:gd name="T33" fmla="*/ 14 h 106"/>
              <a:gd name="T34" fmla="*/ 25 w 97"/>
              <a:gd name="T35" fmla="*/ 18 h 106"/>
              <a:gd name="T36" fmla="*/ 48 w 97"/>
              <a:gd name="T37" fmla="*/ 12 h 106"/>
              <a:gd name="T38" fmla="*/ 71 w 97"/>
              <a:gd name="T39" fmla="*/ 18 h 106"/>
              <a:gd name="T40" fmla="*/ 89 w 97"/>
              <a:gd name="T41" fmla="*/ 15 h 106"/>
              <a:gd name="T42" fmla="*/ 89 w 97"/>
              <a:gd name="T43" fmla="*/ 45 h 106"/>
              <a:gd name="T44" fmla="*/ 48 w 97"/>
              <a:gd name="T45" fmla="*/ 97 h 106"/>
              <a:gd name="T46" fmla="*/ 8 w 97"/>
              <a:gd name="T47" fmla="*/ 4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7" h="106">
                <a:moveTo>
                  <a:pt x="48" y="106"/>
                </a:moveTo>
                <a:cubicBezTo>
                  <a:pt x="49" y="105"/>
                  <a:pt x="49" y="105"/>
                  <a:pt x="49" y="105"/>
                </a:cubicBezTo>
                <a:cubicBezTo>
                  <a:pt x="51" y="104"/>
                  <a:pt x="97" y="86"/>
                  <a:pt x="97" y="45"/>
                </a:cubicBezTo>
                <a:cubicBezTo>
                  <a:pt x="97" y="0"/>
                  <a:pt x="97" y="0"/>
                  <a:pt x="97" y="0"/>
                </a:cubicBezTo>
                <a:cubicBezTo>
                  <a:pt x="90" y="5"/>
                  <a:pt x="90" y="5"/>
                  <a:pt x="90" y="5"/>
                </a:cubicBezTo>
                <a:cubicBezTo>
                  <a:pt x="90" y="5"/>
                  <a:pt x="82" y="10"/>
                  <a:pt x="71" y="10"/>
                </a:cubicBezTo>
                <a:cubicBezTo>
                  <a:pt x="60" y="10"/>
                  <a:pt x="50" y="5"/>
                  <a:pt x="50" y="5"/>
                </a:cubicBezTo>
                <a:cubicBezTo>
                  <a:pt x="48" y="3"/>
                  <a:pt x="48" y="3"/>
                  <a:pt x="48" y="3"/>
                </a:cubicBezTo>
                <a:cubicBezTo>
                  <a:pt x="46" y="4"/>
                  <a:pt x="46" y="4"/>
                  <a:pt x="46" y="4"/>
                </a:cubicBezTo>
                <a:cubicBezTo>
                  <a:pt x="46" y="4"/>
                  <a:pt x="35" y="10"/>
                  <a:pt x="25" y="10"/>
                </a:cubicBezTo>
                <a:cubicBezTo>
                  <a:pt x="15" y="10"/>
                  <a:pt x="6" y="5"/>
                  <a:pt x="6" y="5"/>
                </a:cubicBezTo>
                <a:cubicBezTo>
                  <a:pt x="0" y="1"/>
                  <a:pt x="0" y="1"/>
                  <a:pt x="0" y="1"/>
                </a:cubicBezTo>
                <a:cubicBezTo>
                  <a:pt x="0" y="45"/>
                  <a:pt x="0" y="45"/>
                  <a:pt x="0" y="45"/>
                </a:cubicBezTo>
                <a:cubicBezTo>
                  <a:pt x="0" y="86"/>
                  <a:pt x="45" y="104"/>
                  <a:pt x="47" y="105"/>
                </a:cubicBezTo>
                <a:lnTo>
                  <a:pt x="48" y="106"/>
                </a:lnTo>
                <a:close/>
                <a:moveTo>
                  <a:pt x="8" y="45"/>
                </a:moveTo>
                <a:cubicBezTo>
                  <a:pt x="8" y="14"/>
                  <a:pt x="8" y="14"/>
                  <a:pt x="8" y="14"/>
                </a:cubicBezTo>
                <a:cubicBezTo>
                  <a:pt x="12" y="16"/>
                  <a:pt x="18" y="18"/>
                  <a:pt x="25" y="18"/>
                </a:cubicBezTo>
                <a:cubicBezTo>
                  <a:pt x="34" y="18"/>
                  <a:pt x="44" y="14"/>
                  <a:pt x="48" y="12"/>
                </a:cubicBezTo>
                <a:cubicBezTo>
                  <a:pt x="52" y="14"/>
                  <a:pt x="61" y="18"/>
                  <a:pt x="71" y="18"/>
                </a:cubicBezTo>
                <a:cubicBezTo>
                  <a:pt x="78" y="18"/>
                  <a:pt x="84" y="16"/>
                  <a:pt x="89" y="15"/>
                </a:cubicBezTo>
                <a:cubicBezTo>
                  <a:pt x="89" y="45"/>
                  <a:pt x="89" y="45"/>
                  <a:pt x="89" y="45"/>
                </a:cubicBezTo>
                <a:cubicBezTo>
                  <a:pt x="89" y="77"/>
                  <a:pt x="55" y="94"/>
                  <a:pt x="48" y="97"/>
                </a:cubicBezTo>
                <a:cubicBezTo>
                  <a:pt x="41" y="94"/>
                  <a:pt x="8" y="77"/>
                  <a:pt x="8" y="4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 name="Freeform 13"/>
          <p:cNvSpPr>
            <a:spLocks noEditPoints="1"/>
          </p:cNvSpPr>
          <p:nvPr/>
        </p:nvSpPr>
        <p:spPr bwMode="auto">
          <a:xfrm>
            <a:off x="608805" y="2125662"/>
            <a:ext cx="300038" cy="420688"/>
          </a:xfrm>
          <a:custGeom>
            <a:avLst/>
            <a:gdLst>
              <a:gd name="T0" fmla="*/ 72 w 80"/>
              <a:gd name="T1" fmla="*/ 48 h 112"/>
              <a:gd name="T2" fmla="*/ 72 w 80"/>
              <a:gd name="T3" fmla="*/ 48 h 112"/>
              <a:gd name="T4" fmla="*/ 72 w 80"/>
              <a:gd name="T5" fmla="*/ 32 h 112"/>
              <a:gd name="T6" fmla="*/ 40 w 80"/>
              <a:gd name="T7" fmla="*/ 0 h 112"/>
              <a:gd name="T8" fmla="*/ 8 w 80"/>
              <a:gd name="T9" fmla="*/ 32 h 112"/>
              <a:gd name="T10" fmla="*/ 8 w 80"/>
              <a:gd name="T11" fmla="*/ 48 h 112"/>
              <a:gd name="T12" fmla="*/ 8 w 80"/>
              <a:gd name="T13" fmla="*/ 48 h 112"/>
              <a:gd name="T14" fmla="*/ 0 w 80"/>
              <a:gd name="T15" fmla="*/ 72 h 112"/>
              <a:gd name="T16" fmla="*/ 40 w 80"/>
              <a:gd name="T17" fmla="*/ 112 h 112"/>
              <a:gd name="T18" fmla="*/ 80 w 80"/>
              <a:gd name="T19" fmla="*/ 72 h 112"/>
              <a:gd name="T20" fmla="*/ 72 w 80"/>
              <a:gd name="T21" fmla="*/ 48 h 112"/>
              <a:gd name="T22" fmla="*/ 16 w 80"/>
              <a:gd name="T23" fmla="*/ 32 h 112"/>
              <a:gd name="T24" fmla="*/ 40 w 80"/>
              <a:gd name="T25" fmla="*/ 8 h 112"/>
              <a:gd name="T26" fmla="*/ 64 w 80"/>
              <a:gd name="T27" fmla="*/ 32 h 112"/>
              <a:gd name="T28" fmla="*/ 64 w 80"/>
              <a:gd name="T29" fmla="*/ 40 h 112"/>
              <a:gd name="T30" fmla="*/ 40 w 80"/>
              <a:gd name="T31" fmla="*/ 32 h 112"/>
              <a:gd name="T32" fmla="*/ 16 w 80"/>
              <a:gd name="T33" fmla="*/ 40 h 112"/>
              <a:gd name="T34" fmla="*/ 16 w 80"/>
              <a:gd name="T35" fmla="*/ 32 h 112"/>
              <a:gd name="T36" fmla="*/ 40 w 80"/>
              <a:gd name="T37" fmla="*/ 104 h 112"/>
              <a:gd name="T38" fmla="*/ 8 w 80"/>
              <a:gd name="T39" fmla="*/ 72 h 112"/>
              <a:gd name="T40" fmla="*/ 40 w 80"/>
              <a:gd name="T41" fmla="*/ 40 h 112"/>
              <a:gd name="T42" fmla="*/ 72 w 80"/>
              <a:gd name="T43" fmla="*/ 72 h 112"/>
              <a:gd name="T44" fmla="*/ 40 w 80"/>
              <a:gd name="T45" fmla="*/ 104 h 112"/>
              <a:gd name="T46" fmla="*/ 48 w 80"/>
              <a:gd name="T47" fmla="*/ 68 h 112"/>
              <a:gd name="T48" fmla="*/ 44 w 80"/>
              <a:gd name="T49" fmla="*/ 75 h 112"/>
              <a:gd name="T50" fmla="*/ 44 w 80"/>
              <a:gd name="T51" fmla="*/ 88 h 112"/>
              <a:gd name="T52" fmla="*/ 36 w 80"/>
              <a:gd name="T53" fmla="*/ 88 h 112"/>
              <a:gd name="T54" fmla="*/ 36 w 80"/>
              <a:gd name="T55" fmla="*/ 75 h 112"/>
              <a:gd name="T56" fmla="*/ 32 w 80"/>
              <a:gd name="T57" fmla="*/ 68 h 112"/>
              <a:gd name="T58" fmla="*/ 40 w 80"/>
              <a:gd name="T59" fmla="*/ 60 h 112"/>
              <a:gd name="T60" fmla="*/ 48 w 80"/>
              <a:gd name="T61"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112">
                <a:moveTo>
                  <a:pt x="72" y="48"/>
                </a:moveTo>
                <a:cubicBezTo>
                  <a:pt x="72" y="48"/>
                  <a:pt x="72" y="48"/>
                  <a:pt x="72" y="48"/>
                </a:cubicBezTo>
                <a:cubicBezTo>
                  <a:pt x="72" y="32"/>
                  <a:pt x="72" y="32"/>
                  <a:pt x="72" y="32"/>
                </a:cubicBezTo>
                <a:cubicBezTo>
                  <a:pt x="72" y="14"/>
                  <a:pt x="58" y="0"/>
                  <a:pt x="40" y="0"/>
                </a:cubicBezTo>
                <a:cubicBezTo>
                  <a:pt x="22" y="0"/>
                  <a:pt x="8" y="14"/>
                  <a:pt x="8" y="32"/>
                </a:cubicBezTo>
                <a:cubicBezTo>
                  <a:pt x="8" y="48"/>
                  <a:pt x="8" y="48"/>
                  <a:pt x="8" y="48"/>
                </a:cubicBezTo>
                <a:cubicBezTo>
                  <a:pt x="8" y="48"/>
                  <a:pt x="8" y="48"/>
                  <a:pt x="8" y="48"/>
                </a:cubicBezTo>
                <a:cubicBezTo>
                  <a:pt x="3" y="54"/>
                  <a:pt x="0" y="63"/>
                  <a:pt x="0" y="72"/>
                </a:cubicBezTo>
                <a:cubicBezTo>
                  <a:pt x="0" y="94"/>
                  <a:pt x="18" y="112"/>
                  <a:pt x="40" y="112"/>
                </a:cubicBezTo>
                <a:cubicBezTo>
                  <a:pt x="62" y="112"/>
                  <a:pt x="80" y="94"/>
                  <a:pt x="80" y="72"/>
                </a:cubicBezTo>
                <a:cubicBezTo>
                  <a:pt x="80" y="63"/>
                  <a:pt x="77" y="54"/>
                  <a:pt x="72" y="48"/>
                </a:cubicBezTo>
                <a:close/>
                <a:moveTo>
                  <a:pt x="16" y="32"/>
                </a:moveTo>
                <a:cubicBezTo>
                  <a:pt x="16" y="18"/>
                  <a:pt x="27" y="8"/>
                  <a:pt x="40" y="8"/>
                </a:cubicBezTo>
                <a:cubicBezTo>
                  <a:pt x="53" y="8"/>
                  <a:pt x="64" y="18"/>
                  <a:pt x="64" y="32"/>
                </a:cubicBezTo>
                <a:cubicBezTo>
                  <a:pt x="64" y="40"/>
                  <a:pt x="64" y="40"/>
                  <a:pt x="64" y="40"/>
                </a:cubicBezTo>
                <a:cubicBezTo>
                  <a:pt x="57" y="35"/>
                  <a:pt x="49" y="32"/>
                  <a:pt x="40" y="32"/>
                </a:cubicBezTo>
                <a:cubicBezTo>
                  <a:pt x="31" y="32"/>
                  <a:pt x="23" y="35"/>
                  <a:pt x="16" y="40"/>
                </a:cubicBezTo>
                <a:lnTo>
                  <a:pt x="16" y="32"/>
                </a:lnTo>
                <a:close/>
                <a:moveTo>
                  <a:pt x="40" y="104"/>
                </a:moveTo>
                <a:cubicBezTo>
                  <a:pt x="22" y="104"/>
                  <a:pt x="8" y="89"/>
                  <a:pt x="8" y="72"/>
                </a:cubicBezTo>
                <a:cubicBezTo>
                  <a:pt x="8" y="54"/>
                  <a:pt x="22" y="40"/>
                  <a:pt x="40" y="40"/>
                </a:cubicBezTo>
                <a:cubicBezTo>
                  <a:pt x="58" y="40"/>
                  <a:pt x="72" y="54"/>
                  <a:pt x="72" y="72"/>
                </a:cubicBezTo>
                <a:cubicBezTo>
                  <a:pt x="72" y="89"/>
                  <a:pt x="58" y="104"/>
                  <a:pt x="40" y="104"/>
                </a:cubicBezTo>
                <a:close/>
                <a:moveTo>
                  <a:pt x="48" y="68"/>
                </a:moveTo>
                <a:cubicBezTo>
                  <a:pt x="48" y="71"/>
                  <a:pt x="46" y="73"/>
                  <a:pt x="44" y="75"/>
                </a:cubicBezTo>
                <a:cubicBezTo>
                  <a:pt x="44" y="88"/>
                  <a:pt x="44" y="88"/>
                  <a:pt x="44" y="88"/>
                </a:cubicBezTo>
                <a:cubicBezTo>
                  <a:pt x="36" y="88"/>
                  <a:pt x="36" y="88"/>
                  <a:pt x="36" y="88"/>
                </a:cubicBezTo>
                <a:cubicBezTo>
                  <a:pt x="36" y="75"/>
                  <a:pt x="36" y="75"/>
                  <a:pt x="36" y="75"/>
                </a:cubicBezTo>
                <a:cubicBezTo>
                  <a:pt x="34" y="73"/>
                  <a:pt x="32" y="71"/>
                  <a:pt x="32" y="68"/>
                </a:cubicBezTo>
                <a:cubicBezTo>
                  <a:pt x="32" y="63"/>
                  <a:pt x="36" y="60"/>
                  <a:pt x="40" y="60"/>
                </a:cubicBezTo>
                <a:cubicBezTo>
                  <a:pt x="45" y="60"/>
                  <a:pt x="48" y="63"/>
                  <a:pt x="48" y="6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5" name="TextBox 14"/>
          <p:cNvSpPr txBox="1"/>
          <p:nvPr/>
        </p:nvSpPr>
        <p:spPr>
          <a:xfrm>
            <a:off x="1186475" y="1875244"/>
            <a:ext cx="6253524" cy="9602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Secure locked down domain – compliant with AD deployment best-practices.</a:t>
            </a:r>
          </a:p>
        </p:txBody>
      </p:sp>
      <p:sp>
        <p:nvSpPr>
          <p:cNvPr id="16" name="Freeform 15"/>
          <p:cNvSpPr>
            <a:spLocks noEditPoints="1"/>
          </p:cNvSpPr>
          <p:nvPr/>
        </p:nvSpPr>
        <p:spPr bwMode="auto">
          <a:xfrm>
            <a:off x="618330" y="2943224"/>
            <a:ext cx="280988" cy="477838"/>
          </a:xfrm>
          <a:custGeom>
            <a:avLst/>
            <a:gdLst>
              <a:gd name="T0" fmla="*/ 177 w 177"/>
              <a:gd name="T1" fmla="*/ 93 h 301"/>
              <a:gd name="T2" fmla="*/ 116 w 177"/>
              <a:gd name="T3" fmla="*/ 93 h 301"/>
              <a:gd name="T4" fmla="*/ 166 w 177"/>
              <a:gd name="T5" fmla="*/ 0 h 301"/>
              <a:gd name="T6" fmla="*/ 45 w 177"/>
              <a:gd name="T7" fmla="*/ 0 h 301"/>
              <a:gd name="T8" fmla="*/ 0 w 177"/>
              <a:gd name="T9" fmla="*/ 157 h 301"/>
              <a:gd name="T10" fmla="*/ 62 w 177"/>
              <a:gd name="T11" fmla="*/ 157 h 301"/>
              <a:gd name="T12" fmla="*/ 31 w 177"/>
              <a:gd name="T13" fmla="*/ 301 h 301"/>
              <a:gd name="T14" fmla="*/ 177 w 177"/>
              <a:gd name="T15" fmla="*/ 93 h 301"/>
              <a:gd name="T16" fmla="*/ 26 w 177"/>
              <a:gd name="T17" fmla="*/ 138 h 301"/>
              <a:gd name="T18" fmla="*/ 59 w 177"/>
              <a:gd name="T19" fmla="*/ 19 h 301"/>
              <a:gd name="T20" fmla="*/ 132 w 177"/>
              <a:gd name="T21" fmla="*/ 19 h 301"/>
              <a:gd name="T22" fmla="*/ 85 w 177"/>
              <a:gd name="T23" fmla="*/ 112 h 301"/>
              <a:gd name="T24" fmla="*/ 140 w 177"/>
              <a:gd name="T25" fmla="*/ 112 h 301"/>
              <a:gd name="T26" fmla="*/ 69 w 177"/>
              <a:gd name="T27" fmla="*/ 216 h 301"/>
              <a:gd name="T28" fmla="*/ 83 w 177"/>
              <a:gd name="T29" fmla="*/ 138 h 301"/>
              <a:gd name="T30" fmla="*/ 26 w 177"/>
              <a:gd name="T31" fmla="*/ 13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301">
                <a:moveTo>
                  <a:pt x="177" y="93"/>
                </a:moveTo>
                <a:lnTo>
                  <a:pt x="116" y="93"/>
                </a:lnTo>
                <a:lnTo>
                  <a:pt x="166" y="0"/>
                </a:lnTo>
                <a:lnTo>
                  <a:pt x="45" y="0"/>
                </a:lnTo>
                <a:lnTo>
                  <a:pt x="0" y="157"/>
                </a:lnTo>
                <a:lnTo>
                  <a:pt x="62" y="157"/>
                </a:lnTo>
                <a:lnTo>
                  <a:pt x="31" y="301"/>
                </a:lnTo>
                <a:lnTo>
                  <a:pt x="177" y="93"/>
                </a:lnTo>
                <a:close/>
                <a:moveTo>
                  <a:pt x="26" y="138"/>
                </a:moveTo>
                <a:lnTo>
                  <a:pt x="59" y="19"/>
                </a:lnTo>
                <a:lnTo>
                  <a:pt x="132" y="19"/>
                </a:lnTo>
                <a:lnTo>
                  <a:pt x="85" y="112"/>
                </a:lnTo>
                <a:lnTo>
                  <a:pt x="140" y="112"/>
                </a:lnTo>
                <a:lnTo>
                  <a:pt x="69" y="216"/>
                </a:lnTo>
                <a:lnTo>
                  <a:pt x="83" y="138"/>
                </a:lnTo>
                <a:lnTo>
                  <a:pt x="26" y="1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8" name="TextBox 17"/>
          <p:cNvSpPr txBox="1"/>
          <p:nvPr/>
        </p:nvSpPr>
        <p:spPr>
          <a:xfrm>
            <a:off x="1184887" y="2865302"/>
            <a:ext cx="62535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Fault resilience of Azure.</a:t>
            </a:r>
          </a:p>
        </p:txBody>
      </p:sp>
      <p:sp>
        <p:nvSpPr>
          <p:cNvPr id="19" name="TextBox 18"/>
          <p:cNvSpPr txBox="1"/>
          <p:nvPr/>
        </p:nvSpPr>
        <p:spPr>
          <a:xfrm>
            <a:off x="1184887" y="3601042"/>
            <a:ext cx="62535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Automatic health detection &amp; remediation.</a:t>
            </a:r>
          </a:p>
        </p:txBody>
      </p:sp>
      <p:sp>
        <p:nvSpPr>
          <p:cNvPr id="20" name="Freeform 19"/>
          <p:cNvSpPr>
            <a:spLocks noChangeAspect="1" noEditPoints="1"/>
          </p:cNvSpPr>
          <p:nvPr/>
        </p:nvSpPr>
        <p:spPr bwMode="auto">
          <a:xfrm>
            <a:off x="511172" y="3779242"/>
            <a:ext cx="495300" cy="271463"/>
          </a:xfrm>
          <a:custGeom>
            <a:avLst/>
            <a:gdLst>
              <a:gd name="T0" fmla="*/ 312 w 312"/>
              <a:gd name="T1" fmla="*/ 0 h 171"/>
              <a:gd name="T2" fmla="*/ 312 w 312"/>
              <a:gd name="T3" fmla="*/ 19 h 171"/>
              <a:gd name="T4" fmla="*/ 66 w 312"/>
              <a:gd name="T5" fmla="*/ 19 h 171"/>
              <a:gd name="T6" fmla="*/ 66 w 312"/>
              <a:gd name="T7" fmla="*/ 0 h 171"/>
              <a:gd name="T8" fmla="*/ 312 w 312"/>
              <a:gd name="T9" fmla="*/ 0 h 171"/>
              <a:gd name="T10" fmla="*/ 9 w 312"/>
              <a:gd name="T11" fmla="*/ 95 h 171"/>
              <a:gd name="T12" fmla="*/ 28 w 312"/>
              <a:gd name="T13" fmla="*/ 95 h 171"/>
              <a:gd name="T14" fmla="*/ 28 w 312"/>
              <a:gd name="T15" fmla="*/ 76 h 171"/>
              <a:gd name="T16" fmla="*/ 9 w 312"/>
              <a:gd name="T17" fmla="*/ 76 h 171"/>
              <a:gd name="T18" fmla="*/ 9 w 312"/>
              <a:gd name="T19" fmla="*/ 95 h 171"/>
              <a:gd name="T20" fmla="*/ 9 w 312"/>
              <a:gd name="T21" fmla="*/ 19 h 171"/>
              <a:gd name="T22" fmla="*/ 28 w 312"/>
              <a:gd name="T23" fmla="*/ 19 h 171"/>
              <a:gd name="T24" fmla="*/ 28 w 312"/>
              <a:gd name="T25" fmla="*/ 0 h 171"/>
              <a:gd name="T26" fmla="*/ 9 w 312"/>
              <a:gd name="T27" fmla="*/ 0 h 171"/>
              <a:gd name="T28" fmla="*/ 9 w 312"/>
              <a:gd name="T29" fmla="*/ 19 h 171"/>
              <a:gd name="T30" fmla="*/ 66 w 312"/>
              <a:gd name="T31" fmla="*/ 95 h 171"/>
              <a:gd name="T32" fmla="*/ 312 w 312"/>
              <a:gd name="T33" fmla="*/ 95 h 171"/>
              <a:gd name="T34" fmla="*/ 312 w 312"/>
              <a:gd name="T35" fmla="*/ 76 h 171"/>
              <a:gd name="T36" fmla="*/ 66 w 312"/>
              <a:gd name="T37" fmla="*/ 76 h 171"/>
              <a:gd name="T38" fmla="*/ 66 w 312"/>
              <a:gd name="T39" fmla="*/ 95 h 171"/>
              <a:gd name="T40" fmla="*/ 66 w 312"/>
              <a:gd name="T41" fmla="*/ 171 h 171"/>
              <a:gd name="T42" fmla="*/ 312 w 312"/>
              <a:gd name="T43" fmla="*/ 171 h 171"/>
              <a:gd name="T44" fmla="*/ 312 w 312"/>
              <a:gd name="T45" fmla="*/ 152 h 171"/>
              <a:gd name="T46" fmla="*/ 66 w 312"/>
              <a:gd name="T47" fmla="*/ 152 h 171"/>
              <a:gd name="T48" fmla="*/ 66 w 312"/>
              <a:gd name="T49" fmla="*/ 171 h 171"/>
              <a:gd name="T50" fmla="*/ 54 w 312"/>
              <a:gd name="T51" fmla="*/ 137 h 171"/>
              <a:gd name="T52" fmla="*/ 42 w 312"/>
              <a:gd name="T53" fmla="*/ 126 h 171"/>
              <a:gd name="T54" fmla="*/ 19 w 312"/>
              <a:gd name="T55" fmla="*/ 149 h 171"/>
              <a:gd name="T56" fmla="*/ 9 w 312"/>
              <a:gd name="T57" fmla="*/ 140 h 171"/>
              <a:gd name="T58" fmla="*/ 0 w 312"/>
              <a:gd name="T59" fmla="*/ 152 h 171"/>
              <a:gd name="T60" fmla="*/ 19 w 312"/>
              <a:gd name="T61" fmla="*/ 171 h 171"/>
              <a:gd name="T62" fmla="*/ 54 w 312"/>
              <a:gd name="T63" fmla="*/ 13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2" h="171">
                <a:moveTo>
                  <a:pt x="312" y="0"/>
                </a:moveTo>
                <a:lnTo>
                  <a:pt x="312" y="19"/>
                </a:lnTo>
                <a:lnTo>
                  <a:pt x="66" y="19"/>
                </a:lnTo>
                <a:lnTo>
                  <a:pt x="66" y="0"/>
                </a:lnTo>
                <a:lnTo>
                  <a:pt x="312" y="0"/>
                </a:lnTo>
                <a:close/>
                <a:moveTo>
                  <a:pt x="9" y="95"/>
                </a:moveTo>
                <a:lnTo>
                  <a:pt x="28" y="95"/>
                </a:lnTo>
                <a:lnTo>
                  <a:pt x="28" y="76"/>
                </a:lnTo>
                <a:lnTo>
                  <a:pt x="9" y="76"/>
                </a:lnTo>
                <a:lnTo>
                  <a:pt x="9" y="95"/>
                </a:lnTo>
                <a:close/>
                <a:moveTo>
                  <a:pt x="9" y="19"/>
                </a:moveTo>
                <a:lnTo>
                  <a:pt x="28" y="19"/>
                </a:lnTo>
                <a:lnTo>
                  <a:pt x="28" y="0"/>
                </a:lnTo>
                <a:lnTo>
                  <a:pt x="9" y="0"/>
                </a:lnTo>
                <a:lnTo>
                  <a:pt x="9" y="19"/>
                </a:lnTo>
                <a:close/>
                <a:moveTo>
                  <a:pt x="66" y="95"/>
                </a:moveTo>
                <a:lnTo>
                  <a:pt x="312" y="95"/>
                </a:lnTo>
                <a:lnTo>
                  <a:pt x="312" y="76"/>
                </a:lnTo>
                <a:lnTo>
                  <a:pt x="66" y="76"/>
                </a:lnTo>
                <a:lnTo>
                  <a:pt x="66" y="95"/>
                </a:lnTo>
                <a:close/>
                <a:moveTo>
                  <a:pt x="66" y="171"/>
                </a:moveTo>
                <a:lnTo>
                  <a:pt x="312" y="171"/>
                </a:lnTo>
                <a:lnTo>
                  <a:pt x="312" y="152"/>
                </a:lnTo>
                <a:lnTo>
                  <a:pt x="66" y="152"/>
                </a:lnTo>
                <a:lnTo>
                  <a:pt x="66" y="171"/>
                </a:lnTo>
                <a:close/>
                <a:moveTo>
                  <a:pt x="54" y="137"/>
                </a:moveTo>
                <a:lnTo>
                  <a:pt x="42" y="126"/>
                </a:lnTo>
                <a:lnTo>
                  <a:pt x="19" y="149"/>
                </a:lnTo>
                <a:lnTo>
                  <a:pt x="9" y="140"/>
                </a:lnTo>
                <a:lnTo>
                  <a:pt x="0" y="152"/>
                </a:lnTo>
                <a:lnTo>
                  <a:pt x="19" y="171"/>
                </a:lnTo>
                <a:lnTo>
                  <a:pt x="54" y="1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1" name="TextBox 20"/>
          <p:cNvSpPr txBox="1"/>
          <p:nvPr/>
        </p:nvSpPr>
        <p:spPr>
          <a:xfrm>
            <a:off x="1184887" y="4314463"/>
            <a:ext cx="62535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Automatic backups for disaster recovery.</a:t>
            </a:r>
          </a:p>
        </p:txBody>
      </p:sp>
      <p:sp>
        <p:nvSpPr>
          <p:cNvPr id="22" name="Freeform 21"/>
          <p:cNvSpPr>
            <a:spLocks noChangeAspect="1"/>
          </p:cNvSpPr>
          <p:nvPr/>
        </p:nvSpPr>
        <p:spPr bwMode="auto">
          <a:xfrm>
            <a:off x="593722" y="5206084"/>
            <a:ext cx="360363" cy="423863"/>
          </a:xfrm>
          <a:custGeom>
            <a:avLst/>
            <a:gdLst>
              <a:gd name="T0" fmla="*/ 227 w 227"/>
              <a:gd name="T1" fmla="*/ 168 h 267"/>
              <a:gd name="T2" fmla="*/ 97 w 227"/>
              <a:gd name="T3" fmla="*/ 168 h 267"/>
              <a:gd name="T4" fmla="*/ 173 w 227"/>
              <a:gd name="T5" fmla="*/ 92 h 267"/>
              <a:gd name="T6" fmla="*/ 83 w 227"/>
              <a:gd name="T7" fmla="*/ 0 h 267"/>
              <a:gd name="T8" fmla="*/ 69 w 227"/>
              <a:gd name="T9" fmla="*/ 12 h 267"/>
              <a:gd name="T10" fmla="*/ 137 w 227"/>
              <a:gd name="T11" fmla="*/ 83 h 267"/>
              <a:gd name="T12" fmla="*/ 0 w 227"/>
              <a:gd name="T13" fmla="*/ 83 h 267"/>
              <a:gd name="T14" fmla="*/ 0 w 227"/>
              <a:gd name="T15" fmla="*/ 101 h 267"/>
              <a:gd name="T16" fmla="*/ 137 w 227"/>
              <a:gd name="T17" fmla="*/ 101 h 267"/>
              <a:gd name="T18" fmla="*/ 62 w 227"/>
              <a:gd name="T19" fmla="*/ 177 h 267"/>
              <a:gd name="T20" fmla="*/ 154 w 227"/>
              <a:gd name="T21" fmla="*/ 267 h 267"/>
              <a:gd name="T22" fmla="*/ 168 w 227"/>
              <a:gd name="T23" fmla="*/ 255 h 267"/>
              <a:gd name="T24" fmla="*/ 97 w 227"/>
              <a:gd name="T25" fmla="*/ 187 h 267"/>
              <a:gd name="T26" fmla="*/ 227 w 227"/>
              <a:gd name="T27" fmla="*/ 187 h 267"/>
              <a:gd name="T28" fmla="*/ 227 w 227"/>
              <a:gd name="T29" fmla="*/ 16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7" h="267">
                <a:moveTo>
                  <a:pt x="227" y="168"/>
                </a:moveTo>
                <a:lnTo>
                  <a:pt x="97" y="168"/>
                </a:lnTo>
                <a:lnTo>
                  <a:pt x="173" y="92"/>
                </a:lnTo>
                <a:lnTo>
                  <a:pt x="83" y="0"/>
                </a:lnTo>
                <a:lnTo>
                  <a:pt x="69" y="12"/>
                </a:lnTo>
                <a:lnTo>
                  <a:pt x="137" y="83"/>
                </a:lnTo>
                <a:lnTo>
                  <a:pt x="0" y="83"/>
                </a:lnTo>
                <a:lnTo>
                  <a:pt x="0" y="101"/>
                </a:lnTo>
                <a:lnTo>
                  <a:pt x="137" y="101"/>
                </a:lnTo>
                <a:lnTo>
                  <a:pt x="62" y="177"/>
                </a:lnTo>
                <a:lnTo>
                  <a:pt x="154" y="267"/>
                </a:lnTo>
                <a:lnTo>
                  <a:pt x="168" y="255"/>
                </a:lnTo>
                <a:lnTo>
                  <a:pt x="97" y="187"/>
                </a:lnTo>
                <a:lnTo>
                  <a:pt x="227" y="187"/>
                </a:lnTo>
                <a:lnTo>
                  <a:pt x="227" y="16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3" name="TextBox 22"/>
          <p:cNvSpPr txBox="1"/>
          <p:nvPr/>
        </p:nvSpPr>
        <p:spPr>
          <a:xfrm>
            <a:off x="1184887" y="5049881"/>
            <a:ext cx="6253524"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No need to monitor replication to DCs.</a:t>
            </a:r>
          </a:p>
        </p:txBody>
      </p:sp>
      <p:sp>
        <p:nvSpPr>
          <p:cNvPr id="24" name="Freeform 23"/>
          <p:cNvSpPr>
            <a:spLocks noEditPoints="1"/>
          </p:cNvSpPr>
          <p:nvPr/>
        </p:nvSpPr>
        <p:spPr bwMode="auto">
          <a:xfrm>
            <a:off x="521487" y="5963955"/>
            <a:ext cx="468313" cy="349250"/>
          </a:xfrm>
          <a:custGeom>
            <a:avLst/>
            <a:gdLst>
              <a:gd name="T0" fmla="*/ 0 w 125"/>
              <a:gd name="T1" fmla="*/ 71 h 93"/>
              <a:gd name="T2" fmla="*/ 53 w 125"/>
              <a:gd name="T3" fmla="*/ 44 h 93"/>
              <a:gd name="T4" fmla="*/ 110 w 125"/>
              <a:gd name="T5" fmla="*/ 15 h 93"/>
              <a:gd name="T6" fmla="*/ 101 w 125"/>
              <a:gd name="T7" fmla="*/ 5 h 93"/>
              <a:gd name="T8" fmla="*/ 106 w 125"/>
              <a:gd name="T9" fmla="*/ 0 h 93"/>
              <a:gd name="T10" fmla="*/ 125 w 125"/>
              <a:gd name="T11" fmla="*/ 19 h 93"/>
              <a:gd name="T12" fmla="*/ 106 w 125"/>
              <a:gd name="T13" fmla="*/ 37 h 93"/>
              <a:gd name="T14" fmla="*/ 101 w 125"/>
              <a:gd name="T15" fmla="*/ 32 h 93"/>
              <a:gd name="T16" fmla="*/ 110 w 125"/>
              <a:gd name="T17" fmla="*/ 23 h 93"/>
              <a:gd name="T18" fmla="*/ 59 w 125"/>
              <a:gd name="T19" fmla="*/ 49 h 93"/>
              <a:gd name="T20" fmla="*/ 0 w 125"/>
              <a:gd name="T21" fmla="*/ 79 h 93"/>
              <a:gd name="T22" fmla="*/ 0 w 125"/>
              <a:gd name="T23" fmla="*/ 71 h 93"/>
              <a:gd name="T24" fmla="*/ 50 w 125"/>
              <a:gd name="T25" fmla="*/ 35 h 93"/>
              <a:gd name="T26" fmla="*/ 0 w 125"/>
              <a:gd name="T27" fmla="*/ 15 h 93"/>
              <a:gd name="T28" fmla="*/ 0 w 125"/>
              <a:gd name="T29" fmla="*/ 23 h 93"/>
              <a:gd name="T30" fmla="*/ 45 w 125"/>
              <a:gd name="T31" fmla="*/ 41 h 93"/>
              <a:gd name="T32" fmla="*/ 46 w 125"/>
              <a:gd name="T33" fmla="*/ 39 h 93"/>
              <a:gd name="T34" fmla="*/ 50 w 125"/>
              <a:gd name="T35" fmla="*/ 35 h 93"/>
              <a:gd name="T36" fmla="*/ 106 w 125"/>
              <a:gd name="T37" fmla="*/ 93 h 93"/>
              <a:gd name="T38" fmla="*/ 125 w 125"/>
              <a:gd name="T39" fmla="*/ 75 h 93"/>
              <a:gd name="T40" fmla="*/ 106 w 125"/>
              <a:gd name="T41" fmla="*/ 56 h 93"/>
              <a:gd name="T42" fmla="*/ 101 w 125"/>
              <a:gd name="T43" fmla="*/ 61 h 93"/>
              <a:gd name="T44" fmla="*/ 110 w 125"/>
              <a:gd name="T45" fmla="*/ 71 h 93"/>
              <a:gd name="T46" fmla="*/ 67 w 125"/>
              <a:gd name="T47" fmla="*/ 52 h 93"/>
              <a:gd name="T48" fmla="*/ 65 w 125"/>
              <a:gd name="T49" fmla="*/ 54 h 93"/>
              <a:gd name="T50" fmla="*/ 61 w 125"/>
              <a:gd name="T51" fmla="*/ 58 h 93"/>
              <a:gd name="T52" fmla="*/ 110 w 125"/>
              <a:gd name="T53" fmla="*/ 79 h 93"/>
              <a:gd name="T54" fmla="*/ 101 w 125"/>
              <a:gd name="T55" fmla="*/ 88 h 93"/>
              <a:gd name="T56" fmla="*/ 106 w 125"/>
              <a:gd name="T5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5" h="93">
                <a:moveTo>
                  <a:pt x="0" y="71"/>
                </a:moveTo>
                <a:cubicBezTo>
                  <a:pt x="20" y="71"/>
                  <a:pt x="38" y="61"/>
                  <a:pt x="53" y="44"/>
                </a:cubicBezTo>
                <a:cubicBezTo>
                  <a:pt x="68" y="26"/>
                  <a:pt x="88" y="15"/>
                  <a:pt x="110" y="15"/>
                </a:cubicBezTo>
                <a:cubicBezTo>
                  <a:pt x="101" y="5"/>
                  <a:pt x="101" y="5"/>
                  <a:pt x="101" y="5"/>
                </a:cubicBezTo>
                <a:cubicBezTo>
                  <a:pt x="106" y="0"/>
                  <a:pt x="106" y="0"/>
                  <a:pt x="106" y="0"/>
                </a:cubicBezTo>
                <a:cubicBezTo>
                  <a:pt x="125" y="19"/>
                  <a:pt x="125" y="19"/>
                  <a:pt x="125" y="19"/>
                </a:cubicBezTo>
                <a:cubicBezTo>
                  <a:pt x="106" y="37"/>
                  <a:pt x="106" y="37"/>
                  <a:pt x="106" y="37"/>
                </a:cubicBezTo>
                <a:cubicBezTo>
                  <a:pt x="101" y="32"/>
                  <a:pt x="101" y="32"/>
                  <a:pt x="101" y="32"/>
                </a:cubicBezTo>
                <a:cubicBezTo>
                  <a:pt x="110" y="23"/>
                  <a:pt x="110" y="23"/>
                  <a:pt x="110" y="23"/>
                </a:cubicBezTo>
                <a:cubicBezTo>
                  <a:pt x="91" y="23"/>
                  <a:pt x="72" y="33"/>
                  <a:pt x="59" y="49"/>
                </a:cubicBezTo>
                <a:cubicBezTo>
                  <a:pt x="43" y="68"/>
                  <a:pt x="22" y="79"/>
                  <a:pt x="0" y="79"/>
                </a:cubicBezTo>
                <a:lnTo>
                  <a:pt x="0" y="71"/>
                </a:lnTo>
                <a:close/>
                <a:moveTo>
                  <a:pt x="50" y="35"/>
                </a:moveTo>
                <a:cubicBezTo>
                  <a:pt x="36" y="22"/>
                  <a:pt x="18" y="15"/>
                  <a:pt x="0" y="15"/>
                </a:cubicBezTo>
                <a:cubicBezTo>
                  <a:pt x="0" y="23"/>
                  <a:pt x="0" y="23"/>
                  <a:pt x="0" y="23"/>
                </a:cubicBezTo>
                <a:cubicBezTo>
                  <a:pt x="16" y="23"/>
                  <a:pt x="32" y="29"/>
                  <a:pt x="45" y="41"/>
                </a:cubicBezTo>
                <a:cubicBezTo>
                  <a:pt x="45" y="40"/>
                  <a:pt x="46" y="40"/>
                  <a:pt x="46" y="39"/>
                </a:cubicBezTo>
                <a:cubicBezTo>
                  <a:pt x="48" y="38"/>
                  <a:pt x="49" y="36"/>
                  <a:pt x="50" y="35"/>
                </a:cubicBezTo>
                <a:close/>
                <a:moveTo>
                  <a:pt x="106" y="93"/>
                </a:moveTo>
                <a:cubicBezTo>
                  <a:pt x="125" y="75"/>
                  <a:pt x="125" y="75"/>
                  <a:pt x="125" y="75"/>
                </a:cubicBezTo>
                <a:cubicBezTo>
                  <a:pt x="106" y="56"/>
                  <a:pt x="106" y="56"/>
                  <a:pt x="106" y="56"/>
                </a:cubicBezTo>
                <a:cubicBezTo>
                  <a:pt x="101" y="61"/>
                  <a:pt x="101" y="61"/>
                  <a:pt x="101" y="61"/>
                </a:cubicBezTo>
                <a:cubicBezTo>
                  <a:pt x="110" y="71"/>
                  <a:pt x="110" y="71"/>
                  <a:pt x="110" y="71"/>
                </a:cubicBezTo>
                <a:cubicBezTo>
                  <a:pt x="94" y="70"/>
                  <a:pt x="79" y="64"/>
                  <a:pt x="67" y="52"/>
                </a:cubicBezTo>
                <a:cubicBezTo>
                  <a:pt x="66" y="53"/>
                  <a:pt x="65" y="54"/>
                  <a:pt x="65" y="54"/>
                </a:cubicBezTo>
                <a:cubicBezTo>
                  <a:pt x="64" y="56"/>
                  <a:pt x="63" y="57"/>
                  <a:pt x="61" y="58"/>
                </a:cubicBezTo>
                <a:cubicBezTo>
                  <a:pt x="75" y="71"/>
                  <a:pt x="92" y="78"/>
                  <a:pt x="110" y="79"/>
                </a:cubicBezTo>
                <a:cubicBezTo>
                  <a:pt x="101" y="88"/>
                  <a:pt x="101" y="88"/>
                  <a:pt x="101" y="88"/>
                </a:cubicBezTo>
                <a:lnTo>
                  <a:pt x="106" y="9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5" name="Multiply 24"/>
          <p:cNvSpPr/>
          <p:nvPr/>
        </p:nvSpPr>
        <p:spPr bwMode="auto">
          <a:xfrm>
            <a:off x="9113837" y="2336006"/>
            <a:ext cx="1295400" cy="1315701"/>
          </a:xfrm>
          <a:prstGeom prst="mathMultiply">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6" name="Freeform 25"/>
          <p:cNvSpPr>
            <a:spLocks noEditPoints="1"/>
          </p:cNvSpPr>
          <p:nvPr/>
        </p:nvSpPr>
        <p:spPr bwMode="auto">
          <a:xfrm>
            <a:off x="7227887" y="5895858"/>
            <a:ext cx="396875" cy="442913"/>
          </a:xfrm>
          <a:custGeom>
            <a:avLst/>
            <a:gdLst>
              <a:gd name="T0" fmla="*/ 73 w 106"/>
              <a:gd name="T1" fmla="*/ 68 h 118"/>
              <a:gd name="T2" fmla="*/ 90 w 106"/>
              <a:gd name="T3" fmla="*/ 37 h 118"/>
              <a:gd name="T4" fmla="*/ 53 w 106"/>
              <a:gd name="T5" fmla="*/ 0 h 118"/>
              <a:gd name="T6" fmla="*/ 16 w 106"/>
              <a:gd name="T7" fmla="*/ 37 h 118"/>
              <a:gd name="T8" fmla="*/ 33 w 106"/>
              <a:gd name="T9" fmla="*/ 68 h 118"/>
              <a:gd name="T10" fmla="*/ 0 w 106"/>
              <a:gd name="T11" fmla="*/ 117 h 118"/>
              <a:gd name="T12" fmla="*/ 0 w 106"/>
              <a:gd name="T13" fmla="*/ 118 h 118"/>
              <a:gd name="T14" fmla="*/ 10 w 106"/>
              <a:gd name="T15" fmla="*/ 118 h 118"/>
              <a:gd name="T16" fmla="*/ 10 w 106"/>
              <a:gd name="T17" fmla="*/ 117 h 118"/>
              <a:gd name="T18" fmla="*/ 53 w 106"/>
              <a:gd name="T19" fmla="*/ 74 h 118"/>
              <a:gd name="T20" fmla="*/ 96 w 106"/>
              <a:gd name="T21" fmla="*/ 117 h 118"/>
              <a:gd name="T22" fmla="*/ 96 w 106"/>
              <a:gd name="T23" fmla="*/ 118 h 118"/>
              <a:gd name="T24" fmla="*/ 106 w 106"/>
              <a:gd name="T25" fmla="*/ 118 h 118"/>
              <a:gd name="T26" fmla="*/ 106 w 106"/>
              <a:gd name="T27" fmla="*/ 117 h 118"/>
              <a:gd name="T28" fmla="*/ 73 w 106"/>
              <a:gd name="T29" fmla="*/ 68 h 118"/>
              <a:gd name="T30" fmla="*/ 53 w 106"/>
              <a:gd name="T31" fmla="*/ 10 h 118"/>
              <a:gd name="T32" fmla="*/ 80 w 106"/>
              <a:gd name="T33" fmla="*/ 37 h 118"/>
              <a:gd name="T34" fmla="*/ 53 w 106"/>
              <a:gd name="T35" fmla="*/ 64 h 118"/>
              <a:gd name="T36" fmla="*/ 26 w 106"/>
              <a:gd name="T37" fmla="*/ 37 h 118"/>
              <a:gd name="T38" fmla="*/ 53 w 106"/>
              <a:gd name="T39" fmla="*/ 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18">
                <a:moveTo>
                  <a:pt x="73" y="68"/>
                </a:moveTo>
                <a:cubicBezTo>
                  <a:pt x="84" y="61"/>
                  <a:pt x="90" y="50"/>
                  <a:pt x="90" y="37"/>
                </a:cubicBezTo>
                <a:cubicBezTo>
                  <a:pt x="90" y="17"/>
                  <a:pt x="73" y="0"/>
                  <a:pt x="53" y="0"/>
                </a:cubicBezTo>
                <a:cubicBezTo>
                  <a:pt x="33" y="0"/>
                  <a:pt x="16" y="17"/>
                  <a:pt x="16" y="37"/>
                </a:cubicBezTo>
                <a:cubicBezTo>
                  <a:pt x="16" y="50"/>
                  <a:pt x="22" y="61"/>
                  <a:pt x="33" y="68"/>
                </a:cubicBezTo>
                <a:cubicBezTo>
                  <a:pt x="13" y="76"/>
                  <a:pt x="0" y="96"/>
                  <a:pt x="0" y="117"/>
                </a:cubicBezTo>
                <a:cubicBezTo>
                  <a:pt x="0" y="118"/>
                  <a:pt x="0" y="118"/>
                  <a:pt x="0" y="118"/>
                </a:cubicBezTo>
                <a:cubicBezTo>
                  <a:pt x="10" y="118"/>
                  <a:pt x="10" y="118"/>
                  <a:pt x="10" y="118"/>
                </a:cubicBezTo>
                <a:cubicBezTo>
                  <a:pt x="10" y="117"/>
                  <a:pt x="10" y="117"/>
                  <a:pt x="10" y="117"/>
                </a:cubicBezTo>
                <a:cubicBezTo>
                  <a:pt x="10" y="93"/>
                  <a:pt x="29" y="74"/>
                  <a:pt x="53" y="74"/>
                </a:cubicBezTo>
                <a:cubicBezTo>
                  <a:pt x="77" y="74"/>
                  <a:pt x="96" y="93"/>
                  <a:pt x="96" y="117"/>
                </a:cubicBezTo>
                <a:cubicBezTo>
                  <a:pt x="96" y="118"/>
                  <a:pt x="96" y="118"/>
                  <a:pt x="96" y="118"/>
                </a:cubicBezTo>
                <a:cubicBezTo>
                  <a:pt x="106" y="118"/>
                  <a:pt x="106" y="118"/>
                  <a:pt x="106" y="118"/>
                </a:cubicBezTo>
                <a:cubicBezTo>
                  <a:pt x="106" y="117"/>
                  <a:pt x="106" y="117"/>
                  <a:pt x="106" y="117"/>
                </a:cubicBezTo>
                <a:cubicBezTo>
                  <a:pt x="106" y="96"/>
                  <a:pt x="93" y="76"/>
                  <a:pt x="73" y="68"/>
                </a:cubicBezTo>
                <a:close/>
                <a:moveTo>
                  <a:pt x="53" y="10"/>
                </a:moveTo>
                <a:cubicBezTo>
                  <a:pt x="68" y="10"/>
                  <a:pt x="80" y="22"/>
                  <a:pt x="80" y="37"/>
                </a:cubicBezTo>
                <a:cubicBezTo>
                  <a:pt x="80" y="52"/>
                  <a:pt x="68" y="64"/>
                  <a:pt x="53" y="64"/>
                </a:cubicBezTo>
                <a:cubicBezTo>
                  <a:pt x="38" y="64"/>
                  <a:pt x="26" y="52"/>
                  <a:pt x="26" y="37"/>
                </a:cubicBezTo>
                <a:cubicBezTo>
                  <a:pt x="26" y="22"/>
                  <a:pt x="38" y="10"/>
                  <a:pt x="53" y="1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92806642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Group 29"/>
          <p:cNvGrpSpPr/>
          <p:nvPr/>
        </p:nvGrpSpPr>
        <p:grpSpPr>
          <a:xfrm>
            <a:off x="532492" y="1504590"/>
            <a:ext cx="11401521" cy="2464519"/>
            <a:chOff x="865495" y="1489943"/>
            <a:chExt cx="11401521" cy="2464519"/>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80637" y="1744662"/>
              <a:ext cx="1663724" cy="1100877"/>
            </a:xfrm>
            <a:prstGeom prst="rect">
              <a:avLst/>
            </a:prstGeom>
          </p:spPr>
        </p:pic>
        <p:pic>
          <p:nvPicPr>
            <p:cNvPr id="6" name="Picture 5"/>
            <p:cNvPicPr>
              <a:picLocks noChangeAspect="1"/>
            </p:cNvPicPr>
            <p:nvPr/>
          </p:nvPicPr>
          <p:blipFill>
            <a:blip r:embed="rId3"/>
            <a:stretch>
              <a:fillRect/>
            </a:stretch>
          </p:blipFill>
          <p:spPr>
            <a:xfrm>
              <a:off x="6065837" y="1489943"/>
              <a:ext cx="1610314" cy="1610314"/>
            </a:xfrm>
            <a:prstGeom prst="rect">
              <a:avLst/>
            </a:prstGeom>
          </p:spPr>
        </p:pic>
        <p:sp>
          <p:nvSpPr>
            <p:cNvPr id="8" name="Rectangle 7"/>
            <p:cNvSpPr/>
            <p:nvPr/>
          </p:nvSpPr>
          <p:spPr bwMode="auto">
            <a:xfrm>
              <a:off x="977643" y="2049462"/>
              <a:ext cx="1646516" cy="1371600"/>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13" name="Group 12"/>
            <p:cNvGrpSpPr/>
            <p:nvPr/>
          </p:nvGrpSpPr>
          <p:grpSpPr>
            <a:xfrm>
              <a:off x="2086108" y="2735262"/>
              <a:ext cx="458002" cy="468411"/>
              <a:chOff x="2086108" y="3113989"/>
              <a:chExt cx="458002" cy="468411"/>
            </a:xfrm>
          </p:grpSpPr>
          <p:sp>
            <p:nvSpPr>
              <p:cNvPr id="9" name="Hexagon 8"/>
              <p:cNvSpPr/>
              <p:nvPr/>
            </p:nvSpPr>
            <p:spPr bwMode="auto">
              <a:xfrm>
                <a:off x="2086108" y="3181649"/>
                <a:ext cx="458002" cy="343501"/>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0" name="Rectangle 9"/>
              <p:cNvSpPr/>
              <p:nvPr/>
            </p:nvSpPr>
            <p:spPr bwMode="auto">
              <a:xfrm>
                <a:off x="2183664" y="3113989"/>
                <a:ext cx="267414" cy="4684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9637" y="2049462"/>
              <a:ext cx="889046" cy="588277"/>
            </a:xfrm>
            <a:prstGeom prst="rect">
              <a:avLst/>
            </a:prstGeom>
          </p:spPr>
        </p:pic>
        <p:sp>
          <p:nvSpPr>
            <p:cNvPr id="12" name="TextBox 11"/>
            <p:cNvSpPr txBox="1"/>
            <p:nvPr/>
          </p:nvSpPr>
          <p:spPr>
            <a:xfrm>
              <a:off x="1263953" y="3040062"/>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15" name="TextBox 14"/>
            <p:cNvSpPr txBox="1"/>
            <p:nvPr/>
          </p:nvSpPr>
          <p:spPr>
            <a:xfrm>
              <a:off x="8135915" y="2439151"/>
              <a:ext cx="1587522"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Azure AD Connect Sync</a:t>
              </a:r>
            </a:p>
          </p:txBody>
        </p:sp>
        <p:sp>
          <p:nvSpPr>
            <p:cNvPr id="16" name="TextBox 15"/>
            <p:cNvSpPr txBox="1"/>
            <p:nvPr/>
          </p:nvSpPr>
          <p:spPr>
            <a:xfrm>
              <a:off x="5713504" y="3437397"/>
              <a:ext cx="2314979"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zure AD tenant</a:t>
              </a:r>
            </a:p>
          </p:txBody>
        </p:sp>
        <p:sp>
          <p:nvSpPr>
            <p:cNvPr id="17" name="TextBox 16"/>
            <p:cNvSpPr txBox="1"/>
            <p:nvPr/>
          </p:nvSpPr>
          <p:spPr>
            <a:xfrm>
              <a:off x="9952037" y="3421062"/>
              <a:ext cx="2314979"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On-premises AD</a:t>
              </a:r>
            </a:p>
          </p:txBody>
        </p:sp>
        <p:sp>
          <p:nvSpPr>
            <p:cNvPr id="18" name="TextBox 17"/>
            <p:cNvSpPr txBox="1"/>
            <p:nvPr/>
          </p:nvSpPr>
          <p:spPr>
            <a:xfrm>
              <a:off x="865495" y="3425797"/>
              <a:ext cx="2314979" cy="5170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Managed domain</a:t>
              </a:r>
            </a:p>
          </p:txBody>
        </p:sp>
        <p:grpSp>
          <p:nvGrpSpPr>
            <p:cNvPr id="24" name="Group 23"/>
            <p:cNvGrpSpPr/>
            <p:nvPr/>
          </p:nvGrpSpPr>
          <p:grpSpPr>
            <a:xfrm>
              <a:off x="8354111" y="1932021"/>
              <a:ext cx="956437" cy="250408"/>
              <a:chOff x="8354111" y="1932021"/>
              <a:chExt cx="956437" cy="250408"/>
            </a:xfrm>
          </p:grpSpPr>
          <p:sp>
            <p:nvSpPr>
              <p:cNvPr id="21" name="Freeform 20"/>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2" name="Freeform 21"/>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3" name="Freeform 22"/>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nvGrpSpPr>
            <p:cNvPr id="25" name="Group 24"/>
            <p:cNvGrpSpPr/>
            <p:nvPr/>
          </p:nvGrpSpPr>
          <p:grpSpPr>
            <a:xfrm>
              <a:off x="4134280" y="1941343"/>
              <a:ext cx="956437" cy="250408"/>
              <a:chOff x="8354111" y="1932021"/>
              <a:chExt cx="956437" cy="250408"/>
            </a:xfrm>
          </p:grpSpPr>
          <p:sp>
            <p:nvSpPr>
              <p:cNvPr id="26" name="Freeform 25"/>
              <p:cNvSpPr>
                <a:spLocks noEditPoints="1"/>
              </p:cNvSpPr>
              <p:nvPr/>
            </p:nvSpPr>
            <p:spPr bwMode="auto">
              <a:xfrm>
                <a:off x="8983094" y="1942938"/>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7" name="Freeform 26"/>
              <p:cNvSpPr>
                <a:spLocks noEditPoints="1"/>
              </p:cNvSpPr>
              <p:nvPr/>
            </p:nvSpPr>
            <p:spPr bwMode="auto">
              <a:xfrm>
                <a:off x="8354111" y="1932021"/>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 name="Freeform 27"/>
              <p:cNvSpPr>
                <a:spLocks noEditPoints="1"/>
              </p:cNvSpPr>
              <p:nvPr/>
            </p:nvSpPr>
            <p:spPr bwMode="auto">
              <a:xfrm>
                <a:off x="8725919" y="1933964"/>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grpSp>
      <p:sp>
        <p:nvSpPr>
          <p:cNvPr id="29" name="TextBox 28"/>
          <p:cNvSpPr txBox="1"/>
          <p:nvPr/>
        </p:nvSpPr>
        <p:spPr>
          <a:xfrm>
            <a:off x="550458" y="4487862"/>
            <a:ext cx="11763779" cy="215443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Users, group memberships and passwords are synced from your Azure AD tenant.</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imple to deploy</a:t>
            </a:r>
          </a:p>
          <a:p>
            <a:pPr marL="809271" marR="0" lvl="1"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loud-only directories – no additional sync/replication software needed!</a:t>
            </a:r>
          </a:p>
          <a:p>
            <a:pPr marL="809271" marR="0" lvl="1"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Federated/synced directories – simply leverage your existing Azure AD Connect deployment.</a:t>
            </a:r>
          </a:p>
        </p:txBody>
      </p:sp>
      <p:sp>
        <p:nvSpPr>
          <p:cNvPr id="31" name="Title 1"/>
          <p:cNvSpPr txBox="1">
            <a:spLocks/>
          </p:cNvSpPr>
          <p:nvPr/>
        </p:nvSpPr>
        <p:spPr>
          <a:xfrm>
            <a:off x="46037" y="682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fontAlgn="auto">
              <a:spcAft>
                <a:spcPts val="0"/>
              </a:spcAft>
              <a:buClrTx/>
              <a:buSzTx/>
              <a:tabLst/>
              <a:defRPr/>
            </a:pPr>
            <a:r>
              <a:rPr lang="en-US" dirty="0"/>
              <a:t>Your managed domain is kept in-sync</a:t>
            </a:r>
          </a:p>
        </p:txBody>
      </p:sp>
      <p:cxnSp>
        <p:nvCxnSpPr>
          <p:cNvPr id="34" name="Straight Arrow Connector 33"/>
          <p:cNvCxnSpPr/>
          <p:nvPr/>
        </p:nvCxnSpPr>
        <p:spPr>
          <a:xfrm flipH="1">
            <a:off x="2941637" y="2430462"/>
            <a:ext cx="2667000" cy="0"/>
          </a:xfrm>
          <a:prstGeom prst="straightConnector1">
            <a:avLst/>
          </a:prstGeom>
          <a:ln w="28575">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7451292" y="2451099"/>
            <a:ext cx="2424545" cy="0"/>
          </a:xfrm>
          <a:prstGeom prst="straightConnector1">
            <a:avLst/>
          </a:prstGeom>
          <a:ln w="28575">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ounded Rectangular Callout 31"/>
          <p:cNvSpPr/>
          <p:nvPr/>
        </p:nvSpPr>
        <p:spPr bwMode="auto">
          <a:xfrm>
            <a:off x="3245929" y="2899058"/>
            <a:ext cx="2286000" cy="616567"/>
          </a:xfrm>
          <a:prstGeom prst="wedgeRoundRectCallout">
            <a:avLst>
              <a:gd name="adj1" fmla="val -35514"/>
              <a:gd name="adj2" fmla="val -80903"/>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Automatic background sync to your managed domain</a:t>
            </a:r>
          </a:p>
        </p:txBody>
      </p:sp>
      <p:sp>
        <p:nvSpPr>
          <p:cNvPr id="33" name="Rounded Rectangular Callout 32"/>
          <p:cNvSpPr/>
          <p:nvPr/>
        </p:nvSpPr>
        <p:spPr bwMode="auto">
          <a:xfrm>
            <a:off x="9097224" y="742113"/>
            <a:ext cx="2414134" cy="616567"/>
          </a:xfrm>
          <a:prstGeom prst="wedgeRoundRectCallout">
            <a:avLst>
              <a:gd name="adj1" fmla="val -60992"/>
              <a:gd name="adj2" fmla="val 136488"/>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Sync users, groups, passwords, SIDs to Azure AD</a:t>
            </a:r>
          </a:p>
        </p:txBody>
      </p:sp>
    </p:spTree>
    <p:extLst>
      <p:ext uri="{BB962C8B-B14F-4D97-AF65-F5344CB8AC3E}">
        <p14:creationId xmlns:p14="http://schemas.microsoft.com/office/powerpoint/2010/main" val="31236457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sosceles Triangle 2"/>
          <p:cNvSpPr/>
          <p:nvPr/>
        </p:nvSpPr>
        <p:spPr bwMode="auto">
          <a:xfrm>
            <a:off x="7742238" y="4043043"/>
            <a:ext cx="4724400" cy="2959419"/>
          </a:xfrm>
          <a:prstGeom prst="triangle">
            <a:avLst>
              <a:gd name="adj" fmla="val 100000"/>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 name="Title 1"/>
          <p:cNvSpPr>
            <a:spLocks noGrp="1"/>
          </p:cNvSpPr>
          <p:nvPr>
            <p:ph type="title"/>
          </p:nvPr>
        </p:nvSpPr>
        <p:spPr>
          <a:xfrm>
            <a:off x="46037" y="68262"/>
            <a:ext cx="11889564" cy="917575"/>
          </a:xfrm>
        </p:spPr>
        <p:txBody>
          <a:bodyPr/>
          <a:lstStyle/>
          <a:p>
            <a:pPr>
              <a:defRPr/>
            </a:pPr>
            <a:r>
              <a:rPr lang="en-US" dirty="0"/>
              <a:t>Synced tenants</a:t>
            </a:r>
          </a:p>
        </p:txBody>
      </p:sp>
      <p:sp>
        <p:nvSpPr>
          <p:cNvPr id="164" name="Freeform 163"/>
          <p:cNvSpPr>
            <a:spLocks noChangeAspect="1"/>
          </p:cNvSpPr>
          <p:nvPr/>
        </p:nvSpPr>
        <p:spPr bwMode="black">
          <a:xfrm>
            <a:off x="-106363" y="-7938"/>
            <a:ext cx="10273580" cy="5316682"/>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bg2">
              <a:lumMod val="20000"/>
              <a:lumOff val="80000"/>
            </a:schemeClr>
          </a:solidFill>
          <a:ln>
            <a:solidFill>
              <a:schemeClr val="bg1">
                <a:lumMod val="85000"/>
              </a:schemeClr>
            </a:solidFill>
          </a:ln>
        </p:spPr>
        <p:txBody>
          <a:bodyPr vert="horz" wrap="square" lIns="65910" tIns="32955" rIns="65910" bIns="32955" numCol="1" anchor="t" anchorCtr="0" compatLnSpc="1">
            <a:prstTxWarp prst="textNoShape">
              <a:avLst/>
            </a:prstTxWarp>
          </a:bodyPr>
          <a:lstStyle/>
          <a:p>
            <a:pPr marL="0" marR="0" lvl="0" indent="0" defTabSz="672334" eaLnBrk="1" fontAlgn="auto" latinLnBrk="0" hangingPunct="1">
              <a:lnSpc>
                <a:spcPct val="100000"/>
              </a:lnSpc>
              <a:spcBef>
                <a:spcPts val="0"/>
              </a:spcBef>
              <a:spcAft>
                <a:spcPts val="0"/>
              </a:spcAft>
              <a:buClrTx/>
              <a:buSzTx/>
              <a:buFontTx/>
              <a:buNone/>
              <a:tabLst/>
              <a:defRPr/>
            </a:pPr>
            <a:endParaRPr kumimoji="0" lang="en-US" sz="1298" b="0" i="0" u="none" strike="noStrike" kern="0" cap="none" spc="0" normalizeH="0" baseline="0" noProof="0" dirty="0">
              <a:ln>
                <a:noFill/>
              </a:ln>
              <a:solidFill>
                <a:srgbClr val="FFFFFF"/>
              </a:solidFill>
              <a:effectLst/>
              <a:uLnTx/>
              <a:uFillTx/>
            </a:endParaRPr>
          </a:p>
        </p:txBody>
      </p:sp>
      <p:sp>
        <p:nvSpPr>
          <p:cNvPr id="4" name="Rectangle 3"/>
          <p:cNvSpPr/>
          <p:nvPr/>
        </p:nvSpPr>
        <p:spPr bwMode="auto">
          <a:xfrm>
            <a:off x="414752" y="2630487"/>
            <a:ext cx="3537205"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15" name="Group 14"/>
          <p:cNvGrpSpPr/>
          <p:nvPr/>
        </p:nvGrpSpPr>
        <p:grpSpPr>
          <a:xfrm>
            <a:off x="3413906" y="3849687"/>
            <a:ext cx="458002" cy="468411"/>
            <a:chOff x="8047037" y="3712007"/>
            <a:chExt cx="609600" cy="623455"/>
          </a:xfrm>
        </p:grpSpPr>
        <p:sp>
          <p:nvSpPr>
            <p:cNvPr id="11" name="Hexagon 10"/>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4" name="Rectangle 13"/>
            <p:cNvSpPr/>
            <p:nvPr/>
          </p:nvSpPr>
          <p:spPr bwMode="auto">
            <a:xfrm>
              <a:off x="8176884" y="3712007"/>
              <a:ext cx="355928" cy="62345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grpSp>
        <p:nvGrpSpPr>
          <p:cNvPr id="18" name="Group 17"/>
          <p:cNvGrpSpPr/>
          <p:nvPr/>
        </p:nvGrpSpPr>
        <p:grpSpPr bwMode="black">
          <a:xfrm>
            <a:off x="2646710" y="3214365"/>
            <a:ext cx="589950" cy="455404"/>
            <a:chOff x="7010400" y="2133600"/>
            <a:chExt cx="1379538" cy="1065213"/>
          </a:xfrm>
          <a:solidFill>
            <a:srgbClr val="505050"/>
          </a:solidFill>
        </p:grpSpPr>
        <p:sp>
          <p:nvSpPr>
            <p:cNvPr id="19" name="Freeform 18"/>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0" name="Freeform 19"/>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1" name="Freeform 20"/>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2" name="Freeform 21"/>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3" name="Freeform 22"/>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4" name="Freeform 23"/>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5" name="Freeform 24"/>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6" name="Freeform 25"/>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7" name="Freeform 26"/>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8" name="Freeform 27"/>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29" name="Freeform 28"/>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0" name="Freeform 29"/>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1" name="Freeform 30"/>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115" name="Group 114"/>
          <p:cNvGrpSpPr/>
          <p:nvPr/>
        </p:nvGrpSpPr>
        <p:grpSpPr>
          <a:xfrm>
            <a:off x="1583421" y="3227667"/>
            <a:ext cx="692137" cy="496267"/>
            <a:chOff x="1492615" y="2860796"/>
            <a:chExt cx="572014" cy="410138"/>
          </a:xfrm>
        </p:grpSpPr>
        <p:grpSp>
          <p:nvGrpSpPr>
            <p:cNvPr id="66" name="Group 65"/>
            <p:cNvGrpSpPr/>
            <p:nvPr/>
          </p:nvGrpSpPr>
          <p:grpSpPr bwMode="black">
            <a:xfrm>
              <a:off x="1492615" y="2860796"/>
              <a:ext cx="487562" cy="376367"/>
              <a:chOff x="7010400" y="2133600"/>
              <a:chExt cx="1379538" cy="1065213"/>
            </a:xfrm>
            <a:solidFill>
              <a:srgbClr val="505050"/>
            </a:solidFill>
          </p:grpSpPr>
          <p:sp>
            <p:nvSpPr>
              <p:cNvPr id="67" name="Freeform 6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8" name="Freeform 7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9" name="Freeform 7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0" name="Freeform 7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1" name="Freeform 8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2" name="Freeform 8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3" name="Freeform 8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4" name="Freeform 8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5" name="Freeform 8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6" name="Freeform 8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7" name="Freeform 8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8" name="Freeform 8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9" name="Freeform 8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0" name="Freeform 8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1" name="Freeform 9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2" name="Freeform 9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3" name="Freeform 9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4" name="Freeform 9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5" name="Freeform 9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6" name="Freeform 9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7" name="Freeform 9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8" name="Freeform 9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9" name="Freeform 9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0" name="Freeform 9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10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2" name="Freeform 10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3" name="Freeform 10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4" name="Freeform 10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5" name="Freeform 10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6" name="Freeform 10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7" name="Freeform 10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8" name="Freeform 10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9" name="Freeform 10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0" name="Freeform 10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1" name="Freeform 11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2" name="Freeform 11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3" name="Freeform 11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grpSp>
        <p:sp>
          <p:nvSpPr>
            <p:cNvPr id="114" name="Freeform 113"/>
            <p:cNvSpPr>
              <a:spLocks noChangeAspect="1"/>
            </p:cNvSpPr>
            <p:nvPr/>
          </p:nvSpPr>
          <p:spPr bwMode="black">
            <a:xfrm>
              <a:off x="1866552" y="3074252"/>
              <a:ext cx="198077" cy="19668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marL="0" marR="0" lvl="0" indent="0" algn="ctr" defTabSz="672139"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6" name="Group 115"/>
          <p:cNvGrpSpPr/>
          <p:nvPr/>
        </p:nvGrpSpPr>
        <p:grpSpPr bwMode="black">
          <a:xfrm>
            <a:off x="475389" y="3280877"/>
            <a:ext cx="589950" cy="455404"/>
            <a:chOff x="7010400" y="2133600"/>
            <a:chExt cx="1379538" cy="1065213"/>
          </a:xfrm>
          <a:solidFill>
            <a:srgbClr val="505050"/>
          </a:solidFill>
        </p:grpSpPr>
        <p:sp>
          <p:nvSpPr>
            <p:cNvPr id="117" name="Freeform 11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9" name="Freeform 11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0" name="Freeform 12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1" name="Freeform 13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3" name="Freeform 13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4" name="Freeform 13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5" name="Freeform 13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6" name="Freeform 13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7" name="Freeform 13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8" name="Freeform 13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0" name="Freeform 13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1" name="Freeform 14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2" name="Freeform 14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3" name="Freeform 14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4" name="Freeform 14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5" name="Freeform 14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5" name="Freeform 15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6" name="Freeform 15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7" name="Freeform 15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8" name="Freeform 15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9" name="Freeform 15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0" name="Freeform 15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1" name="Freeform 16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2" name="Freeform 16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3" name="Freeform 16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pic>
        <p:nvPicPr>
          <p:cNvPr id="165" name="Picture 164"/>
          <p:cNvPicPr>
            <a:picLocks noChangeAspect="1"/>
          </p:cNvPicPr>
          <p:nvPr/>
        </p:nvPicPr>
        <p:blipFill>
          <a:blip r:embed="rId2"/>
          <a:stretch>
            <a:fillRect/>
          </a:stretch>
        </p:blipFill>
        <p:spPr>
          <a:xfrm>
            <a:off x="8318696" y="2267948"/>
            <a:ext cx="1610314" cy="1610314"/>
          </a:xfrm>
          <a:prstGeom prst="rect">
            <a:avLst/>
          </a:prstGeom>
        </p:spPr>
      </p:pic>
      <p:sp>
        <p:nvSpPr>
          <p:cNvPr id="166" name="Rectangle 165"/>
          <p:cNvSpPr/>
          <p:nvPr/>
        </p:nvSpPr>
        <p:spPr>
          <a:xfrm>
            <a:off x="8411048" y="4043043"/>
            <a:ext cx="1436292" cy="492443"/>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1679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0B0F0"/>
                </a:solidFill>
                <a:effectLst/>
                <a:uLnTx/>
                <a:uFillTx/>
                <a:latin typeface="Segoe"/>
                <a:ea typeface="+mn-ea"/>
                <a:cs typeface="+mn-cs"/>
              </a:rPr>
              <a:t>Azure</a:t>
            </a:r>
          </a:p>
          <a:p>
            <a:pPr marL="0" marR="0" lvl="0" indent="0" algn="ctr" defTabSz="61679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0B0F0"/>
                </a:solidFill>
                <a:effectLst/>
                <a:uLnTx/>
                <a:uFillTx/>
                <a:latin typeface="Segoe"/>
                <a:ea typeface="+mn-ea"/>
                <a:cs typeface="+mn-cs"/>
              </a:rPr>
              <a:t>Active Directory</a:t>
            </a:r>
          </a:p>
        </p:txBody>
      </p:sp>
      <p:pic>
        <p:nvPicPr>
          <p:cNvPr id="168" name="Picture 16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7435" y="2785160"/>
            <a:ext cx="889046" cy="588277"/>
          </a:xfrm>
          <a:prstGeom prst="rect">
            <a:avLst/>
          </a:prstGeom>
        </p:spPr>
      </p:pic>
      <p:grpSp>
        <p:nvGrpSpPr>
          <p:cNvPr id="175" name="Group 174"/>
          <p:cNvGrpSpPr/>
          <p:nvPr/>
        </p:nvGrpSpPr>
        <p:grpSpPr>
          <a:xfrm>
            <a:off x="845381" y="2859087"/>
            <a:ext cx="2652937" cy="372556"/>
            <a:chOff x="1587660" y="4261331"/>
            <a:chExt cx="2652937" cy="548147"/>
          </a:xfrm>
        </p:grpSpPr>
        <p:cxnSp>
          <p:nvCxnSpPr>
            <p:cNvPr id="170" name="Elbow Connector 169"/>
            <p:cNvCxnSpPr/>
            <p:nvPr/>
          </p:nvCxnSpPr>
          <p:spPr>
            <a:xfrm flipV="1">
              <a:off x="1587660" y="4274587"/>
              <a:ext cx="2652937" cy="534891"/>
            </a:xfrm>
            <a:prstGeom prst="bentConnector3">
              <a:avLst>
                <a:gd name="adj1" fmla="val -265"/>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2644098" y="4278506"/>
              <a:ext cx="7316" cy="394462"/>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flipV="1">
              <a:off x="3716890" y="4261331"/>
              <a:ext cx="1" cy="441593"/>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85" name="Straight Arrow Connector 184"/>
          <p:cNvCxnSpPr/>
          <p:nvPr/>
        </p:nvCxnSpPr>
        <p:spPr>
          <a:xfrm flipH="1">
            <a:off x="7039848" y="3081514"/>
            <a:ext cx="1407910" cy="0"/>
          </a:xfrm>
          <a:prstGeom prst="straightConnector1">
            <a:avLst/>
          </a:prstGeom>
          <a:ln w="28575">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6" name="Straight Arrow Connector 185"/>
          <p:cNvCxnSpPr/>
          <p:nvPr/>
        </p:nvCxnSpPr>
        <p:spPr>
          <a:xfrm flipH="1">
            <a:off x="4472681" y="3090524"/>
            <a:ext cx="1231877" cy="0"/>
          </a:xfrm>
          <a:prstGeom prst="straightConnector1">
            <a:avLst/>
          </a:prstGeom>
          <a:ln w="28575">
            <a:solidFill>
              <a:srgbClr val="92D05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8" name="Rectangle 187"/>
          <p:cNvSpPr/>
          <p:nvPr/>
        </p:nvSpPr>
        <p:spPr>
          <a:xfrm>
            <a:off x="5579710" y="4043043"/>
            <a:ext cx="1572648" cy="492443"/>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61679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solidFill>
                    <a:srgbClr val="FFFFFF">
                      <a:alpha val="0"/>
                    </a:srgbClr>
                  </a:solidFill>
                </a:ln>
                <a:solidFill>
                  <a:srgbClr val="00B0F0"/>
                </a:solidFill>
                <a:effectLst/>
                <a:uLnTx/>
                <a:uFillTx/>
                <a:latin typeface="Segoe"/>
                <a:ea typeface="+mn-ea"/>
                <a:cs typeface="+mn-cs"/>
              </a:rPr>
              <a:t>Azure AD Domain Services</a:t>
            </a:r>
          </a:p>
        </p:txBody>
      </p:sp>
      <p:sp>
        <p:nvSpPr>
          <p:cNvPr id="189" name="TextBox 188"/>
          <p:cNvSpPr txBox="1"/>
          <p:nvPr/>
        </p:nvSpPr>
        <p:spPr>
          <a:xfrm>
            <a:off x="506618" y="4419560"/>
            <a:ext cx="3953076"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ntoso’s workloads/apps in Azure IaaS</a:t>
            </a:r>
          </a:p>
        </p:txBody>
      </p:sp>
      <p:sp>
        <p:nvSpPr>
          <p:cNvPr id="190" name="TextBox 189"/>
          <p:cNvSpPr txBox="1"/>
          <p:nvPr/>
        </p:nvSpPr>
        <p:spPr>
          <a:xfrm>
            <a:off x="2591751" y="4154487"/>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192" name="Freeform 54"/>
          <p:cNvSpPr>
            <a:spLocks noChangeAspect="1" noEditPoints="1"/>
          </p:cNvSpPr>
          <p:nvPr/>
        </p:nvSpPr>
        <p:spPr bwMode="black">
          <a:xfrm>
            <a:off x="930834" y="3497744"/>
            <a:ext cx="230299" cy="23029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3" name="Rounded Rectangular Callout 192"/>
          <p:cNvSpPr/>
          <p:nvPr/>
        </p:nvSpPr>
        <p:spPr bwMode="auto">
          <a:xfrm>
            <a:off x="3630587" y="2081287"/>
            <a:ext cx="2286000" cy="616567"/>
          </a:xfrm>
          <a:prstGeom prst="wedgeRoundRectCallout">
            <a:avLst>
              <a:gd name="adj1" fmla="val -36259"/>
              <a:gd name="adj2" fmla="val 68323"/>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Managed domain available in your Azure </a:t>
            </a:r>
            <a:r>
              <a:rPr kumimoji="0" lang="en-US" sz="1400" b="0" i="0" u="none" strike="noStrike" kern="0" cap="none" spc="0" normalizeH="0" baseline="0" noProof="0" dirty="0" err="1">
                <a:ln>
                  <a:noFill/>
                </a:ln>
                <a:solidFill>
                  <a:srgbClr val="505050"/>
                </a:solidFill>
                <a:effectLst/>
                <a:uLnTx/>
                <a:uFillTx/>
              </a:rPr>
              <a:t>VNet</a:t>
            </a:r>
            <a:r>
              <a:rPr kumimoji="0" lang="en-US" sz="1400" b="0" i="0" u="none" strike="noStrike" kern="0" cap="none" spc="0" normalizeH="0" baseline="0" noProof="0" dirty="0">
                <a:ln>
                  <a:noFill/>
                </a:ln>
                <a:solidFill>
                  <a:srgbClr val="505050"/>
                </a:solidFill>
                <a:effectLst/>
                <a:uLnTx/>
                <a:uFillTx/>
              </a:rPr>
              <a:t>.</a:t>
            </a:r>
          </a:p>
        </p:txBody>
      </p:sp>
      <p:sp>
        <p:nvSpPr>
          <p:cNvPr id="194" name="Freeform 193"/>
          <p:cNvSpPr>
            <a:spLocks noEditPoints="1"/>
          </p:cNvSpPr>
          <p:nvPr/>
        </p:nvSpPr>
        <p:spPr bwMode="auto">
          <a:xfrm>
            <a:off x="7625004" y="3178945"/>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5" name="Freeform 194"/>
          <p:cNvSpPr>
            <a:spLocks noEditPoints="1"/>
          </p:cNvSpPr>
          <p:nvPr/>
        </p:nvSpPr>
        <p:spPr bwMode="auto">
          <a:xfrm>
            <a:off x="7529640" y="2766612"/>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6" name="Freeform 195"/>
          <p:cNvSpPr>
            <a:spLocks noEditPoints="1"/>
          </p:cNvSpPr>
          <p:nvPr/>
        </p:nvSpPr>
        <p:spPr bwMode="auto">
          <a:xfrm>
            <a:off x="7901448" y="2768555"/>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7" name="Freeform 196"/>
          <p:cNvSpPr>
            <a:spLocks noChangeAspect="1" noEditPoints="1"/>
          </p:cNvSpPr>
          <p:nvPr/>
        </p:nvSpPr>
        <p:spPr bwMode="auto">
          <a:xfrm>
            <a:off x="5868720" y="2593001"/>
            <a:ext cx="1028159" cy="1014569"/>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cxnSp>
        <p:nvCxnSpPr>
          <p:cNvPr id="176" name="Straight Arrow Connector 175"/>
          <p:cNvCxnSpPr/>
          <p:nvPr/>
        </p:nvCxnSpPr>
        <p:spPr>
          <a:xfrm flipH="1" flipV="1">
            <a:off x="9551209" y="4594148"/>
            <a:ext cx="567371" cy="1030320"/>
          </a:xfrm>
          <a:prstGeom prst="straightConnector1">
            <a:avLst/>
          </a:prstGeom>
          <a:noFill/>
          <a:ln w="28575" cap="flat" cmpd="sng" algn="ctr">
            <a:solidFill>
              <a:srgbClr val="92D050"/>
            </a:solidFill>
            <a:prstDash val="solid"/>
            <a:headEnd type="triangle"/>
            <a:tailEnd type="triangle" w="med" len="med"/>
          </a:ln>
          <a:effectLst/>
        </p:spPr>
      </p:cxnSp>
      <p:sp>
        <p:nvSpPr>
          <p:cNvPr id="180" name="Rectangle 179"/>
          <p:cNvSpPr/>
          <p:nvPr/>
        </p:nvSpPr>
        <p:spPr>
          <a:xfrm>
            <a:off x="9421366" y="6377473"/>
            <a:ext cx="1597471" cy="215444"/>
          </a:xfrm>
          <a:prstGeom prst="rect">
            <a:avLst/>
          </a:prstGeom>
          <a:ln>
            <a:noFill/>
          </a:ln>
        </p:spPr>
        <p:txBody>
          <a:bodyPr wrap="square" lIns="0" tIns="0" rIns="0" bIns="0" anchor="ctr">
            <a:spAutoFit/>
          </a:bodyPr>
          <a:lstStyle/>
          <a:p>
            <a:pPr marL="0" marR="0" lvl="0" indent="0" algn="ctr" defTabSz="604743" eaLnBrk="1" fontAlgn="base" latinLnBrk="0" hangingPunct="1">
              <a:lnSpc>
                <a:spcPct val="100000"/>
              </a:lnSpc>
              <a:spcBef>
                <a:spcPts val="794"/>
              </a:spcBef>
              <a:spcAft>
                <a:spcPct val="0"/>
              </a:spcAft>
              <a:buClrTx/>
              <a:buSzTx/>
              <a:buFontTx/>
              <a:buNone/>
              <a:tabLst/>
              <a:defRPr/>
            </a:pPr>
            <a:r>
              <a:rPr kumimoji="0" lang="en-US" sz="1400" b="1" i="0" u="none" strike="noStrike" kern="0" cap="none" spc="0" normalizeH="0" baseline="0" noProof="0" dirty="0">
                <a:ln>
                  <a:solidFill>
                    <a:srgbClr val="FFFFFF">
                      <a:alpha val="0"/>
                    </a:srgbClr>
                  </a:solidFill>
                </a:ln>
                <a:solidFill>
                  <a:sysClr val="windowText" lastClr="000000"/>
                </a:solidFill>
                <a:effectLst/>
                <a:uLnTx/>
                <a:uFillTx/>
                <a:ea typeface="ＭＳ Ｐゴシック" charset="0"/>
              </a:rPr>
              <a:t>Active Directory</a:t>
            </a:r>
          </a:p>
        </p:txBody>
      </p:sp>
      <p:pic>
        <p:nvPicPr>
          <p:cNvPr id="181" name="Picture 1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2176" y="5529183"/>
            <a:ext cx="906284" cy="599682"/>
          </a:xfrm>
          <a:prstGeom prst="rect">
            <a:avLst/>
          </a:prstGeom>
        </p:spPr>
      </p:pic>
      <p:pic>
        <p:nvPicPr>
          <p:cNvPr id="179" name="Picture 17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66237" y="6046615"/>
            <a:ext cx="1797228" cy="422447"/>
          </a:xfrm>
          <a:prstGeom prst="rect">
            <a:avLst/>
          </a:prstGeom>
        </p:spPr>
      </p:pic>
      <p:grpSp>
        <p:nvGrpSpPr>
          <p:cNvPr id="182" name="Group 181"/>
          <p:cNvGrpSpPr/>
          <p:nvPr/>
        </p:nvGrpSpPr>
        <p:grpSpPr>
          <a:xfrm>
            <a:off x="8782900" y="5005701"/>
            <a:ext cx="1092300" cy="839206"/>
            <a:chOff x="7260634" y="3622030"/>
            <a:chExt cx="1485603" cy="1141379"/>
          </a:xfrm>
        </p:grpSpPr>
        <p:sp>
          <p:nvSpPr>
            <p:cNvPr id="183" name="TextBox 182"/>
            <p:cNvSpPr txBox="1"/>
            <p:nvPr/>
          </p:nvSpPr>
          <p:spPr>
            <a:xfrm>
              <a:off x="7260634" y="3940511"/>
              <a:ext cx="1485603" cy="822898"/>
            </a:xfrm>
            <a:prstGeom prst="rect">
              <a:avLst/>
            </a:prstGeom>
            <a:noFill/>
          </p:spPr>
          <p:txBody>
            <a:bodyPr wrap="square" lIns="134464" tIns="107571" rIns="134464" bIns="107571" rtlCol="0">
              <a:spAutoFit/>
            </a:bodyPr>
            <a:lstStyle/>
            <a:p>
              <a:pPr marL="0" marR="0" lvl="0" indent="0" algn="ctr" defTabSz="914400" eaLnBrk="1" fontAlgn="auto" latinLnBrk="0" hangingPunct="1">
                <a:lnSpc>
                  <a:spcPct val="90000"/>
                </a:lnSpc>
                <a:spcBef>
                  <a:spcPts val="0"/>
                </a:spcBef>
                <a:spcAft>
                  <a:spcPts val="441"/>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rPr>
                <a:t>Azure AD Connect</a:t>
              </a:r>
            </a:p>
          </p:txBody>
        </p:sp>
        <p:pic>
          <p:nvPicPr>
            <p:cNvPr id="184" name="Picture 183" descr="Adressbook 512x512.png"/>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850111" y="3622030"/>
              <a:ext cx="385592" cy="3855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187" name="Freeform 186"/>
          <p:cNvSpPr>
            <a:spLocks noEditPoints="1"/>
          </p:cNvSpPr>
          <p:nvPr/>
        </p:nvSpPr>
        <p:spPr bwMode="auto">
          <a:xfrm>
            <a:off x="10086742" y="5029421"/>
            <a:ext cx="327454" cy="220441"/>
          </a:xfrm>
          <a:custGeom>
            <a:avLst/>
            <a:gdLst>
              <a:gd name="T0" fmla="*/ 0 w 128"/>
              <a:gd name="T1" fmla="*/ 56 h 104"/>
              <a:gd name="T2" fmla="*/ 8 w 128"/>
              <a:gd name="T3" fmla="*/ 56 h 104"/>
              <a:gd name="T4" fmla="*/ 24 w 128"/>
              <a:gd name="T5" fmla="*/ 40 h 104"/>
              <a:gd name="T6" fmla="*/ 40 w 128"/>
              <a:gd name="T7" fmla="*/ 56 h 104"/>
              <a:gd name="T8" fmla="*/ 50 w 128"/>
              <a:gd name="T9" fmla="*/ 75 h 104"/>
              <a:gd name="T10" fmla="*/ 32 w 128"/>
              <a:gd name="T11" fmla="*/ 104 h 104"/>
              <a:gd name="T12" fmla="*/ 40 w 128"/>
              <a:gd name="T13" fmla="*/ 104 h 104"/>
              <a:gd name="T14" fmla="*/ 64 w 128"/>
              <a:gd name="T15" fmla="*/ 80 h 104"/>
              <a:gd name="T16" fmla="*/ 88 w 128"/>
              <a:gd name="T17" fmla="*/ 104 h 104"/>
              <a:gd name="T18" fmla="*/ 96 w 128"/>
              <a:gd name="T19" fmla="*/ 104 h 104"/>
              <a:gd name="T20" fmla="*/ 78 w 128"/>
              <a:gd name="T21" fmla="*/ 75 h 104"/>
              <a:gd name="T22" fmla="*/ 88 w 128"/>
              <a:gd name="T23" fmla="*/ 56 h 104"/>
              <a:gd name="T24" fmla="*/ 104 w 128"/>
              <a:gd name="T25" fmla="*/ 40 h 104"/>
              <a:gd name="T26" fmla="*/ 120 w 128"/>
              <a:gd name="T27" fmla="*/ 56 h 104"/>
              <a:gd name="T28" fmla="*/ 128 w 128"/>
              <a:gd name="T29" fmla="*/ 56 h 104"/>
              <a:gd name="T30" fmla="*/ 117 w 128"/>
              <a:gd name="T31" fmla="*/ 36 h 104"/>
              <a:gd name="T32" fmla="*/ 124 w 128"/>
              <a:gd name="T33" fmla="*/ 20 h 104"/>
              <a:gd name="T34" fmla="*/ 104 w 128"/>
              <a:gd name="T35" fmla="*/ 0 h 104"/>
              <a:gd name="T36" fmla="*/ 84 w 128"/>
              <a:gd name="T37" fmla="*/ 20 h 104"/>
              <a:gd name="T38" fmla="*/ 92 w 128"/>
              <a:gd name="T39" fmla="*/ 36 h 104"/>
              <a:gd name="T40" fmla="*/ 84 w 128"/>
              <a:gd name="T41" fmla="*/ 43 h 104"/>
              <a:gd name="T42" fmla="*/ 64 w 128"/>
              <a:gd name="T43" fmla="*/ 32 h 104"/>
              <a:gd name="T44" fmla="*/ 44 w 128"/>
              <a:gd name="T45" fmla="*/ 43 h 104"/>
              <a:gd name="T46" fmla="*/ 37 w 128"/>
              <a:gd name="T47" fmla="*/ 36 h 104"/>
              <a:gd name="T48" fmla="*/ 44 w 128"/>
              <a:gd name="T49" fmla="*/ 20 h 104"/>
              <a:gd name="T50" fmla="*/ 24 w 128"/>
              <a:gd name="T51" fmla="*/ 0 h 104"/>
              <a:gd name="T52" fmla="*/ 4 w 128"/>
              <a:gd name="T53" fmla="*/ 20 h 104"/>
              <a:gd name="T54" fmla="*/ 12 w 128"/>
              <a:gd name="T55" fmla="*/ 36 h 104"/>
              <a:gd name="T56" fmla="*/ 0 w 128"/>
              <a:gd name="T57" fmla="*/ 56 h 104"/>
              <a:gd name="T58" fmla="*/ 104 w 128"/>
              <a:gd name="T59" fmla="*/ 8 h 104"/>
              <a:gd name="T60" fmla="*/ 116 w 128"/>
              <a:gd name="T61" fmla="*/ 20 h 104"/>
              <a:gd name="T62" fmla="*/ 104 w 128"/>
              <a:gd name="T63" fmla="*/ 32 h 104"/>
              <a:gd name="T64" fmla="*/ 92 w 128"/>
              <a:gd name="T65" fmla="*/ 20 h 104"/>
              <a:gd name="T66" fmla="*/ 104 w 128"/>
              <a:gd name="T67" fmla="*/ 8 h 104"/>
              <a:gd name="T68" fmla="*/ 64 w 128"/>
              <a:gd name="T69" fmla="*/ 40 h 104"/>
              <a:gd name="T70" fmla="*/ 80 w 128"/>
              <a:gd name="T71" fmla="*/ 56 h 104"/>
              <a:gd name="T72" fmla="*/ 64 w 128"/>
              <a:gd name="T73" fmla="*/ 72 h 104"/>
              <a:gd name="T74" fmla="*/ 48 w 128"/>
              <a:gd name="T75" fmla="*/ 56 h 104"/>
              <a:gd name="T76" fmla="*/ 64 w 128"/>
              <a:gd name="T77" fmla="*/ 40 h 104"/>
              <a:gd name="T78" fmla="*/ 24 w 128"/>
              <a:gd name="T79" fmla="*/ 8 h 104"/>
              <a:gd name="T80" fmla="*/ 36 w 128"/>
              <a:gd name="T81" fmla="*/ 20 h 104"/>
              <a:gd name="T82" fmla="*/ 24 w 128"/>
              <a:gd name="T83" fmla="*/ 32 h 104"/>
              <a:gd name="T84" fmla="*/ 12 w 128"/>
              <a:gd name="T85" fmla="*/ 20 h 104"/>
              <a:gd name="T86" fmla="*/ 24 w 128"/>
              <a:gd name="T87"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0" y="56"/>
                </a:moveTo>
                <a:cubicBezTo>
                  <a:pt x="8" y="56"/>
                  <a:pt x="8" y="56"/>
                  <a:pt x="8" y="56"/>
                </a:cubicBezTo>
                <a:cubicBezTo>
                  <a:pt x="8" y="47"/>
                  <a:pt x="15" y="40"/>
                  <a:pt x="24" y="40"/>
                </a:cubicBezTo>
                <a:cubicBezTo>
                  <a:pt x="33" y="40"/>
                  <a:pt x="40" y="47"/>
                  <a:pt x="40" y="56"/>
                </a:cubicBezTo>
                <a:cubicBezTo>
                  <a:pt x="40" y="64"/>
                  <a:pt x="44" y="71"/>
                  <a:pt x="50" y="75"/>
                </a:cubicBezTo>
                <a:cubicBezTo>
                  <a:pt x="40"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4" y="40"/>
                  <a:pt x="117" y="36"/>
                </a:cubicBez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3" y="32"/>
                  <a:pt x="64" y="32"/>
                </a:cubicBezTo>
                <a:cubicBezTo>
                  <a:pt x="56" y="32"/>
                  <a:pt x="49" y="36"/>
                  <a:pt x="44" y="43"/>
                </a:cubicBezTo>
                <a:cubicBezTo>
                  <a:pt x="42" y="40"/>
                  <a:pt x="40" y="37"/>
                  <a:pt x="37"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lose/>
                <a:moveTo>
                  <a:pt x="104" y="8"/>
                </a:moveTo>
                <a:cubicBezTo>
                  <a:pt x="111" y="8"/>
                  <a:pt x="116" y="13"/>
                  <a:pt x="116" y="20"/>
                </a:cubicBezTo>
                <a:cubicBezTo>
                  <a:pt x="116" y="27"/>
                  <a:pt x="111" y="32"/>
                  <a:pt x="104" y="32"/>
                </a:cubicBezTo>
                <a:cubicBezTo>
                  <a:pt x="98" y="32"/>
                  <a:pt x="92" y="27"/>
                  <a:pt x="92" y="20"/>
                </a:cubicBezTo>
                <a:cubicBezTo>
                  <a:pt x="92" y="13"/>
                  <a:pt x="98" y="8"/>
                  <a:pt x="104" y="8"/>
                </a:cubicBezTo>
                <a:close/>
                <a:moveTo>
                  <a:pt x="64" y="40"/>
                </a:moveTo>
                <a:cubicBezTo>
                  <a:pt x="73" y="40"/>
                  <a:pt x="80" y="47"/>
                  <a:pt x="80" y="56"/>
                </a:cubicBezTo>
                <a:cubicBezTo>
                  <a:pt x="80" y="65"/>
                  <a:pt x="73" y="72"/>
                  <a:pt x="64" y="72"/>
                </a:cubicBezTo>
                <a:cubicBezTo>
                  <a:pt x="55" y="72"/>
                  <a:pt x="48" y="65"/>
                  <a:pt x="48" y="56"/>
                </a:cubicBezTo>
                <a:cubicBezTo>
                  <a:pt x="48" y="47"/>
                  <a:pt x="55" y="40"/>
                  <a:pt x="64" y="40"/>
                </a:cubicBezTo>
                <a:close/>
                <a:moveTo>
                  <a:pt x="24" y="8"/>
                </a:moveTo>
                <a:cubicBezTo>
                  <a:pt x="31" y="8"/>
                  <a:pt x="36" y="13"/>
                  <a:pt x="36" y="20"/>
                </a:cubicBezTo>
                <a:cubicBezTo>
                  <a:pt x="36" y="27"/>
                  <a:pt x="31" y="32"/>
                  <a:pt x="24" y="32"/>
                </a:cubicBezTo>
                <a:cubicBezTo>
                  <a:pt x="18" y="32"/>
                  <a:pt x="12" y="27"/>
                  <a:pt x="12" y="20"/>
                </a:cubicBezTo>
                <a:cubicBezTo>
                  <a:pt x="12" y="13"/>
                  <a:pt x="18" y="8"/>
                  <a:pt x="24" y="8"/>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1" name="Freeform 190"/>
          <p:cNvSpPr>
            <a:spLocks noEditPoints="1"/>
          </p:cNvSpPr>
          <p:nvPr/>
        </p:nvSpPr>
        <p:spPr bwMode="auto">
          <a:xfrm>
            <a:off x="9991378" y="4617088"/>
            <a:ext cx="279943" cy="231358"/>
          </a:xfrm>
          <a:custGeom>
            <a:avLst/>
            <a:gdLst>
              <a:gd name="T0" fmla="*/ 120 w 120"/>
              <a:gd name="T1" fmla="*/ 0 h 120"/>
              <a:gd name="T2" fmla="*/ 0 w 120"/>
              <a:gd name="T3" fmla="*/ 0 h 120"/>
              <a:gd name="T4" fmla="*/ 0 w 120"/>
              <a:gd name="T5" fmla="*/ 120 h 120"/>
              <a:gd name="T6" fmla="*/ 24 w 120"/>
              <a:gd name="T7" fmla="*/ 120 h 120"/>
              <a:gd name="T8" fmla="*/ 24 w 120"/>
              <a:gd name="T9" fmla="*/ 116 h 120"/>
              <a:gd name="T10" fmla="*/ 60 w 120"/>
              <a:gd name="T11" fmla="*/ 80 h 120"/>
              <a:gd name="T12" fmla="*/ 96 w 120"/>
              <a:gd name="T13" fmla="*/ 116 h 120"/>
              <a:gd name="T14" fmla="*/ 96 w 120"/>
              <a:gd name="T15" fmla="*/ 120 h 120"/>
              <a:gd name="T16" fmla="*/ 120 w 120"/>
              <a:gd name="T17" fmla="*/ 120 h 120"/>
              <a:gd name="T18" fmla="*/ 120 w 120"/>
              <a:gd name="T19" fmla="*/ 0 h 120"/>
              <a:gd name="T20" fmla="*/ 36 w 120"/>
              <a:gd name="T21" fmla="*/ 48 h 120"/>
              <a:gd name="T22" fmla="*/ 60 w 120"/>
              <a:gd name="T23" fmla="*/ 24 h 120"/>
              <a:gd name="T24" fmla="*/ 84 w 120"/>
              <a:gd name="T25" fmla="*/ 48 h 120"/>
              <a:gd name="T26" fmla="*/ 60 w 120"/>
              <a:gd name="T27" fmla="*/ 72 h 120"/>
              <a:gd name="T28" fmla="*/ 36 w 120"/>
              <a:gd name="T29" fmla="*/ 48 h 120"/>
              <a:gd name="T30" fmla="*/ 112 w 120"/>
              <a:gd name="T31" fmla="*/ 112 h 120"/>
              <a:gd name="T32" fmla="*/ 104 w 120"/>
              <a:gd name="T33" fmla="*/ 112 h 120"/>
              <a:gd name="T34" fmla="*/ 77 w 120"/>
              <a:gd name="T35" fmla="*/ 75 h 120"/>
              <a:gd name="T36" fmla="*/ 92 w 120"/>
              <a:gd name="T37" fmla="*/ 48 h 120"/>
              <a:gd name="T38" fmla="*/ 60 w 120"/>
              <a:gd name="T39" fmla="*/ 16 h 120"/>
              <a:gd name="T40" fmla="*/ 28 w 120"/>
              <a:gd name="T41" fmla="*/ 48 h 120"/>
              <a:gd name="T42" fmla="*/ 43 w 120"/>
              <a:gd name="T43" fmla="*/ 75 h 120"/>
              <a:gd name="T44" fmla="*/ 16 w 120"/>
              <a:gd name="T45" fmla="*/ 112 h 120"/>
              <a:gd name="T46" fmla="*/ 8 w 120"/>
              <a:gd name="T47" fmla="*/ 112 h 120"/>
              <a:gd name="T48" fmla="*/ 8 w 120"/>
              <a:gd name="T49" fmla="*/ 8 h 120"/>
              <a:gd name="T50" fmla="*/ 112 w 120"/>
              <a:gd name="T51" fmla="*/ 8 h 120"/>
              <a:gd name="T52" fmla="*/ 112 w 120"/>
              <a:gd name="T53" fmla="*/ 1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0"/>
                </a:move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cubicBezTo>
                  <a:pt x="120" y="120"/>
                  <a:pt x="120" y="120"/>
                  <a:pt x="120" y="120"/>
                </a:cubicBezTo>
                <a:lnTo>
                  <a:pt x="120" y="0"/>
                </a:lnTo>
                <a:close/>
                <a:moveTo>
                  <a:pt x="36" y="48"/>
                </a:moveTo>
                <a:cubicBezTo>
                  <a:pt x="36" y="35"/>
                  <a:pt x="47" y="24"/>
                  <a:pt x="60" y="24"/>
                </a:cubicBezTo>
                <a:cubicBezTo>
                  <a:pt x="73" y="24"/>
                  <a:pt x="84" y="35"/>
                  <a:pt x="84" y="48"/>
                </a:cubicBezTo>
                <a:cubicBezTo>
                  <a:pt x="84" y="61"/>
                  <a:pt x="73" y="72"/>
                  <a:pt x="60" y="72"/>
                </a:cubicBezTo>
                <a:cubicBezTo>
                  <a:pt x="47" y="72"/>
                  <a:pt x="36" y="61"/>
                  <a:pt x="36" y="48"/>
                </a:cubicBezTo>
                <a:close/>
                <a:moveTo>
                  <a:pt x="112" y="112"/>
                </a:moveTo>
                <a:cubicBezTo>
                  <a:pt x="104" y="112"/>
                  <a:pt x="104" y="112"/>
                  <a:pt x="104" y="112"/>
                </a:cubicBezTo>
                <a:cubicBezTo>
                  <a:pt x="102" y="95"/>
                  <a:pt x="91" y="81"/>
                  <a:pt x="77" y="75"/>
                </a:cubicBezTo>
                <a:cubicBezTo>
                  <a:pt x="86" y="70"/>
                  <a:pt x="92" y="60"/>
                  <a:pt x="92" y="48"/>
                </a:cubicBezTo>
                <a:cubicBezTo>
                  <a:pt x="92" y="30"/>
                  <a:pt x="78" y="16"/>
                  <a:pt x="60" y="16"/>
                </a:cubicBezTo>
                <a:cubicBezTo>
                  <a:pt x="42" y="16"/>
                  <a:pt x="28" y="30"/>
                  <a:pt x="28" y="48"/>
                </a:cubicBezTo>
                <a:cubicBezTo>
                  <a:pt x="28" y="60"/>
                  <a:pt x="34" y="70"/>
                  <a:pt x="43" y="75"/>
                </a:cubicBezTo>
                <a:cubicBezTo>
                  <a:pt x="28" y="81"/>
                  <a:pt x="18" y="95"/>
                  <a:pt x="16" y="112"/>
                </a:cubicBezTo>
                <a:cubicBezTo>
                  <a:pt x="8" y="112"/>
                  <a:pt x="8" y="112"/>
                  <a:pt x="8" y="112"/>
                </a:cubicBezTo>
                <a:cubicBezTo>
                  <a:pt x="8" y="8"/>
                  <a:pt x="8" y="8"/>
                  <a:pt x="8" y="8"/>
                </a:cubicBezTo>
                <a:cubicBezTo>
                  <a:pt x="112" y="8"/>
                  <a:pt x="112" y="8"/>
                  <a:pt x="112" y="8"/>
                </a:cubicBezTo>
                <a:lnTo>
                  <a:pt x="112" y="112"/>
                </a:ln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03" name="Freeform 202"/>
          <p:cNvSpPr>
            <a:spLocks noEditPoints="1"/>
          </p:cNvSpPr>
          <p:nvPr/>
        </p:nvSpPr>
        <p:spPr bwMode="auto">
          <a:xfrm>
            <a:off x="10363186" y="4619031"/>
            <a:ext cx="165310" cy="248465"/>
          </a:xfrm>
          <a:custGeom>
            <a:avLst/>
            <a:gdLst>
              <a:gd name="T0" fmla="*/ 9 w 53"/>
              <a:gd name="T1" fmla="*/ 128 h 129"/>
              <a:gd name="T2" fmla="*/ 21 w 53"/>
              <a:gd name="T3" fmla="*/ 129 h 129"/>
              <a:gd name="T4" fmla="*/ 29 w 53"/>
              <a:gd name="T5" fmla="*/ 129 h 129"/>
              <a:gd name="T6" fmla="*/ 38 w 53"/>
              <a:gd name="T7" fmla="*/ 121 h 129"/>
              <a:gd name="T8" fmla="*/ 40 w 53"/>
              <a:gd name="T9" fmla="*/ 57 h 129"/>
              <a:gd name="T10" fmla="*/ 52 w 53"/>
              <a:gd name="T11" fmla="*/ 42 h 129"/>
              <a:gd name="T12" fmla="*/ 53 w 53"/>
              <a:gd name="T13" fmla="*/ 18 h 129"/>
              <a:gd name="T14" fmla="*/ 38 w 53"/>
              <a:gd name="T15" fmla="*/ 1 h 129"/>
              <a:gd name="T16" fmla="*/ 18 w 53"/>
              <a:gd name="T17" fmla="*/ 0 h 129"/>
              <a:gd name="T18" fmla="*/ 1 w 53"/>
              <a:gd name="T19" fmla="*/ 16 h 129"/>
              <a:gd name="T20" fmla="*/ 0 w 53"/>
              <a:gd name="T21" fmla="*/ 40 h 129"/>
              <a:gd name="T22" fmla="*/ 12 w 53"/>
              <a:gd name="T23" fmla="*/ 56 h 129"/>
              <a:gd name="T24" fmla="*/ 11 w 53"/>
              <a:gd name="T25" fmla="*/ 88 h 129"/>
              <a:gd name="T26" fmla="*/ 15 w 53"/>
              <a:gd name="T27" fmla="*/ 92 h 129"/>
              <a:gd name="T28" fmla="*/ 10 w 53"/>
              <a:gd name="T29" fmla="*/ 96 h 129"/>
              <a:gd name="T30" fmla="*/ 10 w 53"/>
              <a:gd name="T31" fmla="*/ 108 h 129"/>
              <a:gd name="T32" fmla="*/ 14 w 53"/>
              <a:gd name="T33" fmla="*/ 112 h 129"/>
              <a:gd name="T34" fmla="*/ 10 w 53"/>
              <a:gd name="T35" fmla="*/ 116 h 129"/>
              <a:gd name="T36" fmla="*/ 9 w 53"/>
              <a:gd name="T37" fmla="*/ 128 h 129"/>
              <a:gd name="T38" fmla="*/ 30 w 53"/>
              <a:gd name="T39" fmla="*/ 121 h 129"/>
              <a:gd name="T40" fmla="*/ 22 w 53"/>
              <a:gd name="T41" fmla="*/ 121 h 129"/>
              <a:gd name="T42" fmla="*/ 18 w 53"/>
              <a:gd name="T43" fmla="*/ 120 h 129"/>
              <a:gd name="T44" fmla="*/ 18 w 53"/>
              <a:gd name="T45" fmla="*/ 120 h 129"/>
              <a:gd name="T46" fmla="*/ 19 w 53"/>
              <a:gd name="T47" fmla="*/ 118 h 129"/>
              <a:gd name="T48" fmla="*/ 25 w 53"/>
              <a:gd name="T49" fmla="*/ 113 h 129"/>
              <a:gd name="T50" fmla="*/ 20 w 53"/>
              <a:gd name="T51" fmla="*/ 107 h 129"/>
              <a:gd name="T52" fmla="*/ 18 w 53"/>
              <a:gd name="T53" fmla="*/ 105 h 129"/>
              <a:gd name="T54" fmla="*/ 18 w 53"/>
              <a:gd name="T55" fmla="*/ 100 h 129"/>
              <a:gd name="T56" fmla="*/ 20 w 53"/>
              <a:gd name="T57" fmla="*/ 98 h 129"/>
              <a:gd name="T58" fmla="*/ 26 w 53"/>
              <a:gd name="T59" fmla="*/ 93 h 129"/>
              <a:gd name="T60" fmla="*/ 20 w 53"/>
              <a:gd name="T61" fmla="*/ 87 h 129"/>
              <a:gd name="T62" fmla="*/ 19 w 53"/>
              <a:gd name="T63" fmla="*/ 85 h 129"/>
              <a:gd name="T64" fmla="*/ 20 w 53"/>
              <a:gd name="T65" fmla="*/ 57 h 129"/>
              <a:gd name="T66" fmla="*/ 32 w 53"/>
              <a:gd name="T67" fmla="*/ 57 h 129"/>
              <a:gd name="T68" fmla="*/ 30 w 53"/>
              <a:gd name="T69" fmla="*/ 121 h 129"/>
              <a:gd name="T70" fmla="*/ 8 w 53"/>
              <a:gd name="T71" fmla="*/ 40 h 129"/>
              <a:gd name="T72" fmla="*/ 9 w 53"/>
              <a:gd name="T73" fmla="*/ 16 h 129"/>
              <a:gd name="T74" fmla="*/ 17 w 53"/>
              <a:gd name="T75" fmla="*/ 8 h 129"/>
              <a:gd name="T76" fmla="*/ 37 w 53"/>
              <a:gd name="T77" fmla="*/ 9 h 129"/>
              <a:gd name="T78" fmla="*/ 45 w 53"/>
              <a:gd name="T79" fmla="*/ 17 h 129"/>
              <a:gd name="T80" fmla="*/ 44 w 53"/>
              <a:gd name="T81" fmla="*/ 41 h 129"/>
              <a:gd name="T82" fmla="*/ 36 w 53"/>
              <a:gd name="T83" fmla="*/ 49 h 129"/>
              <a:gd name="T84" fmla="*/ 16 w 53"/>
              <a:gd name="T85" fmla="*/ 48 h 129"/>
              <a:gd name="T86" fmla="*/ 8 w 53"/>
              <a:gd name="T87" fmla="*/ 40 h 129"/>
              <a:gd name="T88" fmla="*/ 21 w 53"/>
              <a:gd name="T89" fmla="*/ 23 h 129"/>
              <a:gd name="T90" fmla="*/ 27 w 53"/>
              <a:gd name="T91" fmla="*/ 17 h 129"/>
              <a:gd name="T92" fmla="*/ 33 w 53"/>
              <a:gd name="T93" fmla="*/ 23 h 129"/>
              <a:gd name="T94" fmla="*/ 27 w 53"/>
              <a:gd name="T95" fmla="*/ 29 h 129"/>
              <a:gd name="T96" fmla="*/ 21 w 53"/>
              <a:gd name="T97"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 h="129">
                <a:moveTo>
                  <a:pt x="9" y="128"/>
                </a:moveTo>
                <a:cubicBezTo>
                  <a:pt x="21" y="129"/>
                  <a:pt x="21" y="129"/>
                  <a:pt x="21" y="129"/>
                </a:cubicBezTo>
                <a:cubicBezTo>
                  <a:pt x="29" y="129"/>
                  <a:pt x="29" y="129"/>
                  <a:pt x="29" y="129"/>
                </a:cubicBezTo>
                <a:cubicBezTo>
                  <a:pt x="34" y="129"/>
                  <a:pt x="37" y="126"/>
                  <a:pt x="38" y="121"/>
                </a:cubicBezTo>
                <a:cubicBezTo>
                  <a:pt x="40" y="57"/>
                  <a:pt x="40" y="57"/>
                  <a:pt x="40" y="57"/>
                </a:cubicBezTo>
                <a:cubicBezTo>
                  <a:pt x="47" y="55"/>
                  <a:pt x="52" y="49"/>
                  <a:pt x="52" y="42"/>
                </a:cubicBezTo>
                <a:cubicBezTo>
                  <a:pt x="53" y="18"/>
                  <a:pt x="53" y="18"/>
                  <a:pt x="53" y="18"/>
                </a:cubicBezTo>
                <a:cubicBezTo>
                  <a:pt x="53" y="9"/>
                  <a:pt x="46" y="1"/>
                  <a:pt x="38" y="1"/>
                </a:cubicBezTo>
                <a:cubicBezTo>
                  <a:pt x="18" y="0"/>
                  <a:pt x="18" y="0"/>
                  <a:pt x="18" y="0"/>
                </a:cubicBezTo>
                <a:cubicBezTo>
                  <a:pt x="9" y="0"/>
                  <a:pt x="1" y="7"/>
                  <a:pt x="1" y="16"/>
                </a:cubicBezTo>
                <a:cubicBezTo>
                  <a:pt x="0" y="40"/>
                  <a:pt x="0" y="40"/>
                  <a:pt x="0" y="40"/>
                </a:cubicBezTo>
                <a:cubicBezTo>
                  <a:pt x="0" y="47"/>
                  <a:pt x="5" y="54"/>
                  <a:pt x="12" y="56"/>
                </a:cubicBezTo>
                <a:cubicBezTo>
                  <a:pt x="11" y="88"/>
                  <a:pt x="11" y="88"/>
                  <a:pt x="11" y="88"/>
                </a:cubicBezTo>
                <a:cubicBezTo>
                  <a:pt x="15" y="92"/>
                  <a:pt x="15" y="92"/>
                  <a:pt x="15" y="92"/>
                </a:cubicBezTo>
                <a:cubicBezTo>
                  <a:pt x="10" y="96"/>
                  <a:pt x="10" y="96"/>
                  <a:pt x="10" y="96"/>
                </a:cubicBezTo>
                <a:cubicBezTo>
                  <a:pt x="10" y="108"/>
                  <a:pt x="10" y="108"/>
                  <a:pt x="10" y="108"/>
                </a:cubicBezTo>
                <a:cubicBezTo>
                  <a:pt x="14" y="112"/>
                  <a:pt x="14" y="112"/>
                  <a:pt x="14" y="112"/>
                </a:cubicBezTo>
                <a:cubicBezTo>
                  <a:pt x="10" y="116"/>
                  <a:pt x="10" y="116"/>
                  <a:pt x="10" y="116"/>
                </a:cubicBezTo>
                <a:lnTo>
                  <a:pt x="9" y="128"/>
                </a:lnTo>
                <a:close/>
                <a:moveTo>
                  <a:pt x="30" y="121"/>
                </a:moveTo>
                <a:cubicBezTo>
                  <a:pt x="22" y="121"/>
                  <a:pt x="22" y="121"/>
                  <a:pt x="22" y="121"/>
                </a:cubicBezTo>
                <a:cubicBezTo>
                  <a:pt x="18" y="120"/>
                  <a:pt x="18" y="120"/>
                  <a:pt x="18" y="120"/>
                </a:cubicBezTo>
                <a:cubicBezTo>
                  <a:pt x="18" y="120"/>
                  <a:pt x="18" y="120"/>
                  <a:pt x="18" y="120"/>
                </a:cubicBezTo>
                <a:cubicBezTo>
                  <a:pt x="19" y="118"/>
                  <a:pt x="19" y="118"/>
                  <a:pt x="19" y="118"/>
                </a:cubicBezTo>
                <a:cubicBezTo>
                  <a:pt x="25" y="113"/>
                  <a:pt x="25" y="113"/>
                  <a:pt x="25" y="113"/>
                </a:cubicBezTo>
                <a:cubicBezTo>
                  <a:pt x="20" y="107"/>
                  <a:pt x="20" y="107"/>
                  <a:pt x="20" y="107"/>
                </a:cubicBezTo>
                <a:cubicBezTo>
                  <a:pt x="18" y="105"/>
                  <a:pt x="18" y="105"/>
                  <a:pt x="18" y="105"/>
                </a:cubicBezTo>
                <a:cubicBezTo>
                  <a:pt x="18" y="100"/>
                  <a:pt x="18" y="100"/>
                  <a:pt x="18" y="100"/>
                </a:cubicBezTo>
                <a:cubicBezTo>
                  <a:pt x="20" y="98"/>
                  <a:pt x="20" y="98"/>
                  <a:pt x="20" y="98"/>
                </a:cubicBezTo>
                <a:cubicBezTo>
                  <a:pt x="26" y="93"/>
                  <a:pt x="26" y="93"/>
                  <a:pt x="26" y="93"/>
                </a:cubicBezTo>
                <a:cubicBezTo>
                  <a:pt x="20" y="87"/>
                  <a:pt x="20" y="87"/>
                  <a:pt x="20" y="87"/>
                </a:cubicBezTo>
                <a:cubicBezTo>
                  <a:pt x="19" y="85"/>
                  <a:pt x="19" y="85"/>
                  <a:pt x="19" y="85"/>
                </a:cubicBezTo>
                <a:cubicBezTo>
                  <a:pt x="20" y="57"/>
                  <a:pt x="20" y="57"/>
                  <a:pt x="20" y="57"/>
                </a:cubicBezTo>
                <a:cubicBezTo>
                  <a:pt x="32" y="57"/>
                  <a:pt x="32" y="57"/>
                  <a:pt x="32" y="57"/>
                </a:cubicBezTo>
                <a:lnTo>
                  <a:pt x="30" y="121"/>
                </a:lnTo>
                <a:close/>
                <a:moveTo>
                  <a:pt x="8" y="40"/>
                </a:moveTo>
                <a:cubicBezTo>
                  <a:pt x="9" y="16"/>
                  <a:pt x="9" y="16"/>
                  <a:pt x="9" y="16"/>
                </a:cubicBezTo>
                <a:cubicBezTo>
                  <a:pt x="9" y="12"/>
                  <a:pt x="13" y="8"/>
                  <a:pt x="17" y="8"/>
                </a:cubicBezTo>
                <a:cubicBezTo>
                  <a:pt x="37" y="9"/>
                  <a:pt x="37" y="9"/>
                  <a:pt x="37" y="9"/>
                </a:cubicBezTo>
                <a:cubicBezTo>
                  <a:pt x="42" y="9"/>
                  <a:pt x="45" y="13"/>
                  <a:pt x="45" y="17"/>
                </a:cubicBezTo>
                <a:cubicBezTo>
                  <a:pt x="44" y="41"/>
                  <a:pt x="44" y="41"/>
                  <a:pt x="44" y="41"/>
                </a:cubicBezTo>
                <a:cubicBezTo>
                  <a:pt x="44" y="46"/>
                  <a:pt x="40" y="49"/>
                  <a:pt x="36" y="49"/>
                </a:cubicBezTo>
                <a:cubicBezTo>
                  <a:pt x="16" y="48"/>
                  <a:pt x="16" y="48"/>
                  <a:pt x="16" y="48"/>
                </a:cubicBezTo>
                <a:cubicBezTo>
                  <a:pt x="12" y="48"/>
                  <a:pt x="8" y="45"/>
                  <a:pt x="8" y="40"/>
                </a:cubicBezTo>
                <a:close/>
                <a:moveTo>
                  <a:pt x="21" y="23"/>
                </a:moveTo>
                <a:cubicBezTo>
                  <a:pt x="21" y="19"/>
                  <a:pt x="24" y="17"/>
                  <a:pt x="27" y="17"/>
                </a:cubicBezTo>
                <a:cubicBezTo>
                  <a:pt x="30" y="17"/>
                  <a:pt x="33" y="20"/>
                  <a:pt x="33" y="23"/>
                </a:cubicBezTo>
                <a:cubicBezTo>
                  <a:pt x="33" y="26"/>
                  <a:pt x="30" y="29"/>
                  <a:pt x="27" y="29"/>
                </a:cubicBezTo>
                <a:cubicBezTo>
                  <a:pt x="23" y="29"/>
                  <a:pt x="21" y="26"/>
                  <a:pt x="21" y="23"/>
                </a:cubicBezTo>
                <a:close/>
              </a:path>
            </a:pathLst>
          </a:custGeom>
          <a:solidFill>
            <a:schemeClr val="tx1"/>
          </a:solidFill>
          <a:ln>
            <a:solidFill>
              <a:srgbClr val="92D050"/>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00" name="Rounded Rectangle 199"/>
          <p:cNvSpPr/>
          <p:nvPr/>
        </p:nvSpPr>
        <p:spPr bwMode="auto">
          <a:xfrm>
            <a:off x="9764682" y="6787188"/>
            <a:ext cx="2639267" cy="199653"/>
          </a:xfrm>
          <a:prstGeom prst="roundRect">
            <a:avLst/>
          </a:prstGeom>
          <a:solidFill>
            <a:schemeClr val="bg1">
              <a:lumMod val="20000"/>
              <a:lumOff val="8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marL="0" marR="0" lvl="0" indent="0" algn="ctr" defTabSz="685647" eaLnBrk="1" fontAlgn="base" latinLnBrk="0" hangingPunct="1">
              <a:lnSpc>
                <a:spcPct val="100000"/>
              </a:lnSpc>
              <a:spcBef>
                <a:spcPct val="0"/>
              </a:spcBef>
              <a:spcAft>
                <a:spcPct val="0"/>
              </a:spcAft>
              <a:buClrTx/>
              <a:buSzTx/>
              <a:buFontTx/>
              <a:buNone/>
              <a:tabLst/>
              <a:defRPr/>
            </a:pPr>
            <a:endParaRPr kumimoji="0" lang="en-US" sz="147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01" name="Picture 200"/>
          <p:cNvPicPr>
            <a:picLocks noChangeAspect="1"/>
          </p:cNvPicPr>
          <p:nvPr/>
        </p:nvPicPr>
        <p:blipFill>
          <a:blip r:embed="rId6"/>
          <a:stretch>
            <a:fillRect/>
          </a:stretch>
        </p:blipFill>
        <p:spPr>
          <a:xfrm>
            <a:off x="11703579" y="5310063"/>
            <a:ext cx="635412" cy="1612969"/>
          </a:xfrm>
          <a:prstGeom prst="rect">
            <a:avLst/>
          </a:prstGeom>
        </p:spPr>
      </p:pic>
      <p:pic>
        <p:nvPicPr>
          <p:cNvPr id="202" name="Picture 201"/>
          <p:cNvPicPr>
            <a:picLocks noChangeAspect="1"/>
          </p:cNvPicPr>
          <p:nvPr/>
        </p:nvPicPr>
        <p:blipFill>
          <a:blip r:embed="rId7"/>
          <a:stretch>
            <a:fillRect/>
          </a:stretch>
        </p:blipFill>
        <p:spPr>
          <a:xfrm>
            <a:off x="10781622" y="5029421"/>
            <a:ext cx="839262" cy="1900214"/>
          </a:xfrm>
          <a:prstGeom prst="rect">
            <a:avLst/>
          </a:prstGeom>
        </p:spPr>
      </p:pic>
      <p:sp>
        <p:nvSpPr>
          <p:cNvPr id="198" name="Rounded Rectangular Callout 197"/>
          <p:cNvSpPr/>
          <p:nvPr/>
        </p:nvSpPr>
        <p:spPr bwMode="auto">
          <a:xfrm>
            <a:off x="7228363" y="1668200"/>
            <a:ext cx="2286000" cy="616567"/>
          </a:xfrm>
          <a:prstGeom prst="wedgeRoundRectCallout">
            <a:avLst>
              <a:gd name="adj1" fmla="val -45700"/>
              <a:gd name="adj2" fmla="val 101485"/>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Automatic background sync to your managed domain</a:t>
            </a:r>
          </a:p>
        </p:txBody>
      </p:sp>
    </p:spTree>
    <p:extLst>
      <p:ext uri="{BB962C8B-B14F-4D97-AF65-F5344CB8AC3E}">
        <p14:creationId xmlns:p14="http://schemas.microsoft.com/office/powerpoint/2010/main" val="35156798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6037" y="68262"/>
            <a:ext cx="11889564" cy="917575"/>
          </a:xfrm>
        </p:spPr>
        <p:txBody>
          <a:bodyPr/>
          <a:lstStyle/>
          <a:p>
            <a:pPr>
              <a:defRPr/>
            </a:pPr>
            <a:r>
              <a:rPr lang="en-US" dirty="0"/>
              <a:t>Features</a:t>
            </a:r>
          </a:p>
        </p:txBody>
      </p:sp>
      <p:sp>
        <p:nvSpPr>
          <p:cNvPr id="12" name="TextBox 11"/>
          <p:cNvSpPr txBox="1"/>
          <p:nvPr/>
        </p:nvSpPr>
        <p:spPr>
          <a:xfrm>
            <a:off x="1567475" y="816052"/>
            <a:ext cx="10441962" cy="5881610"/>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imple deployment</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ingle managed domain per Azure AD directory</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High availability with fault tolerance</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utomatic health detection &amp; remediation</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Auto-sync from Azure AD – use same users, groups &amp; password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On-premises SIDs are synced to </a:t>
            </a:r>
            <a:r>
              <a:rPr kumimoji="0" lang="en-US" sz="2000" b="0" i="0" u="none" strike="noStrike" kern="0" cap="none" spc="0" normalizeH="0" baseline="0" noProof="0" dirty="0" err="1">
                <a:ln>
                  <a:noFill/>
                </a:ln>
                <a:gradFill>
                  <a:gsLst>
                    <a:gs pos="2917">
                      <a:srgbClr val="505050"/>
                    </a:gs>
                    <a:gs pos="30000">
                      <a:srgbClr val="505050"/>
                    </a:gs>
                  </a:gsLst>
                  <a:lin ang="5400000" scaled="0"/>
                </a:gradFill>
                <a:effectLst/>
                <a:uLnTx/>
                <a:uFillTx/>
                <a:latin typeface="Segoe UI Light"/>
              </a:rPr>
              <a:t>SIDHistory</a:t>
            </a: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 in your managed domain</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 join</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Windows Integrated Authentication (Kerberos, NTLM)</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LDAP bind and LDAP rea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ecure LDAP (including over internet)</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reate custom Organizational Units (OU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dminister DN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Basic Group Policy – single built-in GPO each for users &amp; computers containers.</a:t>
            </a: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27" name="Freeform 26"/>
          <p:cNvSpPr>
            <a:spLocks noEditPoints="1"/>
          </p:cNvSpPr>
          <p:nvPr/>
        </p:nvSpPr>
        <p:spPr bwMode="auto">
          <a:xfrm>
            <a:off x="545919" y="5554662"/>
            <a:ext cx="442913" cy="434975"/>
          </a:xfrm>
          <a:custGeom>
            <a:avLst/>
            <a:gdLst>
              <a:gd name="T0" fmla="*/ 111 w 118"/>
              <a:gd name="T1" fmla="*/ 11 h 116"/>
              <a:gd name="T2" fmla="*/ 95 w 118"/>
              <a:gd name="T3" fmla="*/ 27 h 116"/>
              <a:gd name="T4" fmla="*/ 89 w 118"/>
              <a:gd name="T5" fmla="*/ 27 h 116"/>
              <a:gd name="T6" fmla="*/ 89 w 118"/>
              <a:gd name="T7" fmla="*/ 22 h 116"/>
              <a:gd name="T8" fmla="*/ 105 w 118"/>
              <a:gd name="T9" fmla="*/ 6 h 116"/>
              <a:gd name="T10" fmla="*/ 100 w 118"/>
              <a:gd name="T11" fmla="*/ 3 h 116"/>
              <a:gd name="T12" fmla="*/ 88 w 118"/>
              <a:gd name="T13" fmla="*/ 0 h 116"/>
              <a:gd name="T14" fmla="*/ 68 w 118"/>
              <a:gd name="T15" fmla="*/ 9 h 116"/>
              <a:gd name="T16" fmla="*/ 61 w 118"/>
              <a:gd name="T17" fmla="*/ 33 h 116"/>
              <a:gd name="T18" fmla="*/ 5 w 118"/>
              <a:gd name="T19" fmla="*/ 89 h 116"/>
              <a:gd name="T20" fmla="*/ 0 w 118"/>
              <a:gd name="T21" fmla="*/ 100 h 116"/>
              <a:gd name="T22" fmla="*/ 5 w 118"/>
              <a:gd name="T23" fmla="*/ 112 h 116"/>
              <a:gd name="T24" fmla="*/ 16 w 118"/>
              <a:gd name="T25" fmla="*/ 116 h 116"/>
              <a:gd name="T26" fmla="*/ 27 w 118"/>
              <a:gd name="T27" fmla="*/ 112 h 116"/>
              <a:gd name="T28" fmla="*/ 83 w 118"/>
              <a:gd name="T29" fmla="*/ 56 h 116"/>
              <a:gd name="T30" fmla="*/ 88 w 118"/>
              <a:gd name="T31" fmla="*/ 56 h 116"/>
              <a:gd name="T32" fmla="*/ 88 w 118"/>
              <a:gd name="T33" fmla="*/ 56 h 116"/>
              <a:gd name="T34" fmla="*/ 108 w 118"/>
              <a:gd name="T35" fmla="*/ 48 h 116"/>
              <a:gd name="T36" fmla="*/ 113 w 118"/>
              <a:gd name="T37" fmla="*/ 16 h 116"/>
              <a:gd name="T38" fmla="*/ 111 w 118"/>
              <a:gd name="T39" fmla="*/ 11 h 116"/>
              <a:gd name="T40" fmla="*/ 102 w 118"/>
              <a:gd name="T41" fmla="*/ 43 h 116"/>
              <a:gd name="T42" fmla="*/ 83 w 118"/>
              <a:gd name="T43" fmla="*/ 48 h 116"/>
              <a:gd name="T44" fmla="*/ 81 w 118"/>
              <a:gd name="T45" fmla="*/ 47 h 116"/>
              <a:gd name="T46" fmla="*/ 22 w 118"/>
              <a:gd name="T47" fmla="*/ 106 h 116"/>
              <a:gd name="T48" fmla="*/ 10 w 118"/>
              <a:gd name="T49" fmla="*/ 106 h 116"/>
              <a:gd name="T50" fmla="*/ 8 w 118"/>
              <a:gd name="T51" fmla="*/ 100 h 116"/>
              <a:gd name="T52" fmla="*/ 10 w 118"/>
              <a:gd name="T53" fmla="*/ 95 h 116"/>
              <a:gd name="T54" fmla="*/ 69 w 118"/>
              <a:gd name="T55" fmla="*/ 36 h 116"/>
              <a:gd name="T56" fmla="*/ 69 w 118"/>
              <a:gd name="T57" fmla="*/ 34 h 116"/>
              <a:gd name="T58" fmla="*/ 74 w 118"/>
              <a:gd name="T59" fmla="*/ 14 h 116"/>
              <a:gd name="T60" fmla="*/ 88 w 118"/>
              <a:gd name="T61" fmla="*/ 8 h 116"/>
              <a:gd name="T62" fmla="*/ 91 w 118"/>
              <a:gd name="T63" fmla="*/ 9 h 116"/>
              <a:gd name="T64" fmla="*/ 84 w 118"/>
              <a:gd name="T65" fmla="*/ 16 h 116"/>
              <a:gd name="T66" fmla="*/ 84 w 118"/>
              <a:gd name="T67" fmla="*/ 33 h 116"/>
              <a:gd name="T68" fmla="*/ 101 w 118"/>
              <a:gd name="T69" fmla="*/ 33 h 116"/>
              <a:gd name="T70" fmla="*/ 108 w 118"/>
              <a:gd name="T71" fmla="*/ 26 h 116"/>
              <a:gd name="T72" fmla="*/ 102 w 118"/>
              <a:gd name="T73" fmla="*/ 4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8" h="116">
                <a:moveTo>
                  <a:pt x="111" y="11"/>
                </a:moveTo>
                <a:cubicBezTo>
                  <a:pt x="95" y="27"/>
                  <a:pt x="95" y="27"/>
                  <a:pt x="95" y="27"/>
                </a:cubicBezTo>
                <a:cubicBezTo>
                  <a:pt x="93" y="29"/>
                  <a:pt x="91" y="29"/>
                  <a:pt x="89" y="27"/>
                </a:cubicBezTo>
                <a:cubicBezTo>
                  <a:pt x="88" y="26"/>
                  <a:pt x="88" y="23"/>
                  <a:pt x="89" y="22"/>
                </a:cubicBezTo>
                <a:cubicBezTo>
                  <a:pt x="105" y="6"/>
                  <a:pt x="105" y="6"/>
                  <a:pt x="105" y="6"/>
                </a:cubicBezTo>
                <a:cubicBezTo>
                  <a:pt x="100" y="3"/>
                  <a:pt x="100" y="3"/>
                  <a:pt x="100" y="3"/>
                </a:cubicBezTo>
                <a:cubicBezTo>
                  <a:pt x="96" y="1"/>
                  <a:pt x="92" y="0"/>
                  <a:pt x="88" y="0"/>
                </a:cubicBezTo>
                <a:cubicBezTo>
                  <a:pt x="81" y="0"/>
                  <a:pt x="74" y="3"/>
                  <a:pt x="68" y="9"/>
                </a:cubicBezTo>
                <a:cubicBezTo>
                  <a:pt x="62" y="15"/>
                  <a:pt x="59" y="24"/>
                  <a:pt x="61" y="33"/>
                </a:cubicBezTo>
                <a:cubicBezTo>
                  <a:pt x="5" y="89"/>
                  <a:pt x="5" y="89"/>
                  <a:pt x="5" y="89"/>
                </a:cubicBezTo>
                <a:cubicBezTo>
                  <a:pt x="2" y="92"/>
                  <a:pt x="0" y="96"/>
                  <a:pt x="0" y="100"/>
                </a:cubicBezTo>
                <a:cubicBezTo>
                  <a:pt x="0" y="105"/>
                  <a:pt x="2" y="109"/>
                  <a:pt x="5" y="112"/>
                </a:cubicBezTo>
                <a:cubicBezTo>
                  <a:pt x="8" y="115"/>
                  <a:pt x="12" y="116"/>
                  <a:pt x="16" y="116"/>
                </a:cubicBezTo>
                <a:cubicBezTo>
                  <a:pt x="20" y="116"/>
                  <a:pt x="24" y="115"/>
                  <a:pt x="27" y="112"/>
                </a:cubicBezTo>
                <a:cubicBezTo>
                  <a:pt x="83" y="56"/>
                  <a:pt x="83" y="56"/>
                  <a:pt x="83" y="56"/>
                </a:cubicBezTo>
                <a:cubicBezTo>
                  <a:pt x="85" y="56"/>
                  <a:pt x="87" y="56"/>
                  <a:pt x="88" y="56"/>
                </a:cubicBezTo>
                <a:cubicBezTo>
                  <a:pt x="88" y="56"/>
                  <a:pt x="88" y="56"/>
                  <a:pt x="88" y="56"/>
                </a:cubicBezTo>
                <a:cubicBezTo>
                  <a:pt x="96" y="56"/>
                  <a:pt x="103" y="53"/>
                  <a:pt x="108" y="48"/>
                </a:cubicBezTo>
                <a:cubicBezTo>
                  <a:pt x="116" y="40"/>
                  <a:pt x="118" y="27"/>
                  <a:pt x="113" y="16"/>
                </a:cubicBezTo>
                <a:lnTo>
                  <a:pt x="111" y="11"/>
                </a:lnTo>
                <a:close/>
                <a:moveTo>
                  <a:pt x="102" y="43"/>
                </a:moveTo>
                <a:cubicBezTo>
                  <a:pt x="97" y="48"/>
                  <a:pt x="90" y="50"/>
                  <a:pt x="83" y="48"/>
                </a:cubicBezTo>
                <a:cubicBezTo>
                  <a:pt x="81" y="47"/>
                  <a:pt x="81" y="47"/>
                  <a:pt x="81" y="47"/>
                </a:cubicBezTo>
                <a:cubicBezTo>
                  <a:pt x="22" y="106"/>
                  <a:pt x="22" y="106"/>
                  <a:pt x="22" y="106"/>
                </a:cubicBezTo>
                <a:cubicBezTo>
                  <a:pt x="19" y="109"/>
                  <a:pt x="13" y="109"/>
                  <a:pt x="10" y="106"/>
                </a:cubicBezTo>
                <a:cubicBezTo>
                  <a:pt x="9" y="105"/>
                  <a:pt x="8" y="103"/>
                  <a:pt x="8" y="100"/>
                </a:cubicBezTo>
                <a:cubicBezTo>
                  <a:pt x="8" y="98"/>
                  <a:pt x="9" y="96"/>
                  <a:pt x="10" y="95"/>
                </a:cubicBezTo>
                <a:cubicBezTo>
                  <a:pt x="69" y="36"/>
                  <a:pt x="69" y="36"/>
                  <a:pt x="69" y="36"/>
                </a:cubicBezTo>
                <a:cubicBezTo>
                  <a:pt x="69" y="34"/>
                  <a:pt x="69" y="34"/>
                  <a:pt x="69" y="34"/>
                </a:cubicBezTo>
                <a:cubicBezTo>
                  <a:pt x="67" y="27"/>
                  <a:pt x="69" y="19"/>
                  <a:pt x="74" y="14"/>
                </a:cubicBezTo>
                <a:cubicBezTo>
                  <a:pt x="78" y="11"/>
                  <a:pt x="83" y="8"/>
                  <a:pt x="88" y="8"/>
                </a:cubicBezTo>
                <a:cubicBezTo>
                  <a:pt x="89" y="8"/>
                  <a:pt x="90" y="9"/>
                  <a:pt x="91" y="9"/>
                </a:cubicBezTo>
                <a:cubicBezTo>
                  <a:pt x="84" y="16"/>
                  <a:pt x="84" y="16"/>
                  <a:pt x="84" y="16"/>
                </a:cubicBezTo>
                <a:cubicBezTo>
                  <a:pt x="79" y="21"/>
                  <a:pt x="79" y="28"/>
                  <a:pt x="84" y="33"/>
                </a:cubicBezTo>
                <a:cubicBezTo>
                  <a:pt x="88" y="37"/>
                  <a:pt x="96" y="37"/>
                  <a:pt x="101" y="33"/>
                </a:cubicBezTo>
                <a:cubicBezTo>
                  <a:pt x="108" y="26"/>
                  <a:pt x="108" y="26"/>
                  <a:pt x="108" y="26"/>
                </a:cubicBezTo>
                <a:cubicBezTo>
                  <a:pt x="109" y="32"/>
                  <a:pt x="107" y="38"/>
                  <a:pt x="102" y="4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8" name="Freeform 27"/>
          <p:cNvSpPr>
            <a:spLocks noEditPoints="1"/>
          </p:cNvSpPr>
          <p:nvPr/>
        </p:nvSpPr>
        <p:spPr bwMode="auto">
          <a:xfrm>
            <a:off x="565763" y="2782886"/>
            <a:ext cx="403225" cy="487363"/>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29" name="Freeform 28"/>
          <p:cNvSpPr>
            <a:spLocks noChangeAspect="1" noEditPoints="1"/>
          </p:cNvSpPr>
          <p:nvPr/>
        </p:nvSpPr>
        <p:spPr bwMode="auto">
          <a:xfrm>
            <a:off x="570787" y="4019517"/>
            <a:ext cx="436039" cy="430276"/>
          </a:xfrm>
          <a:custGeom>
            <a:avLst/>
            <a:gdLst>
              <a:gd name="T0" fmla="*/ 87 w 96"/>
              <a:gd name="T1" fmla="*/ 53 h 95"/>
              <a:gd name="T2" fmla="*/ 85 w 96"/>
              <a:gd name="T3" fmla="*/ 45 h 95"/>
              <a:gd name="T4" fmla="*/ 72 w 96"/>
              <a:gd name="T5" fmla="*/ 44 h 95"/>
              <a:gd name="T6" fmla="*/ 64 w 96"/>
              <a:gd name="T7" fmla="*/ 39 h 95"/>
              <a:gd name="T8" fmla="*/ 54 w 96"/>
              <a:gd name="T9" fmla="*/ 48 h 95"/>
              <a:gd name="T10" fmla="*/ 45 w 96"/>
              <a:gd name="T11" fmla="*/ 50 h 95"/>
              <a:gd name="T12" fmla="*/ 44 w 96"/>
              <a:gd name="T13" fmla="*/ 63 h 95"/>
              <a:gd name="T14" fmla="*/ 40 w 96"/>
              <a:gd name="T15" fmla="*/ 71 h 95"/>
              <a:gd name="T16" fmla="*/ 48 w 96"/>
              <a:gd name="T17" fmla="*/ 81 h 95"/>
              <a:gd name="T18" fmla="*/ 51 w 96"/>
              <a:gd name="T19" fmla="*/ 90 h 95"/>
              <a:gd name="T20" fmla="*/ 64 w 96"/>
              <a:gd name="T21" fmla="*/ 91 h 95"/>
              <a:gd name="T22" fmla="*/ 72 w 96"/>
              <a:gd name="T23" fmla="*/ 95 h 95"/>
              <a:gd name="T24" fmla="*/ 81 w 96"/>
              <a:gd name="T25" fmla="*/ 87 h 95"/>
              <a:gd name="T26" fmla="*/ 90 w 96"/>
              <a:gd name="T27" fmla="*/ 84 h 95"/>
              <a:gd name="T28" fmla="*/ 91 w 96"/>
              <a:gd name="T29" fmla="*/ 71 h 95"/>
              <a:gd name="T30" fmla="*/ 96 w 96"/>
              <a:gd name="T31" fmla="*/ 63 h 95"/>
              <a:gd name="T32" fmla="*/ 68 w 96"/>
              <a:gd name="T33" fmla="*/ 83 h 95"/>
              <a:gd name="T34" fmla="*/ 68 w 96"/>
              <a:gd name="T35" fmla="*/ 51 h 95"/>
              <a:gd name="T36" fmla="*/ 68 w 96"/>
              <a:gd name="T37" fmla="*/ 83 h 95"/>
              <a:gd name="T38" fmla="*/ 40 w 96"/>
              <a:gd name="T39" fmla="*/ 7 h 95"/>
              <a:gd name="T40" fmla="*/ 35 w 96"/>
              <a:gd name="T41" fmla="*/ 0 h 95"/>
              <a:gd name="T42" fmla="*/ 22 w 96"/>
              <a:gd name="T43" fmla="*/ 4 h 95"/>
              <a:gd name="T44" fmla="*/ 13 w 96"/>
              <a:gd name="T45" fmla="*/ 3 h 95"/>
              <a:gd name="T46" fmla="*/ 7 w 96"/>
              <a:gd name="T47" fmla="*/ 14 h 95"/>
              <a:gd name="T48" fmla="*/ 0 w 96"/>
              <a:gd name="T49" fmla="*/ 20 h 95"/>
              <a:gd name="T50" fmla="*/ 4 w 96"/>
              <a:gd name="T51" fmla="*/ 33 h 95"/>
              <a:gd name="T52" fmla="*/ 3 w 96"/>
              <a:gd name="T53" fmla="*/ 42 h 95"/>
              <a:gd name="T54" fmla="*/ 15 w 96"/>
              <a:gd name="T55" fmla="*/ 47 h 95"/>
              <a:gd name="T56" fmla="*/ 21 w 96"/>
              <a:gd name="T57" fmla="*/ 55 h 95"/>
              <a:gd name="T58" fmla="*/ 33 w 96"/>
              <a:gd name="T59" fmla="*/ 51 h 95"/>
              <a:gd name="T60" fmla="*/ 42 w 96"/>
              <a:gd name="T61" fmla="*/ 52 h 95"/>
              <a:gd name="T62" fmla="*/ 48 w 96"/>
              <a:gd name="T63" fmla="*/ 40 h 95"/>
              <a:gd name="T64" fmla="*/ 55 w 96"/>
              <a:gd name="T65" fmla="*/ 34 h 95"/>
              <a:gd name="T66" fmla="*/ 51 w 96"/>
              <a:gd name="T67" fmla="*/ 22 h 95"/>
              <a:gd name="T68" fmla="*/ 52 w 96"/>
              <a:gd name="T69" fmla="*/ 13 h 95"/>
              <a:gd name="T70" fmla="*/ 34 w 96"/>
              <a:gd name="T71" fmla="*/ 42 h 95"/>
              <a:gd name="T72" fmla="*/ 21 w 96"/>
              <a:gd name="T73" fmla="*/ 12 h 95"/>
              <a:gd name="T74" fmla="*/ 34 w 96"/>
              <a:gd name="T75" fmla="*/ 4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5">
                <a:moveTo>
                  <a:pt x="91" y="63"/>
                </a:moveTo>
                <a:cubicBezTo>
                  <a:pt x="91" y="60"/>
                  <a:pt x="89" y="56"/>
                  <a:pt x="87" y="53"/>
                </a:cubicBezTo>
                <a:cubicBezTo>
                  <a:pt x="90" y="50"/>
                  <a:pt x="90" y="50"/>
                  <a:pt x="90" y="50"/>
                </a:cubicBezTo>
                <a:cubicBezTo>
                  <a:pt x="85" y="45"/>
                  <a:pt x="85" y="45"/>
                  <a:pt x="85" y="45"/>
                </a:cubicBezTo>
                <a:cubicBezTo>
                  <a:pt x="81" y="48"/>
                  <a:pt x="81" y="48"/>
                  <a:pt x="81" y="48"/>
                </a:cubicBezTo>
                <a:cubicBezTo>
                  <a:pt x="79" y="46"/>
                  <a:pt x="75" y="44"/>
                  <a:pt x="72" y="44"/>
                </a:cubicBezTo>
                <a:cubicBezTo>
                  <a:pt x="72" y="39"/>
                  <a:pt x="72" y="39"/>
                  <a:pt x="72" y="39"/>
                </a:cubicBezTo>
                <a:cubicBezTo>
                  <a:pt x="64" y="39"/>
                  <a:pt x="64" y="39"/>
                  <a:pt x="64" y="39"/>
                </a:cubicBezTo>
                <a:cubicBezTo>
                  <a:pt x="64" y="44"/>
                  <a:pt x="64" y="44"/>
                  <a:pt x="64" y="44"/>
                </a:cubicBezTo>
                <a:cubicBezTo>
                  <a:pt x="60" y="44"/>
                  <a:pt x="57" y="46"/>
                  <a:pt x="54" y="48"/>
                </a:cubicBezTo>
                <a:cubicBezTo>
                  <a:pt x="51" y="45"/>
                  <a:pt x="51" y="45"/>
                  <a:pt x="51" y="45"/>
                </a:cubicBezTo>
                <a:cubicBezTo>
                  <a:pt x="45" y="50"/>
                  <a:pt x="45" y="50"/>
                  <a:pt x="45" y="50"/>
                </a:cubicBezTo>
                <a:cubicBezTo>
                  <a:pt x="48" y="53"/>
                  <a:pt x="48" y="53"/>
                  <a:pt x="48" y="53"/>
                </a:cubicBezTo>
                <a:cubicBezTo>
                  <a:pt x="46" y="56"/>
                  <a:pt x="45" y="60"/>
                  <a:pt x="44" y="63"/>
                </a:cubicBezTo>
                <a:cubicBezTo>
                  <a:pt x="40" y="63"/>
                  <a:pt x="40" y="63"/>
                  <a:pt x="40" y="63"/>
                </a:cubicBezTo>
                <a:cubicBezTo>
                  <a:pt x="40" y="71"/>
                  <a:pt x="40" y="71"/>
                  <a:pt x="40" y="71"/>
                </a:cubicBezTo>
                <a:cubicBezTo>
                  <a:pt x="44" y="71"/>
                  <a:pt x="44" y="71"/>
                  <a:pt x="44" y="71"/>
                </a:cubicBezTo>
                <a:cubicBezTo>
                  <a:pt x="45" y="75"/>
                  <a:pt x="46" y="78"/>
                  <a:pt x="48" y="81"/>
                </a:cubicBezTo>
                <a:cubicBezTo>
                  <a:pt x="45" y="84"/>
                  <a:pt x="45" y="84"/>
                  <a:pt x="45" y="84"/>
                </a:cubicBezTo>
                <a:cubicBezTo>
                  <a:pt x="51" y="90"/>
                  <a:pt x="51" y="90"/>
                  <a:pt x="51" y="90"/>
                </a:cubicBezTo>
                <a:cubicBezTo>
                  <a:pt x="54" y="87"/>
                  <a:pt x="54" y="87"/>
                  <a:pt x="54" y="87"/>
                </a:cubicBezTo>
                <a:cubicBezTo>
                  <a:pt x="57" y="89"/>
                  <a:pt x="60" y="90"/>
                  <a:pt x="64" y="91"/>
                </a:cubicBezTo>
                <a:cubicBezTo>
                  <a:pt x="64" y="95"/>
                  <a:pt x="64" y="95"/>
                  <a:pt x="64" y="95"/>
                </a:cubicBezTo>
                <a:cubicBezTo>
                  <a:pt x="72" y="95"/>
                  <a:pt x="72" y="95"/>
                  <a:pt x="72" y="95"/>
                </a:cubicBezTo>
                <a:cubicBezTo>
                  <a:pt x="72" y="91"/>
                  <a:pt x="72" y="91"/>
                  <a:pt x="72" y="91"/>
                </a:cubicBezTo>
                <a:cubicBezTo>
                  <a:pt x="75" y="90"/>
                  <a:pt x="79" y="89"/>
                  <a:pt x="81" y="87"/>
                </a:cubicBezTo>
                <a:cubicBezTo>
                  <a:pt x="85" y="90"/>
                  <a:pt x="85" y="90"/>
                  <a:pt x="85" y="90"/>
                </a:cubicBezTo>
                <a:cubicBezTo>
                  <a:pt x="90" y="84"/>
                  <a:pt x="90" y="84"/>
                  <a:pt x="90" y="84"/>
                </a:cubicBezTo>
                <a:cubicBezTo>
                  <a:pt x="87" y="81"/>
                  <a:pt x="87" y="81"/>
                  <a:pt x="87" y="81"/>
                </a:cubicBezTo>
                <a:cubicBezTo>
                  <a:pt x="89" y="78"/>
                  <a:pt x="91" y="75"/>
                  <a:pt x="91" y="71"/>
                </a:cubicBezTo>
                <a:cubicBezTo>
                  <a:pt x="96" y="71"/>
                  <a:pt x="96" y="71"/>
                  <a:pt x="96" y="71"/>
                </a:cubicBezTo>
                <a:cubicBezTo>
                  <a:pt x="96" y="63"/>
                  <a:pt x="96" y="63"/>
                  <a:pt x="96" y="63"/>
                </a:cubicBezTo>
                <a:lnTo>
                  <a:pt x="91" y="63"/>
                </a:lnTo>
                <a:close/>
                <a:moveTo>
                  <a:pt x="68" y="83"/>
                </a:moveTo>
                <a:cubicBezTo>
                  <a:pt x="59" y="83"/>
                  <a:pt x="52" y="76"/>
                  <a:pt x="52" y="67"/>
                </a:cubicBezTo>
                <a:cubicBezTo>
                  <a:pt x="52" y="58"/>
                  <a:pt x="59" y="51"/>
                  <a:pt x="68" y="51"/>
                </a:cubicBezTo>
                <a:cubicBezTo>
                  <a:pt x="76" y="51"/>
                  <a:pt x="84" y="58"/>
                  <a:pt x="84" y="67"/>
                </a:cubicBezTo>
                <a:cubicBezTo>
                  <a:pt x="84" y="76"/>
                  <a:pt x="76" y="83"/>
                  <a:pt x="68" y="83"/>
                </a:cubicBezTo>
                <a:close/>
                <a:moveTo>
                  <a:pt x="48" y="14"/>
                </a:moveTo>
                <a:cubicBezTo>
                  <a:pt x="46" y="11"/>
                  <a:pt x="43" y="9"/>
                  <a:pt x="40" y="7"/>
                </a:cubicBezTo>
                <a:cubicBezTo>
                  <a:pt x="42" y="3"/>
                  <a:pt x="42" y="3"/>
                  <a:pt x="42" y="3"/>
                </a:cubicBezTo>
                <a:cubicBezTo>
                  <a:pt x="35" y="0"/>
                  <a:pt x="35" y="0"/>
                  <a:pt x="35" y="0"/>
                </a:cubicBezTo>
                <a:cubicBezTo>
                  <a:pt x="33" y="4"/>
                  <a:pt x="33" y="4"/>
                  <a:pt x="33" y="4"/>
                </a:cubicBezTo>
                <a:cubicBezTo>
                  <a:pt x="30" y="3"/>
                  <a:pt x="26" y="3"/>
                  <a:pt x="22" y="4"/>
                </a:cubicBezTo>
                <a:cubicBezTo>
                  <a:pt x="21" y="0"/>
                  <a:pt x="21" y="0"/>
                  <a:pt x="21" y="0"/>
                </a:cubicBezTo>
                <a:cubicBezTo>
                  <a:pt x="13" y="3"/>
                  <a:pt x="13" y="3"/>
                  <a:pt x="13" y="3"/>
                </a:cubicBezTo>
                <a:cubicBezTo>
                  <a:pt x="15" y="7"/>
                  <a:pt x="15" y="7"/>
                  <a:pt x="15" y="7"/>
                </a:cubicBezTo>
                <a:cubicBezTo>
                  <a:pt x="12" y="9"/>
                  <a:pt x="9" y="11"/>
                  <a:pt x="7" y="14"/>
                </a:cubicBezTo>
                <a:cubicBezTo>
                  <a:pt x="3" y="13"/>
                  <a:pt x="3" y="13"/>
                  <a:pt x="3" y="13"/>
                </a:cubicBezTo>
                <a:cubicBezTo>
                  <a:pt x="0" y="20"/>
                  <a:pt x="0" y="20"/>
                  <a:pt x="0" y="20"/>
                </a:cubicBezTo>
                <a:cubicBezTo>
                  <a:pt x="4" y="22"/>
                  <a:pt x="4" y="22"/>
                  <a:pt x="4" y="22"/>
                </a:cubicBezTo>
                <a:cubicBezTo>
                  <a:pt x="3" y="25"/>
                  <a:pt x="3" y="29"/>
                  <a:pt x="4" y="33"/>
                </a:cubicBezTo>
                <a:cubicBezTo>
                  <a:pt x="0" y="34"/>
                  <a:pt x="0" y="34"/>
                  <a:pt x="0" y="34"/>
                </a:cubicBezTo>
                <a:cubicBezTo>
                  <a:pt x="3" y="42"/>
                  <a:pt x="3" y="42"/>
                  <a:pt x="3" y="42"/>
                </a:cubicBezTo>
                <a:cubicBezTo>
                  <a:pt x="7" y="40"/>
                  <a:pt x="7" y="40"/>
                  <a:pt x="7" y="40"/>
                </a:cubicBezTo>
                <a:cubicBezTo>
                  <a:pt x="9" y="43"/>
                  <a:pt x="12" y="46"/>
                  <a:pt x="15" y="47"/>
                </a:cubicBezTo>
                <a:cubicBezTo>
                  <a:pt x="13" y="52"/>
                  <a:pt x="13" y="52"/>
                  <a:pt x="13" y="52"/>
                </a:cubicBezTo>
                <a:cubicBezTo>
                  <a:pt x="21" y="55"/>
                  <a:pt x="21" y="55"/>
                  <a:pt x="21" y="55"/>
                </a:cubicBezTo>
                <a:cubicBezTo>
                  <a:pt x="22" y="51"/>
                  <a:pt x="22" y="51"/>
                  <a:pt x="22" y="51"/>
                </a:cubicBezTo>
                <a:cubicBezTo>
                  <a:pt x="26" y="51"/>
                  <a:pt x="29" y="51"/>
                  <a:pt x="33" y="51"/>
                </a:cubicBezTo>
                <a:cubicBezTo>
                  <a:pt x="35" y="55"/>
                  <a:pt x="35" y="55"/>
                  <a:pt x="35" y="55"/>
                </a:cubicBezTo>
                <a:cubicBezTo>
                  <a:pt x="42" y="52"/>
                  <a:pt x="42" y="52"/>
                  <a:pt x="42" y="52"/>
                </a:cubicBezTo>
                <a:cubicBezTo>
                  <a:pt x="40" y="47"/>
                  <a:pt x="40" y="47"/>
                  <a:pt x="40" y="47"/>
                </a:cubicBezTo>
                <a:cubicBezTo>
                  <a:pt x="43" y="46"/>
                  <a:pt x="46" y="43"/>
                  <a:pt x="48" y="40"/>
                </a:cubicBezTo>
                <a:cubicBezTo>
                  <a:pt x="52" y="42"/>
                  <a:pt x="52" y="42"/>
                  <a:pt x="52" y="42"/>
                </a:cubicBezTo>
                <a:cubicBezTo>
                  <a:pt x="55" y="34"/>
                  <a:pt x="55" y="34"/>
                  <a:pt x="55" y="34"/>
                </a:cubicBezTo>
                <a:cubicBezTo>
                  <a:pt x="51" y="33"/>
                  <a:pt x="51" y="33"/>
                  <a:pt x="51" y="33"/>
                </a:cubicBezTo>
                <a:cubicBezTo>
                  <a:pt x="52" y="29"/>
                  <a:pt x="52" y="25"/>
                  <a:pt x="51" y="22"/>
                </a:cubicBezTo>
                <a:cubicBezTo>
                  <a:pt x="55" y="20"/>
                  <a:pt x="55" y="20"/>
                  <a:pt x="55" y="20"/>
                </a:cubicBezTo>
                <a:cubicBezTo>
                  <a:pt x="52" y="13"/>
                  <a:pt x="52" y="13"/>
                  <a:pt x="52" y="13"/>
                </a:cubicBezTo>
                <a:lnTo>
                  <a:pt x="48" y="14"/>
                </a:lnTo>
                <a:close/>
                <a:moveTo>
                  <a:pt x="34" y="42"/>
                </a:moveTo>
                <a:cubicBezTo>
                  <a:pt x="26" y="45"/>
                  <a:pt x="16" y="41"/>
                  <a:pt x="13" y="33"/>
                </a:cubicBezTo>
                <a:cubicBezTo>
                  <a:pt x="9" y="25"/>
                  <a:pt x="13" y="16"/>
                  <a:pt x="21" y="12"/>
                </a:cubicBezTo>
                <a:cubicBezTo>
                  <a:pt x="30" y="9"/>
                  <a:pt x="39" y="13"/>
                  <a:pt x="42" y="21"/>
                </a:cubicBezTo>
                <a:cubicBezTo>
                  <a:pt x="46" y="29"/>
                  <a:pt x="42" y="39"/>
                  <a:pt x="34" y="4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30" name="Freeform 29"/>
          <p:cNvSpPr>
            <a:spLocks noChangeAspect="1" noEditPoints="1"/>
          </p:cNvSpPr>
          <p:nvPr/>
        </p:nvSpPr>
        <p:spPr bwMode="auto">
          <a:xfrm>
            <a:off x="535204" y="1678017"/>
            <a:ext cx="495300" cy="271463"/>
          </a:xfrm>
          <a:custGeom>
            <a:avLst/>
            <a:gdLst>
              <a:gd name="T0" fmla="*/ 312 w 312"/>
              <a:gd name="T1" fmla="*/ 0 h 171"/>
              <a:gd name="T2" fmla="*/ 312 w 312"/>
              <a:gd name="T3" fmla="*/ 19 h 171"/>
              <a:gd name="T4" fmla="*/ 66 w 312"/>
              <a:gd name="T5" fmla="*/ 19 h 171"/>
              <a:gd name="T6" fmla="*/ 66 w 312"/>
              <a:gd name="T7" fmla="*/ 0 h 171"/>
              <a:gd name="T8" fmla="*/ 312 w 312"/>
              <a:gd name="T9" fmla="*/ 0 h 171"/>
              <a:gd name="T10" fmla="*/ 9 w 312"/>
              <a:gd name="T11" fmla="*/ 95 h 171"/>
              <a:gd name="T12" fmla="*/ 28 w 312"/>
              <a:gd name="T13" fmla="*/ 95 h 171"/>
              <a:gd name="T14" fmla="*/ 28 w 312"/>
              <a:gd name="T15" fmla="*/ 76 h 171"/>
              <a:gd name="T16" fmla="*/ 9 w 312"/>
              <a:gd name="T17" fmla="*/ 76 h 171"/>
              <a:gd name="T18" fmla="*/ 9 w 312"/>
              <a:gd name="T19" fmla="*/ 95 h 171"/>
              <a:gd name="T20" fmla="*/ 9 w 312"/>
              <a:gd name="T21" fmla="*/ 19 h 171"/>
              <a:gd name="T22" fmla="*/ 28 w 312"/>
              <a:gd name="T23" fmla="*/ 19 h 171"/>
              <a:gd name="T24" fmla="*/ 28 w 312"/>
              <a:gd name="T25" fmla="*/ 0 h 171"/>
              <a:gd name="T26" fmla="*/ 9 w 312"/>
              <a:gd name="T27" fmla="*/ 0 h 171"/>
              <a:gd name="T28" fmla="*/ 9 w 312"/>
              <a:gd name="T29" fmla="*/ 19 h 171"/>
              <a:gd name="T30" fmla="*/ 66 w 312"/>
              <a:gd name="T31" fmla="*/ 95 h 171"/>
              <a:gd name="T32" fmla="*/ 312 w 312"/>
              <a:gd name="T33" fmla="*/ 95 h 171"/>
              <a:gd name="T34" fmla="*/ 312 w 312"/>
              <a:gd name="T35" fmla="*/ 76 h 171"/>
              <a:gd name="T36" fmla="*/ 66 w 312"/>
              <a:gd name="T37" fmla="*/ 76 h 171"/>
              <a:gd name="T38" fmla="*/ 66 w 312"/>
              <a:gd name="T39" fmla="*/ 95 h 171"/>
              <a:gd name="T40" fmla="*/ 66 w 312"/>
              <a:gd name="T41" fmla="*/ 171 h 171"/>
              <a:gd name="T42" fmla="*/ 312 w 312"/>
              <a:gd name="T43" fmla="*/ 171 h 171"/>
              <a:gd name="T44" fmla="*/ 312 w 312"/>
              <a:gd name="T45" fmla="*/ 152 h 171"/>
              <a:gd name="T46" fmla="*/ 66 w 312"/>
              <a:gd name="T47" fmla="*/ 152 h 171"/>
              <a:gd name="T48" fmla="*/ 66 w 312"/>
              <a:gd name="T49" fmla="*/ 171 h 171"/>
              <a:gd name="T50" fmla="*/ 54 w 312"/>
              <a:gd name="T51" fmla="*/ 137 h 171"/>
              <a:gd name="T52" fmla="*/ 42 w 312"/>
              <a:gd name="T53" fmla="*/ 126 h 171"/>
              <a:gd name="T54" fmla="*/ 19 w 312"/>
              <a:gd name="T55" fmla="*/ 149 h 171"/>
              <a:gd name="T56" fmla="*/ 9 w 312"/>
              <a:gd name="T57" fmla="*/ 140 h 171"/>
              <a:gd name="T58" fmla="*/ 0 w 312"/>
              <a:gd name="T59" fmla="*/ 152 h 171"/>
              <a:gd name="T60" fmla="*/ 19 w 312"/>
              <a:gd name="T61" fmla="*/ 171 h 171"/>
              <a:gd name="T62" fmla="*/ 54 w 312"/>
              <a:gd name="T63" fmla="*/ 13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2" h="171">
                <a:moveTo>
                  <a:pt x="312" y="0"/>
                </a:moveTo>
                <a:lnTo>
                  <a:pt x="312" y="19"/>
                </a:lnTo>
                <a:lnTo>
                  <a:pt x="66" y="19"/>
                </a:lnTo>
                <a:lnTo>
                  <a:pt x="66" y="0"/>
                </a:lnTo>
                <a:lnTo>
                  <a:pt x="312" y="0"/>
                </a:lnTo>
                <a:close/>
                <a:moveTo>
                  <a:pt x="9" y="95"/>
                </a:moveTo>
                <a:lnTo>
                  <a:pt x="28" y="95"/>
                </a:lnTo>
                <a:lnTo>
                  <a:pt x="28" y="76"/>
                </a:lnTo>
                <a:lnTo>
                  <a:pt x="9" y="76"/>
                </a:lnTo>
                <a:lnTo>
                  <a:pt x="9" y="95"/>
                </a:lnTo>
                <a:close/>
                <a:moveTo>
                  <a:pt x="9" y="19"/>
                </a:moveTo>
                <a:lnTo>
                  <a:pt x="28" y="19"/>
                </a:lnTo>
                <a:lnTo>
                  <a:pt x="28" y="0"/>
                </a:lnTo>
                <a:lnTo>
                  <a:pt x="9" y="0"/>
                </a:lnTo>
                <a:lnTo>
                  <a:pt x="9" y="19"/>
                </a:lnTo>
                <a:close/>
                <a:moveTo>
                  <a:pt x="66" y="95"/>
                </a:moveTo>
                <a:lnTo>
                  <a:pt x="312" y="95"/>
                </a:lnTo>
                <a:lnTo>
                  <a:pt x="312" y="76"/>
                </a:lnTo>
                <a:lnTo>
                  <a:pt x="66" y="76"/>
                </a:lnTo>
                <a:lnTo>
                  <a:pt x="66" y="95"/>
                </a:lnTo>
                <a:close/>
                <a:moveTo>
                  <a:pt x="66" y="171"/>
                </a:moveTo>
                <a:lnTo>
                  <a:pt x="312" y="171"/>
                </a:lnTo>
                <a:lnTo>
                  <a:pt x="312" y="152"/>
                </a:lnTo>
                <a:lnTo>
                  <a:pt x="66" y="152"/>
                </a:lnTo>
                <a:lnTo>
                  <a:pt x="66" y="171"/>
                </a:lnTo>
                <a:close/>
                <a:moveTo>
                  <a:pt x="54" y="137"/>
                </a:moveTo>
                <a:lnTo>
                  <a:pt x="42" y="126"/>
                </a:lnTo>
                <a:lnTo>
                  <a:pt x="19" y="149"/>
                </a:lnTo>
                <a:lnTo>
                  <a:pt x="9" y="140"/>
                </a:lnTo>
                <a:lnTo>
                  <a:pt x="0" y="152"/>
                </a:lnTo>
                <a:lnTo>
                  <a:pt x="19" y="171"/>
                </a:lnTo>
                <a:lnTo>
                  <a:pt x="54" y="1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50167300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imbabwe"/>
          <p:cNvSpPr>
            <a:spLocks/>
          </p:cNvSpPr>
          <p:nvPr/>
        </p:nvSpPr>
        <p:spPr bwMode="auto">
          <a:xfrm>
            <a:off x="6670050" y="5285914"/>
            <a:ext cx="270990" cy="270990"/>
          </a:xfrm>
          <a:custGeom>
            <a:avLst/>
            <a:gdLst/>
            <a:ahLst/>
            <a:cxnLst>
              <a:cxn ang="0">
                <a:pos x="75" y="21"/>
              </a:cxn>
              <a:cxn ang="0">
                <a:pos x="75" y="19"/>
              </a:cxn>
              <a:cxn ang="0">
                <a:pos x="75" y="17"/>
              </a:cxn>
              <a:cxn ang="0">
                <a:pos x="74" y="13"/>
              </a:cxn>
              <a:cxn ang="0">
                <a:pos x="72" y="12"/>
              </a:cxn>
              <a:cxn ang="0">
                <a:pos x="69" y="9"/>
              </a:cxn>
              <a:cxn ang="0">
                <a:pos x="65" y="9"/>
              </a:cxn>
              <a:cxn ang="0">
                <a:pos x="64" y="7"/>
              </a:cxn>
              <a:cxn ang="0">
                <a:pos x="60" y="6"/>
              </a:cxn>
              <a:cxn ang="0">
                <a:pos x="57" y="4"/>
              </a:cxn>
              <a:cxn ang="0">
                <a:pos x="53" y="4"/>
              </a:cxn>
              <a:cxn ang="0">
                <a:pos x="50" y="0"/>
              </a:cxn>
              <a:cxn ang="0">
                <a:pos x="45" y="0"/>
              </a:cxn>
              <a:cxn ang="0">
                <a:pos x="41" y="1"/>
              </a:cxn>
              <a:cxn ang="0">
                <a:pos x="38" y="3"/>
              </a:cxn>
              <a:cxn ang="0">
                <a:pos x="35" y="10"/>
              </a:cxn>
              <a:cxn ang="0">
                <a:pos x="31" y="11"/>
              </a:cxn>
              <a:cxn ang="0">
                <a:pos x="25" y="15"/>
              </a:cxn>
              <a:cxn ang="0">
                <a:pos x="19" y="23"/>
              </a:cxn>
              <a:cxn ang="0">
                <a:pos x="17" y="26"/>
              </a:cxn>
              <a:cxn ang="0">
                <a:pos x="12" y="26"/>
              </a:cxn>
              <a:cxn ang="0">
                <a:pos x="7" y="26"/>
              </a:cxn>
              <a:cxn ang="0">
                <a:pos x="5" y="24"/>
              </a:cxn>
              <a:cxn ang="0">
                <a:pos x="1" y="24"/>
              </a:cxn>
              <a:cxn ang="0">
                <a:pos x="2" y="28"/>
              </a:cxn>
              <a:cxn ang="0">
                <a:pos x="5" y="33"/>
              </a:cxn>
              <a:cxn ang="0">
                <a:pos x="7" y="37"/>
              </a:cxn>
              <a:cxn ang="0">
                <a:pos x="7" y="39"/>
              </a:cxn>
              <a:cxn ang="0">
                <a:pos x="10" y="43"/>
              </a:cxn>
              <a:cxn ang="0">
                <a:pos x="12" y="45"/>
              </a:cxn>
              <a:cxn ang="0">
                <a:pos x="14" y="47"/>
              </a:cxn>
              <a:cxn ang="0">
                <a:pos x="18" y="49"/>
              </a:cxn>
              <a:cxn ang="0">
                <a:pos x="19" y="50"/>
              </a:cxn>
              <a:cxn ang="0">
                <a:pos x="23" y="53"/>
              </a:cxn>
              <a:cxn ang="0">
                <a:pos x="23" y="56"/>
              </a:cxn>
              <a:cxn ang="0">
                <a:pos x="23" y="60"/>
              </a:cxn>
              <a:cxn ang="0">
                <a:pos x="27" y="65"/>
              </a:cxn>
              <a:cxn ang="0">
                <a:pos x="30" y="66"/>
              </a:cxn>
              <a:cxn ang="0">
                <a:pos x="34" y="67"/>
              </a:cxn>
              <a:cxn ang="0">
                <a:pos x="37" y="71"/>
              </a:cxn>
              <a:cxn ang="0">
                <a:pos x="38" y="72"/>
              </a:cxn>
              <a:cxn ang="0">
                <a:pos x="44" y="72"/>
              </a:cxn>
              <a:cxn ang="0">
                <a:pos x="47" y="74"/>
              </a:cxn>
              <a:cxn ang="0">
                <a:pos x="52" y="73"/>
              </a:cxn>
              <a:cxn ang="0">
                <a:pos x="57" y="75"/>
              </a:cxn>
              <a:cxn ang="0">
                <a:pos x="66" y="65"/>
              </a:cxn>
              <a:cxn ang="0">
                <a:pos x="67" y="61"/>
              </a:cxn>
              <a:cxn ang="0">
                <a:pos x="69" y="55"/>
              </a:cxn>
              <a:cxn ang="0">
                <a:pos x="72" y="52"/>
              </a:cxn>
              <a:cxn ang="0">
                <a:pos x="73" y="50"/>
              </a:cxn>
              <a:cxn ang="0">
                <a:pos x="73" y="49"/>
              </a:cxn>
              <a:cxn ang="0">
                <a:pos x="74" y="48"/>
              </a:cxn>
              <a:cxn ang="0">
                <a:pos x="74" y="45"/>
              </a:cxn>
              <a:cxn ang="0">
                <a:pos x="73" y="45"/>
              </a:cxn>
              <a:cxn ang="0">
                <a:pos x="73" y="42"/>
              </a:cxn>
              <a:cxn ang="0">
                <a:pos x="72" y="41"/>
              </a:cxn>
              <a:cxn ang="0">
                <a:pos x="72" y="37"/>
              </a:cxn>
              <a:cxn ang="0">
                <a:pos x="72" y="36"/>
              </a:cxn>
              <a:cxn ang="0">
                <a:pos x="73" y="35"/>
              </a:cxn>
              <a:cxn ang="0">
                <a:pos x="74" y="31"/>
              </a:cxn>
              <a:cxn ang="0">
                <a:pos x="74" y="28"/>
              </a:cxn>
              <a:cxn ang="0">
                <a:pos x="74" y="24"/>
              </a:cxn>
            </a:cxnLst>
            <a:rect l="0" t="0" r="r" b="b"/>
            <a:pathLst>
              <a:path w="75" h="75">
                <a:moveTo>
                  <a:pt x="75" y="22"/>
                </a:moveTo>
                <a:cubicBezTo>
                  <a:pt x="75" y="22"/>
                  <a:pt x="75" y="22"/>
                  <a:pt x="75" y="21"/>
                </a:cubicBezTo>
                <a:cubicBezTo>
                  <a:pt x="75" y="21"/>
                  <a:pt x="74" y="21"/>
                  <a:pt x="74" y="21"/>
                </a:cubicBezTo>
                <a:cubicBezTo>
                  <a:pt x="74" y="20"/>
                  <a:pt x="75" y="20"/>
                  <a:pt x="75" y="19"/>
                </a:cubicBezTo>
                <a:cubicBezTo>
                  <a:pt x="75" y="19"/>
                  <a:pt x="75" y="19"/>
                  <a:pt x="75" y="18"/>
                </a:cubicBezTo>
                <a:cubicBezTo>
                  <a:pt x="75" y="18"/>
                  <a:pt x="75" y="18"/>
                  <a:pt x="75" y="17"/>
                </a:cubicBezTo>
                <a:cubicBezTo>
                  <a:pt x="75" y="17"/>
                  <a:pt x="74" y="16"/>
                  <a:pt x="74" y="15"/>
                </a:cubicBezTo>
                <a:cubicBezTo>
                  <a:pt x="73" y="14"/>
                  <a:pt x="74" y="14"/>
                  <a:pt x="74" y="13"/>
                </a:cubicBezTo>
                <a:cubicBezTo>
                  <a:pt x="74" y="13"/>
                  <a:pt x="75" y="12"/>
                  <a:pt x="75" y="12"/>
                </a:cubicBezTo>
                <a:cubicBezTo>
                  <a:pt x="74" y="12"/>
                  <a:pt x="73" y="13"/>
                  <a:pt x="72" y="12"/>
                </a:cubicBezTo>
                <a:cubicBezTo>
                  <a:pt x="72" y="11"/>
                  <a:pt x="72" y="11"/>
                  <a:pt x="72" y="10"/>
                </a:cubicBezTo>
                <a:cubicBezTo>
                  <a:pt x="71" y="10"/>
                  <a:pt x="70" y="10"/>
                  <a:pt x="69" y="9"/>
                </a:cubicBezTo>
                <a:cubicBezTo>
                  <a:pt x="68" y="9"/>
                  <a:pt x="68" y="9"/>
                  <a:pt x="67" y="9"/>
                </a:cubicBezTo>
                <a:cubicBezTo>
                  <a:pt x="66" y="9"/>
                  <a:pt x="65" y="9"/>
                  <a:pt x="65" y="9"/>
                </a:cubicBezTo>
                <a:cubicBezTo>
                  <a:pt x="65" y="9"/>
                  <a:pt x="65" y="8"/>
                  <a:pt x="64" y="8"/>
                </a:cubicBezTo>
                <a:cubicBezTo>
                  <a:pt x="64" y="8"/>
                  <a:pt x="64" y="7"/>
                  <a:pt x="64" y="7"/>
                </a:cubicBezTo>
                <a:cubicBezTo>
                  <a:pt x="63" y="7"/>
                  <a:pt x="63" y="6"/>
                  <a:pt x="62" y="6"/>
                </a:cubicBezTo>
                <a:cubicBezTo>
                  <a:pt x="61" y="6"/>
                  <a:pt x="61" y="6"/>
                  <a:pt x="60" y="6"/>
                </a:cubicBezTo>
                <a:cubicBezTo>
                  <a:pt x="59" y="5"/>
                  <a:pt x="59" y="5"/>
                  <a:pt x="59" y="5"/>
                </a:cubicBezTo>
                <a:cubicBezTo>
                  <a:pt x="59" y="4"/>
                  <a:pt x="57" y="4"/>
                  <a:pt x="57" y="4"/>
                </a:cubicBezTo>
                <a:cubicBezTo>
                  <a:pt x="56" y="5"/>
                  <a:pt x="56" y="5"/>
                  <a:pt x="56" y="4"/>
                </a:cubicBezTo>
                <a:cubicBezTo>
                  <a:pt x="55" y="4"/>
                  <a:pt x="54" y="4"/>
                  <a:pt x="53" y="4"/>
                </a:cubicBezTo>
                <a:cubicBezTo>
                  <a:pt x="52" y="4"/>
                  <a:pt x="51" y="4"/>
                  <a:pt x="50" y="4"/>
                </a:cubicBezTo>
                <a:cubicBezTo>
                  <a:pt x="50" y="3"/>
                  <a:pt x="50" y="1"/>
                  <a:pt x="50" y="0"/>
                </a:cubicBezTo>
                <a:cubicBezTo>
                  <a:pt x="50" y="1"/>
                  <a:pt x="48" y="0"/>
                  <a:pt x="47" y="0"/>
                </a:cubicBezTo>
                <a:cubicBezTo>
                  <a:pt x="46" y="0"/>
                  <a:pt x="46" y="0"/>
                  <a:pt x="45" y="0"/>
                </a:cubicBezTo>
                <a:cubicBezTo>
                  <a:pt x="44" y="0"/>
                  <a:pt x="44" y="0"/>
                  <a:pt x="43" y="0"/>
                </a:cubicBezTo>
                <a:cubicBezTo>
                  <a:pt x="42" y="0"/>
                  <a:pt x="42" y="1"/>
                  <a:pt x="41" y="1"/>
                </a:cubicBezTo>
                <a:cubicBezTo>
                  <a:pt x="41" y="1"/>
                  <a:pt x="40" y="1"/>
                  <a:pt x="39" y="2"/>
                </a:cubicBezTo>
                <a:cubicBezTo>
                  <a:pt x="39" y="2"/>
                  <a:pt x="38" y="2"/>
                  <a:pt x="38" y="3"/>
                </a:cubicBezTo>
                <a:cubicBezTo>
                  <a:pt x="37" y="4"/>
                  <a:pt x="37" y="3"/>
                  <a:pt x="36" y="4"/>
                </a:cubicBezTo>
                <a:cubicBezTo>
                  <a:pt x="34" y="5"/>
                  <a:pt x="36" y="8"/>
                  <a:pt x="35" y="10"/>
                </a:cubicBezTo>
                <a:cubicBezTo>
                  <a:pt x="34" y="10"/>
                  <a:pt x="34" y="10"/>
                  <a:pt x="33" y="10"/>
                </a:cubicBezTo>
                <a:cubicBezTo>
                  <a:pt x="32" y="11"/>
                  <a:pt x="32" y="11"/>
                  <a:pt x="31" y="11"/>
                </a:cubicBezTo>
                <a:cubicBezTo>
                  <a:pt x="30" y="12"/>
                  <a:pt x="29" y="12"/>
                  <a:pt x="28" y="13"/>
                </a:cubicBezTo>
                <a:cubicBezTo>
                  <a:pt x="27" y="14"/>
                  <a:pt x="26" y="14"/>
                  <a:pt x="25" y="15"/>
                </a:cubicBezTo>
                <a:cubicBezTo>
                  <a:pt x="24" y="16"/>
                  <a:pt x="24" y="17"/>
                  <a:pt x="23" y="18"/>
                </a:cubicBezTo>
                <a:cubicBezTo>
                  <a:pt x="23" y="20"/>
                  <a:pt x="20" y="22"/>
                  <a:pt x="19" y="23"/>
                </a:cubicBezTo>
                <a:cubicBezTo>
                  <a:pt x="18" y="24"/>
                  <a:pt x="19" y="24"/>
                  <a:pt x="18" y="25"/>
                </a:cubicBezTo>
                <a:cubicBezTo>
                  <a:pt x="18" y="25"/>
                  <a:pt x="18" y="26"/>
                  <a:pt x="17" y="26"/>
                </a:cubicBezTo>
                <a:cubicBezTo>
                  <a:pt x="16" y="26"/>
                  <a:pt x="15" y="26"/>
                  <a:pt x="15" y="27"/>
                </a:cubicBezTo>
                <a:cubicBezTo>
                  <a:pt x="14" y="27"/>
                  <a:pt x="13" y="26"/>
                  <a:pt x="12" y="26"/>
                </a:cubicBezTo>
                <a:cubicBezTo>
                  <a:pt x="11" y="26"/>
                  <a:pt x="10" y="25"/>
                  <a:pt x="9" y="25"/>
                </a:cubicBezTo>
                <a:cubicBezTo>
                  <a:pt x="9" y="25"/>
                  <a:pt x="8" y="26"/>
                  <a:pt x="7" y="26"/>
                </a:cubicBezTo>
                <a:cubicBezTo>
                  <a:pt x="6" y="26"/>
                  <a:pt x="6" y="25"/>
                  <a:pt x="6" y="25"/>
                </a:cubicBezTo>
                <a:cubicBezTo>
                  <a:pt x="6" y="25"/>
                  <a:pt x="5" y="24"/>
                  <a:pt x="5" y="24"/>
                </a:cubicBezTo>
                <a:cubicBezTo>
                  <a:pt x="4" y="24"/>
                  <a:pt x="4" y="24"/>
                  <a:pt x="4" y="24"/>
                </a:cubicBezTo>
                <a:cubicBezTo>
                  <a:pt x="2" y="25"/>
                  <a:pt x="1" y="24"/>
                  <a:pt x="1" y="24"/>
                </a:cubicBezTo>
                <a:cubicBezTo>
                  <a:pt x="0" y="25"/>
                  <a:pt x="0" y="25"/>
                  <a:pt x="1" y="26"/>
                </a:cubicBezTo>
                <a:cubicBezTo>
                  <a:pt x="1" y="27"/>
                  <a:pt x="1" y="27"/>
                  <a:pt x="2" y="28"/>
                </a:cubicBezTo>
                <a:cubicBezTo>
                  <a:pt x="2" y="29"/>
                  <a:pt x="3" y="30"/>
                  <a:pt x="3" y="31"/>
                </a:cubicBezTo>
                <a:cubicBezTo>
                  <a:pt x="4" y="31"/>
                  <a:pt x="4" y="32"/>
                  <a:pt x="5" y="33"/>
                </a:cubicBezTo>
                <a:cubicBezTo>
                  <a:pt x="6" y="33"/>
                  <a:pt x="5" y="34"/>
                  <a:pt x="6" y="35"/>
                </a:cubicBezTo>
                <a:cubicBezTo>
                  <a:pt x="6" y="36"/>
                  <a:pt x="7" y="36"/>
                  <a:pt x="7" y="37"/>
                </a:cubicBezTo>
                <a:cubicBezTo>
                  <a:pt x="7" y="37"/>
                  <a:pt x="7" y="38"/>
                  <a:pt x="7" y="38"/>
                </a:cubicBezTo>
                <a:cubicBezTo>
                  <a:pt x="7" y="38"/>
                  <a:pt x="7" y="39"/>
                  <a:pt x="7" y="39"/>
                </a:cubicBezTo>
                <a:cubicBezTo>
                  <a:pt x="8" y="40"/>
                  <a:pt x="8" y="41"/>
                  <a:pt x="8" y="42"/>
                </a:cubicBezTo>
                <a:cubicBezTo>
                  <a:pt x="9" y="43"/>
                  <a:pt x="9" y="43"/>
                  <a:pt x="10" y="43"/>
                </a:cubicBezTo>
                <a:cubicBezTo>
                  <a:pt x="11" y="44"/>
                  <a:pt x="10" y="44"/>
                  <a:pt x="10" y="44"/>
                </a:cubicBezTo>
                <a:cubicBezTo>
                  <a:pt x="11" y="45"/>
                  <a:pt x="11" y="45"/>
                  <a:pt x="12" y="45"/>
                </a:cubicBezTo>
                <a:cubicBezTo>
                  <a:pt x="13" y="46"/>
                  <a:pt x="13" y="46"/>
                  <a:pt x="14" y="47"/>
                </a:cubicBezTo>
                <a:cubicBezTo>
                  <a:pt x="14" y="47"/>
                  <a:pt x="14" y="47"/>
                  <a:pt x="14" y="47"/>
                </a:cubicBezTo>
                <a:cubicBezTo>
                  <a:pt x="15" y="48"/>
                  <a:pt x="15" y="48"/>
                  <a:pt x="16" y="48"/>
                </a:cubicBezTo>
                <a:cubicBezTo>
                  <a:pt x="16" y="48"/>
                  <a:pt x="17" y="48"/>
                  <a:pt x="18" y="49"/>
                </a:cubicBezTo>
                <a:cubicBezTo>
                  <a:pt x="18" y="49"/>
                  <a:pt x="18" y="49"/>
                  <a:pt x="19" y="49"/>
                </a:cubicBezTo>
                <a:cubicBezTo>
                  <a:pt x="19" y="50"/>
                  <a:pt x="19" y="50"/>
                  <a:pt x="19" y="50"/>
                </a:cubicBezTo>
                <a:cubicBezTo>
                  <a:pt x="19" y="51"/>
                  <a:pt x="19" y="52"/>
                  <a:pt x="19" y="53"/>
                </a:cubicBezTo>
                <a:cubicBezTo>
                  <a:pt x="20" y="53"/>
                  <a:pt x="22" y="53"/>
                  <a:pt x="23" y="53"/>
                </a:cubicBezTo>
                <a:cubicBezTo>
                  <a:pt x="23" y="53"/>
                  <a:pt x="23" y="54"/>
                  <a:pt x="23" y="54"/>
                </a:cubicBezTo>
                <a:cubicBezTo>
                  <a:pt x="23" y="55"/>
                  <a:pt x="23" y="56"/>
                  <a:pt x="23" y="56"/>
                </a:cubicBezTo>
                <a:cubicBezTo>
                  <a:pt x="23" y="57"/>
                  <a:pt x="23" y="57"/>
                  <a:pt x="23" y="58"/>
                </a:cubicBezTo>
                <a:cubicBezTo>
                  <a:pt x="23" y="59"/>
                  <a:pt x="23" y="59"/>
                  <a:pt x="23" y="60"/>
                </a:cubicBezTo>
                <a:cubicBezTo>
                  <a:pt x="23" y="61"/>
                  <a:pt x="24" y="62"/>
                  <a:pt x="25" y="63"/>
                </a:cubicBezTo>
                <a:cubicBezTo>
                  <a:pt x="25" y="64"/>
                  <a:pt x="25" y="65"/>
                  <a:pt x="27" y="65"/>
                </a:cubicBezTo>
                <a:cubicBezTo>
                  <a:pt x="27" y="66"/>
                  <a:pt x="28" y="66"/>
                  <a:pt x="29" y="66"/>
                </a:cubicBezTo>
                <a:cubicBezTo>
                  <a:pt x="29" y="66"/>
                  <a:pt x="30" y="66"/>
                  <a:pt x="30" y="66"/>
                </a:cubicBezTo>
                <a:cubicBezTo>
                  <a:pt x="31" y="66"/>
                  <a:pt x="31" y="66"/>
                  <a:pt x="32" y="66"/>
                </a:cubicBezTo>
                <a:cubicBezTo>
                  <a:pt x="33" y="67"/>
                  <a:pt x="33" y="67"/>
                  <a:pt x="34" y="67"/>
                </a:cubicBezTo>
                <a:cubicBezTo>
                  <a:pt x="35" y="68"/>
                  <a:pt x="36" y="67"/>
                  <a:pt x="35" y="69"/>
                </a:cubicBezTo>
                <a:cubicBezTo>
                  <a:pt x="35" y="70"/>
                  <a:pt x="36" y="71"/>
                  <a:pt x="37" y="71"/>
                </a:cubicBezTo>
                <a:cubicBezTo>
                  <a:pt x="37" y="71"/>
                  <a:pt x="37" y="71"/>
                  <a:pt x="38" y="71"/>
                </a:cubicBezTo>
                <a:cubicBezTo>
                  <a:pt x="38" y="71"/>
                  <a:pt x="38" y="72"/>
                  <a:pt x="38" y="72"/>
                </a:cubicBezTo>
                <a:cubicBezTo>
                  <a:pt x="39" y="72"/>
                  <a:pt x="40" y="72"/>
                  <a:pt x="40" y="72"/>
                </a:cubicBezTo>
                <a:cubicBezTo>
                  <a:pt x="42" y="71"/>
                  <a:pt x="43" y="72"/>
                  <a:pt x="44" y="72"/>
                </a:cubicBezTo>
                <a:cubicBezTo>
                  <a:pt x="44" y="72"/>
                  <a:pt x="45" y="73"/>
                  <a:pt x="45" y="73"/>
                </a:cubicBezTo>
                <a:cubicBezTo>
                  <a:pt x="46" y="73"/>
                  <a:pt x="46" y="73"/>
                  <a:pt x="47" y="74"/>
                </a:cubicBezTo>
                <a:cubicBezTo>
                  <a:pt x="48" y="74"/>
                  <a:pt x="49" y="74"/>
                  <a:pt x="50" y="74"/>
                </a:cubicBezTo>
                <a:cubicBezTo>
                  <a:pt x="51" y="73"/>
                  <a:pt x="52" y="73"/>
                  <a:pt x="52" y="73"/>
                </a:cubicBezTo>
                <a:cubicBezTo>
                  <a:pt x="53" y="73"/>
                  <a:pt x="53" y="73"/>
                  <a:pt x="54" y="74"/>
                </a:cubicBezTo>
                <a:cubicBezTo>
                  <a:pt x="55" y="74"/>
                  <a:pt x="56" y="74"/>
                  <a:pt x="57" y="75"/>
                </a:cubicBezTo>
                <a:cubicBezTo>
                  <a:pt x="59" y="73"/>
                  <a:pt x="61" y="70"/>
                  <a:pt x="63" y="68"/>
                </a:cubicBezTo>
                <a:cubicBezTo>
                  <a:pt x="64" y="67"/>
                  <a:pt x="65" y="66"/>
                  <a:pt x="66" y="65"/>
                </a:cubicBezTo>
                <a:cubicBezTo>
                  <a:pt x="66" y="64"/>
                  <a:pt x="68" y="62"/>
                  <a:pt x="68" y="63"/>
                </a:cubicBezTo>
                <a:cubicBezTo>
                  <a:pt x="68" y="62"/>
                  <a:pt x="68" y="61"/>
                  <a:pt x="67" y="61"/>
                </a:cubicBezTo>
                <a:cubicBezTo>
                  <a:pt x="67" y="60"/>
                  <a:pt x="68" y="59"/>
                  <a:pt x="68" y="59"/>
                </a:cubicBezTo>
                <a:cubicBezTo>
                  <a:pt x="69" y="58"/>
                  <a:pt x="68" y="56"/>
                  <a:pt x="69" y="55"/>
                </a:cubicBezTo>
                <a:cubicBezTo>
                  <a:pt x="69" y="54"/>
                  <a:pt x="70" y="55"/>
                  <a:pt x="71" y="54"/>
                </a:cubicBezTo>
                <a:cubicBezTo>
                  <a:pt x="71" y="53"/>
                  <a:pt x="71" y="53"/>
                  <a:pt x="72" y="52"/>
                </a:cubicBezTo>
                <a:cubicBezTo>
                  <a:pt x="72" y="52"/>
                  <a:pt x="72" y="51"/>
                  <a:pt x="72" y="51"/>
                </a:cubicBezTo>
                <a:cubicBezTo>
                  <a:pt x="72" y="51"/>
                  <a:pt x="72" y="50"/>
                  <a:pt x="73" y="50"/>
                </a:cubicBezTo>
                <a:cubicBezTo>
                  <a:pt x="73" y="50"/>
                  <a:pt x="73" y="49"/>
                  <a:pt x="73" y="49"/>
                </a:cubicBezTo>
                <a:cubicBezTo>
                  <a:pt x="73" y="49"/>
                  <a:pt x="73" y="49"/>
                  <a:pt x="73" y="49"/>
                </a:cubicBezTo>
                <a:cubicBezTo>
                  <a:pt x="73" y="48"/>
                  <a:pt x="74" y="49"/>
                  <a:pt x="74" y="48"/>
                </a:cubicBezTo>
                <a:cubicBezTo>
                  <a:pt x="74" y="48"/>
                  <a:pt x="74" y="48"/>
                  <a:pt x="74" y="48"/>
                </a:cubicBezTo>
                <a:cubicBezTo>
                  <a:pt x="74" y="47"/>
                  <a:pt x="74" y="46"/>
                  <a:pt x="74" y="46"/>
                </a:cubicBezTo>
                <a:cubicBezTo>
                  <a:pt x="74" y="45"/>
                  <a:pt x="74" y="45"/>
                  <a:pt x="74" y="45"/>
                </a:cubicBezTo>
                <a:cubicBezTo>
                  <a:pt x="74" y="45"/>
                  <a:pt x="74" y="44"/>
                  <a:pt x="74" y="44"/>
                </a:cubicBezTo>
                <a:cubicBezTo>
                  <a:pt x="73" y="44"/>
                  <a:pt x="73" y="45"/>
                  <a:pt x="73" y="45"/>
                </a:cubicBezTo>
                <a:cubicBezTo>
                  <a:pt x="72" y="45"/>
                  <a:pt x="72" y="44"/>
                  <a:pt x="73" y="43"/>
                </a:cubicBezTo>
                <a:cubicBezTo>
                  <a:pt x="73" y="43"/>
                  <a:pt x="73" y="43"/>
                  <a:pt x="73" y="42"/>
                </a:cubicBezTo>
                <a:cubicBezTo>
                  <a:pt x="72" y="42"/>
                  <a:pt x="72" y="42"/>
                  <a:pt x="72" y="42"/>
                </a:cubicBezTo>
                <a:cubicBezTo>
                  <a:pt x="72" y="42"/>
                  <a:pt x="72" y="41"/>
                  <a:pt x="72" y="41"/>
                </a:cubicBezTo>
                <a:cubicBezTo>
                  <a:pt x="73" y="40"/>
                  <a:pt x="73" y="39"/>
                  <a:pt x="73" y="38"/>
                </a:cubicBezTo>
                <a:cubicBezTo>
                  <a:pt x="73" y="38"/>
                  <a:pt x="73" y="37"/>
                  <a:pt x="72" y="37"/>
                </a:cubicBezTo>
                <a:cubicBezTo>
                  <a:pt x="72" y="37"/>
                  <a:pt x="71" y="37"/>
                  <a:pt x="71" y="37"/>
                </a:cubicBezTo>
                <a:cubicBezTo>
                  <a:pt x="71" y="36"/>
                  <a:pt x="72" y="36"/>
                  <a:pt x="72" y="36"/>
                </a:cubicBezTo>
                <a:cubicBezTo>
                  <a:pt x="72" y="36"/>
                  <a:pt x="71" y="36"/>
                  <a:pt x="71" y="35"/>
                </a:cubicBezTo>
                <a:cubicBezTo>
                  <a:pt x="71" y="35"/>
                  <a:pt x="72" y="35"/>
                  <a:pt x="73" y="35"/>
                </a:cubicBezTo>
                <a:cubicBezTo>
                  <a:pt x="75" y="35"/>
                  <a:pt x="73" y="33"/>
                  <a:pt x="73" y="32"/>
                </a:cubicBezTo>
                <a:cubicBezTo>
                  <a:pt x="74" y="32"/>
                  <a:pt x="75" y="32"/>
                  <a:pt x="74" y="31"/>
                </a:cubicBezTo>
                <a:cubicBezTo>
                  <a:pt x="74" y="30"/>
                  <a:pt x="75" y="31"/>
                  <a:pt x="75" y="30"/>
                </a:cubicBezTo>
                <a:cubicBezTo>
                  <a:pt x="75" y="29"/>
                  <a:pt x="74" y="29"/>
                  <a:pt x="74" y="28"/>
                </a:cubicBezTo>
                <a:cubicBezTo>
                  <a:pt x="74" y="27"/>
                  <a:pt x="74" y="27"/>
                  <a:pt x="74" y="26"/>
                </a:cubicBezTo>
                <a:cubicBezTo>
                  <a:pt x="74" y="25"/>
                  <a:pt x="74" y="25"/>
                  <a:pt x="74" y="24"/>
                </a:cubicBezTo>
                <a:cubicBezTo>
                  <a:pt x="75" y="24"/>
                  <a:pt x="75" y="23"/>
                  <a:pt x="75" y="2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 name="Zambia"/>
          <p:cNvSpPr>
            <a:spLocks/>
          </p:cNvSpPr>
          <p:nvPr/>
        </p:nvSpPr>
        <p:spPr bwMode="auto">
          <a:xfrm>
            <a:off x="6558055" y="4992925"/>
            <a:ext cx="411984" cy="389985"/>
          </a:xfrm>
          <a:custGeom>
            <a:avLst/>
            <a:gdLst/>
            <a:ahLst/>
            <a:cxnLst>
              <a:cxn ang="0">
                <a:pos x="111" y="17"/>
              </a:cxn>
              <a:cxn ang="0">
                <a:pos x="108" y="15"/>
              </a:cxn>
              <a:cxn ang="0">
                <a:pos x="105" y="11"/>
              </a:cxn>
              <a:cxn ang="0">
                <a:pos x="98" y="9"/>
              </a:cxn>
              <a:cxn ang="0">
                <a:pos x="93" y="4"/>
              </a:cxn>
              <a:cxn ang="0">
                <a:pos x="90" y="5"/>
              </a:cxn>
              <a:cxn ang="0">
                <a:pos x="86" y="3"/>
              </a:cxn>
              <a:cxn ang="0">
                <a:pos x="84" y="3"/>
              </a:cxn>
              <a:cxn ang="0">
                <a:pos x="68" y="2"/>
              </a:cxn>
              <a:cxn ang="0">
                <a:pos x="65" y="14"/>
              </a:cxn>
              <a:cxn ang="0">
                <a:pos x="65" y="22"/>
              </a:cxn>
              <a:cxn ang="0">
                <a:pos x="65" y="29"/>
              </a:cxn>
              <a:cxn ang="0">
                <a:pos x="63" y="35"/>
              </a:cxn>
              <a:cxn ang="0">
                <a:pos x="67" y="42"/>
              </a:cxn>
              <a:cxn ang="0">
                <a:pos x="74" y="46"/>
              </a:cxn>
              <a:cxn ang="0">
                <a:pos x="75" y="43"/>
              </a:cxn>
              <a:cxn ang="0">
                <a:pos x="76" y="55"/>
              </a:cxn>
              <a:cxn ang="0">
                <a:pos x="74" y="55"/>
              </a:cxn>
              <a:cxn ang="0">
                <a:pos x="68" y="55"/>
              </a:cxn>
              <a:cxn ang="0">
                <a:pos x="65" y="50"/>
              </a:cxn>
              <a:cxn ang="0">
                <a:pos x="64" y="48"/>
              </a:cxn>
              <a:cxn ang="0">
                <a:pos x="59" y="45"/>
              </a:cxn>
              <a:cxn ang="0">
                <a:pos x="52" y="39"/>
              </a:cxn>
              <a:cxn ang="0">
                <a:pos x="49" y="39"/>
              </a:cxn>
              <a:cxn ang="0">
                <a:pos x="47" y="41"/>
              </a:cxn>
              <a:cxn ang="0">
                <a:pos x="41" y="40"/>
              </a:cxn>
              <a:cxn ang="0">
                <a:pos x="36" y="38"/>
              </a:cxn>
              <a:cxn ang="0">
                <a:pos x="33" y="34"/>
              </a:cxn>
              <a:cxn ang="0">
                <a:pos x="27" y="34"/>
              </a:cxn>
              <a:cxn ang="0">
                <a:pos x="24" y="32"/>
              </a:cxn>
              <a:cxn ang="0">
                <a:pos x="21" y="29"/>
              </a:cxn>
              <a:cxn ang="0">
                <a:pos x="20" y="37"/>
              </a:cxn>
              <a:cxn ang="0">
                <a:pos x="19" y="50"/>
              </a:cxn>
              <a:cxn ang="0">
                <a:pos x="6" y="52"/>
              </a:cxn>
              <a:cxn ang="0">
                <a:pos x="1" y="57"/>
              </a:cxn>
              <a:cxn ang="0">
                <a:pos x="2" y="89"/>
              </a:cxn>
              <a:cxn ang="0">
                <a:pos x="15" y="103"/>
              </a:cxn>
              <a:cxn ang="0">
                <a:pos x="26" y="102"/>
              </a:cxn>
              <a:cxn ang="0">
                <a:pos x="34" y="105"/>
              </a:cxn>
              <a:cxn ang="0">
                <a:pos x="41" y="106"/>
              </a:cxn>
              <a:cxn ang="0">
                <a:pos x="46" y="108"/>
              </a:cxn>
              <a:cxn ang="0">
                <a:pos x="55" y="98"/>
              </a:cxn>
              <a:cxn ang="0">
                <a:pos x="66" y="90"/>
              </a:cxn>
              <a:cxn ang="0">
                <a:pos x="68" y="84"/>
              </a:cxn>
              <a:cxn ang="0">
                <a:pos x="79" y="81"/>
              </a:cxn>
              <a:cxn ang="0">
                <a:pos x="80" y="76"/>
              </a:cxn>
              <a:cxn ang="0">
                <a:pos x="87" y="71"/>
              </a:cxn>
              <a:cxn ang="0">
                <a:pos x="109" y="63"/>
              </a:cxn>
              <a:cxn ang="0">
                <a:pos x="106" y="62"/>
              </a:cxn>
              <a:cxn ang="0">
                <a:pos x="104" y="58"/>
              </a:cxn>
              <a:cxn ang="0">
                <a:pos x="107" y="53"/>
              </a:cxn>
              <a:cxn ang="0">
                <a:pos x="109" y="48"/>
              </a:cxn>
              <a:cxn ang="0">
                <a:pos x="111" y="45"/>
              </a:cxn>
              <a:cxn ang="0">
                <a:pos x="110" y="37"/>
              </a:cxn>
              <a:cxn ang="0">
                <a:pos x="111" y="33"/>
              </a:cxn>
              <a:cxn ang="0">
                <a:pos x="112" y="28"/>
              </a:cxn>
            </a:cxnLst>
            <a:rect l="0" t="0" r="r" b="b"/>
            <a:pathLst>
              <a:path w="114" h="108">
                <a:moveTo>
                  <a:pt x="113" y="24"/>
                </a:moveTo>
                <a:cubicBezTo>
                  <a:pt x="113" y="23"/>
                  <a:pt x="113" y="23"/>
                  <a:pt x="113" y="22"/>
                </a:cubicBezTo>
                <a:cubicBezTo>
                  <a:pt x="113" y="21"/>
                  <a:pt x="112" y="21"/>
                  <a:pt x="112" y="20"/>
                </a:cubicBezTo>
                <a:cubicBezTo>
                  <a:pt x="110" y="19"/>
                  <a:pt x="112" y="18"/>
                  <a:pt x="111" y="17"/>
                </a:cubicBezTo>
                <a:cubicBezTo>
                  <a:pt x="111" y="17"/>
                  <a:pt x="110" y="16"/>
                  <a:pt x="110" y="15"/>
                </a:cubicBezTo>
                <a:cubicBezTo>
                  <a:pt x="110" y="15"/>
                  <a:pt x="110" y="14"/>
                  <a:pt x="109" y="15"/>
                </a:cubicBezTo>
                <a:cubicBezTo>
                  <a:pt x="109" y="15"/>
                  <a:pt x="109" y="15"/>
                  <a:pt x="109" y="15"/>
                </a:cubicBezTo>
                <a:cubicBezTo>
                  <a:pt x="109" y="15"/>
                  <a:pt x="108" y="15"/>
                  <a:pt x="108" y="15"/>
                </a:cubicBezTo>
                <a:cubicBezTo>
                  <a:pt x="108" y="15"/>
                  <a:pt x="108" y="15"/>
                  <a:pt x="108" y="14"/>
                </a:cubicBezTo>
                <a:cubicBezTo>
                  <a:pt x="108" y="13"/>
                  <a:pt x="108" y="14"/>
                  <a:pt x="107" y="13"/>
                </a:cubicBezTo>
                <a:cubicBezTo>
                  <a:pt x="107" y="12"/>
                  <a:pt x="107" y="12"/>
                  <a:pt x="106" y="12"/>
                </a:cubicBezTo>
                <a:cubicBezTo>
                  <a:pt x="106" y="12"/>
                  <a:pt x="105" y="11"/>
                  <a:pt x="105" y="11"/>
                </a:cubicBezTo>
                <a:cubicBezTo>
                  <a:pt x="104" y="11"/>
                  <a:pt x="104" y="11"/>
                  <a:pt x="103" y="11"/>
                </a:cubicBezTo>
                <a:cubicBezTo>
                  <a:pt x="103" y="10"/>
                  <a:pt x="103" y="10"/>
                  <a:pt x="102" y="10"/>
                </a:cubicBezTo>
                <a:cubicBezTo>
                  <a:pt x="102" y="9"/>
                  <a:pt x="101" y="10"/>
                  <a:pt x="100" y="9"/>
                </a:cubicBezTo>
                <a:cubicBezTo>
                  <a:pt x="100" y="9"/>
                  <a:pt x="99" y="8"/>
                  <a:pt x="98" y="9"/>
                </a:cubicBezTo>
                <a:cubicBezTo>
                  <a:pt x="98" y="9"/>
                  <a:pt x="98" y="8"/>
                  <a:pt x="98" y="8"/>
                </a:cubicBezTo>
                <a:cubicBezTo>
                  <a:pt x="98" y="7"/>
                  <a:pt x="96" y="7"/>
                  <a:pt x="96" y="7"/>
                </a:cubicBezTo>
                <a:cubicBezTo>
                  <a:pt x="95" y="7"/>
                  <a:pt x="95" y="7"/>
                  <a:pt x="94" y="6"/>
                </a:cubicBezTo>
                <a:cubicBezTo>
                  <a:pt x="94" y="6"/>
                  <a:pt x="94" y="4"/>
                  <a:pt x="93" y="4"/>
                </a:cubicBezTo>
                <a:cubicBezTo>
                  <a:pt x="93" y="4"/>
                  <a:pt x="93" y="4"/>
                  <a:pt x="92" y="4"/>
                </a:cubicBezTo>
                <a:cubicBezTo>
                  <a:pt x="92" y="4"/>
                  <a:pt x="92" y="4"/>
                  <a:pt x="92" y="4"/>
                </a:cubicBezTo>
                <a:cubicBezTo>
                  <a:pt x="91" y="4"/>
                  <a:pt x="91" y="3"/>
                  <a:pt x="90" y="4"/>
                </a:cubicBezTo>
                <a:cubicBezTo>
                  <a:pt x="91" y="4"/>
                  <a:pt x="91" y="5"/>
                  <a:pt x="90" y="5"/>
                </a:cubicBezTo>
                <a:cubicBezTo>
                  <a:pt x="90" y="5"/>
                  <a:pt x="90" y="5"/>
                  <a:pt x="90" y="5"/>
                </a:cubicBezTo>
                <a:cubicBezTo>
                  <a:pt x="90" y="5"/>
                  <a:pt x="89" y="6"/>
                  <a:pt x="89" y="6"/>
                </a:cubicBezTo>
                <a:cubicBezTo>
                  <a:pt x="88" y="6"/>
                  <a:pt x="88" y="4"/>
                  <a:pt x="87" y="4"/>
                </a:cubicBezTo>
                <a:cubicBezTo>
                  <a:pt x="87" y="3"/>
                  <a:pt x="86" y="3"/>
                  <a:pt x="86" y="3"/>
                </a:cubicBezTo>
                <a:cubicBezTo>
                  <a:pt x="86" y="3"/>
                  <a:pt x="85" y="2"/>
                  <a:pt x="85" y="3"/>
                </a:cubicBezTo>
                <a:cubicBezTo>
                  <a:pt x="85" y="3"/>
                  <a:pt x="85" y="3"/>
                  <a:pt x="85" y="3"/>
                </a:cubicBezTo>
                <a:cubicBezTo>
                  <a:pt x="85" y="3"/>
                  <a:pt x="84" y="4"/>
                  <a:pt x="84" y="4"/>
                </a:cubicBezTo>
                <a:cubicBezTo>
                  <a:pt x="84" y="3"/>
                  <a:pt x="84" y="3"/>
                  <a:pt x="84" y="3"/>
                </a:cubicBezTo>
                <a:cubicBezTo>
                  <a:pt x="84" y="3"/>
                  <a:pt x="84" y="3"/>
                  <a:pt x="83" y="3"/>
                </a:cubicBezTo>
                <a:cubicBezTo>
                  <a:pt x="83" y="2"/>
                  <a:pt x="83" y="2"/>
                  <a:pt x="83" y="2"/>
                </a:cubicBezTo>
                <a:cubicBezTo>
                  <a:pt x="84" y="1"/>
                  <a:pt x="85" y="1"/>
                  <a:pt x="85" y="0"/>
                </a:cubicBezTo>
                <a:cubicBezTo>
                  <a:pt x="79" y="1"/>
                  <a:pt x="74" y="1"/>
                  <a:pt x="68" y="2"/>
                </a:cubicBezTo>
                <a:cubicBezTo>
                  <a:pt x="70" y="5"/>
                  <a:pt x="66" y="9"/>
                  <a:pt x="65" y="10"/>
                </a:cubicBezTo>
                <a:cubicBezTo>
                  <a:pt x="64" y="10"/>
                  <a:pt x="63" y="11"/>
                  <a:pt x="63" y="11"/>
                </a:cubicBezTo>
                <a:cubicBezTo>
                  <a:pt x="63" y="12"/>
                  <a:pt x="64" y="12"/>
                  <a:pt x="64" y="12"/>
                </a:cubicBezTo>
                <a:cubicBezTo>
                  <a:pt x="65" y="12"/>
                  <a:pt x="64" y="14"/>
                  <a:pt x="65" y="14"/>
                </a:cubicBezTo>
                <a:cubicBezTo>
                  <a:pt x="65" y="14"/>
                  <a:pt x="65" y="16"/>
                  <a:pt x="66" y="16"/>
                </a:cubicBezTo>
                <a:cubicBezTo>
                  <a:pt x="66" y="17"/>
                  <a:pt x="66" y="17"/>
                  <a:pt x="66" y="18"/>
                </a:cubicBezTo>
                <a:cubicBezTo>
                  <a:pt x="65" y="19"/>
                  <a:pt x="66" y="19"/>
                  <a:pt x="65" y="20"/>
                </a:cubicBezTo>
                <a:cubicBezTo>
                  <a:pt x="65" y="21"/>
                  <a:pt x="65" y="21"/>
                  <a:pt x="65" y="22"/>
                </a:cubicBezTo>
                <a:cubicBezTo>
                  <a:pt x="66" y="22"/>
                  <a:pt x="65" y="23"/>
                  <a:pt x="65" y="24"/>
                </a:cubicBezTo>
                <a:cubicBezTo>
                  <a:pt x="66" y="24"/>
                  <a:pt x="66" y="25"/>
                  <a:pt x="66" y="26"/>
                </a:cubicBezTo>
                <a:cubicBezTo>
                  <a:pt x="66" y="27"/>
                  <a:pt x="66" y="26"/>
                  <a:pt x="66" y="27"/>
                </a:cubicBezTo>
                <a:cubicBezTo>
                  <a:pt x="65" y="28"/>
                  <a:pt x="65" y="28"/>
                  <a:pt x="65" y="29"/>
                </a:cubicBezTo>
                <a:cubicBezTo>
                  <a:pt x="64" y="30"/>
                  <a:pt x="64" y="31"/>
                  <a:pt x="64" y="31"/>
                </a:cubicBezTo>
                <a:cubicBezTo>
                  <a:pt x="64" y="32"/>
                  <a:pt x="64" y="33"/>
                  <a:pt x="63" y="33"/>
                </a:cubicBezTo>
                <a:cubicBezTo>
                  <a:pt x="63" y="34"/>
                  <a:pt x="63" y="34"/>
                  <a:pt x="63" y="34"/>
                </a:cubicBezTo>
                <a:cubicBezTo>
                  <a:pt x="63" y="35"/>
                  <a:pt x="63" y="35"/>
                  <a:pt x="63" y="35"/>
                </a:cubicBezTo>
                <a:cubicBezTo>
                  <a:pt x="62" y="36"/>
                  <a:pt x="63" y="36"/>
                  <a:pt x="63" y="37"/>
                </a:cubicBezTo>
                <a:cubicBezTo>
                  <a:pt x="63" y="38"/>
                  <a:pt x="63" y="39"/>
                  <a:pt x="64" y="39"/>
                </a:cubicBezTo>
                <a:cubicBezTo>
                  <a:pt x="64" y="40"/>
                  <a:pt x="65" y="40"/>
                  <a:pt x="65" y="40"/>
                </a:cubicBezTo>
                <a:cubicBezTo>
                  <a:pt x="66" y="41"/>
                  <a:pt x="66" y="41"/>
                  <a:pt x="67" y="42"/>
                </a:cubicBezTo>
                <a:cubicBezTo>
                  <a:pt x="67" y="42"/>
                  <a:pt x="67" y="43"/>
                  <a:pt x="68" y="43"/>
                </a:cubicBezTo>
                <a:cubicBezTo>
                  <a:pt x="68" y="44"/>
                  <a:pt x="69" y="46"/>
                  <a:pt x="70" y="45"/>
                </a:cubicBezTo>
                <a:cubicBezTo>
                  <a:pt x="71" y="45"/>
                  <a:pt x="71" y="46"/>
                  <a:pt x="72" y="46"/>
                </a:cubicBezTo>
                <a:cubicBezTo>
                  <a:pt x="73" y="46"/>
                  <a:pt x="73" y="46"/>
                  <a:pt x="74" y="46"/>
                </a:cubicBezTo>
                <a:cubicBezTo>
                  <a:pt x="74" y="46"/>
                  <a:pt x="74" y="46"/>
                  <a:pt x="74" y="46"/>
                </a:cubicBezTo>
                <a:cubicBezTo>
                  <a:pt x="73" y="45"/>
                  <a:pt x="73" y="45"/>
                  <a:pt x="73" y="45"/>
                </a:cubicBezTo>
                <a:cubicBezTo>
                  <a:pt x="73" y="44"/>
                  <a:pt x="73" y="44"/>
                  <a:pt x="74" y="43"/>
                </a:cubicBezTo>
                <a:cubicBezTo>
                  <a:pt x="74" y="43"/>
                  <a:pt x="75" y="44"/>
                  <a:pt x="75" y="43"/>
                </a:cubicBezTo>
                <a:cubicBezTo>
                  <a:pt x="76" y="43"/>
                  <a:pt x="77" y="43"/>
                  <a:pt x="77" y="43"/>
                </a:cubicBezTo>
                <a:cubicBezTo>
                  <a:pt x="77" y="44"/>
                  <a:pt x="77" y="45"/>
                  <a:pt x="77" y="46"/>
                </a:cubicBezTo>
                <a:cubicBezTo>
                  <a:pt x="76" y="48"/>
                  <a:pt x="76" y="50"/>
                  <a:pt x="76" y="52"/>
                </a:cubicBezTo>
                <a:cubicBezTo>
                  <a:pt x="76" y="53"/>
                  <a:pt x="76" y="54"/>
                  <a:pt x="76" y="55"/>
                </a:cubicBezTo>
                <a:cubicBezTo>
                  <a:pt x="76" y="55"/>
                  <a:pt x="76" y="57"/>
                  <a:pt x="76" y="57"/>
                </a:cubicBezTo>
                <a:cubicBezTo>
                  <a:pt x="76" y="57"/>
                  <a:pt x="75" y="57"/>
                  <a:pt x="75" y="57"/>
                </a:cubicBezTo>
                <a:cubicBezTo>
                  <a:pt x="74" y="56"/>
                  <a:pt x="75" y="56"/>
                  <a:pt x="75" y="56"/>
                </a:cubicBezTo>
                <a:cubicBezTo>
                  <a:pt x="75" y="55"/>
                  <a:pt x="75" y="55"/>
                  <a:pt x="74" y="55"/>
                </a:cubicBezTo>
                <a:cubicBezTo>
                  <a:pt x="74" y="54"/>
                  <a:pt x="73" y="55"/>
                  <a:pt x="73" y="56"/>
                </a:cubicBezTo>
                <a:cubicBezTo>
                  <a:pt x="72" y="56"/>
                  <a:pt x="71" y="57"/>
                  <a:pt x="70" y="56"/>
                </a:cubicBezTo>
                <a:cubicBezTo>
                  <a:pt x="70" y="56"/>
                  <a:pt x="69" y="57"/>
                  <a:pt x="68" y="56"/>
                </a:cubicBezTo>
                <a:cubicBezTo>
                  <a:pt x="68" y="56"/>
                  <a:pt x="68" y="56"/>
                  <a:pt x="68" y="55"/>
                </a:cubicBezTo>
                <a:cubicBezTo>
                  <a:pt x="68" y="55"/>
                  <a:pt x="68" y="54"/>
                  <a:pt x="68" y="54"/>
                </a:cubicBezTo>
                <a:cubicBezTo>
                  <a:pt x="68" y="54"/>
                  <a:pt x="68" y="54"/>
                  <a:pt x="67" y="54"/>
                </a:cubicBezTo>
                <a:cubicBezTo>
                  <a:pt x="67" y="54"/>
                  <a:pt x="67" y="53"/>
                  <a:pt x="67" y="53"/>
                </a:cubicBezTo>
                <a:cubicBezTo>
                  <a:pt x="67" y="53"/>
                  <a:pt x="66" y="50"/>
                  <a:pt x="65" y="50"/>
                </a:cubicBezTo>
                <a:cubicBezTo>
                  <a:pt x="65" y="50"/>
                  <a:pt x="65" y="51"/>
                  <a:pt x="64" y="51"/>
                </a:cubicBezTo>
                <a:cubicBezTo>
                  <a:pt x="64" y="51"/>
                  <a:pt x="64" y="50"/>
                  <a:pt x="64" y="50"/>
                </a:cubicBezTo>
                <a:cubicBezTo>
                  <a:pt x="64" y="50"/>
                  <a:pt x="64" y="50"/>
                  <a:pt x="64" y="49"/>
                </a:cubicBezTo>
                <a:cubicBezTo>
                  <a:pt x="64" y="49"/>
                  <a:pt x="64" y="49"/>
                  <a:pt x="64" y="48"/>
                </a:cubicBezTo>
                <a:cubicBezTo>
                  <a:pt x="64" y="47"/>
                  <a:pt x="63" y="47"/>
                  <a:pt x="63" y="46"/>
                </a:cubicBezTo>
                <a:cubicBezTo>
                  <a:pt x="62" y="46"/>
                  <a:pt x="62" y="46"/>
                  <a:pt x="61" y="46"/>
                </a:cubicBezTo>
                <a:cubicBezTo>
                  <a:pt x="61" y="45"/>
                  <a:pt x="61" y="46"/>
                  <a:pt x="60" y="45"/>
                </a:cubicBezTo>
                <a:cubicBezTo>
                  <a:pt x="60" y="45"/>
                  <a:pt x="59" y="46"/>
                  <a:pt x="59" y="45"/>
                </a:cubicBezTo>
                <a:cubicBezTo>
                  <a:pt x="58" y="44"/>
                  <a:pt x="58" y="44"/>
                  <a:pt x="57" y="44"/>
                </a:cubicBezTo>
                <a:cubicBezTo>
                  <a:pt x="56" y="45"/>
                  <a:pt x="55" y="43"/>
                  <a:pt x="54" y="42"/>
                </a:cubicBezTo>
                <a:cubicBezTo>
                  <a:pt x="54" y="42"/>
                  <a:pt x="54" y="41"/>
                  <a:pt x="53" y="40"/>
                </a:cubicBezTo>
                <a:cubicBezTo>
                  <a:pt x="53" y="40"/>
                  <a:pt x="52" y="39"/>
                  <a:pt x="52" y="39"/>
                </a:cubicBezTo>
                <a:cubicBezTo>
                  <a:pt x="51" y="38"/>
                  <a:pt x="52" y="37"/>
                  <a:pt x="51" y="37"/>
                </a:cubicBezTo>
                <a:cubicBezTo>
                  <a:pt x="50" y="37"/>
                  <a:pt x="50" y="37"/>
                  <a:pt x="50" y="37"/>
                </a:cubicBezTo>
                <a:cubicBezTo>
                  <a:pt x="50" y="37"/>
                  <a:pt x="50" y="37"/>
                  <a:pt x="50" y="38"/>
                </a:cubicBezTo>
                <a:cubicBezTo>
                  <a:pt x="50" y="38"/>
                  <a:pt x="50" y="38"/>
                  <a:pt x="49" y="39"/>
                </a:cubicBezTo>
                <a:cubicBezTo>
                  <a:pt x="49" y="39"/>
                  <a:pt x="49" y="39"/>
                  <a:pt x="49" y="39"/>
                </a:cubicBezTo>
                <a:cubicBezTo>
                  <a:pt x="49" y="40"/>
                  <a:pt x="49" y="41"/>
                  <a:pt x="48" y="41"/>
                </a:cubicBezTo>
                <a:cubicBezTo>
                  <a:pt x="48" y="41"/>
                  <a:pt x="47" y="41"/>
                  <a:pt x="47" y="41"/>
                </a:cubicBezTo>
                <a:cubicBezTo>
                  <a:pt x="47" y="41"/>
                  <a:pt x="47" y="41"/>
                  <a:pt x="47" y="41"/>
                </a:cubicBezTo>
                <a:cubicBezTo>
                  <a:pt x="47" y="41"/>
                  <a:pt x="46" y="41"/>
                  <a:pt x="46" y="41"/>
                </a:cubicBezTo>
                <a:cubicBezTo>
                  <a:pt x="46" y="41"/>
                  <a:pt x="45" y="41"/>
                  <a:pt x="45" y="41"/>
                </a:cubicBezTo>
                <a:cubicBezTo>
                  <a:pt x="44" y="41"/>
                  <a:pt x="44" y="40"/>
                  <a:pt x="43" y="40"/>
                </a:cubicBezTo>
                <a:cubicBezTo>
                  <a:pt x="43" y="40"/>
                  <a:pt x="42" y="40"/>
                  <a:pt x="41" y="40"/>
                </a:cubicBezTo>
                <a:cubicBezTo>
                  <a:pt x="41" y="40"/>
                  <a:pt x="40" y="40"/>
                  <a:pt x="39" y="40"/>
                </a:cubicBezTo>
                <a:cubicBezTo>
                  <a:pt x="39" y="39"/>
                  <a:pt x="39" y="39"/>
                  <a:pt x="38" y="39"/>
                </a:cubicBezTo>
                <a:cubicBezTo>
                  <a:pt x="38" y="39"/>
                  <a:pt x="38" y="39"/>
                  <a:pt x="38" y="39"/>
                </a:cubicBezTo>
                <a:cubicBezTo>
                  <a:pt x="37" y="39"/>
                  <a:pt x="37" y="38"/>
                  <a:pt x="36" y="38"/>
                </a:cubicBezTo>
                <a:cubicBezTo>
                  <a:pt x="36" y="38"/>
                  <a:pt x="36" y="39"/>
                  <a:pt x="35" y="39"/>
                </a:cubicBezTo>
                <a:cubicBezTo>
                  <a:pt x="35" y="39"/>
                  <a:pt x="35" y="38"/>
                  <a:pt x="35" y="38"/>
                </a:cubicBezTo>
                <a:cubicBezTo>
                  <a:pt x="34" y="37"/>
                  <a:pt x="34" y="37"/>
                  <a:pt x="33" y="36"/>
                </a:cubicBezTo>
                <a:cubicBezTo>
                  <a:pt x="33" y="36"/>
                  <a:pt x="33" y="35"/>
                  <a:pt x="33" y="34"/>
                </a:cubicBezTo>
                <a:cubicBezTo>
                  <a:pt x="33" y="34"/>
                  <a:pt x="34" y="32"/>
                  <a:pt x="33" y="32"/>
                </a:cubicBezTo>
                <a:cubicBezTo>
                  <a:pt x="33" y="32"/>
                  <a:pt x="32" y="33"/>
                  <a:pt x="31" y="33"/>
                </a:cubicBezTo>
                <a:cubicBezTo>
                  <a:pt x="30" y="33"/>
                  <a:pt x="30" y="33"/>
                  <a:pt x="29" y="34"/>
                </a:cubicBezTo>
                <a:cubicBezTo>
                  <a:pt x="28" y="34"/>
                  <a:pt x="28" y="33"/>
                  <a:pt x="27" y="34"/>
                </a:cubicBezTo>
                <a:cubicBezTo>
                  <a:pt x="27" y="34"/>
                  <a:pt x="26" y="35"/>
                  <a:pt x="26" y="35"/>
                </a:cubicBezTo>
                <a:cubicBezTo>
                  <a:pt x="25" y="35"/>
                  <a:pt x="24" y="35"/>
                  <a:pt x="24" y="35"/>
                </a:cubicBezTo>
                <a:cubicBezTo>
                  <a:pt x="23" y="34"/>
                  <a:pt x="24" y="34"/>
                  <a:pt x="24" y="34"/>
                </a:cubicBezTo>
                <a:cubicBezTo>
                  <a:pt x="25" y="33"/>
                  <a:pt x="24" y="32"/>
                  <a:pt x="24" y="32"/>
                </a:cubicBezTo>
                <a:cubicBezTo>
                  <a:pt x="24" y="31"/>
                  <a:pt x="24" y="31"/>
                  <a:pt x="24" y="31"/>
                </a:cubicBezTo>
                <a:cubicBezTo>
                  <a:pt x="23" y="31"/>
                  <a:pt x="22" y="31"/>
                  <a:pt x="22" y="30"/>
                </a:cubicBezTo>
                <a:cubicBezTo>
                  <a:pt x="22" y="30"/>
                  <a:pt x="22" y="29"/>
                  <a:pt x="22" y="29"/>
                </a:cubicBezTo>
                <a:cubicBezTo>
                  <a:pt x="21" y="29"/>
                  <a:pt x="20" y="28"/>
                  <a:pt x="21" y="29"/>
                </a:cubicBezTo>
                <a:cubicBezTo>
                  <a:pt x="21" y="30"/>
                  <a:pt x="21" y="30"/>
                  <a:pt x="21" y="31"/>
                </a:cubicBezTo>
                <a:cubicBezTo>
                  <a:pt x="21" y="32"/>
                  <a:pt x="21" y="33"/>
                  <a:pt x="21" y="34"/>
                </a:cubicBezTo>
                <a:cubicBezTo>
                  <a:pt x="21" y="34"/>
                  <a:pt x="21" y="34"/>
                  <a:pt x="21" y="35"/>
                </a:cubicBezTo>
                <a:cubicBezTo>
                  <a:pt x="21" y="36"/>
                  <a:pt x="20" y="36"/>
                  <a:pt x="20" y="37"/>
                </a:cubicBezTo>
                <a:cubicBezTo>
                  <a:pt x="20" y="38"/>
                  <a:pt x="21" y="38"/>
                  <a:pt x="21" y="39"/>
                </a:cubicBezTo>
                <a:cubicBezTo>
                  <a:pt x="20" y="41"/>
                  <a:pt x="20" y="42"/>
                  <a:pt x="21" y="44"/>
                </a:cubicBezTo>
                <a:cubicBezTo>
                  <a:pt x="21" y="45"/>
                  <a:pt x="20" y="46"/>
                  <a:pt x="20" y="48"/>
                </a:cubicBezTo>
                <a:cubicBezTo>
                  <a:pt x="20" y="48"/>
                  <a:pt x="19" y="49"/>
                  <a:pt x="19" y="50"/>
                </a:cubicBezTo>
                <a:cubicBezTo>
                  <a:pt x="19" y="50"/>
                  <a:pt x="20" y="51"/>
                  <a:pt x="20" y="51"/>
                </a:cubicBezTo>
                <a:cubicBezTo>
                  <a:pt x="20" y="51"/>
                  <a:pt x="20" y="52"/>
                  <a:pt x="20" y="52"/>
                </a:cubicBezTo>
                <a:cubicBezTo>
                  <a:pt x="20" y="52"/>
                  <a:pt x="19" y="52"/>
                  <a:pt x="19" y="52"/>
                </a:cubicBezTo>
                <a:cubicBezTo>
                  <a:pt x="15" y="52"/>
                  <a:pt x="11" y="52"/>
                  <a:pt x="6" y="52"/>
                </a:cubicBezTo>
                <a:cubicBezTo>
                  <a:pt x="5" y="52"/>
                  <a:pt x="4" y="52"/>
                  <a:pt x="3" y="52"/>
                </a:cubicBezTo>
                <a:cubicBezTo>
                  <a:pt x="3" y="52"/>
                  <a:pt x="2" y="52"/>
                  <a:pt x="1" y="52"/>
                </a:cubicBezTo>
                <a:cubicBezTo>
                  <a:pt x="1" y="52"/>
                  <a:pt x="1" y="54"/>
                  <a:pt x="1" y="54"/>
                </a:cubicBezTo>
                <a:cubicBezTo>
                  <a:pt x="1" y="55"/>
                  <a:pt x="1" y="56"/>
                  <a:pt x="1" y="57"/>
                </a:cubicBezTo>
                <a:cubicBezTo>
                  <a:pt x="1" y="65"/>
                  <a:pt x="1" y="74"/>
                  <a:pt x="1" y="82"/>
                </a:cubicBezTo>
                <a:cubicBezTo>
                  <a:pt x="1" y="83"/>
                  <a:pt x="1" y="84"/>
                  <a:pt x="1" y="85"/>
                </a:cubicBezTo>
                <a:cubicBezTo>
                  <a:pt x="1" y="86"/>
                  <a:pt x="0" y="87"/>
                  <a:pt x="1" y="87"/>
                </a:cubicBezTo>
                <a:cubicBezTo>
                  <a:pt x="1" y="88"/>
                  <a:pt x="1" y="88"/>
                  <a:pt x="2" y="89"/>
                </a:cubicBezTo>
                <a:cubicBezTo>
                  <a:pt x="2" y="89"/>
                  <a:pt x="1" y="90"/>
                  <a:pt x="2" y="91"/>
                </a:cubicBezTo>
                <a:cubicBezTo>
                  <a:pt x="5" y="93"/>
                  <a:pt x="7" y="96"/>
                  <a:pt x="10" y="99"/>
                </a:cubicBezTo>
                <a:cubicBezTo>
                  <a:pt x="11" y="100"/>
                  <a:pt x="12" y="101"/>
                  <a:pt x="13" y="102"/>
                </a:cubicBezTo>
                <a:cubicBezTo>
                  <a:pt x="14" y="103"/>
                  <a:pt x="14" y="103"/>
                  <a:pt x="15" y="103"/>
                </a:cubicBezTo>
                <a:cubicBezTo>
                  <a:pt x="15" y="103"/>
                  <a:pt x="16" y="103"/>
                  <a:pt x="17" y="102"/>
                </a:cubicBezTo>
                <a:cubicBezTo>
                  <a:pt x="19" y="102"/>
                  <a:pt x="21" y="101"/>
                  <a:pt x="23" y="101"/>
                </a:cubicBezTo>
                <a:cubicBezTo>
                  <a:pt x="24" y="101"/>
                  <a:pt x="25" y="102"/>
                  <a:pt x="25" y="102"/>
                </a:cubicBezTo>
                <a:cubicBezTo>
                  <a:pt x="26" y="102"/>
                  <a:pt x="26" y="101"/>
                  <a:pt x="26" y="102"/>
                </a:cubicBezTo>
                <a:cubicBezTo>
                  <a:pt x="26" y="102"/>
                  <a:pt x="27" y="102"/>
                  <a:pt x="27" y="102"/>
                </a:cubicBezTo>
                <a:cubicBezTo>
                  <a:pt x="28" y="102"/>
                  <a:pt x="29" y="102"/>
                  <a:pt x="29" y="103"/>
                </a:cubicBezTo>
                <a:cubicBezTo>
                  <a:pt x="30" y="103"/>
                  <a:pt x="30" y="104"/>
                  <a:pt x="31" y="104"/>
                </a:cubicBezTo>
                <a:cubicBezTo>
                  <a:pt x="31" y="105"/>
                  <a:pt x="33" y="106"/>
                  <a:pt x="34" y="105"/>
                </a:cubicBezTo>
                <a:cubicBezTo>
                  <a:pt x="35" y="105"/>
                  <a:pt x="35" y="105"/>
                  <a:pt x="36" y="105"/>
                </a:cubicBezTo>
                <a:cubicBezTo>
                  <a:pt x="36" y="105"/>
                  <a:pt x="37" y="106"/>
                  <a:pt x="37" y="106"/>
                </a:cubicBezTo>
                <a:cubicBezTo>
                  <a:pt x="37" y="107"/>
                  <a:pt x="39" y="107"/>
                  <a:pt x="39" y="106"/>
                </a:cubicBezTo>
                <a:cubicBezTo>
                  <a:pt x="39" y="106"/>
                  <a:pt x="40" y="106"/>
                  <a:pt x="41" y="106"/>
                </a:cubicBezTo>
                <a:cubicBezTo>
                  <a:pt x="41" y="106"/>
                  <a:pt x="41" y="106"/>
                  <a:pt x="41" y="106"/>
                </a:cubicBezTo>
                <a:cubicBezTo>
                  <a:pt x="42" y="106"/>
                  <a:pt x="42" y="106"/>
                  <a:pt x="42" y="106"/>
                </a:cubicBezTo>
                <a:cubicBezTo>
                  <a:pt x="43" y="107"/>
                  <a:pt x="44" y="107"/>
                  <a:pt x="44" y="107"/>
                </a:cubicBezTo>
                <a:cubicBezTo>
                  <a:pt x="45" y="108"/>
                  <a:pt x="45" y="108"/>
                  <a:pt x="46" y="108"/>
                </a:cubicBezTo>
                <a:cubicBezTo>
                  <a:pt x="47" y="107"/>
                  <a:pt x="49" y="107"/>
                  <a:pt x="49" y="105"/>
                </a:cubicBezTo>
                <a:cubicBezTo>
                  <a:pt x="50" y="104"/>
                  <a:pt x="51" y="103"/>
                  <a:pt x="52" y="102"/>
                </a:cubicBezTo>
                <a:cubicBezTo>
                  <a:pt x="53" y="101"/>
                  <a:pt x="54" y="100"/>
                  <a:pt x="54" y="100"/>
                </a:cubicBezTo>
                <a:cubicBezTo>
                  <a:pt x="55" y="99"/>
                  <a:pt x="55" y="98"/>
                  <a:pt x="55" y="98"/>
                </a:cubicBezTo>
                <a:cubicBezTo>
                  <a:pt x="55" y="97"/>
                  <a:pt x="56" y="96"/>
                  <a:pt x="56" y="96"/>
                </a:cubicBezTo>
                <a:cubicBezTo>
                  <a:pt x="57" y="95"/>
                  <a:pt x="57" y="95"/>
                  <a:pt x="58" y="95"/>
                </a:cubicBezTo>
                <a:cubicBezTo>
                  <a:pt x="60" y="94"/>
                  <a:pt x="61" y="93"/>
                  <a:pt x="63" y="92"/>
                </a:cubicBezTo>
                <a:cubicBezTo>
                  <a:pt x="64" y="91"/>
                  <a:pt x="66" y="91"/>
                  <a:pt x="66" y="90"/>
                </a:cubicBezTo>
                <a:cubicBezTo>
                  <a:pt x="66" y="89"/>
                  <a:pt x="66" y="89"/>
                  <a:pt x="66" y="88"/>
                </a:cubicBezTo>
                <a:cubicBezTo>
                  <a:pt x="66" y="88"/>
                  <a:pt x="66" y="88"/>
                  <a:pt x="66" y="87"/>
                </a:cubicBezTo>
                <a:cubicBezTo>
                  <a:pt x="66" y="87"/>
                  <a:pt x="66" y="86"/>
                  <a:pt x="67" y="85"/>
                </a:cubicBezTo>
                <a:cubicBezTo>
                  <a:pt x="67" y="85"/>
                  <a:pt x="68" y="85"/>
                  <a:pt x="68" y="84"/>
                </a:cubicBezTo>
                <a:cubicBezTo>
                  <a:pt x="69" y="84"/>
                  <a:pt x="69" y="83"/>
                  <a:pt x="70" y="83"/>
                </a:cubicBezTo>
                <a:cubicBezTo>
                  <a:pt x="71" y="82"/>
                  <a:pt x="73" y="82"/>
                  <a:pt x="75" y="81"/>
                </a:cubicBezTo>
                <a:cubicBezTo>
                  <a:pt x="76" y="81"/>
                  <a:pt x="76" y="81"/>
                  <a:pt x="77" y="81"/>
                </a:cubicBezTo>
                <a:cubicBezTo>
                  <a:pt x="78" y="81"/>
                  <a:pt x="78" y="81"/>
                  <a:pt x="79" y="81"/>
                </a:cubicBezTo>
                <a:cubicBezTo>
                  <a:pt x="80" y="81"/>
                  <a:pt x="80" y="81"/>
                  <a:pt x="81" y="81"/>
                </a:cubicBezTo>
                <a:cubicBezTo>
                  <a:pt x="82" y="81"/>
                  <a:pt x="81" y="81"/>
                  <a:pt x="81" y="80"/>
                </a:cubicBezTo>
                <a:cubicBezTo>
                  <a:pt x="81" y="80"/>
                  <a:pt x="81" y="79"/>
                  <a:pt x="81" y="78"/>
                </a:cubicBezTo>
                <a:cubicBezTo>
                  <a:pt x="81" y="78"/>
                  <a:pt x="80" y="77"/>
                  <a:pt x="80" y="76"/>
                </a:cubicBezTo>
                <a:cubicBezTo>
                  <a:pt x="80" y="76"/>
                  <a:pt x="80" y="75"/>
                  <a:pt x="80" y="75"/>
                </a:cubicBezTo>
                <a:cubicBezTo>
                  <a:pt x="80" y="74"/>
                  <a:pt x="79" y="74"/>
                  <a:pt x="80" y="74"/>
                </a:cubicBezTo>
                <a:cubicBezTo>
                  <a:pt x="81" y="74"/>
                  <a:pt x="82" y="73"/>
                  <a:pt x="82" y="73"/>
                </a:cubicBezTo>
                <a:cubicBezTo>
                  <a:pt x="84" y="72"/>
                  <a:pt x="86" y="72"/>
                  <a:pt x="87" y="71"/>
                </a:cubicBezTo>
                <a:cubicBezTo>
                  <a:pt x="89" y="71"/>
                  <a:pt x="91" y="70"/>
                  <a:pt x="93" y="69"/>
                </a:cubicBezTo>
                <a:cubicBezTo>
                  <a:pt x="94" y="68"/>
                  <a:pt x="96" y="68"/>
                  <a:pt x="98" y="68"/>
                </a:cubicBezTo>
                <a:cubicBezTo>
                  <a:pt x="99" y="67"/>
                  <a:pt x="102" y="66"/>
                  <a:pt x="103" y="65"/>
                </a:cubicBezTo>
                <a:cubicBezTo>
                  <a:pt x="105" y="65"/>
                  <a:pt x="107" y="64"/>
                  <a:pt x="109" y="63"/>
                </a:cubicBezTo>
                <a:cubicBezTo>
                  <a:pt x="109" y="63"/>
                  <a:pt x="109" y="62"/>
                  <a:pt x="108" y="62"/>
                </a:cubicBezTo>
                <a:cubicBezTo>
                  <a:pt x="108" y="62"/>
                  <a:pt x="108" y="63"/>
                  <a:pt x="108" y="63"/>
                </a:cubicBezTo>
                <a:cubicBezTo>
                  <a:pt x="107" y="63"/>
                  <a:pt x="107" y="64"/>
                  <a:pt x="107" y="63"/>
                </a:cubicBezTo>
                <a:cubicBezTo>
                  <a:pt x="107" y="63"/>
                  <a:pt x="107" y="63"/>
                  <a:pt x="106" y="62"/>
                </a:cubicBezTo>
                <a:cubicBezTo>
                  <a:pt x="106" y="62"/>
                  <a:pt x="106" y="61"/>
                  <a:pt x="106" y="61"/>
                </a:cubicBezTo>
                <a:cubicBezTo>
                  <a:pt x="105" y="61"/>
                  <a:pt x="105" y="61"/>
                  <a:pt x="105" y="61"/>
                </a:cubicBezTo>
                <a:cubicBezTo>
                  <a:pt x="105" y="60"/>
                  <a:pt x="106" y="60"/>
                  <a:pt x="105" y="59"/>
                </a:cubicBezTo>
                <a:cubicBezTo>
                  <a:pt x="104" y="59"/>
                  <a:pt x="103" y="58"/>
                  <a:pt x="104" y="58"/>
                </a:cubicBezTo>
                <a:cubicBezTo>
                  <a:pt x="105" y="58"/>
                  <a:pt x="106" y="57"/>
                  <a:pt x="106" y="57"/>
                </a:cubicBezTo>
                <a:cubicBezTo>
                  <a:pt x="106" y="56"/>
                  <a:pt x="106" y="56"/>
                  <a:pt x="107" y="55"/>
                </a:cubicBezTo>
                <a:cubicBezTo>
                  <a:pt x="107" y="55"/>
                  <a:pt x="107" y="55"/>
                  <a:pt x="107" y="54"/>
                </a:cubicBezTo>
                <a:cubicBezTo>
                  <a:pt x="107" y="54"/>
                  <a:pt x="107" y="53"/>
                  <a:pt x="107" y="53"/>
                </a:cubicBezTo>
                <a:cubicBezTo>
                  <a:pt x="107" y="52"/>
                  <a:pt x="107" y="52"/>
                  <a:pt x="107" y="51"/>
                </a:cubicBezTo>
                <a:cubicBezTo>
                  <a:pt x="107" y="51"/>
                  <a:pt x="107" y="51"/>
                  <a:pt x="107" y="50"/>
                </a:cubicBezTo>
                <a:cubicBezTo>
                  <a:pt x="107" y="50"/>
                  <a:pt x="107" y="49"/>
                  <a:pt x="107" y="49"/>
                </a:cubicBezTo>
                <a:cubicBezTo>
                  <a:pt x="108" y="48"/>
                  <a:pt x="108" y="47"/>
                  <a:pt x="109" y="48"/>
                </a:cubicBezTo>
                <a:cubicBezTo>
                  <a:pt x="109" y="48"/>
                  <a:pt x="109" y="48"/>
                  <a:pt x="110" y="47"/>
                </a:cubicBezTo>
                <a:cubicBezTo>
                  <a:pt x="110" y="47"/>
                  <a:pt x="110" y="47"/>
                  <a:pt x="111" y="47"/>
                </a:cubicBezTo>
                <a:cubicBezTo>
                  <a:pt x="111" y="47"/>
                  <a:pt x="112" y="46"/>
                  <a:pt x="112" y="45"/>
                </a:cubicBezTo>
                <a:cubicBezTo>
                  <a:pt x="113" y="44"/>
                  <a:pt x="112" y="45"/>
                  <a:pt x="111" y="45"/>
                </a:cubicBezTo>
                <a:cubicBezTo>
                  <a:pt x="111" y="45"/>
                  <a:pt x="111" y="44"/>
                  <a:pt x="110" y="44"/>
                </a:cubicBezTo>
                <a:cubicBezTo>
                  <a:pt x="110" y="43"/>
                  <a:pt x="110" y="43"/>
                  <a:pt x="110" y="42"/>
                </a:cubicBezTo>
                <a:cubicBezTo>
                  <a:pt x="110" y="42"/>
                  <a:pt x="110" y="41"/>
                  <a:pt x="110" y="40"/>
                </a:cubicBezTo>
                <a:cubicBezTo>
                  <a:pt x="111" y="39"/>
                  <a:pt x="111" y="38"/>
                  <a:pt x="110" y="37"/>
                </a:cubicBezTo>
                <a:cubicBezTo>
                  <a:pt x="110" y="36"/>
                  <a:pt x="110" y="37"/>
                  <a:pt x="110" y="36"/>
                </a:cubicBezTo>
                <a:cubicBezTo>
                  <a:pt x="110" y="36"/>
                  <a:pt x="110" y="35"/>
                  <a:pt x="110" y="35"/>
                </a:cubicBezTo>
                <a:cubicBezTo>
                  <a:pt x="110" y="34"/>
                  <a:pt x="110" y="35"/>
                  <a:pt x="110" y="34"/>
                </a:cubicBezTo>
                <a:cubicBezTo>
                  <a:pt x="110" y="34"/>
                  <a:pt x="111" y="34"/>
                  <a:pt x="111" y="33"/>
                </a:cubicBezTo>
                <a:cubicBezTo>
                  <a:pt x="111" y="33"/>
                  <a:pt x="112" y="32"/>
                  <a:pt x="111" y="31"/>
                </a:cubicBezTo>
                <a:cubicBezTo>
                  <a:pt x="111" y="31"/>
                  <a:pt x="111" y="30"/>
                  <a:pt x="110" y="29"/>
                </a:cubicBezTo>
                <a:cubicBezTo>
                  <a:pt x="110" y="29"/>
                  <a:pt x="110" y="29"/>
                  <a:pt x="110" y="29"/>
                </a:cubicBezTo>
                <a:cubicBezTo>
                  <a:pt x="111" y="28"/>
                  <a:pt x="111" y="28"/>
                  <a:pt x="112" y="28"/>
                </a:cubicBezTo>
                <a:cubicBezTo>
                  <a:pt x="112" y="28"/>
                  <a:pt x="113" y="27"/>
                  <a:pt x="113" y="27"/>
                </a:cubicBezTo>
                <a:cubicBezTo>
                  <a:pt x="113" y="26"/>
                  <a:pt x="114" y="26"/>
                  <a:pt x="114" y="26"/>
                </a:cubicBezTo>
                <a:cubicBezTo>
                  <a:pt x="114" y="25"/>
                  <a:pt x="114" y="24"/>
                  <a:pt x="113" y="2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 name="Yemen"/>
          <p:cNvSpPr>
            <a:spLocks noEditPoints="1"/>
          </p:cNvSpPr>
          <p:nvPr/>
        </p:nvSpPr>
        <p:spPr bwMode="auto">
          <a:xfrm>
            <a:off x="7277027" y="3907966"/>
            <a:ext cx="418985" cy="274990"/>
          </a:xfrm>
          <a:custGeom>
            <a:avLst/>
            <a:gdLst/>
            <a:ahLst/>
            <a:cxnLst>
              <a:cxn ang="0">
                <a:pos x="114" y="72"/>
              </a:cxn>
              <a:cxn ang="0">
                <a:pos x="108" y="74"/>
              </a:cxn>
              <a:cxn ang="0">
                <a:pos x="105" y="71"/>
              </a:cxn>
              <a:cxn ang="0">
                <a:pos x="109" y="71"/>
              </a:cxn>
              <a:cxn ang="0">
                <a:pos x="114" y="71"/>
              </a:cxn>
              <a:cxn ang="0">
                <a:pos x="88" y="0"/>
              </a:cxn>
              <a:cxn ang="0">
                <a:pos x="64" y="4"/>
              </a:cxn>
              <a:cxn ang="0">
                <a:pos x="51" y="11"/>
              </a:cxn>
              <a:cxn ang="0">
                <a:pos x="42" y="23"/>
              </a:cxn>
              <a:cxn ang="0">
                <a:pos x="27" y="19"/>
              </a:cxn>
              <a:cxn ang="0">
                <a:pos x="16" y="18"/>
              </a:cxn>
              <a:cxn ang="0">
                <a:pos x="13" y="18"/>
              </a:cxn>
              <a:cxn ang="0">
                <a:pos x="9" y="18"/>
              </a:cxn>
              <a:cxn ang="0">
                <a:pos x="4" y="19"/>
              </a:cxn>
              <a:cxn ang="0">
                <a:pos x="4" y="24"/>
              </a:cxn>
              <a:cxn ang="0">
                <a:pos x="5" y="26"/>
              </a:cxn>
              <a:cxn ang="0">
                <a:pos x="2" y="29"/>
              </a:cxn>
              <a:cxn ang="0">
                <a:pos x="2" y="35"/>
              </a:cxn>
              <a:cxn ang="0">
                <a:pos x="1" y="37"/>
              </a:cxn>
              <a:cxn ang="0">
                <a:pos x="1" y="41"/>
              </a:cxn>
              <a:cxn ang="0">
                <a:pos x="0" y="42"/>
              </a:cxn>
              <a:cxn ang="0">
                <a:pos x="2" y="43"/>
              </a:cxn>
              <a:cxn ang="0">
                <a:pos x="3" y="45"/>
              </a:cxn>
              <a:cxn ang="0">
                <a:pos x="4" y="50"/>
              </a:cxn>
              <a:cxn ang="0">
                <a:pos x="5" y="54"/>
              </a:cxn>
              <a:cxn ang="0">
                <a:pos x="7" y="62"/>
              </a:cxn>
              <a:cxn ang="0">
                <a:pos x="10" y="70"/>
              </a:cxn>
              <a:cxn ang="0">
                <a:pos x="16" y="70"/>
              </a:cxn>
              <a:cxn ang="0">
                <a:pos x="20" y="68"/>
              </a:cxn>
              <a:cxn ang="0">
                <a:pos x="23" y="69"/>
              </a:cxn>
              <a:cxn ang="0">
                <a:pos x="24" y="69"/>
              </a:cxn>
              <a:cxn ang="0">
                <a:pos x="30" y="63"/>
              </a:cxn>
              <a:cxn ang="0">
                <a:pos x="42" y="61"/>
              </a:cxn>
              <a:cxn ang="0">
                <a:pos x="50" y="56"/>
              </a:cxn>
              <a:cxn ang="0">
                <a:pos x="57" y="55"/>
              </a:cxn>
              <a:cxn ang="0">
                <a:pos x="61" y="53"/>
              </a:cxn>
              <a:cxn ang="0">
                <a:pos x="63" y="50"/>
              </a:cxn>
              <a:cxn ang="0">
                <a:pos x="71" y="46"/>
              </a:cxn>
              <a:cxn ang="0">
                <a:pos x="78" y="43"/>
              </a:cxn>
              <a:cxn ang="0">
                <a:pos x="87" y="41"/>
              </a:cxn>
              <a:cxn ang="0">
                <a:pos x="89" y="39"/>
              </a:cxn>
              <a:cxn ang="0">
                <a:pos x="92" y="32"/>
              </a:cxn>
              <a:cxn ang="0">
                <a:pos x="100" y="26"/>
              </a:cxn>
              <a:cxn ang="0">
                <a:pos x="95" y="75"/>
              </a:cxn>
              <a:cxn ang="0">
                <a:pos x="94" y="76"/>
              </a:cxn>
            </a:cxnLst>
            <a:rect l="0" t="0" r="r" b="b"/>
            <a:pathLst>
              <a:path w="116" h="76">
                <a:moveTo>
                  <a:pt x="116" y="71"/>
                </a:moveTo>
                <a:cubicBezTo>
                  <a:pt x="116" y="72"/>
                  <a:pt x="115" y="71"/>
                  <a:pt x="115" y="71"/>
                </a:cubicBezTo>
                <a:cubicBezTo>
                  <a:pt x="115" y="72"/>
                  <a:pt x="115" y="72"/>
                  <a:pt x="114" y="72"/>
                </a:cubicBezTo>
                <a:cubicBezTo>
                  <a:pt x="114" y="73"/>
                  <a:pt x="113" y="73"/>
                  <a:pt x="113" y="73"/>
                </a:cubicBezTo>
                <a:cubicBezTo>
                  <a:pt x="112" y="74"/>
                  <a:pt x="111" y="74"/>
                  <a:pt x="111" y="74"/>
                </a:cubicBezTo>
                <a:cubicBezTo>
                  <a:pt x="110" y="74"/>
                  <a:pt x="109" y="74"/>
                  <a:pt x="108" y="74"/>
                </a:cubicBezTo>
                <a:cubicBezTo>
                  <a:pt x="107" y="74"/>
                  <a:pt x="107" y="74"/>
                  <a:pt x="106" y="73"/>
                </a:cubicBezTo>
                <a:cubicBezTo>
                  <a:pt x="106" y="73"/>
                  <a:pt x="104" y="72"/>
                  <a:pt x="104" y="71"/>
                </a:cubicBezTo>
                <a:cubicBezTo>
                  <a:pt x="104" y="71"/>
                  <a:pt x="105" y="71"/>
                  <a:pt x="105" y="71"/>
                </a:cubicBezTo>
                <a:cubicBezTo>
                  <a:pt x="105" y="71"/>
                  <a:pt x="105" y="70"/>
                  <a:pt x="105" y="70"/>
                </a:cubicBezTo>
                <a:cubicBezTo>
                  <a:pt x="106" y="69"/>
                  <a:pt x="107" y="69"/>
                  <a:pt x="107" y="70"/>
                </a:cubicBezTo>
                <a:cubicBezTo>
                  <a:pt x="108" y="70"/>
                  <a:pt x="108" y="71"/>
                  <a:pt x="109" y="71"/>
                </a:cubicBezTo>
                <a:cubicBezTo>
                  <a:pt x="109" y="71"/>
                  <a:pt x="109" y="70"/>
                  <a:pt x="110" y="70"/>
                </a:cubicBezTo>
                <a:cubicBezTo>
                  <a:pt x="110" y="70"/>
                  <a:pt x="111" y="70"/>
                  <a:pt x="112" y="70"/>
                </a:cubicBezTo>
                <a:cubicBezTo>
                  <a:pt x="112" y="70"/>
                  <a:pt x="113" y="70"/>
                  <a:pt x="114" y="71"/>
                </a:cubicBezTo>
                <a:cubicBezTo>
                  <a:pt x="115" y="71"/>
                  <a:pt x="116" y="71"/>
                  <a:pt x="116" y="71"/>
                </a:cubicBezTo>
                <a:close/>
                <a:moveTo>
                  <a:pt x="94" y="14"/>
                </a:moveTo>
                <a:cubicBezTo>
                  <a:pt x="92" y="9"/>
                  <a:pt x="90" y="5"/>
                  <a:pt x="88" y="0"/>
                </a:cubicBezTo>
                <a:cubicBezTo>
                  <a:pt x="84" y="1"/>
                  <a:pt x="80" y="2"/>
                  <a:pt x="76" y="3"/>
                </a:cubicBezTo>
                <a:cubicBezTo>
                  <a:pt x="74" y="3"/>
                  <a:pt x="73" y="3"/>
                  <a:pt x="71" y="3"/>
                </a:cubicBezTo>
                <a:cubicBezTo>
                  <a:pt x="69" y="4"/>
                  <a:pt x="67" y="4"/>
                  <a:pt x="64" y="4"/>
                </a:cubicBezTo>
                <a:cubicBezTo>
                  <a:pt x="63" y="4"/>
                  <a:pt x="61" y="4"/>
                  <a:pt x="60" y="5"/>
                </a:cubicBezTo>
                <a:cubicBezTo>
                  <a:pt x="58" y="6"/>
                  <a:pt x="56" y="7"/>
                  <a:pt x="55" y="8"/>
                </a:cubicBezTo>
                <a:cubicBezTo>
                  <a:pt x="53" y="9"/>
                  <a:pt x="52" y="9"/>
                  <a:pt x="51" y="11"/>
                </a:cubicBezTo>
                <a:cubicBezTo>
                  <a:pt x="50" y="13"/>
                  <a:pt x="49" y="14"/>
                  <a:pt x="48" y="16"/>
                </a:cubicBezTo>
                <a:cubicBezTo>
                  <a:pt x="47" y="17"/>
                  <a:pt x="46" y="19"/>
                  <a:pt x="45" y="21"/>
                </a:cubicBezTo>
                <a:cubicBezTo>
                  <a:pt x="45" y="22"/>
                  <a:pt x="43" y="23"/>
                  <a:pt x="42" y="23"/>
                </a:cubicBezTo>
                <a:cubicBezTo>
                  <a:pt x="40" y="23"/>
                  <a:pt x="39" y="21"/>
                  <a:pt x="38" y="20"/>
                </a:cubicBezTo>
                <a:cubicBezTo>
                  <a:pt x="37" y="20"/>
                  <a:pt x="34" y="20"/>
                  <a:pt x="33" y="20"/>
                </a:cubicBezTo>
                <a:cubicBezTo>
                  <a:pt x="31" y="19"/>
                  <a:pt x="29" y="19"/>
                  <a:pt x="27" y="19"/>
                </a:cubicBezTo>
                <a:cubicBezTo>
                  <a:pt x="25" y="18"/>
                  <a:pt x="23" y="18"/>
                  <a:pt x="22" y="18"/>
                </a:cubicBezTo>
                <a:cubicBezTo>
                  <a:pt x="20" y="18"/>
                  <a:pt x="19" y="18"/>
                  <a:pt x="18" y="18"/>
                </a:cubicBezTo>
                <a:cubicBezTo>
                  <a:pt x="17" y="18"/>
                  <a:pt x="16" y="18"/>
                  <a:pt x="16" y="18"/>
                </a:cubicBezTo>
                <a:cubicBezTo>
                  <a:pt x="15" y="18"/>
                  <a:pt x="15" y="18"/>
                  <a:pt x="14" y="18"/>
                </a:cubicBezTo>
                <a:cubicBezTo>
                  <a:pt x="14" y="18"/>
                  <a:pt x="14" y="18"/>
                  <a:pt x="14" y="18"/>
                </a:cubicBezTo>
                <a:cubicBezTo>
                  <a:pt x="13" y="18"/>
                  <a:pt x="13" y="19"/>
                  <a:pt x="13" y="18"/>
                </a:cubicBezTo>
                <a:cubicBezTo>
                  <a:pt x="12" y="18"/>
                  <a:pt x="11" y="19"/>
                  <a:pt x="11" y="19"/>
                </a:cubicBezTo>
                <a:cubicBezTo>
                  <a:pt x="11" y="18"/>
                  <a:pt x="11" y="19"/>
                  <a:pt x="11" y="19"/>
                </a:cubicBezTo>
                <a:cubicBezTo>
                  <a:pt x="10" y="18"/>
                  <a:pt x="10" y="19"/>
                  <a:pt x="9" y="18"/>
                </a:cubicBezTo>
                <a:cubicBezTo>
                  <a:pt x="9" y="18"/>
                  <a:pt x="8" y="17"/>
                  <a:pt x="8" y="17"/>
                </a:cubicBezTo>
                <a:cubicBezTo>
                  <a:pt x="7" y="17"/>
                  <a:pt x="6" y="17"/>
                  <a:pt x="6" y="17"/>
                </a:cubicBezTo>
                <a:cubicBezTo>
                  <a:pt x="5" y="18"/>
                  <a:pt x="5" y="18"/>
                  <a:pt x="4" y="19"/>
                </a:cubicBezTo>
                <a:cubicBezTo>
                  <a:pt x="4" y="19"/>
                  <a:pt x="6" y="19"/>
                  <a:pt x="5" y="20"/>
                </a:cubicBezTo>
                <a:cubicBezTo>
                  <a:pt x="4" y="20"/>
                  <a:pt x="4" y="21"/>
                  <a:pt x="4" y="22"/>
                </a:cubicBezTo>
                <a:cubicBezTo>
                  <a:pt x="4" y="22"/>
                  <a:pt x="4" y="23"/>
                  <a:pt x="4" y="24"/>
                </a:cubicBezTo>
                <a:cubicBezTo>
                  <a:pt x="4" y="24"/>
                  <a:pt x="4" y="24"/>
                  <a:pt x="4" y="24"/>
                </a:cubicBezTo>
                <a:cubicBezTo>
                  <a:pt x="5" y="24"/>
                  <a:pt x="5" y="24"/>
                  <a:pt x="5" y="25"/>
                </a:cubicBezTo>
                <a:cubicBezTo>
                  <a:pt x="5" y="25"/>
                  <a:pt x="4" y="25"/>
                  <a:pt x="5" y="26"/>
                </a:cubicBezTo>
                <a:cubicBezTo>
                  <a:pt x="5" y="26"/>
                  <a:pt x="4" y="26"/>
                  <a:pt x="4" y="26"/>
                </a:cubicBezTo>
                <a:cubicBezTo>
                  <a:pt x="4" y="26"/>
                  <a:pt x="4" y="27"/>
                  <a:pt x="3" y="27"/>
                </a:cubicBezTo>
                <a:cubicBezTo>
                  <a:pt x="3" y="28"/>
                  <a:pt x="2" y="28"/>
                  <a:pt x="2" y="29"/>
                </a:cubicBezTo>
                <a:cubicBezTo>
                  <a:pt x="2" y="29"/>
                  <a:pt x="1" y="29"/>
                  <a:pt x="1" y="29"/>
                </a:cubicBezTo>
                <a:cubicBezTo>
                  <a:pt x="1" y="30"/>
                  <a:pt x="2" y="32"/>
                  <a:pt x="2" y="33"/>
                </a:cubicBezTo>
                <a:cubicBezTo>
                  <a:pt x="2" y="34"/>
                  <a:pt x="2" y="34"/>
                  <a:pt x="2" y="35"/>
                </a:cubicBezTo>
                <a:cubicBezTo>
                  <a:pt x="1" y="35"/>
                  <a:pt x="1" y="35"/>
                  <a:pt x="1" y="35"/>
                </a:cubicBezTo>
                <a:cubicBezTo>
                  <a:pt x="1" y="36"/>
                  <a:pt x="1" y="36"/>
                  <a:pt x="1" y="36"/>
                </a:cubicBezTo>
                <a:cubicBezTo>
                  <a:pt x="1" y="37"/>
                  <a:pt x="0" y="37"/>
                  <a:pt x="1" y="37"/>
                </a:cubicBezTo>
                <a:cubicBezTo>
                  <a:pt x="1" y="38"/>
                  <a:pt x="1" y="38"/>
                  <a:pt x="1" y="39"/>
                </a:cubicBezTo>
                <a:cubicBezTo>
                  <a:pt x="2" y="39"/>
                  <a:pt x="2" y="41"/>
                  <a:pt x="2" y="42"/>
                </a:cubicBezTo>
                <a:cubicBezTo>
                  <a:pt x="1" y="42"/>
                  <a:pt x="1" y="41"/>
                  <a:pt x="1" y="41"/>
                </a:cubicBezTo>
                <a:cubicBezTo>
                  <a:pt x="1" y="41"/>
                  <a:pt x="1" y="41"/>
                  <a:pt x="1" y="40"/>
                </a:cubicBezTo>
                <a:cubicBezTo>
                  <a:pt x="1" y="41"/>
                  <a:pt x="0" y="41"/>
                  <a:pt x="0" y="41"/>
                </a:cubicBezTo>
                <a:cubicBezTo>
                  <a:pt x="0" y="41"/>
                  <a:pt x="1" y="41"/>
                  <a:pt x="0" y="42"/>
                </a:cubicBezTo>
                <a:cubicBezTo>
                  <a:pt x="0" y="42"/>
                  <a:pt x="0" y="42"/>
                  <a:pt x="0" y="42"/>
                </a:cubicBezTo>
                <a:cubicBezTo>
                  <a:pt x="0" y="43"/>
                  <a:pt x="0" y="42"/>
                  <a:pt x="1" y="42"/>
                </a:cubicBezTo>
                <a:cubicBezTo>
                  <a:pt x="1" y="42"/>
                  <a:pt x="2" y="43"/>
                  <a:pt x="2" y="43"/>
                </a:cubicBezTo>
                <a:cubicBezTo>
                  <a:pt x="3" y="43"/>
                  <a:pt x="2" y="44"/>
                  <a:pt x="3" y="44"/>
                </a:cubicBezTo>
                <a:cubicBezTo>
                  <a:pt x="3" y="45"/>
                  <a:pt x="3" y="45"/>
                  <a:pt x="3" y="46"/>
                </a:cubicBezTo>
                <a:cubicBezTo>
                  <a:pt x="3" y="47"/>
                  <a:pt x="3" y="46"/>
                  <a:pt x="3" y="45"/>
                </a:cubicBezTo>
                <a:cubicBezTo>
                  <a:pt x="2" y="46"/>
                  <a:pt x="3" y="48"/>
                  <a:pt x="4" y="48"/>
                </a:cubicBezTo>
                <a:cubicBezTo>
                  <a:pt x="4" y="48"/>
                  <a:pt x="4" y="50"/>
                  <a:pt x="4" y="50"/>
                </a:cubicBezTo>
                <a:cubicBezTo>
                  <a:pt x="4" y="51"/>
                  <a:pt x="4" y="50"/>
                  <a:pt x="4" y="50"/>
                </a:cubicBezTo>
                <a:cubicBezTo>
                  <a:pt x="4" y="50"/>
                  <a:pt x="4" y="50"/>
                  <a:pt x="4" y="51"/>
                </a:cubicBezTo>
                <a:cubicBezTo>
                  <a:pt x="4" y="51"/>
                  <a:pt x="4" y="52"/>
                  <a:pt x="5" y="52"/>
                </a:cubicBezTo>
                <a:cubicBezTo>
                  <a:pt x="5" y="53"/>
                  <a:pt x="5" y="54"/>
                  <a:pt x="5" y="54"/>
                </a:cubicBezTo>
                <a:cubicBezTo>
                  <a:pt x="5" y="55"/>
                  <a:pt x="5" y="56"/>
                  <a:pt x="6" y="56"/>
                </a:cubicBezTo>
                <a:cubicBezTo>
                  <a:pt x="7" y="57"/>
                  <a:pt x="7" y="58"/>
                  <a:pt x="7" y="60"/>
                </a:cubicBezTo>
                <a:cubicBezTo>
                  <a:pt x="7" y="60"/>
                  <a:pt x="7" y="61"/>
                  <a:pt x="7" y="62"/>
                </a:cubicBezTo>
                <a:cubicBezTo>
                  <a:pt x="7" y="62"/>
                  <a:pt x="7" y="63"/>
                  <a:pt x="7" y="64"/>
                </a:cubicBezTo>
                <a:cubicBezTo>
                  <a:pt x="7" y="65"/>
                  <a:pt x="8" y="66"/>
                  <a:pt x="9" y="68"/>
                </a:cubicBezTo>
                <a:cubicBezTo>
                  <a:pt x="9" y="68"/>
                  <a:pt x="9" y="70"/>
                  <a:pt x="10" y="70"/>
                </a:cubicBezTo>
                <a:cubicBezTo>
                  <a:pt x="11" y="69"/>
                  <a:pt x="12" y="70"/>
                  <a:pt x="13" y="71"/>
                </a:cubicBezTo>
                <a:cubicBezTo>
                  <a:pt x="14" y="71"/>
                  <a:pt x="14" y="71"/>
                  <a:pt x="15" y="71"/>
                </a:cubicBezTo>
                <a:cubicBezTo>
                  <a:pt x="15" y="71"/>
                  <a:pt x="16" y="70"/>
                  <a:pt x="16" y="70"/>
                </a:cubicBezTo>
                <a:cubicBezTo>
                  <a:pt x="16" y="70"/>
                  <a:pt x="16" y="70"/>
                  <a:pt x="16" y="70"/>
                </a:cubicBezTo>
                <a:cubicBezTo>
                  <a:pt x="16" y="71"/>
                  <a:pt x="18" y="70"/>
                  <a:pt x="18" y="70"/>
                </a:cubicBezTo>
                <a:cubicBezTo>
                  <a:pt x="19" y="69"/>
                  <a:pt x="19" y="68"/>
                  <a:pt x="20" y="68"/>
                </a:cubicBezTo>
                <a:cubicBezTo>
                  <a:pt x="20" y="68"/>
                  <a:pt x="21" y="69"/>
                  <a:pt x="21" y="69"/>
                </a:cubicBezTo>
                <a:cubicBezTo>
                  <a:pt x="22" y="69"/>
                  <a:pt x="21" y="69"/>
                  <a:pt x="22" y="69"/>
                </a:cubicBezTo>
                <a:cubicBezTo>
                  <a:pt x="22" y="69"/>
                  <a:pt x="22" y="69"/>
                  <a:pt x="23" y="69"/>
                </a:cubicBezTo>
                <a:cubicBezTo>
                  <a:pt x="23" y="69"/>
                  <a:pt x="23" y="69"/>
                  <a:pt x="23" y="69"/>
                </a:cubicBezTo>
                <a:cubicBezTo>
                  <a:pt x="22" y="69"/>
                  <a:pt x="24" y="68"/>
                  <a:pt x="24" y="68"/>
                </a:cubicBezTo>
                <a:cubicBezTo>
                  <a:pt x="24" y="68"/>
                  <a:pt x="23" y="69"/>
                  <a:pt x="24" y="69"/>
                </a:cubicBezTo>
                <a:cubicBezTo>
                  <a:pt x="25" y="69"/>
                  <a:pt x="24" y="67"/>
                  <a:pt x="25" y="67"/>
                </a:cubicBezTo>
                <a:cubicBezTo>
                  <a:pt x="26" y="66"/>
                  <a:pt x="27" y="66"/>
                  <a:pt x="28" y="66"/>
                </a:cubicBezTo>
                <a:cubicBezTo>
                  <a:pt x="29" y="65"/>
                  <a:pt x="29" y="63"/>
                  <a:pt x="30" y="63"/>
                </a:cubicBezTo>
                <a:cubicBezTo>
                  <a:pt x="31" y="62"/>
                  <a:pt x="33" y="62"/>
                  <a:pt x="34" y="62"/>
                </a:cubicBezTo>
                <a:cubicBezTo>
                  <a:pt x="35" y="62"/>
                  <a:pt x="36" y="62"/>
                  <a:pt x="38" y="62"/>
                </a:cubicBezTo>
                <a:cubicBezTo>
                  <a:pt x="40" y="62"/>
                  <a:pt x="41" y="61"/>
                  <a:pt x="42" y="61"/>
                </a:cubicBezTo>
                <a:cubicBezTo>
                  <a:pt x="43" y="60"/>
                  <a:pt x="45" y="60"/>
                  <a:pt x="46" y="59"/>
                </a:cubicBezTo>
                <a:cubicBezTo>
                  <a:pt x="47" y="59"/>
                  <a:pt x="48" y="58"/>
                  <a:pt x="49" y="57"/>
                </a:cubicBezTo>
                <a:cubicBezTo>
                  <a:pt x="49" y="56"/>
                  <a:pt x="50" y="56"/>
                  <a:pt x="50" y="56"/>
                </a:cubicBezTo>
                <a:cubicBezTo>
                  <a:pt x="51" y="56"/>
                  <a:pt x="51" y="55"/>
                  <a:pt x="52" y="55"/>
                </a:cubicBezTo>
                <a:cubicBezTo>
                  <a:pt x="53" y="54"/>
                  <a:pt x="54" y="56"/>
                  <a:pt x="55" y="55"/>
                </a:cubicBezTo>
                <a:cubicBezTo>
                  <a:pt x="55" y="55"/>
                  <a:pt x="56" y="55"/>
                  <a:pt x="57" y="55"/>
                </a:cubicBezTo>
                <a:cubicBezTo>
                  <a:pt x="57" y="55"/>
                  <a:pt x="58" y="55"/>
                  <a:pt x="58" y="55"/>
                </a:cubicBezTo>
                <a:cubicBezTo>
                  <a:pt x="59" y="55"/>
                  <a:pt x="59" y="55"/>
                  <a:pt x="60" y="54"/>
                </a:cubicBezTo>
                <a:cubicBezTo>
                  <a:pt x="60" y="54"/>
                  <a:pt x="60" y="53"/>
                  <a:pt x="61" y="53"/>
                </a:cubicBezTo>
                <a:cubicBezTo>
                  <a:pt x="61" y="52"/>
                  <a:pt x="61" y="52"/>
                  <a:pt x="61" y="52"/>
                </a:cubicBezTo>
                <a:cubicBezTo>
                  <a:pt x="62" y="52"/>
                  <a:pt x="62" y="51"/>
                  <a:pt x="62" y="51"/>
                </a:cubicBezTo>
                <a:cubicBezTo>
                  <a:pt x="62" y="51"/>
                  <a:pt x="63" y="49"/>
                  <a:pt x="63" y="50"/>
                </a:cubicBezTo>
                <a:cubicBezTo>
                  <a:pt x="63" y="49"/>
                  <a:pt x="66" y="48"/>
                  <a:pt x="67" y="47"/>
                </a:cubicBezTo>
                <a:cubicBezTo>
                  <a:pt x="68" y="47"/>
                  <a:pt x="69" y="47"/>
                  <a:pt x="70" y="46"/>
                </a:cubicBezTo>
                <a:cubicBezTo>
                  <a:pt x="70" y="46"/>
                  <a:pt x="71" y="46"/>
                  <a:pt x="71" y="46"/>
                </a:cubicBezTo>
                <a:cubicBezTo>
                  <a:pt x="72" y="47"/>
                  <a:pt x="72" y="46"/>
                  <a:pt x="72" y="46"/>
                </a:cubicBezTo>
                <a:cubicBezTo>
                  <a:pt x="73" y="46"/>
                  <a:pt x="74" y="45"/>
                  <a:pt x="75" y="45"/>
                </a:cubicBezTo>
                <a:cubicBezTo>
                  <a:pt x="76" y="44"/>
                  <a:pt x="77" y="44"/>
                  <a:pt x="78" y="43"/>
                </a:cubicBezTo>
                <a:cubicBezTo>
                  <a:pt x="80" y="43"/>
                  <a:pt x="81" y="43"/>
                  <a:pt x="82" y="42"/>
                </a:cubicBezTo>
                <a:cubicBezTo>
                  <a:pt x="84" y="42"/>
                  <a:pt x="84" y="41"/>
                  <a:pt x="86" y="41"/>
                </a:cubicBezTo>
                <a:cubicBezTo>
                  <a:pt x="86" y="41"/>
                  <a:pt x="87" y="41"/>
                  <a:pt x="87" y="41"/>
                </a:cubicBezTo>
                <a:cubicBezTo>
                  <a:pt x="87" y="40"/>
                  <a:pt x="87" y="40"/>
                  <a:pt x="87" y="40"/>
                </a:cubicBezTo>
                <a:cubicBezTo>
                  <a:pt x="87" y="40"/>
                  <a:pt x="88" y="39"/>
                  <a:pt x="88" y="39"/>
                </a:cubicBezTo>
                <a:cubicBezTo>
                  <a:pt x="89" y="40"/>
                  <a:pt x="89" y="39"/>
                  <a:pt x="89" y="39"/>
                </a:cubicBezTo>
                <a:cubicBezTo>
                  <a:pt x="90" y="38"/>
                  <a:pt x="91" y="38"/>
                  <a:pt x="92" y="38"/>
                </a:cubicBezTo>
                <a:cubicBezTo>
                  <a:pt x="92" y="37"/>
                  <a:pt x="92" y="35"/>
                  <a:pt x="92" y="35"/>
                </a:cubicBezTo>
                <a:cubicBezTo>
                  <a:pt x="91" y="34"/>
                  <a:pt x="91" y="33"/>
                  <a:pt x="92" y="32"/>
                </a:cubicBezTo>
                <a:cubicBezTo>
                  <a:pt x="92" y="31"/>
                  <a:pt x="93" y="30"/>
                  <a:pt x="94" y="29"/>
                </a:cubicBezTo>
                <a:cubicBezTo>
                  <a:pt x="94" y="28"/>
                  <a:pt x="96" y="28"/>
                  <a:pt x="97" y="28"/>
                </a:cubicBezTo>
                <a:cubicBezTo>
                  <a:pt x="98" y="27"/>
                  <a:pt x="99" y="27"/>
                  <a:pt x="100" y="26"/>
                </a:cubicBezTo>
                <a:cubicBezTo>
                  <a:pt x="99" y="24"/>
                  <a:pt x="97" y="22"/>
                  <a:pt x="96" y="20"/>
                </a:cubicBezTo>
                <a:cubicBezTo>
                  <a:pt x="95" y="18"/>
                  <a:pt x="95" y="16"/>
                  <a:pt x="94" y="14"/>
                </a:cubicBezTo>
                <a:close/>
                <a:moveTo>
                  <a:pt x="95" y="75"/>
                </a:moveTo>
                <a:cubicBezTo>
                  <a:pt x="94" y="75"/>
                  <a:pt x="94" y="75"/>
                  <a:pt x="93" y="75"/>
                </a:cubicBezTo>
                <a:cubicBezTo>
                  <a:pt x="92" y="75"/>
                  <a:pt x="92" y="75"/>
                  <a:pt x="93" y="75"/>
                </a:cubicBezTo>
                <a:cubicBezTo>
                  <a:pt x="93" y="75"/>
                  <a:pt x="94" y="76"/>
                  <a:pt x="94" y="76"/>
                </a:cubicBezTo>
                <a:cubicBezTo>
                  <a:pt x="94" y="76"/>
                  <a:pt x="94" y="76"/>
                  <a:pt x="95" y="76"/>
                </a:cubicBezTo>
                <a:cubicBezTo>
                  <a:pt x="96" y="76"/>
                  <a:pt x="95" y="75"/>
                  <a:pt x="95" y="7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 name="Western Sahara"/>
          <p:cNvSpPr>
            <a:spLocks/>
          </p:cNvSpPr>
          <p:nvPr/>
        </p:nvSpPr>
        <p:spPr bwMode="auto">
          <a:xfrm>
            <a:off x="5210105" y="3563979"/>
            <a:ext cx="299988" cy="274990"/>
          </a:xfrm>
          <a:custGeom>
            <a:avLst/>
            <a:gdLst/>
            <a:ahLst/>
            <a:cxnLst>
              <a:cxn ang="0">
                <a:pos x="41" y="0"/>
              </a:cxn>
              <a:cxn ang="0">
                <a:pos x="40" y="2"/>
              </a:cxn>
              <a:cxn ang="0">
                <a:pos x="40" y="4"/>
              </a:cxn>
              <a:cxn ang="0">
                <a:pos x="39" y="5"/>
              </a:cxn>
              <a:cxn ang="0">
                <a:pos x="38" y="7"/>
              </a:cxn>
              <a:cxn ang="0">
                <a:pos x="34" y="12"/>
              </a:cxn>
              <a:cxn ang="0">
                <a:pos x="33" y="13"/>
              </a:cxn>
              <a:cxn ang="0">
                <a:pos x="31" y="14"/>
              </a:cxn>
              <a:cxn ang="0">
                <a:pos x="29" y="16"/>
              </a:cxn>
              <a:cxn ang="0">
                <a:pos x="28" y="18"/>
              </a:cxn>
              <a:cxn ang="0">
                <a:pos x="26" y="21"/>
              </a:cxn>
              <a:cxn ang="0">
                <a:pos x="25" y="25"/>
              </a:cxn>
              <a:cxn ang="0">
                <a:pos x="24" y="28"/>
              </a:cxn>
              <a:cxn ang="0">
                <a:pos x="23" y="33"/>
              </a:cxn>
              <a:cxn ang="0">
                <a:pos x="22" y="34"/>
              </a:cxn>
              <a:cxn ang="0">
                <a:pos x="22" y="35"/>
              </a:cxn>
              <a:cxn ang="0">
                <a:pos x="20" y="35"/>
              </a:cxn>
              <a:cxn ang="0">
                <a:pos x="19" y="37"/>
              </a:cxn>
              <a:cxn ang="0">
                <a:pos x="16" y="40"/>
              </a:cxn>
              <a:cxn ang="0">
                <a:pos x="14" y="42"/>
              </a:cxn>
              <a:cxn ang="0">
                <a:pos x="12" y="44"/>
              </a:cxn>
              <a:cxn ang="0">
                <a:pos x="13" y="43"/>
              </a:cxn>
              <a:cxn ang="0">
                <a:pos x="14" y="42"/>
              </a:cxn>
              <a:cxn ang="0">
                <a:pos x="12" y="46"/>
              </a:cxn>
              <a:cxn ang="0">
                <a:pos x="11" y="49"/>
              </a:cxn>
              <a:cxn ang="0">
                <a:pos x="10" y="51"/>
              </a:cxn>
              <a:cxn ang="0">
                <a:pos x="10" y="52"/>
              </a:cxn>
              <a:cxn ang="0">
                <a:pos x="9" y="53"/>
              </a:cxn>
              <a:cxn ang="0">
                <a:pos x="9" y="55"/>
              </a:cxn>
              <a:cxn ang="0">
                <a:pos x="7" y="58"/>
              </a:cxn>
              <a:cxn ang="0">
                <a:pos x="6" y="59"/>
              </a:cxn>
              <a:cxn ang="0">
                <a:pos x="5" y="59"/>
              </a:cxn>
              <a:cxn ang="0">
                <a:pos x="4" y="61"/>
              </a:cxn>
              <a:cxn ang="0">
                <a:pos x="3" y="63"/>
              </a:cxn>
              <a:cxn ang="0">
                <a:pos x="2" y="65"/>
              </a:cxn>
              <a:cxn ang="0">
                <a:pos x="2" y="67"/>
              </a:cxn>
              <a:cxn ang="0">
                <a:pos x="1" y="72"/>
              </a:cxn>
              <a:cxn ang="0">
                <a:pos x="1" y="74"/>
              </a:cxn>
              <a:cxn ang="0">
                <a:pos x="1" y="76"/>
              </a:cxn>
              <a:cxn ang="0">
                <a:pos x="2" y="72"/>
              </a:cxn>
              <a:cxn ang="0">
                <a:pos x="4" y="70"/>
              </a:cxn>
              <a:cxn ang="0">
                <a:pos x="16" y="70"/>
              </a:cxn>
              <a:cxn ang="0">
                <a:pos x="40" y="70"/>
              </a:cxn>
              <a:cxn ang="0">
                <a:pos x="39" y="57"/>
              </a:cxn>
              <a:cxn ang="0">
                <a:pos x="40" y="52"/>
              </a:cxn>
              <a:cxn ang="0">
                <a:pos x="43" y="49"/>
              </a:cxn>
              <a:cxn ang="0">
                <a:pos x="48" y="47"/>
              </a:cxn>
              <a:cxn ang="0">
                <a:pos x="50" y="46"/>
              </a:cxn>
              <a:cxn ang="0">
                <a:pos x="50" y="41"/>
              </a:cxn>
              <a:cxn ang="0">
                <a:pos x="50" y="36"/>
              </a:cxn>
              <a:cxn ang="0">
                <a:pos x="51" y="23"/>
              </a:cxn>
              <a:cxn ang="0">
                <a:pos x="51" y="19"/>
              </a:cxn>
              <a:cxn ang="0">
                <a:pos x="55" y="19"/>
              </a:cxn>
              <a:cxn ang="0">
                <a:pos x="67" y="19"/>
              </a:cxn>
              <a:cxn ang="0">
                <a:pos x="80" y="19"/>
              </a:cxn>
              <a:cxn ang="0">
                <a:pos x="83" y="17"/>
              </a:cxn>
              <a:cxn ang="0">
                <a:pos x="83" y="13"/>
              </a:cxn>
              <a:cxn ang="0">
                <a:pos x="83" y="0"/>
              </a:cxn>
              <a:cxn ang="0">
                <a:pos x="41" y="0"/>
              </a:cxn>
            </a:cxnLst>
            <a:rect l="0" t="0" r="r" b="b"/>
            <a:pathLst>
              <a:path w="83" h="76">
                <a:moveTo>
                  <a:pt x="41" y="0"/>
                </a:moveTo>
                <a:cubicBezTo>
                  <a:pt x="41" y="1"/>
                  <a:pt x="41" y="2"/>
                  <a:pt x="40" y="2"/>
                </a:cubicBezTo>
                <a:cubicBezTo>
                  <a:pt x="40" y="3"/>
                  <a:pt x="40" y="3"/>
                  <a:pt x="40" y="4"/>
                </a:cubicBezTo>
                <a:cubicBezTo>
                  <a:pt x="39" y="4"/>
                  <a:pt x="39" y="5"/>
                  <a:pt x="39" y="5"/>
                </a:cubicBezTo>
                <a:cubicBezTo>
                  <a:pt x="38" y="6"/>
                  <a:pt x="38" y="6"/>
                  <a:pt x="38" y="7"/>
                </a:cubicBezTo>
                <a:cubicBezTo>
                  <a:pt x="37" y="9"/>
                  <a:pt x="37" y="11"/>
                  <a:pt x="34" y="12"/>
                </a:cubicBezTo>
                <a:cubicBezTo>
                  <a:pt x="34" y="13"/>
                  <a:pt x="33" y="13"/>
                  <a:pt x="33" y="13"/>
                </a:cubicBezTo>
                <a:cubicBezTo>
                  <a:pt x="32" y="14"/>
                  <a:pt x="32" y="14"/>
                  <a:pt x="31" y="14"/>
                </a:cubicBezTo>
                <a:cubicBezTo>
                  <a:pt x="30" y="14"/>
                  <a:pt x="30" y="15"/>
                  <a:pt x="29" y="16"/>
                </a:cubicBezTo>
                <a:cubicBezTo>
                  <a:pt x="28" y="16"/>
                  <a:pt x="28" y="17"/>
                  <a:pt x="28" y="18"/>
                </a:cubicBezTo>
                <a:cubicBezTo>
                  <a:pt x="28" y="19"/>
                  <a:pt x="27" y="20"/>
                  <a:pt x="26" y="21"/>
                </a:cubicBezTo>
                <a:cubicBezTo>
                  <a:pt x="26" y="22"/>
                  <a:pt x="25" y="23"/>
                  <a:pt x="25" y="25"/>
                </a:cubicBezTo>
                <a:cubicBezTo>
                  <a:pt x="24" y="26"/>
                  <a:pt x="24" y="27"/>
                  <a:pt x="24" y="28"/>
                </a:cubicBezTo>
                <a:cubicBezTo>
                  <a:pt x="24" y="30"/>
                  <a:pt x="24" y="31"/>
                  <a:pt x="23" y="33"/>
                </a:cubicBezTo>
                <a:cubicBezTo>
                  <a:pt x="23" y="33"/>
                  <a:pt x="22" y="33"/>
                  <a:pt x="22" y="34"/>
                </a:cubicBezTo>
                <a:cubicBezTo>
                  <a:pt x="22" y="34"/>
                  <a:pt x="22" y="34"/>
                  <a:pt x="22" y="35"/>
                </a:cubicBezTo>
                <a:cubicBezTo>
                  <a:pt x="21" y="35"/>
                  <a:pt x="21" y="35"/>
                  <a:pt x="20" y="35"/>
                </a:cubicBezTo>
                <a:cubicBezTo>
                  <a:pt x="20" y="36"/>
                  <a:pt x="19" y="36"/>
                  <a:pt x="19" y="37"/>
                </a:cubicBezTo>
                <a:cubicBezTo>
                  <a:pt x="18" y="38"/>
                  <a:pt x="17" y="39"/>
                  <a:pt x="16" y="40"/>
                </a:cubicBezTo>
                <a:cubicBezTo>
                  <a:pt x="16" y="41"/>
                  <a:pt x="14" y="41"/>
                  <a:pt x="14" y="42"/>
                </a:cubicBezTo>
                <a:cubicBezTo>
                  <a:pt x="13" y="42"/>
                  <a:pt x="12" y="44"/>
                  <a:pt x="12" y="44"/>
                </a:cubicBezTo>
                <a:cubicBezTo>
                  <a:pt x="13" y="44"/>
                  <a:pt x="13" y="43"/>
                  <a:pt x="13" y="43"/>
                </a:cubicBezTo>
                <a:cubicBezTo>
                  <a:pt x="13" y="42"/>
                  <a:pt x="14" y="42"/>
                  <a:pt x="14" y="42"/>
                </a:cubicBezTo>
                <a:cubicBezTo>
                  <a:pt x="15" y="43"/>
                  <a:pt x="13" y="44"/>
                  <a:pt x="12" y="46"/>
                </a:cubicBezTo>
                <a:cubicBezTo>
                  <a:pt x="12" y="47"/>
                  <a:pt x="11" y="48"/>
                  <a:pt x="11" y="49"/>
                </a:cubicBezTo>
                <a:cubicBezTo>
                  <a:pt x="11" y="49"/>
                  <a:pt x="10" y="50"/>
                  <a:pt x="10" y="51"/>
                </a:cubicBezTo>
                <a:cubicBezTo>
                  <a:pt x="11" y="50"/>
                  <a:pt x="10" y="52"/>
                  <a:pt x="10" y="52"/>
                </a:cubicBezTo>
                <a:cubicBezTo>
                  <a:pt x="10" y="53"/>
                  <a:pt x="9" y="53"/>
                  <a:pt x="9" y="53"/>
                </a:cubicBezTo>
                <a:cubicBezTo>
                  <a:pt x="9" y="54"/>
                  <a:pt x="9" y="54"/>
                  <a:pt x="9" y="55"/>
                </a:cubicBezTo>
                <a:cubicBezTo>
                  <a:pt x="8" y="56"/>
                  <a:pt x="8" y="57"/>
                  <a:pt x="7" y="58"/>
                </a:cubicBezTo>
                <a:cubicBezTo>
                  <a:pt x="7" y="59"/>
                  <a:pt x="7" y="59"/>
                  <a:pt x="6" y="59"/>
                </a:cubicBezTo>
                <a:cubicBezTo>
                  <a:pt x="6" y="59"/>
                  <a:pt x="5" y="59"/>
                  <a:pt x="5" y="59"/>
                </a:cubicBezTo>
                <a:cubicBezTo>
                  <a:pt x="4" y="60"/>
                  <a:pt x="4" y="61"/>
                  <a:pt x="4" y="61"/>
                </a:cubicBezTo>
                <a:cubicBezTo>
                  <a:pt x="3" y="62"/>
                  <a:pt x="3" y="63"/>
                  <a:pt x="3" y="63"/>
                </a:cubicBezTo>
                <a:cubicBezTo>
                  <a:pt x="2" y="64"/>
                  <a:pt x="2" y="65"/>
                  <a:pt x="2" y="65"/>
                </a:cubicBezTo>
                <a:cubicBezTo>
                  <a:pt x="2" y="66"/>
                  <a:pt x="2" y="66"/>
                  <a:pt x="2" y="67"/>
                </a:cubicBezTo>
                <a:cubicBezTo>
                  <a:pt x="2" y="69"/>
                  <a:pt x="1" y="70"/>
                  <a:pt x="1" y="72"/>
                </a:cubicBezTo>
                <a:cubicBezTo>
                  <a:pt x="1" y="73"/>
                  <a:pt x="1" y="74"/>
                  <a:pt x="1" y="74"/>
                </a:cubicBezTo>
                <a:cubicBezTo>
                  <a:pt x="0" y="75"/>
                  <a:pt x="1" y="75"/>
                  <a:pt x="1" y="76"/>
                </a:cubicBezTo>
                <a:cubicBezTo>
                  <a:pt x="1" y="74"/>
                  <a:pt x="1" y="73"/>
                  <a:pt x="2" y="72"/>
                </a:cubicBezTo>
                <a:cubicBezTo>
                  <a:pt x="2" y="70"/>
                  <a:pt x="2" y="70"/>
                  <a:pt x="4" y="70"/>
                </a:cubicBezTo>
                <a:cubicBezTo>
                  <a:pt x="8" y="70"/>
                  <a:pt x="12" y="70"/>
                  <a:pt x="16" y="70"/>
                </a:cubicBezTo>
                <a:cubicBezTo>
                  <a:pt x="24" y="70"/>
                  <a:pt x="32" y="70"/>
                  <a:pt x="40" y="70"/>
                </a:cubicBezTo>
                <a:cubicBezTo>
                  <a:pt x="40" y="66"/>
                  <a:pt x="40" y="61"/>
                  <a:pt x="39" y="57"/>
                </a:cubicBezTo>
                <a:cubicBezTo>
                  <a:pt x="39" y="55"/>
                  <a:pt x="39" y="54"/>
                  <a:pt x="40" y="52"/>
                </a:cubicBezTo>
                <a:cubicBezTo>
                  <a:pt x="41" y="51"/>
                  <a:pt x="42" y="50"/>
                  <a:pt x="43" y="49"/>
                </a:cubicBezTo>
                <a:cubicBezTo>
                  <a:pt x="45" y="48"/>
                  <a:pt x="46" y="48"/>
                  <a:pt x="48" y="47"/>
                </a:cubicBezTo>
                <a:cubicBezTo>
                  <a:pt x="49" y="47"/>
                  <a:pt x="50" y="47"/>
                  <a:pt x="50" y="46"/>
                </a:cubicBezTo>
                <a:cubicBezTo>
                  <a:pt x="50" y="45"/>
                  <a:pt x="50" y="43"/>
                  <a:pt x="50" y="41"/>
                </a:cubicBezTo>
                <a:cubicBezTo>
                  <a:pt x="50" y="40"/>
                  <a:pt x="50" y="38"/>
                  <a:pt x="50" y="36"/>
                </a:cubicBezTo>
                <a:cubicBezTo>
                  <a:pt x="51" y="31"/>
                  <a:pt x="51" y="27"/>
                  <a:pt x="51" y="23"/>
                </a:cubicBezTo>
                <a:cubicBezTo>
                  <a:pt x="51" y="22"/>
                  <a:pt x="51" y="20"/>
                  <a:pt x="51" y="19"/>
                </a:cubicBezTo>
                <a:cubicBezTo>
                  <a:pt x="51" y="18"/>
                  <a:pt x="54" y="19"/>
                  <a:pt x="55" y="19"/>
                </a:cubicBezTo>
                <a:cubicBezTo>
                  <a:pt x="59" y="19"/>
                  <a:pt x="63" y="19"/>
                  <a:pt x="67" y="19"/>
                </a:cubicBezTo>
                <a:cubicBezTo>
                  <a:pt x="71" y="19"/>
                  <a:pt x="76" y="18"/>
                  <a:pt x="80" y="19"/>
                </a:cubicBezTo>
                <a:cubicBezTo>
                  <a:pt x="81" y="19"/>
                  <a:pt x="83" y="19"/>
                  <a:pt x="83" y="17"/>
                </a:cubicBezTo>
                <a:cubicBezTo>
                  <a:pt x="83" y="16"/>
                  <a:pt x="83" y="14"/>
                  <a:pt x="83" y="13"/>
                </a:cubicBezTo>
                <a:cubicBezTo>
                  <a:pt x="83" y="8"/>
                  <a:pt x="83" y="4"/>
                  <a:pt x="83" y="0"/>
                </a:cubicBezTo>
                <a:cubicBezTo>
                  <a:pt x="69" y="0"/>
                  <a:pt x="55" y="0"/>
                  <a:pt x="41"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 name="Wake Islands (U.S.)"/>
          <p:cNvSpPr>
            <a:spLocks/>
          </p:cNvSpPr>
          <p:nvPr/>
        </p:nvSpPr>
        <p:spPr bwMode="auto">
          <a:xfrm>
            <a:off x="11545866" y="3896966"/>
            <a:ext cx="1001" cy="4000"/>
          </a:xfrm>
          <a:custGeom>
            <a:avLst/>
            <a:gdLst/>
            <a:ahLst/>
            <a:cxnLst>
              <a:cxn ang="0">
                <a:pos x="0" y="0"/>
              </a:cxn>
              <a:cxn ang="0">
                <a:pos x="0" y="0"/>
              </a:cxn>
              <a:cxn ang="0">
                <a:pos x="0" y="0"/>
              </a:cxn>
              <a:cxn ang="0">
                <a:pos x="0" y="0"/>
              </a:cxn>
            </a:cxnLst>
            <a:rect l="0" t="0" r="r" b="b"/>
            <a:pathLst>
              <a:path h="1">
                <a:moveTo>
                  <a:pt x="0" y="0"/>
                </a:moveTo>
                <a:cubicBezTo>
                  <a:pt x="0" y="0"/>
                  <a:pt x="0" y="0"/>
                  <a:pt x="0" y="0"/>
                </a:cubicBezTo>
                <a:cubicBezTo>
                  <a:pt x="0" y="0"/>
                  <a:pt x="0" y="0"/>
                  <a:pt x="0" y="0"/>
                </a:cubicBezTo>
                <a:cubicBezTo>
                  <a:pt x="0" y="1"/>
                  <a:pt x="0" y="0"/>
                  <a:pt x="0"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 name="Vietnam"/>
          <p:cNvSpPr>
            <a:spLocks noEditPoints="1"/>
          </p:cNvSpPr>
          <p:nvPr/>
        </p:nvSpPr>
        <p:spPr bwMode="auto">
          <a:xfrm>
            <a:off x="9302951" y="3733971"/>
            <a:ext cx="303989" cy="589978"/>
          </a:xfrm>
          <a:custGeom>
            <a:avLst/>
            <a:gdLst/>
            <a:ahLst/>
            <a:cxnLst>
              <a:cxn ang="0">
                <a:pos x="56" y="26"/>
              </a:cxn>
              <a:cxn ang="0">
                <a:pos x="45" y="140"/>
              </a:cxn>
              <a:cxn ang="0">
                <a:pos x="42" y="141"/>
              </a:cxn>
              <a:cxn ang="0">
                <a:pos x="41" y="145"/>
              </a:cxn>
              <a:cxn ang="0">
                <a:pos x="43" y="161"/>
              </a:cxn>
              <a:cxn ang="0">
                <a:pos x="54" y="155"/>
              </a:cxn>
              <a:cxn ang="0">
                <a:pos x="56" y="23"/>
              </a:cxn>
              <a:cxn ang="0">
                <a:pos x="47" y="142"/>
              </a:cxn>
              <a:cxn ang="0">
                <a:pos x="84" y="118"/>
              </a:cxn>
              <a:cxn ang="0">
                <a:pos x="81" y="121"/>
              </a:cxn>
              <a:cxn ang="0">
                <a:pos x="82" y="125"/>
              </a:cxn>
              <a:cxn ang="0">
                <a:pos x="78" y="134"/>
              </a:cxn>
              <a:cxn ang="0">
                <a:pos x="66" y="142"/>
              </a:cxn>
              <a:cxn ang="0">
                <a:pos x="62" y="142"/>
              </a:cxn>
              <a:cxn ang="0">
                <a:pos x="58" y="144"/>
              </a:cxn>
              <a:cxn ang="0">
                <a:pos x="58" y="147"/>
              </a:cxn>
              <a:cxn ang="0">
                <a:pos x="49" y="143"/>
              </a:cxn>
              <a:cxn ang="0">
                <a:pos x="53" y="138"/>
              </a:cxn>
              <a:cxn ang="0">
                <a:pos x="55" y="129"/>
              </a:cxn>
              <a:cxn ang="0">
                <a:pos x="64" y="122"/>
              </a:cxn>
              <a:cxn ang="0">
                <a:pos x="63" y="103"/>
              </a:cxn>
              <a:cxn ang="0">
                <a:pos x="64" y="90"/>
              </a:cxn>
              <a:cxn ang="0">
                <a:pos x="60" y="82"/>
              </a:cxn>
              <a:cxn ang="0">
                <a:pos x="52" y="75"/>
              </a:cxn>
              <a:cxn ang="0">
                <a:pos x="40" y="60"/>
              </a:cxn>
              <a:cxn ang="0">
                <a:pos x="32" y="51"/>
              </a:cxn>
              <a:cxn ang="0">
                <a:pos x="23" y="41"/>
              </a:cxn>
              <a:cxn ang="0">
                <a:pos x="30" y="35"/>
              </a:cxn>
              <a:cxn ang="0">
                <a:pos x="23" y="27"/>
              </a:cxn>
              <a:cxn ang="0">
                <a:pos x="14" y="28"/>
              </a:cxn>
              <a:cxn ang="0">
                <a:pos x="9" y="22"/>
              </a:cxn>
              <a:cxn ang="0">
                <a:pos x="3" y="14"/>
              </a:cxn>
              <a:cxn ang="0">
                <a:pos x="6" y="8"/>
              </a:cxn>
              <a:cxn ang="0">
                <a:pos x="14" y="7"/>
              </a:cxn>
              <a:cxn ang="0">
                <a:pos x="25" y="5"/>
              </a:cxn>
              <a:cxn ang="0">
                <a:pos x="33" y="4"/>
              </a:cxn>
              <a:cxn ang="0">
                <a:pos x="44" y="8"/>
              </a:cxn>
              <a:cxn ang="0">
                <a:pos x="47" y="16"/>
              </a:cxn>
              <a:cxn ang="0">
                <a:pos x="57" y="20"/>
              </a:cxn>
              <a:cxn ang="0">
                <a:pos x="55" y="21"/>
              </a:cxn>
              <a:cxn ang="0">
                <a:pos x="52" y="24"/>
              </a:cxn>
              <a:cxn ang="0">
                <a:pos x="49" y="26"/>
              </a:cxn>
              <a:cxn ang="0">
                <a:pos x="46" y="26"/>
              </a:cxn>
              <a:cxn ang="0">
                <a:pos x="45" y="30"/>
              </a:cxn>
              <a:cxn ang="0">
                <a:pos x="44" y="35"/>
              </a:cxn>
              <a:cxn ang="0">
                <a:pos x="40" y="41"/>
              </a:cxn>
              <a:cxn ang="0">
                <a:pos x="39" y="49"/>
              </a:cxn>
              <a:cxn ang="0">
                <a:pos x="48" y="59"/>
              </a:cxn>
              <a:cxn ang="0">
                <a:pos x="50" y="64"/>
              </a:cxn>
              <a:cxn ang="0">
                <a:pos x="61" y="75"/>
              </a:cxn>
              <a:cxn ang="0">
                <a:pos x="66" y="79"/>
              </a:cxn>
              <a:cxn ang="0">
                <a:pos x="70" y="84"/>
              </a:cxn>
              <a:cxn ang="0">
                <a:pos x="76" y="91"/>
              </a:cxn>
              <a:cxn ang="0">
                <a:pos x="80" y="101"/>
              </a:cxn>
              <a:cxn ang="0">
                <a:pos x="82" y="109"/>
              </a:cxn>
              <a:cxn ang="0">
                <a:pos x="83" y="117"/>
              </a:cxn>
              <a:cxn ang="0">
                <a:pos x="34" y="145"/>
              </a:cxn>
              <a:cxn ang="0">
                <a:pos x="81" y="141"/>
              </a:cxn>
              <a:cxn ang="0">
                <a:pos x="54" y="27"/>
              </a:cxn>
              <a:cxn ang="0">
                <a:pos x="57" y="146"/>
              </a:cxn>
              <a:cxn ang="0">
                <a:pos x="61" y="142"/>
              </a:cxn>
              <a:cxn ang="0">
                <a:pos x="49" y="29"/>
              </a:cxn>
              <a:cxn ang="0">
                <a:pos x="54" y="26"/>
              </a:cxn>
            </a:cxnLst>
            <a:rect l="0" t="0" r="r" b="b"/>
            <a:pathLst>
              <a:path w="84" h="163">
                <a:moveTo>
                  <a:pt x="54" y="24"/>
                </a:moveTo>
                <a:cubicBezTo>
                  <a:pt x="54" y="25"/>
                  <a:pt x="52" y="27"/>
                  <a:pt x="52" y="25"/>
                </a:cubicBezTo>
                <a:cubicBezTo>
                  <a:pt x="52" y="25"/>
                  <a:pt x="52" y="24"/>
                  <a:pt x="53" y="24"/>
                </a:cubicBezTo>
                <a:cubicBezTo>
                  <a:pt x="53" y="24"/>
                  <a:pt x="52" y="23"/>
                  <a:pt x="53" y="24"/>
                </a:cubicBezTo>
                <a:cubicBezTo>
                  <a:pt x="54" y="24"/>
                  <a:pt x="53" y="24"/>
                  <a:pt x="54" y="24"/>
                </a:cubicBezTo>
                <a:close/>
                <a:moveTo>
                  <a:pt x="57" y="26"/>
                </a:moveTo>
                <a:cubicBezTo>
                  <a:pt x="57" y="26"/>
                  <a:pt x="56" y="26"/>
                  <a:pt x="56" y="27"/>
                </a:cubicBezTo>
                <a:cubicBezTo>
                  <a:pt x="57" y="27"/>
                  <a:pt x="57" y="26"/>
                  <a:pt x="57" y="26"/>
                </a:cubicBezTo>
                <a:close/>
                <a:moveTo>
                  <a:pt x="56" y="27"/>
                </a:moveTo>
                <a:cubicBezTo>
                  <a:pt x="56" y="26"/>
                  <a:pt x="56" y="26"/>
                  <a:pt x="56" y="26"/>
                </a:cubicBezTo>
                <a:cubicBezTo>
                  <a:pt x="56" y="27"/>
                  <a:pt x="56" y="27"/>
                  <a:pt x="56" y="27"/>
                </a:cubicBezTo>
                <a:cubicBezTo>
                  <a:pt x="56" y="27"/>
                  <a:pt x="56" y="27"/>
                  <a:pt x="56" y="27"/>
                </a:cubicBezTo>
                <a:close/>
                <a:moveTo>
                  <a:pt x="54" y="151"/>
                </a:moveTo>
                <a:cubicBezTo>
                  <a:pt x="54" y="150"/>
                  <a:pt x="53" y="149"/>
                  <a:pt x="53" y="149"/>
                </a:cubicBezTo>
                <a:cubicBezTo>
                  <a:pt x="51" y="147"/>
                  <a:pt x="50" y="146"/>
                  <a:pt x="48" y="144"/>
                </a:cubicBezTo>
                <a:cubicBezTo>
                  <a:pt x="48" y="144"/>
                  <a:pt x="47" y="143"/>
                  <a:pt x="46" y="142"/>
                </a:cubicBezTo>
                <a:cubicBezTo>
                  <a:pt x="46" y="141"/>
                  <a:pt x="45" y="141"/>
                  <a:pt x="45" y="141"/>
                </a:cubicBezTo>
                <a:cubicBezTo>
                  <a:pt x="45" y="140"/>
                  <a:pt x="44" y="140"/>
                  <a:pt x="44" y="139"/>
                </a:cubicBezTo>
                <a:cubicBezTo>
                  <a:pt x="44" y="139"/>
                  <a:pt x="44" y="139"/>
                  <a:pt x="44" y="139"/>
                </a:cubicBezTo>
                <a:cubicBezTo>
                  <a:pt x="44" y="139"/>
                  <a:pt x="45" y="140"/>
                  <a:pt x="45" y="140"/>
                </a:cubicBezTo>
                <a:cubicBezTo>
                  <a:pt x="45" y="140"/>
                  <a:pt x="46" y="141"/>
                  <a:pt x="46" y="141"/>
                </a:cubicBezTo>
                <a:cubicBezTo>
                  <a:pt x="47" y="141"/>
                  <a:pt x="46" y="139"/>
                  <a:pt x="46" y="139"/>
                </a:cubicBezTo>
                <a:cubicBezTo>
                  <a:pt x="45" y="139"/>
                  <a:pt x="45" y="139"/>
                  <a:pt x="45" y="138"/>
                </a:cubicBezTo>
                <a:cubicBezTo>
                  <a:pt x="44" y="137"/>
                  <a:pt x="44" y="137"/>
                  <a:pt x="44" y="137"/>
                </a:cubicBezTo>
                <a:cubicBezTo>
                  <a:pt x="44" y="137"/>
                  <a:pt x="44" y="137"/>
                  <a:pt x="44" y="137"/>
                </a:cubicBezTo>
                <a:cubicBezTo>
                  <a:pt x="44" y="137"/>
                  <a:pt x="44" y="137"/>
                  <a:pt x="44" y="137"/>
                </a:cubicBezTo>
                <a:cubicBezTo>
                  <a:pt x="44" y="137"/>
                  <a:pt x="44" y="137"/>
                  <a:pt x="44" y="137"/>
                </a:cubicBezTo>
                <a:cubicBezTo>
                  <a:pt x="42" y="138"/>
                  <a:pt x="44" y="139"/>
                  <a:pt x="44" y="140"/>
                </a:cubicBezTo>
                <a:cubicBezTo>
                  <a:pt x="43" y="140"/>
                  <a:pt x="43" y="140"/>
                  <a:pt x="43" y="140"/>
                </a:cubicBezTo>
                <a:cubicBezTo>
                  <a:pt x="42" y="141"/>
                  <a:pt x="42" y="141"/>
                  <a:pt x="42" y="141"/>
                </a:cubicBezTo>
                <a:cubicBezTo>
                  <a:pt x="41" y="142"/>
                  <a:pt x="41" y="142"/>
                  <a:pt x="40" y="142"/>
                </a:cubicBezTo>
                <a:cubicBezTo>
                  <a:pt x="40" y="141"/>
                  <a:pt x="40" y="141"/>
                  <a:pt x="39" y="142"/>
                </a:cubicBezTo>
                <a:cubicBezTo>
                  <a:pt x="39" y="142"/>
                  <a:pt x="39" y="142"/>
                  <a:pt x="39" y="142"/>
                </a:cubicBezTo>
                <a:cubicBezTo>
                  <a:pt x="38" y="143"/>
                  <a:pt x="38" y="143"/>
                  <a:pt x="38" y="143"/>
                </a:cubicBezTo>
                <a:cubicBezTo>
                  <a:pt x="38" y="144"/>
                  <a:pt x="38" y="143"/>
                  <a:pt x="38" y="143"/>
                </a:cubicBezTo>
                <a:cubicBezTo>
                  <a:pt x="39" y="143"/>
                  <a:pt x="38" y="143"/>
                  <a:pt x="38" y="143"/>
                </a:cubicBezTo>
                <a:cubicBezTo>
                  <a:pt x="39" y="144"/>
                  <a:pt x="39" y="144"/>
                  <a:pt x="39" y="144"/>
                </a:cubicBezTo>
                <a:cubicBezTo>
                  <a:pt x="39" y="144"/>
                  <a:pt x="39" y="144"/>
                  <a:pt x="39" y="144"/>
                </a:cubicBezTo>
                <a:cubicBezTo>
                  <a:pt x="39" y="145"/>
                  <a:pt x="39" y="145"/>
                  <a:pt x="39" y="145"/>
                </a:cubicBezTo>
                <a:cubicBezTo>
                  <a:pt x="40" y="146"/>
                  <a:pt x="40" y="145"/>
                  <a:pt x="41" y="145"/>
                </a:cubicBezTo>
                <a:cubicBezTo>
                  <a:pt x="41" y="145"/>
                  <a:pt x="42" y="145"/>
                  <a:pt x="42" y="146"/>
                </a:cubicBezTo>
                <a:cubicBezTo>
                  <a:pt x="42" y="146"/>
                  <a:pt x="42" y="146"/>
                  <a:pt x="43" y="146"/>
                </a:cubicBezTo>
                <a:cubicBezTo>
                  <a:pt x="44" y="146"/>
                  <a:pt x="45" y="148"/>
                  <a:pt x="45" y="149"/>
                </a:cubicBezTo>
                <a:cubicBezTo>
                  <a:pt x="44" y="149"/>
                  <a:pt x="44" y="148"/>
                  <a:pt x="44" y="148"/>
                </a:cubicBezTo>
                <a:cubicBezTo>
                  <a:pt x="43" y="149"/>
                  <a:pt x="43" y="149"/>
                  <a:pt x="43" y="150"/>
                </a:cubicBezTo>
                <a:cubicBezTo>
                  <a:pt x="42" y="151"/>
                  <a:pt x="42" y="153"/>
                  <a:pt x="42" y="155"/>
                </a:cubicBezTo>
                <a:cubicBezTo>
                  <a:pt x="42" y="156"/>
                  <a:pt x="42" y="158"/>
                  <a:pt x="42" y="159"/>
                </a:cubicBezTo>
                <a:cubicBezTo>
                  <a:pt x="42" y="160"/>
                  <a:pt x="42" y="160"/>
                  <a:pt x="42" y="161"/>
                </a:cubicBezTo>
                <a:cubicBezTo>
                  <a:pt x="43" y="161"/>
                  <a:pt x="43" y="161"/>
                  <a:pt x="44" y="160"/>
                </a:cubicBezTo>
                <a:cubicBezTo>
                  <a:pt x="44" y="161"/>
                  <a:pt x="44" y="161"/>
                  <a:pt x="43" y="161"/>
                </a:cubicBezTo>
                <a:cubicBezTo>
                  <a:pt x="43" y="161"/>
                  <a:pt x="43" y="161"/>
                  <a:pt x="43" y="162"/>
                </a:cubicBezTo>
                <a:cubicBezTo>
                  <a:pt x="43" y="162"/>
                  <a:pt x="44" y="162"/>
                  <a:pt x="44" y="162"/>
                </a:cubicBezTo>
                <a:cubicBezTo>
                  <a:pt x="44" y="162"/>
                  <a:pt x="43" y="162"/>
                  <a:pt x="43" y="162"/>
                </a:cubicBezTo>
                <a:cubicBezTo>
                  <a:pt x="43" y="162"/>
                  <a:pt x="42" y="163"/>
                  <a:pt x="42" y="163"/>
                </a:cubicBezTo>
                <a:cubicBezTo>
                  <a:pt x="43" y="163"/>
                  <a:pt x="44" y="163"/>
                  <a:pt x="45" y="163"/>
                </a:cubicBezTo>
                <a:cubicBezTo>
                  <a:pt x="46" y="163"/>
                  <a:pt x="46" y="162"/>
                  <a:pt x="46" y="161"/>
                </a:cubicBezTo>
                <a:cubicBezTo>
                  <a:pt x="47" y="161"/>
                  <a:pt x="48" y="161"/>
                  <a:pt x="48" y="160"/>
                </a:cubicBezTo>
                <a:cubicBezTo>
                  <a:pt x="48" y="159"/>
                  <a:pt x="48" y="158"/>
                  <a:pt x="49" y="158"/>
                </a:cubicBezTo>
                <a:cubicBezTo>
                  <a:pt x="49" y="157"/>
                  <a:pt x="50" y="157"/>
                  <a:pt x="50" y="156"/>
                </a:cubicBezTo>
                <a:cubicBezTo>
                  <a:pt x="52" y="156"/>
                  <a:pt x="53" y="155"/>
                  <a:pt x="54" y="155"/>
                </a:cubicBezTo>
                <a:cubicBezTo>
                  <a:pt x="54" y="155"/>
                  <a:pt x="55" y="155"/>
                  <a:pt x="55" y="154"/>
                </a:cubicBezTo>
                <a:cubicBezTo>
                  <a:pt x="56" y="154"/>
                  <a:pt x="55" y="154"/>
                  <a:pt x="55" y="154"/>
                </a:cubicBezTo>
                <a:cubicBezTo>
                  <a:pt x="55" y="154"/>
                  <a:pt x="56" y="153"/>
                  <a:pt x="56" y="153"/>
                </a:cubicBezTo>
                <a:cubicBezTo>
                  <a:pt x="56" y="152"/>
                  <a:pt x="55" y="152"/>
                  <a:pt x="54" y="151"/>
                </a:cubicBezTo>
                <a:close/>
                <a:moveTo>
                  <a:pt x="56" y="22"/>
                </a:moveTo>
                <a:cubicBezTo>
                  <a:pt x="56" y="22"/>
                  <a:pt x="56" y="22"/>
                  <a:pt x="57" y="22"/>
                </a:cubicBezTo>
                <a:cubicBezTo>
                  <a:pt x="57" y="22"/>
                  <a:pt x="56" y="22"/>
                  <a:pt x="56" y="23"/>
                </a:cubicBezTo>
                <a:cubicBezTo>
                  <a:pt x="56" y="23"/>
                  <a:pt x="58" y="22"/>
                  <a:pt x="58" y="22"/>
                </a:cubicBezTo>
                <a:cubicBezTo>
                  <a:pt x="57" y="22"/>
                  <a:pt x="56" y="22"/>
                  <a:pt x="56" y="22"/>
                </a:cubicBezTo>
                <a:close/>
                <a:moveTo>
                  <a:pt x="56" y="23"/>
                </a:moveTo>
                <a:cubicBezTo>
                  <a:pt x="56" y="23"/>
                  <a:pt x="55" y="23"/>
                  <a:pt x="55" y="23"/>
                </a:cubicBezTo>
                <a:cubicBezTo>
                  <a:pt x="55" y="23"/>
                  <a:pt x="56" y="23"/>
                  <a:pt x="56" y="23"/>
                </a:cubicBezTo>
                <a:close/>
                <a:moveTo>
                  <a:pt x="58" y="149"/>
                </a:moveTo>
                <a:cubicBezTo>
                  <a:pt x="57" y="148"/>
                  <a:pt x="56" y="147"/>
                  <a:pt x="56" y="147"/>
                </a:cubicBezTo>
                <a:cubicBezTo>
                  <a:pt x="55" y="146"/>
                  <a:pt x="55" y="145"/>
                  <a:pt x="54" y="145"/>
                </a:cubicBezTo>
                <a:cubicBezTo>
                  <a:pt x="53" y="145"/>
                  <a:pt x="52" y="145"/>
                  <a:pt x="51" y="144"/>
                </a:cubicBezTo>
                <a:cubicBezTo>
                  <a:pt x="51" y="144"/>
                  <a:pt x="50" y="143"/>
                  <a:pt x="49" y="143"/>
                </a:cubicBezTo>
                <a:cubicBezTo>
                  <a:pt x="49" y="143"/>
                  <a:pt x="48" y="142"/>
                  <a:pt x="48" y="142"/>
                </a:cubicBezTo>
                <a:cubicBezTo>
                  <a:pt x="48" y="142"/>
                  <a:pt x="47" y="141"/>
                  <a:pt x="46" y="141"/>
                </a:cubicBezTo>
                <a:cubicBezTo>
                  <a:pt x="46" y="142"/>
                  <a:pt x="47" y="142"/>
                  <a:pt x="47" y="142"/>
                </a:cubicBezTo>
                <a:cubicBezTo>
                  <a:pt x="48" y="143"/>
                  <a:pt x="48" y="143"/>
                  <a:pt x="48" y="144"/>
                </a:cubicBezTo>
                <a:cubicBezTo>
                  <a:pt x="48" y="144"/>
                  <a:pt x="49" y="145"/>
                  <a:pt x="50" y="146"/>
                </a:cubicBezTo>
                <a:cubicBezTo>
                  <a:pt x="50" y="146"/>
                  <a:pt x="51" y="147"/>
                  <a:pt x="52" y="147"/>
                </a:cubicBezTo>
                <a:cubicBezTo>
                  <a:pt x="52" y="148"/>
                  <a:pt x="53" y="148"/>
                  <a:pt x="53" y="149"/>
                </a:cubicBezTo>
                <a:cubicBezTo>
                  <a:pt x="54" y="150"/>
                  <a:pt x="54" y="150"/>
                  <a:pt x="55" y="151"/>
                </a:cubicBezTo>
                <a:cubicBezTo>
                  <a:pt x="55" y="151"/>
                  <a:pt x="56" y="152"/>
                  <a:pt x="57" y="152"/>
                </a:cubicBezTo>
                <a:cubicBezTo>
                  <a:pt x="57" y="152"/>
                  <a:pt x="58" y="153"/>
                  <a:pt x="59" y="152"/>
                </a:cubicBezTo>
                <a:cubicBezTo>
                  <a:pt x="59" y="151"/>
                  <a:pt x="59" y="150"/>
                  <a:pt x="59" y="150"/>
                </a:cubicBezTo>
                <a:cubicBezTo>
                  <a:pt x="58" y="150"/>
                  <a:pt x="58" y="149"/>
                  <a:pt x="58" y="149"/>
                </a:cubicBezTo>
                <a:close/>
                <a:moveTo>
                  <a:pt x="84" y="118"/>
                </a:moveTo>
                <a:cubicBezTo>
                  <a:pt x="84" y="118"/>
                  <a:pt x="84" y="119"/>
                  <a:pt x="84" y="119"/>
                </a:cubicBezTo>
                <a:cubicBezTo>
                  <a:pt x="84" y="119"/>
                  <a:pt x="84" y="118"/>
                  <a:pt x="84" y="118"/>
                </a:cubicBezTo>
                <a:cubicBezTo>
                  <a:pt x="83" y="118"/>
                  <a:pt x="83" y="118"/>
                  <a:pt x="83" y="118"/>
                </a:cubicBezTo>
                <a:cubicBezTo>
                  <a:pt x="83" y="118"/>
                  <a:pt x="83" y="117"/>
                  <a:pt x="83" y="117"/>
                </a:cubicBezTo>
                <a:cubicBezTo>
                  <a:pt x="83" y="117"/>
                  <a:pt x="81" y="118"/>
                  <a:pt x="82" y="119"/>
                </a:cubicBezTo>
                <a:cubicBezTo>
                  <a:pt x="82" y="119"/>
                  <a:pt x="82" y="119"/>
                  <a:pt x="82" y="119"/>
                </a:cubicBezTo>
                <a:cubicBezTo>
                  <a:pt x="82" y="119"/>
                  <a:pt x="83" y="121"/>
                  <a:pt x="83" y="121"/>
                </a:cubicBezTo>
                <a:cubicBezTo>
                  <a:pt x="83" y="122"/>
                  <a:pt x="82" y="120"/>
                  <a:pt x="82" y="120"/>
                </a:cubicBezTo>
                <a:cubicBezTo>
                  <a:pt x="81" y="120"/>
                  <a:pt x="81" y="121"/>
                  <a:pt x="82" y="121"/>
                </a:cubicBezTo>
                <a:cubicBezTo>
                  <a:pt x="81" y="121"/>
                  <a:pt x="81" y="121"/>
                  <a:pt x="81" y="121"/>
                </a:cubicBezTo>
                <a:cubicBezTo>
                  <a:pt x="81" y="121"/>
                  <a:pt x="83" y="123"/>
                  <a:pt x="82" y="122"/>
                </a:cubicBezTo>
                <a:cubicBezTo>
                  <a:pt x="82" y="123"/>
                  <a:pt x="82" y="123"/>
                  <a:pt x="82" y="123"/>
                </a:cubicBezTo>
                <a:cubicBezTo>
                  <a:pt x="82" y="123"/>
                  <a:pt x="82" y="123"/>
                  <a:pt x="82" y="123"/>
                </a:cubicBezTo>
                <a:cubicBezTo>
                  <a:pt x="82" y="123"/>
                  <a:pt x="82" y="124"/>
                  <a:pt x="82" y="125"/>
                </a:cubicBezTo>
                <a:cubicBezTo>
                  <a:pt x="82" y="125"/>
                  <a:pt x="83" y="125"/>
                  <a:pt x="83" y="126"/>
                </a:cubicBezTo>
                <a:cubicBezTo>
                  <a:pt x="83" y="126"/>
                  <a:pt x="83" y="126"/>
                  <a:pt x="83" y="126"/>
                </a:cubicBezTo>
                <a:cubicBezTo>
                  <a:pt x="83" y="127"/>
                  <a:pt x="83" y="127"/>
                  <a:pt x="83" y="127"/>
                </a:cubicBezTo>
                <a:cubicBezTo>
                  <a:pt x="83" y="127"/>
                  <a:pt x="83" y="126"/>
                  <a:pt x="82" y="126"/>
                </a:cubicBezTo>
                <a:cubicBezTo>
                  <a:pt x="82" y="126"/>
                  <a:pt x="82" y="124"/>
                  <a:pt x="82" y="124"/>
                </a:cubicBezTo>
                <a:cubicBezTo>
                  <a:pt x="82" y="124"/>
                  <a:pt x="82" y="125"/>
                  <a:pt x="82" y="125"/>
                </a:cubicBezTo>
                <a:cubicBezTo>
                  <a:pt x="82" y="126"/>
                  <a:pt x="82" y="126"/>
                  <a:pt x="82" y="127"/>
                </a:cubicBezTo>
                <a:cubicBezTo>
                  <a:pt x="82" y="128"/>
                  <a:pt x="82" y="127"/>
                  <a:pt x="82" y="127"/>
                </a:cubicBezTo>
                <a:cubicBezTo>
                  <a:pt x="82" y="127"/>
                  <a:pt x="83" y="128"/>
                  <a:pt x="83" y="128"/>
                </a:cubicBezTo>
                <a:cubicBezTo>
                  <a:pt x="83" y="128"/>
                  <a:pt x="83" y="128"/>
                  <a:pt x="83" y="129"/>
                </a:cubicBezTo>
                <a:cubicBezTo>
                  <a:pt x="82" y="129"/>
                  <a:pt x="82" y="130"/>
                  <a:pt x="82" y="130"/>
                </a:cubicBezTo>
                <a:cubicBezTo>
                  <a:pt x="82" y="130"/>
                  <a:pt x="81" y="129"/>
                  <a:pt x="81" y="129"/>
                </a:cubicBezTo>
                <a:cubicBezTo>
                  <a:pt x="81" y="130"/>
                  <a:pt x="82" y="130"/>
                  <a:pt x="81" y="130"/>
                </a:cubicBezTo>
                <a:cubicBezTo>
                  <a:pt x="81" y="131"/>
                  <a:pt x="81" y="132"/>
                  <a:pt x="81" y="132"/>
                </a:cubicBezTo>
                <a:cubicBezTo>
                  <a:pt x="81" y="134"/>
                  <a:pt x="79" y="132"/>
                  <a:pt x="79" y="134"/>
                </a:cubicBezTo>
                <a:cubicBezTo>
                  <a:pt x="79" y="134"/>
                  <a:pt x="79" y="134"/>
                  <a:pt x="78" y="134"/>
                </a:cubicBezTo>
                <a:cubicBezTo>
                  <a:pt x="77" y="134"/>
                  <a:pt x="77" y="135"/>
                  <a:pt x="76" y="135"/>
                </a:cubicBezTo>
                <a:cubicBezTo>
                  <a:pt x="76" y="136"/>
                  <a:pt x="76" y="136"/>
                  <a:pt x="76" y="136"/>
                </a:cubicBezTo>
                <a:cubicBezTo>
                  <a:pt x="76" y="136"/>
                  <a:pt x="76" y="136"/>
                  <a:pt x="76" y="136"/>
                </a:cubicBezTo>
                <a:cubicBezTo>
                  <a:pt x="75" y="136"/>
                  <a:pt x="75" y="137"/>
                  <a:pt x="75" y="137"/>
                </a:cubicBezTo>
                <a:cubicBezTo>
                  <a:pt x="74" y="137"/>
                  <a:pt x="74" y="137"/>
                  <a:pt x="73" y="137"/>
                </a:cubicBezTo>
                <a:cubicBezTo>
                  <a:pt x="72" y="137"/>
                  <a:pt x="72" y="138"/>
                  <a:pt x="72" y="139"/>
                </a:cubicBezTo>
                <a:cubicBezTo>
                  <a:pt x="72" y="139"/>
                  <a:pt x="72" y="140"/>
                  <a:pt x="71" y="139"/>
                </a:cubicBezTo>
                <a:cubicBezTo>
                  <a:pt x="70" y="139"/>
                  <a:pt x="70" y="140"/>
                  <a:pt x="69" y="141"/>
                </a:cubicBezTo>
                <a:cubicBezTo>
                  <a:pt x="68" y="141"/>
                  <a:pt x="68" y="142"/>
                  <a:pt x="67" y="142"/>
                </a:cubicBezTo>
                <a:cubicBezTo>
                  <a:pt x="67" y="142"/>
                  <a:pt x="66" y="142"/>
                  <a:pt x="66" y="142"/>
                </a:cubicBezTo>
                <a:cubicBezTo>
                  <a:pt x="66" y="143"/>
                  <a:pt x="66" y="143"/>
                  <a:pt x="65" y="143"/>
                </a:cubicBezTo>
                <a:cubicBezTo>
                  <a:pt x="65" y="143"/>
                  <a:pt x="64" y="143"/>
                  <a:pt x="64" y="143"/>
                </a:cubicBezTo>
                <a:cubicBezTo>
                  <a:pt x="64" y="143"/>
                  <a:pt x="64" y="144"/>
                  <a:pt x="63" y="144"/>
                </a:cubicBezTo>
                <a:cubicBezTo>
                  <a:pt x="63" y="143"/>
                  <a:pt x="64" y="143"/>
                  <a:pt x="64" y="143"/>
                </a:cubicBezTo>
                <a:cubicBezTo>
                  <a:pt x="63" y="143"/>
                  <a:pt x="63" y="142"/>
                  <a:pt x="63" y="142"/>
                </a:cubicBezTo>
                <a:cubicBezTo>
                  <a:pt x="63" y="142"/>
                  <a:pt x="63" y="140"/>
                  <a:pt x="62" y="140"/>
                </a:cubicBezTo>
                <a:cubicBezTo>
                  <a:pt x="63" y="140"/>
                  <a:pt x="63" y="141"/>
                  <a:pt x="63" y="142"/>
                </a:cubicBezTo>
                <a:cubicBezTo>
                  <a:pt x="63" y="142"/>
                  <a:pt x="62" y="141"/>
                  <a:pt x="62" y="141"/>
                </a:cubicBezTo>
                <a:cubicBezTo>
                  <a:pt x="62" y="141"/>
                  <a:pt x="63" y="142"/>
                  <a:pt x="63" y="142"/>
                </a:cubicBezTo>
                <a:cubicBezTo>
                  <a:pt x="63" y="142"/>
                  <a:pt x="62" y="142"/>
                  <a:pt x="62" y="142"/>
                </a:cubicBezTo>
                <a:cubicBezTo>
                  <a:pt x="62" y="142"/>
                  <a:pt x="62" y="141"/>
                  <a:pt x="61" y="140"/>
                </a:cubicBezTo>
                <a:cubicBezTo>
                  <a:pt x="61" y="140"/>
                  <a:pt x="59" y="139"/>
                  <a:pt x="60" y="141"/>
                </a:cubicBezTo>
                <a:cubicBezTo>
                  <a:pt x="60" y="141"/>
                  <a:pt x="60" y="142"/>
                  <a:pt x="60" y="142"/>
                </a:cubicBezTo>
                <a:cubicBezTo>
                  <a:pt x="59" y="143"/>
                  <a:pt x="59" y="142"/>
                  <a:pt x="59" y="142"/>
                </a:cubicBezTo>
                <a:cubicBezTo>
                  <a:pt x="59" y="143"/>
                  <a:pt x="58" y="142"/>
                  <a:pt x="58" y="142"/>
                </a:cubicBezTo>
                <a:cubicBezTo>
                  <a:pt x="58" y="142"/>
                  <a:pt x="59" y="143"/>
                  <a:pt x="59" y="142"/>
                </a:cubicBezTo>
                <a:cubicBezTo>
                  <a:pt x="59" y="143"/>
                  <a:pt x="60" y="143"/>
                  <a:pt x="60" y="143"/>
                </a:cubicBezTo>
                <a:cubicBezTo>
                  <a:pt x="60" y="142"/>
                  <a:pt x="60" y="143"/>
                  <a:pt x="60" y="143"/>
                </a:cubicBezTo>
                <a:cubicBezTo>
                  <a:pt x="61" y="144"/>
                  <a:pt x="61" y="145"/>
                  <a:pt x="60" y="144"/>
                </a:cubicBezTo>
                <a:cubicBezTo>
                  <a:pt x="59" y="144"/>
                  <a:pt x="59" y="144"/>
                  <a:pt x="58" y="144"/>
                </a:cubicBezTo>
                <a:cubicBezTo>
                  <a:pt x="58" y="144"/>
                  <a:pt x="57" y="144"/>
                  <a:pt x="57" y="144"/>
                </a:cubicBezTo>
                <a:cubicBezTo>
                  <a:pt x="56" y="144"/>
                  <a:pt x="55" y="144"/>
                  <a:pt x="55" y="144"/>
                </a:cubicBezTo>
                <a:cubicBezTo>
                  <a:pt x="54" y="144"/>
                  <a:pt x="54" y="144"/>
                  <a:pt x="53" y="144"/>
                </a:cubicBezTo>
                <a:cubicBezTo>
                  <a:pt x="53" y="144"/>
                  <a:pt x="53" y="144"/>
                  <a:pt x="53" y="144"/>
                </a:cubicBezTo>
                <a:cubicBezTo>
                  <a:pt x="53" y="144"/>
                  <a:pt x="53" y="144"/>
                  <a:pt x="53" y="144"/>
                </a:cubicBezTo>
                <a:cubicBezTo>
                  <a:pt x="54" y="145"/>
                  <a:pt x="54" y="144"/>
                  <a:pt x="54" y="144"/>
                </a:cubicBezTo>
                <a:cubicBezTo>
                  <a:pt x="55" y="145"/>
                  <a:pt x="55" y="145"/>
                  <a:pt x="55" y="145"/>
                </a:cubicBezTo>
                <a:cubicBezTo>
                  <a:pt x="55" y="145"/>
                  <a:pt x="55" y="145"/>
                  <a:pt x="56" y="145"/>
                </a:cubicBezTo>
                <a:cubicBezTo>
                  <a:pt x="56" y="145"/>
                  <a:pt x="56" y="145"/>
                  <a:pt x="57" y="146"/>
                </a:cubicBezTo>
                <a:cubicBezTo>
                  <a:pt x="57" y="146"/>
                  <a:pt x="57" y="147"/>
                  <a:pt x="58" y="147"/>
                </a:cubicBezTo>
                <a:cubicBezTo>
                  <a:pt x="58" y="147"/>
                  <a:pt x="59" y="148"/>
                  <a:pt x="59" y="148"/>
                </a:cubicBezTo>
                <a:cubicBezTo>
                  <a:pt x="60" y="148"/>
                  <a:pt x="60" y="149"/>
                  <a:pt x="60" y="149"/>
                </a:cubicBezTo>
                <a:cubicBezTo>
                  <a:pt x="60" y="149"/>
                  <a:pt x="60" y="149"/>
                  <a:pt x="60" y="149"/>
                </a:cubicBezTo>
                <a:cubicBezTo>
                  <a:pt x="59" y="150"/>
                  <a:pt x="58" y="148"/>
                  <a:pt x="57" y="148"/>
                </a:cubicBezTo>
                <a:cubicBezTo>
                  <a:pt x="56" y="147"/>
                  <a:pt x="55" y="145"/>
                  <a:pt x="53" y="145"/>
                </a:cubicBezTo>
                <a:cubicBezTo>
                  <a:pt x="53" y="145"/>
                  <a:pt x="53" y="144"/>
                  <a:pt x="53" y="144"/>
                </a:cubicBezTo>
                <a:cubicBezTo>
                  <a:pt x="53" y="144"/>
                  <a:pt x="52" y="144"/>
                  <a:pt x="52" y="144"/>
                </a:cubicBezTo>
                <a:cubicBezTo>
                  <a:pt x="52" y="144"/>
                  <a:pt x="52" y="144"/>
                  <a:pt x="52" y="144"/>
                </a:cubicBezTo>
                <a:cubicBezTo>
                  <a:pt x="52" y="144"/>
                  <a:pt x="51" y="144"/>
                  <a:pt x="51" y="144"/>
                </a:cubicBezTo>
                <a:cubicBezTo>
                  <a:pt x="50" y="143"/>
                  <a:pt x="50" y="143"/>
                  <a:pt x="49" y="143"/>
                </a:cubicBezTo>
                <a:cubicBezTo>
                  <a:pt x="49" y="142"/>
                  <a:pt x="49" y="142"/>
                  <a:pt x="48" y="142"/>
                </a:cubicBezTo>
                <a:cubicBezTo>
                  <a:pt x="47" y="141"/>
                  <a:pt x="47" y="140"/>
                  <a:pt x="46" y="139"/>
                </a:cubicBezTo>
                <a:cubicBezTo>
                  <a:pt x="46" y="138"/>
                  <a:pt x="45" y="139"/>
                  <a:pt x="45" y="137"/>
                </a:cubicBezTo>
                <a:cubicBezTo>
                  <a:pt x="45" y="137"/>
                  <a:pt x="46" y="138"/>
                  <a:pt x="46" y="138"/>
                </a:cubicBezTo>
                <a:cubicBezTo>
                  <a:pt x="46" y="138"/>
                  <a:pt x="47" y="137"/>
                  <a:pt x="47" y="137"/>
                </a:cubicBezTo>
                <a:cubicBezTo>
                  <a:pt x="47" y="137"/>
                  <a:pt x="47" y="137"/>
                  <a:pt x="48" y="137"/>
                </a:cubicBezTo>
                <a:cubicBezTo>
                  <a:pt x="49" y="137"/>
                  <a:pt x="50" y="136"/>
                  <a:pt x="50" y="136"/>
                </a:cubicBezTo>
                <a:cubicBezTo>
                  <a:pt x="51" y="136"/>
                  <a:pt x="51" y="138"/>
                  <a:pt x="51" y="138"/>
                </a:cubicBezTo>
                <a:cubicBezTo>
                  <a:pt x="52" y="138"/>
                  <a:pt x="52" y="138"/>
                  <a:pt x="52" y="138"/>
                </a:cubicBezTo>
                <a:cubicBezTo>
                  <a:pt x="53" y="138"/>
                  <a:pt x="53" y="138"/>
                  <a:pt x="53" y="138"/>
                </a:cubicBezTo>
                <a:cubicBezTo>
                  <a:pt x="53" y="139"/>
                  <a:pt x="54" y="139"/>
                  <a:pt x="54" y="139"/>
                </a:cubicBezTo>
                <a:cubicBezTo>
                  <a:pt x="54" y="138"/>
                  <a:pt x="53" y="137"/>
                  <a:pt x="54" y="137"/>
                </a:cubicBezTo>
                <a:cubicBezTo>
                  <a:pt x="55" y="137"/>
                  <a:pt x="54" y="135"/>
                  <a:pt x="53" y="136"/>
                </a:cubicBezTo>
                <a:cubicBezTo>
                  <a:pt x="53" y="136"/>
                  <a:pt x="52" y="134"/>
                  <a:pt x="52" y="134"/>
                </a:cubicBezTo>
                <a:cubicBezTo>
                  <a:pt x="51" y="134"/>
                  <a:pt x="51" y="133"/>
                  <a:pt x="51" y="132"/>
                </a:cubicBezTo>
                <a:cubicBezTo>
                  <a:pt x="51" y="132"/>
                  <a:pt x="51" y="131"/>
                  <a:pt x="51" y="131"/>
                </a:cubicBezTo>
                <a:cubicBezTo>
                  <a:pt x="51" y="130"/>
                  <a:pt x="50" y="130"/>
                  <a:pt x="50" y="130"/>
                </a:cubicBezTo>
                <a:cubicBezTo>
                  <a:pt x="50" y="129"/>
                  <a:pt x="51" y="130"/>
                  <a:pt x="52" y="129"/>
                </a:cubicBezTo>
                <a:cubicBezTo>
                  <a:pt x="52" y="128"/>
                  <a:pt x="53" y="128"/>
                  <a:pt x="54" y="128"/>
                </a:cubicBezTo>
                <a:cubicBezTo>
                  <a:pt x="54" y="128"/>
                  <a:pt x="54" y="129"/>
                  <a:pt x="55" y="129"/>
                </a:cubicBezTo>
                <a:cubicBezTo>
                  <a:pt x="56" y="129"/>
                  <a:pt x="56" y="129"/>
                  <a:pt x="56" y="129"/>
                </a:cubicBezTo>
                <a:cubicBezTo>
                  <a:pt x="56" y="129"/>
                  <a:pt x="56" y="128"/>
                  <a:pt x="56" y="128"/>
                </a:cubicBezTo>
                <a:cubicBezTo>
                  <a:pt x="56" y="127"/>
                  <a:pt x="56" y="127"/>
                  <a:pt x="56" y="126"/>
                </a:cubicBezTo>
                <a:cubicBezTo>
                  <a:pt x="56" y="126"/>
                  <a:pt x="56" y="125"/>
                  <a:pt x="56" y="126"/>
                </a:cubicBezTo>
                <a:cubicBezTo>
                  <a:pt x="56" y="126"/>
                  <a:pt x="57" y="126"/>
                  <a:pt x="58" y="126"/>
                </a:cubicBezTo>
                <a:cubicBezTo>
                  <a:pt x="58" y="126"/>
                  <a:pt x="58" y="126"/>
                  <a:pt x="58" y="126"/>
                </a:cubicBezTo>
                <a:cubicBezTo>
                  <a:pt x="59" y="125"/>
                  <a:pt x="59" y="125"/>
                  <a:pt x="59" y="125"/>
                </a:cubicBezTo>
                <a:cubicBezTo>
                  <a:pt x="60" y="124"/>
                  <a:pt x="61" y="125"/>
                  <a:pt x="61" y="124"/>
                </a:cubicBezTo>
                <a:cubicBezTo>
                  <a:pt x="62" y="124"/>
                  <a:pt x="62" y="123"/>
                  <a:pt x="62" y="122"/>
                </a:cubicBezTo>
                <a:cubicBezTo>
                  <a:pt x="62" y="122"/>
                  <a:pt x="63" y="122"/>
                  <a:pt x="64" y="122"/>
                </a:cubicBezTo>
                <a:cubicBezTo>
                  <a:pt x="64" y="122"/>
                  <a:pt x="64" y="122"/>
                  <a:pt x="65" y="122"/>
                </a:cubicBezTo>
                <a:cubicBezTo>
                  <a:pt x="65" y="123"/>
                  <a:pt x="66" y="121"/>
                  <a:pt x="66" y="121"/>
                </a:cubicBezTo>
                <a:cubicBezTo>
                  <a:pt x="66" y="119"/>
                  <a:pt x="66" y="118"/>
                  <a:pt x="66" y="116"/>
                </a:cubicBezTo>
                <a:cubicBezTo>
                  <a:pt x="65" y="115"/>
                  <a:pt x="64" y="114"/>
                  <a:pt x="65" y="113"/>
                </a:cubicBezTo>
                <a:cubicBezTo>
                  <a:pt x="65" y="113"/>
                  <a:pt x="65" y="112"/>
                  <a:pt x="65" y="112"/>
                </a:cubicBezTo>
                <a:cubicBezTo>
                  <a:pt x="66" y="111"/>
                  <a:pt x="66" y="110"/>
                  <a:pt x="66" y="109"/>
                </a:cubicBezTo>
                <a:cubicBezTo>
                  <a:pt x="65" y="108"/>
                  <a:pt x="65" y="107"/>
                  <a:pt x="64" y="107"/>
                </a:cubicBezTo>
                <a:cubicBezTo>
                  <a:pt x="64" y="106"/>
                  <a:pt x="64" y="106"/>
                  <a:pt x="64" y="105"/>
                </a:cubicBezTo>
                <a:cubicBezTo>
                  <a:pt x="64" y="105"/>
                  <a:pt x="64" y="104"/>
                  <a:pt x="63" y="104"/>
                </a:cubicBezTo>
                <a:cubicBezTo>
                  <a:pt x="63" y="103"/>
                  <a:pt x="63" y="104"/>
                  <a:pt x="63" y="103"/>
                </a:cubicBezTo>
                <a:cubicBezTo>
                  <a:pt x="62" y="102"/>
                  <a:pt x="62" y="102"/>
                  <a:pt x="62" y="101"/>
                </a:cubicBezTo>
                <a:cubicBezTo>
                  <a:pt x="62" y="100"/>
                  <a:pt x="62" y="100"/>
                  <a:pt x="62" y="99"/>
                </a:cubicBezTo>
                <a:cubicBezTo>
                  <a:pt x="62" y="99"/>
                  <a:pt x="62" y="98"/>
                  <a:pt x="63" y="99"/>
                </a:cubicBezTo>
                <a:cubicBezTo>
                  <a:pt x="63" y="99"/>
                  <a:pt x="63" y="97"/>
                  <a:pt x="63" y="97"/>
                </a:cubicBezTo>
                <a:cubicBezTo>
                  <a:pt x="63" y="97"/>
                  <a:pt x="64" y="96"/>
                  <a:pt x="63" y="96"/>
                </a:cubicBezTo>
                <a:cubicBezTo>
                  <a:pt x="63" y="95"/>
                  <a:pt x="63" y="95"/>
                  <a:pt x="63" y="94"/>
                </a:cubicBezTo>
                <a:cubicBezTo>
                  <a:pt x="64" y="93"/>
                  <a:pt x="62" y="93"/>
                  <a:pt x="62" y="92"/>
                </a:cubicBezTo>
                <a:cubicBezTo>
                  <a:pt x="62" y="92"/>
                  <a:pt x="63" y="92"/>
                  <a:pt x="64" y="92"/>
                </a:cubicBezTo>
                <a:cubicBezTo>
                  <a:pt x="64" y="91"/>
                  <a:pt x="64" y="91"/>
                  <a:pt x="64" y="90"/>
                </a:cubicBezTo>
                <a:cubicBezTo>
                  <a:pt x="64" y="90"/>
                  <a:pt x="64" y="90"/>
                  <a:pt x="64" y="90"/>
                </a:cubicBezTo>
                <a:cubicBezTo>
                  <a:pt x="64" y="89"/>
                  <a:pt x="63" y="89"/>
                  <a:pt x="63" y="89"/>
                </a:cubicBezTo>
                <a:cubicBezTo>
                  <a:pt x="63" y="88"/>
                  <a:pt x="63" y="88"/>
                  <a:pt x="63" y="88"/>
                </a:cubicBezTo>
                <a:cubicBezTo>
                  <a:pt x="63" y="88"/>
                  <a:pt x="63" y="88"/>
                  <a:pt x="62" y="88"/>
                </a:cubicBezTo>
                <a:cubicBezTo>
                  <a:pt x="62" y="88"/>
                  <a:pt x="62" y="87"/>
                  <a:pt x="62" y="87"/>
                </a:cubicBezTo>
                <a:cubicBezTo>
                  <a:pt x="61" y="87"/>
                  <a:pt x="61" y="87"/>
                  <a:pt x="61" y="87"/>
                </a:cubicBezTo>
                <a:cubicBezTo>
                  <a:pt x="60" y="87"/>
                  <a:pt x="60" y="86"/>
                  <a:pt x="60" y="86"/>
                </a:cubicBezTo>
                <a:cubicBezTo>
                  <a:pt x="59" y="85"/>
                  <a:pt x="60" y="85"/>
                  <a:pt x="59" y="84"/>
                </a:cubicBezTo>
                <a:cubicBezTo>
                  <a:pt x="59" y="84"/>
                  <a:pt x="58" y="84"/>
                  <a:pt x="58" y="84"/>
                </a:cubicBezTo>
                <a:cubicBezTo>
                  <a:pt x="58" y="83"/>
                  <a:pt x="58" y="83"/>
                  <a:pt x="59" y="83"/>
                </a:cubicBezTo>
                <a:cubicBezTo>
                  <a:pt x="59" y="83"/>
                  <a:pt x="60" y="82"/>
                  <a:pt x="60" y="82"/>
                </a:cubicBezTo>
                <a:cubicBezTo>
                  <a:pt x="61" y="82"/>
                  <a:pt x="61" y="80"/>
                  <a:pt x="60" y="81"/>
                </a:cubicBezTo>
                <a:cubicBezTo>
                  <a:pt x="60" y="81"/>
                  <a:pt x="59" y="81"/>
                  <a:pt x="59" y="80"/>
                </a:cubicBezTo>
                <a:cubicBezTo>
                  <a:pt x="59" y="80"/>
                  <a:pt x="58" y="80"/>
                  <a:pt x="58" y="80"/>
                </a:cubicBezTo>
                <a:cubicBezTo>
                  <a:pt x="57" y="79"/>
                  <a:pt x="58" y="79"/>
                  <a:pt x="57" y="78"/>
                </a:cubicBezTo>
                <a:cubicBezTo>
                  <a:pt x="57" y="78"/>
                  <a:pt x="56" y="78"/>
                  <a:pt x="56" y="78"/>
                </a:cubicBezTo>
                <a:cubicBezTo>
                  <a:pt x="56" y="78"/>
                  <a:pt x="55" y="77"/>
                  <a:pt x="55" y="77"/>
                </a:cubicBezTo>
                <a:cubicBezTo>
                  <a:pt x="55" y="77"/>
                  <a:pt x="55" y="76"/>
                  <a:pt x="55" y="76"/>
                </a:cubicBezTo>
                <a:cubicBezTo>
                  <a:pt x="55" y="75"/>
                  <a:pt x="54" y="76"/>
                  <a:pt x="54" y="76"/>
                </a:cubicBezTo>
                <a:cubicBezTo>
                  <a:pt x="54" y="76"/>
                  <a:pt x="54" y="77"/>
                  <a:pt x="53" y="77"/>
                </a:cubicBezTo>
                <a:cubicBezTo>
                  <a:pt x="53" y="76"/>
                  <a:pt x="52" y="76"/>
                  <a:pt x="52" y="75"/>
                </a:cubicBezTo>
                <a:cubicBezTo>
                  <a:pt x="52" y="75"/>
                  <a:pt x="52" y="75"/>
                  <a:pt x="51" y="74"/>
                </a:cubicBezTo>
                <a:cubicBezTo>
                  <a:pt x="51" y="73"/>
                  <a:pt x="51" y="72"/>
                  <a:pt x="51" y="70"/>
                </a:cubicBezTo>
                <a:cubicBezTo>
                  <a:pt x="50" y="71"/>
                  <a:pt x="50" y="70"/>
                  <a:pt x="49" y="70"/>
                </a:cubicBezTo>
                <a:cubicBezTo>
                  <a:pt x="49" y="69"/>
                  <a:pt x="49" y="69"/>
                  <a:pt x="48" y="68"/>
                </a:cubicBezTo>
                <a:cubicBezTo>
                  <a:pt x="48" y="68"/>
                  <a:pt x="48" y="68"/>
                  <a:pt x="48" y="67"/>
                </a:cubicBezTo>
                <a:cubicBezTo>
                  <a:pt x="48" y="67"/>
                  <a:pt x="48" y="67"/>
                  <a:pt x="48" y="68"/>
                </a:cubicBezTo>
                <a:cubicBezTo>
                  <a:pt x="47" y="68"/>
                  <a:pt x="47" y="67"/>
                  <a:pt x="46" y="67"/>
                </a:cubicBezTo>
                <a:cubicBezTo>
                  <a:pt x="45" y="66"/>
                  <a:pt x="44" y="65"/>
                  <a:pt x="43" y="64"/>
                </a:cubicBezTo>
                <a:cubicBezTo>
                  <a:pt x="42" y="63"/>
                  <a:pt x="41" y="62"/>
                  <a:pt x="41" y="61"/>
                </a:cubicBezTo>
                <a:cubicBezTo>
                  <a:pt x="40" y="61"/>
                  <a:pt x="41" y="60"/>
                  <a:pt x="40" y="60"/>
                </a:cubicBezTo>
                <a:cubicBezTo>
                  <a:pt x="40" y="59"/>
                  <a:pt x="40" y="59"/>
                  <a:pt x="39" y="58"/>
                </a:cubicBezTo>
                <a:cubicBezTo>
                  <a:pt x="39" y="58"/>
                  <a:pt x="39" y="57"/>
                  <a:pt x="38" y="57"/>
                </a:cubicBezTo>
                <a:cubicBezTo>
                  <a:pt x="38" y="57"/>
                  <a:pt x="38" y="58"/>
                  <a:pt x="38" y="58"/>
                </a:cubicBezTo>
                <a:cubicBezTo>
                  <a:pt x="37" y="58"/>
                  <a:pt x="37" y="57"/>
                  <a:pt x="37" y="57"/>
                </a:cubicBezTo>
                <a:cubicBezTo>
                  <a:pt x="37" y="56"/>
                  <a:pt x="37" y="57"/>
                  <a:pt x="36" y="56"/>
                </a:cubicBezTo>
                <a:cubicBezTo>
                  <a:pt x="36" y="56"/>
                  <a:pt x="35" y="55"/>
                  <a:pt x="35" y="55"/>
                </a:cubicBezTo>
                <a:cubicBezTo>
                  <a:pt x="35" y="54"/>
                  <a:pt x="35" y="54"/>
                  <a:pt x="35" y="53"/>
                </a:cubicBezTo>
                <a:cubicBezTo>
                  <a:pt x="35" y="53"/>
                  <a:pt x="35" y="53"/>
                  <a:pt x="35" y="53"/>
                </a:cubicBezTo>
                <a:cubicBezTo>
                  <a:pt x="36" y="52"/>
                  <a:pt x="34" y="51"/>
                  <a:pt x="33" y="51"/>
                </a:cubicBezTo>
                <a:cubicBezTo>
                  <a:pt x="33" y="51"/>
                  <a:pt x="32" y="51"/>
                  <a:pt x="32" y="51"/>
                </a:cubicBezTo>
                <a:cubicBezTo>
                  <a:pt x="31" y="51"/>
                  <a:pt x="30" y="51"/>
                  <a:pt x="30" y="50"/>
                </a:cubicBezTo>
                <a:cubicBezTo>
                  <a:pt x="29" y="50"/>
                  <a:pt x="28" y="48"/>
                  <a:pt x="28" y="49"/>
                </a:cubicBezTo>
                <a:cubicBezTo>
                  <a:pt x="27" y="49"/>
                  <a:pt x="26" y="47"/>
                  <a:pt x="26" y="47"/>
                </a:cubicBezTo>
                <a:cubicBezTo>
                  <a:pt x="25" y="47"/>
                  <a:pt x="25" y="47"/>
                  <a:pt x="25" y="47"/>
                </a:cubicBezTo>
                <a:cubicBezTo>
                  <a:pt x="25" y="47"/>
                  <a:pt x="24" y="46"/>
                  <a:pt x="24" y="46"/>
                </a:cubicBezTo>
                <a:cubicBezTo>
                  <a:pt x="24" y="46"/>
                  <a:pt x="22" y="46"/>
                  <a:pt x="22" y="45"/>
                </a:cubicBezTo>
                <a:cubicBezTo>
                  <a:pt x="22" y="44"/>
                  <a:pt x="23" y="44"/>
                  <a:pt x="23" y="44"/>
                </a:cubicBezTo>
                <a:cubicBezTo>
                  <a:pt x="23" y="43"/>
                  <a:pt x="24" y="43"/>
                  <a:pt x="23" y="43"/>
                </a:cubicBezTo>
                <a:cubicBezTo>
                  <a:pt x="23" y="42"/>
                  <a:pt x="23" y="42"/>
                  <a:pt x="22" y="41"/>
                </a:cubicBezTo>
                <a:cubicBezTo>
                  <a:pt x="22" y="41"/>
                  <a:pt x="23" y="41"/>
                  <a:pt x="23" y="41"/>
                </a:cubicBezTo>
                <a:cubicBezTo>
                  <a:pt x="24" y="41"/>
                  <a:pt x="24" y="41"/>
                  <a:pt x="25" y="41"/>
                </a:cubicBezTo>
                <a:cubicBezTo>
                  <a:pt x="25" y="41"/>
                  <a:pt x="25" y="41"/>
                  <a:pt x="25" y="41"/>
                </a:cubicBezTo>
                <a:cubicBezTo>
                  <a:pt x="26" y="41"/>
                  <a:pt x="26" y="41"/>
                  <a:pt x="26" y="41"/>
                </a:cubicBezTo>
                <a:cubicBezTo>
                  <a:pt x="26" y="41"/>
                  <a:pt x="27" y="41"/>
                  <a:pt x="27" y="42"/>
                </a:cubicBezTo>
                <a:cubicBezTo>
                  <a:pt x="28" y="43"/>
                  <a:pt x="29" y="41"/>
                  <a:pt x="29" y="40"/>
                </a:cubicBezTo>
                <a:cubicBezTo>
                  <a:pt x="30" y="40"/>
                  <a:pt x="30" y="40"/>
                  <a:pt x="30" y="39"/>
                </a:cubicBezTo>
                <a:cubicBezTo>
                  <a:pt x="30" y="39"/>
                  <a:pt x="29" y="39"/>
                  <a:pt x="30" y="38"/>
                </a:cubicBezTo>
                <a:cubicBezTo>
                  <a:pt x="30" y="38"/>
                  <a:pt x="30" y="38"/>
                  <a:pt x="31" y="38"/>
                </a:cubicBezTo>
                <a:cubicBezTo>
                  <a:pt x="31" y="38"/>
                  <a:pt x="31" y="37"/>
                  <a:pt x="31" y="37"/>
                </a:cubicBezTo>
                <a:cubicBezTo>
                  <a:pt x="31" y="36"/>
                  <a:pt x="30" y="35"/>
                  <a:pt x="30" y="35"/>
                </a:cubicBezTo>
                <a:cubicBezTo>
                  <a:pt x="30" y="35"/>
                  <a:pt x="29" y="35"/>
                  <a:pt x="28" y="35"/>
                </a:cubicBezTo>
                <a:cubicBezTo>
                  <a:pt x="28" y="35"/>
                  <a:pt x="28" y="35"/>
                  <a:pt x="28" y="34"/>
                </a:cubicBezTo>
                <a:cubicBezTo>
                  <a:pt x="28" y="34"/>
                  <a:pt x="28" y="34"/>
                  <a:pt x="28" y="33"/>
                </a:cubicBezTo>
                <a:cubicBezTo>
                  <a:pt x="27" y="33"/>
                  <a:pt x="27" y="33"/>
                  <a:pt x="26" y="33"/>
                </a:cubicBezTo>
                <a:cubicBezTo>
                  <a:pt x="26" y="33"/>
                  <a:pt x="24" y="33"/>
                  <a:pt x="25" y="32"/>
                </a:cubicBezTo>
                <a:cubicBezTo>
                  <a:pt x="25" y="32"/>
                  <a:pt x="25" y="32"/>
                  <a:pt x="26" y="32"/>
                </a:cubicBezTo>
                <a:cubicBezTo>
                  <a:pt x="26" y="32"/>
                  <a:pt x="27" y="31"/>
                  <a:pt x="27" y="31"/>
                </a:cubicBezTo>
                <a:cubicBezTo>
                  <a:pt x="27" y="30"/>
                  <a:pt x="25" y="30"/>
                  <a:pt x="25" y="29"/>
                </a:cubicBezTo>
                <a:cubicBezTo>
                  <a:pt x="25" y="29"/>
                  <a:pt x="24" y="29"/>
                  <a:pt x="24" y="29"/>
                </a:cubicBezTo>
                <a:cubicBezTo>
                  <a:pt x="24" y="28"/>
                  <a:pt x="23" y="28"/>
                  <a:pt x="23" y="27"/>
                </a:cubicBezTo>
                <a:cubicBezTo>
                  <a:pt x="22" y="27"/>
                  <a:pt x="22" y="27"/>
                  <a:pt x="21" y="27"/>
                </a:cubicBezTo>
                <a:cubicBezTo>
                  <a:pt x="21" y="27"/>
                  <a:pt x="21" y="27"/>
                  <a:pt x="21" y="27"/>
                </a:cubicBezTo>
                <a:cubicBezTo>
                  <a:pt x="21" y="27"/>
                  <a:pt x="20" y="28"/>
                  <a:pt x="20" y="28"/>
                </a:cubicBezTo>
                <a:cubicBezTo>
                  <a:pt x="20" y="28"/>
                  <a:pt x="19" y="28"/>
                  <a:pt x="19" y="28"/>
                </a:cubicBezTo>
                <a:cubicBezTo>
                  <a:pt x="18" y="29"/>
                  <a:pt x="18" y="29"/>
                  <a:pt x="19" y="29"/>
                </a:cubicBezTo>
                <a:cubicBezTo>
                  <a:pt x="19" y="29"/>
                  <a:pt x="18" y="29"/>
                  <a:pt x="18" y="29"/>
                </a:cubicBezTo>
                <a:cubicBezTo>
                  <a:pt x="18" y="30"/>
                  <a:pt x="18" y="30"/>
                  <a:pt x="18" y="30"/>
                </a:cubicBezTo>
                <a:cubicBezTo>
                  <a:pt x="18" y="30"/>
                  <a:pt x="17" y="29"/>
                  <a:pt x="17" y="29"/>
                </a:cubicBezTo>
                <a:cubicBezTo>
                  <a:pt x="16" y="29"/>
                  <a:pt x="15" y="28"/>
                  <a:pt x="15" y="29"/>
                </a:cubicBezTo>
                <a:cubicBezTo>
                  <a:pt x="15" y="29"/>
                  <a:pt x="14" y="28"/>
                  <a:pt x="14" y="28"/>
                </a:cubicBezTo>
                <a:cubicBezTo>
                  <a:pt x="13" y="28"/>
                  <a:pt x="13" y="28"/>
                  <a:pt x="13" y="28"/>
                </a:cubicBezTo>
                <a:cubicBezTo>
                  <a:pt x="13" y="28"/>
                  <a:pt x="12" y="28"/>
                  <a:pt x="12" y="28"/>
                </a:cubicBezTo>
                <a:cubicBezTo>
                  <a:pt x="12" y="27"/>
                  <a:pt x="11" y="26"/>
                  <a:pt x="11" y="26"/>
                </a:cubicBezTo>
                <a:cubicBezTo>
                  <a:pt x="10" y="26"/>
                  <a:pt x="10" y="26"/>
                  <a:pt x="10" y="25"/>
                </a:cubicBezTo>
                <a:cubicBezTo>
                  <a:pt x="10" y="25"/>
                  <a:pt x="10" y="25"/>
                  <a:pt x="10" y="24"/>
                </a:cubicBezTo>
                <a:cubicBezTo>
                  <a:pt x="9" y="24"/>
                  <a:pt x="10" y="24"/>
                  <a:pt x="9" y="24"/>
                </a:cubicBezTo>
                <a:cubicBezTo>
                  <a:pt x="9" y="24"/>
                  <a:pt x="9" y="24"/>
                  <a:pt x="9" y="24"/>
                </a:cubicBezTo>
                <a:cubicBezTo>
                  <a:pt x="9" y="24"/>
                  <a:pt x="9" y="23"/>
                  <a:pt x="9" y="23"/>
                </a:cubicBezTo>
                <a:cubicBezTo>
                  <a:pt x="9" y="23"/>
                  <a:pt x="9" y="22"/>
                  <a:pt x="9" y="21"/>
                </a:cubicBezTo>
                <a:cubicBezTo>
                  <a:pt x="9" y="22"/>
                  <a:pt x="9" y="22"/>
                  <a:pt x="9" y="22"/>
                </a:cubicBezTo>
                <a:cubicBezTo>
                  <a:pt x="9" y="21"/>
                  <a:pt x="10" y="21"/>
                  <a:pt x="10" y="20"/>
                </a:cubicBezTo>
                <a:cubicBezTo>
                  <a:pt x="10" y="20"/>
                  <a:pt x="10" y="19"/>
                  <a:pt x="9" y="18"/>
                </a:cubicBezTo>
                <a:cubicBezTo>
                  <a:pt x="9" y="18"/>
                  <a:pt x="9" y="19"/>
                  <a:pt x="8" y="19"/>
                </a:cubicBezTo>
                <a:cubicBezTo>
                  <a:pt x="8" y="18"/>
                  <a:pt x="8" y="18"/>
                  <a:pt x="8" y="17"/>
                </a:cubicBezTo>
                <a:cubicBezTo>
                  <a:pt x="8" y="17"/>
                  <a:pt x="8" y="17"/>
                  <a:pt x="8" y="18"/>
                </a:cubicBezTo>
                <a:cubicBezTo>
                  <a:pt x="8" y="18"/>
                  <a:pt x="8" y="19"/>
                  <a:pt x="7" y="19"/>
                </a:cubicBezTo>
                <a:cubicBezTo>
                  <a:pt x="6" y="19"/>
                  <a:pt x="6" y="18"/>
                  <a:pt x="6" y="18"/>
                </a:cubicBezTo>
                <a:cubicBezTo>
                  <a:pt x="6" y="17"/>
                  <a:pt x="6" y="16"/>
                  <a:pt x="5" y="16"/>
                </a:cubicBezTo>
                <a:cubicBezTo>
                  <a:pt x="4" y="16"/>
                  <a:pt x="5" y="16"/>
                  <a:pt x="4" y="15"/>
                </a:cubicBezTo>
                <a:cubicBezTo>
                  <a:pt x="4" y="15"/>
                  <a:pt x="3" y="14"/>
                  <a:pt x="3" y="14"/>
                </a:cubicBezTo>
                <a:cubicBezTo>
                  <a:pt x="3" y="14"/>
                  <a:pt x="0" y="11"/>
                  <a:pt x="1" y="11"/>
                </a:cubicBezTo>
                <a:cubicBezTo>
                  <a:pt x="1" y="11"/>
                  <a:pt x="1" y="11"/>
                  <a:pt x="1" y="11"/>
                </a:cubicBezTo>
                <a:cubicBezTo>
                  <a:pt x="1" y="10"/>
                  <a:pt x="2" y="10"/>
                  <a:pt x="2" y="9"/>
                </a:cubicBezTo>
                <a:cubicBezTo>
                  <a:pt x="2" y="9"/>
                  <a:pt x="2" y="9"/>
                  <a:pt x="2" y="8"/>
                </a:cubicBezTo>
                <a:cubicBezTo>
                  <a:pt x="2" y="8"/>
                  <a:pt x="2" y="8"/>
                  <a:pt x="2" y="8"/>
                </a:cubicBezTo>
                <a:cubicBezTo>
                  <a:pt x="2" y="8"/>
                  <a:pt x="3" y="8"/>
                  <a:pt x="3" y="8"/>
                </a:cubicBezTo>
                <a:cubicBezTo>
                  <a:pt x="3" y="7"/>
                  <a:pt x="3" y="7"/>
                  <a:pt x="3" y="7"/>
                </a:cubicBezTo>
                <a:cubicBezTo>
                  <a:pt x="4" y="7"/>
                  <a:pt x="4" y="8"/>
                  <a:pt x="4" y="8"/>
                </a:cubicBezTo>
                <a:cubicBezTo>
                  <a:pt x="4" y="8"/>
                  <a:pt x="4" y="8"/>
                  <a:pt x="5" y="8"/>
                </a:cubicBezTo>
                <a:cubicBezTo>
                  <a:pt x="5" y="8"/>
                  <a:pt x="6" y="8"/>
                  <a:pt x="6" y="8"/>
                </a:cubicBezTo>
                <a:cubicBezTo>
                  <a:pt x="7" y="9"/>
                  <a:pt x="7" y="9"/>
                  <a:pt x="8" y="10"/>
                </a:cubicBezTo>
                <a:cubicBezTo>
                  <a:pt x="8" y="10"/>
                  <a:pt x="9" y="11"/>
                  <a:pt x="9" y="11"/>
                </a:cubicBezTo>
                <a:cubicBezTo>
                  <a:pt x="9" y="10"/>
                  <a:pt x="9" y="10"/>
                  <a:pt x="9" y="10"/>
                </a:cubicBezTo>
                <a:cubicBezTo>
                  <a:pt x="9" y="10"/>
                  <a:pt x="10" y="10"/>
                  <a:pt x="10" y="9"/>
                </a:cubicBezTo>
                <a:cubicBezTo>
                  <a:pt x="10" y="9"/>
                  <a:pt x="10" y="9"/>
                  <a:pt x="10" y="9"/>
                </a:cubicBezTo>
                <a:cubicBezTo>
                  <a:pt x="10" y="9"/>
                  <a:pt x="10" y="9"/>
                  <a:pt x="10" y="8"/>
                </a:cubicBezTo>
                <a:cubicBezTo>
                  <a:pt x="11" y="8"/>
                  <a:pt x="11" y="7"/>
                  <a:pt x="11" y="7"/>
                </a:cubicBezTo>
                <a:cubicBezTo>
                  <a:pt x="12" y="6"/>
                  <a:pt x="12" y="8"/>
                  <a:pt x="13" y="9"/>
                </a:cubicBezTo>
                <a:cubicBezTo>
                  <a:pt x="13" y="9"/>
                  <a:pt x="14" y="9"/>
                  <a:pt x="14" y="8"/>
                </a:cubicBezTo>
                <a:cubicBezTo>
                  <a:pt x="14" y="8"/>
                  <a:pt x="13" y="7"/>
                  <a:pt x="14" y="7"/>
                </a:cubicBezTo>
                <a:cubicBezTo>
                  <a:pt x="14" y="7"/>
                  <a:pt x="15" y="8"/>
                  <a:pt x="16" y="8"/>
                </a:cubicBezTo>
                <a:cubicBezTo>
                  <a:pt x="16" y="9"/>
                  <a:pt x="17" y="9"/>
                  <a:pt x="17" y="10"/>
                </a:cubicBezTo>
                <a:cubicBezTo>
                  <a:pt x="18" y="10"/>
                  <a:pt x="18" y="9"/>
                  <a:pt x="18" y="9"/>
                </a:cubicBezTo>
                <a:cubicBezTo>
                  <a:pt x="18" y="8"/>
                  <a:pt x="18" y="8"/>
                  <a:pt x="18" y="7"/>
                </a:cubicBezTo>
                <a:cubicBezTo>
                  <a:pt x="18" y="7"/>
                  <a:pt x="19" y="7"/>
                  <a:pt x="19" y="6"/>
                </a:cubicBezTo>
                <a:cubicBezTo>
                  <a:pt x="20" y="6"/>
                  <a:pt x="20" y="7"/>
                  <a:pt x="20" y="7"/>
                </a:cubicBezTo>
                <a:cubicBezTo>
                  <a:pt x="20" y="7"/>
                  <a:pt x="21" y="8"/>
                  <a:pt x="21" y="8"/>
                </a:cubicBezTo>
                <a:cubicBezTo>
                  <a:pt x="22" y="8"/>
                  <a:pt x="22" y="7"/>
                  <a:pt x="23" y="6"/>
                </a:cubicBezTo>
                <a:cubicBezTo>
                  <a:pt x="23" y="7"/>
                  <a:pt x="24" y="7"/>
                  <a:pt x="24" y="6"/>
                </a:cubicBezTo>
                <a:cubicBezTo>
                  <a:pt x="25" y="6"/>
                  <a:pt x="25" y="5"/>
                  <a:pt x="25" y="5"/>
                </a:cubicBezTo>
                <a:cubicBezTo>
                  <a:pt x="25" y="4"/>
                  <a:pt x="25" y="4"/>
                  <a:pt x="25" y="4"/>
                </a:cubicBezTo>
                <a:cubicBezTo>
                  <a:pt x="25" y="3"/>
                  <a:pt x="25" y="3"/>
                  <a:pt x="25" y="3"/>
                </a:cubicBezTo>
                <a:cubicBezTo>
                  <a:pt x="25" y="3"/>
                  <a:pt x="25" y="3"/>
                  <a:pt x="25" y="3"/>
                </a:cubicBezTo>
                <a:cubicBezTo>
                  <a:pt x="26" y="2"/>
                  <a:pt x="26" y="3"/>
                  <a:pt x="26" y="2"/>
                </a:cubicBezTo>
                <a:cubicBezTo>
                  <a:pt x="26" y="2"/>
                  <a:pt x="27" y="2"/>
                  <a:pt x="27" y="2"/>
                </a:cubicBezTo>
                <a:cubicBezTo>
                  <a:pt x="27" y="2"/>
                  <a:pt x="28" y="1"/>
                  <a:pt x="28" y="2"/>
                </a:cubicBezTo>
                <a:cubicBezTo>
                  <a:pt x="28" y="2"/>
                  <a:pt x="29" y="0"/>
                  <a:pt x="29" y="1"/>
                </a:cubicBezTo>
                <a:cubicBezTo>
                  <a:pt x="29" y="1"/>
                  <a:pt x="30" y="1"/>
                  <a:pt x="30" y="1"/>
                </a:cubicBezTo>
                <a:cubicBezTo>
                  <a:pt x="30" y="2"/>
                  <a:pt x="31" y="2"/>
                  <a:pt x="31" y="2"/>
                </a:cubicBezTo>
                <a:cubicBezTo>
                  <a:pt x="32" y="3"/>
                  <a:pt x="32" y="4"/>
                  <a:pt x="33" y="4"/>
                </a:cubicBezTo>
                <a:cubicBezTo>
                  <a:pt x="34" y="4"/>
                  <a:pt x="34" y="5"/>
                  <a:pt x="35" y="5"/>
                </a:cubicBezTo>
                <a:cubicBezTo>
                  <a:pt x="35" y="5"/>
                  <a:pt x="36" y="5"/>
                  <a:pt x="36" y="5"/>
                </a:cubicBezTo>
                <a:cubicBezTo>
                  <a:pt x="36" y="4"/>
                  <a:pt x="38" y="5"/>
                  <a:pt x="38" y="5"/>
                </a:cubicBezTo>
                <a:cubicBezTo>
                  <a:pt x="39" y="6"/>
                  <a:pt x="39" y="6"/>
                  <a:pt x="41" y="6"/>
                </a:cubicBezTo>
                <a:cubicBezTo>
                  <a:pt x="41" y="5"/>
                  <a:pt x="41" y="5"/>
                  <a:pt x="41" y="5"/>
                </a:cubicBezTo>
                <a:cubicBezTo>
                  <a:pt x="42" y="5"/>
                  <a:pt x="42" y="6"/>
                  <a:pt x="42" y="6"/>
                </a:cubicBezTo>
                <a:cubicBezTo>
                  <a:pt x="43" y="6"/>
                  <a:pt x="43" y="7"/>
                  <a:pt x="44" y="7"/>
                </a:cubicBezTo>
                <a:cubicBezTo>
                  <a:pt x="44" y="7"/>
                  <a:pt x="44" y="7"/>
                  <a:pt x="44" y="7"/>
                </a:cubicBezTo>
                <a:cubicBezTo>
                  <a:pt x="44" y="7"/>
                  <a:pt x="44" y="7"/>
                  <a:pt x="44" y="7"/>
                </a:cubicBezTo>
                <a:cubicBezTo>
                  <a:pt x="44" y="7"/>
                  <a:pt x="44" y="8"/>
                  <a:pt x="44" y="8"/>
                </a:cubicBezTo>
                <a:cubicBezTo>
                  <a:pt x="44" y="8"/>
                  <a:pt x="44" y="8"/>
                  <a:pt x="43" y="8"/>
                </a:cubicBezTo>
                <a:cubicBezTo>
                  <a:pt x="43" y="9"/>
                  <a:pt x="43" y="9"/>
                  <a:pt x="43" y="9"/>
                </a:cubicBezTo>
                <a:cubicBezTo>
                  <a:pt x="43" y="9"/>
                  <a:pt x="43" y="9"/>
                  <a:pt x="43" y="9"/>
                </a:cubicBezTo>
                <a:cubicBezTo>
                  <a:pt x="42" y="9"/>
                  <a:pt x="42" y="10"/>
                  <a:pt x="42" y="11"/>
                </a:cubicBezTo>
                <a:cubicBezTo>
                  <a:pt x="42" y="12"/>
                  <a:pt x="43" y="11"/>
                  <a:pt x="43" y="12"/>
                </a:cubicBezTo>
                <a:cubicBezTo>
                  <a:pt x="44" y="13"/>
                  <a:pt x="44" y="14"/>
                  <a:pt x="44" y="15"/>
                </a:cubicBezTo>
                <a:cubicBezTo>
                  <a:pt x="44" y="15"/>
                  <a:pt x="44" y="15"/>
                  <a:pt x="44" y="16"/>
                </a:cubicBezTo>
                <a:cubicBezTo>
                  <a:pt x="44" y="16"/>
                  <a:pt x="45" y="15"/>
                  <a:pt x="45" y="15"/>
                </a:cubicBezTo>
                <a:cubicBezTo>
                  <a:pt x="45" y="15"/>
                  <a:pt x="45" y="16"/>
                  <a:pt x="46" y="16"/>
                </a:cubicBezTo>
                <a:cubicBezTo>
                  <a:pt x="46" y="16"/>
                  <a:pt x="46" y="16"/>
                  <a:pt x="47" y="16"/>
                </a:cubicBezTo>
                <a:cubicBezTo>
                  <a:pt x="47" y="16"/>
                  <a:pt x="48" y="16"/>
                  <a:pt x="48" y="17"/>
                </a:cubicBezTo>
                <a:cubicBezTo>
                  <a:pt x="47" y="18"/>
                  <a:pt x="49" y="18"/>
                  <a:pt x="49" y="18"/>
                </a:cubicBezTo>
                <a:cubicBezTo>
                  <a:pt x="49" y="18"/>
                  <a:pt x="50" y="19"/>
                  <a:pt x="50" y="19"/>
                </a:cubicBezTo>
                <a:cubicBezTo>
                  <a:pt x="50" y="19"/>
                  <a:pt x="50" y="18"/>
                  <a:pt x="51" y="19"/>
                </a:cubicBezTo>
                <a:cubicBezTo>
                  <a:pt x="51" y="19"/>
                  <a:pt x="51" y="21"/>
                  <a:pt x="52" y="19"/>
                </a:cubicBezTo>
                <a:cubicBezTo>
                  <a:pt x="52" y="19"/>
                  <a:pt x="52" y="20"/>
                  <a:pt x="53" y="20"/>
                </a:cubicBezTo>
                <a:cubicBezTo>
                  <a:pt x="53" y="20"/>
                  <a:pt x="54" y="20"/>
                  <a:pt x="54" y="20"/>
                </a:cubicBezTo>
                <a:cubicBezTo>
                  <a:pt x="55" y="19"/>
                  <a:pt x="55" y="19"/>
                  <a:pt x="56" y="19"/>
                </a:cubicBezTo>
                <a:cubicBezTo>
                  <a:pt x="56" y="20"/>
                  <a:pt x="56" y="20"/>
                  <a:pt x="56" y="20"/>
                </a:cubicBezTo>
                <a:cubicBezTo>
                  <a:pt x="57" y="20"/>
                  <a:pt x="57" y="20"/>
                  <a:pt x="57" y="20"/>
                </a:cubicBezTo>
                <a:cubicBezTo>
                  <a:pt x="57" y="21"/>
                  <a:pt x="57" y="21"/>
                  <a:pt x="58" y="21"/>
                </a:cubicBezTo>
                <a:cubicBezTo>
                  <a:pt x="58" y="21"/>
                  <a:pt x="58" y="21"/>
                  <a:pt x="58" y="21"/>
                </a:cubicBezTo>
                <a:cubicBezTo>
                  <a:pt x="58" y="21"/>
                  <a:pt x="58" y="21"/>
                  <a:pt x="58" y="21"/>
                </a:cubicBezTo>
                <a:cubicBezTo>
                  <a:pt x="58" y="21"/>
                  <a:pt x="58" y="22"/>
                  <a:pt x="57" y="22"/>
                </a:cubicBezTo>
                <a:cubicBezTo>
                  <a:pt x="57" y="22"/>
                  <a:pt x="57" y="21"/>
                  <a:pt x="57" y="21"/>
                </a:cubicBezTo>
                <a:cubicBezTo>
                  <a:pt x="57" y="21"/>
                  <a:pt x="57" y="22"/>
                  <a:pt x="57" y="21"/>
                </a:cubicBezTo>
                <a:cubicBezTo>
                  <a:pt x="57" y="20"/>
                  <a:pt x="56" y="21"/>
                  <a:pt x="56" y="21"/>
                </a:cubicBezTo>
                <a:cubicBezTo>
                  <a:pt x="56" y="21"/>
                  <a:pt x="56" y="21"/>
                  <a:pt x="56" y="21"/>
                </a:cubicBezTo>
                <a:cubicBezTo>
                  <a:pt x="56" y="21"/>
                  <a:pt x="56" y="21"/>
                  <a:pt x="56" y="21"/>
                </a:cubicBezTo>
                <a:cubicBezTo>
                  <a:pt x="56" y="21"/>
                  <a:pt x="55" y="21"/>
                  <a:pt x="55" y="21"/>
                </a:cubicBezTo>
                <a:cubicBezTo>
                  <a:pt x="55" y="21"/>
                  <a:pt x="55" y="21"/>
                  <a:pt x="56" y="21"/>
                </a:cubicBezTo>
                <a:cubicBezTo>
                  <a:pt x="55" y="21"/>
                  <a:pt x="56" y="22"/>
                  <a:pt x="55" y="22"/>
                </a:cubicBezTo>
                <a:cubicBezTo>
                  <a:pt x="55" y="22"/>
                  <a:pt x="54" y="22"/>
                  <a:pt x="54" y="22"/>
                </a:cubicBezTo>
                <a:cubicBezTo>
                  <a:pt x="54" y="22"/>
                  <a:pt x="54" y="22"/>
                  <a:pt x="54" y="22"/>
                </a:cubicBezTo>
                <a:cubicBezTo>
                  <a:pt x="54" y="23"/>
                  <a:pt x="54" y="23"/>
                  <a:pt x="54" y="23"/>
                </a:cubicBezTo>
                <a:cubicBezTo>
                  <a:pt x="54" y="23"/>
                  <a:pt x="54" y="23"/>
                  <a:pt x="53" y="23"/>
                </a:cubicBezTo>
                <a:cubicBezTo>
                  <a:pt x="53" y="23"/>
                  <a:pt x="53" y="23"/>
                  <a:pt x="53" y="23"/>
                </a:cubicBezTo>
                <a:cubicBezTo>
                  <a:pt x="53" y="23"/>
                  <a:pt x="52" y="23"/>
                  <a:pt x="52" y="23"/>
                </a:cubicBezTo>
                <a:cubicBezTo>
                  <a:pt x="52" y="23"/>
                  <a:pt x="53" y="23"/>
                  <a:pt x="53" y="23"/>
                </a:cubicBezTo>
                <a:cubicBezTo>
                  <a:pt x="52" y="23"/>
                  <a:pt x="52" y="23"/>
                  <a:pt x="52" y="24"/>
                </a:cubicBezTo>
                <a:cubicBezTo>
                  <a:pt x="52" y="24"/>
                  <a:pt x="52" y="24"/>
                  <a:pt x="52" y="25"/>
                </a:cubicBezTo>
                <a:cubicBezTo>
                  <a:pt x="52" y="25"/>
                  <a:pt x="52" y="26"/>
                  <a:pt x="52" y="26"/>
                </a:cubicBezTo>
                <a:cubicBezTo>
                  <a:pt x="52" y="26"/>
                  <a:pt x="52" y="26"/>
                  <a:pt x="52" y="26"/>
                </a:cubicBezTo>
                <a:cubicBezTo>
                  <a:pt x="51" y="26"/>
                  <a:pt x="51" y="26"/>
                  <a:pt x="51" y="27"/>
                </a:cubicBezTo>
                <a:cubicBezTo>
                  <a:pt x="51" y="27"/>
                  <a:pt x="51" y="27"/>
                  <a:pt x="50" y="27"/>
                </a:cubicBezTo>
                <a:cubicBezTo>
                  <a:pt x="49" y="27"/>
                  <a:pt x="50" y="27"/>
                  <a:pt x="50" y="26"/>
                </a:cubicBezTo>
                <a:cubicBezTo>
                  <a:pt x="50" y="26"/>
                  <a:pt x="50" y="27"/>
                  <a:pt x="49" y="26"/>
                </a:cubicBezTo>
                <a:cubicBezTo>
                  <a:pt x="49" y="27"/>
                  <a:pt x="49" y="26"/>
                  <a:pt x="49" y="26"/>
                </a:cubicBezTo>
                <a:cubicBezTo>
                  <a:pt x="49" y="26"/>
                  <a:pt x="49" y="26"/>
                  <a:pt x="49" y="26"/>
                </a:cubicBezTo>
                <a:cubicBezTo>
                  <a:pt x="49" y="26"/>
                  <a:pt x="49" y="26"/>
                  <a:pt x="49" y="26"/>
                </a:cubicBezTo>
                <a:cubicBezTo>
                  <a:pt x="49" y="26"/>
                  <a:pt x="49" y="26"/>
                  <a:pt x="49" y="26"/>
                </a:cubicBezTo>
                <a:cubicBezTo>
                  <a:pt x="49" y="27"/>
                  <a:pt x="49" y="27"/>
                  <a:pt x="48" y="27"/>
                </a:cubicBezTo>
                <a:cubicBezTo>
                  <a:pt x="47" y="26"/>
                  <a:pt x="48" y="27"/>
                  <a:pt x="48" y="27"/>
                </a:cubicBezTo>
                <a:cubicBezTo>
                  <a:pt x="48" y="28"/>
                  <a:pt x="48" y="27"/>
                  <a:pt x="48" y="27"/>
                </a:cubicBezTo>
                <a:cubicBezTo>
                  <a:pt x="48" y="27"/>
                  <a:pt x="48" y="28"/>
                  <a:pt x="48" y="28"/>
                </a:cubicBezTo>
                <a:cubicBezTo>
                  <a:pt x="48" y="28"/>
                  <a:pt x="47" y="27"/>
                  <a:pt x="47" y="27"/>
                </a:cubicBezTo>
                <a:cubicBezTo>
                  <a:pt x="47" y="27"/>
                  <a:pt x="46" y="27"/>
                  <a:pt x="47" y="27"/>
                </a:cubicBezTo>
                <a:cubicBezTo>
                  <a:pt x="47" y="27"/>
                  <a:pt x="47" y="27"/>
                  <a:pt x="47" y="26"/>
                </a:cubicBezTo>
                <a:cubicBezTo>
                  <a:pt x="47" y="26"/>
                  <a:pt x="47" y="26"/>
                  <a:pt x="46" y="26"/>
                </a:cubicBezTo>
                <a:cubicBezTo>
                  <a:pt x="46" y="26"/>
                  <a:pt x="46" y="26"/>
                  <a:pt x="46" y="26"/>
                </a:cubicBezTo>
                <a:cubicBezTo>
                  <a:pt x="46" y="26"/>
                  <a:pt x="46" y="26"/>
                  <a:pt x="46" y="26"/>
                </a:cubicBezTo>
                <a:cubicBezTo>
                  <a:pt x="46" y="26"/>
                  <a:pt x="46" y="26"/>
                  <a:pt x="45" y="26"/>
                </a:cubicBezTo>
                <a:cubicBezTo>
                  <a:pt x="45" y="26"/>
                  <a:pt x="46" y="26"/>
                  <a:pt x="46" y="26"/>
                </a:cubicBezTo>
                <a:cubicBezTo>
                  <a:pt x="46" y="26"/>
                  <a:pt x="46" y="26"/>
                  <a:pt x="46" y="26"/>
                </a:cubicBezTo>
                <a:cubicBezTo>
                  <a:pt x="46" y="27"/>
                  <a:pt x="47" y="27"/>
                  <a:pt x="46" y="28"/>
                </a:cubicBezTo>
                <a:cubicBezTo>
                  <a:pt x="46" y="28"/>
                  <a:pt x="46" y="28"/>
                  <a:pt x="46" y="28"/>
                </a:cubicBezTo>
                <a:cubicBezTo>
                  <a:pt x="46" y="28"/>
                  <a:pt x="47" y="29"/>
                  <a:pt x="46" y="29"/>
                </a:cubicBezTo>
                <a:cubicBezTo>
                  <a:pt x="47" y="29"/>
                  <a:pt x="47" y="30"/>
                  <a:pt x="47" y="30"/>
                </a:cubicBezTo>
                <a:cubicBezTo>
                  <a:pt x="47" y="30"/>
                  <a:pt x="47" y="30"/>
                  <a:pt x="46" y="30"/>
                </a:cubicBezTo>
                <a:cubicBezTo>
                  <a:pt x="47" y="30"/>
                  <a:pt x="46" y="31"/>
                  <a:pt x="45" y="30"/>
                </a:cubicBezTo>
                <a:cubicBezTo>
                  <a:pt x="45" y="30"/>
                  <a:pt x="46" y="31"/>
                  <a:pt x="46" y="31"/>
                </a:cubicBezTo>
                <a:cubicBezTo>
                  <a:pt x="46" y="31"/>
                  <a:pt x="45" y="31"/>
                  <a:pt x="45" y="32"/>
                </a:cubicBezTo>
                <a:cubicBezTo>
                  <a:pt x="45" y="32"/>
                  <a:pt x="45" y="32"/>
                  <a:pt x="45" y="31"/>
                </a:cubicBezTo>
                <a:cubicBezTo>
                  <a:pt x="45" y="32"/>
                  <a:pt x="46" y="32"/>
                  <a:pt x="46" y="32"/>
                </a:cubicBezTo>
                <a:cubicBezTo>
                  <a:pt x="46" y="32"/>
                  <a:pt x="45" y="32"/>
                  <a:pt x="45" y="33"/>
                </a:cubicBezTo>
                <a:cubicBezTo>
                  <a:pt x="46" y="32"/>
                  <a:pt x="46" y="33"/>
                  <a:pt x="46" y="33"/>
                </a:cubicBezTo>
                <a:cubicBezTo>
                  <a:pt x="46" y="33"/>
                  <a:pt x="45" y="33"/>
                  <a:pt x="46" y="34"/>
                </a:cubicBezTo>
                <a:cubicBezTo>
                  <a:pt x="46" y="34"/>
                  <a:pt x="46" y="34"/>
                  <a:pt x="46" y="34"/>
                </a:cubicBezTo>
                <a:cubicBezTo>
                  <a:pt x="46" y="34"/>
                  <a:pt x="46" y="34"/>
                  <a:pt x="46" y="34"/>
                </a:cubicBezTo>
                <a:cubicBezTo>
                  <a:pt x="46" y="35"/>
                  <a:pt x="45" y="36"/>
                  <a:pt x="44" y="35"/>
                </a:cubicBezTo>
                <a:cubicBezTo>
                  <a:pt x="44" y="36"/>
                  <a:pt x="44" y="36"/>
                  <a:pt x="43" y="37"/>
                </a:cubicBezTo>
                <a:cubicBezTo>
                  <a:pt x="43" y="37"/>
                  <a:pt x="43" y="38"/>
                  <a:pt x="43" y="37"/>
                </a:cubicBezTo>
                <a:cubicBezTo>
                  <a:pt x="43" y="37"/>
                  <a:pt x="43" y="38"/>
                  <a:pt x="42" y="38"/>
                </a:cubicBezTo>
                <a:cubicBezTo>
                  <a:pt x="42" y="38"/>
                  <a:pt x="42" y="37"/>
                  <a:pt x="42" y="37"/>
                </a:cubicBezTo>
                <a:cubicBezTo>
                  <a:pt x="42" y="38"/>
                  <a:pt x="42" y="38"/>
                  <a:pt x="41" y="38"/>
                </a:cubicBezTo>
                <a:cubicBezTo>
                  <a:pt x="41" y="38"/>
                  <a:pt x="41" y="38"/>
                  <a:pt x="41" y="39"/>
                </a:cubicBezTo>
                <a:cubicBezTo>
                  <a:pt x="40" y="39"/>
                  <a:pt x="40" y="39"/>
                  <a:pt x="40" y="39"/>
                </a:cubicBezTo>
                <a:cubicBezTo>
                  <a:pt x="40" y="40"/>
                  <a:pt x="40" y="39"/>
                  <a:pt x="40" y="40"/>
                </a:cubicBezTo>
                <a:cubicBezTo>
                  <a:pt x="40" y="40"/>
                  <a:pt x="40" y="40"/>
                  <a:pt x="40" y="40"/>
                </a:cubicBezTo>
                <a:cubicBezTo>
                  <a:pt x="40" y="40"/>
                  <a:pt x="40" y="41"/>
                  <a:pt x="40" y="41"/>
                </a:cubicBezTo>
                <a:cubicBezTo>
                  <a:pt x="40" y="41"/>
                  <a:pt x="40" y="42"/>
                  <a:pt x="39" y="42"/>
                </a:cubicBezTo>
                <a:cubicBezTo>
                  <a:pt x="40" y="42"/>
                  <a:pt x="40" y="42"/>
                  <a:pt x="40" y="42"/>
                </a:cubicBezTo>
                <a:cubicBezTo>
                  <a:pt x="40" y="42"/>
                  <a:pt x="40" y="43"/>
                  <a:pt x="40" y="43"/>
                </a:cubicBezTo>
                <a:cubicBezTo>
                  <a:pt x="40" y="43"/>
                  <a:pt x="40" y="44"/>
                  <a:pt x="40" y="44"/>
                </a:cubicBezTo>
                <a:cubicBezTo>
                  <a:pt x="40" y="44"/>
                  <a:pt x="40" y="45"/>
                  <a:pt x="40" y="45"/>
                </a:cubicBezTo>
                <a:cubicBezTo>
                  <a:pt x="40" y="45"/>
                  <a:pt x="40" y="46"/>
                  <a:pt x="40" y="46"/>
                </a:cubicBezTo>
                <a:cubicBezTo>
                  <a:pt x="39" y="46"/>
                  <a:pt x="40" y="47"/>
                  <a:pt x="40" y="47"/>
                </a:cubicBezTo>
                <a:cubicBezTo>
                  <a:pt x="40" y="47"/>
                  <a:pt x="39" y="47"/>
                  <a:pt x="39" y="48"/>
                </a:cubicBezTo>
                <a:cubicBezTo>
                  <a:pt x="39" y="48"/>
                  <a:pt x="39" y="48"/>
                  <a:pt x="39" y="48"/>
                </a:cubicBezTo>
                <a:cubicBezTo>
                  <a:pt x="39" y="49"/>
                  <a:pt x="39" y="49"/>
                  <a:pt x="39" y="49"/>
                </a:cubicBezTo>
                <a:cubicBezTo>
                  <a:pt x="39" y="50"/>
                  <a:pt x="40" y="51"/>
                  <a:pt x="39" y="50"/>
                </a:cubicBezTo>
                <a:cubicBezTo>
                  <a:pt x="40" y="51"/>
                  <a:pt x="40" y="51"/>
                  <a:pt x="40" y="51"/>
                </a:cubicBezTo>
                <a:cubicBezTo>
                  <a:pt x="40" y="51"/>
                  <a:pt x="40" y="51"/>
                  <a:pt x="41" y="51"/>
                </a:cubicBezTo>
                <a:cubicBezTo>
                  <a:pt x="41" y="51"/>
                  <a:pt x="41" y="52"/>
                  <a:pt x="41" y="53"/>
                </a:cubicBezTo>
                <a:cubicBezTo>
                  <a:pt x="42" y="53"/>
                  <a:pt x="42" y="54"/>
                  <a:pt x="43" y="54"/>
                </a:cubicBezTo>
                <a:cubicBezTo>
                  <a:pt x="43" y="54"/>
                  <a:pt x="45" y="56"/>
                  <a:pt x="44" y="57"/>
                </a:cubicBezTo>
                <a:cubicBezTo>
                  <a:pt x="45" y="56"/>
                  <a:pt x="46" y="57"/>
                  <a:pt x="47" y="58"/>
                </a:cubicBezTo>
                <a:cubicBezTo>
                  <a:pt x="47" y="58"/>
                  <a:pt x="47" y="58"/>
                  <a:pt x="47" y="59"/>
                </a:cubicBezTo>
                <a:cubicBezTo>
                  <a:pt x="47" y="58"/>
                  <a:pt x="48" y="58"/>
                  <a:pt x="48" y="58"/>
                </a:cubicBezTo>
                <a:cubicBezTo>
                  <a:pt x="48" y="58"/>
                  <a:pt x="48" y="59"/>
                  <a:pt x="48" y="59"/>
                </a:cubicBezTo>
                <a:cubicBezTo>
                  <a:pt x="48" y="59"/>
                  <a:pt x="48" y="59"/>
                  <a:pt x="48" y="59"/>
                </a:cubicBezTo>
                <a:cubicBezTo>
                  <a:pt x="49" y="59"/>
                  <a:pt x="49" y="60"/>
                  <a:pt x="49" y="60"/>
                </a:cubicBezTo>
                <a:cubicBezTo>
                  <a:pt x="49" y="60"/>
                  <a:pt x="48" y="61"/>
                  <a:pt x="48" y="61"/>
                </a:cubicBezTo>
                <a:cubicBezTo>
                  <a:pt x="48" y="61"/>
                  <a:pt x="49" y="62"/>
                  <a:pt x="49" y="63"/>
                </a:cubicBezTo>
                <a:cubicBezTo>
                  <a:pt x="49" y="63"/>
                  <a:pt x="48" y="62"/>
                  <a:pt x="48" y="62"/>
                </a:cubicBezTo>
                <a:cubicBezTo>
                  <a:pt x="48" y="62"/>
                  <a:pt x="47" y="62"/>
                  <a:pt x="47" y="62"/>
                </a:cubicBezTo>
                <a:cubicBezTo>
                  <a:pt x="47" y="62"/>
                  <a:pt x="48" y="62"/>
                  <a:pt x="48" y="62"/>
                </a:cubicBezTo>
                <a:cubicBezTo>
                  <a:pt x="48" y="62"/>
                  <a:pt x="48" y="63"/>
                  <a:pt x="48" y="63"/>
                </a:cubicBezTo>
                <a:cubicBezTo>
                  <a:pt x="48" y="62"/>
                  <a:pt x="49" y="63"/>
                  <a:pt x="49" y="63"/>
                </a:cubicBezTo>
                <a:cubicBezTo>
                  <a:pt x="49" y="63"/>
                  <a:pt x="50" y="64"/>
                  <a:pt x="50" y="64"/>
                </a:cubicBezTo>
                <a:cubicBezTo>
                  <a:pt x="51" y="65"/>
                  <a:pt x="52" y="66"/>
                  <a:pt x="53" y="67"/>
                </a:cubicBezTo>
                <a:cubicBezTo>
                  <a:pt x="53" y="68"/>
                  <a:pt x="54" y="68"/>
                  <a:pt x="55" y="69"/>
                </a:cubicBezTo>
                <a:cubicBezTo>
                  <a:pt x="55" y="69"/>
                  <a:pt x="56" y="69"/>
                  <a:pt x="56" y="69"/>
                </a:cubicBezTo>
                <a:cubicBezTo>
                  <a:pt x="56" y="70"/>
                  <a:pt x="56" y="70"/>
                  <a:pt x="57" y="71"/>
                </a:cubicBezTo>
                <a:cubicBezTo>
                  <a:pt x="57" y="71"/>
                  <a:pt x="57" y="71"/>
                  <a:pt x="57" y="72"/>
                </a:cubicBezTo>
                <a:cubicBezTo>
                  <a:pt x="57" y="72"/>
                  <a:pt x="57" y="72"/>
                  <a:pt x="57" y="72"/>
                </a:cubicBezTo>
                <a:cubicBezTo>
                  <a:pt x="57" y="71"/>
                  <a:pt x="58" y="72"/>
                  <a:pt x="58" y="73"/>
                </a:cubicBezTo>
                <a:cubicBezTo>
                  <a:pt x="59" y="73"/>
                  <a:pt x="60" y="74"/>
                  <a:pt x="62" y="75"/>
                </a:cubicBezTo>
                <a:cubicBezTo>
                  <a:pt x="61" y="75"/>
                  <a:pt x="60" y="74"/>
                  <a:pt x="60" y="74"/>
                </a:cubicBezTo>
                <a:cubicBezTo>
                  <a:pt x="60" y="75"/>
                  <a:pt x="60" y="75"/>
                  <a:pt x="61" y="75"/>
                </a:cubicBezTo>
                <a:cubicBezTo>
                  <a:pt x="61" y="75"/>
                  <a:pt x="62" y="75"/>
                  <a:pt x="61" y="75"/>
                </a:cubicBezTo>
                <a:cubicBezTo>
                  <a:pt x="62" y="75"/>
                  <a:pt x="62" y="75"/>
                  <a:pt x="62" y="76"/>
                </a:cubicBezTo>
                <a:cubicBezTo>
                  <a:pt x="62" y="76"/>
                  <a:pt x="62" y="76"/>
                  <a:pt x="62" y="76"/>
                </a:cubicBezTo>
                <a:cubicBezTo>
                  <a:pt x="63" y="76"/>
                  <a:pt x="64" y="77"/>
                  <a:pt x="64" y="77"/>
                </a:cubicBezTo>
                <a:cubicBezTo>
                  <a:pt x="63" y="77"/>
                  <a:pt x="64" y="78"/>
                  <a:pt x="64" y="78"/>
                </a:cubicBezTo>
                <a:cubicBezTo>
                  <a:pt x="64" y="79"/>
                  <a:pt x="65" y="78"/>
                  <a:pt x="65" y="78"/>
                </a:cubicBezTo>
                <a:cubicBezTo>
                  <a:pt x="65" y="78"/>
                  <a:pt x="65" y="78"/>
                  <a:pt x="66" y="78"/>
                </a:cubicBezTo>
                <a:cubicBezTo>
                  <a:pt x="66" y="78"/>
                  <a:pt x="66" y="78"/>
                  <a:pt x="66" y="78"/>
                </a:cubicBezTo>
                <a:cubicBezTo>
                  <a:pt x="66" y="78"/>
                  <a:pt x="66" y="79"/>
                  <a:pt x="67" y="79"/>
                </a:cubicBezTo>
                <a:cubicBezTo>
                  <a:pt x="66" y="79"/>
                  <a:pt x="66" y="79"/>
                  <a:pt x="66" y="79"/>
                </a:cubicBezTo>
                <a:cubicBezTo>
                  <a:pt x="66" y="79"/>
                  <a:pt x="67" y="79"/>
                  <a:pt x="67" y="79"/>
                </a:cubicBezTo>
                <a:cubicBezTo>
                  <a:pt x="67" y="79"/>
                  <a:pt x="67" y="79"/>
                  <a:pt x="68" y="79"/>
                </a:cubicBezTo>
                <a:cubicBezTo>
                  <a:pt x="66" y="81"/>
                  <a:pt x="69" y="80"/>
                  <a:pt x="68" y="81"/>
                </a:cubicBezTo>
                <a:cubicBezTo>
                  <a:pt x="68" y="81"/>
                  <a:pt x="68" y="81"/>
                  <a:pt x="68" y="81"/>
                </a:cubicBezTo>
                <a:cubicBezTo>
                  <a:pt x="68" y="81"/>
                  <a:pt x="68" y="80"/>
                  <a:pt x="68" y="80"/>
                </a:cubicBezTo>
                <a:cubicBezTo>
                  <a:pt x="68" y="80"/>
                  <a:pt x="69" y="80"/>
                  <a:pt x="69" y="80"/>
                </a:cubicBezTo>
                <a:cubicBezTo>
                  <a:pt x="69" y="80"/>
                  <a:pt x="69" y="80"/>
                  <a:pt x="69" y="80"/>
                </a:cubicBezTo>
                <a:cubicBezTo>
                  <a:pt x="68" y="80"/>
                  <a:pt x="68" y="81"/>
                  <a:pt x="68" y="81"/>
                </a:cubicBezTo>
                <a:cubicBezTo>
                  <a:pt x="69" y="82"/>
                  <a:pt x="70" y="82"/>
                  <a:pt x="70" y="83"/>
                </a:cubicBezTo>
                <a:cubicBezTo>
                  <a:pt x="70" y="83"/>
                  <a:pt x="70" y="84"/>
                  <a:pt x="70" y="84"/>
                </a:cubicBezTo>
                <a:cubicBezTo>
                  <a:pt x="71" y="84"/>
                  <a:pt x="71" y="85"/>
                  <a:pt x="71" y="85"/>
                </a:cubicBezTo>
                <a:cubicBezTo>
                  <a:pt x="72" y="86"/>
                  <a:pt x="72" y="86"/>
                  <a:pt x="72" y="86"/>
                </a:cubicBezTo>
                <a:cubicBezTo>
                  <a:pt x="73" y="87"/>
                  <a:pt x="73" y="87"/>
                  <a:pt x="73" y="87"/>
                </a:cubicBezTo>
                <a:cubicBezTo>
                  <a:pt x="72" y="87"/>
                  <a:pt x="73" y="88"/>
                  <a:pt x="73" y="87"/>
                </a:cubicBezTo>
                <a:cubicBezTo>
                  <a:pt x="74" y="88"/>
                  <a:pt x="74" y="88"/>
                  <a:pt x="74" y="89"/>
                </a:cubicBezTo>
                <a:cubicBezTo>
                  <a:pt x="74" y="89"/>
                  <a:pt x="75" y="89"/>
                  <a:pt x="75" y="89"/>
                </a:cubicBezTo>
                <a:cubicBezTo>
                  <a:pt x="74" y="88"/>
                  <a:pt x="75" y="88"/>
                  <a:pt x="74" y="88"/>
                </a:cubicBezTo>
                <a:cubicBezTo>
                  <a:pt x="75" y="88"/>
                  <a:pt x="75" y="89"/>
                  <a:pt x="75" y="89"/>
                </a:cubicBezTo>
                <a:cubicBezTo>
                  <a:pt x="75" y="89"/>
                  <a:pt x="76" y="90"/>
                  <a:pt x="76" y="90"/>
                </a:cubicBezTo>
                <a:cubicBezTo>
                  <a:pt x="76" y="90"/>
                  <a:pt x="75" y="91"/>
                  <a:pt x="76" y="91"/>
                </a:cubicBezTo>
                <a:cubicBezTo>
                  <a:pt x="76" y="91"/>
                  <a:pt x="76" y="91"/>
                  <a:pt x="76" y="91"/>
                </a:cubicBezTo>
                <a:cubicBezTo>
                  <a:pt x="76" y="92"/>
                  <a:pt x="77" y="93"/>
                  <a:pt x="77" y="94"/>
                </a:cubicBezTo>
                <a:cubicBezTo>
                  <a:pt x="77" y="94"/>
                  <a:pt x="77" y="94"/>
                  <a:pt x="78" y="95"/>
                </a:cubicBezTo>
                <a:cubicBezTo>
                  <a:pt x="78" y="95"/>
                  <a:pt x="78" y="96"/>
                  <a:pt x="78" y="96"/>
                </a:cubicBezTo>
                <a:cubicBezTo>
                  <a:pt x="78" y="96"/>
                  <a:pt x="78" y="96"/>
                  <a:pt x="78" y="96"/>
                </a:cubicBezTo>
                <a:cubicBezTo>
                  <a:pt x="78" y="97"/>
                  <a:pt x="78" y="97"/>
                  <a:pt x="78" y="97"/>
                </a:cubicBezTo>
                <a:cubicBezTo>
                  <a:pt x="78" y="97"/>
                  <a:pt x="79" y="98"/>
                  <a:pt x="79" y="98"/>
                </a:cubicBezTo>
                <a:cubicBezTo>
                  <a:pt x="79" y="99"/>
                  <a:pt x="79" y="99"/>
                  <a:pt x="79" y="100"/>
                </a:cubicBezTo>
                <a:cubicBezTo>
                  <a:pt x="79" y="100"/>
                  <a:pt x="80" y="102"/>
                  <a:pt x="80" y="102"/>
                </a:cubicBezTo>
                <a:cubicBezTo>
                  <a:pt x="80" y="102"/>
                  <a:pt x="80" y="101"/>
                  <a:pt x="80" y="101"/>
                </a:cubicBezTo>
                <a:cubicBezTo>
                  <a:pt x="80" y="101"/>
                  <a:pt x="81" y="103"/>
                  <a:pt x="81" y="103"/>
                </a:cubicBezTo>
                <a:cubicBezTo>
                  <a:pt x="81" y="104"/>
                  <a:pt x="81" y="104"/>
                  <a:pt x="81" y="105"/>
                </a:cubicBezTo>
                <a:cubicBezTo>
                  <a:pt x="81" y="105"/>
                  <a:pt x="81" y="106"/>
                  <a:pt x="81" y="106"/>
                </a:cubicBezTo>
                <a:cubicBezTo>
                  <a:pt x="81" y="106"/>
                  <a:pt x="81" y="105"/>
                  <a:pt x="81" y="105"/>
                </a:cubicBezTo>
                <a:cubicBezTo>
                  <a:pt x="80" y="105"/>
                  <a:pt x="81" y="106"/>
                  <a:pt x="81" y="106"/>
                </a:cubicBezTo>
                <a:cubicBezTo>
                  <a:pt x="81" y="107"/>
                  <a:pt x="82" y="108"/>
                  <a:pt x="81" y="109"/>
                </a:cubicBezTo>
                <a:cubicBezTo>
                  <a:pt x="81" y="108"/>
                  <a:pt x="81" y="108"/>
                  <a:pt x="81" y="107"/>
                </a:cubicBezTo>
                <a:cubicBezTo>
                  <a:pt x="81" y="108"/>
                  <a:pt x="81" y="109"/>
                  <a:pt x="82" y="109"/>
                </a:cubicBezTo>
                <a:cubicBezTo>
                  <a:pt x="82" y="109"/>
                  <a:pt x="82" y="110"/>
                  <a:pt x="82" y="110"/>
                </a:cubicBezTo>
                <a:cubicBezTo>
                  <a:pt x="81" y="110"/>
                  <a:pt x="82" y="109"/>
                  <a:pt x="82" y="109"/>
                </a:cubicBezTo>
                <a:cubicBezTo>
                  <a:pt x="81" y="109"/>
                  <a:pt x="81" y="109"/>
                  <a:pt x="81" y="109"/>
                </a:cubicBezTo>
                <a:cubicBezTo>
                  <a:pt x="81" y="110"/>
                  <a:pt x="81" y="110"/>
                  <a:pt x="82" y="110"/>
                </a:cubicBezTo>
                <a:cubicBezTo>
                  <a:pt x="82" y="111"/>
                  <a:pt x="82" y="111"/>
                  <a:pt x="82" y="111"/>
                </a:cubicBezTo>
                <a:cubicBezTo>
                  <a:pt x="81" y="111"/>
                  <a:pt x="82" y="112"/>
                  <a:pt x="82" y="112"/>
                </a:cubicBezTo>
                <a:cubicBezTo>
                  <a:pt x="82" y="112"/>
                  <a:pt x="82" y="111"/>
                  <a:pt x="82" y="111"/>
                </a:cubicBezTo>
                <a:cubicBezTo>
                  <a:pt x="82" y="112"/>
                  <a:pt x="82" y="113"/>
                  <a:pt x="82" y="113"/>
                </a:cubicBezTo>
                <a:cubicBezTo>
                  <a:pt x="82" y="114"/>
                  <a:pt x="83" y="114"/>
                  <a:pt x="83" y="114"/>
                </a:cubicBezTo>
                <a:cubicBezTo>
                  <a:pt x="83" y="114"/>
                  <a:pt x="84" y="116"/>
                  <a:pt x="84" y="116"/>
                </a:cubicBezTo>
                <a:cubicBezTo>
                  <a:pt x="84" y="115"/>
                  <a:pt x="83" y="116"/>
                  <a:pt x="83" y="116"/>
                </a:cubicBezTo>
                <a:cubicBezTo>
                  <a:pt x="83" y="117"/>
                  <a:pt x="83" y="117"/>
                  <a:pt x="83" y="117"/>
                </a:cubicBezTo>
                <a:cubicBezTo>
                  <a:pt x="84" y="118"/>
                  <a:pt x="84" y="118"/>
                  <a:pt x="84" y="118"/>
                </a:cubicBezTo>
                <a:close/>
                <a:moveTo>
                  <a:pt x="41" y="52"/>
                </a:moveTo>
                <a:cubicBezTo>
                  <a:pt x="41" y="52"/>
                  <a:pt x="41" y="52"/>
                  <a:pt x="41" y="52"/>
                </a:cubicBezTo>
                <a:cubicBezTo>
                  <a:pt x="41" y="52"/>
                  <a:pt x="41" y="52"/>
                  <a:pt x="41" y="52"/>
                </a:cubicBezTo>
                <a:close/>
                <a:moveTo>
                  <a:pt x="33" y="143"/>
                </a:moveTo>
                <a:cubicBezTo>
                  <a:pt x="33" y="143"/>
                  <a:pt x="33" y="143"/>
                  <a:pt x="32" y="143"/>
                </a:cubicBezTo>
                <a:cubicBezTo>
                  <a:pt x="32" y="144"/>
                  <a:pt x="32" y="144"/>
                  <a:pt x="32" y="144"/>
                </a:cubicBezTo>
                <a:cubicBezTo>
                  <a:pt x="33" y="144"/>
                  <a:pt x="33" y="145"/>
                  <a:pt x="33" y="146"/>
                </a:cubicBezTo>
                <a:cubicBezTo>
                  <a:pt x="34" y="146"/>
                  <a:pt x="34" y="147"/>
                  <a:pt x="34" y="147"/>
                </a:cubicBezTo>
                <a:cubicBezTo>
                  <a:pt x="34" y="147"/>
                  <a:pt x="34" y="146"/>
                  <a:pt x="34" y="145"/>
                </a:cubicBezTo>
                <a:cubicBezTo>
                  <a:pt x="34" y="144"/>
                  <a:pt x="34" y="144"/>
                  <a:pt x="34" y="143"/>
                </a:cubicBezTo>
                <a:cubicBezTo>
                  <a:pt x="34" y="143"/>
                  <a:pt x="34" y="142"/>
                  <a:pt x="33" y="143"/>
                </a:cubicBezTo>
                <a:close/>
                <a:moveTo>
                  <a:pt x="53" y="29"/>
                </a:moveTo>
                <a:cubicBezTo>
                  <a:pt x="53" y="28"/>
                  <a:pt x="52" y="28"/>
                  <a:pt x="52" y="28"/>
                </a:cubicBezTo>
                <a:cubicBezTo>
                  <a:pt x="52" y="28"/>
                  <a:pt x="52" y="29"/>
                  <a:pt x="53" y="29"/>
                </a:cubicBezTo>
                <a:close/>
                <a:moveTo>
                  <a:pt x="57" y="36"/>
                </a:moveTo>
                <a:cubicBezTo>
                  <a:pt x="57" y="36"/>
                  <a:pt x="57" y="36"/>
                  <a:pt x="57" y="36"/>
                </a:cubicBezTo>
                <a:cubicBezTo>
                  <a:pt x="57" y="36"/>
                  <a:pt x="57" y="36"/>
                  <a:pt x="57" y="36"/>
                </a:cubicBezTo>
                <a:close/>
                <a:moveTo>
                  <a:pt x="81" y="141"/>
                </a:moveTo>
                <a:cubicBezTo>
                  <a:pt x="80" y="142"/>
                  <a:pt x="82" y="142"/>
                  <a:pt x="81" y="141"/>
                </a:cubicBezTo>
                <a:close/>
                <a:moveTo>
                  <a:pt x="62" y="142"/>
                </a:moveTo>
                <a:cubicBezTo>
                  <a:pt x="62" y="141"/>
                  <a:pt x="62" y="141"/>
                  <a:pt x="62" y="141"/>
                </a:cubicBezTo>
                <a:cubicBezTo>
                  <a:pt x="61" y="141"/>
                  <a:pt x="62" y="141"/>
                  <a:pt x="62" y="142"/>
                </a:cubicBezTo>
                <a:close/>
                <a:moveTo>
                  <a:pt x="60" y="162"/>
                </a:moveTo>
                <a:cubicBezTo>
                  <a:pt x="60" y="162"/>
                  <a:pt x="60" y="161"/>
                  <a:pt x="60" y="162"/>
                </a:cubicBezTo>
                <a:cubicBezTo>
                  <a:pt x="60" y="161"/>
                  <a:pt x="60" y="161"/>
                  <a:pt x="60" y="161"/>
                </a:cubicBezTo>
                <a:cubicBezTo>
                  <a:pt x="60" y="161"/>
                  <a:pt x="59" y="162"/>
                  <a:pt x="60" y="162"/>
                </a:cubicBezTo>
                <a:close/>
                <a:moveTo>
                  <a:pt x="54" y="26"/>
                </a:moveTo>
                <a:cubicBezTo>
                  <a:pt x="53" y="26"/>
                  <a:pt x="53" y="27"/>
                  <a:pt x="53" y="28"/>
                </a:cubicBezTo>
                <a:cubicBezTo>
                  <a:pt x="53" y="28"/>
                  <a:pt x="54" y="27"/>
                  <a:pt x="54" y="27"/>
                </a:cubicBezTo>
                <a:cubicBezTo>
                  <a:pt x="54" y="27"/>
                  <a:pt x="54" y="26"/>
                  <a:pt x="54" y="26"/>
                </a:cubicBezTo>
                <a:cubicBezTo>
                  <a:pt x="54" y="26"/>
                  <a:pt x="54" y="26"/>
                  <a:pt x="54" y="26"/>
                </a:cubicBezTo>
                <a:cubicBezTo>
                  <a:pt x="54" y="26"/>
                  <a:pt x="54" y="26"/>
                  <a:pt x="54" y="26"/>
                </a:cubicBezTo>
                <a:close/>
                <a:moveTo>
                  <a:pt x="60" y="145"/>
                </a:moveTo>
                <a:cubicBezTo>
                  <a:pt x="60" y="145"/>
                  <a:pt x="60" y="145"/>
                  <a:pt x="60" y="145"/>
                </a:cubicBezTo>
                <a:cubicBezTo>
                  <a:pt x="59" y="145"/>
                  <a:pt x="59" y="145"/>
                  <a:pt x="58" y="145"/>
                </a:cubicBezTo>
                <a:cubicBezTo>
                  <a:pt x="57" y="144"/>
                  <a:pt x="57" y="144"/>
                  <a:pt x="56" y="144"/>
                </a:cubicBezTo>
                <a:cubicBezTo>
                  <a:pt x="56" y="144"/>
                  <a:pt x="54" y="144"/>
                  <a:pt x="55" y="144"/>
                </a:cubicBezTo>
                <a:cubicBezTo>
                  <a:pt x="55" y="145"/>
                  <a:pt x="56" y="144"/>
                  <a:pt x="56" y="145"/>
                </a:cubicBezTo>
                <a:cubicBezTo>
                  <a:pt x="57" y="145"/>
                  <a:pt x="57" y="146"/>
                  <a:pt x="57" y="146"/>
                </a:cubicBezTo>
                <a:cubicBezTo>
                  <a:pt x="58" y="147"/>
                  <a:pt x="59" y="148"/>
                  <a:pt x="60" y="148"/>
                </a:cubicBezTo>
                <a:cubicBezTo>
                  <a:pt x="60" y="147"/>
                  <a:pt x="59" y="146"/>
                  <a:pt x="59" y="146"/>
                </a:cubicBezTo>
                <a:cubicBezTo>
                  <a:pt x="60" y="146"/>
                  <a:pt x="60" y="147"/>
                  <a:pt x="60" y="147"/>
                </a:cubicBezTo>
                <a:cubicBezTo>
                  <a:pt x="60" y="147"/>
                  <a:pt x="61" y="146"/>
                  <a:pt x="61" y="146"/>
                </a:cubicBezTo>
                <a:cubicBezTo>
                  <a:pt x="61" y="146"/>
                  <a:pt x="60" y="146"/>
                  <a:pt x="60" y="145"/>
                </a:cubicBezTo>
                <a:close/>
                <a:moveTo>
                  <a:pt x="61" y="141"/>
                </a:moveTo>
                <a:cubicBezTo>
                  <a:pt x="61" y="141"/>
                  <a:pt x="60" y="140"/>
                  <a:pt x="60" y="140"/>
                </a:cubicBezTo>
                <a:cubicBezTo>
                  <a:pt x="61" y="141"/>
                  <a:pt x="60" y="141"/>
                  <a:pt x="60" y="142"/>
                </a:cubicBezTo>
                <a:cubicBezTo>
                  <a:pt x="60" y="142"/>
                  <a:pt x="61" y="143"/>
                  <a:pt x="61" y="143"/>
                </a:cubicBezTo>
                <a:cubicBezTo>
                  <a:pt x="61" y="143"/>
                  <a:pt x="61" y="142"/>
                  <a:pt x="61" y="142"/>
                </a:cubicBezTo>
                <a:cubicBezTo>
                  <a:pt x="62" y="142"/>
                  <a:pt x="61" y="141"/>
                  <a:pt x="61" y="141"/>
                </a:cubicBezTo>
                <a:close/>
                <a:moveTo>
                  <a:pt x="54" y="27"/>
                </a:moveTo>
                <a:cubicBezTo>
                  <a:pt x="54" y="27"/>
                  <a:pt x="54" y="27"/>
                  <a:pt x="54" y="28"/>
                </a:cubicBezTo>
                <a:cubicBezTo>
                  <a:pt x="54" y="28"/>
                  <a:pt x="54" y="28"/>
                  <a:pt x="53" y="28"/>
                </a:cubicBezTo>
                <a:cubicBezTo>
                  <a:pt x="54" y="28"/>
                  <a:pt x="53" y="28"/>
                  <a:pt x="54" y="28"/>
                </a:cubicBezTo>
                <a:cubicBezTo>
                  <a:pt x="53" y="28"/>
                  <a:pt x="54" y="27"/>
                  <a:pt x="54" y="27"/>
                </a:cubicBezTo>
                <a:close/>
                <a:moveTo>
                  <a:pt x="49" y="28"/>
                </a:moveTo>
                <a:cubicBezTo>
                  <a:pt x="49" y="28"/>
                  <a:pt x="49" y="28"/>
                  <a:pt x="48" y="28"/>
                </a:cubicBezTo>
                <a:cubicBezTo>
                  <a:pt x="49" y="28"/>
                  <a:pt x="48" y="28"/>
                  <a:pt x="48" y="28"/>
                </a:cubicBezTo>
                <a:cubicBezTo>
                  <a:pt x="48" y="29"/>
                  <a:pt x="49" y="29"/>
                  <a:pt x="49" y="29"/>
                </a:cubicBezTo>
                <a:cubicBezTo>
                  <a:pt x="49" y="29"/>
                  <a:pt x="49" y="30"/>
                  <a:pt x="50" y="30"/>
                </a:cubicBezTo>
                <a:cubicBezTo>
                  <a:pt x="50" y="29"/>
                  <a:pt x="50" y="29"/>
                  <a:pt x="50" y="29"/>
                </a:cubicBezTo>
                <a:cubicBezTo>
                  <a:pt x="50" y="29"/>
                  <a:pt x="49" y="29"/>
                  <a:pt x="49" y="29"/>
                </a:cubicBezTo>
                <a:cubicBezTo>
                  <a:pt x="50" y="29"/>
                  <a:pt x="50" y="29"/>
                  <a:pt x="50" y="29"/>
                </a:cubicBezTo>
                <a:cubicBezTo>
                  <a:pt x="50" y="29"/>
                  <a:pt x="50" y="29"/>
                  <a:pt x="50" y="29"/>
                </a:cubicBezTo>
                <a:cubicBezTo>
                  <a:pt x="50" y="29"/>
                  <a:pt x="50" y="29"/>
                  <a:pt x="50" y="29"/>
                </a:cubicBezTo>
                <a:cubicBezTo>
                  <a:pt x="50" y="29"/>
                  <a:pt x="49" y="28"/>
                  <a:pt x="49" y="28"/>
                </a:cubicBezTo>
                <a:close/>
                <a:moveTo>
                  <a:pt x="54" y="27"/>
                </a:moveTo>
                <a:cubicBezTo>
                  <a:pt x="55" y="27"/>
                  <a:pt x="55" y="25"/>
                  <a:pt x="55" y="25"/>
                </a:cubicBezTo>
                <a:cubicBezTo>
                  <a:pt x="54" y="25"/>
                  <a:pt x="54" y="26"/>
                  <a:pt x="54" y="26"/>
                </a:cubicBezTo>
                <a:cubicBezTo>
                  <a:pt x="54" y="26"/>
                  <a:pt x="54" y="27"/>
                  <a:pt x="54" y="27"/>
                </a:cubicBezTo>
                <a:close/>
                <a:moveTo>
                  <a:pt x="47" y="28"/>
                </a:moveTo>
                <a:cubicBezTo>
                  <a:pt x="47" y="28"/>
                  <a:pt x="47" y="28"/>
                  <a:pt x="47" y="28"/>
                </a:cubicBezTo>
                <a:cubicBezTo>
                  <a:pt x="47" y="28"/>
                  <a:pt x="48" y="29"/>
                  <a:pt x="48" y="29"/>
                </a:cubicBezTo>
                <a:cubicBezTo>
                  <a:pt x="48" y="28"/>
                  <a:pt x="48" y="28"/>
                  <a:pt x="47" y="27"/>
                </a:cubicBezTo>
                <a:cubicBezTo>
                  <a:pt x="46" y="27"/>
                  <a:pt x="47" y="29"/>
                  <a:pt x="47" y="2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 name="Venezuela"/>
          <p:cNvSpPr>
            <a:spLocks noEditPoints="1"/>
          </p:cNvSpPr>
          <p:nvPr/>
        </p:nvSpPr>
        <p:spPr bwMode="auto">
          <a:xfrm>
            <a:off x="3231178" y="4178955"/>
            <a:ext cx="476982" cy="458983"/>
          </a:xfrm>
          <a:custGeom>
            <a:avLst/>
            <a:gdLst/>
            <a:ahLst/>
            <a:cxnLst>
              <a:cxn ang="0">
                <a:pos x="129" y="45"/>
              </a:cxn>
              <a:cxn ang="0">
                <a:pos x="124" y="56"/>
              </a:cxn>
              <a:cxn ang="0">
                <a:pos x="117" y="61"/>
              </a:cxn>
              <a:cxn ang="0">
                <a:pos x="121" y="77"/>
              </a:cxn>
              <a:cxn ang="0">
                <a:pos x="113" y="87"/>
              </a:cxn>
              <a:cxn ang="0">
                <a:pos x="101" y="91"/>
              </a:cxn>
              <a:cxn ang="0">
                <a:pos x="89" y="91"/>
              </a:cxn>
              <a:cxn ang="0">
                <a:pos x="86" y="93"/>
              </a:cxn>
              <a:cxn ang="0">
                <a:pos x="90" y="108"/>
              </a:cxn>
              <a:cxn ang="0">
                <a:pos x="87" y="117"/>
              </a:cxn>
              <a:cxn ang="0">
                <a:pos x="77" y="123"/>
              </a:cxn>
              <a:cxn ang="0">
                <a:pos x="66" y="126"/>
              </a:cxn>
              <a:cxn ang="0">
                <a:pos x="58" y="111"/>
              </a:cxn>
              <a:cxn ang="0">
                <a:pos x="55" y="99"/>
              </a:cxn>
              <a:cxn ang="0">
                <a:pos x="52" y="78"/>
              </a:cxn>
              <a:cxn ang="0">
                <a:pos x="55" y="65"/>
              </a:cxn>
              <a:cxn ang="0">
                <a:pos x="40" y="66"/>
              </a:cxn>
              <a:cxn ang="0">
                <a:pos x="26" y="56"/>
              </a:cxn>
              <a:cxn ang="0">
                <a:pos x="11" y="54"/>
              </a:cxn>
              <a:cxn ang="0">
                <a:pos x="7" y="40"/>
              </a:cxn>
              <a:cxn ang="0">
                <a:pos x="4" y="27"/>
              </a:cxn>
              <a:cxn ang="0">
                <a:pos x="10" y="12"/>
              </a:cxn>
              <a:cxn ang="0">
                <a:pos x="22" y="4"/>
              </a:cxn>
              <a:cxn ang="0">
                <a:pos x="18" y="18"/>
              </a:cxn>
              <a:cxn ang="0">
                <a:pos x="14" y="30"/>
              </a:cxn>
              <a:cxn ang="0">
                <a:pos x="15" y="33"/>
              </a:cxn>
              <a:cxn ang="0">
                <a:pos x="23" y="27"/>
              </a:cxn>
              <a:cxn ang="0">
                <a:pos x="19" y="19"/>
              </a:cxn>
              <a:cxn ang="0">
                <a:pos x="24" y="12"/>
              </a:cxn>
              <a:cxn ang="0">
                <a:pos x="34" y="8"/>
              </a:cxn>
              <a:cxn ang="0">
                <a:pos x="35" y="6"/>
              </a:cxn>
              <a:cxn ang="0">
                <a:pos x="37" y="4"/>
              </a:cxn>
              <a:cxn ang="0">
                <a:pos x="48" y="10"/>
              </a:cxn>
              <a:cxn ang="0">
                <a:pos x="53" y="19"/>
              </a:cxn>
              <a:cxn ang="0">
                <a:pos x="71" y="17"/>
              </a:cxn>
              <a:cxn ang="0">
                <a:pos x="77" y="23"/>
              </a:cxn>
              <a:cxn ang="0">
                <a:pos x="88" y="21"/>
              </a:cxn>
              <a:cxn ang="0">
                <a:pos x="93" y="18"/>
              </a:cxn>
              <a:cxn ang="0">
                <a:pos x="94" y="17"/>
              </a:cxn>
              <a:cxn ang="0">
                <a:pos x="112" y="17"/>
              </a:cxn>
              <a:cxn ang="0">
                <a:pos x="101" y="21"/>
              </a:cxn>
              <a:cxn ang="0">
                <a:pos x="101" y="23"/>
              </a:cxn>
              <a:cxn ang="0">
                <a:pos x="105" y="22"/>
              </a:cxn>
              <a:cxn ang="0">
                <a:pos x="110" y="26"/>
              </a:cxn>
              <a:cxn ang="0">
                <a:pos x="113" y="27"/>
              </a:cxn>
              <a:cxn ang="0">
                <a:pos x="121" y="30"/>
              </a:cxn>
              <a:cxn ang="0">
                <a:pos x="118" y="40"/>
              </a:cxn>
              <a:cxn ang="0">
                <a:pos x="120" y="41"/>
              </a:cxn>
              <a:cxn ang="0">
                <a:pos x="130" y="44"/>
              </a:cxn>
              <a:cxn ang="0">
                <a:pos x="68" y="5"/>
              </a:cxn>
              <a:cxn ang="0">
                <a:pos x="80" y="15"/>
              </a:cxn>
              <a:cxn ang="0">
                <a:pos x="92" y="13"/>
              </a:cxn>
              <a:cxn ang="0">
                <a:pos x="115" y="40"/>
              </a:cxn>
              <a:cxn ang="0">
                <a:pos x="120" y="39"/>
              </a:cxn>
              <a:cxn ang="0">
                <a:pos x="118" y="39"/>
              </a:cxn>
              <a:cxn ang="0">
                <a:pos x="118" y="39"/>
              </a:cxn>
              <a:cxn ang="0">
                <a:pos x="121" y="38"/>
              </a:cxn>
              <a:cxn ang="0">
                <a:pos x="123" y="39"/>
              </a:cxn>
              <a:cxn ang="0">
                <a:pos x="121" y="40"/>
              </a:cxn>
              <a:cxn ang="0">
                <a:pos x="123" y="39"/>
              </a:cxn>
              <a:cxn ang="0">
                <a:pos x="122" y="38"/>
              </a:cxn>
              <a:cxn ang="0">
                <a:pos x="122" y="34"/>
              </a:cxn>
              <a:cxn ang="0">
                <a:pos x="122" y="37"/>
              </a:cxn>
            </a:cxnLst>
            <a:rect l="0" t="0" r="r" b="b"/>
            <a:pathLst>
              <a:path w="132" h="127">
                <a:moveTo>
                  <a:pt x="93" y="16"/>
                </a:moveTo>
                <a:cubicBezTo>
                  <a:pt x="92" y="16"/>
                  <a:pt x="92" y="16"/>
                  <a:pt x="92" y="16"/>
                </a:cubicBezTo>
                <a:cubicBezTo>
                  <a:pt x="92" y="15"/>
                  <a:pt x="93" y="16"/>
                  <a:pt x="93" y="16"/>
                </a:cubicBezTo>
                <a:close/>
                <a:moveTo>
                  <a:pt x="87" y="5"/>
                </a:moveTo>
                <a:cubicBezTo>
                  <a:pt x="88" y="4"/>
                  <a:pt x="87" y="3"/>
                  <a:pt x="87" y="4"/>
                </a:cubicBezTo>
                <a:cubicBezTo>
                  <a:pt x="86" y="4"/>
                  <a:pt x="87" y="4"/>
                  <a:pt x="87" y="5"/>
                </a:cubicBezTo>
                <a:close/>
                <a:moveTo>
                  <a:pt x="130" y="44"/>
                </a:moveTo>
                <a:cubicBezTo>
                  <a:pt x="130" y="44"/>
                  <a:pt x="129" y="44"/>
                  <a:pt x="129" y="45"/>
                </a:cubicBezTo>
                <a:cubicBezTo>
                  <a:pt x="129" y="46"/>
                  <a:pt x="128" y="46"/>
                  <a:pt x="128" y="46"/>
                </a:cubicBezTo>
                <a:cubicBezTo>
                  <a:pt x="127" y="47"/>
                  <a:pt x="127" y="47"/>
                  <a:pt x="126" y="48"/>
                </a:cubicBezTo>
                <a:cubicBezTo>
                  <a:pt x="125" y="48"/>
                  <a:pt x="125" y="48"/>
                  <a:pt x="124" y="48"/>
                </a:cubicBezTo>
                <a:cubicBezTo>
                  <a:pt x="124" y="48"/>
                  <a:pt x="123" y="49"/>
                  <a:pt x="123" y="50"/>
                </a:cubicBezTo>
                <a:cubicBezTo>
                  <a:pt x="123" y="50"/>
                  <a:pt x="123" y="51"/>
                  <a:pt x="122" y="51"/>
                </a:cubicBezTo>
                <a:cubicBezTo>
                  <a:pt x="121" y="52"/>
                  <a:pt x="123" y="53"/>
                  <a:pt x="123" y="54"/>
                </a:cubicBezTo>
                <a:cubicBezTo>
                  <a:pt x="123" y="54"/>
                  <a:pt x="122" y="55"/>
                  <a:pt x="123" y="55"/>
                </a:cubicBezTo>
                <a:cubicBezTo>
                  <a:pt x="123" y="56"/>
                  <a:pt x="124" y="56"/>
                  <a:pt x="124" y="56"/>
                </a:cubicBezTo>
                <a:cubicBezTo>
                  <a:pt x="124" y="55"/>
                  <a:pt x="125" y="55"/>
                  <a:pt x="126" y="56"/>
                </a:cubicBezTo>
                <a:cubicBezTo>
                  <a:pt x="126" y="56"/>
                  <a:pt x="126" y="57"/>
                  <a:pt x="125" y="57"/>
                </a:cubicBezTo>
                <a:cubicBezTo>
                  <a:pt x="125" y="57"/>
                  <a:pt x="125" y="58"/>
                  <a:pt x="125" y="58"/>
                </a:cubicBezTo>
                <a:cubicBezTo>
                  <a:pt x="125" y="58"/>
                  <a:pt x="123" y="59"/>
                  <a:pt x="123" y="59"/>
                </a:cubicBezTo>
                <a:cubicBezTo>
                  <a:pt x="122" y="59"/>
                  <a:pt x="122" y="60"/>
                  <a:pt x="121" y="60"/>
                </a:cubicBezTo>
                <a:cubicBezTo>
                  <a:pt x="121" y="60"/>
                  <a:pt x="120" y="59"/>
                  <a:pt x="120" y="59"/>
                </a:cubicBezTo>
                <a:cubicBezTo>
                  <a:pt x="120" y="59"/>
                  <a:pt x="120" y="60"/>
                  <a:pt x="119" y="60"/>
                </a:cubicBezTo>
                <a:cubicBezTo>
                  <a:pt x="119" y="61"/>
                  <a:pt x="118" y="60"/>
                  <a:pt x="117" y="61"/>
                </a:cubicBezTo>
                <a:cubicBezTo>
                  <a:pt x="116" y="62"/>
                  <a:pt x="118" y="63"/>
                  <a:pt x="117" y="64"/>
                </a:cubicBezTo>
                <a:cubicBezTo>
                  <a:pt x="117" y="65"/>
                  <a:pt x="117" y="65"/>
                  <a:pt x="118" y="65"/>
                </a:cubicBezTo>
                <a:cubicBezTo>
                  <a:pt x="118" y="66"/>
                  <a:pt x="117" y="66"/>
                  <a:pt x="117" y="67"/>
                </a:cubicBezTo>
                <a:cubicBezTo>
                  <a:pt x="116" y="67"/>
                  <a:pt x="116" y="68"/>
                  <a:pt x="115" y="68"/>
                </a:cubicBezTo>
                <a:cubicBezTo>
                  <a:pt x="115" y="69"/>
                  <a:pt x="115" y="69"/>
                  <a:pt x="115" y="70"/>
                </a:cubicBezTo>
                <a:cubicBezTo>
                  <a:pt x="116" y="71"/>
                  <a:pt x="117" y="71"/>
                  <a:pt x="117" y="72"/>
                </a:cubicBezTo>
                <a:cubicBezTo>
                  <a:pt x="118" y="73"/>
                  <a:pt x="118" y="74"/>
                  <a:pt x="119" y="75"/>
                </a:cubicBezTo>
                <a:cubicBezTo>
                  <a:pt x="120" y="75"/>
                  <a:pt x="120" y="76"/>
                  <a:pt x="121" y="77"/>
                </a:cubicBezTo>
                <a:cubicBezTo>
                  <a:pt x="121" y="77"/>
                  <a:pt x="121" y="77"/>
                  <a:pt x="122" y="78"/>
                </a:cubicBezTo>
                <a:cubicBezTo>
                  <a:pt x="122" y="79"/>
                  <a:pt x="122" y="80"/>
                  <a:pt x="121" y="81"/>
                </a:cubicBezTo>
                <a:cubicBezTo>
                  <a:pt x="121" y="82"/>
                  <a:pt x="120" y="82"/>
                  <a:pt x="120" y="82"/>
                </a:cubicBezTo>
                <a:cubicBezTo>
                  <a:pt x="119" y="82"/>
                  <a:pt x="119" y="83"/>
                  <a:pt x="119" y="83"/>
                </a:cubicBezTo>
                <a:cubicBezTo>
                  <a:pt x="119" y="85"/>
                  <a:pt x="117" y="85"/>
                  <a:pt x="116" y="85"/>
                </a:cubicBezTo>
                <a:cubicBezTo>
                  <a:pt x="114" y="84"/>
                  <a:pt x="116" y="86"/>
                  <a:pt x="115" y="86"/>
                </a:cubicBezTo>
                <a:cubicBezTo>
                  <a:pt x="114" y="86"/>
                  <a:pt x="114" y="86"/>
                  <a:pt x="113" y="86"/>
                </a:cubicBezTo>
                <a:cubicBezTo>
                  <a:pt x="113" y="86"/>
                  <a:pt x="113" y="87"/>
                  <a:pt x="113" y="87"/>
                </a:cubicBezTo>
                <a:cubicBezTo>
                  <a:pt x="112" y="88"/>
                  <a:pt x="111" y="87"/>
                  <a:pt x="111" y="88"/>
                </a:cubicBezTo>
                <a:cubicBezTo>
                  <a:pt x="110" y="88"/>
                  <a:pt x="110" y="89"/>
                  <a:pt x="109" y="89"/>
                </a:cubicBezTo>
                <a:cubicBezTo>
                  <a:pt x="108" y="89"/>
                  <a:pt x="108" y="88"/>
                  <a:pt x="107" y="89"/>
                </a:cubicBezTo>
                <a:cubicBezTo>
                  <a:pt x="107" y="90"/>
                  <a:pt x="106" y="89"/>
                  <a:pt x="105" y="89"/>
                </a:cubicBezTo>
                <a:cubicBezTo>
                  <a:pt x="105" y="88"/>
                  <a:pt x="104" y="88"/>
                  <a:pt x="104" y="89"/>
                </a:cubicBezTo>
                <a:cubicBezTo>
                  <a:pt x="103" y="89"/>
                  <a:pt x="103" y="89"/>
                  <a:pt x="103" y="90"/>
                </a:cubicBezTo>
                <a:cubicBezTo>
                  <a:pt x="103" y="90"/>
                  <a:pt x="102" y="90"/>
                  <a:pt x="102" y="90"/>
                </a:cubicBezTo>
                <a:cubicBezTo>
                  <a:pt x="101" y="90"/>
                  <a:pt x="101" y="90"/>
                  <a:pt x="101" y="91"/>
                </a:cubicBezTo>
                <a:cubicBezTo>
                  <a:pt x="100" y="92"/>
                  <a:pt x="102" y="94"/>
                  <a:pt x="100" y="95"/>
                </a:cubicBezTo>
                <a:cubicBezTo>
                  <a:pt x="99" y="95"/>
                  <a:pt x="99" y="95"/>
                  <a:pt x="98" y="95"/>
                </a:cubicBezTo>
                <a:cubicBezTo>
                  <a:pt x="98" y="94"/>
                  <a:pt x="97" y="93"/>
                  <a:pt x="97" y="93"/>
                </a:cubicBezTo>
                <a:cubicBezTo>
                  <a:pt x="96" y="92"/>
                  <a:pt x="95" y="90"/>
                  <a:pt x="94" y="91"/>
                </a:cubicBezTo>
                <a:cubicBezTo>
                  <a:pt x="94" y="91"/>
                  <a:pt x="94" y="92"/>
                  <a:pt x="94" y="92"/>
                </a:cubicBezTo>
                <a:cubicBezTo>
                  <a:pt x="93" y="92"/>
                  <a:pt x="93" y="91"/>
                  <a:pt x="93" y="91"/>
                </a:cubicBezTo>
                <a:cubicBezTo>
                  <a:pt x="92" y="91"/>
                  <a:pt x="91" y="91"/>
                  <a:pt x="91" y="91"/>
                </a:cubicBezTo>
                <a:cubicBezTo>
                  <a:pt x="90" y="91"/>
                  <a:pt x="90" y="91"/>
                  <a:pt x="89" y="91"/>
                </a:cubicBezTo>
                <a:cubicBezTo>
                  <a:pt x="88" y="92"/>
                  <a:pt x="88" y="90"/>
                  <a:pt x="87" y="89"/>
                </a:cubicBezTo>
                <a:cubicBezTo>
                  <a:pt x="86" y="88"/>
                  <a:pt x="85" y="89"/>
                  <a:pt x="84" y="89"/>
                </a:cubicBezTo>
                <a:cubicBezTo>
                  <a:pt x="83" y="89"/>
                  <a:pt x="83" y="89"/>
                  <a:pt x="83" y="88"/>
                </a:cubicBezTo>
                <a:cubicBezTo>
                  <a:pt x="83" y="88"/>
                  <a:pt x="82" y="87"/>
                  <a:pt x="81" y="87"/>
                </a:cubicBezTo>
                <a:cubicBezTo>
                  <a:pt x="81" y="88"/>
                  <a:pt x="81" y="88"/>
                  <a:pt x="82" y="88"/>
                </a:cubicBezTo>
                <a:cubicBezTo>
                  <a:pt x="82" y="89"/>
                  <a:pt x="82" y="89"/>
                  <a:pt x="82" y="90"/>
                </a:cubicBezTo>
                <a:cubicBezTo>
                  <a:pt x="83" y="91"/>
                  <a:pt x="83" y="91"/>
                  <a:pt x="84" y="92"/>
                </a:cubicBezTo>
                <a:cubicBezTo>
                  <a:pt x="84" y="93"/>
                  <a:pt x="85" y="93"/>
                  <a:pt x="86" y="93"/>
                </a:cubicBezTo>
                <a:cubicBezTo>
                  <a:pt x="86" y="94"/>
                  <a:pt x="87" y="94"/>
                  <a:pt x="87" y="95"/>
                </a:cubicBezTo>
                <a:cubicBezTo>
                  <a:pt x="87" y="96"/>
                  <a:pt x="86" y="96"/>
                  <a:pt x="86" y="97"/>
                </a:cubicBezTo>
                <a:cubicBezTo>
                  <a:pt x="86" y="98"/>
                  <a:pt x="87" y="98"/>
                  <a:pt x="87" y="99"/>
                </a:cubicBezTo>
                <a:cubicBezTo>
                  <a:pt x="86" y="100"/>
                  <a:pt x="87" y="100"/>
                  <a:pt x="87" y="101"/>
                </a:cubicBezTo>
                <a:cubicBezTo>
                  <a:pt x="87" y="102"/>
                  <a:pt x="88" y="102"/>
                  <a:pt x="88" y="103"/>
                </a:cubicBezTo>
                <a:cubicBezTo>
                  <a:pt x="88" y="104"/>
                  <a:pt x="89" y="105"/>
                  <a:pt x="88" y="106"/>
                </a:cubicBezTo>
                <a:cubicBezTo>
                  <a:pt x="88" y="106"/>
                  <a:pt x="88" y="107"/>
                  <a:pt x="88" y="107"/>
                </a:cubicBezTo>
                <a:cubicBezTo>
                  <a:pt x="89" y="107"/>
                  <a:pt x="89" y="107"/>
                  <a:pt x="90" y="108"/>
                </a:cubicBezTo>
                <a:cubicBezTo>
                  <a:pt x="91" y="108"/>
                  <a:pt x="92" y="107"/>
                  <a:pt x="92" y="107"/>
                </a:cubicBezTo>
                <a:cubicBezTo>
                  <a:pt x="93" y="108"/>
                  <a:pt x="93" y="107"/>
                  <a:pt x="94" y="108"/>
                </a:cubicBezTo>
                <a:cubicBezTo>
                  <a:pt x="95" y="108"/>
                  <a:pt x="95" y="109"/>
                  <a:pt x="94" y="110"/>
                </a:cubicBezTo>
                <a:cubicBezTo>
                  <a:pt x="94" y="111"/>
                  <a:pt x="94" y="111"/>
                  <a:pt x="93" y="111"/>
                </a:cubicBezTo>
                <a:cubicBezTo>
                  <a:pt x="92" y="111"/>
                  <a:pt x="92" y="111"/>
                  <a:pt x="91" y="112"/>
                </a:cubicBezTo>
                <a:cubicBezTo>
                  <a:pt x="91" y="112"/>
                  <a:pt x="90" y="113"/>
                  <a:pt x="90" y="113"/>
                </a:cubicBezTo>
                <a:cubicBezTo>
                  <a:pt x="89" y="113"/>
                  <a:pt x="88" y="113"/>
                  <a:pt x="88" y="113"/>
                </a:cubicBezTo>
                <a:cubicBezTo>
                  <a:pt x="87" y="115"/>
                  <a:pt x="88" y="116"/>
                  <a:pt x="87" y="117"/>
                </a:cubicBezTo>
                <a:cubicBezTo>
                  <a:pt x="87" y="117"/>
                  <a:pt x="86" y="118"/>
                  <a:pt x="86" y="118"/>
                </a:cubicBezTo>
                <a:cubicBezTo>
                  <a:pt x="85" y="118"/>
                  <a:pt x="85" y="119"/>
                  <a:pt x="85" y="119"/>
                </a:cubicBezTo>
                <a:cubicBezTo>
                  <a:pt x="84" y="119"/>
                  <a:pt x="85" y="117"/>
                  <a:pt x="84" y="118"/>
                </a:cubicBezTo>
                <a:cubicBezTo>
                  <a:pt x="83" y="118"/>
                  <a:pt x="83" y="119"/>
                  <a:pt x="82" y="120"/>
                </a:cubicBezTo>
                <a:cubicBezTo>
                  <a:pt x="82" y="120"/>
                  <a:pt x="81" y="121"/>
                  <a:pt x="81" y="120"/>
                </a:cubicBezTo>
                <a:cubicBezTo>
                  <a:pt x="80" y="120"/>
                  <a:pt x="80" y="121"/>
                  <a:pt x="79" y="121"/>
                </a:cubicBezTo>
                <a:cubicBezTo>
                  <a:pt x="79" y="121"/>
                  <a:pt x="78" y="122"/>
                  <a:pt x="78" y="122"/>
                </a:cubicBezTo>
                <a:cubicBezTo>
                  <a:pt x="77" y="122"/>
                  <a:pt x="77" y="122"/>
                  <a:pt x="77" y="123"/>
                </a:cubicBezTo>
                <a:cubicBezTo>
                  <a:pt x="77" y="123"/>
                  <a:pt x="77" y="124"/>
                  <a:pt x="76" y="124"/>
                </a:cubicBezTo>
                <a:cubicBezTo>
                  <a:pt x="75" y="124"/>
                  <a:pt x="75" y="125"/>
                  <a:pt x="75" y="125"/>
                </a:cubicBezTo>
                <a:cubicBezTo>
                  <a:pt x="74" y="126"/>
                  <a:pt x="74" y="126"/>
                  <a:pt x="74" y="127"/>
                </a:cubicBezTo>
                <a:cubicBezTo>
                  <a:pt x="73" y="127"/>
                  <a:pt x="73" y="127"/>
                  <a:pt x="73" y="126"/>
                </a:cubicBezTo>
                <a:cubicBezTo>
                  <a:pt x="73" y="125"/>
                  <a:pt x="74" y="124"/>
                  <a:pt x="73" y="123"/>
                </a:cubicBezTo>
                <a:cubicBezTo>
                  <a:pt x="71" y="123"/>
                  <a:pt x="70" y="125"/>
                  <a:pt x="69" y="125"/>
                </a:cubicBezTo>
                <a:cubicBezTo>
                  <a:pt x="68" y="126"/>
                  <a:pt x="68" y="126"/>
                  <a:pt x="68" y="126"/>
                </a:cubicBezTo>
                <a:cubicBezTo>
                  <a:pt x="67" y="126"/>
                  <a:pt x="67" y="126"/>
                  <a:pt x="66" y="126"/>
                </a:cubicBezTo>
                <a:cubicBezTo>
                  <a:pt x="65" y="126"/>
                  <a:pt x="65" y="126"/>
                  <a:pt x="65" y="125"/>
                </a:cubicBezTo>
                <a:cubicBezTo>
                  <a:pt x="64" y="124"/>
                  <a:pt x="63" y="124"/>
                  <a:pt x="62" y="123"/>
                </a:cubicBezTo>
                <a:cubicBezTo>
                  <a:pt x="62" y="122"/>
                  <a:pt x="61" y="122"/>
                  <a:pt x="60" y="121"/>
                </a:cubicBezTo>
                <a:cubicBezTo>
                  <a:pt x="60" y="120"/>
                  <a:pt x="60" y="119"/>
                  <a:pt x="60" y="119"/>
                </a:cubicBezTo>
                <a:cubicBezTo>
                  <a:pt x="60" y="118"/>
                  <a:pt x="60" y="117"/>
                  <a:pt x="59" y="117"/>
                </a:cubicBezTo>
                <a:cubicBezTo>
                  <a:pt x="59" y="116"/>
                  <a:pt x="59" y="115"/>
                  <a:pt x="59" y="114"/>
                </a:cubicBezTo>
                <a:cubicBezTo>
                  <a:pt x="59" y="114"/>
                  <a:pt x="58" y="113"/>
                  <a:pt x="58" y="112"/>
                </a:cubicBezTo>
                <a:cubicBezTo>
                  <a:pt x="58" y="112"/>
                  <a:pt x="58" y="111"/>
                  <a:pt x="58" y="111"/>
                </a:cubicBezTo>
                <a:cubicBezTo>
                  <a:pt x="57" y="111"/>
                  <a:pt x="57" y="110"/>
                  <a:pt x="57" y="109"/>
                </a:cubicBezTo>
                <a:cubicBezTo>
                  <a:pt x="57" y="109"/>
                  <a:pt x="58" y="109"/>
                  <a:pt x="57" y="108"/>
                </a:cubicBezTo>
                <a:cubicBezTo>
                  <a:pt x="57" y="108"/>
                  <a:pt x="56" y="107"/>
                  <a:pt x="56" y="107"/>
                </a:cubicBezTo>
                <a:cubicBezTo>
                  <a:pt x="56" y="107"/>
                  <a:pt x="55" y="106"/>
                  <a:pt x="55" y="105"/>
                </a:cubicBezTo>
                <a:cubicBezTo>
                  <a:pt x="54" y="105"/>
                  <a:pt x="54" y="105"/>
                  <a:pt x="54" y="104"/>
                </a:cubicBezTo>
                <a:cubicBezTo>
                  <a:pt x="53" y="103"/>
                  <a:pt x="53" y="104"/>
                  <a:pt x="52" y="103"/>
                </a:cubicBezTo>
                <a:cubicBezTo>
                  <a:pt x="52" y="103"/>
                  <a:pt x="51" y="103"/>
                  <a:pt x="51" y="104"/>
                </a:cubicBezTo>
                <a:cubicBezTo>
                  <a:pt x="51" y="102"/>
                  <a:pt x="53" y="100"/>
                  <a:pt x="55" y="99"/>
                </a:cubicBezTo>
                <a:cubicBezTo>
                  <a:pt x="55" y="98"/>
                  <a:pt x="57" y="97"/>
                  <a:pt x="56" y="96"/>
                </a:cubicBezTo>
                <a:cubicBezTo>
                  <a:pt x="55" y="95"/>
                  <a:pt x="55" y="94"/>
                  <a:pt x="55" y="94"/>
                </a:cubicBezTo>
                <a:cubicBezTo>
                  <a:pt x="55" y="93"/>
                  <a:pt x="54" y="93"/>
                  <a:pt x="53" y="92"/>
                </a:cubicBezTo>
                <a:cubicBezTo>
                  <a:pt x="53" y="92"/>
                  <a:pt x="53" y="91"/>
                  <a:pt x="53" y="90"/>
                </a:cubicBezTo>
                <a:cubicBezTo>
                  <a:pt x="52" y="89"/>
                  <a:pt x="52" y="88"/>
                  <a:pt x="52" y="87"/>
                </a:cubicBezTo>
                <a:cubicBezTo>
                  <a:pt x="52" y="86"/>
                  <a:pt x="51" y="85"/>
                  <a:pt x="51" y="84"/>
                </a:cubicBezTo>
                <a:cubicBezTo>
                  <a:pt x="52" y="83"/>
                  <a:pt x="52" y="82"/>
                  <a:pt x="52" y="81"/>
                </a:cubicBezTo>
                <a:cubicBezTo>
                  <a:pt x="52" y="80"/>
                  <a:pt x="53" y="79"/>
                  <a:pt x="52" y="78"/>
                </a:cubicBezTo>
                <a:cubicBezTo>
                  <a:pt x="52" y="78"/>
                  <a:pt x="52" y="77"/>
                  <a:pt x="52" y="77"/>
                </a:cubicBezTo>
                <a:cubicBezTo>
                  <a:pt x="52" y="76"/>
                  <a:pt x="52" y="76"/>
                  <a:pt x="52" y="75"/>
                </a:cubicBezTo>
                <a:cubicBezTo>
                  <a:pt x="53" y="75"/>
                  <a:pt x="54" y="74"/>
                  <a:pt x="54" y="74"/>
                </a:cubicBezTo>
                <a:cubicBezTo>
                  <a:pt x="54" y="73"/>
                  <a:pt x="54" y="73"/>
                  <a:pt x="54" y="73"/>
                </a:cubicBezTo>
                <a:cubicBezTo>
                  <a:pt x="54" y="72"/>
                  <a:pt x="54" y="71"/>
                  <a:pt x="54" y="71"/>
                </a:cubicBezTo>
                <a:cubicBezTo>
                  <a:pt x="55" y="70"/>
                  <a:pt x="56" y="69"/>
                  <a:pt x="56" y="69"/>
                </a:cubicBezTo>
                <a:cubicBezTo>
                  <a:pt x="57" y="68"/>
                  <a:pt x="55" y="67"/>
                  <a:pt x="56" y="66"/>
                </a:cubicBezTo>
                <a:cubicBezTo>
                  <a:pt x="55" y="66"/>
                  <a:pt x="55" y="65"/>
                  <a:pt x="55" y="65"/>
                </a:cubicBezTo>
                <a:cubicBezTo>
                  <a:pt x="54" y="65"/>
                  <a:pt x="53" y="65"/>
                  <a:pt x="52" y="65"/>
                </a:cubicBezTo>
                <a:cubicBezTo>
                  <a:pt x="52" y="65"/>
                  <a:pt x="51" y="66"/>
                  <a:pt x="51" y="66"/>
                </a:cubicBezTo>
                <a:cubicBezTo>
                  <a:pt x="50" y="66"/>
                  <a:pt x="50" y="66"/>
                  <a:pt x="49" y="66"/>
                </a:cubicBezTo>
                <a:cubicBezTo>
                  <a:pt x="49" y="66"/>
                  <a:pt x="49" y="66"/>
                  <a:pt x="48" y="66"/>
                </a:cubicBezTo>
                <a:cubicBezTo>
                  <a:pt x="47" y="66"/>
                  <a:pt x="47" y="66"/>
                  <a:pt x="46" y="66"/>
                </a:cubicBezTo>
                <a:cubicBezTo>
                  <a:pt x="46" y="66"/>
                  <a:pt x="45" y="67"/>
                  <a:pt x="44" y="67"/>
                </a:cubicBezTo>
                <a:cubicBezTo>
                  <a:pt x="44" y="67"/>
                  <a:pt x="43" y="66"/>
                  <a:pt x="42" y="66"/>
                </a:cubicBezTo>
                <a:cubicBezTo>
                  <a:pt x="41" y="66"/>
                  <a:pt x="41" y="66"/>
                  <a:pt x="40" y="66"/>
                </a:cubicBezTo>
                <a:cubicBezTo>
                  <a:pt x="40" y="67"/>
                  <a:pt x="39" y="68"/>
                  <a:pt x="39" y="67"/>
                </a:cubicBezTo>
                <a:cubicBezTo>
                  <a:pt x="38" y="67"/>
                  <a:pt x="38" y="66"/>
                  <a:pt x="37" y="67"/>
                </a:cubicBezTo>
                <a:cubicBezTo>
                  <a:pt x="37" y="67"/>
                  <a:pt x="36" y="66"/>
                  <a:pt x="35" y="64"/>
                </a:cubicBezTo>
                <a:cubicBezTo>
                  <a:pt x="35" y="64"/>
                  <a:pt x="34" y="63"/>
                  <a:pt x="34" y="63"/>
                </a:cubicBezTo>
                <a:cubicBezTo>
                  <a:pt x="33" y="61"/>
                  <a:pt x="32" y="60"/>
                  <a:pt x="31" y="58"/>
                </a:cubicBezTo>
                <a:cubicBezTo>
                  <a:pt x="30" y="57"/>
                  <a:pt x="29" y="58"/>
                  <a:pt x="28" y="58"/>
                </a:cubicBezTo>
                <a:cubicBezTo>
                  <a:pt x="28" y="57"/>
                  <a:pt x="27" y="57"/>
                  <a:pt x="27" y="57"/>
                </a:cubicBezTo>
                <a:cubicBezTo>
                  <a:pt x="26" y="56"/>
                  <a:pt x="26" y="56"/>
                  <a:pt x="26" y="56"/>
                </a:cubicBezTo>
                <a:cubicBezTo>
                  <a:pt x="25" y="56"/>
                  <a:pt x="25" y="56"/>
                  <a:pt x="24" y="56"/>
                </a:cubicBezTo>
                <a:cubicBezTo>
                  <a:pt x="23" y="57"/>
                  <a:pt x="23" y="57"/>
                  <a:pt x="22" y="57"/>
                </a:cubicBezTo>
                <a:cubicBezTo>
                  <a:pt x="21" y="58"/>
                  <a:pt x="20" y="58"/>
                  <a:pt x="20" y="57"/>
                </a:cubicBezTo>
                <a:cubicBezTo>
                  <a:pt x="19" y="57"/>
                  <a:pt x="19" y="57"/>
                  <a:pt x="18" y="57"/>
                </a:cubicBezTo>
                <a:cubicBezTo>
                  <a:pt x="18" y="57"/>
                  <a:pt x="17" y="57"/>
                  <a:pt x="16" y="57"/>
                </a:cubicBezTo>
                <a:cubicBezTo>
                  <a:pt x="16" y="57"/>
                  <a:pt x="15" y="57"/>
                  <a:pt x="14" y="57"/>
                </a:cubicBezTo>
                <a:cubicBezTo>
                  <a:pt x="13" y="58"/>
                  <a:pt x="12" y="56"/>
                  <a:pt x="11" y="56"/>
                </a:cubicBezTo>
                <a:cubicBezTo>
                  <a:pt x="11" y="55"/>
                  <a:pt x="11" y="54"/>
                  <a:pt x="11" y="54"/>
                </a:cubicBezTo>
                <a:cubicBezTo>
                  <a:pt x="11" y="53"/>
                  <a:pt x="10" y="53"/>
                  <a:pt x="10" y="53"/>
                </a:cubicBezTo>
                <a:cubicBezTo>
                  <a:pt x="8" y="53"/>
                  <a:pt x="8" y="51"/>
                  <a:pt x="8" y="50"/>
                </a:cubicBezTo>
                <a:cubicBezTo>
                  <a:pt x="8" y="49"/>
                  <a:pt x="9" y="48"/>
                  <a:pt x="8" y="48"/>
                </a:cubicBezTo>
                <a:cubicBezTo>
                  <a:pt x="8" y="47"/>
                  <a:pt x="9" y="47"/>
                  <a:pt x="9" y="46"/>
                </a:cubicBezTo>
                <a:cubicBezTo>
                  <a:pt x="9" y="46"/>
                  <a:pt x="10" y="46"/>
                  <a:pt x="10" y="46"/>
                </a:cubicBezTo>
                <a:cubicBezTo>
                  <a:pt x="10" y="45"/>
                  <a:pt x="9" y="44"/>
                  <a:pt x="9" y="44"/>
                </a:cubicBezTo>
                <a:cubicBezTo>
                  <a:pt x="9" y="43"/>
                  <a:pt x="10" y="42"/>
                  <a:pt x="9" y="42"/>
                </a:cubicBezTo>
                <a:cubicBezTo>
                  <a:pt x="8" y="41"/>
                  <a:pt x="8" y="41"/>
                  <a:pt x="7" y="40"/>
                </a:cubicBezTo>
                <a:cubicBezTo>
                  <a:pt x="7" y="39"/>
                  <a:pt x="6" y="38"/>
                  <a:pt x="6" y="36"/>
                </a:cubicBezTo>
                <a:cubicBezTo>
                  <a:pt x="6" y="36"/>
                  <a:pt x="6" y="33"/>
                  <a:pt x="5" y="34"/>
                </a:cubicBezTo>
                <a:cubicBezTo>
                  <a:pt x="4" y="35"/>
                  <a:pt x="4" y="33"/>
                  <a:pt x="4" y="32"/>
                </a:cubicBezTo>
                <a:cubicBezTo>
                  <a:pt x="4" y="32"/>
                  <a:pt x="2" y="33"/>
                  <a:pt x="2" y="33"/>
                </a:cubicBezTo>
                <a:cubicBezTo>
                  <a:pt x="0" y="34"/>
                  <a:pt x="1" y="33"/>
                  <a:pt x="1" y="32"/>
                </a:cubicBezTo>
                <a:cubicBezTo>
                  <a:pt x="2" y="31"/>
                  <a:pt x="2" y="31"/>
                  <a:pt x="2" y="30"/>
                </a:cubicBezTo>
                <a:cubicBezTo>
                  <a:pt x="3" y="29"/>
                  <a:pt x="3" y="29"/>
                  <a:pt x="3" y="28"/>
                </a:cubicBezTo>
                <a:cubicBezTo>
                  <a:pt x="4" y="28"/>
                  <a:pt x="4" y="27"/>
                  <a:pt x="4" y="27"/>
                </a:cubicBezTo>
                <a:cubicBezTo>
                  <a:pt x="5" y="26"/>
                  <a:pt x="4" y="25"/>
                  <a:pt x="5" y="25"/>
                </a:cubicBezTo>
                <a:cubicBezTo>
                  <a:pt x="5" y="24"/>
                  <a:pt x="5" y="23"/>
                  <a:pt x="5" y="23"/>
                </a:cubicBezTo>
                <a:cubicBezTo>
                  <a:pt x="5" y="22"/>
                  <a:pt x="5" y="21"/>
                  <a:pt x="6" y="20"/>
                </a:cubicBezTo>
                <a:cubicBezTo>
                  <a:pt x="6" y="19"/>
                  <a:pt x="6" y="19"/>
                  <a:pt x="7" y="18"/>
                </a:cubicBezTo>
                <a:cubicBezTo>
                  <a:pt x="7" y="17"/>
                  <a:pt x="7" y="17"/>
                  <a:pt x="7" y="16"/>
                </a:cubicBezTo>
                <a:cubicBezTo>
                  <a:pt x="8" y="16"/>
                  <a:pt x="8" y="15"/>
                  <a:pt x="8" y="15"/>
                </a:cubicBezTo>
                <a:cubicBezTo>
                  <a:pt x="9" y="14"/>
                  <a:pt x="9" y="14"/>
                  <a:pt x="10" y="13"/>
                </a:cubicBezTo>
                <a:cubicBezTo>
                  <a:pt x="10" y="13"/>
                  <a:pt x="10" y="12"/>
                  <a:pt x="10" y="12"/>
                </a:cubicBezTo>
                <a:cubicBezTo>
                  <a:pt x="11" y="12"/>
                  <a:pt x="11" y="12"/>
                  <a:pt x="12" y="12"/>
                </a:cubicBezTo>
                <a:cubicBezTo>
                  <a:pt x="12" y="12"/>
                  <a:pt x="12" y="12"/>
                  <a:pt x="12" y="12"/>
                </a:cubicBezTo>
                <a:cubicBezTo>
                  <a:pt x="13" y="11"/>
                  <a:pt x="13" y="11"/>
                  <a:pt x="13" y="10"/>
                </a:cubicBezTo>
                <a:cubicBezTo>
                  <a:pt x="14" y="9"/>
                  <a:pt x="14" y="9"/>
                  <a:pt x="15" y="8"/>
                </a:cubicBezTo>
                <a:cubicBezTo>
                  <a:pt x="15" y="7"/>
                  <a:pt x="15" y="7"/>
                  <a:pt x="15" y="6"/>
                </a:cubicBezTo>
                <a:cubicBezTo>
                  <a:pt x="16" y="6"/>
                  <a:pt x="17" y="6"/>
                  <a:pt x="18" y="6"/>
                </a:cubicBezTo>
                <a:cubicBezTo>
                  <a:pt x="19" y="5"/>
                  <a:pt x="19" y="5"/>
                  <a:pt x="20" y="5"/>
                </a:cubicBezTo>
                <a:cubicBezTo>
                  <a:pt x="21" y="5"/>
                  <a:pt x="21" y="4"/>
                  <a:pt x="22" y="4"/>
                </a:cubicBezTo>
                <a:cubicBezTo>
                  <a:pt x="21" y="6"/>
                  <a:pt x="20" y="6"/>
                  <a:pt x="18" y="6"/>
                </a:cubicBezTo>
                <a:cubicBezTo>
                  <a:pt x="16" y="6"/>
                  <a:pt x="15" y="7"/>
                  <a:pt x="15" y="9"/>
                </a:cubicBezTo>
                <a:cubicBezTo>
                  <a:pt x="16" y="10"/>
                  <a:pt x="16" y="11"/>
                  <a:pt x="17" y="12"/>
                </a:cubicBezTo>
                <a:cubicBezTo>
                  <a:pt x="17" y="12"/>
                  <a:pt x="18" y="13"/>
                  <a:pt x="18" y="13"/>
                </a:cubicBezTo>
                <a:cubicBezTo>
                  <a:pt x="19" y="14"/>
                  <a:pt x="18" y="13"/>
                  <a:pt x="18" y="13"/>
                </a:cubicBezTo>
                <a:cubicBezTo>
                  <a:pt x="17" y="13"/>
                  <a:pt x="17" y="14"/>
                  <a:pt x="17" y="14"/>
                </a:cubicBezTo>
                <a:cubicBezTo>
                  <a:pt x="18" y="15"/>
                  <a:pt x="18" y="16"/>
                  <a:pt x="18" y="16"/>
                </a:cubicBezTo>
                <a:cubicBezTo>
                  <a:pt x="19" y="17"/>
                  <a:pt x="18" y="17"/>
                  <a:pt x="18" y="18"/>
                </a:cubicBezTo>
                <a:cubicBezTo>
                  <a:pt x="18" y="19"/>
                  <a:pt x="18" y="19"/>
                  <a:pt x="17" y="20"/>
                </a:cubicBezTo>
                <a:cubicBezTo>
                  <a:pt x="17" y="20"/>
                  <a:pt x="16" y="21"/>
                  <a:pt x="16" y="22"/>
                </a:cubicBezTo>
                <a:cubicBezTo>
                  <a:pt x="15" y="23"/>
                  <a:pt x="14" y="23"/>
                  <a:pt x="14" y="24"/>
                </a:cubicBezTo>
                <a:cubicBezTo>
                  <a:pt x="14" y="25"/>
                  <a:pt x="13" y="26"/>
                  <a:pt x="13" y="27"/>
                </a:cubicBezTo>
                <a:cubicBezTo>
                  <a:pt x="13" y="27"/>
                  <a:pt x="13" y="28"/>
                  <a:pt x="14" y="28"/>
                </a:cubicBezTo>
                <a:cubicBezTo>
                  <a:pt x="14" y="28"/>
                  <a:pt x="14" y="29"/>
                  <a:pt x="14" y="29"/>
                </a:cubicBezTo>
                <a:cubicBezTo>
                  <a:pt x="14" y="29"/>
                  <a:pt x="14" y="29"/>
                  <a:pt x="14" y="29"/>
                </a:cubicBezTo>
                <a:cubicBezTo>
                  <a:pt x="14" y="29"/>
                  <a:pt x="14" y="30"/>
                  <a:pt x="14" y="30"/>
                </a:cubicBezTo>
                <a:cubicBezTo>
                  <a:pt x="13" y="30"/>
                  <a:pt x="14" y="30"/>
                  <a:pt x="14" y="30"/>
                </a:cubicBezTo>
                <a:cubicBezTo>
                  <a:pt x="14" y="30"/>
                  <a:pt x="14" y="30"/>
                  <a:pt x="14" y="30"/>
                </a:cubicBezTo>
                <a:cubicBezTo>
                  <a:pt x="15" y="30"/>
                  <a:pt x="15" y="30"/>
                  <a:pt x="15" y="30"/>
                </a:cubicBezTo>
                <a:cubicBezTo>
                  <a:pt x="15" y="30"/>
                  <a:pt x="15" y="30"/>
                  <a:pt x="15" y="31"/>
                </a:cubicBezTo>
                <a:cubicBezTo>
                  <a:pt x="15" y="30"/>
                  <a:pt x="15" y="31"/>
                  <a:pt x="15" y="31"/>
                </a:cubicBezTo>
                <a:cubicBezTo>
                  <a:pt x="15" y="30"/>
                  <a:pt x="16" y="32"/>
                  <a:pt x="16" y="31"/>
                </a:cubicBezTo>
                <a:cubicBezTo>
                  <a:pt x="16" y="32"/>
                  <a:pt x="16" y="32"/>
                  <a:pt x="16" y="32"/>
                </a:cubicBezTo>
                <a:cubicBezTo>
                  <a:pt x="16" y="32"/>
                  <a:pt x="15" y="33"/>
                  <a:pt x="15" y="33"/>
                </a:cubicBezTo>
                <a:cubicBezTo>
                  <a:pt x="16" y="33"/>
                  <a:pt x="16" y="33"/>
                  <a:pt x="16" y="33"/>
                </a:cubicBezTo>
                <a:cubicBezTo>
                  <a:pt x="16" y="33"/>
                  <a:pt x="16" y="34"/>
                  <a:pt x="16" y="34"/>
                </a:cubicBezTo>
                <a:cubicBezTo>
                  <a:pt x="16" y="35"/>
                  <a:pt x="17" y="35"/>
                  <a:pt x="17" y="35"/>
                </a:cubicBezTo>
                <a:cubicBezTo>
                  <a:pt x="17" y="35"/>
                  <a:pt x="18" y="35"/>
                  <a:pt x="18" y="35"/>
                </a:cubicBezTo>
                <a:cubicBezTo>
                  <a:pt x="19" y="35"/>
                  <a:pt x="20" y="34"/>
                  <a:pt x="20" y="34"/>
                </a:cubicBezTo>
                <a:cubicBezTo>
                  <a:pt x="21" y="34"/>
                  <a:pt x="21" y="33"/>
                  <a:pt x="22" y="32"/>
                </a:cubicBezTo>
                <a:cubicBezTo>
                  <a:pt x="23" y="32"/>
                  <a:pt x="23" y="31"/>
                  <a:pt x="23" y="30"/>
                </a:cubicBezTo>
                <a:cubicBezTo>
                  <a:pt x="23" y="29"/>
                  <a:pt x="23" y="28"/>
                  <a:pt x="23" y="27"/>
                </a:cubicBezTo>
                <a:cubicBezTo>
                  <a:pt x="23" y="27"/>
                  <a:pt x="23" y="27"/>
                  <a:pt x="23" y="27"/>
                </a:cubicBezTo>
                <a:cubicBezTo>
                  <a:pt x="23" y="26"/>
                  <a:pt x="23" y="26"/>
                  <a:pt x="22" y="25"/>
                </a:cubicBezTo>
                <a:cubicBezTo>
                  <a:pt x="22" y="25"/>
                  <a:pt x="22" y="25"/>
                  <a:pt x="22" y="24"/>
                </a:cubicBezTo>
                <a:cubicBezTo>
                  <a:pt x="21" y="24"/>
                  <a:pt x="21" y="23"/>
                  <a:pt x="21" y="23"/>
                </a:cubicBezTo>
                <a:cubicBezTo>
                  <a:pt x="21" y="23"/>
                  <a:pt x="21" y="22"/>
                  <a:pt x="21" y="22"/>
                </a:cubicBezTo>
                <a:cubicBezTo>
                  <a:pt x="20" y="22"/>
                  <a:pt x="20" y="21"/>
                  <a:pt x="20" y="21"/>
                </a:cubicBezTo>
                <a:cubicBezTo>
                  <a:pt x="20" y="20"/>
                  <a:pt x="19" y="20"/>
                  <a:pt x="19" y="19"/>
                </a:cubicBezTo>
                <a:cubicBezTo>
                  <a:pt x="20" y="19"/>
                  <a:pt x="20" y="19"/>
                  <a:pt x="19" y="19"/>
                </a:cubicBezTo>
                <a:cubicBezTo>
                  <a:pt x="19" y="18"/>
                  <a:pt x="19" y="18"/>
                  <a:pt x="19" y="18"/>
                </a:cubicBezTo>
                <a:cubicBezTo>
                  <a:pt x="19" y="18"/>
                  <a:pt x="19" y="18"/>
                  <a:pt x="19" y="18"/>
                </a:cubicBezTo>
                <a:cubicBezTo>
                  <a:pt x="19" y="17"/>
                  <a:pt x="19" y="17"/>
                  <a:pt x="19" y="17"/>
                </a:cubicBezTo>
                <a:cubicBezTo>
                  <a:pt x="19" y="16"/>
                  <a:pt x="19" y="15"/>
                  <a:pt x="19" y="15"/>
                </a:cubicBezTo>
                <a:cubicBezTo>
                  <a:pt x="20" y="15"/>
                  <a:pt x="20" y="16"/>
                  <a:pt x="20" y="15"/>
                </a:cubicBezTo>
                <a:cubicBezTo>
                  <a:pt x="20" y="15"/>
                  <a:pt x="20" y="14"/>
                  <a:pt x="20" y="14"/>
                </a:cubicBezTo>
                <a:cubicBezTo>
                  <a:pt x="19" y="14"/>
                  <a:pt x="21" y="14"/>
                  <a:pt x="21" y="13"/>
                </a:cubicBezTo>
                <a:cubicBezTo>
                  <a:pt x="22" y="13"/>
                  <a:pt x="23" y="13"/>
                  <a:pt x="24" y="12"/>
                </a:cubicBezTo>
                <a:cubicBezTo>
                  <a:pt x="25" y="11"/>
                  <a:pt x="27" y="11"/>
                  <a:pt x="28" y="11"/>
                </a:cubicBezTo>
                <a:cubicBezTo>
                  <a:pt x="28" y="11"/>
                  <a:pt x="29" y="11"/>
                  <a:pt x="29" y="11"/>
                </a:cubicBezTo>
                <a:cubicBezTo>
                  <a:pt x="29" y="11"/>
                  <a:pt x="30" y="10"/>
                  <a:pt x="29" y="10"/>
                </a:cubicBezTo>
                <a:cubicBezTo>
                  <a:pt x="29" y="10"/>
                  <a:pt x="32" y="10"/>
                  <a:pt x="32" y="9"/>
                </a:cubicBezTo>
                <a:cubicBezTo>
                  <a:pt x="33" y="9"/>
                  <a:pt x="33" y="9"/>
                  <a:pt x="33" y="8"/>
                </a:cubicBezTo>
                <a:cubicBezTo>
                  <a:pt x="33" y="8"/>
                  <a:pt x="33" y="8"/>
                  <a:pt x="34" y="9"/>
                </a:cubicBezTo>
                <a:cubicBezTo>
                  <a:pt x="33" y="8"/>
                  <a:pt x="34" y="8"/>
                  <a:pt x="34" y="8"/>
                </a:cubicBezTo>
                <a:cubicBezTo>
                  <a:pt x="34" y="8"/>
                  <a:pt x="34" y="8"/>
                  <a:pt x="34" y="8"/>
                </a:cubicBezTo>
                <a:cubicBezTo>
                  <a:pt x="34" y="8"/>
                  <a:pt x="34" y="8"/>
                  <a:pt x="34" y="8"/>
                </a:cubicBezTo>
                <a:cubicBezTo>
                  <a:pt x="34" y="8"/>
                  <a:pt x="34" y="8"/>
                  <a:pt x="34" y="8"/>
                </a:cubicBezTo>
                <a:cubicBezTo>
                  <a:pt x="33" y="8"/>
                  <a:pt x="33" y="7"/>
                  <a:pt x="33" y="7"/>
                </a:cubicBezTo>
                <a:cubicBezTo>
                  <a:pt x="34" y="7"/>
                  <a:pt x="35" y="8"/>
                  <a:pt x="35" y="8"/>
                </a:cubicBezTo>
                <a:cubicBezTo>
                  <a:pt x="35" y="8"/>
                  <a:pt x="35" y="9"/>
                  <a:pt x="36" y="9"/>
                </a:cubicBezTo>
                <a:cubicBezTo>
                  <a:pt x="37" y="8"/>
                  <a:pt x="37" y="7"/>
                  <a:pt x="36" y="6"/>
                </a:cubicBezTo>
                <a:cubicBezTo>
                  <a:pt x="36" y="6"/>
                  <a:pt x="36" y="6"/>
                  <a:pt x="36" y="6"/>
                </a:cubicBezTo>
                <a:cubicBezTo>
                  <a:pt x="36" y="6"/>
                  <a:pt x="35" y="6"/>
                  <a:pt x="35" y="6"/>
                </a:cubicBezTo>
                <a:cubicBezTo>
                  <a:pt x="35" y="6"/>
                  <a:pt x="34" y="6"/>
                  <a:pt x="33" y="7"/>
                </a:cubicBezTo>
                <a:cubicBezTo>
                  <a:pt x="33" y="7"/>
                  <a:pt x="32" y="7"/>
                  <a:pt x="32" y="6"/>
                </a:cubicBezTo>
                <a:cubicBezTo>
                  <a:pt x="32" y="6"/>
                  <a:pt x="33" y="4"/>
                  <a:pt x="32" y="5"/>
                </a:cubicBezTo>
                <a:cubicBezTo>
                  <a:pt x="32" y="5"/>
                  <a:pt x="32" y="4"/>
                  <a:pt x="32" y="4"/>
                </a:cubicBezTo>
                <a:cubicBezTo>
                  <a:pt x="32" y="3"/>
                  <a:pt x="32" y="3"/>
                  <a:pt x="33" y="2"/>
                </a:cubicBezTo>
                <a:cubicBezTo>
                  <a:pt x="33" y="2"/>
                  <a:pt x="33" y="1"/>
                  <a:pt x="34" y="1"/>
                </a:cubicBezTo>
                <a:cubicBezTo>
                  <a:pt x="34" y="1"/>
                  <a:pt x="34" y="0"/>
                  <a:pt x="35" y="0"/>
                </a:cubicBezTo>
                <a:cubicBezTo>
                  <a:pt x="37" y="1"/>
                  <a:pt x="36" y="3"/>
                  <a:pt x="37" y="4"/>
                </a:cubicBezTo>
                <a:cubicBezTo>
                  <a:pt x="37" y="5"/>
                  <a:pt x="37" y="7"/>
                  <a:pt x="38" y="8"/>
                </a:cubicBezTo>
                <a:cubicBezTo>
                  <a:pt x="38" y="8"/>
                  <a:pt x="38" y="8"/>
                  <a:pt x="39" y="8"/>
                </a:cubicBezTo>
                <a:cubicBezTo>
                  <a:pt x="39" y="8"/>
                  <a:pt x="40" y="8"/>
                  <a:pt x="40" y="8"/>
                </a:cubicBezTo>
                <a:cubicBezTo>
                  <a:pt x="41" y="8"/>
                  <a:pt x="41" y="8"/>
                  <a:pt x="42" y="8"/>
                </a:cubicBezTo>
                <a:cubicBezTo>
                  <a:pt x="43" y="8"/>
                  <a:pt x="43" y="8"/>
                  <a:pt x="44" y="8"/>
                </a:cubicBezTo>
                <a:cubicBezTo>
                  <a:pt x="44" y="9"/>
                  <a:pt x="45" y="8"/>
                  <a:pt x="46" y="9"/>
                </a:cubicBezTo>
                <a:cubicBezTo>
                  <a:pt x="46" y="9"/>
                  <a:pt x="46" y="9"/>
                  <a:pt x="47" y="9"/>
                </a:cubicBezTo>
                <a:cubicBezTo>
                  <a:pt x="47" y="10"/>
                  <a:pt x="48" y="10"/>
                  <a:pt x="48" y="10"/>
                </a:cubicBezTo>
                <a:cubicBezTo>
                  <a:pt x="49" y="11"/>
                  <a:pt x="49" y="11"/>
                  <a:pt x="49" y="11"/>
                </a:cubicBezTo>
                <a:cubicBezTo>
                  <a:pt x="49" y="11"/>
                  <a:pt x="50" y="11"/>
                  <a:pt x="50" y="11"/>
                </a:cubicBezTo>
                <a:cubicBezTo>
                  <a:pt x="50" y="11"/>
                  <a:pt x="50" y="12"/>
                  <a:pt x="50" y="12"/>
                </a:cubicBezTo>
                <a:cubicBezTo>
                  <a:pt x="50" y="13"/>
                  <a:pt x="51" y="14"/>
                  <a:pt x="51" y="14"/>
                </a:cubicBezTo>
                <a:cubicBezTo>
                  <a:pt x="50" y="14"/>
                  <a:pt x="50" y="14"/>
                  <a:pt x="50" y="14"/>
                </a:cubicBezTo>
                <a:cubicBezTo>
                  <a:pt x="50" y="14"/>
                  <a:pt x="52" y="15"/>
                  <a:pt x="51" y="15"/>
                </a:cubicBezTo>
                <a:cubicBezTo>
                  <a:pt x="50" y="15"/>
                  <a:pt x="50" y="17"/>
                  <a:pt x="51" y="18"/>
                </a:cubicBezTo>
                <a:cubicBezTo>
                  <a:pt x="51" y="19"/>
                  <a:pt x="52" y="19"/>
                  <a:pt x="53" y="19"/>
                </a:cubicBezTo>
                <a:cubicBezTo>
                  <a:pt x="53" y="19"/>
                  <a:pt x="54" y="19"/>
                  <a:pt x="54" y="19"/>
                </a:cubicBezTo>
                <a:cubicBezTo>
                  <a:pt x="55" y="19"/>
                  <a:pt x="56" y="19"/>
                  <a:pt x="56" y="19"/>
                </a:cubicBezTo>
                <a:cubicBezTo>
                  <a:pt x="57" y="19"/>
                  <a:pt x="58" y="19"/>
                  <a:pt x="59" y="18"/>
                </a:cubicBezTo>
                <a:cubicBezTo>
                  <a:pt x="60" y="18"/>
                  <a:pt x="61" y="18"/>
                  <a:pt x="62" y="18"/>
                </a:cubicBezTo>
                <a:cubicBezTo>
                  <a:pt x="63" y="18"/>
                  <a:pt x="65" y="18"/>
                  <a:pt x="66" y="18"/>
                </a:cubicBezTo>
                <a:cubicBezTo>
                  <a:pt x="66" y="18"/>
                  <a:pt x="67" y="17"/>
                  <a:pt x="68" y="17"/>
                </a:cubicBezTo>
                <a:cubicBezTo>
                  <a:pt x="68" y="18"/>
                  <a:pt x="69" y="18"/>
                  <a:pt x="69" y="18"/>
                </a:cubicBezTo>
                <a:cubicBezTo>
                  <a:pt x="70" y="17"/>
                  <a:pt x="70" y="17"/>
                  <a:pt x="71" y="17"/>
                </a:cubicBezTo>
                <a:cubicBezTo>
                  <a:pt x="71" y="18"/>
                  <a:pt x="72" y="18"/>
                  <a:pt x="72" y="18"/>
                </a:cubicBezTo>
                <a:cubicBezTo>
                  <a:pt x="72" y="18"/>
                  <a:pt x="71" y="18"/>
                  <a:pt x="71" y="18"/>
                </a:cubicBezTo>
                <a:cubicBezTo>
                  <a:pt x="71" y="19"/>
                  <a:pt x="71" y="19"/>
                  <a:pt x="72" y="19"/>
                </a:cubicBezTo>
                <a:cubicBezTo>
                  <a:pt x="72" y="20"/>
                  <a:pt x="73" y="20"/>
                  <a:pt x="73" y="21"/>
                </a:cubicBezTo>
                <a:cubicBezTo>
                  <a:pt x="73" y="21"/>
                  <a:pt x="73" y="21"/>
                  <a:pt x="73" y="21"/>
                </a:cubicBezTo>
                <a:cubicBezTo>
                  <a:pt x="74" y="22"/>
                  <a:pt x="74" y="22"/>
                  <a:pt x="75" y="22"/>
                </a:cubicBezTo>
                <a:cubicBezTo>
                  <a:pt x="75" y="22"/>
                  <a:pt x="74" y="21"/>
                  <a:pt x="74" y="21"/>
                </a:cubicBezTo>
                <a:cubicBezTo>
                  <a:pt x="75" y="21"/>
                  <a:pt x="76" y="22"/>
                  <a:pt x="77" y="23"/>
                </a:cubicBezTo>
                <a:cubicBezTo>
                  <a:pt x="78" y="23"/>
                  <a:pt x="80" y="23"/>
                  <a:pt x="81" y="24"/>
                </a:cubicBezTo>
                <a:cubicBezTo>
                  <a:pt x="81" y="24"/>
                  <a:pt x="80" y="24"/>
                  <a:pt x="80" y="24"/>
                </a:cubicBezTo>
                <a:cubicBezTo>
                  <a:pt x="81" y="24"/>
                  <a:pt x="82" y="23"/>
                  <a:pt x="83" y="23"/>
                </a:cubicBezTo>
                <a:cubicBezTo>
                  <a:pt x="84" y="23"/>
                  <a:pt x="84" y="23"/>
                  <a:pt x="84" y="23"/>
                </a:cubicBezTo>
                <a:cubicBezTo>
                  <a:pt x="85" y="22"/>
                  <a:pt x="84" y="22"/>
                  <a:pt x="85" y="22"/>
                </a:cubicBezTo>
                <a:cubicBezTo>
                  <a:pt x="85" y="22"/>
                  <a:pt x="86" y="22"/>
                  <a:pt x="86" y="22"/>
                </a:cubicBezTo>
                <a:cubicBezTo>
                  <a:pt x="86" y="21"/>
                  <a:pt x="86" y="22"/>
                  <a:pt x="87" y="22"/>
                </a:cubicBezTo>
                <a:cubicBezTo>
                  <a:pt x="87" y="22"/>
                  <a:pt x="88" y="22"/>
                  <a:pt x="88" y="21"/>
                </a:cubicBezTo>
                <a:cubicBezTo>
                  <a:pt x="88" y="21"/>
                  <a:pt x="87" y="21"/>
                  <a:pt x="87" y="21"/>
                </a:cubicBezTo>
                <a:cubicBezTo>
                  <a:pt x="87" y="21"/>
                  <a:pt x="88" y="21"/>
                  <a:pt x="88" y="20"/>
                </a:cubicBezTo>
                <a:cubicBezTo>
                  <a:pt x="88" y="20"/>
                  <a:pt x="88" y="21"/>
                  <a:pt x="88" y="21"/>
                </a:cubicBezTo>
                <a:cubicBezTo>
                  <a:pt x="88" y="21"/>
                  <a:pt x="89" y="20"/>
                  <a:pt x="89" y="20"/>
                </a:cubicBezTo>
                <a:cubicBezTo>
                  <a:pt x="90" y="20"/>
                  <a:pt x="89" y="20"/>
                  <a:pt x="90" y="19"/>
                </a:cubicBezTo>
                <a:cubicBezTo>
                  <a:pt x="90" y="19"/>
                  <a:pt x="90" y="19"/>
                  <a:pt x="91" y="19"/>
                </a:cubicBezTo>
                <a:cubicBezTo>
                  <a:pt x="92" y="20"/>
                  <a:pt x="94" y="20"/>
                  <a:pt x="95" y="19"/>
                </a:cubicBezTo>
                <a:cubicBezTo>
                  <a:pt x="94" y="19"/>
                  <a:pt x="94" y="18"/>
                  <a:pt x="93" y="18"/>
                </a:cubicBezTo>
                <a:cubicBezTo>
                  <a:pt x="92" y="18"/>
                  <a:pt x="92" y="18"/>
                  <a:pt x="91" y="18"/>
                </a:cubicBezTo>
                <a:cubicBezTo>
                  <a:pt x="90" y="18"/>
                  <a:pt x="89" y="19"/>
                  <a:pt x="89" y="19"/>
                </a:cubicBezTo>
                <a:cubicBezTo>
                  <a:pt x="89" y="18"/>
                  <a:pt x="89" y="18"/>
                  <a:pt x="89" y="17"/>
                </a:cubicBezTo>
                <a:cubicBezTo>
                  <a:pt x="89" y="17"/>
                  <a:pt x="90" y="18"/>
                  <a:pt x="90" y="18"/>
                </a:cubicBezTo>
                <a:cubicBezTo>
                  <a:pt x="91" y="18"/>
                  <a:pt x="91" y="17"/>
                  <a:pt x="91" y="17"/>
                </a:cubicBezTo>
                <a:cubicBezTo>
                  <a:pt x="91" y="17"/>
                  <a:pt x="92" y="17"/>
                  <a:pt x="92" y="17"/>
                </a:cubicBezTo>
                <a:cubicBezTo>
                  <a:pt x="92" y="17"/>
                  <a:pt x="93" y="17"/>
                  <a:pt x="94" y="17"/>
                </a:cubicBezTo>
                <a:cubicBezTo>
                  <a:pt x="94" y="16"/>
                  <a:pt x="94" y="17"/>
                  <a:pt x="94" y="17"/>
                </a:cubicBezTo>
                <a:cubicBezTo>
                  <a:pt x="95" y="18"/>
                  <a:pt x="96" y="18"/>
                  <a:pt x="97" y="17"/>
                </a:cubicBezTo>
                <a:cubicBezTo>
                  <a:pt x="98" y="17"/>
                  <a:pt x="99" y="17"/>
                  <a:pt x="100" y="16"/>
                </a:cubicBezTo>
                <a:cubicBezTo>
                  <a:pt x="100" y="16"/>
                  <a:pt x="102" y="17"/>
                  <a:pt x="102" y="17"/>
                </a:cubicBezTo>
                <a:cubicBezTo>
                  <a:pt x="103" y="17"/>
                  <a:pt x="103" y="16"/>
                  <a:pt x="104" y="16"/>
                </a:cubicBezTo>
                <a:cubicBezTo>
                  <a:pt x="104" y="16"/>
                  <a:pt x="105" y="16"/>
                  <a:pt x="105" y="16"/>
                </a:cubicBezTo>
                <a:cubicBezTo>
                  <a:pt x="107" y="16"/>
                  <a:pt x="108" y="17"/>
                  <a:pt x="109" y="17"/>
                </a:cubicBezTo>
                <a:cubicBezTo>
                  <a:pt x="110" y="17"/>
                  <a:pt x="112" y="16"/>
                  <a:pt x="113" y="16"/>
                </a:cubicBezTo>
                <a:cubicBezTo>
                  <a:pt x="112" y="16"/>
                  <a:pt x="112" y="17"/>
                  <a:pt x="112" y="17"/>
                </a:cubicBezTo>
                <a:cubicBezTo>
                  <a:pt x="111" y="17"/>
                  <a:pt x="111" y="17"/>
                  <a:pt x="110" y="17"/>
                </a:cubicBezTo>
                <a:cubicBezTo>
                  <a:pt x="110" y="17"/>
                  <a:pt x="109" y="17"/>
                  <a:pt x="109" y="18"/>
                </a:cubicBezTo>
                <a:cubicBezTo>
                  <a:pt x="108" y="18"/>
                  <a:pt x="108" y="18"/>
                  <a:pt x="108" y="19"/>
                </a:cubicBezTo>
                <a:cubicBezTo>
                  <a:pt x="107" y="19"/>
                  <a:pt x="105" y="18"/>
                  <a:pt x="104" y="18"/>
                </a:cubicBezTo>
                <a:cubicBezTo>
                  <a:pt x="104" y="18"/>
                  <a:pt x="101" y="19"/>
                  <a:pt x="101" y="19"/>
                </a:cubicBezTo>
                <a:cubicBezTo>
                  <a:pt x="102" y="19"/>
                  <a:pt x="103" y="18"/>
                  <a:pt x="103" y="20"/>
                </a:cubicBezTo>
                <a:cubicBezTo>
                  <a:pt x="103" y="21"/>
                  <a:pt x="102" y="19"/>
                  <a:pt x="101" y="20"/>
                </a:cubicBezTo>
                <a:cubicBezTo>
                  <a:pt x="102" y="20"/>
                  <a:pt x="101" y="21"/>
                  <a:pt x="101" y="21"/>
                </a:cubicBezTo>
                <a:cubicBezTo>
                  <a:pt x="102" y="21"/>
                  <a:pt x="101" y="20"/>
                  <a:pt x="102" y="20"/>
                </a:cubicBezTo>
                <a:cubicBezTo>
                  <a:pt x="102" y="20"/>
                  <a:pt x="102" y="20"/>
                  <a:pt x="103" y="20"/>
                </a:cubicBezTo>
                <a:cubicBezTo>
                  <a:pt x="104" y="20"/>
                  <a:pt x="104" y="21"/>
                  <a:pt x="104" y="21"/>
                </a:cubicBezTo>
                <a:cubicBezTo>
                  <a:pt x="105" y="22"/>
                  <a:pt x="105" y="24"/>
                  <a:pt x="104" y="23"/>
                </a:cubicBezTo>
                <a:cubicBezTo>
                  <a:pt x="103" y="23"/>
                  <a:pt x="103" y="24"/>
                  <a:pt x="103" y="24"/>
                </a:cubicBezTo>
                <a:cubicBezTo>
                  <a:pt x="103" y="24"/>
                  <a:pt x="102" y="24"/>
                  <a:pt x="102" y="24"/>
                </a:cubicBezTo>
                <a:cubicBezTo>
                  <a:pt x="102" y="24"/>
                  <a:pt x="102" y="23"/>
                  <a:pt x="102" y="23"/>
                </a:cubicBezTo>
                <a:cubicBezTo>
                  <a:pt x="102" y="23"/>
                  <a:pt x="101" y="23"/>
                  <a:pt x="101" y="23"/>
                </a:cubicBezTo>
                <a:cubicBezTo>
                  <a:pt x="101" y="24"/>
                  <a:pt x="101" y="24"/>
                  <a:pt x="101" y="23"/>
                </a:cubicBezTo>
                <a:cubicBezTo>
                  <a:pt x="102" y="23"/>
                  <a:pt x="102" y="24"/>
                  <a:pt x="102" y="24"/>
                </a:cubicBezTo>
                <a:cubicBezTo>
                  <a:pt x="102" y="24"/>
                  <a:pt x="102" y="24"/>
                  <a:pt x="102" y="24"/>
                </a:cubicBezTo>
                <a:cubicBezTo>
                  <a:pt x="102" y="24"/>
                  <a:pt x="102" y="24"/>
                  <a:pt x="102" y="24"/>
                </a:cubicBezTo>
                <a:cubicBezTo>
                  <a:pt x="103" y="24"/>
                  <a:pt x="103" y="24"/>
                  <a:pt x="103" y="24"/>
                </a:cubicBezTo>
                <a:cubicBezTo>
                  <a:pt x="103" y="24"/>
                  <a:pt x="103" y="24"/>
                  <a:pt x="104" y="24"/>
                </a:cubicBezTo>
                <a:cubicBezTo>
                  <a:pt x="104" y="24"/>
                  <a:pt x="105" y="24"/>
                  <a:pt x="105" y="23"/>
                </a:cubicBezTo>
                <a:cubicBezTo>
                  <a:pt x="105" y="23"/>
                  <a:pt x="105" y="22"/>
                  <a:pt x="105" y="22"/>
                </a:cubicBezTo>
                <a:cubicBezTo>
                  <a:pt x="106" y="22"/>
                  <a:pt x="106" y="23"/>
                  <a:pt x="106" y="24"/>
                </a:cubicBezTo>
                <a:cubicBezTo>
                  <a:pt x="107" y="24"/>
                  <a:pt x="106" y="25"/>
                  <a:pt x="107" y="25"/>
                </a:cubicBezTo>
                <a:cubicBezTo>
                  <a:pt x="107" y="26"/>
                  <a:pt x="107" y="27"/>
                  <a:pt x="107" y="27"/>
                </a:cubicBezTo>
                <a:cubicBezTo>
                  <a:pt x="107" y="28"/>
                  <a:pt x="108" y="27"/>
                  <a:pt x="108" y="27"/>
                </a:cubicBezTo>
                <a:cubicBezTo>
                  <a:pt x="108" y="26"/>
                  <a:pt x="108" y="25"/>
                  <a:pt x="108" y="25"/>
                </a:cubicBezTo>
                <a:cubicBezTo>
                  <a:pt x="109" y="26"/>
                  <a:pt x="109" y="27"/>
                  <a:pt x="109" y="28"/>
                </a:cubicBezTo>
                <a:cubicBezTo>
                  <a:pt x="109" y="28"/>
                  <a:pt x="109" y="27"/>
                  <a:pt x="109" y="26"/>
                </a:cubicBezTo>
                <a:cubicBezTo>
                  <a:pt x="109" y="24"/>
                  <a:pt x="110" y="26"/>
                  <a:pt x="110" y="26"/>
                </a:cubicBezTo>
                <a:cubicBezTo>
                  <a:pt x="110" y="26"/>
                  <a:pt x="109" y="25"/>
                  <a:pt x="109" y="25"/>
                </a:cubicBezTo>
                <a:cubicBezTo>
                  <a:pt x="109" y="25"/>
                  <a:pt x="109" y="25"/>
                  <a:pt x="109" y="25"/>
                </a:cubicBezTo>
                <a:cubicBezTo>
                  <a:pt x="108" y="24"/>
                  <a:pt x="109" y="24"/>
                  <a:pt x="109" y="24"/>
                </a:cubicBezTo>
                <a:cubicBezTo>
                  <a:pt x="110" y="24"/>
                  <a:pt x="111" y="25"/>
                  <a:pt x="111" y="26"/>
                </a:cubicBezTo>
                <a:cubicBezTo>
                  <a:pt x="112" y="27"/>
                  <a:pt x="112" y="27"/>
                  <a:pt x="112" y="28"/>
                </a:cubicBezTo>
                <a:cubicBezTo>
                  <a:pt x="112" y="28"/>
                  <a:pt x="112" y="27"/>
                  <a:pt x="113" y="27"/>
                </a:cubicBezTo>
                <a:cubicBezTo>
                  <a:pt x="113" y="27"/>
                  <a:pt x="113" y="27"/>
                  <a:pt x="113" y="27"/>
                </a:cubicBezTo>
                <a:cubicBezTo>
                  <a:pt x="113" y="27"/>
                  <a:pt x="113" y="27"/>
                  <a:pt x="113" y="27"/>
                </a:cubicBezTo>
                <a:cubicBezTo>
                  <a:pt x="113" y="27"/>
                  <a:pt x="112" y="26"/>
                  <a:pt x="113" y="26"/>
                </a:cubicBezTo>
                <a:cubicBezTo>
                  <a:pt x="114" y="26"/>
                  <a:pt x="115" y="27"/>
                  <a:pt x="114" y="26"/>
                </a:cubicBezTo>
                <a:cubicBezTo>
                  <a:pt x="114" y="25"/>
                  <a:pt x="115" y="26"/>
                  <a:pt x="115" y="26"/>
                </a:cubicBezTo>
                <a:cubicBezTo>
                  <a:pt x="116" y="26"/>
                  <a:pt x="116" y="27"/>
                  <a:pt x="116" y="27"/>
                </a:cubicBezTo>
                <a:cubicBezTo>
                  <a:pt x="116" y="28"/>
                  <a:pt x="117" y="28"/>
                  <a:pt x="117" y="29"/>
                </a:cubicBezTo>
                <a:cubicBezTo>
                  <a:pt x="118" y="29"/>
                  <a:pt x="118" y="29"/>
                  <a:pt x="118" y="29"/>
                </a:cubicBezTo>
                <a:cubicBezTo>
                  <a:pt x="118" y="29"/>
                  <a:pt x="118" y="29"/>
                  <a:pt x="118" y="29"/>
                </a:cubicBezTo>
                <a:cubicBezTo>
                  <a:pt x="119" y="29"/>
                  <a:pt x="120" y="29"/>
                  <a:pt x="121" y="30"/>
                </a:cubicBezTo>
                <a:cubicBezTo>
                  <a:pt x="120" y="30"/>
                  <a:pt x="120" y="30"/>
                  <a:pt x="120" y="30"/>
                </a:cubicBezTo>
                <a:cubicBezTo>
                  <a:pt x="122" y="30"/>
                  <a:pt x="123" y="31"/>
                  <a:pt x="122" y="32"/>
                </a:cubicBezTo>
                <a:cubicBezTo>
                  <a:pt x="122" y="32"/>
                  <a:pt x="121" y="33"/>
                  <a:pt x="120" y="33"/>
                </a:cubicBezTo>
                <a:cubicBezTo>
                  <a:pt x="120" y="33"/>
                  <a:pt x="119" y="34"/>
                  <a:pt x="119" y="35"/>
                </a:cubicBezTo>
                <a:cubicBezTo>
                  <a:pt x="119" y="35"/>
                  <a:pt x="120" y="33"/>
                  <a:pt x="120" y="33"/>
                </a:cubicBezTo>
                <a:cubicBezTo>
                  <a:pt x="121" y="34"/>
                  <a:pt x="119" y="36"/>
                  <a:pt x="119" y="36"/>
                </a:cubicBezTo>
                <a:cubicBezTo>
                  <a:pt x="119" y="37"/>
                  <a:pt x="119" y="37"/>
                  <a:pt x="118" y="38"/>
                </a:cubicBezTo>
                <a:cubicBezTo>
                  <a:pt x="118" y="38"/>
                  <a:pt x="118" y="39"/>
                  <a:pt x="118" y="40"/>
                </a:cubicBezTo>
                <a:cubicBezTo>
                  <a:pt x="117" y="40"/>
                  <a:pt x="113" y="40"/>
                  <a:pt x="113" y="40"/>
                </a:cubicBezTo>
                <a:cubicBezTo>
                  <a:pt x="113" y="40"/>
                  <a:pt x="115" y="41"/>
                  <a:pt x="115" y="41"/>
                </a:cubicBezTo>
                <a:cubicBezTo>
                  <a:pt x="115" y="41"/>
                  <a:pt x="116" y="41"/>
                  <a:pt x="116" y="41"/>
                </a:cubicBezTo>
                <a:cubicBezTo>
                  <a:pt x="116" y="41"/>
                  <a:pt x="117" y="42"/>
                  <a:pt x="117" y="42"/>
                </a:cubicBezTo>
                <a:cubicBezTo>
                  <a:pt x="117" y="42"/>
                  <a:pt x="117" y="41"/>
                  <a:pt x="118" y="41"/>
                </a:cubicBezTo>
                <a:cubicBezTo>
                  <a:pt x="118" y="41"/>
                  <a:pt x="118" y="41"/>
                  <a:pt x="119" y="41"/>
                </a:cubicBezTo>
                <a:cubicBezTo>
                  <a:pt x="120" y="41"/>
                  <a:pt x="118" y="41"/>
                  <a:pt x="119" y="42"/>
                </a:cubicBezTo>
                <a:cubicBezTo>
                  <a:pt x="119" y="41"/>
                  <a:pt x="119" y="41"/>
                  <a:pt x="120" y="41"/>
                </a:cubicBezTo>
                <a:cubicBezTo>
                  <a:pt x="120" y="40"/>
                  <a:pt x="120" y="40"/>
                  <a:pt x="121" y="40"/>
                </a:cubicBezTo>
                <a:cubicBezTo>
                  <a:pt x="121" y="40"/>
                  <a:pt x="122" y="40"/>
                  <a:pt x="122" y="40"/>
                </a:cubicBezTo>
                <a:cubicBezTo>
                  <a:pt x="123" y="40"/>
                  <a:pt x="123" y="40"/>
                  <a:pt x="123" y="40"/>
                </a:cubicBezTo>
                <a:cubicBezTo>
                  <a:pt x="123" y="40"/>
                  <a:pt x="124" y="40"/>
                  <a:pt x="124" y="40"/>
                </a:cubicBezTo>
                <a:cubicBezTo>
                  <a:pt x="125" y="40"/>
                  <a:pt x="125" y="40"/>
                  <a:pt x="125" y="40"/>
                </a:cubicBezTo>
                <a:cubicBezTo>
                  <a:pt x="126" y="39"/>
                  <a:pt x="126" y="39"/>
                  <a:pt x="127" y="39"/>
                </a:cubicBezTo>
                <a:cubicBezTo>
                  <a:pt x="128" y="40"/>
                  <a:pt x="129" y="40"/>
                  <a:pt x="130" y="41"/>
                </a:cubicBezTo>
                <a:cubicBezTo>
                  <a:pt x="130" y="42"/>
                  <a:pt x="132" y="44"/>
                  <a:pt x="130" y="44"/>
                </a:cubicBezTo>
                <a:close/>
                <a:moveTo>
                  <a:pt x="113" y="28"/>
                </a:moveTo>
                <a:cubicBezTo>
                  <a:pt x="113" y="28"/>
                  <a:pt x="113" y="28"/>
                  <a:pt x="113" y="29"/>
                </a:cubicBezTo>
                <a:cubicBezTo>
                  <a:pt x="113" y="28"/>
                  <a:pt x="113" y="28"/>
                  <a:pt x="113" y="28"/>
                </a:cubicBezTo>
                <a:close/>
                <a:moveTo>
                  <a:pt x="68" y="5"/>
                </a:moveTo>
                <a:cubicBezTo>
                  <a:pt x="68" y="5"/>
                  <a:pt x="67" y="5"/>
                  <a:pt x="67" y="4"/>
                </a:cubicBezTo>
                <a:cubicBezTo>
                  <a:pt x="67" y="5"/>
                  <a:pt x="67" y="5"/>
                  <a:pt x="67" y="5"/>
                </a:cubicBezTo>
                <a:cubicBezTo>
                  <a:pt x="67" y="5"/>
                  <a:pt x="67" y="5"/>
                  <a:pt x="67" y="5"/>
                </a:cubicBezTo>
                <a:cubicBezTo>
                  <a:pt x="67" y="5"/>
                  <a:pt x="67" y="5"/>
                  <a:pt x="68" y="5"/>
                </a:cubicBezTo>
                <a:close/>
                <a:moveTo>
                  <a:pt x="72" y="4"/>
                </a:moveTo>
                <a:cubicBezTo>
                  <a:pt x="72" y="4"/>
                  <a:pt x="72" y="4"/>
                  <a:pt x="71" y="4"/>
                </a:cubicBezTo>
                <a:cubicBezTo>
                  <a:pt x="72" y="5"/>
                  <a:pt x="72" y="5"/>
                  <a:pt x="72" y="5"/>
                </a:cubicBezTo>
                <a:cubicBezTo>
                  <a:pt x="72" y="5"/>
                  <a:pt x="72" y="4"/>
                  <a:pt x="72" y="4"/>
                </a:cubicBezTo>
                <a:close/>
                <a:moveTo>
                  <a:pt x="80" y="15"/>
                </a:moveTo>
                <a:cubicBezTo>
                  <a:pt x="80" y="15"/>
                  <a:pt x="81" y="15"/>
                  <a:pt x="80" y="14"/>
                </a:cubicBezTo>
                <a:cubicBezTo>
                  <a:pt x="80" y="14"/>
                  <a:pt x="79" y="14"/>
                  <a:pt x="79" y="14"/>
                </a:cubicBezTo>
                <a:cubicBezTo>
                  <a:pt x="77" y="14"/>
                  <a:pt x="79" y="15"/>
                  <a:pt x="80" y="15"/>
                </a:cubicBezTo>
                <a:close/>
                <a:moveTo>
                  <a:pt x="90" y="14"/>
                </a:moveTo>
                <a:cubicBezTo>
                  <a:pt x="90" y="14"/>
                  <a:pt x="92" y="14"/>
                  <a:pt x="91" y="15"/>
                </a:cubicBezTo>
                <a:cubicBezTo>
                  <a:pt x="92" y="15"/>
                  <a:pt x="92" y="15"/>
                  <a:pt x="93" y="15"/>
                </a:cubicBezTo>
                <a:cubicBezTo>
                  <a:pt x="93" y="15"/>
                  <a:pt x="93" y="14"/>
                  <a:pt x="93" y="14"/>
                </a:cubicBezTo>
                <a:cubicBezTo>
                  <a:pt x="93" y="14"/>
                  <a:pt x="94" y="14"/>
                  <a:pt x="94" y="14"/>
                </a:cubicBezTo>
                <a:cubicBezTo>
                  <a:pt x="94" y="14"/>
                  <a:pt x="94" y="13"/>
                  <a:pt x="94" y="13"/>
                </a:cubicBezTo>
                <a:cubicBezTo>
                  <a:pt x="94" y="12"/>
                  <a:pt x="94" y="11"/>
                  <a:pt x="93" y="12"/>
                </a:cubicBezTo>
                <a:cubicBezTo>
                  <a:pt x="92" y="12"/>
                  <a:pt x="92" y="13"/>
                  <a:pt x="92" y="13"/>
                </a:cubicBezTo>
                <a:cubicBezTo>
                  <a:pt x="92" y="13"/>
                  <a:pt x="91" y="14"/>
                  <a:pt x="91" y="13"/>
                </a:cubicBezTo>
                <a:cubicBezTo>
                  <a:pt x="90" y="13"/>
                  <a:pt x="90" y="12"/>
                  <a:pt x="90" y="12"/>
                </a:cubicBezTo>
                <a:cubicBezTo>
                  <a:pt x="89" y="13"/>
                  <a:pt x="88" y="13"/>
                  <a:pt x="88" y="13"/>
                </a:cubicBezTo>
                <a:cubicBezTo>
                  <a:pt x="88" y="14"/>
                  <a:pt x="89" y="14"/>
                  <a:pt x="90" y="14"/>
                </a:cubicBezTo>
                <a:close/>
                <a:moveTo>
                  <a:pt x="117" y="40"/>
                </a:moveTo>
                <a:cubicBezTo>
                  <a:pt x="116" y="40"/>
                  <a:pt x="116" y="40"/>
                  <a:pt x="116" y="40"/>
                </a:cubicBezTo>
                <a:cubicBezTo>
                  <a:pt x="116" y="40"/>
                  <a:pt x="115" y="40"/>
                  <a:pt x="115" y="40"/>
                </a:cubicBezTo>
                <a:cubicBezTo>
                  <a:pt x="115" y="40"/>
                  <a:pt x="115" y="40"/>
                  <a:pt x="115" y="40"/>
                </a:cubicBezTo>
                <a:cubicBezTo>
                  <a:pt x="115" y="40"/>
                  <a:pt x="114" y="40"/>
                  <a:pt x="114" y="40"/>
                </a:cubicBezTo>
                <a:cubicBezTo>
                  <a:pt x="114" y="40"/>
                  <a:pt x="115" y="40"/>
                  <a:pt x="115" y="40"/>
                </a:cubicBezTo>
                <a:cubicBezTo>
                  <a:pt x="115" y="40"/>
                  <a:pt x="115" y="41"/>
                  <a:pt x="116" y="41"/>
                </a:cubicBezTo>
                <a:cubicBezTo>
                  <a:pt x="116" y="41"/>
                  <a:pt x="117" y="41"/>
                  <a:pt x="117" y="41"/>
                </a:cubicBezTo>
                <a:cubicBezTo>
                  <a:pt x="117" y="41"/>
                  <a:pt x="118" y="41"/>
                  <a:pt x="118" y="41"/>
                </a:cubicBezTo>
                <a:cubicBezTo>
                  <a:pt x="118" y="41"/>
                  <a:pt x="117" y="41"/>
                  <a:pt x="117" y="41"/>
                </a:cubicBezTo>
                <a:cubicBezTo>
                  <a:pt x="117" y="40"/>
                  <a:pt x="117" y="40"/>
                  <a:pt x="117" y="40"/>
                </a:cubicBezTo>
                <a:close/>
                <a:moveTo>
                  <a:pt x="120" y="39"/>
                </a:moveTo>
                <a:cubicBezTo>
                  <a:pt x="120" y="39"/>
                  <a:pt x="121" y="39"/>
                  <a:pt x="121" y="38"/>
                </a:cubicBezTo>
                <a:cubicBezTo>
                  <a:pt x="121" y="38"/>
                  <a:pt x="120" y="39"/>
                  <a:pt x="120" y="39"/>
                </a:cubicBezTo>
                <a:close/>
                <a:moveTo>
                  <a:pt x="121" y="38"/>
                </a:moveTo>
                <a:cubicBezTo>
                  <a:pt x="120" y="38"/>
                  <a:pt x="120" y="39"/>
                  <a:pt x="120" y="39"/>
                </a:cubicBezTo>
                <a:cubicBezTo>
                  <a:pt x="119" y="39"/>
                  <a:pt x="119" y="39"/>
                  <a:pt x="119" y="39"/>
                </a:cubicBezTo>
                <a:cubicBezTo>
                  <a:pt x="118" y="39"/>
                  <a:pt x="118" y="39"/>
                  <a:pt x="118" y="39"/>
                </a:cubicBezTo>
                <a:cubicBezTo>
                  <a:pt x="118" y="39"/>
                  <a:pt x="118" y="39"/>
                  <a:pt x="119" y="39"/>
                </a:cubicBezTo>
                <a:cubicBezTo>
                  <a:pt x="118" y="39"/>
                  <a:pt x="118" y="39"/>
                  <a:pt x="118" y="39"/>
                </a:cubicBezTo>
                <a:cubicBezTo>
                  <a:pt x="118" y="40"/>
                  <a:pt x="118" y="40"/>
                  <a:pt x="118" y="40"/>
                </a:cubicBezTo>
                <a:cubicBezTo>
                  <a:pt x="118" y="40"/>
                  <a:pt x="118" y="40"/>
                  <a:pt x="119" y="40"/>
                </a:cubicBezTo>
                <a:cubicBezTo>
                  <a:pt x="119" y="40"/>
                  <a:pt x="120" y="40"/>
                  <a:pt x="120" y="39"/>
                </a:cubicBezTo>
                <a:cubicBezTo>
                  <a:pt x="120" y="39"/>
                  <a:pt x="119" y="39"/>
                  <a:pt x="119" y="39"/>
                </a:cubicBezTo>
                <a:cubicBezTo>
                  <a:pt x="119" y="39"/>
                  <a:pt x="119" y="39"/>
                  <a:pt x="119" y="39"/>
                </a:cubicBezTo>
                <a:cubicBezTo>
                  <a:pt x="120" y="39"/>
                  <a:pt x="120" y="39"/>
                  <a:pt x="121" y="38"/>
                </a:cubicBezTo>
                <a:close/>
                <a:moveTo>
                  <a:pt x="119" y="38"/>
                </a:moveTo>
                <a:cubicBezTo>
                  <a:pt x="119" y="38"/>
                  <a:pt x="118" y="38"/>
                  <a:pt x="118" y="39"/>
                </a:cubicBezTo>
                <a:cubicBezTo>
                  <a:pt x="118" y="39"/>
                  <a:pt x="119" y="38"/>
                  <a:pt x="119" y="38"/>
                </a:cubicBezTo>
                <a:cubicBezTo>
                  <a:pt x="120" y="38"/>
                  <a:pt x="120" y="39"/>
                  <a:pt x="120" y="38"/>
                </a:cubicBezTo>
                <a:cubicBezTo>
                  <a:pt x="121" y="38"/>
                  <a:pt x="121" y="37"/>
                  <a:pt x="121" y="37"/>
                </a:cubicBezTo>
                <a:cubicBezTo>
                  <a:pt x="121" y="37"/>
                  <a:pt x="120" y="37"/>
                  <a:pt x="120" y="37"/>
                </a:cubicBezTo>
                <a:cubicBezTo>
                  <a:pt x="120" y="37"/>
                  <a:pt x="119" y="37"/>
                  <a:pt x="119" y="38"/>
                </a:cubicBezTo>
                <a:close/>
                <a:moveTo>
                  <a:pt x="121" y="38"/>
                </a:moveTo>
                <a:cubicBezTo>
                  <a:pt x="121" y="38"/>
                  <a:pt x="122" y="38"/>
                  <a:pt x="122" y="37"/>
                </a:cubicBezTo>
                <a:cubicBezTo>
                  <a:pt x="121" y="37"/>
                  <a:pt x="121" y="38"/>
                  <a:pt x="121" y="38"/>
                </a:cubicBezTo>
                <a:close/>
                <a:moveTo>
                  <a:pt x="122" y="38"/>
                </a:moveTo>
                <a:cubicBezTo>
                  <a:pt x="122" y="38"/>
                  <a:pt x="122" y="38"/>
                  <a:pt x="122" y="38"/>
                </a:cubicBezTo>
                <a:cubicBezTo>
                  <a:pt x="122" y="38"/>
                  <a:pt x="122" y="38"/>
                  <a:pt x="122" y="38"/>
                </a:cubicBezTo>
                <a:close/>
                <a:moveTo>
                  <a:pt x="121" y="35"/>
                </a:moveTo>
                <a:cubicBezTo>
                  <a:pt x="122" y="34"/>
                  <a:pt x="121" y="35"/>
                  <a:pt x="122" y="35"/>
                </a:cubicBezTo>
                <a:cubicBezTo>
                  <a:pt x="122" y="35"/>
                  <a:pt x="121" y="34"/>
                  <a:pt x="121" y="35"/>
                </a:cubicBezTo>
                <a:close/>
                <a:moveTo>
                  <a:pt x="123" y="39"/>
                </a:moveTo>
                <a:cubicBezTo>
                  <a:pt x="123" y="39"/>
                  <a:pt x="123" y="39"/>
                  <a:pt x="123" y="39"/>
                </a:cubicBezTo>
                <a:cubicBezTo>
                  <a:pt x="123" y="40"/>
                  <a:pt x="123" y="39"/>
                  <a:pt x="123" y="39"/>
                </a:cubicBezTo>
                <a:close/>
                <a:moveTo>
                  <a:pt x="122" y="39"/>
                </a:moveTo>
                <a:cubicBezTo>
                  <a:pt x="122" y="39"/>
                  <a:pt x="122" y="39"/>
                  <a:pt x="123" y="39"/>
                </a:cubicBezTo>
                <a:cubicBezTo>
                  <a:pt x="123" y="39"/>
                  <a:pt x="123" y="38"/>
                  <a:pt x="123" y="38"/>
                </a:cubicBezTo>
                <a:cubicBezTo>
                  <a:pt x="123" y="38"/>
                  <a:pt x="123" y="38"/>
                  <a:pt x="123" y="38"/>
                </a:cubicBezTo>
                <a:cubicBezTo>
                  <a:pt x="123" y="38"/>
                  <a:pt x="122" y="38"/>
                  <a:pt x="122" y="38"/>
                </a:cubicBezTo>
                <a:cubicBezTo>
                  <a:pt x="122" y="39"/>
                  <a:pt x="122" y="39"/>
                  <a:pt x="122" y="39"/>
                </a:cubicBezTo>
                <a:close/>
                <a:moveTo>
                  <a:pt x="121" y="40"/>
                </a:moveTo>
                <a:cubicBezTo>
                  <a:pt x="121" y="40"/>
                  <a:pt x="121" y="40"/>
                  <a:pt x="121" y="39"/>
                </a:cubicBezTo>
                <a:cubicBezTo>
                  <a:pt x="121" y="39"/>
                  <a:pt x="121" y="39"/>
                  <a:pt x="121" y="39"/>
                </a:cubicBezTo>
                <a:cubicBezTo>
                  <a:pt x="121" y="39"/>
                  <a:pt x="120" y="40"/>
                  <a:pt x="121" y="40"/>
                </a:cubicBezTo>
                <a:close/>
                <a:moveTo>
                  <a:pt x="122" y="35"/>
                </a:moveTo>
                <a:cubicBezTo>
                  <a:pt x="122" y="35"/>
                  <a:pt x="122" y="35"/>
                  <a:pt x="121" y="35"/>
                </a:cubicBezTo>
                <a:cubicBezTo>
                  <a:pt x="122" y="35"/>
                  <a:pt x="122" y="35"/>
                  <a:pt x="122" y="35"/>
                </a:cubicBezTo>
                <a:cubicBezTo>
                  <a:pt x="122" y="35"/>
                  <a:pt x="122" y="35"/>
                  <a:pt x="122" y="35"/>
                </a:cubicBezTo>
                <a:close/>
                <a:moveTo>
                  <a:pt x="123" y="39"/>
                </a:moveTo>
                <a:cubicBezTo>
                  <a:pt x="123" y="39"/>
                  <a:pt x="122" y="39"/>
                  <a:pt x="122" y="39"/>
                </a:cubicBezTo>
                <a:cubicBezTo>
                  <a:pt x="122" y="40"/>
                  <a:pt x="123" y="40"/>
                  <a:pt x="123" y="39"/>
                </a:cubicBezTo>
                <a:close/>
                <a:moveTo>
                  <a:pt x="122" y="39"/>
                </a:moveTo>
                <a:cubicBezTo>
                  <a:pt x="121" y="38"/>
                  <a:pt x="120" y="39"/>
                  <a:pt x="120" y="39"/>
                </a:cubicBezTo>
                <a:cubicBezTo>
                  <a:pt x="120" y="40"/>
                  <a:pt x="120" y="40"/>
                  <a:pt x="120" y="40"/>
                </a:cubicBezTo>
                <a:cubicBezTo>
                  <a:pt x="121" y="39"/>
                  <a:pt x="122" y="39"/>
                  <a:pt x="122" y="39"/>
                </a:cubicBezTo>
                <a:close/>
                <a:moveTo>
                  <a:pt x="123" y="37"/>
                </a:moveTo>
                <a:cubicBezTo>
                  <a:pt x="123" y="37"/>
                  <a:pt x="122" y="37"/>
                  <a:pt x="122" y="38"/>
                </a:cubicBezTo>
                <a:cubicBezTo>
                  <a:pt x="122" y="38"/>
                  <a:pt x="122" y="38"/>
                  <a:pt x="122" y="38"/>
                </a:cubicBezTo>
                <a:cubicBezTo>
                  <a:pt x="123" y="38"/>
                  <a:pt x="123" y="38"/>
                  <a:pt x="123" y="37"/>
                </a:cubicBezTo>
                <a:close/>
                <a:moveTo>
                  <a:pt x="123" y="34"/>
                </a:moveTo>
                <a:cubicBezTo>
                  <a:pt x="123" y="34"/>
                  <a:pt x="122" y="34"/>
                  <a:pt x="123" y="35"/>
                </a:cubicBezTo>
                <a:cubicBezTo>
                  <a:pt x="123" y="35"/>
                  <a:pt x="123" y="34"/>
                  <a:pt x="123" y="34"/>
                </a:cubicBezTo>
                <a:close/>
                <a:moveTo>
                  <a:pt x="122" y="34"/>
                </a:moveTo>
                <a:cubicBezTo>
                  <a:pt x="122" y="34"/>
                  <a:pt x="122" y="33"/>
                  <a:pt x="122" y="34"/>
                </a:cubicBezTo>
                <a:cubicBezTo>
                  <a:pt x="122" y="34"/>
                  <a:pt x="122" y="34"/>
                  <a:pt x="122" y="34"/>
                </a:cubicBezTo>
                <a:close/>
                <a:moveTo>
                  <a:pt x="124" y="37"/>
                </a:moveTo>
                <a:cubicBezTo>
                  <a:pt x="123" y="37"/>
                  <a:pt x="124" y="37"/>
                  <a:pt x="124" y="37"/>
                </a:cubicBezTo>
                <a:cubicBezTo>
                  <a:pt x="124" y="37"/>
                  <a:pt x="124" y="37"/>
                  <a:pt x="124" y="37"/>
                </a:cubicBezTo>
                <a:close/>
                <a:moveTo>
                  <a:pt x="122" y="36"/>
                </a:moveTo>
                <a:cubicBezTo>
                  <a:pt x="123" y="36"/>
                  <a:pt x="121" y="35"/>
                  <a:pt x="122" y="36"/>
                </a:cubicBezTo>
                <a:close/>
                <a:moveTo>
                  <a:pt x="122" y="37"/>
                </a:moveTo>
                <a:cubicBezTo>
                  <a:pt x="122" y="37"/>
                  <a:pt x="122" y="37"/>
                  <a:pt x="122" y="37"/>
                </a:cubicBezTo>
                <a:cubicBezTo>
                  <a:pt x="122" y="37"/>
                  <a:pt x="121" y="37"/>
                  <a:pt x="122" y="3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 name="Vanuata"/>
          <p:cNvSpPr>
            <a:spLocks noEditPoints="1"/>
          </p:cNvSpPr>
          <p:nvPr/>
        </p:nvSpPr>
        <p:spPr bwMode="auto">
          <a:xfrm>
            <a:off x="11578865" y="5184917"/>
            <a:ext cx="71997" cy="284990"/>
          </a:xfrm>
          <a:custGeom>
            <a:avLst/>
            <a:gdLst/>
            <a:ahLst/>
            <a:cxnLst>
              <a:cxn ang="0">
                <a:pos x="10" y="5"/>
              </a:cxn>
              <a:cxn ang="0">
                <a:pos x="10" y="5"/>
              </a:cxn>
              <a:cxn ang="0">
                <a:pos x="14" y="6"/>
              </a:cxn>
              <a:cxn ang="0">
                <a:pos x="11" y="12"/>
              </a:cxn>
              <a:cxn ang="0">
                <a:pos x="5" y="28"/>
              </a:cxn>
              <a:cxn ang="0">
                <a:pos x="5" y="29"/>
              </a:cxn>
              <a:cxn ang="0">
                <a:pos x="16" y="69"/>
              </a:cxn>
              <a:cxn ang="0">
                <a:pos x="17" y="72"/>
              </a:cxn>
              <a:cxn ang="0">
                <a:pos x="17" y="70"/>
              </a:cxn>
              <a:cxn ang="0">
                <a:pos x="13" y="41"/>
              </a:cxn>
              <a:cxn ang="0">
                <a:pos x="13" y="41"/>
              </a:cxn>
              <a:cxn ang="0">
                <a:pos x="12" y="40"/>
              </a:cxn>
              <a:cxn ang="0">
                <a:pos x="12" y="41"/>
              </a:cxn>
              <a:cxn ang="0">
                <a:pos x="5" y="27"/>
              </a:cxn>
              <a:cxn ang="0">
                <a:pos x="5" y="25"/>
              </a:cxn>
              <a:cxn ang="0">
                <a:pos x="5" y="21"/>
              </a:cxn>
              <a:cxn ang="0">
                <a:pos x="3" y="23"/>
              </a:cxn>
              <a:cxn ang="0">
                <a:pos x="1" y="18"/>
              </a:cxn>
              <a:cxn ang="0">
                <a:pos x="0" y="22"/>
              </a:cxn>
              <a:cxn ang="0">
                <a:pos x="0" y="26"/>
              </a:cxn>
              <a:cxn ang="0">
                <a:pos x="1" y="28"/>
              </a:cxn>
              <a:cxn ang="0">
                <a:pos x="2" y="28"/>
              </a:cxn>
              <a:cxn ang="0">
                <a:pos x="6" y="26"/>
              </a:cxn>
              <a:cxn ang="0">
                <a:pos x="11" y="34"/>
              </a:cxn>
              <a:cxn ang="0">
                <a:pos x="14" y="35"/>
              </a:cxn>
              <a:cxn ang="0">
                <a:pos x="13" y="33"/>
              </a:cxn>
              <a:cxn ang="0">
                <a:pos x="8" y="35"/>
              </a:cxn>
              <a:cxn ang="0">
                <a:pos x="8" y="35"/>
              </a:cxn>
              <a:cxn ang="0">
                <a:pos x="6" y="33"/>
              </a:cxn>
              <a:cxn ang="0">
                <a:pos x="5" y="31"/>
              </a:cxn>
              <a:cxn ang="0">
                <a:pos x="4" y="34"/>
              </a:cxn>
              <a:cxn ang="0">
                <a:pos x="5" y="36"/>
              </a:cxn>
              <a:cxn ang="0">
                <a:pos x="6" y="39"/>
              </a:cxn>
              <a:cxn ang="0">
                <a:pos x="7" y="38"/>
              </a:cxn>
              <a:cxn ang="0">
                <a:pos x="9" y="37"/>
              </a:cxn>
              <a:cxn ang="0">
                <a:pos x="3" y="1"/>
              </a:cxn>
              <a:cxn ang="0">
                <a:pos x="11" y="9"/>
              </a:cxn>
              <a:cxn ang="0">
                <a:pos x="11" y="9"/>
              </a:cxn>
              <a:cxn ang="0">
                <a:pos x="12" y="8"/>
              </a:cxn>
              <a:cxn ang="0">
                <a:pos x="10" y="8"/>
              </a:cxn>
              <a:cxn ang="0">
                <a:pos x="15" y="21"/>
              </a:cxn>
              <a:cxn ang="0">
                <a:pos x="14" y="25"/>
              </a:cxn>
              <a:cxn ang="0">
                <a:pos x="14" y="32"/>
              </a:cxn>
              <a:cxn ang="0">
                <a:pos x="15" y="28"/>
              </a:cxn>
              <a:cxn ang="0">
                <a:pos x="14" y="26"/>
              </a:cxn>
              <a:cxn ang="0">
                <a:pos x="17" y="63"/>
              </a:cxn>
              <a:cxn ang="0">
                <a:pos x="17" y="62"/>
              </a:cxn>
              <a:cxn ang="0">
                <a:pos x="15" y="62"/>
              </a:cxn>
              <a:cxn ang="0">
                <a:pos x="17" y="65"/>
              </a:cxn>
              <a:cxn ang="0">
                <a:pos x="10" y="26"/>
              </a:cxn>
              <a:cxn ang="0">
                <a:pos x="13" y="25"/>
              </a:cxn>
              <a:cxn ang="0">
                <a:pos x="12" y="25"/>
              </a:cxn>
              <a:cxn ang="0">
                <a:pos x="18" y="78"/>
              </a:cxn>
              <a:cxn ang="0">
                <a:pos x="19" y="78"/>
              </a:cxn>
              <a:cxn ang="0">
                <a:pos x="11" y="49"/>
              </a:cxn>
              <a:cxn ang="0">
                <a:pos x="10" y="51"/>
              </a:cxn>
              <a:cxn ang="0">
                <a:pos x="11" y="51"/>
              </a:cxn>
              <a:cxn ang="0">
                <a:pos x="11" y="52"/>
              </a:cxn>
              <a:cxn ang="0">
                <a:pos x="13" y="51"/>
              </a:cxn>
            </a:cxnLst>
            <a:rect l="0" t="0" r="r" b="b"/>
            <a:pathLst>
              <a:path w="20" h="79">
                <a:moveTo>
                  <a:pt x="4" y="4"/>
                </a:moveTo>
                <a:cubicBezTo>
                  <a:pt x="4" y="3"/>
                  <a:pt x="5" y="4"/>
                  <a:pt x="4" y="4"/>
                </a:cubicBezTo>
                <a:close/>
                <a:moveTo>
                  <a:pt x="10" y="5"/>
                </a:moveTo>
                <a:cubicBezTo>
                  <a:pt x="11" y="5"/>
                  <a:pt x="11" y="5"/>
                  <a:pt x="11" y="5"/>
                </a:cubicBezTo>
                <a:cubicBezTo>
                  <a:pt x="11" y="5"/>
                  <a:pt x="10" y="4"/>
                  <a:pt x="11" y="5"/>
                </a:cubicBezTo>
                <a:cubicBezTo>
                  <a:pt x="10" y="4"/>
                  <a:pt x="10" y="5"/>
                  <a:pt x="10" y="5"/>
                </a:cubicBezTo>
                <a:close/>
                <a:moveTo>
                  <a:pt x="14" y="6"/>
                </a:moveTo>
                <a:cubicBezTo>
                  <a:pt x="14" y="6"/>
                  <a:pt x="13" y="7"/>
                  <a:pt x="13" y="7"/>
                </a:cubicBezTo>
                <a:cubicBezTo>
                  <a:pt x="13" y="7"/>
                  <a:pt x="14" y="7"/>
                  <a:pt x="14" y="6"/>
                </a:cubicBezTo>
                <a:close/>
                <a:moveTo>
                  <a:pt x="11" y="14"/>
                </a:moveTo>
                <a:cubicBezTo>
                  <a:pt x="11" y="14"/>
                  <a:pt x="11" y="13"/>
                  <a:pt x="12" y="13"/>
                </a:cubicBezTo>
                <a:cubicBezTo>
                  <a:pt x="12" y="12"/>
                  <a:pt x="12" y="12"/>
                  <a:pt x="11" y="12"/>
                </a:cubicBezTo>
                <a:cubicBezTo>
                  <a:pt x="10" y="12"/>
                  <a:pt x="10" y="12"/>
                  <a:pt x="10" y="13"/>
                </a:cubicBezTo>
                <a:cubicBezTo>
                  <a:pt x="9" y="14"/>
                  <a:pt x="10" y="14"/>
                  <a:pt x="11" y="14"/>
                </a:cubicBezTo>
                <a:close/>
                <a:moveTo>
                  <a:pt x="5" y="28"/>
                </a:moveTo>
                <a:cubicBezTo>
                  <a:pt x="4" y="28"/>
                  <a:pt x="4" y="28"/>
                  <a:pt x="4" y="28"/>
                </a:cubicBezTo>
                <a:cubicBezTo>
                  <a:pt x="3" y="29"/>
                  <a:pt x="4" y="29"/>
                  <a:pt x="5" y="29"/>
                </a:cubicBezTo>
                <a:cubicBezTo>
                  <a:pt x="5" y="29"/>
                  <a:pt x="5" y="29"/>
                  <a:pt x="5" y="29"/>
                </a:cubicBezTo>
                <a:cubicBezTo>
                  <a:pt x="5" y="28"/>
                  <a:pt x="5" y="28"/>
                  <a:pt x="5" y="28"/>
                </a:cubicBezTo>
                <a:close/>
                <a:moveTo>
                  <a:pt x="16" y="69"/>
                </a:moveTo>
                <a:cubicBezTo>
                  <a:pt x="16" y="69"/>
                  <a:pt x="17" y="69"/>
                  <a:pt x="16" y="69"/>
                </a:cubicBezTo>
                <a:cubicBezTo>
                  <a:pt x="16" y="69"/>
                  <a:pt x="16" y="69"/>
                  <a:pt x="16" y="69"/>
                </a:cubicBezTo>
                <a:cubicBezTo>
                  <a:pt x="15" y="69"/>
                  <a:pt x="15" y="70"/>
                  <a:pt x="15" y="71"/>
                </a:cubicBezTo>
                <a:cubicBezTo>
                  <a:pt x="15" y="72"/>
                  <a:pt x="16" y="72"/>
                  <a:pt x="17" y="72"/>
                </a:cubicBezTo>
                <a:cubicBezTo>
                  <a:pt x="17" y="72"/>
                  <a:pt x="17" y="72"/>
                  <a:pt x="17" y="72"/>
                </a:cubicBezTo>
                <a:cubicBezTo>
                  <a:pt x="17" y="71"/>
                  <a:pt x="17" y="71"/>
                  <a:pt x="17" y="71"/>
                </a:cubicBezTo>
                <a:cubicBezTo>
                  <a:pt x="17" y="71"/>
                  <a:pt x="17" y="70"/>
                  <a:pt x="17" y="70"/>
                </a:cubicBezTo>
                <a:cubicBezTo>
                  <a:pt x="16" y="70"/>
                  <a:pt x="16" y="70"/>
                  <a:pt x="16" y="69"/>
                </a:cubicBezTo>
                <a:close/>
                <a:moveTo>
                  <a:pt x="12" y="41"/>
                </a:moveTo>
                <a:cubicBezTo>
                  <a:pt x="12" y="41"/>
                  <a:pt x="13" y="41"/>
                  <a:pt x="13" y="41"/>
                </a:cubicBezTo>
                <a:cubicBezTo>
                  <a:pt x="13" y="41"/>
                  <a:pt x="14" y="41"/>
                  <a:pt x="14" y="41"/>
                </a:cubicBezTo>
                <a:cubicBezTo>
                  <a:pt x="14" y="41"/>
                  <a:pt x="15" y="41"/>
                  <a:pt x="14" y="41"/>
                </a:cubicBezTo>
                <a:cubicBezTo>
                  <a:pt x="14" y="40"/>
                  <a:pt x="14" y="41"/>
                  <a:pt x="13" y="41"/>
                </a:cubicBezTo>
                <a:cubicBezTo>
                  <a:pt x="14" y="41"/>
                  <a:pt x="13" y="40"/>
                  <a:pt x="13" y="40"/>
                </a:cubicBezTo>
                <a:cubicBezTo>
                  <a:pt x="13" y="40"/>
                  <a:pt x="13" y="40"/>
                  <a:pt x="13" y="40"/>
                </a:cubicBezTo>
                <a:cubicBezTo>
                  <a:pt x="13" y="39"/>
                  <a:pt x="13" y="40"/>
                  <a:pt x="12" y="40"/>
                </a:cubicBezTo>
                <a:cubicBezTo>
                  <a:pt x="12" y="39"/>
                  <a:pt x="13" y="39"/>
                  <a:pt x="12" y="38"/>
                </a:cubicBezTo>
                <a:cubicBezTo>
                  <a:pt x="12" y="38"/>
                  <a:pt x="11" y="40"/>
                  <a:pt x="12" y="41"/>
                </a:cubicBezTo>
                <a:cubicBezTo>
                  <a:pt x="12" y="41"/>
                  <a:pt x="12" y="41"/>
                  <a:pt x="12" y="41"/>
                </a:cubicBezTo>
                <a:close/>
                <a:moveTo>
                  <a:pt x="5" y="28"/>
                </a:moveTo>
                <a:cubicBezTo>
                  <a:pt x="5" y="28"/>
                  <a:pt x="5" y="27"/>
                  <a:pt x="5" y="27"/>
                </a:cubicBezTo>
                <a:cubicBezTo>
                  <a:pt x="5" y="27"/>
                  <a:pt x="5" y="27"/>
                  <a:pt x="5" y="27"/>
                </a:cubicBezTo>
                <a:cubicBezTo>
                  <a:pt x="5" y="27"/>
                  <a:pt x="3" y="28"/>
                  <a:pt x="5" y="28"/>
                </a:cubicBezTo>
                <a:close/>
                <a:moveTo>
                  <a:pt x="6" y="26"/>
                </a:moveTo>
                <a:cubicBezTo>
                  <a:pt x="6" y="26"/>
                  <a:pt x="5" y="25"/>
                  <a:pt x="5" y="25"/>
                </a:cubicBezTo>
                <a:cubicBezTo>
                  <a:pt x="6" y="25"/>
                  <a:pt x="5" y="24"/>
                  <a:pt x="5" y="24"/>
                </a:cubicBezTo>
                <a:cubicBezTo>
                  <a:pt x="5" y="24"/>
                  <a:pt x="6" y="23"/>
                  <a:pt x="5" y="22"/>
                </a:cubicBezTo>
                <a:cubicBezTo>
                  <a:pt x="5" y="23"/>
                  <a:pt x="5" y="22"/>
                  <a:pt x="5" y="21"/>
                </a:cubicBezTo>
                <a:cubicBezTo>
                  <a:pt x="5" y="21"/>
                  <a:pt x="5" y="21"/>
                  <a:pt x="5" y="20"/>
                </a:cubicBezTo>
                <a:cubicBezTo>
                  <a:pt x="4" y="20"/>
                  <a:pt x="4" y="20"/>
                  <a:pt x="4" y="21"/>
                </a:cubicBezTo>
                <a:cubicBezTo>
                  <a:pt x="4" y="22"/>
                  <a:pt x="4" y="23"/>
                  <a:pt x="3" y="23"/>
                </a:cubicBezTo>
                <a:cubicBezTo>
                  <a:pt x="2" y="23"/>
                  <a:pt x="2" y="22"/>
                  <a:pt x="2" y="22"/>
                </a:cubicBezTo>
                <a:cubicBezTo>
                  <a:pt x="2" y="21"/>
                  <a:pt x="2" y="21"/>
                  <a:pt x="2" y="20"/>
                </a:cubicBezTo>
                <a:cubicBezTo>
                  <a:pt x="2" y="19"/>
                  <a:pt x="2" y="18"/>
                  <a:pt x="1" y="18"/>
                </a:cubicBezTo>
                <a:cubicBezTo>
                  <a:pt x="1" y="17"/>
                  <a:pt x="1" y="17"/>
                  <a:pt x="1" y="17"/>
                </a:cubicBezTo>
                <a:cubicBezTo>
                  <a:pt x="0" y="18"/>
                  <a:pt x="0" y="18"/>
                  <a:pt x="0" y="19"/>
                </a:cubicBezTo>
                <a:cubicBezTo>
                  <a:pt x="0" y="20"/>
                  <a:pt x="0" y="21"/>
                  <a:pt x="0" y="22"/>
                </a:cubicBezTo>
                <a:cubicBezTo>
                  <a:pt x="0" y="22"/>
                  <a:pt x="0" y="23"/>
                  <a:pt x="0" y="23"/>
                </a:cubicBezTo>
                <a:cubicBezTo>
                  <a:pt x="0" y="24"/>
                  <a:pt x="0" y="24"/>
                  <a:pt x="0" y="25"/>
                </a:cubicBezTo>
                <a:cubicBezTo>
                  <a:pt x="0" y="25"/>
                  <a:pt x="0" y="25"/>
                  <a:pt x="0" y="26"/>
                </a:cubicBezTo>
                <a:cubicBezTo>
                  <a:pt x="0" y="26"/>
                  <a:pt x="0" y="27"/>
                  <a:pt x="0" y="27"/>
                </a:cubicBezTo>
                <a:cubicBezTo>
                  <a:pt x="0" y="27"/>
                  <a:pt x="1" y="27"/>
                  <a:pt x="1" y="27"/>
                </a:cubicBezTo>
                <a:cubicBezTo>
                  <a:pt x="1" y="28"/>
                  <a:pt x="0" y="28"/>
                  <a:pt x="1" y="28"/>
                </a:cubicBezTo>
                <a:cubicBezTo>
                  <a:pt x="1" y="28"/>
                  <a:pt x="1" y="28"/>
                  <a:pt x="2" y="28"/>
                </a:cubicBezTo>
                <a:cubicBezTo>
                  <a:pt x="2" y="28"/>
                  <a:pt x="2" y="28"/>
                  <a:pt x="2" y="28"/>
                </a:cubicBezTo>
                <a:cubicBezTo>
                  <a:pt x="2" y="28"/>
                  <a:pt x="2" y="28"/>
                  <a:pt x="2" y="28"/>
                </a:cubicBezTo>
                <a:cubicBezTo>
                  <a:pt x="3" y="27"/>
                  <a:pt x="3" y="28"/>
                  <a:pt x="3" y="28"/>
                </a:cubicBezTo>
                <a:cubicBezTo>
                  <a:pt x="4" y="28"/>
                  <a:pt x="4" y="27"/>
                  <a:pt x="5" y="27"/>
                </a:cubicBezTo>
                <a:cubicBezTo>
                  <a:pt x="5" y="27"/>
                  <a:pt x="6" y="27"/>
                  <a:pt x="6" y="26"/>
                </a:cubicBezTo>
                <a:close/>
                <a:moveTo>
                  <a:pt x="13" y="33"/>
                </a:moveTo>
                <a:cubicBezTo>
                  <a:pt x="13" y="33"/>
                  <a:pt x="13" y="33"/>
                  <a:pt x="12" y="34"/>
                </a:cubicBezTo>
                <a:cubicBezTo>
                  <a:pt x="12" y="34"/>
                  <a:pt x="12" y="34"/>
                  <a:pt x="11" y="34"/>
                </a:cubicBezTo>
                <a:cubicBezTo>
                  <a:pt x="11" y="34"/>
                  <a:pt x="10" y="35"/>
                  <a:pt x="10" y="35"/>
                </a:cubicBezTo>
                <a:cubicBezTo>
                  <a:pt x="11" y="36"/>
                  <a:pt x="12" y="36"/>
                  <a:pt x="12" y="36"/>
                </a:cubicBezTo>
                <a:cubicBezTo>
                  <a:pt x="13" y="36"/>
                  <a:pt x="14" y="36"/>
                  <a:pt x="14" y="35"/>
                </a:cubicBezTo>
                <a:cubicBezTo>
                  <a:pt x="14" y="35"/>
                  <a:pt x="14" y="35"/>
                  <a:pt x="13" y="35"/>
                </a:cubicBezTo>
                <a:cubicBezTo>
                  <a:pt x="13" y="35"/>
                  <a:pt x="13" y="34"/>
                  <a:pt x="13" y="34"/>
                </a:cubicBezTo>
                <a:cubicBezTo>
                  <a:pt x="13" y="34"/>
                  <a:pt x="14" y="33"/>
                  <a:pt x="13" y="33"/>
                </a:cubicBezTo>
                <a:close/>
                <a:moveTo>
                  <a:pt x="9" y="37"/>
                </a:moveTo>
                <a:cubicBezTo>
                  <a:pt x="8" y="37"/>
                  <a:pt x="9" y="37"/>
                  <a:pt x="9" y="36"/>
                </a:cubicBezTo>
                <a:cubicBezTo>
                  <a:pt x="9" y="36"/>
                  <a:pt x="9" y="36"/>
                  <a:pt x="8" y="35"/>
                </a:cubicBezTo>
                <a:cubicBezTo>
                  <a:pt x="8" y="35"/>
                  <a:pt x="8" y="35"/>
                  <a:pt x="8" y="35"/>
                </a:cubicBezTo>
                <a:cubicBezTo>
                  <a:pt x="8" y="35"/>
                  <a:pt x="8" y="35"/>
                  <a:pt x="8" y="35"/>
                </a:cubicBezTo>
                <a:cubicBezTo>
                  <a:pt x="8" y="35"/>
                  <a:pt x="8" y="35"/>
                  <a:pt x="8" y="35"/>
                </a:cubicBezTo>
                <a:cubicBezTo>
                  <a:pt x="7" y="34"/>
                  <a:pt x="7" y="34"/>
                  <a:pt x="7" y="34"/>
                </a:cubicBezTo>
                <a:cubicBezTo>
                  <a:pt x="6" y="34"/>
                  <a:pt x="7" y="33"/>
                  <a:pt x="6" y="33"/>
                </a:cubicBezTo>
                <a:cubicBezTo>
                  <a:pt x="6" y="34"/>
                  <a:pt x="6" y="33"/>
                  <a:pt x="6" y="33"/>
                </a:cubicBezTo>
                <a:cubicBezTo>
                  <a:pt x="6" y="32"/>
                  <a:pt x="6" y="32"/>
                  <a:pt x="5" y="31"/>
                </a:cubicBezTo>
                <a:cubicBezTo>
                  <a:pt x="5" y="31"/>
                  <a:pt x="5" y="31"/>
                  <a:pt x="5" y="31"/>
                </a:cubicBezTo>
                <a:cubicBezTo>
                  <a:pt x="5" y="31"/>
                  <a:pt x="5" y="31"/>
                  <a:pt x="5" y="31"/>
                </a:cubicBezTo>
                <a:cubicBezTo>
                  <a:pt x="4" y="31"/>
                  <a:pt x="4" y="32"/>
                  <a:pt x="4" y="32"/>
                </a:cubicBezTo>
                <a:cubicBezTo>
                  <a:pt x="4" y="32"/>
                  <a:pt x="3" y="33"/>
                  <a:pt x="3" y="33"/>
                </a:cubicBezTo>
                <a:cubicBezTo>
                  <a:pt x="4" y="34"/>
                  <a:pt x="4" y="34"/>
                  <a:pt x="4" y="34"/>
                </a:cubicBezTo>
                <a:cubicBezTo>
                  <a:pt x="5" y="34"/>
                  <a:pt x="5" y="33"/>
                  <a:pt x="5" y="34"/>
                </a:cubicBezTo>
                <a:cubicBezTo>
                  <a:pt x="5" y="34"/>
                  <a:pt x="5" y="35"/>
                  <a:pt x="5" y="35"/>
                </a:cubicBezTo>
                <a:cubicBezTo>
                  <a:pt x="5" y="35"/>
                  <a:pt x="5" y="36"/>
                  <a:pt x="5" y="36"/>
                </a:cubicBezTo>
                <a:cubicBezTo>
                  <a:pt x="5" y="36"/>
                  <a:pt x="5" y="36"/>
                  <a:pt x="5" y="36"/>
                </a:cubicBezTo>
                <a:cubicBezTo>
                  <a:pt x="5" y="37"/>
                  <a:pt x="5" y="37"/>
                  <a:pt x="5" y="38"/>
                </a:cubicBezTo>
                <a:cubicBezTo>
                  <a:pt x="5" y="37"/>
                  <a:pt x="5" y="38"/>
                  <a:pt x="6" y="39"/>
                </a:cubicBezTo>
                <a:cubicBezTo>
                  <a:pt x="6" y="38"/>
                  <a:pt x="6" y="38"/>
                  <a:pt x="6" y="38"/>
                </a:cubicBezTo>
                <a:cubicBezTo>
                  <a:pt x="6" y="38"/>
                  <a:pt x="6" y="38"/>
                  <a:pt x="7" y="38"/>
                </a:cubicBezTo>
                <a:cubicBezTo>
                  <a:pt x="7" y="38"/>
                  <a:pt x="7" y="38"/>
                  <a:pt x="7" y="38"/>
                </a:cubicBezTo>
                <a:cubicBezTo>
                  <a:pt x="7" y="37"/>
                  <a:pt x="8" y="38"/>
                  <a:pt x="8" y="38"/>
                </a:cubicBezTo>
                <a:cubicBezTo>
                  <a:pt x="8" y="38"/>
                  <a:pt x="8" y="38"/>
                  <a:pt x="8" y="38"/>
                </a:cubicBezTo>
                <a:cubicBezTo>
                  <a:pt x="9" y="38"/>
                  <a:pt x="9" y="37"/>
                  <a:pt x="9" y="37"/>
                </a:cubicBezTo>
                <a:cubicBezTo>
                  <a:pt x="9" y="37"/>
                  <a:pt x="9" y="37"/>
                  <a:pt x="9" y="37"/>
                </a:cubicBezTo>
                <a:close/>
                <a:moveTo>
                  <a:pt x="3" y="0"/>
                </a:moveTo>
                <a:cubicBezTo>
                  <a:pt x="3" y="0"/>
                  <a:pt x="3" y="1"/>
                  <a:pt x="3" y="1"/>
                </a:cubicBezTo>
                <a:cubicBezTo>
                  <a:pt x="3" y="1"/>
                  <a:pt x="3" y="1"/>
                  <a:pt x="4" y="1"/>
                </a:cubicBezTo>
                <a:cubicBezTo>
                  <a:pt x="4" y="1"/>
                  <a:pt x="4" y="0"/>
                  <a:pt x="3" y="0"/>
                </a:cubicBezTo>
                <a:close/>
                <a:moveTo>
                  <a:pt x="11" y="9"/>
                </a:moveTo>
                <a:cubicBezTo>
                  <a:pt x="11" y="9"/>
                  <a:pt x="11" y="9"/>
                  <a:pt x="11" y="9"/>
                </a:cubicBezTo>
                <a:cubicBezTo>
                  <a:pt x="11" y="9"/>
                  <a:pt x="11" y="9"/>
                  <a:pt x="11" y="10"/>
                </a:cubicBezTo>
                <a:cubicBezTo>
                  <a:pt x="11" y="9"/>
                  <a:pt x="11" y="9"/>
                  <a:pt x="11" y="9"/>
                </a:cubicBezTo>
                <a:cubicBezTo>
                  <a:pt x="11" y="9"/>
                  <a:pt x="12" y="9"/>
                  <a:pt x="12" y="9"/>
                </a:cubicBezTo>
                <a:cubicBezTo>
                  <a:pt x="12" y="9"/>
                  <a:pt x="12" y="9"/>
                  <a:pt x="12" y="9"/>
                </a:cubicBezTo>
                <a:cubicBezTo>
                  <a:pt x="12" y="8"/>
                  <a:pt x="12" y="9"/>
                  <a:pt x="12" y="8"/>
                </a:cubicBezTo>
                <a:cubicBezTo>
                  <a:pt x="12" y="9"/>
                  <a:pt x="12" y="8"/>
                  <a:pt x="12" y="8"/>
                </a:cubicBezTo>
                <a:cubicBezTo>
                  <a:pt x="12" y="8"/>
                  <a:pt x="12" y="8"/>
                  <a:pt x="12" y="7"/>
                </a:cubicBezTo>
                <a:cubicBezTo>
                  <a:pt x="11" y="7"/>
                  <a:pt x="11" y="7"/>
                  <a:pt x="10" y="8"/>
                </a:cubicBezTo>
                <a:cubicBezTo>
                  <a:pt x="10" y="8"/>
                  <a:pt x="10" y="8"/>
                  <a:pt x="11" y="9"/>
                </a:cubicBezTo>
                <a:close/>
                <a:moveTo>
                  <a:pt x="15" y="23"/>
                </a:moveTo>
                <a:cubicBezTo>
                  <a:pt x="15" y="22"/>
                  <a:pt x="15" y="22"/>
                  <a:pt x="15" y="21"/>
                </a:cubicBezTo>
                <a:cubicBezTo>
                  <a:pt x="15" y="21"/>
                  <a:pt x="15" y="20"/>
                  <a:pt x="15" y="20"/>
                </a:cubicBezTo>
                <a:cubicBezTo>
                  <a:pt x="15" y="20"/>
                  <a:pt x="15" y="21"/>
                  <a:pt x="15" y="21"/>
                </a:cubicBezTo>
                <a:cubicBezTo>
                  <a:pt x="15" y="23"/>
                  <a:pt x="14" y="24"/>
                  <a:pt x="14" y="25"/>
                </a:cubicBezTo>
                <a:cubicBezTo>
                  <a:pt x="15" y="26"/>
                  <a:pt x="15" y="24"/>
                  <a:pt x="15" y="23"/>
                </a:cubicBezTo>
                <a:close/>
                <a:moveTo>
                  <a:pt x="14" y="30"/>
                </a:moveTo>
                <a:cubicBezTo>
                  <a:pt x="14" y="30"/>
                  <a:pt x="13" y="32"/>
                  <a:pt x="14" y="32"/>
                </a:cubicBezTo>
                <a:cubicBezTo>
                  <a:pt x="15" y="32"/>
                  <a:pt x="15" y="30"/>
                  <a:pt x="15" y="30"/>
                </a:cubicBezTo>
                <a:cubicBezTo>
                  <a:pt x="15" y="30"/>
                  <a:pt x="15" y="30"/>
                  <a:pt x="15" y="29"/>
                </a:cubicBezTo>
                <a:cubicBezTo>
                  <a:pt x="15" y="29"/>
                  <a:pt x="15" y="29"/>
                  <a:pt x="15" y="28"/>
                </a:cubicBezTo>
                <a:cubicBezTo>
                  <a:pt x="15" y="28"/>
                  <a:pt x="15" y="28"/>
                  <a:pt x="15" y="27"/>
                </a:cubicBezTo>
                <a:cubicBezTo>
                  <a:pt x="15" y="27"/>
                  <a:pt x="15" y="26"/>
                  <a:pt x="15" y="26"/>
                </a:cubicBezTo>
                <a:cubicBezTo>
                  <a:pt x="15" y="26"/>
                  <a:pt x="14" y="26"/>
                  <a:pt x="14" y="26"/>
                </a:cubicBezTo>
                <a:cubicBezTo>
                  <a:pt x="14" y="27"/>
                  <a:pt x="14" y="27"/>
                  <a:pt x="14" y="28"/>
                </a:cubicBezTo>
                <a:cubicBezTo>
                  <a:pt x="14" y="29"/>
                  <a:pt x="14" y="29"/>
                  <a:pt x="14" y="30"/>
                </a:cubicBezTo>
                <a:close/>
                <a:moveTo>
                  <a:pt x="17" y="63"/>
                </a:moveTo>
                <a:cubicBezTo>
                  <a:pt x="16" y="62"/>
                  <a:pt x="18" y="63"/>
                  <a:pt x="17" y="62"/>
                </a:cubicBezTo>
                <a:cubicBezTo>
                  <a:pt x="17" y="62"/>
                  <a:pt x="17" y="62"/>
                  <a:pt x="17" y="62"/>
                </a:cubicBezTo>
                <a:cubicBezTo>
                  <a:pt x="16" y="62"/>
                  <a:pt x="17" y="62"/>
                  <a:pt x="17" y="62"/>
                </a:cubicBezTo>
                <a:cubicBezTo>
                  <a:pt x="16" y="61"/>
                  <a:pt x="16" y="61"/>
                  <a:pt x="15" y="61"/>
                </a:cubicBezTo>
                <a:cubicBezTo>
                  <a:pt x="15" y="61"/>
                  <a:pt x="15" y="61"/>
                  <a:pt x="15" y="61"/>
                </a:cubicBezTo>
                <a:cubicBezTo>
                  <a:pt x="15" y="61"/>
                  <a:pt x="15" y="62"/>
                  <a:pt x="15" y="62"/>
                </a:cubicBezTo>
                <a:cubicBezTo>
                  <a:pt x="15" y="62"/>
                  <a:pt x="15" y="63"/>
                  <a:pt x="15" y="63"/>
                </a:cubicBezTo>
                <a:cubicBezTo>
                  <a:pt x="14" y="64"/>
                  <a:pt x="15" y="64"/>
                  <a:pt x="15" y="64"/>
                </a:cubicBezTo>
                <a:cubicBezTo>
                  <a:pt x="15" y="64"/>
                  <a:pt x="17" y="65"/>
                  <a:pt x="17" y="65"/>
                </a:cubicBezTo>
                <a:cubicBezTo>
                  <a:pt x="17" y="65"/>
                  <a:pt x="18" y="64"/>
                  <a:pt x="17" y="64"/>
                </a:cubicBezTo>
                <a:cubicBezTo>
                  <a:pt x="17" y="63"/>
                  <a:pt x="17" y="63"/>
                  <a:pt x="17" y="63"/>
                </a:cubicBezTo>
                <a:close/>
                <a:moveTo>
                  <a:pt x="10" y="26"/>
                </a:moveTo>
                <a:cubicBezTo>
                  <a:pt x="9" y="26"/>
                  <a:pt x="11" y="26"/>
                  <a:pt x="11" y="26"/>
                </a:cubicBezTo>
                <a:cubicBezTo>
                  <a:pt x="12" y="26"/>
                  <a:pt x="12" y="26"/>
                  <a:pt x="12" y="26"/>
                </a:cubicBezTo>
                <a:cubicBezTo>
                  <a:pt x="13" y="25"/>
                  <a:pt x="13" y="25"/>
                  <a:pt x="13" y="25"/>
                </a:cubicBezTo>
                <a:cubicBezTo>
                  <a:pt x="13" y="25"/>
                  <a:pt x="13" y="24"/>
                  <a:pt x="13" y="24"/>
                </a:cubicBezTo>
                <a:cubicBezTo>
                  <a:pt x="13" y="24"/>
                  <a:pt x="12" y="24"/>
                  <a:pt x="12" y="24"/>
                </a:cubicBezTo>
                <a:cubicBezTo>
                  <a:pt x="12" y="24"/>
                  <a:pt x="12" y="25"/>
                  <a:pt x="12" y="25"/>
                </a:cubicBezTo>
                <a:cubicBezTo>
                  <a:pt x="11" y="25"/>
                  <a:pt x="11" y="25"/>
                  <a:pt x="10" y="26"/>
                </a:cubicBezTo>
                <a:close/>
                <a:moveTo>
                  <a:pt x="19" y="78"/>
                </a:moveTo>
                <a:cubicBezTo>
                  <a:pt x="19" y="78"/>
                  <a:pt x="18" y="78"/>
                  <a:pt x="18" y="78"/>
                </a:cubicBezTo>
                <a:cubicBezTo>
                  <a:pt x="18" y="78"/>
                  <a:pt x="18" y="78"/>
                  <a:pt x="18" y="78"/>
                </a:cubicBezTo>
                <a:cubicBezTo>
                  <a:pt x="18" y="79"/>
                  <a:pt x="18" y="79"/>
                  <a:pt x="19" y="79"/>
                </a:cubicBezTo>
                <a:cubicBezTo>
                  <a:pt x="20" y="79"/>
                  <a:pt x="20" y="77"/>
                  <a:pt x="19" y="78"/>
                </a:cubicBezTo>
                <a:close/>
                <a:moveTo>
                  <a:pt x="13" y="50"/>
                </a:moveTo>
                <a:cubicBezTo>
                  <a:pt x="12" y="49"/>
                  <a:pt x="12" y="49"/>
                  <a:pt x="12" y="49"/>
                </a:cubicBezTo>
                <a:cubicBezTo>
                  <a:pt x="11" y="49"/>
                  <a:pt x="11" y="49"/>
                  <a:pt x="11" y="49"/>
                </a:cubicBezTo>
                <a:cubicBezTo>
                  <a:pt x="11" y="49"/>
                  <a:pt x="10" y="50"/>
                  <a:pt x="10" y="50"/>
                </a:cubicBezTo>
                <a:cubicBezTo>
                  <a:pt x="10" y="50"/>
                  <a:pt x="10" y="50"/>
                  <a:pt x="9" y="51"/>
                </a:cubicBezTo>
                <a:cubicBezTo>
                  <a:pt x="9" y="52"/>
                  <a:pt x="10" y="51"/>
                  <a:pt x="10" y="51"/>
                </a:cubicBezTo>
                <a:cubicBezTo>
                  <a:pt x="10" y="51"/>
                  <a:pt x="11" y="51"/>
                  <a:pt x="11" y="51"/>
                </a:cubicBezTo>
                <a:cubicBezTo>
                  <a:pt x="11" y="52"/>
                  <a:pt x="10" y="51"/>
                  <a:pt x="10" y="52"/>
                </a:cubicBezTo>
                <a:cubicBezTo>
                  <a:pt x="10" y="52"/>
                  <a:pt x="10" y="52"/>
                  <a:pt x="11" y="51"/>
                </a:cubicBezTo>
                <a:cubicBezTo>
                  <a:pt x="11" y="52"/>
                  <a:pt x="11" y="52"/>
                  <a:pt x="10" y="52"/>
                </a:cubicBezTo>
                <a:cubicBezTo>
                  <a:pt x="11" y="52"/>
                  <a:pt x="11" y="52"/>
                  <a:pt x="11" y="52"/>
                </a:cubicBezTo>
                <a:cubicBezTo>
                  <a:pt x="11" y="52"/>
                  <a:pt x="11" y="52"/>
                  <a:pt x="11" y="52"/>
                </a:cubicBezTo>
                <a:cubicBezTo>
                  <a:pt x="11" y="52"/>
                  <a:pt x="11" y="52"/>
                  <a:pt x="11" y="52"/>
                </a:cubicBezTo>
                <a:cubicBezTo>
                  <a:pt x="12" y="52"/>
                  <a:pt x="12" y="52"/>
                  <a:pt x="13" y="52"/>
                </a:cubicBezTo>
                <a:cubicBezTo>
                  <a:pt x="13" y="52"/>
                  <a:pt x="13" y="52"/>
                  <a:pt x="13" y="51"/>
                </a:cubicBezTo>
                <a:cubicBezTo>
                  <a:pt x="13" y="51"/>
                  <a:pt x="13" y="51"/>
                  <a:pt x="13" y="51"/>
                </a:cubicBezTo>
                <a:cubicBezTo>
                  <a:pt x="13" y="51"/>
                  <a:pt x="13" y="50"/>
                  <a:pt x="13" y="5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 name="Uzbakistan"/>
          <p:cNvSpPr>
            <a:spLocks noEditPoints="1"/>
          </p:cNvSpPr>
          <p:nvPr/>
        </p:nvSpPr>
        <p:spPr bwMode="auto">
          <a:xfrm>
            <a:off x="7587015" y="2855005"/>
            <a:ext cx="592978" cy="332988"/>
          </a:xfrm>
          <a:custGeom>
            <a:avLst/>
            <a:gdLst/>
            <a:ahLst/>
            <a:cxnLst>
              <a:cxn ang="0">
                <a:pos x="148" y="60"/>
              </a:cxn>
              <a:cxn ang="0">
                <a:pos x="148" y="61"/>
              </a:cxn>
              <a:cxn ang="0">
                <a:pos x="143" y="63"/>
              </a:cxn>
              <a:cxn ang="0">
                <a:pos x="157" y="55"/>
              </a:cxn>
              <a:cxn ang="0">
                <a:pos x="155" y="57"/>
              </a:cxn>
              <a:cxn ang="0">
                <a:pos x="149" y="58"/>
              </a:cxn>
              <a:cxn ang="0">
                <a:pos x="139" y="56"/>
              </a:cxn>
              <a:cxn ang="0">
                <a:pos x="141" y="51"/>
              </a:cxn>
              <a:cxn ang="0">
                <a:pos x="134" y="53"/>
              </a:cxn>
              <a:cxn ang="0">
                <a:pos x="129" y="55"/>
              </a:cxn>
              <a:cxn ang="0">
                <a:pos x="125" y="59"/>
              </a:cxn>
              <a:cxn ang="0">
                <a:pos x="126" y="60"/>
              </a:cxn>
              <a:cxn ang="0">
                <a:pos x="126" y="65"/>
              </a:cxn>
              <a:cxn ang="0">
                <a:pos x="116" y="69"/>
              </a:cxn>
              <a:cxn ang="0">
                <a:pos x="123" y="76"/>
              </a:cxn>
              <a:cxn ang="0">
                <a:pos x="124" y="88"/>
              </a:cxn>
              <a:cxn ang="0">
                <a:pos x="116" y="90"/>
              </a:cxn>
              <a:cxn ang="0">
                <a:pos x="110" y="82"/>
              </a:cxn>
              <a:cxn ang="0">
                <a:pos x="99" y="78"/>
              </a:cxn>
              <a:cxn ang="0">
                <a:pos x="85" y="71"/>
              </a:cxn>
              <a:cxn ang="0">
                <a:pos x="68" y="57"/>
              </a:cxn>
              <a:cxn ang="0">
                <a:pos x="57" y="48"/>
              </a:cxn>
              <a:cxn ang="0">
                <a:pos x="46" y="46"/>
              </a:cxn>
              <a:cxn ang="0">
                <a:pos x="44" y="40"/>
              </a:cxn>
              <a:cxn ang="0">
                <a:pos x="40" y="36"/>
              </a:cxn>
              <a:cxn ang="0">
                <a:pos x="27" y="32"/>
              </a:cxn>
              <a:cxn ang="0">
                <a:pos x="28" y="35"/>
              </a:cxn>
              <a:cxn ang="0">
                <a:pos x="24" y="36"/>
              </a:cxn>
              <a:cxn ang="0">
                <a:pos x="17" y="42"/>
              </a:cxn>
              <a:cxn ang="0">
                <a:pos x="13" y="47"/>
              </a:cxn>
              <a:cxn ang="0">
                <a:pos x="2" y="12"/>
              </a:cxn>
              <a:cxn ang="0">
                <a:pos x="22" y="1"/>
              </a:cxn>
              <a:cxn ang="0">
                <a:pos x="22" y="11"/>
              </a:cxn>
              <a:cxn ang="0">
                <a:pos x="25" y="10"/>
              </a:cxn>
              <a:cxn ang="0">
                <a:pos x="25" y="7"/>
              </a:cxn>
              <a:cxn ang="0">
                <a:pos x="24" y="4"/>
              </a:cxn>
              <a:cxn ang="0">
                <a:pos x="30" y="8"/>
              </a:cxn>
              <a:cxn ang="0">
                <a:pos x="36" y="17"/>
              </a:cxn>
              <a:cxn ang="0">
                <a:pos x="37" y="8"/>
              </a:cxn>
              <a:cxn ang="0">
                <a:pos x="57" y="23"/>
              </a:cxn>
              <a:cxn ang="0">
                <a:pos x="86" y="24"/>
              </a:cxn>
              <a:cxn ang="0">
                <a:pos x="95" y="32"/>
              </a:cxn>
              <a:cxn ang="0">
                <a:pos x="101" y="39"/>
              </a:cxn>
              <a:cxn ang="0">
                <a:pos x="115" y="48"/>
              </a:cxn>
              <a:cxn ang="0">
                <a:pos x="122" y="54"/>
              </a:cxn>
              <a:cxn ang="0">
                <a:pos x="123" y="50"/>
              </a:cxn>
              <a:cxn ang="0">
                <a:pos x="128" y="45"/>
              </a:cxn>
              <a:cxn ang="0">
                <a:pos x="135" y="38"/>
              </a:cxn>
              <a:cxn ang="0">
                <a:pos x="140" y="38"/>
              </a:cxn>
              <a:cxn ang="0">
                <a:pos x="135" y="43"/>
              </a:cxn>
              <a:cxn ang="0">
                <a:pos x="141" y="47"/>
              </a:cxn>
              <a:cxn ang="0">
                <a:pos x="146" y="48"/>
              </a:cxn>
              <a:cxn ang="0">
                <a:pos x="148" y="45"/>
              </a:cxn>
              <a:cxn ang="0">
                <a:pos x="154" y="50"/>
              </a:cxn>
              <a:cxn ang="0">
                <a:pos x="159" y="51"/>
              </a:cxn>
              <a:cxn ang="0">
                <a:pos x="140" y="50"/>
              </a:cxn>
            </a:cxnLst>
            <a:rect l="0" t="0" r="r" b="b"/>
            <a:pathLst>
              <a:path w="164" h="92">
                <a:moveTo>
                  <a:pt x="153" y="62"/>
                </a:moveTo>
                <a:cubicBezTo>
                  <a:pt x="153" y="62"/>
                  <a:pt x="153" y="62"/>
                  <a:pt x="153" y="61"/>
                </a:cubicBezTo>
                <a:cubicBezTo>
                  <a:pt x="153" y="61"/>
                  <a:pt x="153" y="61"/>
                  <a:pt x="153" y="61"/>
                </a:cubicBezTo>
                <a:cubicBezTo>
                  <a:pt x="153" y="61"/>
                  <a:pt x="153" y="61"/>
                  <a:pt x="153" y="61"/>
                </a:cubicBezTo>
                <a:cubicBezTo>
                  <a:pt x="154" y="61"/>
                  <a:pt x="154" y="62"/>
                  <a:pt x="153" y="62"/>
                </a:cubicBezTo>
                <a:close/>
                <a:moveTo>
                  <a:pt x="148" y="60"/>
                </a:moveTo>
                <a:cubicBezTo>
                  <a:pt x="147" y="61"/>
                  <a:pt x="147" y="59"/>
                  <a:pt x="146" y="59"/>
                </a:cubicBezTo>
                <a:cubicBezTo>
                  <a:pt x="145" y="59"/>
                  <a:pt x="146" y="60"/>
                  <a:pt x="146" y="61"/>
                </a:cubicBezTo>
                <a:cubicBezTo>
                  <a:pt x="147" y="61"/>
                  <a:pt x="147" y="61"/>
                  <a:pt x="147" y="62"/>
                </a:cubicBezTo>
                <a:cubicBezTo>
                  <a:pt x="147" y="62"/>
                  <a:pt x="147" y="62"/>
                  <a:pt x="147" y="62"/>
                </a:cubicBezTo>
                <a:cubicBezTo>
                  <a:pt x="148" y="62"/>
                  <a:pt x="148" y="62"/>
                  <a:pt x="149" y="62"/>
                </a:cubicBezTo>
                <a:cubicBezTo>
                  <a:pt x="149" y="61"/>
                  <a:pt x="148" y="61"/>
                  <a:pt x="148" y="61"/>
                </a:cubicBezTo>
                <a:cubicBezTo>
                  <a:pt x="148" y="61"/>
                  <a:pt x="149" y="60"/>
                  <a:pt x="148" y="60"/>
                </a:cubicBezTo>
                <a:close/>
                <a:moveTo>
                  <a:pt x="143" y="63"/>
                </a:moveTo>
                <a:cubicBezTo>
                  <a:pt x="143" y="63"/>
                  <a:pt x="143" y="63"/>
                  <a:pt x="144" y="63"/>
                </a:cubicBezTo>
                <a:cubicBezTo>
                  <a:pt x="144" y="63"/>
                  <a:pt x="144" y="63"/>
                  <a:pt x="144" y="63"/>
                </a:cubicBezTo>
                <a:cubicBezTo>
                  <a:pt x="144" y="62"/>
                  <a:pt x="143" y="62"/>
                  <a:pt x="142" y="62"/>
                </a:cubicBezTo>
                <a:cubicBezTo>
                  <a:pt x="142" y="62"/>
                  <a:pt x="143" y="63"/>
                  <a:pt x="143" y="63"/>
                </a:cubicBezTo>
                <a:close/>
                <a:moveTo>
                  <a:pt x="161" y="53"/>
                </a:moveTo>
                <a:cubicBezTo>
                  <a:pt x="161" y="53"/>
                  <a:pt x="161" y="53"/>
                  <a:pt x="160" y="54"/>
                </a:cubicBezTo>
                <a:cubicBezTo>
                  <a:pt x="160" y="54"/>
                  <a:pt x="161" y="55"/>
                  <a:pt x="160" y="54"/>
                </a:cubicBezTo>
                <a:cubicBezTo>
                  <a:pt x="159" y="54"/>
                  <a:pt x="160" y="55"/>
                  <a:pt x="159" y="55"/>
                </a:cubicBezTo>
                <a:cubicBezTo>
                  <a:pt x="158" y="55"/>
                  <a:pt x="158" y="54"/>
                  <a:pt x="157" y="54"/>
                </a:cubicBezTo>
                <a:cubicBezTo>
                  <a:pt x="157" y="54"/>
                  <a:pt x="157" y="55"/>
                  <a:pt x="157" y="55"/>
                </a:cubicBezTo>
                <a:cubicBezTo>
                  <a:pt x="157" y="55"/>
                  <a:pt x="158" y="56"/>
                  <a:pt x="158" y="56"/>
                </a:cubicBezTo>
                <a:cubicBezTo>
                  <a:pt x="158" y="57"/>
                  <a:pt x="157" y="56"/>
                  <a:pt x="157" y="56"/>
                </a:cubicBezTo>
                <a:cubicBezTo>
                  <a:pt x="157" y="56"/>
                  <a:pt x="156" y="56"/>
                  <a:pt x="156" y="56"/>
                </a:cubicBezTo>
                <a:cubicBezTo>
                  <a:pt x="156" y="56"/>
                  <a:pt x="156" y="56"/>
                  <a:pt x="156" y="56"/>
                </a:cubicBezTo>
                <a:cubicBezTo>
                  <a:pt x="156" y="56"/>
                  <a:pt x="156" y="56"/>
                  <a:pt x="155" y="56"/>
                </a:cubicBezTo>
                <a:cubicBezTo>
                  <a:pt x="155" y="56"/>
                  <a:pt x="155" y="57"/>
                  <a:pt x="155" y="57"/>
                </a:cubicBezTo>
                <a:cubicBezTo>
                  <a:pt x="154" y="57"/>
                  <a:pt x="154" y="58"/>
                  <a:pt x="155" y="58"/>
                </a:cubicBezTo>
                <a:cubicBezTo>
                  <a:pt x="155" y="58"/>
                  <a:pt x="154" y="58"/>
                  <a:pt x="154" y="58"/>
                </a:cubicBezTo>
                <a:cubicBezTo>
                  <a:pt x="153" y="58"/>
                  <a:pt x="153" y="59"/>
                  <a:pt x="153" y="59"/>
                </a:cubicBezTo>
                <a:cubicBezTo>
                  <a:pt x="152" y="59"/>
                  <a:pt x="152" y="59"/>
                  <a:pt x="152" y="59"/>
                </a:cubicBezTo>
                <a:cubicBezTo>
                  <a:pt x="152" y="59"/>
                  <a:pt x="151" y="58"/>
                  <a:pt x="151" y="58"/>
                </a:cubicBezTo>
                <a:cubicBezTo>
                  <a:pt x="151" y="59"/>
                  <a:pt x="150" y="58"/>
                  <a:pt x="149" y="58"/>
                </a:cubicBezTo>
                <a:cubicBezTo>
                  <a:pt x="149" y="58"/>
                  <a:pt x="148" y="57"/>
                  <a:pt x="148" y="57"/>
                </a:cubicBezTo>
                <a:cubicBezTo>
                  <a:pt x="147" y="57"/>
                  <a:pt x="148" y="58"/>
                  <a:pt x="147" y="58"/>
                </a:cubicBezTo>
                <a:cubicBezTo>
                  <a:pt x="146" y="58"/>
                  <a:pt x="145" y="58"/>
                  <a:pt x="144" y="58"/>
                </a:cubicBezTo>
                <a:cubicBezTo>
                  <a:pt x="144" y="58"/>
                  <a:pt x="143" y="59"/>
                  <a:pt x="142" y="58"/>
                </a:cubicBezTo>
                <a:cubicBezTo>
                  <a:pt x="142" y="58"/>
                  <a:pt x="142" y="57"/>
                  <a:pt x="141" y="57"/>
                </a:cubicBezTo>
                <a:cubicBezTo>
                  <a:pt x="140" y="57"/>
                  <a:pt x="140" y="57"/>
                  <a:pt x="139" y="56"/>
                </a:cubicBezTo>
                <a:cubicBezTo>
                  <a:pt x="139" y="56"/>
                  <a:pt x="140" y="56"/>
                  <a:pt x="140" y="56"/>
                </a:cubicBezTo>
                <a:cubicBezTo>
                  <a:pt x="140" y="55"/>
                  <a:pt x="141" y="54"/>
                  <a:pt x="141" y="54"/>
                </a:cubicBezTo>
                <a:cubicBezTo>
                  <a:pt x="142" y="54"/>
                  <a:pt x="143" y="53"/>
                  <a:pt x="142" y="53"/>
                </a:cubicBezTo>
                <a:cubicBezTo>
                  <a:pt x="142" y="52"/>
                  <a:pt x="141" y="52"/>
                  <a:pt x="141" y="52"/>
                </a:cubicBezTo>
                <a:cubicBezTo>
                  <a:pt x="140" y="52"/>
                  <a:pt x="141" y="52"/>
                  <a:pt x="141" y="52"/>
                </a:cubicBezTo>
                <a:cubicBezTo>
                  <a:pt x="142" y="52"/>
                  <a:pt x="141" y="52"/>
                  <a:pt x="141" y="51"/>
                </a:cubicBezTo>
                <a:cubicBezTo>
                  <a:pt x="140" y="51"/>
                  <a:pt x="140" y="51"/>
                  <a:pt x="140" y="50"/>
                </a:cubicBezTo>
                <a:cubicBezTo>
                  <a:pt x="139" y="50"/>
                  <a:pt x="139" y="49"/>
                  <a:pt x="138" y="49"/>
                </a:cubicBezTo>
                <a:cubicBezTo>
                  <a:pt x="138" y="49"/>
                  <a:pt x="138" y="50"/>
                  <a:pt x="138" y="51"/>
                </a:cubicBezTo>
                <a:cubicBezTo>
                  <a:pt x="138" y="51"/>
                  <a:pt x="137" y="52"/>
                  <a:pt x="136" y="52"/>
                </a:cubicBezTo>
                <a:cubicBezTo>
                  <a:pt x="136" y="52"/>
                  <a:pt x="136" y="52"/>
                  <a:pt x="136" y="52"/>
                </a:cubicBezTo>
                <a:cubicBezTo>
                  <a:pt x="135" y="53"/>
                  <a:pt x="135" y="53"/>
                  <a:pt x="134" y="53"/>
                </a:cubicBezTo>
                <a:cubicBezTo>
                  <a:pt x="134" y="53"/>
                  <a:pt x="134" y="53"/>
                  <a:pt x="133" y="54"/>
                </a:cubicBezTo>
                <a:cubicBezTo>
                  <a:pt x="133" y="54"/>
                  <a:pt x="132" y="53"/>
                  <a:pt x="132" y="53"/>
                </a:cubicBezTo>
                <a:cubicBezTo>
                  <a:pt x="131" y="53"/>
                  <a:pt x="131" y="52"/>
                  <a:pt x="130" y="52"/>
                </a:cubicBezTo>
                <a:cubicBezTo>
                  <a:pt x="130" y="52"/>
                  <a:pt x="129" y="52"/>
                  <a:pt x="129" y="53"/>
                </a:cubicBezTo>
                <a:cubicBezTo>
                  <a:pt x="129" y="53"/>
                  <a:pt x="130" y="54"/>
                  <a:pt x="129" y="54"/>
                </a:cubicBezTo>
                <a:cubicBezTo>
                  <a:pt x="129" y="54"/>
                  <a:pt x="129" y="54"/>
                  <a:pt x="129" y="55"/>
                </a:cubicBezTo>
                <a:cubicBezTo>
                  <a:pt x="129" y="56"/>
                  <a:pt x="131" y="56"/>
                  <a:pt x="130" y="57"/>
                </a:cubicBezTo>
                <a:cubicBezTo>
                  <a:pt x="130" y="58"/>
                  <a:pt x="130" y="57"/>
                  <a:pt x="130" y="58"/>
                </a:cubicBezTo>
                <a:cubicBezTo>
                  <a:pt x="130" y="58"/>
                  <a:pt x="131" y="58"/>
                  <a:pt x="131" y="59"/>
                </a:cubicBezTo>
                <a:cubicBezTo>
                  <a:pt x="130" y="59"/>
                  <a:pt x="129" y="58"/>
                  <a:pt x="128" y="58"/>
                </a:cubicBezTo>
                <a:cubicBezTo>
                  <a:pt x="128" y="58"/>
                  <a:pt x="127" y="59"/>
                  <a:pt x="126" y="59"/>
                </a:cubicBezTo>
                <a:cubicBezTo>
                  <a:pt x="126" y="59"/>
                  <a:pt x="125" y="58"/>
                  <a:pt x="125" y="59"/>
                </a:cubicBezTo>
                <a:cubicBezTo>
                  <a:pt x="124" y="59"/>
                  <a:pt x="125" y="59"/>
                  <a:pt x="125" y="59"/>
                </a:cubicBezTo>
                <a:cubicBezTo>
                  <a:pt x="126" y="60"/>
                  <a:pt x="128" y="59"/>
                  <a:pt x="128" y="60"/>
                </a:cubicBezTo>
                <a:cubicBezTo>
                  <a:pt x="128" y="60"/>
                  <a:pt x="127" y="60"/>
                  <a:pt x="127" y="60"/>
                </a:cubicBezTo>
                <a:cubicBezTo>
                  <a:pt x="127" y="60"/>
                  <a:pt x="127" y="60"/>
                  <a:pt x="127" y="60"/>
                </a:cubicBezTo>
                <a:cubicBezTo>
                  <a:pt x="127" y="60"/>
                  <a:pt x="127" y="60"/>
                  <a:pt x="126" y="60"/>
                </a:cubicBezTo>
                <a:cubicBezTo>
                  <a:pt x="126" y="60"/>
                  <a:pt x="126" y="60"/>
                  <a:pt x="126" y="60"/>
                </a:cubicBezTo>
                <a:cubicBezTo>
                  <a:pt x="127" y="61"/>
                  <a:pt x="128" y="62"/>
                  <a:pt x="128" y="62"/>
                </a:cubicBezTo>
                <a:cubicBezTo>
                  <a:pt x="127" y="63"/>
                  <a:pt x="127" y="61"/>
                  <a:pt x="126" y="61"/>
                </a:cubicBezTo>
                <a:cubicBezTo>
                  <a:pt x="126" y="61"/>
                  <a:pt x="127" y="62"/>
                  <a:pt x="127" y="62"/>
                </a:cubicBezTo>
                <a:cubicBezTo>
                  <a:pt x="127" y="63"/>
                  <a:pt x="126" y="63"/>
                  <a:pt x="126" y="62"/>
                </a:cubicBezTo>
                <a:cubicBezTo>
                  <a:pt x="126" y="62"/>
                  <a:pt x="126" y="62"/>
                  <a:pt x="125" y="62"/>
                </a:cubicBezTo>
                <a:cubicBezTo>
                  <a:pt x="126" y="63"/>
                  <a:pt x="126" y="64"/>
                  <a:pt x="126" y="65"/>
                </a:cubicBezTo>
                <a:cubicBezTo>
                  <a:pt x="125" y="66"/>
                  <a:pt x="123" y="66"/>
                  <a:pt x="122" y="66"/>
                </a:cubicBezTo>
                <a:cubicBezTo>
                  <a:pt x="121" y="65"/>
                  <a:pt x="119" y="65"/>
                  <a:pt x="118" y="65"/>
                </a:cubicBezTo>
                <a:cubicBezTo>
                  <a:pt x="117" y="65"/>
                  <a:pt x="117" y="65"/>
                  <a:pt x="117" y="65"/>
                </a:cubicBezTo>
                <a:cubicBezTo>
                  <a:pt x="116" y="66"/>
                  <a:pt x="116" y="66"/>
                  <a:pt x="116" y="66"/>
                </a:cubicBezTo>
                <a:cubicBezTo>
                  <a:pt x="116" y="67"/>
                  <a:pt x="116" y="66"/>
                  <a:pt x="116" y="67"/>
                </a:cubicBezTo>
                <a:cubicBezTo>
                  <a:pt x="116" y="68"/>
                  <a:pt x="116" y="68"/>
                  <a:pt x="116" y="69"/>
                </a:cubicBezTo>
                <a:cubicBezTo>
                  <a:pt x="115" y="69"/>
                  <a:pt x="117" y="70"/>
                  <a:pt x="117" y="70"/>
                </a:cubicBezTo>
                <a:cubicBezTo>
                  <a:pt x="119" y="70"/>
                  <a:pt x="119" y="70"/>
                  <a:pt x="119" y="71"/>
                </a:cubicBezTo>
                <a:cubicBezTo>
                  <a:pt x="120" y="72"/>
                  <a:pt x="122" y="72"/>
                  <a:pt x="123" y="72"/>
                </a:cubicBezTo>
                <a:cubicBezTo>
                  <a:pt x="123" y="72"/>
                  <a:pt x="124" y="73"/>
                  <a:pt x="124" y="74"/>
                </a:cubicBezTo>
                <a:cubicBezTo>
                  <a:pt x="123" y="74"/>
                  <a:pt x="123" y="74"/>
                  <a:pt x="123" y="74"/>
                </a:cubicBezTo>
                <a:cubicBezTo>
                  <a:pt x="123" y="75"/>
                  <a:pt x="123" y="75"/>
                  <a:pt x="123" y="76"/>
                </a:cubicBezTo>
                <a:cubicBezTo>
                  <a:pt x="124" y="77"/>
                  <a:pt x="124" y="78"/>
                  <a:pt x="125" y="78"/>
                </a:cubicBezTo>
                <a:cubicBezTo>
                  <a:pt x="126" y="79"/>
                  <a:pt x="127" y="80"/>
                  <a:pt x="127" y="81"/>
                </a:cubicBezTo>
                <a:cubicBezTo>
                  <a:pt x="128" y="81"/>
                  <a:pt x="127" y="83"/>
                  <a:pt x="127" y="83"/>
                </a:cubicBezTo>
                <a:cubicBezTo>
                  <a:pt x="126" y="83"/>
                  <a:pt x="126" y="83"/>
                  <a:pt x="126" y="84"/>
                </a:cubicBezTo>
                <a:cubicBezTo>
                  <a:pt x="126" y="84"/>
                  <a:pt x="126" y="85"/>
                  <a:pt x="126" y="85"/>
                </a:cubicBezTo>
                <a:cubicBezTo>
                  <a:pt x="125" y="86"/>
                  <a:pt x="124" y="87"/>
                  <a:pt x="124" y="88"/>
                </a:cubicBezTo>
                <a:cubicBezTo>
                  <a:pt x="124" y="89"/>
                  <a:pt x="125" y="91"/>
                  <a:pt x="124" y="92"/>
                </a:cubicBezTo>
                <a:cubicBezTo>
                  <a:pt x="124" y="91"/>
                  <a:pt x="123" y="91"/>
                  <a:pt x="123" y="91"/>
                </a:cubicBezTo>
                <a:cubicBezTo>
                  <a:pt x="122" y="91"/>
                  <a:pt x="122" y="91"/>
                  <a:pt x="122" y="91"/>
                </a:cubicBezTo>
                <a:cubicBezTo>
                  <a:pt x="121" y="90"/>
                  <a:pt x="120" y="92"/>
                  <a:pt x="119" y="91"/>
                </a:cubicBezTo>
                <a:cubicBezTo>
                  <a:pt x="119" y="91"/>
                  <a:pt x="118" y="91"/>
                  <a:pt x="118" y="90"/>
                </a:cubicBezTo>
                <a:cubicBezTo>
                  <a:pt x="118" y="90"/>
                  <a:pt x="117" y="90"/>
                  <a:pt x="116" y="90"/>
                </a:cubicBezTo>
                <a:cubicBezTo>
                  <a:pt x="115" y="90"/>
                  <a:pt x="114" y="90"/>
                  <a:pt x="113" y="90"/>
                </a:cubicBezTo>
                <a:cubicBezTo>
                  <a:pt x="113" y="90"/>
                  <a:pt x="112" y="89"/>
                  <a:pt x="113" y="89"/>
                </a:cubicBezTo>
                <a:cubicBezTo>
                  <a:pt x="113" y="88"/>
                  <a:pt x="112" y="88"/>
                  <a:pt x="112" y="88"/>
                </a:cubicBezTo>
                <a:cubicBezTo>
                  <a:pt x="112" y="87"/>
                  <a:pt x="112" y="86"/>
                  <a:pt x="112" y="85"/>
                </a:cubicBezTo>
                <a:cubicBezTo>
                  <a:pt x="112" y="84"/>
                  <a:pt x="113" y="84"/>
                  <a:pt x="113" y="83"/>
                </a:cubicBezTo>
                <a:cubicBezTo>
                  <a:pt x="112" y="82"/>
                  <a:pt x="110" y="82"/>
                  <a:pt x="110" y="82"/>
                </a:cubicBezTo>
                <a:cubicBezTo>
                  <a:pt x="109" y="82"/>
                  <a:pt x="108" y="81"/>
                  <a:pt x="108" y="81"/>
                </a:cubicBezTo>
                <a:cubicBezTo>
                  <a:pt x="107" y="81"/>
                  <a:pt x="107" y="80"/>
                  <a:pt x="107" y="80"/>
                </a:cubicBezTo>
                <a:cubicBezTo>
                  <a:pt x="106" y="80"/>
                  <a:pt x="106" y="80"/>
                  <a:pt x="105" y="80"/>
                </a:cubicBezTo>
                <a:cubicBezTo>
                  <a:pt x="105" y="80"/>
                  <a:pt x="104" y="80"/>
                  <a:pt x="104" y="80"/>
                </a:cubicBezTo>
                <a:cubicBezTo>
                  <a:pt x="103" y="80"/>
                  <a:pt x="102" y="80"/>
                  <a:pt x="102" y="80"/>
                </a:cubicBezTo>
                <a:cubicBezTo>
                  <a:pt x="101" y="79"/>
                  <a:pt x="100" y="79"/>
                  <a:pt x="99" y="78"/>
                </a:cubicBezTo>
                <a:cubicBezTo>
                  <a:pt x="99" y="78"/>
                  <a:pt x="98" y="77"/>
                  <a:pt x="97" y="77"/>
                </a:cubicBezTo>
                <a:cubicBezTo>
                  <a:pt x="96" y="76"/>
                  <a:pt x="94" y="75"/>
                  <a:pt x="93" y="75"/>
                </a:cubicBezTo>
                <a:cubicBezTo>
                  <a:pt x="92" y="74"/>
                  <a:pt x="91" y="74"/>
                  <a:pt x="91" y="73"/>
                </a:cubicBezTo>
                <a:cubicBezTo>
                  <a:pt x="90" y="73"/>
                  <a:pt x="90" y="72"/>
                  <a:pt x="89" y="72"/>
                </a:cubicBezTo>
                <a:cubicBezTo>
                  <a:pt x="88" y="72"/>
                  <a:pt x="88" y="72"/>
                  <a:pt x="87" y="72"/>
                </a:cubicBezTo>
                <a:cubicBezTo>
                  <a:pt x="86" y="72"/>
                  <a:pt x="86" y="71"/>
                  <a:pt x="85" y="71"/>
                </a:cubicBezTo>
                <a:cubicBezTo>
                  <a:pt x="84" y="70"/>
                  <a:pt x="84" y="70"/>
                  <a:pt x="83" y="69"/>
                </a:cubicBezTo>
                <a:cubicBezTo>
                  <a:pt x="82" y="69"/>
                  <a:pt x="82" y="68"/>
                  <a:pt x="81" y="68"/>
                </a:cubicBezTo>
                <a:cubicBezTo>
                  <a:pt x="80" y="67"/>
                  <a:pt x="78" y="66"/>
                  <a:pt x="76" y="65"/>
                </a:cubicBezTo>
                <a:cubicBezTo>
                  <a:pt x="75" y="64"/>
                  <a:pt x="73" y="63"/>
                  <a:pt x="72" y="62"/>
                </a:cubicBezTo>
                <a:cubicBezTo>
                  <a:pt x="71" y="62"/>
                  <a:pt x="69" y="61"/>
                  <a:pt x="69" y="60"/>
                </a:cubicBezTo>
                <a:cubicBezTo>
                  <a:pt x="69" y="59"/>
                  <a:pt x="69" y="57"/>
                  <a:pt x="68" y="57"/>
                </a:cubicBezTo>
                <a:cubicBezTo>
                  <a:pt x="68" y="56"/>
                  <a:pt x="66" y="56"/>
                  <a:pt x="66" y="55"/>
                </a:cubicBezTo>
                <a:cubicBezTo>
                  <a:pt x="65" y="54"/>
                  <a:pt x="65" y="53"/>
                  <a:pt x="64" y="52"/>
                </a:cubicBezTo>
                <a:cubicBezTo>
                  <a:pt x="63" y="51"/>
                  <a:pt x="63" y="50"/>
                  <a:pt x="62" y="49"/>
                </a:cubicBezTo>
                <a:cubicBezTo>
                  <a:pt x="61" y="48"/>
                  <a:pt x="60" y="47"/>
                  <a:pt x="59" y="47"/>
                </a:cubicBezTo>
                <a:cubicBezTo>
                  <a:pt x="58" y="47"/>
                  <a:pt x="58" y="47"/>
                  <a:pt x="57" y="47"/>
                </a:cubicBezTo>
                <a:cubicBezTo>
                  <a:pt x="57" y="47"/>
                  <a:pt x="57" y="48"/>
                  <a:pt x="57" y="48"/>
                </a:cubicBezTo>
                <a:cubicBezTo>
                  <a:pt x="57" y="48"/>
                  <a:pt x="56" y="48"/>
                  <a:pt x="56" y="48"/>
                </a:cubicBezTo>
                <a:cubicBezTo>
                  <a:pt x="56" y="48"/>
                  <a:pt x="55" y="48"/>
                  <a:pt x="55" y="47"/>
                </a:cubicBezTo>
                <a:cubicBezTo>
                  <a:pt x="55" y="47"/>
                  <a:pt x="54" y="48"/>
                  <a:pt x="54" y="47"/>
                </a:cubicBezTo>
                <a:cubicBezTo>
                  <a:pt x="54" y="47"/>
                  <a:pt x="54" y="48"/>
                  <a:pt x="54" y="48"/>
                </a:cubicBezTo>
                <a:cubicBezTo>
                  <a:pt x="53" y="47"/>
                  <a:pt x="51" y="47"/>
                  <a:pt x="50" y="47"/>
                </a:cubicBezTo>
                <a:cubicBezTo>
                  <a:pt x="49" y="48"/>
                  <a:pt x="48" y="47"/>
                  <a:pt x="46" y="46"/>
                </a:cubicBezTo>
                <a:cubicBezTo>
                  <a:pt x="46" y="46"/>
                  <a:pt x="45" y="45"/>
                  <a:pt x="45" y="44"/>
                </a:cubicBezTo>
                <a:cubicBezTo>
                  <a:pt x="45" y="44"/>
                  <a:pt x="46" y="44"/>
                  <a:pt x="46" y="43"/>
                </a:cubicBezTo>
                <a:cubicBezTo>
                  <a:pt x="45" y="43"/>
                  <a:pt x="45" y="43"/>
                  <a:pt x="45" y="42"/>
                </a:cubicBezTo>
                <a:cubicBezTo>
                  <a:pt x="44" y="42"/>
                  <a:pt x="44" y="41"/>
                  <a:pt x="45" y="41"/>
                </a:cubicBezTo>
                <a:cubicBezTo>
                  <a:pt x="47" y="42"/>
                  <a:pt x="46" y="41"/>
                  <a:pt x="45" y="40"/>
                </a:cubicBezTo>
                <a:cubicBezTo>
                  <a:pt x="45" y="40"/>
                  <a:pt x="44" y="40"/>
                  <a:pt x="44" y="40"/>
                </a:cubicBezTo>
                <a:cubicBezTo>
                  <a:pt x="43" y="40"/>
                  <a:pt x="42" y="40"/>
                  <a:pt x="43" y="39"/>
                </a:cubicBezTo>
                <a:cubicBezTo>
                  <a:pt x="43" y="39"/>
                  <a:pt x="43" y="39"/>
                  <a:pt x="43" y="39"/>
                </a:cubicBezTo>
                <a:cubicBezTo>
                  <a:pt x="43" y="38"/>
                  <a:pt x="43" y="38"/>
                  <a:pt x="43" y="38"/>
                </a:cubicBezTo>
                <a:cubicBezTo>
                  <a:pt x="43" y="37"/>
                  <a:pt x="43" y="37"/>
                  <a:pt x="43" y="37"/>
                </a:cubicBezTo>
                <a:cubicBezTo>
                  <a:pt x="43" y="37"/>
                  <a:pt x="42" y="36"/>
                  <a:pt x="42" y="36"/>
                </a:cubicBezTo>
                <a:cubicBezTo>
                  <a:pt x="41" y="36"/>
                  <a:pt x="41" y="36"/>
                  <a:pt x="40" y="36"/>
                </a:cubicBezTo>
                <a:cubicBezTo>
                  <a:pt x="39" y="36"/>
                  <a:pt x="37" y="36"/>
                  <a:pt x="36" y="35"/>
                </a:cubicBezTo>
                <a:cubicBezTo>
                  <a:pt x="35" y="34"/>
                  <a:pt x="35" y="34"/>
                  <a:pt x="35" y="34"/>
                </a:cubicBezTo>
                <a:cubicBezTo>
                  <a:pt x="34" y="33"/>
                  <a:pt x="34" y="33"/>
                  <a:pt x="33" y="33"/>
                </a:cubicBezTo>
                <a:cubicBezTo>
                  <a:pt x="32" y="33"/>
                  <a:pt x="30" y="31"/>
                  <a:pt x="29" y="31"/>
                </a:cubicBezTo>
                <a:cubicBezTo>
                  <a:pt x="29" y="30"/>
                  <a:pt x="29" y="31"/>
                  <a:pt x="29" y="31"/>
                </a:cubicBezTo>
                <a:cubicBezTo>
                  <a:pt x="29" y="32"/>
                  <a:pt x="28" y="32"/>
                  <a:pt x="27" y="32"/>
                </a:cubicBezTo>
                <a:cubicBezTo>
                  <a:pt x="27" y="32"/>
                  <a:pt x="26" y="31"/>
                  <a:pt x="26" y="32"/>
                </a:cubicBezTo>
                <a:cubicBezTo>
                  <a:pt x="25" y="32"/>
                  <a:pt x="25" y="32"/>
                  <a:pt x="25" y="33"/>
                </a:cubicBezTo>
                <a:cubicBezTo>
                  <a:pt x="26" y="33"/>
                  <a:pt x="26" y="33"/>
                  <a:pt x="27" y="33"/>
                </a:cubicBezTo>
                <a:cubicBezTo>
                  <a:pt x="27" y="33"/>
                  <a:pt x="28" y="34"/>
                  <a:pt x="28" y="35"/>
                </a:cubicBezTo>
                <a:cubicBezTo>
                  <a:pt x="28" y="35"/>
                  <a:pt x="29" y="36"/>
                  <a:pt x="29" y="36"/>
                </a:cubicBezTo>
                <a:cubicBezTo>
                  <a:pt x="29" y="36"/>
                  <a:pt x="28" y="36"/>
                  <a:pt x="28" y="35"/>
                </a:cubicBezTo>
                <a:cubicBezTo>
                  <a:pt x="28" y="35"/>
                  <a:pt x="28" y="34"/>
                  <a:pt x="27" y="34"/>
                </a:cubicBezTo>
                <a:cubicBezTo>
                  <a:pt x="27" y="34"/>
                  <a:pt x="26" y="34"/>
                  <a:pt x="25" y="34"/>
                </a:cubicBezTo>
                <a:cubicBezTo>
                  <a:pt x="25" y="34"/>
                  <a:pt x="25" y="33"/>
                  <a:pt x="25" y="34"/>
                </a:cubicBezTo>
                <a:cubicBezTo>
                  <a:pt x="24" y="34"/>
                  <a:pt x="24" y="34"/>
                  <a:pt x="24" y="34"/>
                </a:cubicBezTo>
                <a:cubicBezTo>
                  <a:pt x="24" y="35"/>
                  <a:pt x="24" y="35"/>
                  <a:pt x="24" y="35"/>
                </a:cubicBezTo>
                <a:cubicBezTo>
                  <a:pt x="24" y="35"/>
                  <a:pt x="24" y="36"/>
                  <a:pt x="24" y="36"/>
                </a:cubicBezTo>
                <a:cubicBezTo>
                  <a:pt x="24" y="37"/>
                  <a:pt x="24" y="37"/>
                  <a:pt x="24" y="37"/>
                </a:cubicBezTo>
                <a:cubicBezTo>
                  <a:pt x="23" y="37"/>
                  <a:pt x="23" y="37"/>
                  <a:pt x="22" y="37"/>
                </a:cubicBezTo>
                <a:cubicBezTo>
                  <a:pt x="21" y="37"/>
                  <a:pt x="20" y="37"/>
                  <a:pt x="19" y="38"/>
                </a:cubicBezTo>
                <a:cubicBezTo>
                  <a:pt x="18" y="38"/>
                  <a:pt x="18" y="39"/>
                  <a:pt x="17" y="40"/>
                </a:cubicBezTo>
                <a:cubicBezTo>
                  <a:pt x="17" y="40"/>
                  <a:pt x="17" y="40"/>
                  <a:pt x="17" y="40"/>
                </a:cubicBezTo>
                <a:cubicBezTo>
                  <a:pt x="16" y="41"/>
                  <a:pt x="17" y="41"/>
                  <a:pt x="17" y="42"/>
                </a:cubicBezTo>
                <a:cubicBezTo>
                  <a:pt x="17" y="43"/>
                  <a:pt x="18" y="43"/>
                  <a:pt x="18" y="44"/>
                </a:cubicBezTo>
                <a:cubicBezTo>
                  <a:pt x="18" y="45"/>
                  <a:pt x="18" y="45"/>
                  <a:pt x="19" y="45"/>
                </a:cubicBezTo>
                <a:cubicBezTo>
                  <a:pt x="19" y="45"/>
                  <a:pt x="20" y="46"/>
                  <a:pt x="20" y="46"/>
                </a:cubicBezTo>
                <a:cubicBezTo>
                  <a:pt x="20" y="46"/>
                  <a:pt x="19" y="47"/>
                  <a:pt x="19" y="47"/>
                </a:cubicBezTo>
                <a:cubicBezTo>
                  <a:pt x="19" y="47"/>
                  <a:pt x="18" y="47"/>
                  <a:pt x="18" y="47"/>
                </a:cubicBezTo>
                <a:cubicBezTo>
                  <a:pt x="16" y="46"/>
                  <a:pt x="15" y="47"/>
                  <a:pt x="13" y="47"/>
                </a:cubicBezTo>
                <a:cubicBezTo>
                  <a:pt x="12" y="47"/>
                  <a:pt x="11" y="46"/>
                  <a:pt x="11" y="46"/>
                </a:cubicBezTo>
                <a:cubicBezTo>
                  <a:pt x="10" y="46"/>
                  <a:pt x="10" y="47"/>
                  <a:pt x="9" y="46"/>
                </a:cubicBezTo>
                <a:cubicBezTo>
                  <a:pt x="9" y="46"/>
                  <a:pt x="9" y="45"/>
                  <a:pt x="9" y="45"/>
                </a:cubicBezTo>
                <a:cubicBezTo>
                  <a:pt x="9" y="44"/>
                  <a:pt x="8" y="43"/>
                  <a:pt x="8" y="42"/>
                </a:cubicBezTo>
                <a:cubicBezTo>
                  <a:pt x="7" y="35"/>
                  <a:pt x="5" y="28"/>
                  <a:pt x="4" y="22"/>
                </a:cubicBezTo>
                <a:cubicBezTo>
                  <a:pt x="3" y="18"/>
                  <a:pt x="2" y="15"/>
                  <a:pt x="2" y="12"/>
                </a:cubicBezTo>
                <a:cubicBezTo>
                  <a:pt x="1" y="10"/>
                  <a:pt x="1" y="9"/>
                  <a:pt x="1" y="7"/>
                </a:cubicBezTo>
                <a:cubicBezTo>
                  <a:pt x="0" y="6"/>
                  <a:pt x="1" y="6"/>
                  <a:pt x="2" y="6"/>
                </a:cubicBezTo>
                <a:cubicBezTo>
                  <a:pt x="5" y="5"/>
                  <a:pt x="8" y="4"/>
                  <a:pt x="11" y="3"/>
                </a:cubicBezTo>
                <a:cubicBezTo>
                  <a:pt x="14" y="2"/>
                  <a:pt x="18" y="1"/>
                  <a:pt x="21" y="0"/>
                </a:cubicBezTo>
                <a:cubicBezTo>
                  <a:pt x="21" y="0"/>
                  <a:pt x="22" y="0"/>
                  <a:pt x="22" y="0"/>
                </a:cubicBezTo>
                <a:cubicBezTo>
                  <a:pt x="22" y="1"/>
                  <a:pt x="22" y="1"/>
                  <a:pt x="22" y="1"/>
                </a:cubicBezTo>
                <a:cubicBezTo>
                  <a:pt x="22" y="1"/>
                  <a:pt x="22" y="1"/>
                  <a:pt x="22" y="1"/>
                </a:cubicBezTo>
                <a:cubicBezTo>
                  <a:pt x="22" y="1"/>
                  <a:pt x="22" y="2"/>
                  <a:pt x="22" y="2"/>
                </a:cubicBezTo>
                <a:cubicBezTo>
                  <a:pt x="22" y="3"/>
                  <a:pt x="21" y="3"/>
                  <a:pt x="21" y="3"/>
                </a:cubicBezTo>
                <a:cubicBezTo>
                  <a:pt x="21" y="4"/>
                  <a:pt x="21" y="5"/>
                  <a:pt x="21" y="6"/>
                </a:cubicBezTo>
                <a:cubicBezTo>
                  <a:pt x="20" y="7"/>
                  <a:pt x="20" y="8"/>
                  <a:pt x="20" y="9"/>
                </a:cubicBezTo>
                <a:cubicBezTo>
                  <a:pt x="21" y="9"/>
                  <a:pt x="22" y="11"/>
                  <a:pt x="22" y="11"/>
                </a:cubicBezTo>
                <a:cubicBezTo>
                  <a:pt x="21" y="12"/>
                  <a:pt x="22" y="13"/>
                  <a:pt x="23" y="13"/>
                </a:cubicBezTo>
                <a:cubicBezTo>
                  <a:pt x="24" y="13"/>
                  <a:pt x="24" y="13"/>
                  <a:pt x="25" y="12"/>
                </a:cubicBezTo>
                <a:cubicBezTo>
                  <a:pt x="25" y="12"/>
                  <a:pt x="25" y="11"/>
                  <a:pt x="25" y="11"/>
                </a:cubicBezTo>
                <a:cubicBezTo>
                  <a:pt x="25" y="11"/>
                  <a:pt x="25" y="10"/>
                  <a:pt x="25" y="10"/>
                </a:cubicBezTo>
                <a:cubicBezTo>
                  <a:pt x="25" y="11"/>
                  <a:pt x="23" y="9"/>
                  <a:pt x="24" y="9"/>
                </a:cubicBezTo>
                <a:cubicBezTo>
                  <a:pt x="25" y="9"/>
                  <a:pt x="25" y="10"/>
                  <a:pt x="25" y="10"/>
                </a:cubicBezTo>
                <a:cubicBezTo>
                  <a:pt x="26" y="10"/>
                  <a:pt x="26" y="10"/>
                  <a:pt x="26" y="10"/>
                </a:cubicBezTo>
                <a:cubicBezTo>
                  <a:pt x="26" y="10"/>
                  <a:pt x="26" y="10"/>
                  <a:pt x="26" y="10"/>
                </a:cubicBezTo>
                <a:cubicBezTo>
                  <a:pt x="26" y="9"/>
                  <a:pt x="25" y="9"/>
                  <a:pt x="25" y="9"/>
                </a:cubicBezTo>
                <a:cubicBezTo>
                  <a:pt x="25" y="9"/>
                  <a:pt x="25" y="9"/>
                  <a:pt x="25" y="9"/>
                </a:cubicBezTo>
                <a:cubicBezTo>
                  <a:pt x="25" y="8"/>
                  <a:pt x="25" y="8"/>
                  <a:pt x="25" y="8"/>
                </a:cubicBezTo>
                <a:cubicBezTo>
                  <a:pt x="25" y="8"/>
                  <a:pt x="25" y="7"/>
                  <a:pt x="25" y="7"/>
                </a:cubicBezTo>
                <a:cubicBezTo>
                  <a:pt x="25" y="7"/>
                  <a:pt x="25" y="7"/>
                  <a:pt x="25" y="7"/>
                </a:cubicBezTo>
                <a:cubicBezTo>
                  <a:pt x="25" y="7"/>
                  <a:pt x="25" y="7"/>
                  <a:pt x="25" y="7"/>
                </a:cubicBezTo>
                <a:cubicBezTo>
                  <a:pt x="25" y="6"/>
                  <a:pt x="25" y="6"/>
                  <a:pt x="25" y="7"/>
                </a:cubicBezTo>
                <a:cubicBezTo>
                  <a:pt x="25" y="7"/>
                  <a:pt x="24" y="7"/>
                  <a:pt x="24" y="7"/>
                </a:cubicBezTo>
                <a:cubicBezTo>
                  <a:pt x="23" y="6"/>
                  <a:pt x="24" y="6"/>
                  <a:pt x="24" y="5"/>
                </a:cubicBezTo>
                <a:cubicBezTo>
                  <a:pt x="25" y="5"/>
                  <a:pt x="24" y="4"/>
                  <a:pt x="24" y="4"/>
                </a:cubicBezTo>
                <a:cubicBezTo>
                  <a:pt x="23" y="3"/>
                  <a:pt x="23" y="3"/>
                  <a:pt x="23" y="2"/>
                </a:cubicBezTo>
                <a:cubicBezTo>
                  <a:pt x="23" y="2"/>
                  <a:pt x="23" y="2"/>
                  <a:pt x="24" y="1"/>
                </a:cubicBezTo>
                <a:cubicBezTo>
                  <a:pt x="24" y="1"/>
                  <a:pt x="24" y="1"/>
                  <a:pt x="24" y="1"/>
                </a:cubicBezTo>
                <a:cubicBezTo>
                  <a:pt x="24" y="2"/>
                  <a:pt x="24" y="2"/>
                  <a:pt x="25" y="2"/>
                </a:cubicBezTo>
                <a:cubicBezTo>
                  <a:pt x="27" y="3"/>
                  <a:pt x="30" y="5"/>
                  <a:pt x="30" y="5"/>
                </a:cubicBezTo>
                <a:cubicBezTo>
                  <a:pt x="30" y="6"/>
                  <a:pt x="30" y="7"/>
                  <a:pt x="30" y="8"/>
                </a:cubicBezTo>
                <a:cubicBezTo>
                  <a:pt x="29" y="9"/>
                  <a:pt x="29" y="10"/>
                  <a:pt x="29" y="11"/>
                </a:cubicBezTo>
                <a:cubicBezTo>
                  <a:pt x="30" y="12"/>
                  <a:pt x="31" y="14"/>
                  <a:pt x="32" y="15"/>
                </a:cubicBezTo>
                <a:cubicBezTo>
                  <a:pt x="33" y="15"/>
                  <a:pt x="33" y="16"/>
                  <a:pt x="34" y="17"/>
                </a:cubicBezTo>
                <a:cubicBezTo>
                  <a:pt x="35" y="17"/>
                  <a:pt x="35" y="16"/>
                  <a:pt x="35" y="16"/>
                </a:cubicBezTo>
                <a:cubicBezTo>
                  <a:pt x="36" y="16"/>
                  <a:pt x="36" y="16"/>
                  <a:pt x="36" y="16"/>
                </a:cubicBezTo>
                <a:cubicBezTo>
                  <a:pt x="36" y="16"/>
                  <a:pt x="36" y="16"/>
                  <a:pt x="36" y="17"/>
                </a:cubicBezTo>
                <a:cubicBezTo>
                  <a:pt x="37" y="17"/>
                  <a:pt x="37" y="17"/>
                  <a:pt x="37" y="17"/>
                </a:cubicBezTo>
                <a:cubicBezTo>
                  <a:pt x="37" y="16"/>
                  <a:pt x="36" y="16"/>
                  <a:pt x="37" y="16"/>
                </a:cubicBezTo>
                <a:cubicBezTo>
                  <a:pt x="37" y="15"/>
                  <a:pt x="37" y="15"/>
                  <a:pt x="38" y="15"/>
                </a:cubicBezTo>
                <a:cubicBezTo>
                  <a:pt x="38" y="14"/>
                  <a:pt x="38" y="13"/>
                  <a:pt x="38" y="12"/>
                </a:cubicBezTo>
                <a:cubicBezTo>
                  <a:pt x="37" y="11"/>
                  <a:pt x="37" y="10"/>
                  <a:pt x="37" y="9"/>
                </a:cubicBezTo>
                <a:cubicBezTo>
                  <a:pt x="37" y="8"/>
                  <a:pt x="37" y="8"/>
                  <a:pt x="37" y="8"/>
                </a:cubicBezTo>
                <a:cubicBezTo>
                  <a:pt x="39" y="9"/>
                  <a:pt x="40" y="10"/>
                  <a:pt x="42" y="10"/>
                </a:cubicBezTo>
                <a:cubicBezTo>
                  <a:pt x="43" y="11"/>
                  <a:pt x="44" y="12"/>
                  <a:pt x="46" y="13"/>
                </a:cubicBezTo>
                <a:cubicBezTo>
                  <a:pt x="47" y="13"/>
                  <a:pt x="47" y="15"/>
                  <a:pt x="49" y="16"/>
                </a:cubicBezTo>
                <a:cubicBezTo>
                  <a:pt x="50" y="17"/>
                  <a:pt x="52" y="18"/>
                  <a:pt x="53" y="19"/>
                </a:cubicBezTo>
                <a:cubicBezTo>
                  <a:pt x="54" y="20"/>
                  <a:pt x="55" y="21"/>
                  <a:pt x="55" y="21"/>
                </a:cubicBezTo>
                <a:cubicBezTo>
                  <a:pt x="56" y="22"/>
                  <a:pt x="57" y="23"/>
                  <a:pt x="57" y="23"/>
                </a:cubicBezTo>
                <a:cubicBezTo>
                  <a:pt x="61" y="23"/>
                  <a:pt x="64" y="22"/>
                  <a:pt x="67" y="21"/>
                </a:cubicBezTo>
                <a:cubicBezTo>
                  <a:pt x="71" y="21"/>
                  <a:pt x="71" y="22"/>
                  <a:pt x="73" y="22"/>
                </a:cubicBezTo>
                <a:cubicBezTo>
                  <a:pt x="74" y="22"/>
                  <a:pt x="76" y="22"/>
                  <a:pt x="78" y="22"/>
                </a:cubicBezTo>
                <a:cubicBezTo>
                  <a:pt x="79" y="22"/>
                  <a:pt x="79" y="22"/>
                  <a:pt x="80" y="21"/>
                </a:cubicBezTo>
                <a:cubicBezTo>
                  <a:pt x="81" y="21"/>
                  <a:pt x="82" y="20"/>
                  <a:pt x="82" y="20"/>
                </a:cubicBezTo>
                <a:cubicBezTo>
                  <a:pt x="84" y="21"/>
                  <a:pt x="85" y="23"/>
                  <a:pt x="86" y="24"/>
                </a:cubicBezTo>
                <a:cubicBezTo>
                  <a:pt x="87" y="24"/>
                  <a:pt x="87" y="24"/>
                  <a:pt x="88" y="24"/>
                </a:cubicBezTo>
                <a:cubicBezTo>
                  <a:pt x="89" y="25"/>
                  <a:pt x="89" y="26"/>
                  <a:pt x="90" y="26"/>
                </a:cubicBezTo>
                <a:cubicBezTo>
                  <a:pt x="91" y="27"/>
                  <a:pt x="92" y="30"/>
                  <a:pt x="93" y="29"/>
                </a:cubicBezTo>
                <a:cubicBezTo>
                  <a:pt x="93" y="29"/>
                  <a:pt x="94" y="28"/>
                  <a:pt x="94" y="28"/>
                </a:cubicBezTo>
                <a:cubicBezTo>
                  <a:pt x="95" y="29"/>
                  <a:pt x="95" y="29"/>
                  <a:pt x="95" y="30"/>
                </a:cubicBezTo>
                <a:cubicBezTo>
                  <a:pt x="95" y="31"/>
                  <a:pt x="95" y="31"/>
                  <a:pt x="95" y="32"/>
                </a:cubicBezTo>
                <a:cubicBezTo>
                  <a:pt x="95" y="33"/>
                  <a:pt x="96" y="34"/>
                  <a:pt x="96" y="34"/>
                </a:cubicBezTo>
                <a:cubicBezTo>
                  <a:pt x="96" y="35"/>
                  <a:pt x="95" y="34"/>
                  <a:pt x="95" y="35"/>
                </a:cubicBezTo>
                <a:cubicBezTo>
                  <a:pt x="96" y="35"/>
                  <a:pt x="96" y="36"/>
                  <a:pt x="96" y="36"/>
                </a:cubicBezTo>
                <a:cubicBezTo>
                  <a:pt x="96" y="37"/>
                  <a:pt x="96" y="37"/>
                  <a:pt x="96" y="38"/>
                </a:cubicBezTo>
                <a:cubicBezTo>
                  <a:pt x="97" y="39"/>
                  <a:pt x="99" y="39"/>
                  <a:pt x="100" y="39"/>
                </a:cubicBezTo>
                <a:cubicBezTo>
                  <a:pt x="100" y="39"/>
                  <a:pt x="101" y="39"/>
                  <a:pt x="101" y="39"/>
                </a:cubicBezTo>
                <a:cubicBezTo>
                  <a:pt x="101" y="40"/>
                  <a:pt x="101" y="41"/>
                  <a:pt x="102" y="41"/>
                </a:cubicBezTo>
                <a:cubicBezTo>
                  <a:pt x="102" y="43"/>
                  <a:pt x="103" y="45"/>
                  <a:pt x="104" y="47"/>
                </a:cubicBezTo>
                <a:cubicBezTo>
                  <a:pt x="105" y="48"/>
                  <a:pt x="106" y="48"/>
                  <a:pt x="107" y="48"/>
                </a:cubicBezTo>
                <a:cubicBezTo>
                  <a:pt x="108" y="48"/>
                  <a:pt x="109" y="48"/>
                  <a:pt x="110" y="48"/>
                </a:cubicBezTo>
                <a:cubicBezTo>
                  <a:pt x="111" y="48"/>
                  <a:pt x="112" y="48"/>
                  <a:pt x="113" y="48"/>
                </a:cubicBezTo>
                <a:cubicBezTo>
                  <a:pt x="113" y="48"/>
                  <a:pt x="114" y="48"/>
                  <a:pt x="115" y="48"/>
                </a:cubicBezTo>
                <a:cubicBezTo>
                  <a:pt x="115" y="48"/>
                  <a:pt x="115" y="48"/>
                  <a:pt x="116" y="48"/>
                </a:cubicBezTo>
                <a:cubicBezTo>
                  <a:pt x="116" y="48"/>
                  <a:pt x="117" y="49"/>
                  <a:pt x="117" y="49"/>
                </a:cubicBezTo>
                <a:cubicBezTo>
                  <a:pt x="118" y="49"/>
                  <a:pt x="118" y="49"/>
                  <a:pt x="118" y="50"/>
                </a:cubicBezTo>
                <a:cubicBezTo>
                  <a:pt x="118" y="50"/>
                  <a:pt x="118" y="51"/>
                  <a:pt x="118" y="51"/>
                </a:cubicBezTo>
                <a:cubicBezTo>
                  <a:pt x="117" y="52"/>
                  <a:pt x="117" y="52"/>
                  <a:pt x="118" y="52"/>
                </a:cubicBezTo>
                <a:cubicBezTo>
                  <a:pt x="119" y="53"/>
                  <a:pt x="121" y="54"/>
                  <a:pt x="122" y="54"/>
                </a:cubicBezTo>
                <a:cubicBezTo>
                  <a:pt x="122" y="54"/>
                  <a:pt x="122" y="54"/>
                  <a:pt x="123" y="54"/>
                </a:cubicBezTo>
                <a:cubicBezTo>
                  <a:pt x="123" y="54"/>
                  <a:pt x="123" y="54"/>
                  <a:pt x="123" y="54"/>
                </a:cubicBezTo>
                <a:cubicBezTo>
                  <a:pt x="124" y="54"/>
                  <a:pt x="123" y="53"/>
                  <a:pt x="123" y="53"/>
                </a:cubicBezTo>
                <a:cubicBezTo>
                  <a:pt x="123" y="53"/>
                  <a:pt x="123" y="53"/>
                  <a:pt x="123" y="53"/>
                </a:cubicBezTo>
                <a:cubicBezTo>
                  <a:pt x="123" y="52"/>
                  <a:pt x="122" y="52"/>
                  <a:pt x="122" y="52"/>
                </a:cubicBezTo>
                <a:cubicBezTo>
                  <a:pt x="122" y="51"/>
                  <a:pt x="122" y="51"/>
                  <a:pt x="123" y="50"/>
                </a:cubicBezTo>
                <a:cubicBezTo>
                  <a:pt x="123" y="50"/>
                  <a:pt x="123" y="50"/>
                  <a:pt x="123" y="49"/>
                </a:cubicBezTo>
                <a:cubicBezTo>
                  <a:pt x="123" y="49"/>
                  <a:pt x="124" y="49"/>
                  <a:pt x="124" y="49"/>
                </a:cubicBezTo>
                <a:cubicBezTo>
                  <a:pt x="124" y="48"/>
                  <a:pt x="125" y="48"/>
                  <a:pt x="125" y="48"/>
                </a:cubicBezTo>
                <a:cubicBezTo>
                  <a:pt x="126" y="47"/>
                  <a:pt x="125" y="47"/>
                  <a:pt x="125" y="46"/>
                </a:cubicBezTo>
                <a:cubicBezTo>
                  <a:pt x="125" y="46"/>
                  <a:pt x="125" y="46"/>
                  <a:pt x="126" y="45"/>
                </a:cubicBezTo>
                <a:cubicBezTo>
                  <a:pt x="126" y="45"/>
                  <a:pt x="127" y="45"/>
                  <a:pt x="128" y="45"/>
                </a:cubicBezTo>
                <a:cubicBezTo>
                  <a:pt x="127" y="44"/>
                  <a:pt x="129" y="43"/>
                  <a:pt x="129" y="43"/>
                </a:cubicBezTo>
                <a:cubicBezTo>
                  <a:pt x="130" y="42"/>
                  <a:pt x="131" y="42"/>
                  <a:pt x="131" y="42"/>
                </a:cubicBezTo>
                <a:cubicBezTo>
                  <a:pt x="132" y="42"/>
                  <a:pt x="132" y="42"/>
                  <a:pt x="132" y="41"/>
                </a:cubicBezTo>
                <a:cubicBezTo>
                  <a:pt x="133" y="41"/>
                  <a:pt x="133" y="41"/>
                  <a:pt x="133" y="41"/>
                </a:cubicBezTo>
                <a:cubicBezTo>
                  <a:pt x="134" y="40"/>
                  <a:pt x="134" y="40"/>
                  <a:pt x="134" y="40"/>
                </a:cubicBezTo>
                <a:cubicBezTo>
                  <a:pt x="135" y="39"/>
                  <a:pt x="134" y="39"/>
                  <a:pt x="135" y="38"/>
                </a:cubicBezTo>
                <a:cubicBezTo>
                  <a:pt x="136" y="38"/>
                  <a:pt x="136" y="38"/>
                  <a:pt x="136" y="39"/>
                </a:cubicBezTo>
                <a:cubicBezTo>
                  <a:pt x="137" y="39"/>
                  <a:pt x="137" y="37"/>
                  <a:pt x="138" y="37"/>
                </a:cubicBezTo>
                <a:cubicBezTo>
                  <a:pt x="138" y="37"/>
                  <a:pt x="138" y="37"/>
                  <a:pt x="139" y="37"/>
                </a:cubicBezTo>
                <a:cubicBezTo>
                  <a:pt x="139" y="37"/>
                  <a:pt x="139" y="36"/>
                  <a:pt x="140" y="36"/>
                </a:cubicBezTo>
                <a:cubicBezTo>
                  <a:pt x="140" y="36"/>
                  <a:pt x="142" y="36"/>
                  <a:pt x="142" y="37"/>
                </a:cubicBezTo>
                <a:cubicBezTo>
                  <a:pt x="143" y="37"/>
                  <a:pt x="141" y="38"/>
                  <a:pt x="140" y="38"/>
                </a:cubicBezTo>
                <a:cubicBezTo>
                  <a:pt x="140" y="39"/>
                  <a:pt x="140" y="38"/>
                  <a:pt x="139" y="39"/>
                </a:cubicBezTo>
                <a:cubicBezTo>
                  <a:pt x="139" y="39"/>
                  <a:pt x="139" y="39"/>
                  <a:pt x="139" y="40"/>
                </a:cubicBezTo>
                <a:cubicBezTo>
                  <a:pt x="139" y="40"/>
                  <a:pt x="139" y="40"/>
                  <a:pt x="138" y="40"/>
                </a:cubicBezTo>
                <a:cubicBezTo>
                  <a:pt x="138" y="40"/>
                  <a:pt x="137" y="41"/>
                  <a:pt x="137" y="41"/>
                </a:cubicBezTo>
                <a:cubicBezTo>
                  <a:pt x="137" y="41"/>
                  <a:pt x="137" y="42"/>
                  <a:pt x="136" y="42"/>
                </a:cubicBezTo>
                <a:cubicBezTo>
                  <a:pt x="136" y="43"/>
                  <a:pt x="136" y="43"/>
                  <a:pt x="135" y="43"/>
                </a:cubicBezTo>
                <a:cubicBezTo>
                  <a:pt x="135" y="43"/>
                  <a:pt x="134" y="44"/>
                  <a:pt x="135" y="44"/>
                </a:cubicBezTo>
                <a:cubicBezTo>
                  <a:pt x="135" y="44"/>
                  <a:pt x="136" y="44"/>
                  <a:pt x="136" y="44"/>
                </a:cubicBezTo>
                <a:cubicBezTo>
                  <a:pt x="137" y="44"/>
                  <a:pt x="137" y="45"/>
                  <a:pt x="137" y="45"/>
                </a:cubicBezTo>
                <a:cubicBezTo>
                  <a:pt x="138" y="46"/>
                  <a:pt x="138" y="45"/>
                  <a:pt x="139" y="45"/>
                </a:cubicBezTo>
                <a:cubicBezTo>
                  <a:pt x="140" y="45"/>
                  <a:pt x="140" y="45"/>
                  <a:pt x="140" y="46"/>
                </a:cubicBezTo>
                <a:cubicBezTo>
                  <a:pt x="141" y="46"/>
                  <a:pt x="140" y="47"/>
                  <a:pt x="141" y="47"/>
                </a:cubicBezTo>
                <a:cubicBezTo>
                  <a:pt x="141" y="47"/>
                  <a:pt x="142" y="47"/>
                  <a:pt x="142" y="47"/>
                </a:cubicBezTo>
                <a:cubicBezTo>
                  <a:pt x="142" y="48"/>
                  <a:pt x="143" y="48"/>
                  <a:pt x="143" y="48"/>
                </a:cubicBezTo>
                <a:cubicBezTo>
                  <a:pt x="144" y="48"/>
                  <a:pt x="144" y="48"/>
                  <a:pt x="145" y="49"/>
                </a:cubicBezTo>
                <a:cubicBezTo>
                  <a:pt x="145" y="49"/>
                  <a:pt x="145" y="48"/>
                  <a:pt x="145" y="48"/>
                </a:cubicBezTo>
                <a:cubicBezTo>
                  <a:pt x="145" y="48"/>
                  <a:pt x="145" y="48"/>
                  <a:pt x="146" y="49"/>
                </a:cubicBezTo>
                <a:cubicBezTo>
                  <a:pt x="146" y="49"/>
                  <a:pt x="146" y="48"/>
                  <a:pt x="146" y="48"/>
                </a:cubicBezTo>
                <a:cubicBezTo>
                  <a:pt x="147" y="48"/>
                  <a:pt x="147" y="49"/>
                  <a:pt x="147" y="48"/>
                </a:cubicBezTo>
                <a:cubicBezTo>
                  <a:pt x="147" y="47"/>
                  <a:pt x="146" y="47"/>
                  <a:pt x="146" y="46"/>
                </a:cubicBezTo>
                <a:cubicBezTo>
                  <a:pt x="147" y="46"/>
                  <a:pt x="147" y="47"/>
                  <a:pt x="148" y="47"/>
                </a:cubicBezTo>
                <a:cubicBezTo>
                  <a:pt x="148" y="46"/>
                  <a:pt x="148" y="45"/>
                  <a:pt x="148" y="45"/>
                </a:cubicBezTo>
                <a:cubicBezTo>
                  <a:pt x="148" y="45"/>
                  <a:pt x="147" y="44"/>
                  <a:pt x="148" y="44"/>
                </a:cubicBezTo>
                <a:cubicBezTo>
                  <a:pt x="148" y="43"/>
                  <a:pt x="148" y="45"/>
                  <a:pt x="148" y="45"/>
                </a:cubicBezTo>
                <a:cubicBezTo>
                  <a:pt x="148" y="45"/>
                  <a:pt x="149" y="45"/>
                  <a:pt x="149" y="45"/>
                </a:cubicBezTo>
                <a:cubicBezTo>
                  <a:pt x="150" y="46"/>
                  <a:pt x="150" y="46"/>
                  <a:pt x="150" y="47"/>
                </a:cubicBezTo>
                <a:cubicBezTo>
                  <a:pt x="151" y="47"/>
                  <a:pt x="151" y="48"/>
                  <a:pt x="151" y="48"/>
                </a:cubicBezTo>
                <a:cubicBezTo>
                  <a:pt x="151" y="48"/>
                  <a:pt x="152" y="48"/>
                  <a:pt x="152" y="48"/>
                </a:cubicBezTo>
                <a:cubicBezTo>
                  <a:pt x="153" y="48"/>
                  <a:pt x="153" y="48"/>
                  <a:pt x="153" y="48"/>
                </a:cubicBezTo>
                <a:cubicBezTo>
                  <a:pt x="154" y="48"/>
                  <a:pt x="154" y="49"/>
                  <a:pt x="154" y="50"/>
                </a:cubicBezTo>
                <a:cubicBezTo>
                  <a:pt x="154" y="50"/>
                  <a:pt x="155" y="50"/>
                  <a:pt x="155" y="49"/>
                </a:cubicBezTo>
                <a:cubicBezTo>
                  <a:pt x="155" y="49"/>
                  <a:pt x="155" y="49"/>
                  <a:pt x="155" y="49"/>
                </a:cubicBezTo>
                <a:cubicBezTo>
                  <a:pt x="155" y="49"/>
                  <a:pt x="156" y="49"/>
                  <a:pt x="156" y="50"/>
                </a:cubicBezTo>
                <a:cubicBezTo>
                  <a:pt x="156" y="50"/>
                  <a:pt x="157" y="50"/>
                  <a:pt x="157" y="50"/>
                </a:cubicBezTo>
                <a:cubicBezTo>
                  <a:pt x="157" y="50"/>
                  <a:pt x="157" y="50"/>
                  <a:pt x="158" y="51"/>
                </a:cubicBezTo>
                <a:cubicBezTo>
                  <a:pt x="158" y="51"/>
                  <a:pt x="158" y="51"/>
                  <a:pt x="159" y="51"/>
                </a:cubicBezTo>
                <a:cubicBezTo>
                  <a:pt x="159" y="51"/>
                  <a:pt x="160" y="51"/>
                  <a:pt x="161" y="51"/>
                </a:cubicBezTo>
                <a:cubicBezTo>
                  <a:pt x="161" y="52"/>
                  <a:pt x="161" y="51"/>
                  <a:pt x="162" y="51"/>
                </a:cubicBezTo>
                <a:cubicBezTo>
                  <a:pt x="162" y="51"/>
                  <a:pt x="163" y="51"/>
                  <a:pt x="163" y="52"/>
                </a:cubicBezTo>
                <a:cubicBezTo>
                  <a:pt x="164" y="52"/>
                  <a:pt x="161" y="53"/>
                  <a:pt x="161" y="53"/>
                </a:cubicBezTo>
                <a:close/>
                <a:moveTo>
                  <a:pt x="141" y="51"/>
                </a:moveTo>
                <a:cubicBezTo>
                  <a:pt x="141" y="50"/>
                  <a:pt x="140" y="50"/>
                  <a:pt x="140" y="50"/>
                </a:cubicBezTo>
                <a:cubicBezTo>
                  <a:pt x="139" y="50"/>
                  <a:pt x="140" y="51"/>
                  <a:pt x="141" y="5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 name="Uruguay"/>
          <p:cNvSpPr>
            <a:spLocks/>
          </p:cNvSpPr>
          <p:nvPr/>
        </p:nvSpPr>
        <p:spPr bwMode="auto">
          <a:xfrm>
            <a:off x="3859156" y="5860893"/>
            <a:ext cx="180994" cy="194993"/>
          </a:xfrm>
          <a:custGeom>
            <a:avLst/>
            <a:gdLst/>
            <a:ahLst/>
            <a:cxnLst>
              <a:cxn ang="0">
                <a:pos x="48" y="39"/>
              </a:cxn>
              <a:cxn ang="0">
                <a:pos x="47" y="34"/>
              </a:cxn>
              <a:cxn ang="0">
                <a:pos x="49" y="31"/>
              </a:cxn>
              <a:cxn ang="0">
                <a:pos x="49" y="28"/>
              </a:cxn>
              <a:cxn ang="0">
                <a:pos x="44" y="23"/>
              </a:cxn>
              <a:cxn ang="0">
                <a:pos x="41" y="21"/>
              </a:cxn>
              <a:cxn ang="0">
                <a:pos x="39" y="20"/>
              </a:cxn>
              <a:cxn ang="0">
                <a:pos x="37" y="18"/>
              </a:cxn>
              <a:cxn ang="0">
                <a:pos x="34" y="16"/>
              </a:cxn>
              <a:cxn ang="0">
                <a:pos x="30" y="14"/>
              </a:cxn>
              <a:cxn ang="0">
                <a:pos x="28" y="13"/>
              </a:cxn>
              <a:cxn ang="0">
                <a:pos x="24" y="9"/>
              </a:cxn>
              <a:cxn ang="0">
                <a:pos x="22" y="10"/>
              </a:cxn>
              <a:cxn ang="0">
                <a:pos x="20" y="11"/>
              </a:cxn>
              <a:cxn ang="0">
                <a:pos x="18" y="7"/>
              </a:cxn>
              <a:cxn ang="0">
                <a:pos x="14" y="3"/>
              </a:cxn>
              <a:cxn ang="0">
                <a:pos x="11" y="1"/>
              </a:cxn>
              <a:cxn ang="0">
                <a:pos x="7" y="1"/>
              </a:cxn>
              <a:cxn ang="0">
                <a:pos x="6" y="2"/>
              </a:cxn>
              <a:cxn ang="0">
                <a:pos x="4" y="2"/>
              </a:cxn>
              <a:cxn ang="0">
                <a:pos x="3" y="2"/>
              </a:cxn>
              <a:cxn ang="0">
                <a:pos x="2" y="8"/>
              </a:cxn>
              <a:cxn ang="0">
                <a:pos x="2" y="9"/>
              </a:cxn>
              <a:cxn ang="0">
                <a:pos x="2" y="12"/>
              </a:cxn>
              <a:cxn ang="0">
                <a:pos x="2" y="14"/>
              </a:cxn>
              <a:cxn ang="0">
                <a:pos x="2" y="16"/>
              </a:cxn>
              <a:cxn ang="0">
                <a:pos x="2" y="19"/>
              </a:cxn>
              <a:cxn ang="0">
                <a:pos x="2" y="22"/>
              </a:cxn>
              <a:cxn ang="0">
                <a:pos x="2" y="25"/>
              </a:cxn>
              <a:cxn ang="0">
                <a:pos x="4" y="30"/>
              </a:cxn>
              <a:cxn ang="0">
                <a:pos x="4" y="33"/>
              </a:cxn>
              <a:cxn ang="0">
                <a:pos x="3" y="35"/>
              </a:cxn>
              <a:cxn ang="0">
                <a:pos x="3" y="38"/>
              </a:cxn>
              <a:cxn ang="0">
                <a:pos x="4" y="43"/>
              </a:cxn>
              <a:cxn ang="0">
                <a:pos x="6" y="45"/>
              </a:cxn>
              <a:cxn ang="0">
                <a:pos x="9" y="46"/>
              </a:cxn>
              <a:cxn ang="0">
                <a:pos x="12" y="48"/>
              </a:cxn>
              <a:cxn ang="0">
                <a:pos x="16" y="48"/>
              </a:cxn>
              <a:cxn ang="0">
                <a:pos x="20" y="50"/>
              </a:cxn>
              <a:cxn ang="0">
                <a:pos x="25" y="53"/>
              </a:cxn>
              <a:cxn ang="0">
                <a:pos x="28" y="53"/>
              </a:cxn>
              <a:cxn ang="0">
                <a:pos x="33" y="52"/>
              </a:cxn>
              <a:cxn ang="0">
                <a:pos x="37" y="53"/>
              </a:cxn>
              <a:cxn ang="0">
                <a:pos x="40" y="52"/>
              </a:cxn>
              <a:cxn ang="0">
                <a:pos x="43" y="50"/>
              </a:cxn>
              <a:cxn ang="0">
                <a:pos x="44" y="50"/>
              </a:cxn>
              <a:cxn ang="0">
                <a:pos x="47" y="47"/>
              </a:cxn>
              <a:cxn ang="0">
                <a:pos x="49" y="43"/>
              </a:cxn>
              <a:cxn ang="0">
                <a:pos x="49" y="40"/>
              </a:cxn>
            </a:cxnLst>
            <a:rect l="0" t="0" r="r" b="b"/>
            <a:pathLst>
              <a:path w="50" h="54">
                <a:moveTo>
                  <a:pt x="49" y="40"/>
                </a:moveTo>
                <a:cubicBezTo>
                  <a:pt x="49" y="39"/>
                  <a:pt x="48" y="40"/>
                  <a:pt x="48" y="39"/>
                </a:cubicBezTo>
                <a:cubicBezTo>
                  <a:pt x="48" y="38"/>
                  <a:pt x="48" y="38"/>
                  <a:pt x="48" y="37"/>
                </a:cubicBezTo>
                <a:cubicBezTo>
                  <a:pt x="48" y="36"/>
                  <a:pt x="47" y="35"/>
                  <a:pt x="47" y="34"/>
                </a:cubicBezTo>
                <a:cubicBezTo>
                  <a:pt x="47" y="33"/>
                  <a:pt x="47" y="32"/>
                  <a:pt x="48" y="32"/>
                </a:cubicBezTo>
                <a:cubicBezTo>
                  <a:pt x="49" y="31"/>
                  <a:pt x="48" y="31"/>
                  <a:pt x="49" y="31"/>
                </a:cubicBezTo>
                <a:cubicBezTo>
                  <a:pt x="49" y="30"/>
                  <a:pt x="49" y="30"/>
                  <a:pt x="49" y="30"/>
                </a:cubicBezTo>
                <a:cubicBezTo>
                  <a:pt x="50" y="29"/>
                  <a:pt x="50" y="28"/>
                  <a:pt x="49" y="28"/>
                </a:cubicBezTo>
                <a:cubicBezTo>
                  <a:pt x="47" y="27"/>
                  <a:pt x="45" y="26"/>
                  <a:pt x="44" y="25"/>
                </a:cubicBezTo>
                <a:cubicBezTo>
                  <a:pt x="44" y="24"/>
                  <a:pt x="44" y="24"/>
                  <a:pt x="44" y="23"/>
                </a:cubicBezTo>
                <a:cubicBezTo>
                  <a:pt x="43" y="23"/>
                  <a:pt x="43" y="23"/>
                  <a:pt x="43" y="22"/>
                </a:cubicBezTo>
                <a:cubicBezTo>
                  <a:pt x="43" y="22"/>
                  <a:pt x="42" y="22"/>
                  <a:pt x="41" y="21"/>
                </a:cubicBezTo>
                <a:cubicBezTo>
                  <a:pt x="41" y="21"/>
                  <a:pt x="41" y="20"/>
                  <a:pt x="40" y="20"/>
                </a:cubicBezTo>
                <a:cubicBezTo>
                  <a:pt x="40" y="20"/>
                  <a:pt x="40" y="20"/>
                  <a:pt x="39" y="20"/>
                </a:cubicBezTo>
                <a:cubicBezTo>
                  <a:pt x="39" y="20"/>
                  <a:pt x="39" y="20"/>
                  <a:pt x="39" y="20"/>
                </a:cubicBezTo>
                <a:cubicBezTo>
                  <a:pt x="38" y="20"/>
                  <a:pt x="37" y="19"/>
                  <a:pt x="37" y="18"/>
                </a:cubicBezTo>
                <a:cubicBezTo>
                  <a:pt x="36" y="18"/>
                  <a:pt x="35" y="18"/>
                  <a:pt x="35" y="17"/>
                </a:cubicBezTo>
                <a:cubicBezTo>
                  <a:pt x="35" y="17"/>
                  <a:pt x="35" y="16"/>
                  <a:pt x="34" y="16"/>
                </a:cubicBezTo>
                <a:cubicBezTo>
                  <a:pt x="33" y="15"/>
                  <a:pt x="33" y="15"/>
                  <a:pt x="32" y="15"/>
                </a:cubicBezTo>
                <a:cubicBezTo>
                  <a:pt x="31" y="15"/>
                  <a:pt x="30" y="14"/>
                  <a:pt x="30" y="14"/>
                </a:cubicBezTo>
                <a:cubicBezTo>
                  <a:pt x="30" y="14"/>
                  <a:pt x="29" y="13"/>
                  <a:pt x="29" y="13"/>
                </a:cubicBezTo>
                <a:cubicBezTo>
                  <a:pt x="29" y="13"/>
                  <a:pt x="29" y="14"/>
                  <a:pt x="28" y="13"/>
                </a:cubicBezTo>
                <a:cubicBezTo>
                  <a:pt x="28" y="13"/>
                  <a:pt x="27" y="13"/>
                  <a:pt x="27" y="12"/>
                </a:cubicBezTo>
                <a:cubicBezTo>
                  <a:pt x="26" y="11"/>
                  <a:pt x="25" y="10"/>
                  <a:pt x="24" y="9"/>
                </a:cubicBezTo>
                <a:cubicBezTo>
                  <a:pt x="24" y="9"/>
                  <a:pt x="22" y="8"/>
                  <a:pt x="23" y="9"/>
                </a:cubicBezTo>
                <a:cubicBezTo>
                  <a:pt x="23" y="10"/>
                  <a:pt x="22" y="9"/>
                  <a:pt x="22" y="10"/>
                </a:cubicBezTo>
                <a:cubicBezTo>
                  <a:pt x="22" y="10"/>
                  <a:pt x="21" y="11"/>
                  <a:pt x="21" y="11"/>
                </a:cubicBezTo>
                <a:cubicBezTo>
                  <a:pt x="20" y="11"/>
                  <a:pt x="20" y="11"/>
                  <a:pt x="20" y="11"/>
                </a:cubicBezTo>
                <a:cubicBezTo>
                  <a:pt x="19" y="11"/>
                  <a:pt x="19" y="9"/>
                  <a:pt x="19" y="9"/>
                </a:cubicBezTo>
                <a:cubicBezTo>
                  <a:pt x="19" y="8"/>
                  <a:pt x="19" y="8"/>
                  <a:pt x="18" y="7"/>
                </a:cubicBezTo>
                <a:cubicBezTo>
                  <a:pt x="18" y="6"/>
                  <a:pt x="17" y="6"/>
                  <a:pt x="16" y="5"/>
                </a:cubicBezTo>
                <a:cubicBezTo>
                  <a:pt x="16" y="5"/>
                  <a:pt x="15" y="4"/>
                  <a:pt x="14" y="3"/>
                </a:cubicBezTo>
                <a:cubicBezTo>
                  <a:pt x="14" y="3"/>
                  <a:pt x="13" y="3"/>
                  <a:pt x="13" y="2"/>
                </a:cubicBezTo>
                <a:cubicBezTo>
                  <a:pt x="12" y="2"/>
                  <a:pt x="12" y="1"/>
                  <a:pt x="11" y="1"/>
                </a:cubicBezTo>
                <a:cubicBezTo>
                  <a:pt x="11" y="1"/>
                  <a:pt x="10" y="0"/>
                  <a:pt x="10" y="0"/>
                </a:cubicBezTo>
                <a:cubicBezTo>
                  <a:pt x="9" y="0"/>
                  <a:pt x="8" y="0"/>
                  <a:pt x="7" y="1"/>
                </a:cubicBezTo>
                <a:cubicBezTo>
                  <a:pt x="7" y="1"/>
                  <a:pt x="7" y="2"/>
                  <a:pt x="6" y="2"/>
                </a:cubicBezTo>
                <a:cubicBezTo>
                  <a:pt x="6" y="2"/>
                  <a:pt x="6" y="2"/>
                  <a:pt x="6" y="2"/>
                </a:cubicBezTo>
                <a:cubicBezTo>
                  <a:pt x="5" y="2"/>
                  <a:pt x="5" y="2"/>
                  <a:pt x="5" y="2"/>
                </a:cubicBezTo>
                <a:cubicBezTo>
                  <a:pt x="5" y="2"/>
                  <a:pt x="5" y="2"/>
                  <a:pt x="4" y="2"/>
                </a:cubicBezTo>
                <a:cubicBezTo>
                  <a:pt x="3" y="2"/>
                  <a:pt x="3" y="1"/>
                  <a:pt x="3" y="1"/>
                </a:cubicBezTo>
                <a:cubicBezTo>
                  <a:pt x="2" y="1"/>
                  <a:pt x="3" y="2"/>
                  <a:pt x="3" y="2"/>
                </a:cubicBezTo>
                <a:cubicBezTo>
                  <a:pt x="3" y="3"/>
                  <a:pt x="2" y="4"/>
                  <a:pt x="1" y="4"/>
                </a:cubicBezTo>
                <a:cubicBezTo>
                  <a:pt x="0" y="5"/>
                  <a:pt x="2" y="7"/>
                  <a:pt x="2" y="8"/>
                </a:cubicBezTo>
                <a:cubicBezTo>
                  <a:pt x="2" y="8"/>
                  <a:pt x="3" y="9"/>
                  <a:pt x="2" y="9"/>
                </a:cubicBezTo>
                <a:cubicBezTo>
                  <a:pt x="2" y="9"/>
                  <a:pt x="2" y="9"/>
                  <a:pt x="2" y="9"/>
                </a:cubicBezTo>
                <a:cubicBezTo>
                  <a:pt x="1" y="9"/>
                  <a:pt x="2" y="10"/>
                  <a:pt x="2" y="11"/>
                </a:cubicBezTo>
                <a:cubicBezTo>
                  <a:pt x="2" y="11"/>
                  <a:pt x="2" y="12"/>
                  <a:pt x="2" y="12"/>
                </a:cubicBezTo>
                <a:cubicBezTo>
                  <a:pt x="2" y="12"/>
                  <a:pt x="2" y="13"/>
                  <a:pt x="2" y="13"/>
                </a:cubicBezTo>
                <a:cubicBezTo>
                  <a:pt x="2" y="14"/>
                  <a:pt x="2" y="14"/>
                  <a:pt x="2" y="14"/>
                </a:cubicBezTo>
                <a:cubicBezTo>
                  <a:pt x="2" y="15"/>
                  <a:pt x="1" y="15"/>
                  <a:pt x="1" y="15"/>
                </a:cubicBezTo>
                <a:cubicBezTo>
                  <a:pt x="1" y="15"/>
                  <a:pt x="2" y="16"/>
                  <a:pt x="2" y="16"/>
                </a:cubicBezTo>
                <a:cubicBezTo>
                  <a:pt x="3" y="16"/>
                  <a:pt x="2" y="17"/>
                  <a:pt x="2" y="18"/>
                </a:cubicBezTo>
                <a:cubicBezTo>
                  <a:pt x="2" y="18"/>
                  <a:pt x="2" y="19"/>
                  <a:pt x="2" y="19"/>
                </a:cubicBezTo>
                <a:cubicBezTo>
                  <a:pt x="1" y="19"/>
                  <a:pt x="1" y="19"/>
                  <a:pt x="1" y="20"/>
                </a:cubicBezTo>
                <a:cubicBezTo>
                  <a:pt x="2" y="21"/>
                  <a:pt x="2" y="21"/>
                  <a:pt x="2" y="22"/>
                </a:cubicBezTo>
                <a:cubicBezTo>
                  <a:pt x="2" y="23"/>
                  <a:pt x="2" y="23"/>
                  <a:pt x="3" y="24"/>
                </a:cubicBezTo>
                <a:cubicBezTo>
                  <a:pt x="3" y="24"/>
                  <a:pt x="2" y="25"/>
                  <a:pt x="2" y="25"/>
                </a:cubicBezTo>
                <a:cubicBezTo>
                  <a:pt x="2" y="26"/>
                  <a:pt x="3" y="27"/>
                  <a:pt x="3" y="27"/>
                </a:cubicBezTo>
                <a:cubicBezTo>
                  <a:pt x="3" y="28"/>
                  <a:pt x="3" y="29"/>
                  <a:pt x="4" y="30"/>
                </a:cubicBezTo>
                <a:cubicBezTo>
                  <a:pt x="4" y="30"/>
                  <a:pt x="5" y="31"/>
                  <a:pt x="5" y="32"/>
                </a:cubicBezTo>
                <a:cubicBezTo>
                  <a:pt x="5" y="32"/>
                  <a:pt x="5" y="33"/>
                  <a:pt x="4" y="33"/>
                </a:cubicBezTo>
                <a:cubicBezTo>
                  <a:pt x="3" y="33"/>
                  <a:pt x="2" y="33"/>
                  <a:pt x="2" y="34"/>
                </a:cubicBezTo>
                <a:cubicBezTo>
                  <a:pt x="2" y="34"/>
                  <a:pt x="3" y="35"/>
                  <a:pt x="3" y="35"/>
                </a:cubicBezTo>
                <a:cubicBezTo>
                  <a:pt x="3" y="36"/>
                  <a:pt x="2" y="36"/>
                  <a:pt x="3" y="37"/>
                </a:cubicBezTo>
                <a:cubicBezTo>
                  <a:pt x="3" y="37"/>
                  <a:pt x="3" y="38"/>
                  <a:pt x="3" y="38"/>
                </a:cubicBezTo>
                <a:cubicBezTo>
                  <a:pt x="3" y="39"/>
                  <a:pt x="3" y="40"/>
                  <a:pt x="3" y="40"/>
                </a:cubicBezTo>
                <a:cubicBezTo>
                  <a:pt x="3" y="41"/>
                  <a:pt x="4" y="42"/>
                  <a:pt x="4" y="43"/>
                </a:cubicBezTo>
                <a:cubicBezTo>
                  <a:pt x="5" y="43"/>
                  <a:pt x="6" y="43"/>
                  <a:pt x="6" y="44"/>
                </a:cubicBezTo>
                <a:cubicBezTo>
                  <a:pt x="6" y="44"/>
                  <a:pt x="6" y="45"/>
                  <a:pt x="6" y="45"/>
                </a:cubicBezTo>
                <a:cubicBezTo>
                  <a:pt x="7" y="45"/>
                  <a:pt x="7" y="45"/>
                  <a:pt x="7" y="45"/>
                </a:cubicBezTo>
                <a:cubicBezTo>
                  <a:pt x="8" y="45"/>
                  <a:pt x="8" y="46"/>
                  <a:pt x="9" y="46"/>
                </a:cubicBezTo>
                <a:cubicBezTo>
                  <a:pt x="9" y="47"/>
                  <a:pt x="10" y="48"/>
                  <a:pt x="10" y="48"/>
                </a:cubicBezTo>
                <a:cubicBezTo>
                  <a:pt x="11" y="48"/>
                  <a:pt x="11" y="48"/>
                  <a:pt x="12" y="48"/>
                </a:cubicBezTo>
                <a:cubicBezTo>
                  <a:pt x="12" y="48"/>
                  <a:pt x="13" y="48"/>
                  <a:pt x="14" y="48"/>
                </a:cubicBezTo>
                <a:cubicBezTo>
                  <a:pt x="14" y="48"/>
                  <a:pt x="15" y="48"/>
                  <a:pt x="16" y="48"/>
                </a:cubicBezTo>
                <a:cubicBezTo>
                  <a:pt x="17" y="48"/>
                  <a:pt x="17" y="48"/>
                  <a:pt x="18" y="49"/>
                </a:cubicBezTo>
                <a:cubicBezTo>
                  <a:pt x="19" y="50"/>
                  <a:pt x="19" y="50"/>
                  <a:pt x="20" y="50"/>
                </a:cubicBezTo>
                <a:cubicBezTo>
                  <a:pt x="22" y="52"/>
                  <a:pt x="23" y="51"/>
                  <a:pt x="25" y="52"/>
                </a:cubicBezTo>
                <a:cubicBezTo>
                  <a:pt x="24" y="52"/>
                  <a:pt x="25" y="52"/>
                  <a:pt x="25" y="53"/>
                </a:cubicBezTo>
                <a:cubicBezTo>
                  <a:pt x="25" y="53"/>
                  <a:pt x="26" y="53"/>
                  <a:pt x="26" y="53"/>
                </a:cubicBezTo>
                <a:cubicBezTo>
                  <a:pt x="27" y="53"/>
                  <a:pt x="27" y="53"/>
                  <a:pt x="28" y="53"/>
                </a:cubicBezTo>
                <a:cubicBezTo>
                  <a:pt x="29" y="52"/>
                  <a:pt x="29" y="52"/>
                  <a:pt x="30" y="52"/>
                </a:cubicBezTo>
                <a:cubicBezTo>
                  <a:pt x="31" y="51"/>
                  <a:pt x="32" y="52"/>
                  <a:pt x="33" y="52"/>
                </a:cubicBezTo>
                <a:cubicBezTo>
                  <a:pt x="34" y="52"/>
                  <a:pt x="34" y="52"/>
                  <a:pt x="35" y="52"/>
                </a:cubicBezTo>
                <a:cubicBezTo>
                  <a:pt x="35" y="53"/>
                  <a:pt x="36" y="53"/>
                  <a:pt x="37" y="53"/>
                </a:cubicBezTo>
                <a:cubicBezTo>
                  <a:pt x="37" y="53"/>
                  <a:pt x="38" y="53"/>
                  <a:pt x="38" y="54"/>
                </a:cubicBezTo>
                <a:cubicBezTo>
                  <a:pt x="39" y="53"/>
                  <a:pt x="40" y="53"/>
                  <a:pt x="40" y="52"/>
                </a:cubicBezTo>
                <a:cubicBezTo>
                  <a:pt x="41" y="52"/>
                  <a:pt x="42" y="52"/>
                  <a:pt x="43" y="51"/>
                </a:cubicBezTo>
                <a:cubicBezTo>
                  <a:pt x="44" y="50"/>
                  <a:pt x="43" y="50"/>
                  <a:pt x="43" y="50"/>
                </a:cubicBezTo>
                <a:cubicBezTo>
                  <a:pt x="42" y="50"/>
                  <a:pt x="44" y="49"/>
                  <a:pt x="43" y="49"/>
                </a:cubicBezTo>
                <a:cubicBezTo>
                  <a:pt x="43" y="49"/>
                  <a:pt x="44" y="50"/>
                  <a:pt x="44" y="50"/>
                </a:cubicBezTo>
                <a:cubicBezTo>
                  <a:pt x="45" y="50"/>
                  <a:pt x="45" y="49"/>
                  <a:pt x="46" y="48"/>
                </a:cubicBezTo>
                <a:cubicBezTo>
                  <a:pt x="46" y="48"/>
                  <a:pt x="47" y="47"/>
                  <a:pt x="47" y="47"/>
                </a:cubicBezTo>
                <a:cubicBezTo>
                  <a:pt x="47" y="47"/>
                  <a:pt x="47" y="46"/>
                  <a:pt x="47" y="46"/>
                </a:cubicBezTo>
                <a:cubicBezTo>
                  <a:pt x="47" y="45"/>
                  <a:pt x="49" y="44"/>
                  <a:pt x="49" y="43"/>
                </a:cubicBezTo>
                <a:cubicBezTo>
                  <a:pt x="49" y="42"/>
                  <a:pt x="49" y="41"/>
                  <a:pt x="50" y="40"/>
                </a:cubicBezTo>
                <a:cubicBezTo>
                  <a:pt x="49" y="40"/>
                  <a:pt x="49" y="40"/>
                  <a:pt x="49" y="4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 name="United States Virgin Islands"/>
          <p:cNvSpPr>
            <a:spLocks noEditPoints="1"/>
          </p:cNvSpPr>
          <p:nvPr/>
        </p:nvSpPr>
        <p:spPr bwMode="auto">
          <a:xfrm>
            <a:off x="3552167" y="3932965"/>
            <a:ext cx="15000" cy="28999"/>
          </a:xfrm>
          <a:custGeom>
            <a:avLst/>
            <a:gdLst/>
            <a:ahLst/>
            <a:cxnLst>
              <a:cxn ang="0">
                <a:pos x="4" y="7"/>
              </a:cxn>
              <a:cxn ang="0">
                <a:pos x="2" y="8"/>
              </a:cxn>
              <a:cxn ang="0">
                <a:pos x="1" y="8"/>
              </a:cxn>
              <a:cxn ang="0">
                <a:pos x="1" y="7"/>
              </a:cxn>
              <a:cxn ang="0">
                <a:pos x="2" y="7"/>
              </a:cxn>
              <a:cxn ang="0">
                <a:pos x="3" y="7"/>
              </a:cxn>
              <a:cxn ang="0">
                <a:pos x="4" y="7"/>
              </a:cxn>
              <a:cxn ang="0">
                <a:pos x="0" y="0"/>
              </a:cxn>
              <a:cxn ang="0">
                <a:pos x="1" y="1"/>
              </a:cxn>
              <a:cxn ang="0">
                <a:pos x="1" y="1"/>
              </a:cxn>
              <a:cxn ang="0">
                <a:pos x="0" y="0"/>
              </a:cxn>
              <a:cxn ang="0">
                <a:pos x="3" y="1"/>
              </a:cxn>
              <a:cxn ang="0">
                <a:pos x="3" y="1"/>
              </a:cxn>
              <a:cxn ang="0">
                <a:pos x="3" y="1"/>
              </a:cxn>
              <a:cxn ang="0">
                <a:pos x="3" y="1"/>
              </a:cxn>
              <a:cxn ang="0">
                <a:pos x="3" y="1"/>
              </a:cxn>
            </a:cxnLst>
            <a:rect l="0" t="0" r="r" b="b"/>
            <a:pathLst>
              <a:path w="4" h="8">
                <a:moveTo>
                  <a:pt x="4" y="7"/>
                </a:moveTo>
                <a:cubicBezTo>
                  <a:pt x="3" y="7"/>
                  <a:pt x="3" y="8"/>
                  <a:pt x="2" y="8"/>
                </a:cubicBezTo>
                <a:cubicBezTo>
                  <a:pt x="2" y="8"/>
                  <a:pt x="1" y="8"/>
                  <a:pt x="1" y="8"/>
                </a:cubicBezTo>
                <a:cubicBezTo>
                  <a:pt x="1" y="8"/>
                  <a:pt x="1" y="7"/>
                  <a:pt x="1" y="7"/>
                </a:cubicBezTo>
                <a:cubicBezTo>
                  <a:pt x="1" y="7"/>
                  <a:pt x="1" y="7"/>
                  <a:pt x="2" y="7"/>
                </a:cubicBezTo>
                <a:cubicBezTo>
                  <a:pt x="2" y="7"/>
                  <a:pt x="2" y="7"/>
                  <a:pt x="3" y="7"/>
                </a:cubicBezTo>
                <a:cubicBezTo>
                  <a:pt x="3" y="7"/>
                  <a:pt x="3" y="7"/>
                  <a:pt x="4" y="7"/>
                </a:cubicBezTo>
                <a:close/>
                <a:moveTo>
                  <a:pt x="0" y="0"/>
                </a:moveTo>
                <a:cubicBezTo>
                  <a:pt x="0" y="0"/>
                  <a:pt x="0" y="1"/>
                  <a:pt x="1" y="1"/>
                </a:cubicBezTo>
                <a:cubicBezTo>
                  <a:pt x="1" y="1"/>
                  <a:pt x="1" y="1"/>
                  <a:pt x="1" y="1"/>
                </a:cubicBezTo>
                <a:cubicBezTo>
                  <a:pt x="3" y="1"/>
                  <a:pt x="0" y="0"/>
                  <a:pt x="0" y="0"/>
                </a:cubicBezTo>
                <a:close/>
                <a:moveTo>
                  <a:pt x="3" y="1"/>
                </a:moveTo>
                <a:cubicBezTo>
                  <a:pt x="2" y="1"/>
                  <a:pt x="3" y="1"/>
                  <a:pt x="3" y="1"/>
                </a:cubicBezTo>
                <a:cubicBezTo>
                  <a:pt x="3" y="1"/>
                  <a:pt x="3" y="1"/>
                  <a:pt x="3" y="1"/>
                </a:cubicBezTo>
                <a:cubicBezTo>
                  <a:pt x="3" y="1"/>
                  <a:pt x="3" y="1"/>
                  <a:pt x="3" y="1"/>
                </a:cubicBezTo>
                <a:cubicBezTo>
                  <a:pt x="4" y="0"/>
                  <a:pt x="3" y="0"/>
                  <a:pt x="3"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 name="United States of America"/>
          <p:cNvSpPr>
            <a:spLocks noEditPoints="1"/>
          </p:cNvSpPr>
          <p:nvPr/>
        </p:nvSpPr>
        <p:spPr bwMode="auto">
          <a:xfrm>
            <a:off x="294289" y="1915040"/>
            <a:ext cx="3434872" cy="1995925"/>
          </a:xfrm>
          <a:custGeom>
            <a:avLst/>
            <a:gdLst/>
            <a:ahLst/>
            <a:cxnLst>
              <a:cxn ang="0">
                <a:pos x="774" y="235"/>
              </a:cxn>
              <a:cxn ang="0">
                <a:pos x="611" y="461"/>
              </a:cxn>
              <a:cxn ang="0">
                <a:pos x="428" y="387"/>
              </a:cxn>
              <a:cxn ang="0">
                <a:pos x="762" y="488"/>
              </a:cxn>
              <a:cxn ang="0">
                <a:pos x="937" y="272"/>
              </a:cxn>
              <a:cxn ang="0">
                <a:pos x="906" y="294"/>
              </a:cxn>
              <a:cxn ang="0">
                <a:pos x="873" y="312"/>
              </a:cxn>
              <a:cxn ang="0">
                <a:pos x="860" y="329"/>
              </a:cxn>
              <a:cxn ang="0">
                <a:pos x="844" y="339"/>
              </a:cxn>
              <a:cxn ang="0">
                <a:pos x="839" y="335"/>
              </a:cxn>
              <a:cxn ang="0">
                <a:pos x="837" y="349"/>
              </a:cxn>
              <a:cxn ang="0">
                <a:pos x="830" y="364"/>
              </a:cxn>
              <a:cxn ang="0">
                <a:pos x="829" y="377"/>
              </a:cxn>
              <a:cxn ang="0">
                <a:pos x="778" y="408"/>
              </a:cxn>
              <a:cxn ang="0">
                <a:pos x="765" y="483"/>
              </a:cxn>
              <a:cxn ang="0">
                <a:pos x="753" y="444"/>
              </a:cxn>
              <a:cxn ang="0">
                <a:pos x="708" y="428"/>
              </a:cxn>
              <a:cxn ang="0">
                <a:pos x="693" y="439"/>
              </a:cxn>
              <a:cxn ang="0">
                <a:pos x="656" y="432"/>
              </a:cxn>
              <a:cxn ang="0">
                <a:pos x="616" y="451"/>
              </a:cxn>
              <a:cxn ang="0">
                <a:pos x="586" y="447"/>
              </a:cxn>
              <a:cxn ang="0">
                <a:pos x="445" y="402"/>
              </a:cxn>
              <a:cxn ang="0">
                <a:pos x="429" y="342"/>
              </a:cxn>
              <a:cxn ang="0">
                <a:pos x="459" y="259"/>
              </a:cxn>
              <a:cxn ang="0">
                <a:pos x="482" y="238"/>
              </a:cxn>
              <a:cxn ang="0">
                <a:pos x="729" y="221"/>
              </a:cxn>
              <a:cxn ang="0">
                <a:pos x="780" y="247"/>
              </a:cxn>
              <a:cxn ang="0">
                <a:pos x="758" y="290"/>
              </a:cxn>
              <a:cxn ang="0">
                <a:pos x="806" y="286"/>
              </a:cxn>
              <a:cxn ang="0">
                <a:pos x="908" y="266"/>
              </a:cxn>
              <a:cxn ang="0">
                <a:pos x="34" y="530"/>
              </a:cxn>
              <a:cxn ang="0">
                <a:pos x="339" y="128"/>
              </a:cxn>
              <a:cxn ang="0">
                <a:pos x="480" y="146"/>
              </a:cxn>
              <a:cxn ang="0">
                <a:pos x="316" y="138"/>
              </a:cxn>
              <a:cxn ang="0">
                <a:pos x="461" y="135"/>
              </a:cxn>
              <a:cxn ang="0">
                <a:pos x="460" y="157"/>
              </a:cxn>
              <a:cxn ang="0">
                <a:pos x="462" y="145"/>
              </a:cxn>
              <a:cxn ang="0">
                <a:pos x="465" y="146"/>
              </a:cxn>
              <a:cxn ang="0">
                <a:pos x="477" y="135"/>
              </a:cxn>
              <a:cxn ang="0">
                <a:pos x="161" y="177"/>
              </a:cxn>
              <a:cxn ang="0">
                <a:pos x="473" y="160"/>
              </a:cxn>
              <a:cxn ang="0">
                <a:pos x="465" y="162"/>
              </a:cxn>
              <a:cxn ang="0">
                <a:pos x="197" y="164"/>
              </a:cxn>
              <a:cxn ang="0">
                <a:pos x="273" y="141"/>
              </a:cxn>
              <a:cxn ang="0">
                <a:pos x="477" y="160"/>
              </a:cxn>
              <a:cxn ang="0">
                <a:pos x="485" y="134"/>
              </a:cxn>
              <a:cxn ang="0">
                <a:pos x="466" y="121"/>
              </a:cxn>
              <a:cxn ang="0">
                <a:pos x="457" y="110"/>
              </a:cxn>
              <a:cxn ang="0">
                <a:pos x="418" y="98"/>
              </a:cxn>
              <a:cxn ang="0">
                <a:pos x="393" y="107"/>
              </a:cxn>
              <a:cxn ang="0">
                <a:pos x="384" y="100"/>
              </a:cxn>
              <a:cxn ang="0">
                <a:pos x="338" y="122"/>
              </a:cxn>
              <a:cxn ang="0">
                <a:pos x="271" y="147"/>
              </a:cxn>
              <a:cxn ang="0">
                <a:pos x="222" y="158"/>
              </a:cxn>
              <a:cxn ang="0">
                <a:pos x="291" y="133"/>
              </a:cxn>
              <a:cxn ang="0">
                <a:pos x="273" y="121"/>
              </a:cxn>
              <a:cxn ang="0">
                <a:pos x="284" y="102"/>
              </a:cxn>
              <a:cxn ang="0">
                <a:pos x="307" y="78"/>
              </a:cxn>
              <a:cxn ang="0">
                <a:pos x="321" y="58"/>
              </a:cxn>
              <a:cxn ang="0">
                <a:pos x="375" y="41"/>
              </a:cxn>
              <a:cxn ang="0">
                <a:pos x="431" y="10"/>
              </a:cxn>
              <a:cxn ang="0">
                <a:pos x="495" y="4"/>
              </a:cxn>
              <a:cxn ang="0">
                <a:pos x="493" y="8"/>
              </a:cxn>
            </a:cxnLst>
            <a:rect l="0" t="0" r="r" b="b"/>
            <a:pathLst>
              <a:path w="951" h="552">
                <a:moveTo>
                  <a:pt x="754" y="246"/>
                </a:moveTo>
                <a:cubicBezTo>
                  <a:pt x="754" y="246"/>
                  <a:pt x="755" y="245"/>
                  <a:pt x="755" y="245"/>
                </a:cubicBezTo>
                <a:cubicBezTo>
                  <a:pt x="755" y="246"/>
                  <a:pt x="754" y="246"/>
                  <a:pt x="754" y="246"/>
                </a:cubicBezTo>
                <a:close/>
                <a:moveTo>
                  <a:pt x="773" y="243"/>
                </a:moveTo>
                <a:cubicBezTo>
                  <a:pt x="772" y="243"/>
                  <a:pt x="773" y="243"/>
                  <a:pt x="774" y="244"/>
                </a:cubicBezTo>
                <a:cubicBezTo>
                  <a:pt x="774" y="244"/>
                  <a:pt x="774" y="244"/>
                  <a:pt x="774" y="244"/>
                </a:cubicBezTo>
                <a:cubicBezTo>
                  <a:pt x="774" y="244"/>
                  <a:pt x="775" y="243"/>
                  <a:pt x="774" y="243"/>
                </a:cubicBezTo>
                <a:cubicBezTo>
                  <a:pt x="774" y="243"/>
                  <a:pt x="774" y="243"/>
                  <a:pt x="775" y="243"/>
                </a:cubicBezTo>
                <a:cubicBezTo>
                  <a:pt x="775" y="243"/>
                  <a:pt x="774" y="244"/>
                  <a:pt x="774" y="244"/>
                </a:cubicBezTo>
                <a:cubicBezTo>
                  <a:pt x="773" y="244"/>
                  <a:pt x="773" y="244"/>
                  <a:pt x="774" y="245"/>
                </a:cubicBezTo>
                <a:cubicBezTo>
                  <a:pt x="774" y="245"/>
                  <a:pt x="774" y="244"/>
                  <a:pt x="775" y="244"/>
                </a:cubicBezTo>
                <a:cubicBezTo>
                  <a:pt x="775" y="244"/>
                  <a:pt x="776" y="243"/>
                  <a:pt x="776" y="243"/>
                </a:cubicBezTo>
                <a:cubicBezTo>
                  <a:pt x="777" y="242"/>
                  <a:pt x="778" y="242"/>
                  <a:pt x="779" y="241"/>
                </a:cubicBezTo>
                <a:cubicBezTo>
                  <a:pt x="780" y="241"/>
                  <a:pt x="779" y="241"/>
                  <a:pt x="779" y="241"/>
                </a:cubicBezTo>
                <a:cubicBezTo>
                  <a:pt x="779" y="241"/>
                  <a:pt x="782" y="241"/>
                  <a:pt x="782" y="240"/>
                </a:cubicBezTo>
                <a:cubicBezTo>
                  <a:pt x="782" y="239"/>
                  <a:pt x="779" y="240"/>
                  <a:pt x="779" y="240"/>
                </a:cubicBezTo>
                <a:cubicBezTo>
                  <a:pt x="777" y="240"/>
                  <a:pt x="775" y="241"/>
                  <a:pt x="773" y="243"/>
                </a:cubicBezTo>
                <a:close/>
                <a:moveTo>
                  <a:pt x="757" y="244"/>
                </a:moveTo>
                <a:cubicBezTo>
                  <a:pt x="757" y="244"/>
                  <a:pt x="757" y="244"/>
                  <a:pt x="757" y="244"/>
                </a:cubicBezTo>
                <a:cubicBezTo>
                  <a:pt x="757" y="244"/>
                  <a:pt x="756" y="245"/>
                  <a:pt x="756" y="245"/>
                </a:cubicBezTo>
                <a:cubicBezTo>
                  <a:pt x="756" y="245"/>
                  <a:pt x="757" y="244"/>
                  <a:pt x="757" y="244"/>
                </a:cubicBezTo>
                <a:close/>
                <a:moveTo>
                  <a:pt x="848" y="344"/>
                </a:moveTo>
                <a:cubicBezTo>
                  <a:pt x="848" y="344"/>
                  <a:pt x="849" y="343"/>
                  <a:pt x="849" y="343"/>
                </a:cubicBezTo>
                <a:cubicBezTo>
                  <a:pt x="850" y="342"/>
                  <a:pt x="851" y="341"/>
                  <a:pt x="852" y="339"/>
                </a:cubicBezTo>
                <a:cubicBezTo>
                  <a:pt x="851" y="340"/>
                  <a:pt x="850" y="341"/>
                  <a:pt x="850" y="342"/>
                </a:cubicBezTo>
                <a:cubicBezTo>
                  <a:pt x="849" y="343"/>
                  <a:pt x="848" y="344"/>
                  <a:pt x="848" y="344"/>
                </a:cubicBezTo>
                <a:close/>
                <a:moveTo>
                  <a:pt x="754" y="246"/>
                </a:moveTo>
                <a:cubicBezTo>
                  <a:pt x="754" y="246"/>
                  <a:pt x="752" y="247"/>
                  <a:pt x="752" y="247"/>
                </a:cubicBezTo>
                <a:cubicBezTo>
                  <a:pt x="752" y="248"/>
                  <a:pt x="754" y="247"/>
                  <a:pt x="754" y="246"/>
                </a:cubicBezTo>
                <a:close/>
                <a:moveTo>
                  <a:pt x="864" y="326"/>
                </a:moveTo>
                <a:cubicBezTo>
                  <a:pt x="865" y="325"/>
                  <a:pt x="866" y="325"/>
                  <a:pt x="866" y="324"/>
                </a:cubicBezTo>
                <a:cubicBezTo>
                  <a:pt x="865" y="324"/>
                  <a:pt x="865" y="325"/>
                  <a:pt x="864" y="326"/>
                </a:cubicBezTo>
                <a:close/>
                <a:moveTo>
                  <a:pt x="808" y="256"/>
                </a:moveTo>
                <a:cubicBezTo>
                  <a:pt x="808" y="257"/>
                  <a:pt x="808" y="256"/>
                  <a:pt x="808" y="256"/>
                </a:cubicBezTo>
                <a:cubicBezTo>
                  <a:pt x="809" y="256"/>
                  <a:pt x="809" y="256"/>
                  <a:pt x="810" y="256"/>
                </a:cubicBezTo>
                <a:cubicBezTo>
                  <a:pt x="810" y="256"/>
                  <a:pt x="811" y="256"/>
                  <a:pt x="811" y="256"/>
                </a:cubicBezTo>
                <a:cubicBezTo>
                  <a:pt x="811" y="255"/>
                  <a:pt x="811" y="255"/>
                  <a:pt x="810" y="255"/>
                </a:cubicBezTo>
                <a:cubicBezTo>
                  <a:pt x="810" y="255"/>
                  <a:pt x="810" y="254"/>
                  <a:pt x="810" y="255"/>
                </a:cubicBezTo>
                <a:cubicBezTo>
                  <a:pt x="810" y="255"/>
                  <a:pt x="810" y="255"/>
                  <a:pt x="809" y="255"/>
                </a:cubicBezTo>
                <a:cubicBezTo>
                  <a:pt x="809" y="256"/>
                  <a:pt x="808" y="255"/>
                  <a:pt x="807" y="256"/>
                </a:cubicBezTo>
                <a:cubicBezTo>
                  <a:pt x="808" y="256"/>
                  <a:pt x="808" y="256"/>
                  <a:pt x="808" y="256"/>
                </a:cubicBezTo>
                <a:close/>
                <a:moveTo>
                  <a:pt x="792" y="259"/>
                </a:moveTo>
                <a:cubicBezTo>
                  <a:pt x="792" y="258"/>
                  <a:pt x="792" y="258"/>
                  <a:pt x="792" y="258"/>
                </a:cubicBezTo>
                <a:cubicBezTo>
                  <a:pt x="792" y="258"/>
                  <a:pt x="790" y="260"/>
                  <a:pt x="791" y="260"/>
                </a:cubicBezTo>
                <a:cubicBezTo>
                  <a:pt x="791" y="261"/>
                  <a:pt x="792" y="259"/>
                  <a:pt x="792" y="259"/>
                </a:cubicBezTo>
                <a:close/>
                <a:moveTo>
                  <a:pt x="776" y="265"/>
                </a:moveTo>
                <a:cubicBezTo>
                  <a:pt x="776" y="264"/>
                  <a:pt x="776" y="264"/>
                  <a:pt x="777" y="264"/>
                </a:cubicBezTo>
                <a:cubicBezTo>
                  <a:pt x="777" y="264"/>
                  <a:pt x="777" y="264"/>
                  <a:pt x="777" y="263"/>
                </a:cubicBezTo>
                <a:cubicBezTo>
                  <a:pt x="777" y="263"/>
                  <a:pt x="777" y="263"/>
                  <a:pt x="776" y="263"/>
                </a:cubicBezTo>
                <a:cubicBezTo>
                  <a:pt x="776" y="264"/>
                  <a:pt x="775" y="265"/>
                  <a:pt x="775" y="265"/>
                </a:cubicBezTo>
                <a:cubicBezTo>
                  <a:pt x="774" y="265"/>
                  <a:pt x="774" y="266"/>
                  <a:pt x="773" y="266"/>
                </a:cubicBezTo>
                <a:cubicBezTo>
                  <a:pt x="772" y="267"/>
                  <a:pt x="771" y="267"/>
                  <a:pt x="771" y="268"/>
                </a:cubicBezTo>
                <a:cubicBezTo>
                  <a:pt x="772" y="269"/>
                  <a:pt x="772" y="268"/>
                  <a:pt x="773" y="268"/>
                </a:cubicBezTo>
                <a:cubicBezTo>
                  <a:pt x="773" y="268"/>
                  <a:pt x="774" y="267"/>
                  <a:pt x="774" y="267"/>
                </a:cubicBezTo>
                <a:cubicBezTo>
                  <a:pt x="774" y="266"/>
                  <a:pt x="775" y="266"/>
                  <a:pt x="775" y="266"/>
                </a:cubicBezTo>
                <a:cubicBezTo>
                  <a:pt x="775" y="266"/>
                  <a:pt x="775" y="265"/>
                  <a:pt x="775" y="265"/>
                </a:cubicBezTo>
                <a:cubicBezTo>
                  <a:pt x="776" y="265"/>
                  <a:pt x="776" y="265"/>
                  <a:pt x="776" y="265"/>
                </a:cubicBezTo>
                <a:cubicBezTo>
                  <a:pt x="776" y="265"/>
                  <a:pt x="776" y="265"/>
                  <a:pt x="776" y="265"/>
                </a:cubicBezTo>
                <a:close/>
                <a:moveTo>
                  <a:pt x="935" y="273"/>
                </a:moveTo>
                <a:cubicBezTo>
                  <a:pt x="934" y="274"/>
                  <a:pt x="934" y="275"/>
                  <a:pt x="935" y="275"/>
                </a:cubicBezTo>
                <a:cubicBezTo>
                  <a:pt x="936" y="274"/>
                  <a:pt x="935" y="274"/>
                  <a:pt x="935" y="274"/>
                </a:cubicBezTo>
                <a:cubicBezTo>
                  <a:pt x="935" y="274"/>
                  <a:pt x="936" y="274"/>
                  <a:pt x="936" y="274"/>
                </a:cubicBezTo>
                <a:cubicBezTo>
                  <a:pt x="937" y="274"/>
                  <a:pt x="936" y="273"/>
                  <a:pt x="936" y="273"/>
                </a:cubicBezTo>
                <a:cubicBezTo>
                  <a:pt x="936" y="272"/>
                  <a:pt x="935" y="273"/>
                  <a:pt x="935" y="273"/>
                </a:cubicBezTo>
                <a:close/>
                <a:moveTo>
                  <a:pt x="908" y="307"/>
                </a:moveTo>
                <a:cubicBezTo>
                  <a:pt x="908" y="306"/>
                  <a:pt x="908" y="306"/>
                  <a:pt x="909" y="306"/>
                </a:cubicBezTo>
                <a:cubicBezTo>
                  <a:pt x="908" y="307"/>
                  <a:pt x="907" y="306"/>
                  <a:pt x="907" y="307"/>
                </a:cubicBezTo>
                <a:cubicBezTo>
                  <a:pt x="907" y="307"/>
                  <a:pt x="908" y="307"/>
                  <a:pt x="908" y="307"/>
                </a:cubicBezTo>
                <a:cubicBezTo>
                  <a:pt x="909" y="307"/>
                  <a:pt x="909" y="307"/>
                  <a:pt x="909" y="307"/>
                </a:cubicBezTo>
                <a:cubicBezTo>
                  <a:pt x="909" y="306"/>
                  <a:pt x="909" y="306"/>
                  <a:pt x="909" y="306"/>
                </a:cubicBezTo>
                <a:cubicBezTo>
                  <a:pt x="909" y="306"/>
                  <a:pt x="908" y="306"/>
                  <a:pt x="908" y="307"/>
                </a:cubicBezTo>
                <a:close/>
                <a:moveTo>
                  <a:pt x="772" y="236"/>
                </a:moveTo>
                <a:cubicBezTo>
                  <a:pt x="773" y="236"/>
                  <a:pt x="774" y="236"/>
                  <a:pt x="774" y="235"/>
                </a:cubicBezTo>
                <a:cubicBezTo>
                  <a:pt x="774" y="235"/>
                  <a:pt x="774" y="235"/>
                  <a:pt x="774" y="235"/>
                </a:cubicBezTo>
                <a:cubicBezTo>
                  <a:pt x="775" y="235"/>
                  <a:pt x="776" y="235"/>
                  <a:pt x="777" y="234"/>
                </a:cubicBezTo>
                <a:cubicBezTo>
                  <a:pt x="778" y="234"/>
                  <a:pt x="779" y="233"/>
                  <a:pt x="779" y="232"/>
                </a:cubicBezTo>
                <a:cubicBezTo>
                  <a:pt x="779" y="232"/>
                  <a:pt x="780" y="232"/>
                  <a:pt x="780" y="232"/>
                </a:cubicBezTo>
                <a:cubicBezTo>
                  <a:pt x="779" y="232"/>
                  <a:pt x="779" y="233"/>
                  <a:pt x="779" y="232"/>
                </a:cubicBezTo>
                <a:cubicBezTo>
                  <a:pt x="778" y="233"/>
                  <a:pt x="777" y="233"/>
                  <a:pt x="775" y="234"/>
                </a:cubicBezTo>
                <a:cubicBezTo>
                  <a:pt x="774" y="234"/>
                  <a:pt x="773" y="234"/>
                  <a:pt x="772" y="235"/>
                </a:cubicBezTo>
                <a:cubicBezTo>
                  <a:pt x="772" y="235"/>
                  <a:pt x="772" y="235"/>
                  <a:pt x="772" y="235"/>
                </a:cubicBezTo>
                <a:cubicBezTo>
                  <a:pt x="772" y="236"/>
                  <a:pt x="771" y="236"/>
                  <a:pt x="772" y="236"/>
                </a:cubicBezTo>
                <a:close/>
                <a:moveTo>
                  <a:pt x="904" y="305"/>
                </a:moveTo>
                <a:cubicBezTo>
                  <a:pt x="904" y="305"/>
                  <a:pt x="904" y="305"/>
                  <a:pt x="904" y="305"/>
                </a:cubicBezTo>
                <a:cubicBezTo>
                  <a:pt x="904" y="304"/>
                  <a:pt x="902" y="306"/>
                  <a:pt x="902" y="306"/>
                </a:cubicBezTo>
                <a:cubicBezTo>
                  <a:pt x="902" y="306"/>
                  <a:pt x="901" y="306"/>
                  <a:pt x="901" y="306"/>
                </a:cubicBezTo>
                <a:cubicBezTo>
                  <a:pt x="902" y="307"/>
                  <a:pt x="902" y="306"/>
                  <a:pt x="902" y="306"/>
                </a:cubicBezTo>
                <a:cubicBezTo>
                  <a:pt x="902" y="306"/>
                  <a:pt x="904" y="306"/>
                  <a:pt x="904" y="306"/>
                </a:cubicBezTo>
                <a:cubicBezTo>
                  <a:pt x="904" y="305"/>
                  <a:pt x="904" y="305"/>
                  <a:pt x="904" y="305"/>
                </a:cubicBezTo>
                <a:cubicBezTo>
                  <a:pt x="904" y="305"/>
                  <a:pt x="904" y="305"/>
                  <a:pt x="904" y="305"/>
                </a:cubicBezTo>
                <a:close/>
                <a:moveTo>
                  <a:pt x="487" y="229"/>
                </a:moveTo>
                <a:cubicBezTo>
                  <a:pt x="487" y="229"/>
                  <a:pt x="488" y="229"/>
                  <a:pt x="488" y="229"/>
                </a:cubicBezTo>
                <a:cubicBezTo>
                  <a:pt x="488" y="228"/>
                  <a:pt x="487" y="228"/>
                  <a:pt x="487" y="228"/>
                </a:cubicBezTo>
                <a:cubicBezTo>
                  <a:pt x="487" y="227"/>
                  <a:pt x="486" y="228"/>
                  <a:pt x="486" y="229"/>
                </a:cubicBezTo>
                <a:cubicBezTo>
                  <a:pt x="486" y="229"/>
                  <a:pt x="487" y="230"/>
                  <a:pt x="487" y="229"/>
                </a:cubicBezTo>
                <a:close/>
                <a:moveTo>
                  <a:pt x="488" y="233"/>
                </a:moveTo>
                <a:cubicBezTo>
                  <a:pt x="488" y="233"/>
                  <a:pt x="488" y="233"/>
                  <a:pt x="488" y="233"/>
                </a:cubicBezTo>
                <a:cubicBezTo>
                  <a:pt x="488" y="234"/>
                  <a:pt x="488" y="234"/>
                  <a:pt x="488" y="234"/>
                </a:cubicBezTo>
                <a:cubicBezTo>
                  <a:pt x="488" y="235"/>
                  <a:pt x="489" y="234"/>
                  <a:pt x="488" y="235"/>
                </a:cubicBezTo>
                <a:cubicBezTo>
                  <a:pt x="488" y="235"/>
                  <a:pt x="489" y="235"/>
                  <a:pt x="489" y="234"/>
                </a:cubicBezTo>
                <a:cubicBezTo>
                  <a:pt x="489" y="232"/>
                  <a:pt x="488" y="234"/>
                  <a:pt x="488" y="234"/>
                </a:cubicBezTo>
                <a:cubicBezTo>
                  <a:pt x="488" y="233"/>
                  <a:pt x="489" y="232"/>
                  <a:pt x="488" y="232"/>
                </a:cubicBezTo>
                <a:cubicBezTo>
                  <a:pt x="488" y="231"/>
                  <a:pt x="489" y="231"/>
                  <a:pt x="490" y="231"/>
                </a:cubicBezTo>
                <a:cubicBezTo>
                  <a:pt x="490" y="231"/>
                  <a:pt x="490" y="230"/>
                  <a:pt x="490" y="230"/>
                </a:cubicBezTo>
                <a:cubicBezTo>
                  <a:pt x="490" y="229"/>
                  <a:pt x="486" y="233"/>
                  <a:pt x="488" y="233"/>
                </a:cubicBezTo>
                <a:close/>
                <a:moveTo>
                  <a:pt x="490" y="224"/>
                </a:moveTo>
                <a:cubicBezTo>
                  <a:pt x="490" y="224"/>
                  <a:pt x="490" y="224"/>
                  <a:pt x="490" y="224"/>
                </a:cubicBezTo>
                <a:cubicBezTo>
                  <a:pt x="491" y="224"/>
                  <a:pt x="491" y="224"/>
                  <a:pt x="491" y="224"/>
                </a:cubicBezTo>
                <a:cubicBezTo>
                  <a:pt x="491" y="224"/>
                  <a:pt x="491" y="224"/>
                  <a:pt x="490" y="224"/>
                </a:cubicBezTo>
                <a:close/>
                <a:moveTo>
                  <a:pt x="489" y="228"/>
                </a:moveTo>
                <a:cubicBezTo>
                  <a:pt x="489" y="228"/>
                  <a:pt x="489" y="228"/>
                  <a:pt x="489" y="227"/>
                </a:cubicBezTo>
                <a:cubicBezTo>
                  <a:pt x="490" y="226"/>
                  <a:pt x="490" y="228"/>
                  <a:pt x="490" y="228"/>
                </a:cubicBezTo>
                <a:cubicBezTo>
                  <a:pt x="490" y="228"/>
                  <a:pt x="492" y="227"/>
                  <a:pt x="490" y="227"/>
                </a:cubicBezTo>
                <a:cubicBezTo>
                  <a:pt x="490" y="227"/>
                  <a:pt x="488" y="228"/>
                  <a:pt x="488" y="228"/>
                </a:cubicBezTo>
                <a:cubicBezTo>
                  <a:pt x="488" y="228"/>
                  <a:pt x="489" y="228"/>
                  <a:pt x="489" y="228"/>
                </a:cubicBezTo>
                <a:cubicBezTo>
                  <a:pt x="489" y="228"/>
                  <a:pt x="489" y="228"/>
                  <a:pt x="489" y="228"/>
                </a:cubicBezTo>
                <a:close/>
                <a:moveTo>
                  <a:pt x="702" y="428"/>
                </a:moveTo>
                <a:cubicBezTo>
                  <a:pt x="701" y="428"/>
                  <a:pt x="701" y="428"/>
                  <a:pt x="700" y="428"/>
                </a:cubicBezTo>
                <a:cubicBezTo>
                  <a:pt x="700" y="428"/>
                  <a:pt x="701" y="428"/>
                  <a:pt x="702" y="428"/>
                </a:cubicBezTo>
                <a:close/>
                <a:moveTo>
                  <a:pt x="667" y="435"/>
                </a:moveTo>
                <a:cubicBezTo>
                  <a:pt x="667" y="435"/>
                  <a:pt x="668" y="436"/>
                  <a:pt x="669" y="436"/>
                </a:cubicBezTo>
                <a:cubicBezTo>
                  <a:pt x="669" y="436"/>
                  <a:pt x="670" y="436"/>
                  <a:pt x="670" y="435"/>
                </a:cubicBezTo>
                <a:cubicBezTo>
                  <a:pt x="670" y="435"/>
                  <a:pt x="670" y="435"/>
                  <a:pt x="670" y="435"/>
                </a:cubicBezTo>
                <a:cubicBezTo>
                  <a:pt x="670" y="435"/>
                  <a:pt x="669" y="434"/>
                  <a:pt x="669" y="435"/>
                </a:cubicBezTo>
                <a:cubicBezTo>
                  <a:pt x="668" y="435"/>
                  <a:pt x="667" y="435"/>
                  <a:pt x="667" y="435"/>
                </a:cubicBezTo>
                <a:close/>
                <a:moveTo>
                  <a:pt x="699" y="430"/>
                </a:moveTo>
                <a:cubicBezTo>
                  <a:pt x="699" y="430"/>
                  <a:pt x="698" y="430"/>
                  <a:pt x="698" y="430"/>
                </a:cubicBezTo>
                <a:cubicBezTo>
                  <a:pt x="698" y="430"/>
                  <a:pt x="698" y="430"/>
                  <a:pt x="698" y="430"/>
                </a:cubicBezTo>
                <a:cubicBezTo>
                  <a:pt x="698" y="430"/>
                  <a:pt x="698" y="430"/>
                  <a:pt x="698" y="430"/>
                </a:cubicBezTo>
                <a:cubicBezTo>
                  <a:pt x="699" y="430"/>
                  <a:pt x="699" y="430"/>
                  <a:pt x="699" y="430"/>
                </a:cubicBezTo>
                <a:close/>
                <a:moveTo>
                  <a:pt x="733" y="435"/>
                </a:moveTo>
                <a:cubicBezTo>
                  <a:pt x="733" y="435"/>
                  <a:pt x="733" y="435"/>
                  <a:pt x="733" y="435"/>
                </a:cubicBezTo>
                <a:cubicBezTo>
                  <a:pt x="733" y="435"/>
                  <a:pt x="733" y="435"/>
                  <a:pt x="733" y="435"/>
                </a:cubicBezTo>
                <a:close/>
                <a:moveTo>
                  <a:pt x="734" y="434"/>
                </a:moveTo>
                <a:cubicBezTo>
                  <a:pt x="734" y="434"/>
                  <a:pt x="734" y="435"/>
                  <a:pt x="733" y="435"/>
                </a:cubicBezTo>
                <a:cubicBezTo>
                  <a:pt x="734" y="434"/>
                  <a:pt x="736" y="433"/>
                  <a:pt x="736" y="433"/>
                </a:cubicBezTo>
                <a:cubicBezTo>
                  <a:pt x="736" y="434"/>
                  <a:pt x="735" y="434"/>
                  <a:pt x="734" y="434"/>
                </a:cubicBezTo>
                <a:close/>
                <a:moveTo>
                  <a:pt x="732" y="435"/>
                </a:moveTo>
                <a:cubicBezTo>
                  <a:pt x="732" y="435"/>
                  <a:pt x="733" y="435"/>
                  <a:pt x="733" y="435"/>
                </a:cubicBezTo>
                <a:cubicBezTo>
                  <a:pt x="733" y="435"/>
                  <a:pt x="733" y="435"/>
                  <a:pt x="732" y="435"/>
                </a:cubicBezTo>
                <a:close/>
                <a:moveTo>
                  <a:pt x="610" y="464"/>
                </a:moveTo>
                <a:cubicBezTo>
                  <a:pt x="610" y="465"/>
                  <a:pt x="609" y="466"/>
                  <a:pt x="610" y="467"/>
                </a:cubicBezTo>
                <a:cubicBezTo>
                  <a:pt x="610" y="468"/>
                  <a:pt x="610" y="469"/>
                  <a:pt x="610" y="470"/>
                </a:cubicBezTo>
                <a:cubicBezTo>
                  <a:pt x="610" y="471"/>
                  <a:pt x="609" y="473"/>
                  <a:pt x="610" y="474"/>
                </a:cubicBezTo>
                <a:cubicBezTo>
                  <a:pt x="610" y="472"/>
                  <a:pt x="610" y="470"/>
                  <a:pt x="610" y="468"/>
                </a:cubicBezTo>
                <a:cubicBezTo>
                  <a:pt x="610" y="466"/>
                  <a:pt x="610" y="464"/>
                  <a:pt x="611" y="461"/>
                </a:cubicBezTo>
                <a:cubicBezTo>
                  <a:pt x="610" y="462"/>
                  <a:pt x="610" y="463"/>
                  <a:pt x="610" y="464"/>
                </a:cubicBezTo>
                <a:close/>
                <a:moveTo>
                  <a:pt x="637" y="440"/>
                </a:moveTo>
                <a:cubicBezTo>
                  <a:pt x="638" y="440"/>
                  <a:pt x="639" y="439"/>
                  <a:pt x="640" y="439"/>
                </a:cubicBezTo>
                <a:cubicBezTo>
                  <a:pt x="640" y="438"/>
                  <a:pt x="642" y="438"/>
                  <a:pt x="640" y="438"/>
                </a:cubicBezTo>
                <a:cubicBezTo>
                  <a:pt x="641" y="438"/>
                  <a:pt x="638" y="440"/>
                  <a:pt x="637" y="440"/>
                </a:cubicBezTo>
                <a:close/>
                <a:moveTo>
                  <a:pt x="667" y="434"/>
                </a:moveTo>
                <a:cubicBezTo>
                  <a:pt x="667" y="435"/>
                  <a:pt x="667" y="434"/>
                  <a:pt x="667" y="434"/>
                </a:cubicBezTo>
                <a:cubicBezTo>
                  <a:pt x="667" y="434"/>
                  <a:pt x="668" y="434"/>
                  <a:pt x="668" y="434"/>
                </a:cubicBezTo>
                <a:cubicBezTo>
                  <a:pt x="668" y="434"/>
                  <a:pt x="667" y="434"/>
                  <a:pt x="667" y="434"/>
                </a:cubicBezTo>
                <a:close/>
                <a:moveTo>
                  <a:pt x="717" y="426"/>
                </a:moveTo>
                <a:cubicBezTo>
                  <a:pt x="717" y="427"/>
                  <a:pt x="714" y="427"/>
                  <a:pt x="714" y="427"/>
                </a:cubicBezTo>
                <a:cubicBezTo>
                  <a:pt x="715" y="427"/>
                  <a:pt x="716" y="427"/>
                  <a:pt x="717" y="427"/>
                </a:cubicBezTo>
                <a:cubicBezTo>
                  <a:pt x="718" y="426"/>
                  <a:pt x="720" y="426"/>
                  <a:pt x="721" y="426"/>
                </a:cubicBezTo>
                <a:cubicBezTo>
                  <a:pt x="720" y="426"/>
                  <a:pt x="718" y="426"/>
                  <a:pt x="717" y="426"/>
                </a:cubicBezTo>
                <a:close/>
                <a:moveTo>
                  <a:pt x="623" y="448"/>
                </a:moveTo>
                <a:cubicBezTo>
                  <a:pt x="624" y="448"/>
                  <a:pt x="624" y="448"/>
                  <a:pt x="625" y="447"/>
                </a:cubicBezTo>
                <a:cubicBezTo>
                  <a:pt x="624" y="447"/>
                  <a:pt x="624" y="448"/>
                  <a:pt x="623" y="448"/>
                </a:cubicBezTo>
                <a:close/>
                <a:moveTo>
                  <a:pt x="674" y="437"/>
                </a:moveTo>
                <a:cubicBezTo>
                  <a:pt x="674" y="438"/>
                  <a:pt x="673" y="438"/>
                  <a:pt x="673" y="438"/>
                </a:cubicBezTo>
                <a:cubicBezTo>
                  <a:pt x="673" y="439"/>
                  <a:pt x="674" y="439"/>
                  <a:pt x="675" y="439"/>
                </a:cubicBezTo>
                <a:cubicBezTo>
                  <a:pt x="674" y="439"/>
                  <a:pt x="675" y="438"/>
                  <a:pt x="675" y="438"/>
                </a:cubicBezTo>
                <a:cubicBezTo>
                  <a:pt x="674" y="438"/>
                  <a:pt x="674" y="437"/>
                  <a:pt x="674" y="437"/>
                </a:cubicBezTo>
                <a:close/>
                <a:moveTo>
                  <a:pt x="694" y="430"/>
                </a:moveTo>
                <a:cubicBezTo>
                  <a:pt x="694" y="430"/>
                  <a:pt x="695" y="430"/>
                  <a:pt x="695" y="430"/>
                </a:cubicBezTo>
                <a:cubicBezTo>
                  <a:pt x="695" y="430"/>
                  <a:pt x="695" y="430"/>
                  <a:pt x="695" y="430"/>
                </a:cubicBezTo>
                <a:cubicBezTo>
                  <a:pt x="695" y="430"/>
                  <a:pt x="695" y="430"/>
                  <a:pt x="695" y="429"/>
                </a:cubicBezTo>
                <a:cubicBezTo>
                  <a:pt x="695" y="429"/>
                  <a:pt x="695" y="429"/>
                  <a:pt x="696" y="429"/>
                </a:cubicBezTo>
                <a:cubicBezTo>
                  <a:pt x="695" y="429"/>
                  <a:pt x="694" y="430"/>
                  <a:pt x="694" y="430"/>
                </a:cubicBezTo>
                <a:close/>
                <a:moveTo>
                  <a:pt x="622" y="449"/>
                </a:moveTo>
                <a:cubicBezTo>
                  <a:pt x="622" y="449"/>
                  <a:pt x="622" y="449"/>
                  <a:pt x="621" y="449"/>
                </a:cubicBezTo>
                <a:cubicBezTo>
                  <a:pt x="621" y="450"/>
                  <a:pt x="620" y="450"/>
                  <a:pt x="619" y="450"/>
                </a:cubicBezTo>
                <a:cubicBezTo>
                  <a:pt x="619" y="450"/>
                  <a:pt x="618" y="451"/>
                  <a:pt x="618" y="452"/>
                </a:cubicBezTo>
                <a:cubicBezTo>
                  <a:pt x="619" y="451"/>
                  <a:pt x="620" y="450"/>
                  <a:pt x="621" y="450"/>
                </a:cubicBezTo>
                <a:cubicBezTo>
                  <a:pt x="622" y="449"/>
                  <a:pt x="623" y="449"/>
                  <a:pt x="623" y="448"/>
                </a:cubicBezTo>
                <a:cubicBezTo>
                  <a:pt x="623" y="448"/>
                  <a:pt x="623" y="449"/>
                  <a:pt x="622" y="449"/>
                </a:cubicBezTo>
                <a:close/>
                <a:moveTo>
                  <a:pt x="704" y="428"/>
                </a:moveTo>
                <a:cubicBezTo>
                  <a:pt x="705" y="428"/>
                  <a:pt x="706" y="428"/>
                  <a:pt x="706" y="428"/>
                </a:cubicBezTo>
                <a:cubicBezTo>
                  <a:pt x="706" y="428"/>
                  <a:pt x="706" y="428"/>
                  <a:pt x="706" y="428"/>
                </a:cubicBezTo>
                <a:cubicBezTo>
                  <a:pt x="705" y="428"/>
                  <a:pt x="705" y="428"/>
                  <a:pt x="704" y="428"/>
                </a:cubicBezTo>
                <a:close/>
                <a:moveTo>
                  <a:pt x="617" y="452"/>
                </a:moveTo>
                <a:cubicBezTo>
                  <a:pt x="617" y="453"/>
                  <a:pt x="617" y="453"/>
                  <a:pt x="617" y="453"/>
                </a:cubicBezTo>
                <a:cubicBezTo>
                  <a:pt x="616" y="453"/>
                  <a:pt x="616" y="454"/>
                  <a:pt x="616" y="454"/>
                </a:cubicBezTo>
                <a:cubicBezTo>
                  <a:pt x="617" y="453"/>
                  <a:pt x="618" y="452"/>
                  <a:pt x="618" y="451"/>
                </a:cubicBezTo>
                <a:cubicBezTo>
                  <a:pt x="618" y="451"/>
                  <a:pt x="617" y="452"/>
                  <a:pt x="617" y="452"/>
                </a:cubicBezTo>
                <a:close/>
                <a:moveTo>
                  <a:pt x="613" y="456"/>
                </a:moveTo>
                <a:cubicBezTo>
                  <a:pt x="613" y="457"/>
                  <a:pt x="612" y="458"/>
                  <a:pt x="611" y="459"/>
                </a:cubicBezTo>
                <a:cubicBezTo>
                  <a:pt x="611" y="459"/>
                  <a:pt x="611" y="461"/>
                  <a:pt x="611" y="461"/>
                </a:cubicBezTo>
                <a:cubicBezTo>
                  <a:pt x="611" y="461"/>
                  <a:pt x="611" y="460"/>
                  <a:pt x="611" y="460"/>
                </a:cubicBezTo>
                <a:cubicBezTo>
                  <a:pt x="612" y="459"/>
                  <a:pt x="612" y="458"/>
                  <a:pt x="613" y="458"/>
                </a:cubicBezTo>
                <a:cubicBezTo>
                  <a:pt x="613" y="457"/>
                  <a:pt x="614" y="456"/>
                  <a:pt x="614" y="456"/>
                </a:cubicBezTo>
                <a:cubicBezTo>
                  <a:pt x="614" y="455"/>
                  <a:pt x="615" y="455"/>
                  <a:pt x="615" y="455"/>
                </a:cubicBezTo>
                <a:cubicBezTo>
                  <a:pt x="615" y="455"/>
                  <a:pt x="613" y="457"/>
                  <a:pt x="613" y="456"/>
                </a:cubicBezTo>
                <a:close/>
                <a:moveTo>
                  <a:pt x="436" y="392"/>
                </a:moveTo>
                <a:cubicBezTo>
                  <a:pt x="436" y="393"/>
                  <a:pt x="437" y="393"/>
                  <a:pt x="436" y="394"/>
                </a:cubicBezTo>
                <a:cubicBezTo>
                  <a:pt x="436" y="394"/>
                  <a:pt x="437" y="394"/>
                  <a:pt x="437" y="394"/>
                </a:cubicBezTo>
                <a:cubicBezTo>
                  <a:pt x="438" y="395"/>
                  <a:pt x="438" y="393"/>
                  <a:pt x="438" y="393"/>
                </a:cubicBezTo>
                <a:cubicBezTo>
                  <a:pt x="437" y="393"/>
                  <a:pt x="436" y="392"/>
                  <a:pt x="436" y="392"/>
                </a:cubicBezTo>
                <a:close/>
                <a:moveTo>
                  <a:pt x="421" y="386"/>
                </a:moveTo>
                <a:cubicBezTo>
                  <a:pt x="421" y="386"/>
                  <a:pt x="423" y="386"/>
                  <a:pt x="422" y="386"/>
                </a:cubicBezTo>
                <a:cubicBezTo>
                  <a:pt x="422" y="386"/>
                  <a:pt x="421" y="386"/>
                  <a:pt x="421" y="386"/>
                </a:cubicBezTo>
                <a:close/>
                <a:moveTo>
                  <a:pt x="425" y="386"/>
                </a:moveTo>
                <a:cubicBezTo>
                  <a:pt x="424" y="386"/>
                  <a:pt x="424" y="386"/>
                  <a:pt x="423" y="386"/>
                </a:cubicBezTo>
                <a:cubicBezTo>
                  <a:pt x="423" y="387"/>
                  <a:pt x="423" y="388"/>
                  <a:pt x="424" y="388"/>
                </a:cubicBezTo>
                <a:cubicBezTo>
                  <a:pt x="424" y="387"/>
                  <a:pt x="425" y="387"/>
                  <a:pt x="425" y="387"/>
                </a:cubicBezTo>
                <a:cubicBezTo>
                  <a:pt x="425" y="387"/>
                  <a:pt x="425" y="386"/>
                  <a:pt x="425" y="386"/>
                </a:cubicBezTo>
                <a:close/>
                <a:moveTo>
                  <a:pt x="426" y="395"/>
                </a:moveTo>
                <a:cubicBezTo>
                  <a:pt x="426" y="394"/>
                  <a:pt x="425" y="395"/>
                  <a:pt x="426" y="395"/>
                </a:cubicBezTo>
                <a:cubicBezTo>
                  <a:pt x="427" y="395"/>
                  <a:pt x="427" y="395"/>
                  <a:pt x="426" y="395"/>
                </a:cubicBezTo>
                <a:close/>
                <a:moveTo>
                  <a:pt x="429" y="386"/>
                </a:moveTo>
                <a:cubicBezTo>
                  <a:pt x="428" y="386"/>
                  <a:pt x="427" y="386"/>
                  <a:pt x="427" y="386"/>
                </a:cubicBezTo>
                <a:cubicBezTo>
                  <a:pt x="426" y="386"/>
                  <a:pt x="426" y="386"/>
                  <a:pt x="426" y="386"/>
                </a:cubicBezTo>
                <a:cubicBezTo>
                  <a:pt x="426" y="386"/>
                  <a:pt x="426" y="386"/>
                  <a:pt x="426" y="387"/>
                </a:cubicBezTo>
                <a:cubicBezTo>
                  <a:pt x="427" y="387"/>
                  <a:pt x="428" y="387"/>
                  <a:pt x="428" y="387"/>
                </a:cubicBezTo>
                <a:cubicBezTo>
                  <a:pt x="429" y="387"/>
                  <a:pt x="429" y="387"/>
                  <a:pt x="429" y="386"/>
                </a:cubicBezTo>
                <a:cubicBezTo>
                  <a:pt x="430" y="386"/>
                  <a:pt x="429" y="386"/>
                  <a:pt x="429" y="386"/>
                </a:cubicBezTo>
                <a:close/>
                <a:moveTo>
                  <a:pt x="434" y="397"/>
                </a:moveTo>
                <a:cubicBezTo>
                  <a:pt x="433" y="398"/>
                  <a:pt x="434" y="398"/>
                  <a:pt x="434" y="399"/>
                </a:cubicBezTo>
                <a:cubicBezTo>
                  <a:pt x="434" y="399"/>
                  <a:pt x="434" y="399"/>
                  <a:pt x="434" y="399"/>
                </a:cubicBezTo>
                <a:cubicBezTo>
                  <a:pt x="434" y="400"/>
                  <a:pt x="435" y="399"/>
                  <a:pt x="435" y="399"/>
                </a:cubicBezTo>
                <a:cubicBezTo>
                  <a:pt x="435" y="399"/>
                  <a:pt x="434" y="398"/>
                  <a:pt x="434" y="398"/>
                </a:cubicBezTo>
                <a:cubicBezTo>
                  <a:pt x="434" y="398"/>
                  <a:pt x="434" y="397"/>
                  <a:pt x="434" y="397"/>
                </a:cubicBezTo>
                <a:close/>
                <a:moveTo>
                  <a:pt x="811" y="388"/>
                </a:moveTo>
                <a:cubicBezTo>
                  <a:pt x="811" y="388"/>
                  <a:pt x="811" y="388"/>
                  <a:pt x="811" y="388"/>
                </a:cubicBezTo>
                <a:cubicBezTo>
                  <a:pt x="811" y="388"/>
                  <a:pt x="811" y="388"/>
                  <a:pt x="811" y="388"/>
                </a:cubicBezTo>
                <a:cubicBezTo>
                  <a:pt x="811" y="388"/>
                  <a:pt x="810" y="388"/>
                  <a:pt x="811" y="388"/>
                </a:cubicBezTo>
                <a:close/>
                <a:moveTo>
                  <a:pt x="833" y="375"/>
                </a:moveTo>
                <a:cubicBezTo>
                  <a:pt x="833" y="374"/>
                  <a:pt x="834" y="374"/>
                  <a:pt x="835" y="374"/>
                </a:cubicBezTo>
                <a:cubicBezTo>
                  <a:pt x="835" y="374"/>
                  <a:pt x="835" y="374"/>
                  <a:pt x="835" y="374"/>
                </a:cubicBezTo>
                <a:cubicBezTo>
                  <a:pt x="834" y="374"/>
                  <a:pt x="833" y="374"/>
                  <a:pt x="833" y="375"/>
                </a:cubicBezTo>
                <a:close/>
                <a:moveTo>
                  <a:pt x="831" y="376"/>
                </a:moveTo>
                <a:cubicBezTo>
                  <a:pt x="831" y="376"/>
                  <a:pt x="832" y="375"/>
                  <a:pt x="832" y="375"/>
                </a:cubicBezTo>
                <a:cubicBezTo>
                  <a:pt x="832" y="375"/>
                  <a:pt x="831" y="375"/>
                  <a:pt x="831" y="376"/>
                </a:cubicBezTo>
                <a:close/>
                <a:moveTo>
                  <a:pt x="839" y="370"/>
                </a:moveTo>
                <a:cubicBezTo>
                  <a:pt x="838" y="371"/>
                  <a:pt x="838" y="372"/>
                  <a:pt x="838" y="373"/>
                </a:cubicBezTo>
                <a:cubicBezTo>
                  <a:pt x="837" y="373"/>
                  <a:pt x="836" y="373"/>
                  <a:pt x="835" y="374"/>
                </a:cubicBezTo>
                <a:cubicBezTo>
                  <a:pt x="836" y="374"/>
                  <a:pt x="837" y="373"/>
                  <a:pt x="837" y="373"/>
                </a:cubicBezTo>
                <a:cubicBezTo>
                  <a:pt x="838" y="373"/>
                  <a:pt x="840" y="367"/>
                  <a:pt x="839" y="367"/>
                </a:cubicBezTo>
                <a:cubicBezTo>
                  <a:pt x="840" y="367"/>
                  <a:pt x="839" y="370"/>
                  <a:pt x="839" y="370"/>
                </a:cubicBezTo>
                <a:close/>
                <a:moveTo>
                  <a:pt x="816" y="382"/>
                </a:moveTo>
                <a:cubicBezTo>
                  <a:pt x="816" y="382"/>
                  <a:pt x="818" y="381"/>
                  <a:pt x="818" y="381"/>
                </a:cubicBezTo>
                <a:cubicBezTo>
                  <a:pt x="818" y="381"/>
                  <a:pt x="818" y="381"/>
                  <a:pt x="818" y="381"/>
                </a:cubicBezTo>
                <a:cubicBezTo>
                  <a:pt x="817" y="381"/>
                  <a:pt x="816" y="382"/>
                  <a:pt x="816" y="382"/>
                </a:cubicBezTo>
                <a:close/>
                <a:moveTo>
                  <a:pt x="826" y="380"/>
                </a:moveTo>
                <a:cubicBezTo>
                  <a:pt x="826" y="380"/>
                  <a:pt x="828" y="378"/>
                  <a:pt x="828" y="378"/>
                </a:cubicBezTo>
                <a:cubicBezTo>
                  <a:pt x="829" y="378"/>
                  <a:pt x="830" y="377"/>
                  <a:pt x="830" y="376"/>
                </a:cubicBezTo>
                <a:cubicBezTo>
                  <a:pt x="829" y="377"/>
                  <a:pt x="827" y="379"/>
                  <a:pt x="826" y="380"/>
                </a:cubicBezTo>
                <a:close/>
                <a:moveTo>
                  <a:pt x="821" y="379"/>
                </a:moveTo>
                <a:cubicBezTo>
                  <a:pt x="823" y="379"/>
                  <a:pt x="824" y="379"/>
                  <a:pt x="825" y="379"/>
                </a:cubicBezTo>
                <a:cubicBezTo>
                  <a:pt x="825" y="379"/>
                  <a:pt x="825" y="379"/>
                  <a:pt x="824" y="379"/>
                </a:cubicBezTo>
                <a:cubicBezTo>
                  <a:pt x="824" y="379"/>
                  <a:pt x="822" y="379"/>
                  <a:pt x="821" y="379"/>
                </a:cubicBezTo>
                <a:close/>
                <a:moveTo>
                  <a:pt x="754" y="489"/>
                </a:moveTo>
                <a:cubicBezTo>
                  <a:pt x="754" y="489"/>
                  <a:pt x="755" y="489"/>
                  <a:pt x="755" y="489"/>
                </a:cubicBezTo>
                <a:cubicBezTo>
                  <a:pt x="755" y="489"/>
                  <a:pt x="755" y="489"/>
                  <a:pt x="755" y="489"/>
                </a:cubicBezTo>
                <a:cubicBezTo>
                  <a:pt x="755" y="489"/>
                  <a:pt x="754" y="489"/>
                  <a:pt x="754" y="489"/>
                </a:cubicBezTo>
                <a:close/>
                <a:moveTo>
                  <a:pt x="755" y="489"/>
                </a:moveTo>
                <a:cubicBezTo>
                  <a:pt x="755" y="489"/>
                  <a:pt x="755" y="489"/>
                  <a:pt x="755" y="489"/>
                </a:cubicBezTo>
                <a:cubicBezTo>
                  <a:pt x="755" y="489"/>
                  <a:pt x="755" y="489"/>
                  <a:pt x="755" y="489"/>
                </a:cubicBezTo>
                <a:close/>
                <a:moveTo>
                  <a:pt x="759" y="489"/>
                </a:moveTo>
                <a:cubicBezTo>
                  <a:pt x="759" y="489"/>
                  <a:pt x="759" y="489"/>
                  <a:pt x="759" y="489"/>
                </a:cubicBezTo>
                <a:cubicBezTo>
                  <a:pt x="759" y="489"/>
                  <a:pt x="759" y="489"/>
                  <a:pt x="759" y="489"/>
                </a:cubicBezTo>
                <a:cubicBezTo>
                  <a:pt x="759" y="489"/>
                  <a:pt x="758" y="489"/>
                  <a:pt x="758" y="489"/>
                </a:cubicBezTo>
                <a:cubicBezTo>
                  <a:pt x="758" y="489"/>
                  <a:pt x="758" y="489"/>
                  <a:pt x="759" y="489"/>
                </a:cubicBezTo>
                <a:close/>
                <a:moveTo>
                  <a:pt x="767" y="483"/>
                </a:moveTo>
                <a:cubicBezTo>
                  <a:pt x="767" y="483"/>
                  <a:pt x="766" y="484"/>
                  <a:pt x="765" y="484"/>
                </a:cubicBezTo>
                <a:cubicBezTo>
                  <a:pt x="766" y="484"/>
                  <a:pt x="764" y="486"/>
                  <a:pt x="764" y="486"/>
                </a:cubicBezTo>
                <a:cubicBezTo>
                  <a:pt x="764" y="486"/>
                  <a:pt x="765" y="485"/>
                  <a:pt x="766" y="484"/>
                </a:cubicBezTo>
                <a:cubicBezTo>
                  <a:pt x="766" y="484"/>
                  <a:pt x="767" y="483"/>
                  <a:pt x="767" y="482"/>
                </a:cubicBezTo>
                <a:cubicBezTo>
                  <a:pt x="767" y="482"/>
                  <a:pt x="768" y="482"/>
                  <a:pt x="768" y="482"/>
                </a:cubicBezTo>
                <a:cubicBezTo>
                  <a:pt x="768" y="482"/>
                  <a:pt x="766" y="482"/>
                  <a:pt x="767" y="483"/>
                </a:cubicBezTo>
                <a:close/>
                <a:moveTo>
                  <a:pt x="762" y="487"/>
                </a:moveTo>
                <a:cubicBezTo>
                  <a:pt x="762" y="487"/>
                  <a:pt x="762" y="487"/>
                  <a:pt x="763" y="487"/>
                </a:cubicBezTo>
                <a:cubicBezTo>
                  <a:pt x="763" y="487"/>
                  <a:pt x="762" y="487"/>
                  <a:pt x="762" y="487"/>
                </a:cubicBezTo>
                <a:close/>
                <a:moveTo>
                  <a:pt x="752" y="469"/>
                </a:moveTo>
                <a:cubicBezTo>
                  <a:pt x="752" y="469"/>
                  <a:pt x="752" y="469"/>
                  <a:pt x="752" y="469"/>
                </a:cubicBezTo>
                <a:cubicBezTo>
                  <a:pt x="751" y="469"/>
                  <a:pt x="753" y="471"/>
                  <a:pt x="753" y="470"/>
                </a:cubicBezTo>
                <a:cubicBezTo>
                  <a:pt x="753" y="470"/>
                  <a:pt x="752" y="469"/>
                  <a:pt x="752" y="469"/>
                </a:cubicBezTo>
                <a:close/>
                <a:moveTo>
                  <a:pt x="752" y="490"/>
                </a:moveTo>
                <a:cubicBezTo>
                  <a:pt x="752" y="490"/>
                  <a:pt x="753" y="490"/>
                  <a:pt x="753" y="490"/>
                </a:cubicBezTo>
                <a:cubicBezTo>
                  <a:pt x="753" y="490"/>
                  <a:pt x="753" y="490"/>
                  <a:pt x="753" y="490"/>
                </a:cubicBezTo>
                <a:cubicBezTo>
                  <a:pt x="752" y="490"/>
                  <a:pt x="752" y="490"/>
                  <a:pt x="752" y="490"/>
                </a:cubicBezTo>
                <a:close/>
                <a:moveTo>
                  <a:pt x="748" y="490"/>
                </a:moveTo>
                <a:cubicBezTo>
                  <a:pt x="749" y="490"/>
                  <a:pt x="749" y="490"/>
                  <a:pt x="748" y="490"/>
                </a:cubicBezTo>
                <a:cubicBezTo>
                  <a:pt x="749" y="490"/>
                  <a:pt x="749" y="490"/>
                  <a:pt x="749" y="490"/>
                </a:cubicBezTo>
                <a:cubicBezTo>
                  <a:pt x="749" y="490"/>
                  <a:pt x="748" y="490"/>
                  <a:pt x="748" y="490"/>
                </a:cubicBezTo>
                <a:close/>
                <a:moveTo>
                  <a:pt x="761" y="488"/>
                </a:moveTo>
                <a:cubicBezTo>
                  <a:pt x="761" y="488"/>
                  <a:pt x="761" y="488"/>
                  <a:pt x="762" y="488"/>
                </a:cubicBezTo>
                <a:cubicBezTo>
                  <a:pt x="762" y="487"/>
                  <a:pt x="762" y="487"/>
                  <a:pt x="761" y="487"/>
                </a:cubicBezTo>
                <a:cubicBezTo>
                  <a:pt x="761" y="487"/>
                  <a:pt x="761" y="488"/>
                  <a:pt x="761" y="488"/>
                </a:cubicBezTo>
                <a:close/>
                <a:moveTo>
                  <a:pt x="760" y="488"/>
                </a:moveTo>
                <a:cubicBezTo>
                  <a:pt x="760" y="488"/>
                  <a:pt x="760" y="488"/>
                  <a:pt x="760" y="488"/>
                </a:cubicBezTo>
                <a:cubicBezTo>
                  <a:pt x="760" y="488"/>
                  <a:pt x="759" y="488"/>
                  <a:pt x="759" y="489"/>
                </a:cubicBezTo>
                <a:cubicBezTo>
                  <a:pt x="759" y="488"/>
                  <a:pt x="760" y="488"/>
                  <a:pt x="760" y="488"/>
                </a:cubicBezTo>
                <a:close/>
                <a:moveTo>
                  <a:pt x="755" y="488"/>
                </a:moveTo>
                <a:cubicBezTo>
                  <a:pt x="756" y="489"/>
                  <a:pt x="756" y="489"/>
                  <a:pt x="756" y="490"/>
                </a:cubicBezTo>
                <a:cubicBezTo>
                  <a:pt x="756" y="489"/>
                  <a:pt x="756" y="489"/>
                  <a:pt x="756" y="488"/>
                </a:cubicBezTo>
                <a:cubicBezTo>
                  <a:pt x="755" y="488"/>
                  <a:pt x="755" y="488"/>
                  <a:pt x="755" y="488"/>
                </a:cubicBezTo>
                <a:close/>
                <a:moveTo>
                  <a:pt x="752" y="490"/>
                </a:moveTo>
                <a:cubicBezTo>
                  <a:pt x="751" y="490"/>
                  <a:pt x="751" y="490"/>
                  <a:pt x="751" y="490"/>
                </a:cubicBezTo>
                <a:cubicBezTo>
                  <a:pt x="751" y="491"/>
                  <a:pt x="752" y="490"/>
                  <a:pt x="752" y="490"/>
                </a:cubicBezTo>
                <a:cubicBezTo>
                  <a:pt x="752" y="490"/>
                  <a:pt x="752" y="490"/>
                  <a:pt x="752" y="490"/>
                </a:cubicBezTo>
                <a:close/>
                <a:moveTo>
                  <a:pt x="768" y="481"/>
                </a:moveTo>
                <a:cubicBezTo>
                  <a:pt x="768" y="481"/>
                  <a:pt x="768" y="481"/>
                  <a:pt x="769" y="480"/>
                </a:cubicBezTo>
                <a:cubicBezTo>
                  <a:pt x="769" y="480"/>
                  <a:pt x="768" y="481"/>
                  <a:pt x="768" y="481"/>
                </a:cubicBezTo>
                <a:close/>
                <a:moveTo>
                  <a:pt x="754" y="489"/>
                </a:moveTo>
                <a:cubicBezTo>
                  <a:pt x="754" y="489"/>
                  <a:pt x="754" y="489"/>
                  <a:pt x="754" y="489"/>
                </a:cubicBezTo>
                <a:cubicBezTo>
                  <a:pt x="754" y="490"/>
                  <a:pt x="754" y="489"/>
                  <a:pt x="754" y="489"/>
                </a:cubicBezTo>
                <a:cubicBezTo>
                  <a:pt x="754" y="490"/>
                  <a:pt x="754" y="490"/>
                  <a:pt x="754" y="490"/>
                </a:cubicBezTo>
                <a:cubicBezTo>
                  <a:pt x="753" y="490"/>
                  <a:pt x="753" y="490"/>
                  <a:pt x="753" y="490"/>
                </a:cubicBezTo>
                <a:cubicBezTo>
                  <a:pt x="754" y="490"/>
                  <a:pt x="754" y="490"/>
                  <a:pt x="754" y="490"/>
                </a:cubicBezTo>
                <a:cubicBezTo>
                  <a:pt x="755" y="489"/>
                  <a:pt x="754" y="489"/>
                  <a:pt x="754" y="489"/>
                </a:cubicBezTo>
                <a:close/>
                <a:moveTo>
                  <a:pt x="951" y="244"/>
                </a:moveTo>
                <a:cubicBezTo>
                  <a:pt x="951" y="245"/>
                  <a:pt x="951" y="245"/>
                  <a:pt x="951" y="246"/>
                </a:cubicBezTo>
                <a:cubicBezTo>
                  <a:pt x="950" y="247"/>
                  <a:pt x="950" y="247"/>
                  <a:pt x="950" y="248"/>
                </a:cubicBezTo>
                <a:cubicBezTo>
                  <a:pt x="949" y="250"/>
                  <a:pt x="948" y="252"/>
                  <a:pt x="948" y="254"/>
                </a:cubicBezTo>
                <a:cubicBezTo>
                  <a:pt x="947" y="254"/>
                  <a:pt x="947" y="256"/>
                  <a:pt x="947" y="256"/>
                </a:cubicBezTo>
                <a:cubicBezTo>
                  <a:pt x="947" y="256"/>
                  <a:pt x="946" y="258"/>
                  <a:pt x="946" y="258"/>
                </a:cubicBezTo>
                <a:cubicBezTo>
                  <a:pt x="946" y="258"/>
                  <a:pt x="945" y="259"/>
                  <a:pt x="946" y="259"/>
                </a:cubicBezTo>
                <a:cubicBezTo>
                  <a:pt x="946" y="259"/>
                  <a:pt x="946" y="259"/>
                  <a:pt x="946" y="260"/>
                </a:cubicBezTo>
                <a:cubicBezTo>
                  <a:pt x="947" y="260"/>
                  <a:pt x="947" y="260"/>
                  <a:pt x="948" y="260"/>
                </a:cubicBezTo>
                <a:cubicBezTo>
                  <a:pt x="948" y="260"/>
                  <a:pt x="948" y="261"/>
                  <a:pt x="948" y="261"/>
                </a:cubicBezTo>
                <a:cubicBezTo>
                  <a:pt x="947" y="261"/>
                  <a:pt x="947" y="262"/>
                  <a:pt x="947" y="262"/>
                </a:cubicBezTo>
                <a:cubicBezTo>
                  <a:pt x="947" y="263"/>
                  <a:pt x="947" y="263"/>
                  <a:pt x="947" y="264"/>
                </a:cubicBezTo>
                <a:cubicBezTo>
                  <a:pt x="947" y="266"/>
                  <a:pt x="948" y="264"/>
                  <a:pt x="949" y="265"/>
                </a:cubicBezTo>
                <a:cubicBezTo>
                  <a:pt x="949" y="265"/>
                  <a:pt x="949" y="268"/>
                  <a:pt x="949" y="267"/>
                </a:cubicBezTo>
                <a:cubicBezTo>
                  <a:pt x="948" y="267"/>
                  <a:pt x="948" y="267"/>
                  <a:pt x="948" y="268"/>
                </a:cubicBezTo>
                <a:cubicBezTo>
                  <a:pt x="948" y="268"/>
                  <a:pt x="948" y="267"/>
                  <a:pt x="948" y="267"/>
                </a:cubicBezTo>
                <a:cubicBezTo>
                  <a:pt x="947" y="267"/>
                  <a:pt x="948" y="268"/>
                  <a:pt x="948" y="268"/>
                </a:cubicBezTo>
                <a:cubicBezTo>
                  <a:pt x="948" y="268"/>
                  <a:pt x="948" y="268"/>
                  <a:pt x="948" y="268"/>
                </a:cubicBezTo>
                <a:cubicBezTo>
                  <a:pt x="949" y="267"/>
                  <a:pt x="948" y="268"/>
                  <a:pt x="948" y="268"/>
                </a:cubicBezTo>
                <a:cubicBezTo>
                  <a:pt x="949" y="268"/>
                  <a:pt x="949" y="267"/>
                  <a:pt x="949" y="268"/>
                </a:cubicBezTo>
                <a:cubicBezTo>
                  <a:pt x="950" y="268"/>
                  <a:pt x="948" y="269"/>
                  <a:pt x="948" y="269"/>
                </a:cubicBezTo>
                <a:cubicBezTo>
                  <a:pt x="948" y="269"/>
                  <a:pt x="948" y="269"/>
                  <a:pt x="947" y="270"/>
                </a:cubicBezTo>
                <a:cubicBezTo>
                  <a:pt x="947" y="270"/>
                  <a:pt x="946" y="270"/>
                  <a:pt x="946" y="270"/>
                </a:cubicBezTo>
                <a:cubicBezTo>
                  <a:pt x="946" y="270"/>
                  <a:pt x="946" y="270"/>
                  <a:pt x="946" y="270"/>
                </a:cubicBezTo>
                <a:cubicBezTo>
                  <a:pt x="946" y="271"/>
                  <a:pt x="946" y="270"/>
                  <a:pt x="946" y="270"/>
                </a:cubicBezTo>
                <a:cubicBezTo>
                  <a:pt x="946" y="269"/>
                  <a:pt x="945" y="270"/>
                  <a:pt x="945" y="270"/>
                </a:cubicBezTo>
                <a:cubicBezTo>
                  <a:pt x="945" y="270"/>
                  <a:pt x="945" y="270"/>
                  <a:pt x="944" y="271"/>
                </a:cubicBezTo>
                <a:cubicBezTo>
                  <a:pt x="945" y="270"/>
                  <a:pt x="945" y="270"/>
                  <a:pt x="944" y="270"/>
                </a:cubicBezTo>
                <a:cubicBezTo>
                  <a:pt x="944" y="270"/>
                  <a:pt x="944" y="271"/>
                  <a:pt x="944" y="271"/>
                </a:cubicBezTo>
                <a:cubicBezTo>
                  <a:pt x="944" y="271"/>
                  <a:pt x="944" y="270"/>
                  <a:pt x="944" y="270"/>
                </a:cubicBezTo>
                <a:cubicBezTo>
                  <a:pt x="944" y="270"/>
                  <a:pt x="943" y="270"/>
                  <a:pt x="943" y="270"/>
                </a:cubicBezTo>
                <a:cubicBezTo>
                  <a:pt x="943" y="271"/>
                  <a:pt x="943" y="270"/>
                  <a:pt x="943" y="271"/>
                </a:cubicBezTo>
                <a:cubicBezTo>
                  <a:pt x="943" y="271"/>
                  <a:pt x="942" y="272"/>
                  <a:pt x="942" y="271"/>
                </a:cubicBezTo>
                <a:cubicBezTo>
                  <a:pt x="942" y="271"/>
                  <a:pt x="942" y="272"/>
                  <a:pt x="942" y="272"/>
                </a:cubicBezTo>
                <a:cubicBezTo>
                  <a:pt x="941" y="272"/>
                  <a:pt x="942" y="271"/>
                  <a:pt x="942" y="271"/>
                </a:cubicBezTo>
                <a:cubicBezTo>
                  <a:pt x="942" y="271"/>
                  <a:pt x="941" y="271"/>
                  <a:pt x="941" y="271"/>
                </a:cubicBezTo>
                <a:cubicBezTo>
                  <a:pt x="941" y="271"/>
                  <a:pt x="941" y="271"/>
                  <a:pt x="941" y="271"/>
                </a:cubicBezTo>
                <a:cubicBezTo>
                  <a:pt x="941" y="271"/>
                  <a:pt x="941" y="271"/>
                  <a:pt x="940" y="272"/>
                </a:cubicBezTo>
                <a:cubicBezTo>
                  <a:pt x="940" y="272"/>
                  <a:pt x="939" y="273"/>
                  <a:pt x="939" y="273"/>
                </a:cubicBezTo>
                <a:cubicBezTo>
                  <a:pt x="939" y="273"/>
                  <a:pt x="940" y="272"/>
                  <a:pt x="940" y="272"/>
                </a:cubicBezTo>
                <a:cubicBezTo>
                  <a:pt x="940" y="272"/>
                  <a:pt x="939" y="273"/>
                  <a:pt x="939" y="273"/>
                </a:cubicBezTo>
                <a:cubicBezTo>
                  <a:pt x="939" y="273"/>
                  <a:pt x="939" y="272"/>
                  <a:pt x="939" y="272"/>
                </a:cubicBezTo>
                <a:cubicBezTo>
                  <a:pt x="939" y="272"/>
                  <a:pt x="939" y="272"/>
                  <a:pt x="939" y="273"/>
                </a:cubicBezTo>
                <a:cubicBezTo>
                  <a:pt x="939" y="273"/>
                  <a:pt x="938" y="274"/>
                  <a:pt x="938" y="273"/>
                </a:cubicBezTo>
                <a:cubicBezTo>
                  <a:pt x="937" y="273"/>
                  <a:pt x="938" y="272"/>
                  <a:pt x="938" y="272"/>
                </a:cubicBezTo>
                <a:cubicBezTo>
                  <a:pt x="938" y="272"/>
                  <a:pt x="937" y="272"/>
                  <a:pt x="937" y="272"/>
                </a:cubicBezTo>
                <a:cubicBezTo>
                  <a:pt x="937" y="272"/>
                  <a:pt x="937" y="272"/>
                  <a:pt x="937" y="271"/>
                </a:cubicBezTo>
                <a:cubicBezTo>
                  <a:pt x="937" y="272"/>
                  <a:pt x="937" y="272"/>
                  <a:pt x="937" y="272"/>
                </a:cubicBezTo>
                <a:cubicBezTo>
                  <a:pt x="937" y="272"/>
                  <a:pt x="936" y="271"/>
                  <a:pt x="937" y="272"/>
                </a:cubicBezTo>
                <a:cubicBezTo>
                  <a:pt x="937" y="272"/>
                  <a:pt x="936" y="272"/>
                  <a:pt x="936" y="272"/>
                </a:cubicBezTo>
                <a:cubicBezTo>
                  <a:pt x="936" y="272"/>
                  <a:pt x="935" y="273"/>
                  <a:pt x="935" y="273"/>
                </a:cubicBezTo>
                <a:cubicBezTo>
                  <a:pt x="935" y="273"/>
                  <a:pt x="936" y="272"/>
                  <a:pt x="935" y="272"/>
                </a:cubicBezTo>
                <a:cubicBezTo>
                  <a:pt x="935" y="272"/>
                  <a:pt x="935" y="273"/>
                  <a:pt x="934" y="273"/>
                </a:cubicBezTo>
                <a:cubicBezTo>
                  <a:pt x="934" y="273"/>
                  <a:pt x="934" y="273"/>
                  <a:pt x="934" y="273"/>
                </a:cubicBezTo>
                <a:cubicBezTo>
                  <a:pt x="934" y="273"/>
                  <a:pt x="934" y="273"/>
                  <a:pt x="934" y="273"/>
                </a:cubicBezTo>
                <a:cubicBezTo>
                  <a:pt x="934" y="273"/>
                  <a:pt x="934" y="273"/>
                  <a:pt x="933" y="274"/>
                </a:cubicBezTo>
                <a:cubicBezTo>
                  <a:pt x="933" y="274"/>
                  <a:pt x="934" y="274"/>
                  <a:pt x="934" y="274"/>
                </a:cubicBezTo>
                <a:cubicBezTo>
                  <a:pt x="934" y="274"/>
                  <a:pt x="933" y="275"/>
                  <a:pt x="933" y="275"/>
                </a:cubicBezTo>
                <a:cubicBezTo>
                  <a:pt x="933" y="275"/>
                  <a:pt x="933" y="274"/>
                  <a:pt x="933" y="274"/>
                </a:cubicBezTo>
                <a:cubicBezTo>
                  <a:pt x="932" y="274"/>
                  <a:pt x="932" y="274"/>
                  <a:pt x="932" y="274"/>
                </a:cubicBezTo>
                <a:cubicBezTo>
                  <a:pt x="932" y="273"/>
                  <a:pt x="932" y="274"/>
                  <a:pt x="931" y="274"/>
                </a:cubicBezTo>
                <a:cubicBezTo>
                  <a:pt x="931" y="273"/>
                  <a:pt x="933" y="273"/>
                  <a:pt x="932" y="272"/>
                </a:cubicBezTo>
                <a:cubicBezTo>
                  <a:pt x="932" y="272"/>
                  <a:pt x="932" y="273"/>
                  <a:pt x="931" y="273"/>
                </a:cubicBezTo>
                <a:cubicBezTo>
                  <a:pt x="932" y="272"/>
                  <a:pt x="933" y="272"/>
                  <a:pt x="933" y="271"/>
                </a:cubicBezTo>
                <a:cubicBezTo>
                  <a:pt x="933" y="271"/>
                  <a:pt x="931" y="272"/>
                  <a:pt x="931" y="272"/>
                </a:cubicBezTo>
                <a:cubicBezTo>
                  <a:pt x="931" y="272"/>
                  <a:pt x="931" y="272"/>
                  <a:pt x="930" y="272"/>
                </a:cubicBezTo>
                <a:cubicBezTo>
                  <a:pt x="930" y="273"/>
                  <a:pt x="930" y="273"/>
                  <a:pt x="930" y="273"/>
                </a:cubicBezTo>
                <a:cubicBezTo>
                  <a:pt x="930" y="274"/>
                  <a:pt x="929" y="275"/>
                  <a:pt x="929" y="275"/>
                </a:cubicBezTo>
                <a:cubicBezTo>
                  <a:pt x="928" y="275"/>
                  <a:pt x="927" y="276"/>
                  <a:pt x="928" y="276"/>
                </a:cubicBezTo>
                <a:cubicBezTo>
                  <a:pt x="928" y="277"/>
                  <a:pt x="927" y="277"/>
                  <a:pt x="927" y="277"/>
                </a:cubicBezTo>
                <a:cubicBezTo>
                  <a:pt x="927" y="277"/>
                  <a:pt x="926" y="278"/>
                  <a:pt x="926" y="278"/>
                </a:cubicBezTo>
                <a:cubicBezTo>
                  <a:pt x="925" y="278"/>
                  <a:pt x="926" y="277"/>
                  <a:pt x="926" y="277"/>
                </a:cubicBezTo>
                <a:cubicBezTo>
                  <a:pt x="926" y="277"/>
                  <a:pt x="925" y="278"/>
                  <a:pt x="925" y="278"/>
                </a:cubicBezTo>
                <a:cubicBezTo>
                  <a:pt x="926" y="277"/>
                  <a:pt x="925" y="277"/>
                  <a:pt x="925" y="277"/>
                </a:cubicBezTo>
                <a:cubicBezTo>
                  <a:pt x="925" y="277"/>
                  <a:pt x="925" y="277"/>
                  <a:pt x="925" y="277"/>
                </a:cubicBezTo>
                <a:cubicBezTo>
                  <a:pt x="925" y="276"/>
                  <a:pt x="923" y="279"/>
                  <a:pt x="923" y="279"/>
                </a:cubicBezTo>
                <a:cubicBezTo>
                  <a:pt x="923" y="279"/>
                  <a:pt x="923" y="279"/>
                  <a:pt x="923" y="278"/>
                </a:cubicBezTo>
                <a:cubicBezTo>
                  <a:pt x="923" y="279"/>
                  <a:pt x="923" y="279"/>
                  <a:pt x="923" y="279"/>
                </a:cubicBezTo>
                <a:cubicBezTo>
                  <a:pt x="923" y="278"/>
                  <a:pt x="923" y="278"/>
                  <a:pt x="924" y="277"/>
                </a:cubicBezTo>
                <a:cubicBezTo>
                  <a:pt x="923" y="277"/>
                  <a:pt x="923" y="278"/>
                  <a:pt x="923" y="278"/>
                </a:cubicBezTo>
                <a:cubicBezTo>
                  <a:pt x="923" y="279"/>
                  <a:pt x="923" y="279"/>
                  <a:pt x="922" y="279"/>
                </a:cubicBezTo>
                <a:cubicBezTo>
                  <a:pt x="923" y="278"/>
                  <a:pt x="922" y="279"/>
                  <a:pt x="922" y="279"/>
                </a:cubicBezTo>
                <a:cubicBezTo>
                  <a:pt x="922" y="278"/>
                  <a:pt x="922" y="278"/>
                  <a:pt x="922" y="278"/>
                </a:cubicBezTo>
                <a:cubicBezTo>
                  <a:pt x="922" y="278"/>
                  <a:pt x="923" y="277"/>
                  <a:pt x="923" y="277"/>
                </a:cubicBezTo>
                <a:cubicBezTo>
                  <a:pt x="922" y="277"/>
                  <a:pt x="922" y="278"/>
                  <a:pt x="921" y="278"/>
                </a:cubicBezTo>
                <a:cubicBezTo>
                  <a:pt x="921" y="278"/>
                  <a:pt x="921" y="279"/>
                  <a:pt x="921" y="279"/>
                </a:cubicBezTo>
                <a:cubicBezTo>
                  <a:pt x="921" y="279"/>
                  <a:pt x="921" y="279"/>
                  <a:pt x="921" y="279"/>
                </a:cubicBezTo>
                <a:cubicBezTo>
                  <a:pt x="921" y="279"/>
                  <a:pt x="921" y="280"/>
                  <a:pt x="921" y="280"/>
                </a:cubicBezTo>
                <a:cubicBezTo>
                  <a:pt x="920" y="280"/>
                  <a:pt x="921" y="279"/>
                  <a:pt x="921" y="279"/>
                </a:cubicBezTo>
                <a:cubicBezTo>
                  <a:pt x="921" y="278"/>
                  <a:pt x="921" y="277"/>
                  <a:pt x="922" y="277"/>
                </a:cubicBezTo>
                <a:cubicBezTo>
                  <a:pt x="922" y="277"/>
                  <a:pt x="920" y="278"/>
                  <a:pt x="920" y="278"/>
                </a:cubicBezTo>
                <a:cubicBezTo>
                  <a:pt x="921" y="278"/>
                  <a:pt x="921" y="278"/>
                  <a:pt x="921" y="277"/>
                </a:cubicBezTo>
                <a:cubicBezTo>
                  <a:pt x="921" y="278"/>
                  <a:pt x="921" y="280"/>
                  <a:pt x="920" y="280"/>
                </a:cubicBezTo>
                <a:cubicBezTo>
                  <a:pt x="920" y="280"/>
                  <a:pt x="920" y="279"/>
                  <a:pt x="920" y="279"/>
                </a:cubicBezTo>
                <a:cubicBezTo>
                  <a:pt x="920" y="278"/>
                  <a:pt x="920" y="279"/>
                  <a:pt x="919" y="279"/>
                </a:cubicBezTo>
                <a:cubicBezTo>
                  <a:pt x="919" y="279"/>
                  <a:pt x="919" y="280"/>
                  <a:pt x="918" y="280"/>
                </a:cubicBezTo>
                <a:cubicBezTo>
                  <a:pt x="919" y="280"/>
                  <a:pt x="919" y="279"/>
                  <a:pt x="919" y="279"/>
                </a:cubicBezTo>
                <a:cubicBezTo>
                  <a:pt x="919" y="279"/>
                  <a:pt x="919" y="280"/>
                  <a:pt x="918" y="280"/>
                </a:cubicBezTo>
                <a:cubicBezTo>
                  <a:pt x="918" y="280"/>
                  <a:pt x="919" y="279"/>
                  <a:pt x="919" y="279"/>
                </a:cubicBezTo>
                <a:cubicBezTo>
                  <a:pt x="919" y="279"/>
                  <a:pt x="919" y="279"/>
                  <a:pt x="919" y="279"/>
                </a:cubicBezTo>
                <a:cubicBezTo>
                  <a:pt x="919" y="279"/>
                  <a:pt x="919" y="279"/>
                  <a:pt x="919" y="279"/>
                </a:cubicBezTo>
                <a:cubicBezTo>
                  <a:pt x="918" y="279"/>
                  <a:pt x="917" y="279"/>
                  <a:pt x="917" y="280"/>
                </a:cubicBezTo>
                <a:cubicBezTo>
                  <a:pt x="916" y="280"/>
                  <a:pt x="916" y="281"/>
                  <a:pt x="915" y="281"/>
                </a:cubicBezTo>
                <a:cubicBezTo>
                  <a:pt x="916" y="281"/>
                  <a:pt x="916" y="281"/>
                  <a:pt x="916" y="281"/>
                </a:cubicBezTo>
                <a:cubicBezTo>
                  <a:pt x="916" y="282"/>
                  <a:pt x="915" y="282"/>
                  <a:pt x="915" y="282"/>
                </a:cubicBezTo>
                <a:cubicBezTo>
                  <a:pt x="914" y="282"/>
                  <a:pt x="914" y="283"/>
                  <a:pt x="914" y="283"/>
                </a:cubicBezTo>
                <a:cubicBezTo>
                  <a:pt x="914" y="284"/>
                  <a:pt x="913" y="284"/>
                  <a:pt x="912" y="284"/>
                </a:cubicBezTo>
                <a:cubicBezTo>
                  <a:pt x="912" y="285"/>
                  <a:pt x="911" y="285"/>
                  <a:pt x="911" y="286"/>
                </a:cubicBezTo>
                <a:cubicBezTo>
                  <a:pt x="911" y="286"/>
                  <a:pt x="910" y="287"/>
                  <a:pt x="910" y="287"/>
                </a:cubicBezTo>
                <a:cubicBezTo>
                  <a:pt x="909" y="287"/>
                  <a:pt x="909" y="287"/>
                  <a:pt x="909" y="288"/>
                </a:cubicBezTo>
                <a:cubicBezTo>
                  <a:pt x="909" y="288"/>
                  <a:pt x="909" y="288"/>
                  <a:pt x="909" y="288"/>
                </a:cubicBezTo>
                <a:cubicBezTo>
                  <a:pt x="909" y="288"/>
                  <a:pt x="908" y="288"/>
                  <a:pt x="908" y="289"/>
                </a:cubicBezTo>
                <a:cubicBezTo>
                  <a:pt x="908" y="289"/>
                  <a:pt x="908" y="290"/>
                  <a:pt x="907" y="290"/>
                </a:cubicBezTo>
                <a:cubicBezTo>
                  <a:pt x="907" y="290"/>
                  <a:pt x="907" y="290"/>
                  <a:pt x="907" y="290"/>
                </a:cubicBezTo>
                <a:cubicBezTo>
                  <a:pt x="907" y="290"/>
                  <a:pt x="908" y="291"/>
                  <a:pt x="907" y="291"/>
                </a:cubicBezTo>
                <a:cubicBezTo>
                  <a:pt x="907" y="291"/>
                  <a:pt x="907" y="291"/>
                  <a:pt x="907" y="291"/>
                </a:cubicBezTo>
                <a:cubicBezTo>
                  <a:pt x="907" y="291"/>
                  <a:pt x="907" y="292"/>
                  <a:pt x="908" y="292"/>
                </a:cubicBezTo>
                <a:cubicBezTo>
                  <a:pt x="907" y="292"/>
                  <a:pt x="908" y="292"/>
                  <a:pt x="908" y="292"/>
                </a:cubicBezTo>
                <a:cubicBezTo>
                  <a:pt x="908" y="292"/>
                  <a:pt x="908" y="292"/>
                  <a:pt x="909" y="292"/>
                </a:cubicBezTo>
                <a:cubicBezTo>
                  <a:pt x="909" y="292"/>
                  <a:pt x="909" y="292"/>
                  <a:pt x="908" y="292"/>
                </a:cubicBezTo>
                <a:cubicBezTo>
                  <a:pt x="908" y="292"/>
                  <a:pt x="908" y="293"/>
                  <a:pt x="908" y="293"/>
                </a:cubicBezTo>
                <a:cubicBezTo>
                  <a:pt x="907" y="293"/>
                  <a:pt x="906" y="293"/>
                  <a:pt x="906" y="294"/>
                </a:cubicBezTo>
                <a:cubicBezTo>
                  <a:pt x="906" y="293"/>
                  <a:pt x="906" y="293"/>
                  <a:pt x="906" y="293"/>
                </a:cubicBezTo>
                <a:cubicBezTo>
                  <a:pt x="906" y="294"/>
                  <a:pt x="905" y="294"/>
                  <a:pt x="905" y="294"/>
                </a:cubicBezTo>
                <a:cubicBezTo>
                  <a:pt x="905" y="294"/>
                  <a:pt x="905" y="294"/>
                  <a:pt x="905" y="294"/>
                </a:cubicBezTo>
                <a:cubicBezTo>
                  <a:pt x="905" y="294"/>
                  <a:pt x="904" y="294"/>
                  <a:pt x="904" y="295"/>
                </a:cubicBezTo>
                <a:cubicBezTo>
                  <a:pt x="904" y="295"/>
                  <a:pt x="904" y="295"/>
                  <a:pt x="904" y="295"/>
                </a:cubicBezTo>
                <a:cubicBezTo>
                  <a:pt x="904" y="295"/>
                  <a:pt x="903" y="295"/>
                  <a:pt x="903" y="296"/>
                </a:cubicBezTo>
                <a:cubicBezTo>
                  <a:pt x="903" y="296"/>
                  <a:pt x="904" y="296"/>
                  <a:pt x="904" y="296"/>
                </a:cubicBezTo>
                <a:cubicBezTo>
                  <a:pt x="903" y="296"/>
                  <a:pt x="904" y="296"/>
                  <a:pt x="904" y="296"/>
                </a:cubicBezTo>
                <a:cubicBezTo>
                  <a:pt x="904" y="296"/>
                  <a:pt x="904" y="296"/>
                  <a:pt x="904" y="296"/>
                </a:cubicBezTo>
                <a:cubicBezTo>
                  <a:pt x="904" y="296"/>
                  <a:pt x="904" y="296"/>
                  <a:pt x="904" y="296"/>
                </a:cubicBezTo>
                <a:cubicBezTo>
                  <a:pt x="905" y="296"/>
                  <a:pt x="904" y="296"/>
                  <a:pt x="905" y="296"/>
                </a:cubicBezTo>
                <a:cubicBezTo>
                  <a:pt x="905" y="295"/>
                  <a:pt x="906" y="297"/>
                  <a:pt x="906" y="297"/>
                </a:cubicBezTo>
                <a:cubicBezTo>
                  <a:pt x="906" y="297"/>
                  <a:pt x="906" y="299"/>
                  <a:pt x="906" y="299"/>
                </a:cubicBezTo>
                <a:cubicBezTo>
                  <a:pt x="906" y="299"/>
                  <a:pt x="906" y="299"/>
                  <a:pt x="906" y="298"/>
                </a:cubicBezTo>
                <a:cubicBezTo>
                  <a:pt x="906" y="298"/>
                  <a:pt x="905" y="299"/>
                  <a:pt x="905" y="299"/>
                </a:cubicBezTo>
                <a:cubicBezTo>
                  <a:pt x="906" y="300"/>
                  <a:pt x="906" y="300"/>
                  <a:pt x="906" y="300"/>
                </a:cubicBezTo>
                <a:cubicBezTo>
                  <a:pt x="906" y="301"/>
                  <a:pt x="906" y="301"/>
                  <a:pt x="906" y="302"/>
                </a:cubicBezTo>
                <a:cubicBezTo>
                  <a:pt x="907" y="302"/>
                  <a:pt x="907" y="302"/>
                  <a:pt x="908" y="302"/>
                </a:cubicBezTo>
                <a:cubicBezTo>
                  <a:pt x="908" y="302"/>
                  <a:pt x="907" y="302"/>
                  <a:pt x="907" y="302"/>
                </a:cubicBezTo>
                <a:cubicBezTo>
                  <a:pt x="908" y="302"/>
                  <a:pt x="909" y="302"/>
                  <a:pt x="909" y="302"/>
                </a:cubicBezTo>
                <a:cubicBezTo>
                  <a:pt x="910" y="301"/>
                  <a:pt x="910" y="301"/>
                  <a:pt x="911" y="301"/>
                </a:cubicBezTo>
                <a:cubicBezTo>
                  <a:pt x="911" y="301"/>
                  <a:pt x="911" y="300"/>
                  <a:pt x="911" y="300"/>
                </a:cubicBezTo>
                <a:cubicBezTo>
                  <a:pt x="911" y="300"/>
                  <a:pt x="910" y="300"/>
                  <a:pt x="910" y="300"/>
                </a:cubicBezTo>
                <a:cubicBezTo>
                  <a:pt x="910" y="300"/>
                  <a:pt x="911" y="299"/>
                  <a:pt x="910" y="299"/>
                </a:cubicBezTo>
                <a:cubicBezTo>
                  <a:pt x="910" y="298"/>
                  <a:pt x="910" y="298"/>
                  <a:pt x="910" y="299"/>
                </a:cubicBezTo>
                <a:cubicBezTo>
                  <a:pt x="910" y="299"/>
                  <a:pt x="909" y="298"/>
                  <a:pt x="910" y="298"/>
                </a:cubicBezTo>
                <a:cubicBezTo>
                  <a:pt x="911" y="298"/>
                  <a:pt x="911" y="299"/>
                  <a:pt x="911" y="300"/>
                </a:cubicBezTo>
                <a:cubicBezTo>
                  <a:pt x="911" y="300"/>
                  <a:pt x="911" y="301"/>
                  <a:pt x="911" y="301"/>
                </a:cubicBezTo>
                <a:cubicBezTo>
                  <a:pt x="911" y="301"/>
                  <a:pt x="911" y="301"/>
                  <a:pt x="911" y="301"/>
                </a:cubicBezTo>
                <a:cubicBezTo>
                  <a:pt x="911" y="301"/>
                  <a:pt x="911" y="302"/>
                  <a:pt x="910" y="303"/>
                </a:cubicBezTo>
                <a:cubicBezTo>
                  <a:pt x="910" y="303"/>
                  <a:pt x="909" y="303"/>
                  <a:pt x="909" y="303"/>
                </a:cubicBezTo>
                <a:cubicBezTo>
                  <a:pt x="908" y="303"/>
                  <a:pt x="908" y="303"/>
                  <a:pt x="907" y="303"/>
                </a:cubicBezTo>
                <a:cubicBezTo>
                  <a:pt x="908" y="303"/>
                  <a:pt x="907" y="303"/>
                  <a:pt x="907" y="303"/>
                </a:cubicBezTo>
                <a:cubicBezTo>
                  <a:pt x="906" y="303"/>
                  <a:pt x="906" y="303"/>
                  <a:pt x="906" y="303"/>
                </a:cubicBezTo>
                <a:cubicBezTo>
                  <a:pt x="905" y="304"/>
                  <a:pt x="904" y="304"/>
                  <a:pt x="904" y="304"/>
                </a:cubicBezTo>
                <a:cubicBezTo>
                  <a:pt x="904" y="304"/>
                  <a:pt x="905" y="302"/>
                  <a:pt x="905" y="302"/>
                </a:cubicBezTo>
                <a:cubicBezTo>
                  <a:pt x="904" y="302"/>
                  <a:pt x="904" y="302"/>
                  <a:pt x="904" y="302"/>
                </a:cubicBezTo>
                <a:cubicBezTo>
                  <a:pt x="904" y="302"/>
                  <a:pt x="904" y="302"/>
                  <a:pt x="904" y="303"/>
                </a:cubicBezTo>
                <a:cubicBezTo>
                  <a:pt x="903" y="303"/>
                  <a:pt x="902" y="303"/>
                  <a:pt x="902" y="303"/>
                </a:cubicBezTo>
                <a:cubicBezTo>
                  <a:pt x="902" y="303"/>
                  <a:pt x="902" y="303"/>
                  <a:pt x="902" y="303"/>
                </a:cubicBezTo>
                <a:cubicBezTo>
                  <a:pt x="902" y="303"/>
                  <a:pt x="901" y="305"/>
                  <a:pt x="900" y="304"/>
                </a:cubicBezTo>
                <a:cubicBezTo>
                  <a:pt x="900" y="304"/>
                  <a:pt x="900" y="304"/>
                  <a:pt x="900" y="304"/>
                </a:cubicBezTo>
                <a:cubicBezTo>
                  <a:pt x="900" y="304"/>
                  <a:pt x="899" y="304"/>
                  <a:pt x="899" y="305"/>
                </a:cubicBezTo>
                <a:cubicBezTo>
                  <a:pt x="899" y="305"/>
                  <a:pt x="899" y="304"/>
                  <a:pt x="899" y="304"/>
                </a:cubicBezTo>
                <a:cubicBezTo>
                  <a:pt x="899" y="303"/>
                  <a:pt x="900" y="302"/>
                  <a:pt x="901" y="301"/>
                </a:cubicBezTo>
                <a:cubicBezTo>
                  <a:pt x="900" y="302"/>
                  <a:pt x="899" y="302"/>
                  <a:pt x="899" y="303"/>
                </a:cubicBezTo>
                <a:cubicBezTo>
                  <a:pt x="898" y="303"/>
                  <a:pt x="899" y="302"/>
                  <a:pt x="899" y="302"/>
                </a:cubicBezTo>
                <a:cubicBezTo>
                  <a:pt x="898" y="303"/>
                  <a:pt x="898" y="301"/>
                  <a:pt x="898" y="301"/>
                </a:cubicBezTo>
                <a:cubicBezTo>
                  <a:pt x="898" y="301"/>
                  <a:pt x="898" y="303"/>
                  <a:pt x="898" y="302"/>
                </a:cubicBezTo>
                <a:cubicBezTo>
                  <a:pt x="897" y="302"/>
                  <a:pt x="897" y="303"/>
                  <a:pt x="897" y="303"/>
                </a:cubicBezTo>
                <a:cubicBezTo>
                  <a:pt x="897" y="304"/>
                  <a:pt x="896" y="305"/>
                  <a:pt x="896" y="306"/>
                </a:cubicBezTo>
                <a:cubicBezTo>
                  <a:pt x="895" y="306"/>
                  <a:pt x="895" y="306"/>
                  <a:pt x="895" y="306"/>
                </a:cubicBezTo>
                <a:cubicBezTo>
                  <a:pt x="894" y="306"/>
                  <a:pt x="894" y="306"/>
                  <a:pt x="894" y="306"/>
                </a:cubicBezTo>
                <a:cubicBezTo>
                  <a:pt x="893" y="306"/>
                  <a:pt x="893" y="307"/>
                  <a:pt x="892" y="306"/>
                </a:cubicBezTo>
                <a:cubicBezTo>
                  <a:pt x="892" y="306"/>
                  <a:pt x="892" y="306"/>
                  <a:pt x="892" y="306"/>
                </a:cubicBezTo>
                <a:cubicBezTo>
                  <a:pt x="891" y="306"/>
                  <a:pt x="890" y="306"/>
                  <a:pt x="890" y="306"/>
                </a:cubicBezTo>
                <a:cubicBezTo>
                  <a:pt x="890" y="307"/>
                  <a:pt x="889" y="306"/>
                  <a:pt x="889" y="307"/>
                </a:cubicBezTo>
                <a:cubicBezTo>
                  <a:pt x="888" y="307"/>
                  <a:pt x="888" y="306"/>
                  <a:pt x="888" y="306"/>
                </a:cubicBezTo>
                <a:cubicBezTo>
                  <a:pt x="888" y="306"/>
                  <a:pt x="888" y="306"/>
                  <a:pt x="888" y="306"/>
                </a:cubicBezTo>
                <a:cubicBezTo>
                  <a:pt x="887" y="306"/>
                  <a:pt x="888" y="307"/>
                  <a:pt x="887" y="307"/>
                </a:cubicBezTo>
                <a:cubicBezTo>
                  <a:pt x="887" y="307"/>
                  <a:pt x="886" y="307"/>
                  <a:pt x="885" y="307"/>
                </a:cubicBezTo>
                <a:cubicBezTo>
                  <a:pt x="885" y="307"/>
                  <a:pt x="882" y="307"/>
                  <a:pt x="883" y="307"/>
                </a:cubicBezTo>
                <a:cubicBezTo>
                  <a:pt x="882" y="307"/>
                  <a:pt x="882" y="308"/>
                  <a:pt x="881" y="308"/>
                </a:cubicBezTo>
                <a:cubicBezTo>
                  <a:pt x="880" y="308"/>
                  <a:pt x="880" y="308"/>
                  <a:pt x="879" y="308"/>
                </a:cubicBezTo>
                <a:cubicBezTo>
                  <a:pt x="879" y="309"/>
                  <a:pt x="878" y="309"/>
                  <a:pt x="877" y="309"/>
                </a:cubicBezTo>
                <a:cubicBezTo>
                  <a:pt x="877" y="309"/>
                  <a:pt x="876" y="310"/>
                  <a:pt x="876" y="310"/>
                </a:cubicBezTo>
                <a:cubicBezTo>
                  <a:pt x="875" y="310"/>
                  <a:pt x="875" y="310"/>
                  <a:pt x="874" y="311"/>
                </a:cubicBezTo>
                <a:cubicBezTo>
                  <a:pt x="874" y="311"/>
                  <a:pt x="873" y="311"/>
                  <a:pt x="873" y="312"/>
                </a:cubicBezTo>
                <a:cubicBezTo>
                  <a:pt x="873" y="312"/>
                  <a:pt x="872" y="312"/>
                  <a:pt x="872" y="312"/>
                </a:cubicBezTo>
                <a:cubicBezTo>
                  <a:pt x="872" y="312"/>
                  <a:pt x="871" y="312"/>
                  <a:pt x="871" y="313"/>
                </a:cubicBezTo>
                <a:cubicBezTo>
                  <a:pt x="871" y="312"/>
                  <a:pt x="871" y="312"/>
                  <a:pt x="872" y="312"/>
                </a:cubicBezTo>
                <a:cubicBezTo>
                  <a:pt x="872" y="312"/>
                  <a:pt x="873" y="312"/>
                  <a:pt x="873" y="312"/>
                </a:cubicBezTo>
                <a:cubicBezTo>
                  <a:pt x="873" y="312"/>
                  <a:pt x="873" y="312"/>
                  <a:pt x="873" y="312"/>
                </a:cubicBezTo>
                <a:cubicBezTo>
                  <a:pt x="874" y="312"/>
                  <a:pt x="873" y="312"/>
                  <a:pt x="874" y="312"/>
                </a:cubicBezTo>
                <a:cubicBezTo>
                  <a:pt x="874" y="312"/>
                  <a:pt x="874" y="311"/>
                  <a:pt x="874" y="311"/>
                </a:cubicBezTo>
                <a:cubicBezTo>
                  <a:pt x="874" y="311"/>
                  <a:pt x="874" y="312"/>
                  <a:pt x="874" y="312"/>
                </a:cubicBezTo>
                <a:cubicBezTo>
                  <a:pt x="874" y="312"/>
                  <a:pt x="875" y="311"/>
                  <a:pt x="875" y="311"/>
                </a:cubicBezTo>
                <a:cubicBezTo>
                  <a:pt x="875" y="311"/>
                  <a:pt x="876" y="311"/>
                  <a:pt x="876" y="311"/>
                </a:cubicBezTo>
                <a:cubicBezTo>
                  <a:pt x="876" y="311"/>
                  <a:pt x="876" y="310"/>
                  <a:pt x="877" y="311"/>
                </a:cubicBezTo>
                <a:cubicBezTo>
                  <a:pt x="877" y="311"/>
                  <a:pt x="877" y="311"/>
                  <a:pt x="877" y="311"/>
                </a:cubicBezTo>
                <a:cubicBezTo>
                  <a:pt x="877" y="311"/>
                  <a:pt x="877" y="310"/>
                  <a:pt x="877" y="310"/>
                </a:cubicBezTo>
                <a:cubicBezTo>
                  <a:pt x="877" y="310"/>
                  <a:pt x="878" y="311"/>
                  <a:pt x="878" y="311"/>
                </a:cubicBezTo>
                <a:cubicBezTo>
                  <a:pt x="878" y="311"/>
                  <a:pt x="879" y="311"/>
                  <a:pt x="879" y="311"/>
                </a:cubicBezTo>
                <a:cubicBezTo>
                  <a:pt x="879" y="310"/>
                  <a:pt x="880" y="310"/>
                  <a:pt x="880" y="310"/>
                </a:cubicBezTo>
                <a:cubicBezTo>
                  <a:pt x="880" y="310"/>
                  <a:pt x="880" y="310"/>
                  <a:pt x="880" y="310"/>
                </a:cubicBezTo>
                <a:cubicBezTo>
                  <a:pt x="881" y="310"/>
                  <a:pt x="882" y="310"/>
                  <a:pt x="883" y="310"/>
                </a:cubicBezTo>
                <a:cubicBezTo>
                  <a:pt x="884" y="310"/>
                  <a:pt x="885" y="309"/>
                  <a:pt x="887" y="309"/>
                </a:cubicBezTo>
                <a:cubicBezTo>
                  <a:pt x="887" y="308"/>
                  <a:pt x="887" y="308"/>
                  <a:pt x="888" y="308"/>
                </a:cubicBezTo>
                <a:cubicBezTo>
                  <a:pt x="888" y="308"/>
                  <a:pt x="888" y="308"/>
                  <a:pt x="888" y="309"/>
                </a:cubicBezTo>
                <a:cubicBezTo>
                  <a:pt x="887" y="309"/>
                  <a:pt x="886" y="310"/>
                  <a:pt x="886" y="310"/>
                </a:cubicBezTo>
                <a:cubicBezTo>
                  <a:pt x="886" y="310"/>
                  <a:pt x="886" y="310"/>
                  <a:pt x="886" y="310"/>
                </a:cubicBezTo>
                <a:cubicBezTo>
                  <a:pt x="885" y="310"/>
                  <a:pt x="884" y="311"/>
                  <a:pt x="884" y="311"/>
                </a:cubicBezTo>
                <a:cubicBezTo>
                  <a:pt x="884" y="311"/>
                  <a:pt x="885" y="311"/>
                  <a:pt x="885" y="311"/>
                </a:cubicBezTo>
                <a:cubicBezTo>
                  <a:pt x="886" y="311"/>
                  <a:pt x="886" y="310"/>
                  <a:pt x="887" y="310"/>
                </a:cubicBezTo>
                <a:cubicBezTo>
                  <a:pt x="887" y="310"/>
                  <a:pt x="888" y="309"/>
                  <a:pt x="888" y="310"/>
                </a:cubicBezTo>
                <a:cubicBezTo>
                  <a:pt x="888" y="310"/>
                  <a:pt x="888" y="309"/>
                  <a:pt x="889" y="309"/>
                </a:cubicBezTo>
                <a:cubicBezTo>
                  <a:pt x="889" y="309"/>
                  <a:pt x="888" y="310"/>
                  <a:pt x="889" y="310"/>
                </a:cubicBezTo>
                <a:cubicBezTo>
                  <a:pt x="889" y="310"/>
                  <a:pt x="889" y="310"/>
                  <a:pt x="890" y="310"/>
                </a:cubicBezTo>
                <a:cubicBezTo>
                  <a:pt x="890" y="309"/>
                  <a:pt x="891" y="309"/>
                  <a:pt x="891" y="309"/>
                </a:cubicBezTo>
                <a:cubicBezTo>
                  <a:pt x="891" y="309"/>
                  <a:pt x="886" y="311"/>
                  <a:pt x="885" y="311"/>
                </a:cubicBezTo>
                <a:cubicBezTo>
                  <a:pt x="885" y="311"/>
                  <a:pt x="885" y="311"/>
                  <a:pt x="885" y="311"/>
                </a:cubicBezTo>
                <a:cubicBezTo>
                  <a:pt x="885" y="311"/>
                  <a:pt x="885" y="312"/>
                  <a:pt x="884" y="312"/>
                </a:cubicBezTo>
                <a:cubicBezTo>
                  <a:pt x="884" y="312"/>
                  <a:pt x="883" y="312"/>
                  <a:pt x="882" y="312"/>
                </a:cubicBezTo>
                <a:cubicBezTo>
                  <a:pt x="882" y="312"/>
                  <a:pt x="883" y="312"/>
                  <a:pt x="883" y="312"/>
                </a:cubicBezTo>
                <a:cubicBezTo>
                  <a:pt x="883" y="312"/>
                  <a:pt x="882" y="312"/>
                  <a:pt x="882" y="312"/>
                </a:cubicBezTo>
                <a:cubicBezTo>
                  <a:pt x="881" y="313"/>
                  <a:pt x="880" y="313"/>
                  <a:pt x="880" y="313"/>
                </a:cubicBezTo>
                <a:cubicBezTo>
                  <a:pt x="879" y="313"/>
                  <a:pt x="877" y="313"/>
                  <a:pt x="876" y="314"/>
                </a:cubicBezTo>
                <a:cubicBezTo>
                  <a:pt x="875" y="314"/>
                  <a:pt x="875" y="314"/>
                  <a:pt x="874" y="314"/>
                </a:cubicBezTo>
                <a:cubicBezTo>
                  <a:pt x="874" y="314"/>
                  <a:pt x="873" y="314"/>
                  <a:pt x="873" y="314"/>
                </a:cubicBezTo>
                <a:cubicBezTo>
                  <a:pt x="873" y="314"/>
                  <a:pt x="874" y="314"/>
                  <a:pt x="874" y="314"/>
                </a:cubicBezTo>
                <a:cubicBezTo>
                  <a:pt x="873" y="314"/>
                  <a:pt x="873" y="314"/>
                  <a:pt x="872" y="314"/>
                </a:cubicBezTo>
                <a:cubicBezTo>
                  <a:pt x="872" y="314"/>
                  <a:pt x="871" y="315"/>
                  <a:pt x="871" y="315"/>
                </a:cubicBezTo>
                <a:cubicBezTo>
                  <a:pt x="871" y="314"/>
                  <a:pt x="872" y="314"/>
                  <a:pt x="872" y="314"/>
                </a:cubicBezTo>
                <a:cubicBezTo>
                  <a:pt x="873" y="314"/>
                  <a:pt x="871" y="314"/>
                  <a:pt x="871" y="314"/>
                </a:cubicBezTo>
                <a:cubicBezTo>
                  <a:pt x="871" y="314"/>
                  <a:pt x="871" y="314"/>
                  <a:pt x="871" y="314"/>
                </a:cubicBezTo>
                <a:cubicBezTo>
                  <a:pt x="871" y="314"/>
                  <a:pt x="870" y="314"/>
                  <a:pt x="870" y="314"/>
                </a:cubicBezTo>
                <a:cubicBezTo>
                  <a:pt x="870" y="314"/>
                  <a:pt x="870" y="314"/>
                  <a:pt x="870" y="314"/>
                </a:cubicBezTo>
                <a:cubicBezTo>
                  <a:pt x="870" y="314"/>
                  <a:pt x="871" y="313"/>
                  <a:pt x="871" y="313"/>
                </a:cubicBezTo>
                <a:cubicBezTo>
                  <a:pt x="871" y="313"/>
                  <a:pt x="871" y="313"/>
                  <a:pt x="871" y="313"/>
                </a:cubicBezTo>
                <a:cubicBezTo>
                  <a:pt x="871" y="313"/>
                  <a:pt x="871" y="313"/>
                  <a:pt x="871" y="313"/>
                </a:cubicBezTo>
                <a:cubicBezTo>
                  <a:pt x="871" y="313"/>
                  <a:pt x="871" y="313"/>
                  <a:pt x="871" y="313"/>
                </a:cubicBezTo>
                <a:cubicBezTo>
                  <a:pt x="870" y="313"/>
                  <a:pt x="870" y="314"/>
                  <a:pt x="869" y="314"/>
                </a:cubicBezTo>
                <a:cubicBezTo>
                  <a:pt x="870" y="313"/>
                  <a:pt x="870" y="313"/>
                  <a:pt x="870" y="313"/>
                </a:cubicBezTo>
                <a:cubicBezTo>
                  <a:pt x="869" y="313"/>
                  <a:pt x="867" y="315"/>
                  <a:pt x="867" y="316"/>
                </a:cubicBezTo>
                <a:cubicBezTo>
                  <a:pt x="868" y="316"/>
                  <a:pt x="869" y="316"/>
                  <a:pt x="869" y="316"/>
                </a:cubicBezTo>
                <a:cubicBezTo>
                  <a:pt x="870" y="317"/>
                  <a:pt x="870" y="316"/>
                  <a:pt x="870" y="316"/>
                </a:cubicBezTo>
                <a:cubicBezTo>
                  <a:pt x="870" y="316"/>
                  <a:pt x="870" y="317"/>
                  <a:pt x="870" y="317"/>
                </a:cubicBezTo>
                <a:cubicBezTo>
                  <a:pt x="870" y="317"/>
                  <a:pt x="870" y="317"/>
                  <a:pt x="869" y="318"/>
                </a:cubicBezTo>
                <a:cubicBezTo>
                  <a:pt x="869" y="318"/>
                  <a:pt x="869" y="319"/>
                  <a:pt x="868" y="319"/>
                </a:cubicBezTo>
                <a:cubicBezTo>
                  <a:pt x="867" y="321"/>
                  <a:pt x="867" y="322"/>
                  <a:pt x="866" y="323"/>
                </a:cubicBezTo>
                <a:cubicBezTo>
                  <a:pt x="866" y="322"/>
                  <a:pt x="867" y="321"/>
                  <a:pt x="868" y="320"/>
                </a:cubicBezTo>
                <a:cubicBezTo>
                  <a:pt x="867" y="320"/>
                  <a:pt x="868" y="321"/>
                  <a:pt x="867" y="321"/>
                </a:cubicBezTo>
                <a:cubicBezTo>
                  <a:pt x="867" y="321"/>
                  <a:pt x="867" y="321"/>
                  <a:pt x="867" y="321"/>
                </a:cubicBezTo>
                <a:cubicBezTo>
                  <a:pt x="867" y="321"/>
                  <a:pt x="867" y="322"/>
                  <a:pt x="867" y="322"/>
                </a:cubicBezTo>
                <a:cubicBezTo>
                  <a:pt x="867" y="322"/>
                  <a:pt x="866" y="323"/>
                  <a:pt x="865" y="324"/>
                </a:cubicBezTo>
                <a:cubicBezTo>
                  <a:pt x="865" y="324"/>
                  <a:pt x="865" y="325"/>
                  <a:pt x="864" y="325"/>
                </a:cubicBezTo>
                <a:cubicBezTo>
                  <a:pt x="864" y="325"/>
                  <a:pt x="863" y="326"/>
                  <a:pt x="863" y="326"/>
                </a:cubicBezTo>
                <a:cubicBezTo>
                  <a:pt x="863" y="326"/>
                  <a:pt x="862" y="326"/>
                  <a:pt x="863" y="326"/>
                </a:cubicBezTo>
                <a:cubicBezTo>
                  <a:pt x="863" y="327"/>
                  <a:pt x="862" y="327"/>
                  <a:pt x="861" y="327"/>
                </a:cubicBezTo>
                <a:cubicBezTo>
                  <a:pt x="862" y="327"/>
                  <a:pt x="862" y="328"/>
                  <a:pt x="862" y="328"/>
                </a:cubicBezTo>
                <a:cubicBezTo>
                  <a:pt x="861" y="328"/>
                  <a:pt x="861" y="328"/>
                  <a:pt x="861" y="328"/>
                </a:cubicBezTo>
                <a:cubicBezTo>
                  <a:pt x="861" y="328"/>
                  <a:pt x="861" y="328"/>
                  <a:pt x="861" y="328"/>
                </a:cubicBezTo>
                <a:cubicBezTo>
                  <a:pt x="861" y="327"/>
                  <a:pt x="860" y="328"/>
                  <a:pt x="860" y="328"/>
                </a:cubicBezTo>
                <a:cubicBezTo>
                  <a:pt x="860" y="329"/>
                  <a:pt x="860" y="328"/>
                  <a:pt x="860" y="328"/>
                </a:cubicBezTo>
                <a:cubicBezTo>
                  <a:pt x="859" y="328"/>
                  <a:pt x="859" y="329"/>
                  <a:pt x="860" y="329"/>
                </a:cubicBezTo>
                <a:cubicBezTo>
                  <a:pt x="860" y="329"/>
                  <a:pt x="860" y="329"/>
                  <a:pt x="860" y="329"/>
                </a:cubicBezTo>
                <a:cubicBezTo>
                  <a:pt x="860" y="329"/>
                  <a:pt x="859" y="330"/>
                  <a:pt x="858" y="330"/>
                </a:cubicBezTo>
                <a:cubicBezTo>
                  <a:pt x="859" y="331"/>
                  <a:pt x="857" y="332"/>
                  <a:pt x="857" y="332"/>
                </a:cubicBezTo>
                <a:cubicBezTo>
                  <a:pt x="857" y="332"/>
                  <a:pt x="856" y="333"/>
                  <a:pt x="855" y="333"/>
                </a:cubicBezTo>
                <a:cubicBezTo>
                  <a:pt x="855" y="332"/>
                  <a:pt x="858" y="330"/>
                  <a:pt x="857" y="330"/>
                </a:cubicBezTo>
                <a:cubicBezTo>
                  <a:pt x="856" y="330"/>
                  <a:pt x="856" y="330"/>
                  <a:pt x="856" y="330"/>
                </a:cubicBezTo>
                <a:cubicBezTo>
                  <a:pt x="856" y="330"/>
                  <a:pt x="856" y="329"/>
                  <a:pt x="855" y="330"/>
                </a:cubicBezTo>
                <a:cubicBezTo>
                  <a:pt x="855" y="330"/>
                  <a:pt x="855" y="330"/>
                  <a:pt x="855" y="330"/>
                </a:cubicBezTo>
                <a:cubicBezTo>
                  <a:pt x="854" y="330"/>
                  <a:pt x="855" y="329"/>
                  <a:pt x="855" y="329"/>
                </a:cubicBezTo>
                <a:cubicBezTo>
                  <a:pt x="854" y="329"/>
                  <a:pt x="852" y="327"/>
                  <a:pt x="852" y="326"/>
                </a:cubicBezTo>
                <a:cubicBezTo>
                  <a:pt x="852" y="326"/>
                  <a:pt x="852" y="326"/>
                  <a:pt x="852" y="326"/>
                </a:cubicBezTo>
                <a:cubicBezTo>
                  <a:pt x="853" y="326"/>
                  <a:pt x="853" y="326"/>
                  <a:pt x="853" y="325"/>
                </a:cubicBezTo>
                <a:cubicBezTo>
                  <a:pt x="853" y="325"/>
                  <a:pt x="853" y="325"/>
                  <a:pt x="853" y="325"/>
                </a:cubicBezTo>
                <a:cubicBezTo>
                  <a:pt x="854" y="324"/>
                  <a:pt x="854" y="323"/>
                  <a:pt x="855" y="323"/>
                </a:cubicBezTo>
                <a:cubicBezTo>
                  <a:pt x="856" y="323"/>
                  <a:pt x="857" y="323"/>
                  <a:pt x="858" y="322"/>
                </a:cubicBezTo>
                <a:cubicBezTo>
                  <a:pt x="858" y="322"/>
                  <a:pt x="858" y="322"/>
                  <a:pt x="858" y="321"/>
                </a:cubicBezTo>
                <a:cubicBezTo>
                  <a:pt x="858" y="321"/>
                  <a:pt x="859" y="321"/>
                  <a:pt x="859" y="321"/>
                </a:cubicBezTo>
                <a:cubicBezTo>
                  <a:pt x="859" y="321"/>
                  <a:pt x="858" y="321"/>
                  <a:pt x="858" y="321"/>
                </a:cubicBezTo>
                <a:cubicBezTo>
                  <a:pt x="859" y="321"/>
                  <a:pt x="858" y="322"/>
                  <a:pt x="857" y="322"/>
                </a:cubicBezTo>
                <a:cubicBezTo>
                  <a:pt x="857" y="322"/>
                  <a:pt x="857" y="322"/>
                  <a:pt x="856" y="322"/>
                </a:cubicBezTo>
                <a:cubicBezTo>
                  <a:pt x="855" y="322"/>
                  <a:pt x="854" y="323"/>
                  <a:pt x="854" y="324"/>
                </a:cubicBezTo>
                <a:cubicBezTo>
                  <a:pt x="854" y="324"/>
                  <a:pt x="852" y="325"/>
                  <a:pt x="852" y="325"/>
                </a:cubicBezTo>
                <a:cubicBezTo>
                  <a:pt x="852" y="326"/>
                  <a:pt x="852" y="326"/>
                  <a:pt x="852" y="327"/>
                </a:cubicBezTo>
                <a:cubicBezTo>
                  <a:pt x="852" y="328"/>
                  <a:pt x="853" y="329"/>
                  <a:pt x="853" y="329"/>
                </a:cubicBezTo>
                <a:cubicBezTo>
                  <a:pt x="852" y="330"/>
                  <a:pt x="852" y="330"/>
                  <a:pt x="852" y="331"/>
                </a:cubicBezTo>
                <a:cubicBezTo>
                  <a:pt x="852" y="331"/>
                  <a:pt x="852" y="332"/>
                  <a:pt x="852" y="332"/>
                </a:cubicBezTo>
                <a:cubicBezTo>
                  <a:pt x="852" y="332"/>
                  <a:pt x="853" y="334"/>
                  <a:pt x="854" y="334"/>
                </a:cubicBezTo>
                <a:cubicBezTo>
                  <a:pt x="854" y="334"/>
                  <a:pt x="854" y="336"/>
                  <a:pt x="853" y="336"/>
                </a:cubicBezTo>
                <a:cubicBezTo>
                  <a:pt x="854" y="334"/>
                  <a:pt x="852" y="336"/>
                  <a:pt x="853" y="336"/>
                </a:cubicBezTo>
                <a:cubicBezTo>
                  <a:pt x="853" y="336"/>
                  <a:pt x="852" y="336"/>
                  <a:pt x="852" y="337"/>
                </a:cubicBezTo>
                <a:cubicBezTo>
                  <a:pt x="852" y="336"/>
                  <a:pt x="853" y="337"/>
                  <a:pt x="853" y="336"/>
                </a:cubicBezTo>
                <a:cubicBezTo>
                  <a:pt x="854" y="337"/>
                  <a:pt x="853" y="339"/>
                  <a:pt x="852" y="339"/>
                </a:cubicBezTo>
                <a:cubicBezTo>
                  <a:pt x="852" y="339"/>
                  <a:pt x="853" y="338"/>
                  <a:pt x="853" y="338"/>
                </a:cubicBezTo>
                <a:cubicBezTo>
                  <a:pt x="853" y="337"/>
                  <a:pt x="852" y="338"/>
                  <a:pt x="852" y="338"/>
                </a:cubicBezTo>
                <a:cubicBezTo>
                  <a:pt x="852" y="338"/>
                  <a:pt x="852" y="338"/>
                  <a:pt x="852" y="338"/>
                </a:cubicBezTo>
                <a:cubicBezTo>
                  <a:pt x="852" y="338"/>
                  <a:pt x="852" y="339"/>
                  <a:pt x="852" y="339"/>
                </a:cubicBezTo>
                <a:cubicBezTo>
                  <a:pt x="852" y="339"/>
                  <a:pt x="851" y="340"/>
                  <a:pt x="851" y="340"/>
                </a:cubicBezTo>
                <a:cubicBezTo>
                  <a:pt x="851" y="340"/>
                  <a:pt x="851" y="340"/>
                  <a:pt x="851" y="340"/>
                </a:cubicBezTo>
                <a:cubicBezTo>
                  <a:pt x="850" y="340"/>
                  <a:pt x="850" y="341"/>
                  <a:pt x="850" y="341"/>
                </a:cubicBezTo>
                <a:cubicBezTo>
                  <a:pt x="849" y="342"/>
                  <a:pt x="849" y="341"/>
                  <a:pt x="849" y="342"/>
                </a:cubicBezTo>
                <a:cubicBezTo>
                  <a:pt x="849" y="342"/>
                  <a:pt x="848" y="342"/>
                  <a:pt x="848" y="342"/>
                </a:cubicBezTo>
                <a:cubicBezTo>
                  <a:pt x="848" y="343"/>
                  <a:pt x="848" y="344"/>
                  <a:pt x="847" y="344"/>
                </a:cubicBezTo>
                <a:cubicBezTo>
                  <a:pt x="847" y="345"/>
                  <a:pt x="846" y="345"/>
                  <a:pt x="846" y="346"/>
                </a:cubicBezTo>
                <a:cubicBezTo>
                  <a:pt x="845" y="346"/>
                  <a:pt x="845" y="347"/>
                  <a:pt x="844" y="348"/>
                </a:cubicBezTo>
                <a:cubicBezTo>
                  <a:pt x="844" y="349"/>
                  <a:pt x="844" y="348"/>
                  <a:pt x="844" y="348"/>
                </a:cubicBezTo>
                <a:cubicBezTo>
                  <a:pt x="843" y="348"/>
                  <a:pt x="843" y="348"/>
                  <a:pt x="844" y="348"/>
                </a:cubicBezTo>
                <a:cubicBezTo>
                  <a:pt x="843" y="348"/>
                  <a:pt x="842" y="349"/>
                  <a:pt x="842" y="349"/>
                </a:cubicBezTo>
                <a:cubicBezTo>
                  <a:pt x="841" y="350"/>
                  <a:pt x="841" y="351"/>
                  <a:pt x="841" y="352"/>
                </a:cubicBezTo>
                <a:cubicBezTo>
                  <a:pt x="841" y="352"/>
                  <a:pt x="841" y="351"/>
                  <a:pt x="841" y="351"/>
                </a:cubicBezTo>
                <a:cubicBezTo>
                  <a:pt x="840" y="351"/>
                  <a:pt x="840" y="352"/>
                  <a:pt x="840" y="352"/>
                </a:cubicBezTo>
                <a:cubicBezTo>
                  <a:pt x="840" y="351"/>
                  <a:pt x="840" y="351"/>
                  <a:pt x="840" y="350"/>
                </a:cubicBezTo>
                <a:cubicBezTo>
                  <a:pt x="840" y="350"/>
                  <a:pt x="841" y="349"/>
                  <a:pt x="841" y="349"/>
                </a:cubicBezTo>
                <a:cubicBezTo>
                  <a:pt x="841" y="349"/>
                  <a:pt x="841" y="349"/>
                  <a:pt x="841" y="348"/>
                </a:cubicBezTo>
                <a:cubicBezTo>
                  <a:pt x="841" y="349"/>
                  <a:pt x="842" y="348"/>
                  <a:pt x="842" y="347"/>
                </a:cubicBezTo>
                <a:cubicBezTo>
                  <a:pt x="842" y="348"/>
                  <a:pt x="842" y="347"/>
                  <a:pt x="842" y="347"/>
                </a:cubicBezTo>
                <a:cubicBezTo>
                  <a:pt x="842" y="347"/>
                  <a:pt x="842" y="347"/>
                  <a:pt x="842" y="347"/>
                </a:cubicBezTo>
                <a:cubicBezTo>
                  <a:pt x="843" y="347"/>
                  <a:pt x="843" y="346"/>
                  <a:pt x="844" y="346"/>
                </a:cubicBezTo>
                <a:cubicBezTo>
                  <a:pt x="843" y="346"/>
                  <a:pt x="844" y="345"/>
                  <a:pt x="844" y="345"/>
                </a:cubicBezTo>
                <a:cubicBezTo>
                  <a:pt x="844" y="345"/>
                  <a:pt x="844" y="345"/>
                  <a:pt x="845" y="345"/>
                </a:cubicBezTo>
                <a:cubicBezTo>
                  <a:pt x="845" y="345"/>
                  <a:pt x="846" y="343"/>
                  <a:pt x="845" y="344"/>
                </a:cubicBezTo>
                <a:cubicBezTo>
                  <a:pt x="845" y="344"/>
                  <a:pt x="846" y="343"/>
                  <a:pt x="846" y="343"/>
                </a:cubicBezTo>
                <a:cubicBezTo>
                  <a:pt x="846" y="343"/>
                  <a:pt x="844" y="343"/>
                  <a:pt x="844" y="343"/>
                </a:cubicBezTo>
                <a:cubicBezTo>
                  <a:pt x="844" y="343"/>
                  <a:pt x="844" y="344"/>
                  <a:pt x="843" y="343"/>
                </a:cubicBezTo>
                <a:cubicBezTo>
                  <a:pt x="843" y="343"/>
                  <a:pt x="844" y="343"/>
                  <a:pt x="844" y="343"/>
                </a:cubicBezTo>
                <a:cubicBezTo>
                  <a:pt x="843" y="343"/>
                  <a:pt x="844" y="342"/>
                  <a:pt x="844" y="342"/>
                </a:cubicBezTo>
                <a:cubicBezTo>
                  <a:pt x="845" y="342"/>
                  <a:pt x="845" y="342"/>
                  <a:pt x="845" y="342"/>
                </a:cubicBezTo>
                <a:cubicBezTo>
                  <a:pt x="845" y="342"/>
                  <a:pt x="845" y="342"/>
                  <a:pt x="844" y="342"/>
                </a:cubicBezTo>
                <a:cubicBezTo>
                  <a:pt x="844" y="342"/>
                  <a:pt x="845" y="341"/>
                  <a:pt x="845" y="341"/>
                </a:cubicBezTo>
                <a:cubicBezTo>
                  <a:pt x="845" y="341"/>
                  <a:pt x="844" y="341"/>
                  <a:pt x="844" y="341"/>
                </a:cubicBezTo>
                <a:cubicBezTo>
                  <a:pt x="844" y="340"/>
                  <a:pt x="845" y="340"/>
                  <a:pt x="845" y="340"/>
                </a:cubicBezTo>
                <a:cubicBezTo>
                  <a:pt x="844" y="340"/>
                  <a:pt x="845" y="339"/>
                  <a:pt x="845" y="338"/>
                </a:cubicBezTo>
                <a:cubicBezTo>
                  <a:pt x="845" y="338"/>
                  <a:pt x="844" y="340"/>
                  <a:pt x="844" y="340"/>
                </a:cubicBezTo>
                <a:cubicBezTo>
                  <a:pt x="844" y="340"/>
                  <a:pt x="844" y="339"/>
                  <a:pt x="844" y="339"/>
                </a:cubicBezTo>
                <a:cubicBezTo>
                  <a:pt x="844" y="339"/>
                  <a:pt x="845" y="339"/>
                  <a:pt x="844" y="339"/>
                </a:cubicBezTo>
                <a:cubicBezTo>
                  <a:pt x="843" y="338"/>
                  <a:pt x="844" y="340"/>
                  <a:pt x="843" y="340"/>
                </a:cubicBezTo>
                <a:cubicBezTo>
                  <a:pt x="843" y="340"/>
                  <a:pt x="842" y="338"/>
                  <a:pt x="842" y="338"/>
                </a:cubicBezTo>
                <a:cubicBezTo>
                  <a:pt x="842" y="339"/>
                  <a:pt x="842" y="339"/>
                  <a:pt x="842" y="339"/>
                </a:cubicBezTo>
                <a:cubicBezTo>
                  <a:pt x="842" y="339"/>
                  <a:pt x="841" y="338"/>
                  <a:pt x="841" y="337"/>
                </a:cubicBezTo>
                <a:cubicBezTo>
                  <a:pt x="842" y="337"/>
                  <a:pt x="842" y="338"/>
                  <a:pt x="842" y="338"/>
                </a:cubicBezTo>
                <a:cubicBezTo>
                  <a:pt x="842" y="338"/>
                  <a:pt x="843" y="337"/>
                  <a:pt x="843" y="336"/>
                </a:cubicBezTo>
                <a:cubicBezTo>
                  <a:pt x="843" y="336"/>
                  <a:pt x="843" y="337"/>
                  <a:pt x="842" y="337"/>
                </a:cubicBezTo>
                <a:cubicBezTo>
                  <a:pt x="842" y="337"/>
                  <a:pt x="842" y="336"/>
                  <a:pt x="842" y="336"/>
                </a:cubicBezTo>
                <a:cubicBezTo>
                  <a:pt x="843" y="336"/>
                  <a:pt x="843" y="336"/>
                  <a:pt x="843" y="336"/>
                </a:cubicBezTo>
                <a:cubicBezTo>
                  <a:pt x="843" y="336"/>
                  <a:pt x="844" y="336"/>
                  <a:pt x="844" y="336"/>
                </a:cubicBezTo>
                <a:cubicBezTo>
                  <a:pt x="845" y="336"/>
                  <a:pt x="845" y="336"/>
                  <a:pt x="845" y="336"/>
                </a:cubicBezTo>
                <a:cubicBezTo>
                  <a:pt x="845" y="336"/>
                  <a:pt x="844" y="337"/>
                  <a:pt x="844" y="336"/>
                </a:cubicBezTo>
                <a:cubicBezTo>
                  <a:pt x="844" y="336"/>
                  <a:pt x="844" y="336"/>
                  <a:pt x="844" y="336"/>
                </a:cubicBezTo>
                <a:cubicBezTo>
                  <a:pt x="844" y="335"/>
                  <a:pt x="844" y="335"/>
                  <a:pt x="844" y="335"/>
                </a:cubicBezTo>
                <a:cubicBezTo>
                  <a:pt x="844" y="335"/>
                  <a:pt x="843" y="335"/>
                  <a:pt x="844" y="335"/>
                </a:cubicBezTo>
                <a:cubicBezTo>
                  <a:pt x="844" y="335"/>
                  <a:pt x="844" y="335"/>
                  <a:pt x="843" y="335"/>
                </a:cubicBezTo>
                <a:cubicBezTo>
                  <a:pt x="843" y="335"/>
                  <a:pt x="844" y="334"/>
                  <a:pt x="843" y="334"/>
                </a:cubicBezTo>
                <a:cubicBezTo>
                  <a:pt x="843" y="335"/>
                  <a:pt x="843" y="335"/>
                  <a:pt x="843" y="334"/>
                </a:cubicBezTo>
                <a:cubicBezTo>
                  <a:pt x="843" y="334"/>
                  <a:pt x="842" y="335"/>
                  <a:pt x="842" y="335"/>
                </a:cubicBezTo>
                <a:cubicBezTo>
                  <a:pt x="842" y="335"/>
                  <a:pt x="843" y="333"/>
                  <a:pt x="843" y="334"/>
                </a:cubicBezTo>
                <a:cubicBezTo>
                  <a:pt x="844" y="334"/>
                  <a:pt x="844" y="335"/>
                  <a:pt x="845" y="334"/>
                </a:cubicBezTo>
                <a:cubicBezTo>
                  <a:pt x="844" y="334"/>
                  <a:pt x="844" y="334"/>
                  <a:pt x="844" y="334"/>
                </a:cubicBezTo>
                <a:cubicBezTo>
                  <a:pt x="844" y="333"/>
                  <a:pt x="845" y="333"/>
                  <a:pt x="845" y="333"/>
                </a:cubicBezTo>
                <a:cubicBezTo>
                  <a:pt x="845" y="333"/>
                  <a:pt x="844" y="333"/>
                  <a:pt x="845" y="333"/>
                </a:cubicBezTo>
                <a:cubicBezTo>
                  <a:pt x="845" y="333"/>
                  <a:pt x="844" y="333"/>
                  <a:pt x="844" y="333"/>
                </a:cubicBezTo>
                <a:cubicBezTo>
                  <a:pt x="844" y="333"/>
                  <a:pt x="844" y="332"/>
                  <a:pt x="844" y="332"/>
                </a:cubicBezTo>
                <a:cubicBezTo>
                  <a:pt x="844" y="332"/>
                  <a:pt x="843" y="333"/>
                  <a:pt x="842" y="333"/>
                </a:cubicBezTo>
                <a:cubicBezTo>
                  <a:pt x="843" y="333"/>
                  <a:pt x="843" y="332"/>
                  <a:pt x="844" y="332"/>
                </a:cubicBezTo>
                <a:cubicBezTo>
                  <a:pt x="844" y="331"/>
                  <a:pt x="844" y="332"/>
                  <a:pt x="844" y="332"/>
                </a:cubicBezTo>
                <a:cubicBezTo>
                  <a:pt x="845" y="332"/>
                  <a:pt x="845" y="332"/>
                  <a:pt x="845" y="331"/>
                </a:cubicBezTo>
                <a:cubicBezTo>
                  <a:pt x="845" y="331"/>
                  <a:pt x="846" y="331"/>
                  <a:pt x="846" y="330"/>
                </a:cubicBezTo>
                <a:cubicBezTo>
                  <a:pt x="846" y="330"/>
                  <a:pt x="845" y="331"/>
                  <a:pt x="845" y="330"/>
                </a:cubicBezTo>
                <a:cubicBezTo>
                  <a:pt x="845" y="330"/>
                  <a:pt x="844" y="331"/>
                  <a:pt x="844" y="331"/>
                </a:cubicBezTo>
                <a:cubicBezTo>
                  <a:pt x="844" y="331"/>
                  <a:pt x="845" y="330"/>
                  <a:pt x="845" y="330"/>
                </a:cubicBezTo>
                <a:cubicBezTo>
                  <a:pt x="844" y="330"/>
                  <a:pt x="845" y="329"/>
                  <a:pt x="846" y="329"/>
                </a:cubicBezTo>
                <a:cubicBezTo>
                  <a:pt x="846" y="328"/>
                  <a:pt x="847" y="328"/>
                  <a:pt x="848" y="328"/>
                </a:cubicBezTo>
                <a:cubicBezTo>
                  <a:pt x="848" y="328"/>
                  <a:pt x="849" y="328"/>
                  <a:pt x="849" y="328"/>
                </a:cubicBezTo>
                <a:cubicBezTo>
                  <a:pt x="849" y="328"/>
                  <a:pt x="847" y="328"/>
                  <a:pt x="848" y="327"/>
                </a:cubicBezTo>
                <a:cubicBezTo>
                  <a:pt x="848" y="327"/>
                  <a:pt x="848" y="327"/>
                  <a:pt x="849" y="327"/>
                </a:cubicBezTo>
                <a:cubicBezTo>
                  <a:pt x="849" y="327"/>
                  <a:pt x="849" y="327"/>
                  <a:pt x="849" y="327"/>
                </a:cubicBezTo>
                <a:cubicBezTo>
                  <a:pt x="849" y="327"/>
                  <a:pt x="849" y="326"/>
                  <a:pt x="849" y="326"/>
                </a:cubicBezTo>
                <a:cubicBezTo>
                  <a:pt x="849" y="326"/>
                  <a:pt x="850" y="326"/>
                  <a:pt x="850" y="325"/>
                </a:cubicBezTo>
                <a:cubicBezTo>
                  <a:pt x="850" y="326"/>
                  <a:pt x="848" y="327"/>
                  <a:pt x="848" y="327"/>
                </a:cubicBezTo>
                <a:cubicBezTo>
                  <a:pt x="848" y="327"/>
                  <a:pt x="849" y="325"/>
                  <a:pt x="849" y="325"/>
                </a:cubicBezTo>
                <a:cubicBezTo>
                  <a:pt x="849" y="325"/>
                  <a:pt x="847" y="326"/>
                  <a:pt x="847" y="326"/>
                </a:cubicBezTo>
                <a:cubicBezTo>
                  <a:pt x="847" y="327"/>
                  <a:pt x="848" y="327"/>
                  <a:pt x="847" y="327"/>
                </a:cubicBezTo>
                <a:cubicBezTo>
                  <a:pt x="847" y="327"/>
                  <a:pt x="846" y="328"/>
                  <a:pt x="846" y="327"/>
                </a:cubicBezTo>
                <a:cubicBezTo>
                  <a:pt x="846" y="327"/>
                  <a:pt x="846" y="327"/>
                  <a:pt x="846" y="327"/>
                </a:cubicBezTo>
                <a:cubicBezTo>
                  <a:pt x="846" y="326"/>
                  <a:pt x="845" y="328"/>
                  <a:pt x="845" y="328"/>
                </a:cubicBezTo>
                <a:cubicBezTo>
                  <a:pt x="845" y="328"/>
                  <a:pt x="845" y="328"/>
                  <a:pt x="845" y="327"/>
                </a:cubicBezTo>
                <a:cubicBezTo>
                  <a:pt x="845" y="327"/>
                  <a:pt x="844" y="327"/>
                  <a:pt x="844" y="328"/>
                </a:cubicBezTo>
                <a:cubicBezTo>
                  <a:pt x="844" y="328"/>
                  <a:pt x="845" y="328"/>
                  <a:pt x="844" y="328"/>
                </a:cubicBezTo>
                <a:cubicBezTo>
                  <a:pt x="844" y="328"/>
                  <a:pt x="844" y="328"/>
                  <a:pt x="844" y="329"/>
                </a:cubicBezTo>
                <a:cubicBezTo>
                  <a:pt x="844" y="329"/>
                  <a:pt x="843" y="329"/>
                  <a:pt x="843" y="328"/>
                </a:cubicBezTo>
                <a:cubicBezTo>
                  <a:pt x="843" y="329"/>
                  <a:pt x="843" y="329"/>
                  <a:pt x="844" y="329"/>
                </a:cubicBezTo>
                <a:cubicBezTo>
                  <a:pt x="843" y="330"/>
                  <a:pt x="843" y="329"/>
                  <a:pt x="843" y="329"/>
                </a:cubicBezTo>
                <a:cubicBezTo>
                  <a:pt x="842" y="329"/>
                  <a:pt x="842" y="329"/>
                  <a:pt x="842" y="329"/>
                </a:cubicBezTo>
                <a:cubicBezTo>
                  <a:pt x="842" y="329"/>
                  <a:pt x="842" y="329"/>
                  <a:pt x="842" y="330"/>
                </a:cubicBezTo>
                <a:cubicBezTo>
                  <a:pt x="842" y="330"/>
                  <a:pt x="843" y="330"/>
                  <a:pt x="843" y="330"/>
                </a:cubicBezTo>
                <a:cubicBezTo>
                  <a:pt x="843" y="331"/>
                  <a:pt x="842" y="331"/>
                  <a:pt x="842" y="331"/>
                </a:cubicBezTo>
                <a:cubicBezTo>
                  <a:pt x="842" y="331"/>
                  <a:pt x="843" y="332"/>
                  <a:pt x="842" y="332"/>
                </a:cubicBezTo>
                <a:cubicBezTo>
                  <a:pt x="842" y="332"/>
                  <a:pt x="841" y="331"/>
                  <a:pt x="841" y="331"/>
                </a:cubicBezTo>
                <a:cubicBezTo>
                  <a:pt x="841" y="331"/>
                  <a:pt x="842" y="333"/>
                  <a:pt x="842" y="332"/>
                </a:cubicBezTo>
                <a:cubicBezTo>
                  <a:pt x="841" y="332"/>
                  <a:pt x="841" y="332"/>
                  <a:pt x="841" y="333"/>
                </a:cubicBezTo>
                <a:cubicBezTo>
                  <a:pt x="841" y="333"/>
                  <a:pt x="841" y="333"/>
                  <a:pt x="841" y="334"/>
                </a:cubicBezTo>
                <a:cubicBezTo>
                  <a:pt x="841" y="334"/>
                  <a:pt x="841" y="333"/>
                  <a:pt x="841" y="333"/>
                </a:cubicBezTo>
                <a:cubicBezTo>
                  <a:pt x="841" y="333"/>
                  <a:pt x="841" y="334"/>
                  <a:pt x="841" y="334"/>
                </a:cubicBezTo>
                <a:cubicBezTo>
                  <a:pt x="840" y="335"/>
                  <a:pt x="841" y="335"/>
                  <a:pt x="840" y="336"/>
                </a:cubicBezTo>
                <a:cubicBezTo>
                  <a:pt x="840" y="337"/>
                  <a:pt x="840" y="337"/>
                  <a:pt x="840" y="338"/>
                </a:cubicBezTo>
                <a:cubicBezTo>
                  <a:pt x="841" y="338"/>
                  <a:pt x="841" y="339"/>
                  <a:pt x="840" y="339"/>
                </a:cubicBezTo>
                <a:cubicBezTo>
                  <a:pt x="840" y="339"/>
                  <a:pt x="840" y="339"/>
                  <a:pt x="840" y="339"/>
                </a:cubicBezTo>
                <a:cubicBezTo>
                  <a:pt x="839" y="338"/>
                  <a:pt x="839" y="338"/>
                  <a:pt x="839" y="337"/>
                </a:cubicBezTo>
                <a:cubicBezTo>
                  <a:pt x="839" y="337"/>
                  <a:pt x="839" y="336"/>
                  <a:pt x="839" y="335"/>
                </a:cubicBezTo>
                <a:cubicBezTo>
                  <a:pt x="838" y="336"/>
                  <a:pt x="838" y="337"/>
                  <a:pt x="839" y="338"/>
                </a:cubicBezTo>
                <a:cubicBezTo>
                  <a:pt x="839" y="338"/>
                  <a:pt x="839" y="339"/>
                  <a:pt x="840" y="339"/>
                </a:cubicBezTo>
                <a:cubicBezTo>
                  <a:pt x="841" y="339"/>
                  <a:pt x="840" y="340"/>
                  <a:pt x="840" y="340"/>
                </a:cubicBezTo>
                <a:cubicBezTo>
                  <a:pt x="840" y="341"/>
                  <a:pt x="840" y="341"/>
                  <a:pt x="840" y="341"/>
                </a:cubicBezTo>
                <a:cubicBezTo>
                  <a:pt x="840" y="341"/>
                  <a:pt x="840" y="342"/>
                  <a:pt x="840" y="342"/>
                </a:cubicBezTo>
                <a:cubicBezTo>
                  <a:pt x="840" y="342"/>
                  <a:pt x="839" y="342"/>
                  <a:pt x="839" y="341"/>
                </a:cubicBezTo>
                <a:cubicBezTo>
                  <a:pt x="839" y="341"/>
                  <a:pt x="839" y="340"/>
                  <a:pt x="839" y="341"/>
                </a:cubicBezTo>
                <a:cubicBezTo>
                  <a:pt x="839" y="340"/>
                  <a:pt x="839" y="341"/>
                  <a:pt x="839" y="341"/>
                </a:cubicBezTo>
                <a:cubicBezTo>
                  <a:pt x="839" y="341"/>
                  <a:pt x="838" y="341"/>
                  <a:pt x="838" y="341"/>
                </a:cubicBezTo>
                <a:cubicBezTo>
                  <a:pt x="839" y="341"/>
                  <a:pt x="838" y="340"/>
                  <a:pt x="838" y="340"/>
                </a:cubicBezTo>
                <a:cubicBezTo>
                  <a:pt x="837" y="340"/>
                  <a:pt x="837" y="340"/>
                  <a:pt x="837" y="340"/>
                </a:cubicBezTo>
                <a:cubicBezTo>
                  <a:pt x="836" y="340"/>
                  <a:pt x="837" y="339"/>
                  <a:pt x="836" y="338"/>
                </a:cubicBezTo>
                <a:cubicBezTo>
                  <a:pt x="836" y="339"/>
                  <a:pt x="836" y="340"/>
                  <a:pt x="836" y="340"/>
                </a:cubicBezTo>
                <a:cubicBezTo>
                  <a:pt x="835" y="339"/>
                  <a:pt x="835" y="338"/>
                  <a:pt x="835" y="337"/>
                </a:cubicBezTo>
                <a:cubicBezTo>
                  <a:pt x="835" y="338"/>
                  <a:pt x="834" y="338"/>
                  <a:pt x="834" y="338"/>
                </a:cubicBezTo>
                <a:cubicBezTo>
                  <a:pt x="834" y="338"/>
                  <a:pt x="834" y="338"/>
                  <a:pt x="834" y="338"/>
                </a:cubicBezTo>
                <a:cubicBezTo>
                  <a:pt x="834" y="338"/>
                  <a:pt x="833" y="340"/>
                  <a:pt x="833" y="338"/>
                </a:cubicBezTo>
                <a:cubicBezTo>
                  <a:pt x="833" y="338"/>
                  <a:pt x="833" y="337"/>
                  <a:pt x="834" y="336"/>
                </a:cubicBezTo>
                <a:cubicBezTo>
                  <a:pt x="834" y="336"/>
                  <a:pt x="836" y="335"/>
                  <a:pt x="836" y="335"/>
                </a:cubicBezTo>
                <a:cubicBezTo>
                  <a:pt x="836" y="335"/>
                  <a:pt x="837" y="333"/>
                  <a:pt x="836" y="333"/>
                </a:cubicBezTo>
                <a:cubicBezTo>
                  <a:pt x="836" y="333"/>
                  <a:pt x="836" y="334"/>
                  <a:pt x="836" y="335"/>
                </a:cubicBezTo>
                <a:cubicBezTo>
                  <a:pt x="836" y="335"/>
                  <a:pt x="835" y="335"/>
                  <a:pt x="835" y="335"/>
                </a:cubicBezTo>
                <a:cubicBezTo>
                  <a:pt x="835" y="335"/>
                  <a:pt x="835" y="335"/>
                  <a:pt x="835" y="336"/>
                </a:cubicBezTo>
                <a:cubicBezTo>
                  <a:pt x="834" y="336"/>
                  <a:pt x="834" y="336"/>
                  <a:pt x="834" y="336"/>
                </a:cubicBezTo>
                <a:cubicBezTo>
                  <a:pt x="833" y="336"/>
                  <a:pt x="832" y="338"/>
                  <a:pt x="832" y="338"/>
                </a:cubicBezTo>
                <a:cubicBezTo>
                  <a:pt x="832" y="338"/>
                  <a:pt x="832" y="338"/>
                  <a:pt x="832" y="339"/>
                </a:cubicBezTo>
                <a:cubicBezTo>
                  <a:pt x="832" y="339"/>
                  <a:pt x="832" y="339"/>
                  <a:pt x="832" y="339"/>
                </a:cubicBezTo>
                <a:cubicBezTo>
                  <a:pt x="832" y="339"/>
                  <a:pt x="833" y="339"/>
                  <a:pt x="833" y="339"/>
                </a:cubicBezTo>
                <a:cubicBezTo>
                  <a:pt x="834" y="339"/>
                  <a:pt x="834" y="339"/>
                  <a:pt x="834" y="339"/>
                </a:cubicBezTo>
                <a:cubicBezTo>
                  <a:pt x="835" y="338"/>
                  <a:pt x="835" y="339"/>
                  <a:pt x="835" y="339"/>
                </a:cubicBezTo>
                <a:cubicBezTo>
                  <a:pt x="834" y="339"/>
                  <a:pt x="834" y="339"/>
                  <a:pt x="835" y="340"/>
                </a:cubicBezTo>
                <a:cubicBezTo>
                  <a:pt x="835" y="340"/>
                  <a:pt x="835" y="340"/>
                  <a:pt x="835" y="341"/>
                </a:cubicBezTo>
                <a:cubicBezTo>
                  <a:pt x="836" y="341"/>
                  <a:pt x="836" y="341"/>
                  <a:pt x="836" y="341"/>
                </a:cubicBezTo>
                <a:cubicBezTo>
                  <a:pt x="836" y="341"/>
                  <a:pt x="837" y="341"/>
                  <a:pt x="837" y="341"/>
                </a:cubicBezTo>
                <a:cubicBezTo>
                  <a:pt x="837" y="341"/>
                  <a:pt x="838" y="341"/>
                  <a:pt x="838" y="341"/>
                </a:cubicBezTo>
                <a:cubicBezTo>
                  <a:pt x="838" y="342"/>
                  <a:pt x="838" y="342"/>
                  <a:pt x="838" y="342"/>
                </a:cubicBezTo>
                <a:cubicBezTo>
                  <a:pt x="838" y="342"/>
                  <a:pt x="838" y="342"/>
                  <a:pt x="838" y="342"/>
                </a:cubicBezTo>
                <a:cubicBezTo>
                  <a:pt x="838" y="343"/>
                  <a:pt x="839" y="342"/>
                  <a:pt x="838" y="343"/>
                </a:cubicBezTo>
                <a:cubicBezTo>
                  <a:pt x="839" y="343"/>
                  <a:pt x="840" y="343"/>
                  <a:pt x="840" y="344"/>
                </a:cubicBezTo>
                <a:cubicBezTo>
                  <a:pt x="840" y="345"/>
                  <a:pt x="839" y="344"/>
                  <a:pt x="839" y="344"/>
                </a:cubicBezTo>
                <a:cubicBezTo>
                  <a:pt x="839" y="345"/>
                  <a:pt x="839" y="345"/>
                  <a:pt x="839" y="345"/>
                </a:cubicBezTo>
                <a:cubicBezTo>
                  <a:pt x="839" y="346"/>
                  <a:pt x="839" y="346"/>
                  <a:pt x="839" y="346"/>
                </a:cubicBezTo>
                <a:cubicBezTo>
                  <a:pt x="839" y="346"/>
                  <a:pt x="838" y="346"/>
                  <a:pt x="838" y="347"/>
                </a:cubicBezTo>
                <a:cubicBezTo>
                  <a:pt x="838" y="347"/>
                  <a:pt x="838" y="346"/>
                  <a:pt x="838" y="346"/>
                </a:cubicBezTo>
                <a:cubicBezTo>
                  <a:pt x="837" y="347"/>
                  <a:pt x="837" y="346"/>
                  <a:pt x="837" y="346"/>
                </a:cubicBezTo>
                <a:cubicBezTo>
                  <a:pt x="837" y="346"/>
                  <a:pt x="837" y="346"/>
                  <a:pt x="837" y="346"/>
                </a:cubicBezTo>
                <a:cubicBezTo>
                  <a:pt x="837" y="346"/>
                  <a:pt x="837" y="346"/>
                  <a:pt x="837" y="346"/>
                </a:cubicBezTo>
                <a:cubicBezTo>
                  <a:pt x="837" y="345"/>
                  <a:pt x="837" y="345"/>
                  <a:pt x="836" y="345"/>
                </a:cubicBezTo>
                <a:cubicBezTo>
                  <a:pt x="836" y="345"/>
                  <a:pt x="836" y="345"/>
                  <a:pt x="836" y="345"/>
                </a:cubicBezTo>
                <a:cubicBezTo>
                  <a:pt x="835" y="345"/>
                  <a:pt x="835" y="344"/>
                  <a:pt x="835" y="344"/>
                </a:cubicBezTo>
                <a:cubicBezTo>
                  <a:pt x="835" y="343"/>
                  <a:pt x="835" y="343"/>
                  <a:pt x="835" y="343"/>
                </a:cubicBezTo>
                <a:cubicBezTo>
                  <a:pt x="835" y="342"/>
                  <a:pt x="835" y="342"/>
                  <a:pt x="834" y="342"/>
                </a:cubicBezTo>
                <a:cubicBezTo>
                  <a:pt x="834" y="341"/>
                  <a:pt x="834" y="342"/>
                  <a:pt x="834" y="341"/>
                </a:cubicBezTo>
                <a:cubicBezTo>
                  <a:pt x="834" y="341"/>
                  <a:pt x="834" y="341"/>
                  <a:pt x="833" y="341"/>
                </a:cubicBezTo>
                <a:cubicBezTo>
                  <a:pt x="833" y="341"/>
                  <a:pt x="833" y="341"/>
                  <a:pt x="833" y="341"/>
                </a:cubicBezTo>
                <a:cubicBezTo>
                  <a:pt x="833" y="341"/>
                  <a:pt x="833" y="341"/>
                  <a:pt x="833" y="341"/>
                </a:cubicBezTo>
                <a:cubicBezTo>
                  <a:pt x="834" y="341"/>
                  <a:pt x="833" y="342"/>
                  <a:pt x="834" y="342"/>
                </a:cubicBezTo>
                <a:cubicBezTo>
                  <a:pt x="834" y="342"/>
                  <a:pt x="834" y="342"/>
                  <a:pt x="834" y="342"/>
                </a:cubicBezTo>
                <a:cubicBezTo>
                  <a:pt x="834" y="342"/>
                  <a:pt x="834" y="343"/>
                  <a:pt x="834" y="343"/>
                </a:cubicBezTo>
                <a:cubicBezTo>
                  <a:pt x="835" y="343"/>
                  <a:pt x="835" y="344"/>
                  <a:pt x="835" y="344"/>
                </a:cubicBezTo>
                <a:cubicBezTo>
                  <a:pt x="835" y="344"/>
                  <a:pt x="835" y="345"/>
                  <a:pt x="836" y="345"/>
                </a:cubicBezTo>
                <a:cubicBezTo>
                  <a:pt x="836" y="345"/>
                  <a:pt x="836" y="346"/>
                  <a:pt x="836" y="346"/>
                </a:cubicBezTo>
                <a:cubicBezTo>
                  <a:pt x="836" y="347"/>
                  <a:pt x="837" y="347"/>
                  <a:pt x="837" y="347"/>
                </a:cubicBezTo>
                <a:cubicBezTo>
                  <a:pt x="838" y="347"/>
                  <a:pt x="837" y="347"/>
                  <a:pt x="838" y="347"/>
                </a:cubicBezTo>
                <a:cubicBezTo>
                  <a:pt x="838" y="347"/>
                  <a:pt x="838" y="347"/>
                  <a:pt x="838" y="347"/>
                </a:cubicBezTo>
                <a:cubicBezTo>
                  <a:pt x="838" y="348"/>
                  <a:pt x="837" y="348"/>
                  <a:pt x="837" y="348"/>
                </a:cubicBezTo>
                <a:cubicBezTo>
                  <a:pt x="837" y="348"/>
                  <a:pt x="838" y="348"/>
                  <a:pt x="838" y="348"/>
                </a:cubicBezTo>
                <a:cubicBezTo>
                  <a:pt x="838" y="348"/>
                  <a:pt x="838" y="348"/>
                  <a:pt x="838" y="348"/>
                </a:cubicBezTo>
                <a:cubicBezTo>
                  <a:pt x="839" y="348"/>
                  <a:pt x="838" y="349"/>
                  <a:pt x="838" y="349"/>
                </a:cubicBezTo>
                <a:cubicBezTo>
                  <a:pt x="839" y="349"/>
                  <a:pt x="838" y="350"/>
                  <a:pt x="838" y="350"/>
                </a:cubicBezTo>
                <a:cubicBezTo>
                  <a:pt x="838" y="350"/>
                  <a:pt x="838" y="350"/>
                  <a:pt x="837" y="349"/>
                </a:cubicBezTo>
                <a:cubicBezTo>
                  <a:pt x="837" y="349"/>
                  <a:pt x="837" y="350"/>
                  <a:pt x="837" y="349"/>
                </a:cubicBezTo>
                <a:cubicBezTo>
                  <a:pt x="837" y="349"/>
                  <a:pt x="837" y="349"/>
                  <a:pt x="837" y="349"/>
                </a:cubicBezTo>
                <a:cubicBezTo>
                  <a:pt x="837" y="349"/>
                  <a:pt x="837" y="349"/>
                  <a:pt x="837" y="349"/>
                </a:cubicBezTo>
                <a:cubicBezTo>
                  <a:pt x="836" y="349"/>
                  <a:pt x="837" y="350"/>
                  <a:pt x="836" y="350"/>
                </a:cubicBezTo>
                <a:cubicBezTo>
                  <a:pt x="837" y="350"/>
                  <a:pt x="836" y="351"/>
                  <a:pt x="836" y="351"/>
                </a:cubicBezTo>
                <a:cubicBezTo>
                  <a:pt x="835" y="351"/>
                  <a:pt x="835" y="350"/>
                  <a:pt x="835" y="349"/>
                </a:cubicBezTo>
                <a:cubicBezTo>
                  <a:pt x="834" y="349"/>
                  <a:pt x="834" y="348"/>
                  <a:pt x="834" y="348"/>
                </a:cubicBezTo>
                <a:cubicBezTo>
                  <a:pt x="833" y="348"/>
                  <a:pt x="834" y="349"/>
                  <a:pt x="834" y="349"/>
                </a:cubicBezTo>
                <a:cubicBezTo>
                  <a:pt x="834" y="350"/>
                  <a:pt x="835" y="350"/>
                  <a:pt x="835" y="351"/>
                </a:cubicBezTo>
                <a:cubicBezTo>
                  <a:pt x="835" y="351"/>
                  <a:pt x="836" y="351"/>
                  <a:pt x="836" y="351"/>
                </a:cubicBezTo>
                <a:cubicBezTo>
                  <a:pt x="836" y="351"/>
                  <a:pt x="836" y="351"/>
                  <a:pt x="836" y="351"/>
                </a:cubicBezTo>
                <a:cubicBezTo>
                  <a:pt x="837" y="351"/>
                  <a:pt x="836" y="352"/>
                  <a:pt x="836" y="352"/>
                </a:cubicBezTo>
                <a:cubicBezTo>
                  <a:pt x="837" y="352"/>
                  <a:pt x="836" y="353"/>
                  <a:pt x="836" y="353"/>
                </a:cubicBezTo>
                <a:cubicBezTo>
                  <a:pt x="837" y="353"/>
                  <a:pt x="837" y="353"/>
                  <a:pt x="836" y="354"/>
                </a:cubicBezTo>
                <a:cubicBezTo>
                  <a:pt x="836" y="354"/>
                  <a:pt x="835" y="354"/>
                  <a:pt x="835" y="354"/>
                </a:cubicBezTo>
                <a:cubicBezTo>
                  <a:pt x="835" y="354"/>
                  <a:pt x="835" y="353"/>
                  <a:pt x="835" y="353"/>
                </a:cubicBezTo>
                <a:cubicBezTo>
                  <a:pt x="834" y="353"/>
                  <a:pt x="834" y="353"/>
                  <a:pt x="834" y="353"/>
                </a:cubicBezTo>
                <a:cubicBezTo>
                  <a:pt x="834" y="352"/>
                  <a:pt x="834" y="352"/>
                  <a:pt x="834" y="352"/>
                </a:cubicBezTo>
                <a:cubicBezTo>
                  <a:pt x="834" y="351"/>
                  <a:pt x="834" y="351"/>
                  <a:pt x="833" y="351"/>
                </a:cubicBezTo>
                <a:cubicBezTo>
                  <a:pt x="833" y="351"/>
                  <a:pt x="833" y="351"/>
                  <a:pt x="832" y="351"/>
                </a:cubicBezTo>
                <a:cubicBezTo>
                  <a:pt x="832" y="351"/>
                  <a:pt x="832" y="351"/>
                  <a:pt x="832" y="350"/>
                </a:cubicBezTo>
                <a:cubicBezTo>
                  <a:pt x="832" y="351"/>
                  <a:pt x="832" y="351"/>
                  <a:pt x="831" y="350"/>
                </a:cubicBezTo>
                <a:cubicBezTo>
                  <a:pt x="831" y="350"/>
                  <a:pt x="831" y="350"/>
                  <a:pt x="830" y="351"/>
                </a:cubicBezTo>
                <a:cubicBezTo>
                  <a:pt x="831" y="350"/>
                  <a:pt x="830" y="350"/>
                  <a:pt x="830" y="350"/>
                </a:cubicBezTo>
                <a:cubicBezTo>
                  <a:pt x="829" y="350"/>
                  <a:pt x="829" y="350"/>
                  <a:pt x="829" y="350"/>
                </a:cubicBezTo>
                <a:cubicBezTo>
                  <a:pt x="828" y="350"/>
                  <a:pt x="830" y="351"/>
                  <a:pt x="830" y="351"/>
                </a:cubicBezTo>
                <a:cubicBezTo>
                  <a:pt x="830" y="351"/>
                  <a:pt x="830" y="351"/>
                  <a:pt x="830" y="351"/>
                </a:cubicBezTo>
                <a:cubicBezTo>
                  <a:pt x="831" y="351"/>
                  <a:pt x="831" y="350"/>
                  <a:pt x="831" y="351"/>
                </a:cubicBezTo>
                <a:cubicBezTo>
                  <a:pt x="831" y="351"/>
                  <a:pt x="831" y="351"/>
                  <a:pt x="832" y="351"/>
                </a:cubicBezTo>
                <a:cubicBezTo>
                  <a:pt x="832" y="351"/>
                  <a:pt x="832" y="351"/>
                  <a:pt x="832" y="351"/>
                </a:cubicBezTo>
                <a:cubicBezTo>
                  <a:pt x="833" y="352"/>
                  <a:pt x="833" y="352"/>
                  <a:pt x="833" y="352"/>
                </a:cubicBezTo>
                <a:cubicBezTo>
                  <a:pt x="833" y="352"/>
                  <a:pt x="834" y="352"/>
                  <a:pt x="834" y="352"/>
                </a:cubicBezTo>
                <a:cubicBezTo>
                  <a:pt x="834" y="352"/>
                  <a:pt x="833" y="353"/>
                  <a:pt x="833" y="353"/>
                </a:cubicBezTo>
                <a:cubicBezTo>
                  <a:pt x="833" y="353"/>
                  <a:pt x="834" y="353"/>
                  <a:pt x="834" y="353"/>
                </a:cubicBezTo>
                <a:cubicBezTo>
                  <a:pt x="834" y="354"/>
                  <a:pt x="834" y="354"/>
                  <a:pt x="834" y="354"/>
                </a:cubicBezTo>
                <a:cubicBezTo>
                  <a:pt x="834" y="355"/>
                  <a:pt x="834" y="355"/>
                  <a:pt x="834" y="355"/>
                </a:cubicBezTo>
                <a:cubicBezTo>
                  <a:pt x="834" y="355"/>
                  <a:pt x="835" y="355"/>
                  <a:pt x="835" y="355"/>
                </a:cubicBezTo>
                <a:cubicBezTo>
                  <a:pt x="835" y="355"/>
                  <a:pt x="836" y="355"/>
                  <a:pt x="836" y="355"/>
                </a:cubicBezTo>
                <a:cubicBezTo>
                  <a:pt x="836" y="355"/>
                  <a:pt x="836" y="354"/>
                  <a:pt x="836" y="354"/>
                </a:cubicBezTo>
                <a:cubicBezTo>
                  <a:pt x="837" y="354"/>
                  <a:pt x="837" y="355"/>
                  <a:pt x="838" y="355"/>
                </a:cubicBezTo>
                <a:cubicBezTo>
                  <a:pt x="839" y="355"/>
                  <a:pt x="839" y="355"/>
                  <a:pt x="839" y="355"/>
                </a:cubicBezTo>
                <a:cubicBezTo>
                  <a:pt x="839" y="356"/>
                  <a:pt x="839" y="357"/>
                  <a:pt x="839" y="358"/>
                </a:cubicBezTo>
                <a:cubicBezTo>
                  <a:pt x="839" y="359"/>
                  <a:pt x="839" y="361"/>
                  <a:pt x="839" y="363"/>
                </a:cubicBezTo>
                <a:cubicBezTo>
                  <a:pt x="839" y="364"/>
                  <a:pt x="839" y="365"/>
                  <a:pt x="839" y="367"/>
                </a:cubicBezTo>
                <a:cubicBezTo>
                  <a:pt x="839" y="367"/>
                  <a:pt x="839" y="366"/>
                  <a:pt x="839" y="365"/>
                </a:cubicBezTo>
                <a:cubicBezTo>
                  <a:pt x="839" y="365"/>
                  <a:pt x="838" y="365"/>
                  <a:pt x="838" y="364"/>
                </a:cubicBezTo>
                <a:cubicBezTo>
                  <a:pt x="838" y="365"/>
                  <a:pt x="839" y="365"/>
                  <a:pt x="839" y="365"/>
                </a:cubicBezTo>
                <a:cubicBezTo>
                  <a:pt x="839" y="364"/>
                  <a:pt x="838" y="364"/>
                  <a:pt x="838" y="364"/>
                </a:cubicBezTo>
                <a:cubicBezTo>
                  <a:pt x="838" y="363"/>
                  <a:pt x="839" y="363"/>
                  <a:pt x="839" y="362"/>
                </a:cubicBezTo>
                <a:cubicBezTo>
                  <a:pt x="838" y="361"/>
                  <a:pt x="838" y="360"/>
                  <a:pt x="839" y="359"/>
                </a:cubicBezTo>
                <a:cubicBezTo>
                  <a:pt x="839" y="359"/>
                  <a:pt x="839" y="358"/>
                  <a:pt x="839" y="357"/>
                </a:cubicBezTo>
                <a:cubicBezTo>
                  <a:pt x="839" y="357"/>
                  <a:pt x="839" y="357"/>
                  <a:pt x="838" y="357"/>
                </a:cubicBezTo>
                <a:cubicBezTo>
                  <a:pt x="838" y="357"/>
                  <a:pt x="838" y="359"/>
                  <a:pt x="838" y="359"/>
                </a:cubicBezTo>
                <a:cubicBezTo>
                  <a:pt x="838" y="359"/>
                  <a:pt x="838" y="358"/>
                  <a:pt x="838" y="358"/>
                </a:cubicBezTo>
                <a:cubicBezTo>
                  <a:pt x="838" y="359"/>
                  <a:pt x="838" y="359"/>
                  <a:pt x="838" y="359"/>
                </a:cubicBezTo>
                <a:cubicBezTo>
                  <a:pt x="837" y="359"/>
                  <a:pt x="837" y="359"/>
                  <a:pt x="837" y="358"/>
                </a:cubicBezTo>
                <a:cubicBezTo>
                  <a:pt x="837" y="359"/>
                  <a:pt x="837" y="360"/>
                  <a:pt x="837" y="361"/>
                </a:cubicBezTo>
                <a:cubicBezTo>
                  <a:pt x="837" y="360"/>
                  <a:pt x="838" y="360"/>
                  <a:pt x="838" y="360"/>
                </a:cubicBezTo>
                <a:cubicBezTo>
                  <a:pt x="838" y="360"/>
                  <a:pt x="838" y="361"/>
                  <a:pt x="838" y="361"/>
                </a:cubicBezTo>
                <a:cubicBezTo>
                  <a:pt x="838" y="362"/>
                  <a:pt x="838" y="362"/>
                  <a:pt x="838" y="363"/>
                </a:cubicBezTo>
                <a:cubicBezTo>
                  <a:pt x="838" y="363"/>
                  <a:pt x="838" y="364"/>
                  <a:pt x="838" y="364"/>
                </a:cubicBezTo>
                <a:cubicBezTo>
                  <a:pt x="837" y="364"/>
                  <a:pt x="838" y="361"/>
                  <a:pt x="837" y="361"/>
                </a:cubicBezTo>
                <a:cubicBezTo>
                  <a:pt x="837" y="361"/>
                  <a:pt x="837" y="363"/>
                  <a:pt x="837" y="363"/>
                </a:cubicBezTo>
                <a:cubicBezTo>
                  <a:pt x="836" y="363"/>
                  <a:pt x="836" y="361"/>
                  <a:pt x="835" y="361"/>
                </a:cubicBezTo>
                <a:cubicBezTo>
                  <a:pt x="835" y="361"/>
                  <a:pt x="835" y="361"/>
                  <a:pt x="835" y="361"/>
                </a:cubicBezTo>
                <a:cubicBezTo>
                  <a:pt x="834" y="361"/>
                  <a:pt x="836" y="362"/>
                  <a:pt x="836" y="363"/>
                </a:cubicBezTo>
                <a:cubicBezTo>
                  <a:pt x="836" y="363"/>
                  <a:pt x="835" y="363"/>
                  <a:pt x="834" y="363"/>
                </a:cubicBezTo>
                <a:cubicBezTo>
                  <a:pt x="834" y="363"/>
                  <a:pt x="834" y="362"/>
                  <a:pt x="834" y="362"/>
                </a:cubicBezTo>
                <a:cubicBezTo>
                  <a:pt x="834" y="363"/>
                  <a:pt x="834" y="363"/>
                  <a:pt x="834" y="364"/>
                </a:cubicBezTo>
                <a:cubicBezTo>
                  <a:pt x="834" y="364"/>
                  <a:pt x="832" y="363"/>
                  <a:pt x="832" y="362"/>
                </a:cubicBezTo>
                <a:cubicBezTo>
                  <a:pt x="832" y="363"/>
                  <a:pt x="833" y="363"/>
                  <a:pt x="833" y="364"/>
                </a:cubicBezTo>
                <a:cubicBezTo>
                  <a:pt x="833" y="364"/>
                  <a:pt x="832" y="364"/>
                  <a:pt x="832" y="364"/>
                </a:cubicBezTo>
                <a:cubicBezTo>
                  <a:pt x="832" y="364"/>
                  <a:pt x="831" y="365"/>
                  <a:pt x="831" y="365"/>
                </a:cubicBezTo>
                <a:cubicBezTo>
                  <a:pt x="830" y="364"/>
                  <a:pt x="830" y="364"/>
                  <a:pt x="830" y="364"/>
                </a:cubicBezTo>
                <a:cubicBezTo>
                  <a:pt x="830" y="364"/>
                  <a:pt x="830" y="364"/>
                  <a:pt x="830" y="364"/>
                </a:cubicBezTo>
                <a:cubicBezTo>
                  <a:pt x="829" y="364"/>
                  <a:pt x="830" y="363"/>
                  <a:pt x="830" y="362"/>
                </a:cubicBezTo>
                <a:cubicBezTo>
                  <a:pt x="830" y="362"/>
                  <a:pt x="831" y="362"/>
                  <a:pt x="830" y="361"/>
                </a:cubicBezTo>
                <a:cubicBezTo>
                  <a:pt x="830" y="361"/>
                  <a:pt x="830" y="361"/>
                  <a:pt x="830" y="361"/>
                </a:cubicBezTo>
                <a:cubicBezTo>
                  <a:pt x="830" y="361"/>
                  <a:pt x="830" y="362"/>
                  <a:pt x="830" y="362"/>
                </a:cubicBezTo>
                <a:cubicBezTo>
                  <a:pt x="830" y="362"/>
                  <a:pt x="829" y="362"/>
                  <a:pt x="829" y="363"/>
                </a:cubicBezTo>
                <a:cubicBezTo>
                  <a:pt x="829" y="363"/>
                  <a:pt x="829" y="364"/>
                  <a:pt x="829" y="365"/>
                </a:cubicBezTo>
                <a:cubicBezTo>
                  <a:pt x="830" y="365"/>
                  <a:pt x="829" y="365"/>
                  <a:pt x="829" y="365"/>
                </a:cubicBezTo>
                <a:cubicBezTo>
                  <a:pt x="830" y="365"/>
                  <a:pt x="830" y="365"/>
                  <a:pt x="831" y="365"/>
                </a:cubicBezTo>
                <a:cubicBezTo>
                  <a:pt x="832" y="365"/>
                  <a:pt x="832" y="365"/>
                  <a:pt x="832" y="365"/>
                </a:cubicBezTo>
                <a:cubicBezTo>
                  <a:pt x="832" y="365"/>
                  <a:pt x="833" y="366"/>
                  <a:pt x="833" y="365"/>
                </a:cubicBezTo>
                <a:cubicBezTo>
                  <a:pt x="833" y="365"/>
                  <a:pt x="833" y="365"/>
                  <a:pt x="833" y="365"/>
                </a:cubicBezTo>
                <a:cubicBezTo>
                  <a:pt x="833" y="365"/>
                  <a:pt x="834" y="365"/>
                  <a:pt x="834" y="365"/>
                </a:cubicBezTo>
                <a:cubicBezTo>
                  <a:pt x="834" y="365"/>
                  <a:pt x="835" y="365"/>
                  <a:pt x="835" y="365"/>
                </a:cubicBezTo>
                <a:cubicBezTo>
                  <a:pt x="835" y="365"/>
                  <a:pt x="835" y="365"/>
                  <a:pt x="835" y="366"/>
                </a:cubicBezTo>
                <a:cubicBezTo>
                  <a:pt x="835" y="366"/>
                  <a:pt x="835" y="365"/>
                  <a:pt x="835" y="365"/>
                </a:cubicBezTo>
                <a:cubicBezTo>
                  <a:pt x="835" y="366"/>
                  <a:pt x="835" y="366"/>
                  <a:pt x="835" y="366"/>
                </a:cubicBezTo>
                <a:cubicBezTo>
                  <a:pt x="835" y="367"/>
                  <a:pt x="835" y="367"/>
                  <a:pt x="834" y="367"/>
                </a:cubicBezTo>
                <a:cubicBezTo>
                  <a:pt x="834" y="367"/>
                  <a:pt x="834" y="367"/>
                  <a:pt x="834" y="367"/>
                </a:cubicBezTo>
                <a:cubicBezTo>
                  <a:pt x="834" y="367"/>
                  <a:pt x="835" y="368"/>
                  <a:pt x="834" y="368"/>
                </a:cubicBezTo>
                <a:cubicBezTo>
                  <a:pt x="834" y="368"/>
                  <a:pt x="833" y="368"/>
                  <a:pt x="833" y="368"/>
                </a:cubicBezTo>
                <a:cubicBezTo>
                  <a:pt x="834" y="368"/>
                  <a:pt x="834" y="368"/>
                  <a:pt x="834" y="368"/>
                </a:cubicBezTo>
                <a:cubicBezTo>
                  <a:pt x="835" y="368"/>
                  <a:pt x="835" y="367"/>
                  <a:pt x="835" y="366"/>
                </a:cubicBezTo>
                <a:cubicBezTo>
                  <a:pt x="835" y="366"/>
                  <a:pt x="836" y="366"/>
                  <a:pt x="836" y="366"/>
                </a:cubicBezTo>
                <a:cubicBezTo>
                  <a:pt x="836" y="366"/>
                  <a:pt x="836" y="366"/>
                  <a:pt x="836" y="366"/>
                </a:cubicBezTo>
                <a:cubicBezTo>
                  <a:pt x="837" y="366"/>
                  <a:pt x="836" y="366"/>
                  <a:pt x="836" y="365"/>
                </a:cubicBezTo>
                <a:cubicBezTo>
                  <a:pt x="836" y="365"/>
                  <a:pt x="837" y="366"/>
                  <a:pt x="837" y="365"/>
                </a:cubicBezTo>
                <a:cubicBezTo>
                  <a:pt x="837" y="365"/>
                  <a:pt x="837" y="365"/>
                  <a:pt x="837" y="365"/>
                </a:cubicBezTo>
                <a:cubicBezTo>
                  <a:pt x="838" y="366"/>
                  <a:pt x="837" y="367"/>
                  <a:pt x="837" y="367"/>
                </a:cubicBezTo>
                <a:cubicBezTo>
                  <a:pt x="837" y="368"/>
                  <a:pt x="837" y="368"/>
                  <a:pt x="837" y="368"/>
                </a:cubicBezTo>
                <a:cubicBezTo>
                  <a:pt x="837" y="369"/>
                  <a:pt x="837" y="369"/>
                  <a:pt x="836" y="369"/>
                </a:cubicBezTo>
                <a:cubicBezTo>
                  <a:pt x="836" y="369"/>
                  <a:pt x="835" y="370"/>
                  <a:pt x="836" y="369"/>
                </a:cubicBezTo>
                <a:cubicBezTo>
                  <a:pt x="836" y="369"/>
                  <a:pt x="835" y="369"/>
                  <a:pt x="836" y="369"/>
                </a:cubicBezTo>
                <a:cubicBezTo>
                  <a:pt x="835" y="369"/>
                  <a:pt x="835" y="369"/>
                  <a:pt x="835" y="370"/>
                </a:cubicBezTo>
                <a:cubicBezTo>
                  <a:pt x="834" y="370"/>
                  <a:pt x="834" y="370"/>
                  <a:pt x="834" y="371"/>
                </a:cubicBezTo>
                <a:cubicBezTo>
                  <a:pt x="834" y="371"/>
                  <a:pt x="834" y="371"/>
                  <a:pt x="833" y="371"/>
                </a:cubicBezTo>
                <a:cubicBezTo>
                  <a:pt x="833" y="371"/>
                  <a:pt x="833" y="371"/>
                  <a:pt x="833" y="371"/>
                </a:cubicBezTo>
                <a:cubicBezTo>
                  <a:pt x="833" y="372"/>
                  <a:pt x="832" y="372"/>
                  <a:pt x="831" y="372"/>
                </a:cubicBezTo>
                <a:cubicBezTo>
                  <a:pt x="831" y="372"/>
                  <a:pt x="831" y="372"/>
                  <a:pt x="831" y="371"/>
                </a:cubicBezTo>
                <a:cubicBezTo>
                  <a:pt x="831" y="371"/>
                  <a:pt x="830" y="372"/>
                  <a:pt x="830" y="372"/>
                </a:cubicBezTo>
                <a:cubicBezTo>
                  <a:pt x="830" y="372"/>
                  <a:pt x="830" y="371"/>
                  <a:pt x="830" y="371"/>
                </a:cubicBezTo>
                <a:cubicBezTo>
                  <a:pt x="830" y="370"/>
                  <a:pt x="829" y="371"/>
                  <a:pt x="829" y="372"/>
                </a:cubicBezTo>
                <a:cubicBezTo>
                  <a:pt x="829" y="371"/>
                  <a:pt x="829" y="371"/>
                  <a:pt x="829" y="370"/>
                </a:cubicBezTo>
                <a:cubicBezTo>
                  <a:pt x="829" y="370"/>
                  <a:pt x="830" y="370"/>
                  <a:pt x="830" y="370"/>
                </a:cubicBezTo>
                <a:cubicBezTo>
                  <a:pt x="829" y="370"/>
                  <a:pt x="829" y="370"/>
                  <a:pt x="828" y="370"/>
                </a:cubicBezTo>
                <a:cubicBezTo>
                  <a:pt x="829" y="370"/>
                  <a:pt x="828" y="371"/>
                  <a:pt x="828" y="371"/>
                </a:cubicBezTo>
                <a:cubicBezTo>
                  <a:pt x="828" y="372"/>
                  <a:pt x="828" y="371"/>
                  <a:pt x="828" y="371"/>
                </a:cubicBezTo>
                <a:cubicBezTo>
                  <a:pt x="827" y="371"/>
                  <a:pt x="826" y="370"/>
                  <a:pt x="825" y="370"/>
                </a:cubicBezTo>
                <a:cubicBezTo>
                  <a:pt x="825" y="370"/>
                  <a:pt x="825" y="370"/>
                  <a:pt x="825" y="371"/>
                </a:cubicBezTo>
                <a:cubicBezTo>
                  <a:pt x="826" y="370"/>
                  <a:pt x="827" y="372"/>
                  <a:pt x="828" y="372"/>
                </a:cubicBezTo>
                <a:cubicBezTo>
                  <a:pt x="828" y="372"/>
                  <a:pt x="829" y="372"/>
                  <a:pt x="829" y="372"/>
                </a:cubicBezTo>
                <a:cubicBezTo>
                  <a:pt x="829" y="373"/>
                  <a:pt x="828" y="373"/>
                  <a:pt x="828" y="373"/>
                </a:cubicBezTo>
                <a:cubicBezTo>
                  <a:pt x="828" y="373"/>
                  <a:pt x="828" y="373"/>
                  <a:pt x="828" y="373"/>
                </a:cubicBezTo>
                <a:cubicBezTo>
                  <a:pt x="828" y="373"/>
                  <a:pt x="828" y="373"/>
                  <a:pt x="828" y="373"/>
                </a:cubicBezTo>
                <a:cubicBezTo>
                  <a:pt x="827" y="373"/>
                  <a:pt x="827" y="374"/>
                  <a:pt x="827" y="374"/>
                </a:cubicBezTo>
                <a:cubicBezTo>
                  <a:pt x="827" y="374"/>
                  <a:pt x="828" y="374"/>
                  <a:pt x="828" y="374"/>
                </a:cubicBezTo>
                <a:cubicBezTo>
                  <a:pt x="828" y="374"/>
                  <a:pt x="826" y="376"/>
                  <a:pt x="825" y="376"/>
                </a:cubicBezTo>
                <a:cubicBezTo>
                  <a:pt x="825" y="376"/>
                  <a:pt x="824" y="376"/>
                  <a:pt x="824" y="375"/>
                </a:cubicBezTo>
                <a:cubicBezTo>
                  <a:pt x="824" y="375"/>
                  <a:pt x="824" y="375"/>
                  <a:pt x="823" y="374"/>
                </a:cubicBezTo>
                <a:cubicBezTo>
                  <a:pt x="823" y="374"/>
                  <a:pt x="823" y="374"/>
                  <a:pt x="823" y="374"/>
                </a:cubicBezTo>
                <a:cubicBezTo>
                  <a:pt x="824" y="375"/>
                  <a:pt x="823" y="376"/>
                  <a:pt x="825" y="376"/>
                </a:cubicBezTo>
                <a:cubicBezTo>
                  <a:pt x="825" y="376"/>
                  <a:pt x="825" y="377"/>
                  <a:pt x="826" y="376"/>
                </a:cubicBezTo>
                <a:cubicBezTo>
                  <a:pt x="826" y="376"/>
                  <a:pt x="826" y="376"/>
                  <a:pt x="827" y="376"/>
                </a:cubicBezTo>
                <a:cubicBezTo>
                  <a:pt x="827" y="376"/>
                  <a:pt x="827" y="377"/>
                  <a:pt x="827" y="376"/>
                </a:cubicBezTo>
                <a:cubicBezTo>
                  <a:pt x="827" y="376"/>
                  <a:pt x="827" y="376"/>
                  <a:pt x="828" y="376"/>
                </a:cubicBezTo>
                <a:cubicBezTo>
                  <a:pt x="828" y="376"/>
                  <a:pt x="828" y="376"/>
                  <a:pt x="828" y="375"/>
                </a:cubicBezTo>
                <a:cubicBezTo>
                  <a:pt x="828" y="375"/>
                  <a:pt x="828" y="375"/>
                  <a:pt x="829" y="375"/>
                </a:cubicBezTo>
                <a:cubicBezTo>
                  <a:pt x="829" y="375"/>
                  <a:pt x="829" y="376"/>
                  <a:pt x="828" y="376"/>
                </a:cubicBezTo>
                <a:cubicBezTo>
                  <a:pt x="828" y="376"/>
                  <a:pt x="828" y="376"/>
                  <a:pt x="828" y="376"/>
                </a:cubicBezTo>
                <a:cubicBezTo>
                  <a:pt x="829" y="376"/>
                  <a:pt x="829" y="376"/>
                  <a:pt x="829" y="376"/>
                </a:cubicBezTo>
                <a:cubicBezTo>
                  <a:pt x="829" y="376"/>
                  <a:pt x="829" y="375"/>
                  <a:pt x="829" y="375"/>
                </a:cubicBezTo>
                <a:cubicBezTo>
                  <a:pt x="830" y="375"/>
                  <a:pt x="830" y="376"/>
                  <a:pt x="830" y="376"/>
                </a:cubicBezTo>
                <a:cubicBezTo>
                  <a:pt x="830" y="376"/>
                  <a:pt x="829" y="376"/>
                  <a:pt x="829" y="376"/>
                </a:cubicBezTo>
                <a:cubicBezTo>
                  <a:pt x="829" y="377"/>
                  <a:pt x="829" y="377"/>
                  <a:pt x="829" y="377"/>
                </a:cubicBezTo>
                <a:cubicBezTo>
                  <a:pt x="828" y="377"/>
                  <a:pt x="828" y="377"/>
                  <a:pt x="828" y="377"/>
                </a:cubicBezTo>
                <a:cubicBezTo>
                  <a:pt x="828" y="378"/>
                  <a:pt x="827" y="379"/>
                  <a:pt x="826" y="379"/>
                </a:cubicBezTo>
                <a:cubicBezTo>
                  <a:pt x="826" y="379"/>
                  <a:pt x="826" y="377"/>
                  <a:pt x="826" y="378"/>
                </a:cubicBezTo>
                <a:cubicBezTo>
                  <a:pt x="826" y="378"/>
                  <a:pt x="826" y="378"/>
                  <a:pt x="826" y="379"/>
                </a:cubicBezTo>
                <a:cubicBezTo>
                  <a:pt x="826" y="379"/>
                  <a:pt x="826" y="379"/>
                  <a:pt x="826" y="378"/>
                </a:cubicBezTo>
                <a:cubicBezTo>
                  <a:pt x="826" y="378"/>
                  <a:pt x="825" y="378"/>
                  <a:pt x="825" y="378"/>
                </a:cubicBezTo>
                <a:cubicBezTo>
                  <a:pt x="825" y="378"/>
                  <a:pt x="825" y="379"/>
                  <a:pt x="825" y="379"/>
                </a:cubicBezTo>
                <a:cubicBezTo>
                  <a:pt x="824" y="379"/>
                  <a:pt x="823" y="379"/>
                  <a:pt x="823" y="379"/>
                </a:cubicBezTo>
                <a:cubicBezTo>
                  <a:pt x="823" y="379"/>
                  <a:pt x="821" y="379"/>
                  <a:pt x="821" y="379"/>
                </a:cubicBezTo>
                <a:cubicBezTo>
                  <a:pt x="821" y="379"/>
                  <a:pt x="822" y="378"/>
                  <a:pt x="821" y="378"/>
                </a:cubicBezTo>
                <a:cubicBezTo>
                  <a:pt x="821" y="378"/>
                  <a:pt x="820" y="380"/>
                  <a:pt x="820" y="380"/>
                </a:cubicBezTo>
                <a:cubicBezTo>
                  <a:pt x="820" y="380"/>
                  <a:pt x="819" y="380"/>
                  <a:pt x="819" y="380"/>
                </a:cubicBezTo>
                <a:cubicBezTo>
                  <a:pt x="819" y="380"/>
                  <a:pt x="818" y="380"/>
                  <a:pt x="818" y="380"/>
                </a:cubicBezTo>
                <a:cubicBezTo>
                  <a:pt x="819" y="380"/>
                  <a:pt x="819" y="380"/>
                  <a:pt x="819" y="379"/>
                </a:cubicBezTo>
                <a:cubicBezTo>
                  <a:pt x="819" y="379"/>
                  <a:pt x="819" y="379"/>
                  <a:pt x="818" y="378"/>
                </a:cubicBezTo>
                <a:cubicBezTo>
                  <a:pt x="818" y="379"/>
                  <a:pt x="819" y="379"/>
                  <a:pt x="819" y="379"/>
                </a:cubicBezTo>
                <a:cubicBezTo>
                  <a:pt x="819" y="380"/>
                  <a:pt x="818" y="380"/>
                  <a:pt x="818" y="380"/>
                </a:cubicBezTo>
                <a:cubicBezTo>
                  <a:pt x="818" y="380"/>
                  <a:pt x="819" y="380"/>
                  <a:pt x="818" y="381"/>
                </a:cubicBezTo>
                <a:cubicBezTo>
                  <a:pt x="818" y="381"/>
                  <a:pt x="817" y="381"/>
                  <a:pt x="817" y="382"/>
                </a:cubicBezTo>
                <a:cubicBezTo>
                  <a:pt x="815" y="382"/>
                  <a:pt x="814" y="383"/>
                  <a:pt x="813" y="385"/>
                </a:cubicBezTo>
                <a:cubicBezTo>
                  <a:pt x="812" y="385"/>
                  <a:pt x="812" y="387"/>
                  <a:pt x="811" y="387"/>
                </a:cubicBezTo>
                <a:cubicBezTo>
                  <a:pt x="812" y="386"/>
                  <a:pt x="812" y="386"/>
                  <a:pt x="812" y="385"/>
                </a:cubicBezTo>
                <a:cubicBezTo>
                  <a:pt x="811" y="385"/>
                  <a:pt x="812" y="388"/>
                  <a:pt x="810" y="388"/>
                </a:cubicBezTo>
                <a:cubicBezTo>
                  <a:pt x="810" y="388"/>
                  <a:pt x="809" y="387"/>
                  <a:pt x="808" y="388"/>
                </a:cubicBezTo>
                <a:cubicBezTo>
                  <a:pt x="808" y="388"/>
                  <a:pt x="807" y="388"/>
                  <a:pt x="807" y="387"/>
                </a:cubicBezTo>
                <a:cubicBezTo>
                  <a:pt x="807" y="388"/>
                  <a:pt x="806" y="388"/>
                  <a:pt x="805" y="388"/>
                </a:cubicBezTo>
                <a:cubicBezTo>
                  <a:pt x="806" y="388"/>
                  <a:pt x="805" y="388"/>
                  <a:pt x="805" y="388"/>
                </a:cubicBezTo>
                <a:cubicBezTo>
                  <a:pt x="805" y="388"/>
                  <a:pt x="804" y="389"/>
                  <a:pt x="804" y="389"/>
                </a:cubicBezTo>
                <a:cubicBezTo>
                  <a:pt x="803" y="389"/>
                  <a:pt x="802" y="390"/>
                  <a:pt x="802" y="390"/>
                </a:cubicBezTo>
                <a:cubicBezTo>
                  <a:pt x="800" y="392"/>
                  <a:pt x="798" y="393"/>
                  <a:pt x="798" y="395"/>
                </a:cubicBezTo>
                <a:cubicBezTo>
                  <a:pt x="797" y="395"/>
                  <a:pt x="798" y="394"/>
                  <a:pt x="797" y="394"/>
                </a:cubicBezTo>
                <a:cubicBezTo>
                  <a:pt x="797" y="394"/>
                  <a:pt x="797" y="394"/>
                  <a:pt x="797" y="394"/>
                </a:cubicBezTo>
                <a:cubicBezTo>
                  <a:pt x="797" y="394"/>
                  <a:pt x="798" y="393"/>
                  <a:pt x="798" y="393"/>
                </a:cubicBezTo>
                <a:cubicBezTo>
                  <a:pt x="798" y="393"/>
                  <a:pt x="797" y="394"/>
                  <a:pt x="797" y="395"/>
                </a:cubicBezTo>
                <a:cubicBezTo>
                  <a:pt x="797" y="395"/>
                  <a:pt x="797" y="395"/>
                  <a:pt x="797" y="395"/>
                </a:cubicBezTo>
                <a:cubicBezTo>
                  <a:pt x="797" y="396"/>
                  <a:pt x="797" y="396"/>
                  <a:pt x="797" y="396"/>
                </a:cubicBezTo>
                <a:cubicBezTo>
                  <a:pt x="797" y="396"/>
                  <a:pt x="797" y="396"/>
                  <a:pt x="797" y="396"/>
                </a:cubicBezTo>
                <a:cubicBezTo>
                  <a:pt x="796" y="396"/>
                  <a:pt x="796" y="396"/>
                  <a:pt x="796" y="396"/>
                </a:cubicBezTo>
                <a:cubicBezTo>
                  <a:pt x="796" y="396"/>
                  <a:pt x="797" y="396"/>
                  <a:pt x="796" y="397"/>
                </a:cubicBezTo>
                <a:cubicBezTo>
                  <a:pt x="796" y="397"/>
                  <a:pt x="796" y="397"/>
                  <a:pt x="795" y="397"/>
                </a:cubicBezTo>
                <a:cubicBezTo>
                  <a:pt x="795" y="398"/>
                  <a:pt x="795" y="397"/>
                  <a:pt x="794" y="398"/>
                </a:cubicBezTo>
                <a:cubicBezTo>
                  <a:pt x="794" y="397"/>
                  <a:pt x="792" y="398"/>
                  <a:pt x="793" y="398"/>
                </a:cubicBezTo>
                <a:cubicBezTo>
                  <a:pt x="793" y="399"/>
                  <a:pt x="793" y="398"/>
                  <a:pt x="793" y="398"/>
                </a:cubicBezTo>
                <a:cubicBezTo>
                  <a:pt x="793" y="399"/>
                  <a:pt x="792" y="399"/>
                  <a:pt x="792" y="399"/>
                </a:cubicBezTo>
                <a:cubicBezTo>
                  <a:pt x="791" y="400"/>
                  <a:pt x="791" y="400"/>
                  <a:pt x="790" y="400"/>
                </a:cubicBezTo>
                <a:cubicBezTo>
                  <a:pt x="789" y="400"/>
                  <a:pt x="790" y="399"/>
                  <a:pt x="790" y="399"/>
                </a:cubicBezTo>
                <a:cubicBezTo>
                  <a:pt x="790" y="399"/>
                  <a:pt x="790" y="399"/>
                  <a:pt x="790" y="399"/>
                </a:cubicBezTo>
                <a:cubicBezTo>
                  <a:pt x="789" y="399"/>
                  <a:pt x="790" y="400"/>
                  <a:pt x="789" y="400"/>
                </a:cubicBezTo>
                <a:cubicBezTo>
                  <a:pt x="789" y="400"/>
                  <a:pt x="790" y="400"/>
                  <a:pt x="790" y="400"/>
                </a:cubicBezTo>
                <a:cubicBezTo>
                  <a:pt x="790" y="401"/>
                  <a:pt x="789" y="402"/>
                  <a:pt x="788" y="401"/>
                </a:cubicBezTo>
                <a:cubicBezTo>
                  <a:pt x="788" y="401"/>
                  <a:pt x="788" y="402"/>
                  <a:pt x="788" y="402"/>
                </a:cubicBezTo>
                <a:cubicBezTo>
                  <a:pt x="788" y="402"/>
                  <a:pt x="787" y="402"/>
                  <a:pt x="787" y="402"/>
                </a:cubicBezTo>
                <a:cubicBezTo>
                  <a:pt x="786" y="402"/>
                  <a:pt x="786" y="402"/>
                  <a:pt x="786" y="402"/>
                </a:cubicBezTo>
                <a:cubicBezTo>
                  <a:pt x="786" y="402"/>
                  <a:pt x="786" y="402"/>
                  <a:pt x="786" y="402"/>
                </a:cubicBezTo>
                <a:cubicBezTo>
                  <a:pt x="786" y="403"/>
                  <a:pt x="785" y="403"/>
                  <a:pt x="785" y="403"/>
                </a:cubicBezTo>
                <a:cubicBezTo>
                  <a:pt x="785" y="403"/>
                  <a:pt x="785" y="403"/>
                  <a:pt x="785" y="403"/>
                </a:cubicBezTo>
                <a:cubicBezTo>
                  <a:pt x="784" y="403"/>
                  <a:pt x="784" y="403"/>
                  <a:pt x="784" y="403"/>
                </a:cubicBezTo>
                <a:cubicBezTo>
                  <a:pt x="784" y="403"/>
                  <a:pt x="783" y="403"/>
                  <a:pt x="783" y="402"/>
                </a:cubicBezTo>
                <a:cubicBezTo>
                  <a:pt x="783" y="403"/>
                  <a:pt x="782" y="402"/>
                  <a:pt x="782" y="403"/>
                </a:cubicBezTo>
                <a:cubicBezTo>
                  <a:pt x="782" y="403"/>
                  <a:pt x="783" y="403"/>
                  <a:pt x="783" y="403"/>
                </a:cubicBezTo>
                <a:cubicBezTo>
                  <a:pt x="783" y="404"/>
                  <a:pt x="783" y="403"/>
                  <a:pt x="782" y="404"/>
                </a:cubicBezTo>
                <a:cubicBezTo>
                  <a:pt x="782" y="404"/>
                  <a:pt x="784" y="404"/>
                  <a:pt x="783" y="404"/>
                </a:cubicBezTo>
                <a:cubicBezTo>
                  <a:pt x="783" y="404"/>
                  <a:pt x="783" y="404"/>
                  <a:pt x="782" y="405"/>
                </a:cubicBezTo>
                <a:cubicBezTo>
                  <a:pt x="782" y="405"/>
                  <a:pt x="783" y="404"/>
                  <a:pt x="784" y="404"/>
                </a:cubicBezTo>
                <a:cubicBezTo>
                  <a:pt x="783" y="405"/>
                  <a:pt x="782" y="406"/>
                  <a:pt x="782" y="406"/>
                </a:cubicBezTo>
                <a:cubicBezTo>
                  <a:pt x="781" y="406"/>
                  <a:pt x="781" y="405"/>
                  <a:pt x="782" y="404"/>
                </a:cubicBezTo>
                <a:cubicBezTo>
                  <a:pt x="782" y="404"/>
                  <a:pt x="781" y="405"/>
                  <a:pt x="781" y="405"/>
                </a:cubicBezTo>
                <a:cubicBezTo>
                  <a:pt x="781" y="405"/>
                  <a:pt x="781" y="405"/>
                  <a:pt x="781" y="405"/>
                </a:cubicBezTo>
                <a:cubicBezTo>
                  <a:pt x="780" y="404"/>
                  <a:pt x="781" y="403"/>
                  <a:pt x="780" y="403"/>
                </a:cubicBezTo>
                <a:cubicBezTo>
                  <a:pt x="781" y="403"/>
                  <a:pt x="779" y="405"/>
                  <a:pt x="780" y="406"/>
                </a:cubicBezTo>
                <a:cubicBezTo>
                  <a:pt x="782" y="406"/>
                  <a:pt x="780" y="407"/>
                  <a:pt x="779" y="407"/>
                </a:cubicBezTo>
                <a:cubicBezTo>
                  <a:pt x="779" y="407"/>
                  <a:pt x="780" y="407"/>
                  <a:pt x="780" y="406"/>
                </a:cubicBezTo>
                <a:cubicBezTo>
                  <a:pt x="780" y="407"/>
                  <a:pt x="779" y="407"/>
                  <a:pt x="778" y="408"/>
                </a:cubicBezTo>
                <a:cubicBezTo>
                  <a:pt x="778" y="408"/>
                  <a:pt x="779" y="408"/>
                  <a:pt x="779" y="408"/>
                </a:cubicBezTo>
                <a:cubicBezTo>
                  <a:pt x="779" y="409"/>
                  <a:pt x="778" y="409"/>
                  <a:pt x="778" y="409"/>
                </a:cubicBezTo>
                <a:cubicBezTo>
                  <a:pt x="778" y="409"/>
                  <a:pt x="777" y="410"/>
                  <a:pt x="777" y="410"/>
                </a:cubicBezTo>
                <a:cubicBezTo>
                  <a:pt x="777" y="410"/>
                  <a:pt x="776" y="410"/>
                  <a:pt x="776" y="410"/>
                </a:cubicBezTo>
                <a:cubicBezTo>
                  <a:pt x="776" y="409"/>
                  <a:pt x="776" y="410"/>
                  <a:pt x="776" y="410"/>
                </a:cubicBezTo>
                <a:cubicBezTo>
                  <a:pt x="776" y="410"/>
                  <a:pt x="776" y="410"/>
                  <a:pt x="775" y="410"/>
                </a:cubicBezTo>
                <a:cubicBezTo>
                  <a:pt x="776" y="410"/>
                  <a:pt x="776" y="411"/>
                  <a:pt x="775" y="411"/>
                </a:cubicBezTo>
                <a:cubicBezTo>
                  <a:pt x="775" y="412"/>
                  <a:pt x="774" y="411"/>
                  <a:pt x="774" y="411"/>
                </a:cubicBezTo>
                <a:cubicBezTo>
                  <a:pt x="774" y="412"/>
                  <a:pt x="774" y="412"/>
                  <a:pt x="774" y="412"/>
                </a:cubicBezTo>
                <a:cubicBezTo>
                  <a:pt x="774" y="412"/>
                  <a:pt x="774" y="412"/>
                  <a:pt x="775" y="412"/>
                </a:cubicBezTo>
                <a:cubicBezTo>
                  <a:pt x="775" y="412"/>
                  <a:pt x="775" y="411"/>
                  <a:pt x="775" y="412"/>
                </a:cubicBezTo>
                <a:cubicBezTo>
                  <a:pt x="775" y="413"/>
                  <a:pt x="775" y="413"/>
                  <a:pt x="774" y="413"/>
                </a:cubicBezTo>
                <a:cubicBezTo>
                  <a:pt x="774" y="413"/>
                  <a:pt x="774" y="412"/>
                  <a:pt x="774" y="413"/>
                </a:cubicBezTo>
                <a:cubicBezTo>
                  <a:pt x="774" y="413"/>
                  <a:pt x="774" y="413"/>
                  <a:pt x="773" y="413"/>
                </a:cubicBezTo>
                <a:cubicBezTo>
                  <a:pt x="773" y="413"/>
                  <a:pt x="773" y="414"/>
                  <a:pt x="773" y="414"/>
                </a:cubicBezTo>
                <a:cubicBezTo>
                  <a:pt x="773" y="414"/>
                  <a:pt x="773" y="414"/>
                  <a:pt x="773" y="414"/>
                </a:cubicBezTo>
                <a:cubicBezTo>
                  <a:pt x="773" y="414"/>
                  <a:pt x="775" y="413"/>
                  <a:pt x="774" y="414"/>
                </a:cubicBezTo>
                <a:cubicBezTo>
                  <a:pt x="774" y="414"/>
                  <a:pt x="773" y="415"/>
                  <a:pt x="773" y="415"/>
                </a:cubicBezTo>
                <a:cubicBezTo>
                  <a:pt x="773" y="415"/>
                  <a:pt x="772" y="414"/>
                  <a:pt x="773" y="415"/>
                </a:cubicBezTo>
                <a:cubicBezTo>
                  <a:pt x="773" y="416"/>
                  <a:pt x="771" y="416"/>
                  <a:pt x="771" y="416"/>
                </a:cubicBezTo>
                <a:cubicBezTo>
                  <a:pt x="771" y="416"/>
                  <a:pt x="771" y="416"/>
                  <a:pt x="772" y="416"/>
                </a:cubicBezTo>
                <a:cubicBezTo>
                  <a:pt x="772" y="416"/>
                  <a:pt x="773" y="416"/>
                  <a:pt x="772" y="417"/>
                </a:cubicBezTo>
                <a:cubicBezTo>
                  <a:pt x="772" y="417"/>
                  <a:pt x="771" y="418"/>
                  <a:pt x="771" y="418"/>
                </a:cubicBezTo>
                <a:cubicBezTo>
                  <a:pt x="770" y="418"/>
                  <a:pt x="771" y="417"/>
                  <a:pt x="771" y="417"/>
                </a:cubicBezTo>
                <a:cubicBezTo>
                  <a:pt x="770" y="417"/>
                  <a:pt x="770" y="418"/>
                  <a:pt x="770" y="418"/>
                </a:cubicBezTo>
                <a:cubicBezTo>
                  <a:pt x="771" y="419"/>
                  <a:pt x="770" y="418"/>
                  <a:pt x="770" y="418"/>
                </a:cubicBezTo>
                <a:cubicBezTo>
                  <a:pt x="770" y="418"/>
                  <a:pt x="770" y="419"/>
                  <a:pt x="770" y="419"/>
                </a:cubicBezTo>
                <a:cubicBezTo>
                  <a:pt x="770" y="419"/>
                  <a:pt x="771" y="418"/>
                  <a:pt x="771" y="418"/>
                </a:cubicBezTo>
                <a:cubicBezTo>
                  <a:pt x="771" y="419"/>
                  <a:pt x="771" y="419"/>
                  <a:pt x="770" y="419"/>
                </a:cubicBezTo>
                <a:cubicBezTo>
                  <a:pt x="770" y="419"/>
                  <a:pt x="770" y="419"/>
                  <a:pt x="770" y="419"/>
                </a:cubicBezTo>
                <a:cubicBezTo>
                  <a:pt x="770" y="419"/>
                  <a:pt x="770" y="420"/>
                  <a:pt x="770" y="420"/>
                </a:cubicBezTo>
                <a:cubicBezTo>
                  <a:pt x="770" y="420"/>
                  <a:pt x="769" y="420"/>
                  <a:pt x="770" y="420"/>
                </a:cubicBezTo>
                <a:cubicBezTo>
                  <a:pt x="770" y="420"/>
                  <a:pt x="769" y="421"/>
                  <a:pt x="769" y="421"/>
                </a:cubicBezTo>
                <a:cubicBezTo>
                  <a:pt x="769" y="422"/>
                  <a:pt x="769" y="422"/>
                  <a:pt x="769" y="423"/>
                </a:cubicBezTo>
                <a:cubicBezTo>
                  <a:pt x="769" y="423"/>
                  <a:pt x="770" y="423"/>
                  <a:pt x="769" y="423"/>
                </a:cubicBezTo>
                <a:cubicBezTo>
                  <a:pt x="769" y="424"/>
                  <a:pt x="769" y="424"/>
                  <a:pt x="769" y="425"/>
                </a:cubicBezTo>
                <a:cubicBezTo>
                  <a:pt x="769" y="425"/>
                  <a:pt x="769" y="424"/>
                  <a:pt x="768" y="424"/>
                </a:cubicBezTo>
                <a:cubicBezTo>
                  <a:pt x="768" y="424"/>
                  <a:pt x="768" y="424"/>
                  <a:pt x="768" y="425"/>
                </a:cubicBezTo>
                <a:cubicBezTo>
                  <a:pt x="769" y="425"/>
                  <a:pt x="769" y="426"/>
                  <a:pt x="769" y="426"/>
                </a:cubicBezTo>
                <a:cubicBezTo>
                  <a:pt x="769" y="427"/>
                  <a:pt x="768" y="427"/>
                  <a:pt x="769" y="428"/>
                </a:cubicBezTo>
                <a:cubicBezTo>
                  <a:pt x="769" y="430"/>
                  <a:pt x="768" y="431"/>
                  <a:pt x="768" y="433"/>
                </a:cubicBezTo>
                <a:cubicBezTo>
                  <a:pt x="769" y="434"/>
                  <a:pt x="769" y="436"/>
                  <a:pt x="769" y="437"/>
                </a:cubicBezTo>
                <a:cubicBezTo>
                  <a:pt x="769" y="441"/>
                  <a:pt x="771" y="443"/>
                  <a:pt x="772" y="446"/>
                </a:cubicBezTo>
                <a:cubicBezTo>
                  <a:pt x="772" y="447"/>
                  <a:pt x="772" y="448"/>
                  <a:pt x="771" y="448"/>
                </a:cubicBezTo>
                <a:cubicBezTo>
                  <a:pt x="771" y="449"/>
                  <a:pt x="771" y="449"/>
                  <a:pt x="771" y="450"/>
                </a:cubicBezTo>
                <a:cubicBezTo>
                  <a:pt x="771" y="451"/>
                  <a:pt x="771" y="451"/>
                  <a:pt x="771" y="452"/>
                </a:cubicBezTo>
                <a:cubicBezTo>
                  <a:pt x="771" y="453"/>
                  <a:pt x="771" y="453"/>
                  <a:pt x="771" y="454"/>
                </a:cubicBezTo>
                <a:cubicBezTo>
                  <a:pt x="771" y="453"/>
                  <a:pt x="770" y="451"/>
                  <a:pt x="771" y="450"/>
                </a:cubicBezTo>
                <a:cubicBezTo>
                  <a:pt x="771" y="449"/>
                  <a:pt x="771" y="448"/>
                  <a:pt x="772" y="447"/>
                </a:cubicBezTo>
                <a:cubicBezTo>
                  <a:pt x="772" y="445"/>
                  <a:pt x="770" y="447"/>
                  <a:pt x="770" y="446"/>
                </a:cubicBezTo>
                <a:cubicBezTo>
                  <a:pt x="770" y="445"/>
                  <a:pt x="770" y="445"/>
                  <a:pt x="770" y="445"/>
                </a:cubicBezTo>
                <a:cubicBezTo>
                  <a:pt x="771" y="444"/>
                  <a:pt x="770" y="444"/>
                  <a:pt x="770" y="444"/>
                </a:cubicBezTo>
                <a:cubicBezTo>
                  <a:pt x="769" y="447"/>
                  <a:pt x="770" y="450"/>
                  <a:pt x="771" y="453"/>
                </a:cubicBezTo>
                <a:cubicBezTo>
                  <a:pt x="771" y="455"/>
                  <a:pt x="771" y="456"/>
                  <a:pt x="771" y="458"/>
                </a:cubicBezTo>
                <a:cubicBezTo>
                  <a:pt x="772" y="459"/>
                  <a:pt x="772" y="460"/>
                  <a:pt x="772" y="462"/>
                </a:cubicBezTo>
                <a:cubicBezTo>
                  <a:pt x="772" y="461"/>
                  <a:pt x="771" y="461"/>
                  <a:pt x="771" y="461"/>
                </a:cubicBezTo>
                <a:cubicBezTo>
                  <a:pt x="771" y="461"/>
                  <a:pt x="772" y="461"/>
                  <a:pt x="772" y="462"/>
                </a:cubicBezTo>
                <a:cubicBezTo>
                  <a:pt x="772" y="462"/>
                  <a:pt x="772" y="462"/>
                  <a:pt x="772" y="462"/>
                </a:cubicBezTo>
                <a:cubicBezTo>
                  <a:pt x="772" y="463"/>
                  <a:pt x="773" y="463"/>
                  <a:pt x="773" y="464"/>
                </a:cubicBezTo>
                <a:cubicBezTo>
                  <a:pt x="772" y="464"/>
                  <a:pt x="772" y="464"/>
                  <a:pt x="772" y="464"/>
                </a:cubicBezTo>
                <a:cubicBezTo>
                  <a:pt x="772" y="464"/>
                  <a:pt x="773" y="465"/>
                  <a:pt x="773" y="465"/>
                </a:cubicBezTo>
                <a:cubicBezTo>
                  <a:pt x="773" y="465"/>
                  <a:pt x="773" y="466"/>
                  <a:pt x="772" y="467"/>
                </a:cubicBezTo>
                <a:cubicBezTo>
                  <a:pt x="772" y="468"/>
                  <a:pt x="772" y="469"/>
                  <a:pt x="772" y="470"/>
                </a:cubicBezTo>
                <a:cubicBezTo>
                  <a:pt x="771" y="471"/>
                  <a:pt x="771" y="473"/>
                  <a:pt x="770" y="474"/>
                </a:cubicBezTo>
                <a:cubicBezTo>
                  <a:pt x="770" y="475"/>
                  <a:pt x="770" y="476"/>
                  <a:pt x="770" y="477"/>
                </a:cubicBezTo>
                <a:cubicBezTo>
                  <a:pt x="770" y="477"/>
                  <a:pt x="770" y="476"/>
                  <a:pt x="770" y="476"/>
                </a:cubicBezTo>
                <a:cubicBezTo>
                  <a:pt x="770" y="475"/>
                  <a:pt x="769" y="477"/>
                  <a:pt x="769" y="477"/>
                </a:cubicBezTo>
                <a:cubicBezTo>
                  <a:pt x="769" y="477"/>
                  <a:pt x="768" y="478"/>
                  <a:pt x="768" y="478"/>
                </a:cubicBezTo>
                <a:cubicBezTo>
                  <a:pt x="768" y="479"/>
                  <a:pt x="768" y="479"/>
                  <a:pt x="767" y="480"/>
                </a:cubicBezTo>
                <a:cubicBezTo>
                  <a:pt x="767" y="480"/>
                  <a:pt x="767" y="481"/>
                  <a:pt x="767" y="481"/>
                </a:cubicBezTo>
                <a:cubicBezTo>
                  <a:pt x="767" y="481"/>
                  <a:pt x="767" y="481"/>
                  <a:pt x="767" y="482"/>
                </a:cubicBezTo>
                <a:cubicBezTo>
                  <a:pt x="766" y="482"/>
                  <a:pt x="765" y="483"/>
                  <a:pt x="766" y="483"/>
                </a:cubicBezTo>
                <a:cubicBezTo>
                  <a:pt x="766" y="483"/>
                  <a:pt x="766" y="483"/>
                  <a:pt x="765" y="483"/>
                </a:cubicBezTo>
                <a:cubicBezTo>
                  <a:pt x="765" y="483"/>
                  <a:pt x="766" y="483"/>
                  <a:pt x="765" y="484"/>
                </a:cubicBezTo>
                <a:cubicBezTo>
                  <a:pt x="765" y="483"/>
                  <a:pt x="765" y="483"/>
                  <a:pt x="765" y="483"/>
                </a:cubicBezTo>
                <a:cubicBezTo>
                  <a:pt x="764" y="483"/>
                  <a:pt x="763" y="484"/>
                  <a:pt x="762" y="484"/>
                </a:cubicBezTo>
                <a:cubicBezTo>
                  <a:pt x="761" y="483"/>
                  <a:pt x="760" y="485"/>
                  <a:pt x="759" y="484"/>
                </a:cubicBezTo>
                <a:cubicBezTo>
                  <a:pt x="758" y="483"/>
                  <a:pt x="759" y="482"/>
                  <a:pt x="759" y="482"/>
                </a:cubicBezTo>
                <a:cubicBezTo>
                  <a:pt x="759" y="482"/>
                  <a:pt x="760" y="483"/>
                  <a:pt x="760" y="483"/>
                </a:cubicBezTo>
                <a:cubicBezTo>
                  <a:pt x="760" y="483"/>
                  <a:pt x="761" y="483"/>
                  <a:pt x="761" y="483"/>
                </a:cubicBezTo>
                <a:cubicBezTo>
                  <a:pt x="761" y="483"/>
                  <a:pt x="761" y="482"/>
                  <a:pt x="761" y="482"/>
                </a:cubicBezTo>
                <a:cubicBezTo>
                  <a:pt x="760" y="482"/>
                  <a:pt x="760" y="482"/>
                  <a:pt x="759" y="481"/>
                </a:cubicBezTo>
                <a:cubicBezTo>
                  <a:pt x="759" y="480"/>
                  <a:pt x="759" y="480"/>
                  <a:pt x="759" y="479"/>
                </a:cubicBezTo>
                <a:cubicBezTo>
                  <a:pt x="759" y="479"/>
                  <a:pt x="759" y="478"/>
                  <a:pt x="758" y="478"/>
                </a:cubicBezTo>
                <a:cubicBezTo>
                  <a:pt x="758" y="477"/>
                  <a:pt x="758" y="478"/>
                  <a:pt x="758" y="477"/>
                </a:cubicBezTo>
                <a:cubicBezTo>
                  <a:pt x="758" y="477"/>
                  <a:pt x="758" y="477"/>
                  <a:pt x="758" y="476"/>
                </a:cubicBezTo>
                <a:cubicBezTo>
                  <a:pt x="758" y="476"/>
                  <a:pt x="756" y="475"/>
                  <a:pt x="756" y="476"/>
                </a:cubicBezTo>
                <a:cubicBezTo>
                  <a:pt x="756" y="475"/>
                  <a:pt x="755" y="476"/>
                  <a:pt x="755" y="476"/>
                </a:cubicBezTo>
                <a:cubicBezTo>
                  <a:pt x="755" y="476"/>
                  <a:pt x="755" y="475"/>
                  <a:pt x="755" y="475"/>
                </a:cubicBezTo>
                <a:cubicBezTo>
                  <a:pt x="755" y="475"/>
                  <a:pt x="756" y="475"/>
                  <a:pt x="756" y="475"/>
                </a:cubicBezTo>
                <a:cubicBezTo>
                  <a:pt x="755" y="475"/>
                  <a:pt x="755" y="475"/>
                  <a:pt x="755" y="474"/>
                </a:cubicBezTo>
                <a:cubicBezTo>
                  <a:pt x="755" y="474"/>
                  <a:pt x="755" y="474"/>
                  <a:pt x="755" y="473"/>
                </a:cubicBezTo>
                <a:cubicBezTo>
                  <a:pt x="754" y="474"/>
                  <a:pt x="755" y="472"/>
                  <a:pt x="755" y="472"/>
                </a:cubicBezTo>
                <a:cubicBezTo>
                  <a:pt x="755" y="472"/>
                  <a:pt x="755" y="472"/>
                  <a:pt x="755" y="471"/>
                </a:cubicBezTo>
                <a:cubicBezTo>
                  <a:pt x="755" y="471"/>
                  <a:pt x="755" y="471"/>
                  <a:pt x="755" y="471"/>
                </a:cubicBezTo>
                <a:cubicBezTo>
                  <a:pt x="755" y="471"/>
                  <a:pt x="755" y="471"/>
                  <a:pt x="755" y="470"/>
                </a:cubicBezTo>
                <a:cubicBezTo>
                  <a:pt x="755" y="470"/>
                  <a:pt x="755" y="470"/>
                  <a:pt x="755" y="469"/>
                </a:cubicBezTo>
                <a:cubicBezTo>
                  <a:pt x="755" y="470"/>
                  <a:pt x="753" y="469"/>
                  <a:pt x="754" y="469"/>
                </a:cubicBezTo>
                <a:cubicBezTo>
                  <a:pt x="754" y="469"/>
                  <a:pt x="754" y="468"/>
                  <a:pt x="755" y="468"/>
                </a:cubicBezTo>
                <a:cubicBezTo>
                  <a:pt x="755" y="467"/>
                  <a:pt x="756" y="467"/>
                  <a:pt x="756" y="467"/>
                </a:cubicBezTo>
                <a:cubicBezTo>
                  <a:pt x="755" y="467"/>
                  <a:pt x="755" y="468"/>
                  <a:pt x="754" y="468"/>
                </a:cubicBezTo>
                <a:cubicBezTo>
                  <a:pt x="754" y="469"/>
                  <a:pt x="753" y="469"/>
                  <a:pt x="753" y="468"/>
                </a:cubicBezTo>
                <a:cubicBezTo>
                  <a:pt x="753" y="468"/>
                  <a:pt x="753" y="468"/>
                  <a:pt x="753" y="467"/>
                </a:cubicBezTo>
                <a:cubicBezTo>
                  <a:pt x="753" y="467"/>
                  <a:pt x="754" y="465"/>
                  <a:pt x="754" y="465"/>
                </a:cubicBezTo>
                <a:cubicBezTo>
                  <a:pt x="753" y="464"/>
                  <a:pt x="755" y="464"/>
                  <a:pt x="755" y="464"/>
                </a:cubicBezTo>
                <a:cubicBezTo>
                  <a:pt x="755" y="464"/>
                  <a:pt x="754" y="464"/>
                  <a:pt x="753" y="464"/>
                </a:cubicBezTo>
                <a:cubicBezTo>
                  <a:pt x="753" y="464"/>
                  <a:pt x="753" y="464"/>
                  <a:pt x="753" y="464"/>
                </a:cubicBezTo>
                <a:cubicBezTo>
                  <a:pt x="753" y="464"/>
                  <a:pt x="752" y="463"/>
                  <a:pt x="752" y="463"/>
                </a:cubicBezTo>
                <a:cubicBezTo>
                  <a:pt x="752" y="464"/>
                  <a:pt x="753" y="465"/>
                  <a:pt x="753" y="466"/>
                </a:cubicBezTo>
                <a:cubicBezTo>
                  <a:pt x="753" y="466"/>
                  <a:pt x="753" y="466"/>
                  <a:pt x="753" y="466"/>
                </a:cubicBezTo>
                <a:cubicBezTo>
                  <a:pt x="751" y="466"/>
                  <a:pt x="752" y="464"/>
                  <a:pt x="751" y="464"/>
                </a:cubicBezTo>
                <a:cubicBezTo>
                  <a:pt x="751" y="464"/>
                  <a:pt x="751" y="464"/>
                  <a:pt x="751" y="465"/>
                </a:cubicBezTo>
                <a:cubicBezTo>
                  <a:pt x="751" y="464"/>
                  <a:pt x="751" y="463"/>
                  <a:pt x="750" y="462"/>
                </a:cubicBezTo>
                <a:cubicBezTo>
                  <a:pt x="750" y="461"/>
                  <a:pt x="750" y="461"/>
                  <a:pt x="750" y="461"/>
                </a:cubicBezTo>
                <a:cubicBezTo>
                  <a:pt x="750" y="461"/>
                  <a:pt x="750" y="461"/>
                  <a:pt x="750" y="461"/>
                </a:cubicBezTo>
                <a:cubicBezTo>
                  <a:pt x="750" y="460"/>
                  <a:pt x="750" y="460"/>
                  <a:pt x="750" y="460"/>
                </a:cubicBezTo>
                <a:cubicBezTo>
                  <a:pt x="750" y="460"/>
                  <a:pt x="750" y="459"/>
                  <a:pt x="750" y="459"/>
                </a:cubicBezTo>
                <a:cubicBezTo>
                  <a:pt x="750" y="458"/>
                  <a:pt x="749" y="459"/>
                  <a:pt x="749" y="458"/>
                </a:cubicBezTo>
                <a:cubicBezTo>
                  <a:pt x="749" y="458"/>
                  <a:pt x="749" y="458"/>
                  <a:pt x="749" y="458"/>
                </a:cubicBezTo>
                <a:cubicBezTo>
                  <a:pt x="749" y="458"/>
                  <a:pt x="750" y="458"/>
                  <a:pt x="750" y="458"/>
                </a:cubicBezTo>
                <a:cubicBezTo>
                  <a:pt x="749" y="458"/>
                  <a:pt x="750" y="458"/>
                  <a:pt x="750" y="458"/>
                </a:cubicBezTo>
                <a:cubicBezTo>
                  <a:pt x="750" y="458"/>
                  <a:pt x="750" y="458"/>
                  <a:pt x="750" y="458"/>
                </a:cubicBezTo>
                <a:cubicBezTo>
                  <a:pt x="750" y="458"/>
                  <a:pt x="751" y="458"/>
                  <a:pt x="750" y="457"/>
                </a:cubicBezTo>
                <a:cubicBezTo>
                  <a:pt x="750" y="457"/>
                  <a:pt x="750" y="457"/>
                  <a:pt x="750" y="458"/>
                </a:cubicBezTo>
                <a:cubicBezTo>
                  <a:pt x="750" y="457"/>
                  <a:pt x="751" y="457"/>
                  <a:pt x="751" y="457"/>
                </a:cubicBezTo>
                <a:cubicBezTo>
                  <a:pt x="751" y="456"/>
                  <a:pt x="752" y="456"/>
                  <a:pt x="752" y="455"/>
                </a:cubicBezTo>
                <a:cubicBezTo>
                  <a:pt x="753" y="455"/>
                  <a:pt x="753" y="455"/>
                  <a:pt x="753" y="454"/>
                </a:cubicBezTo>
                <a:cubicBezTo>
                  <a:pt x="753" y="454"/>
                  <a:pt x="753" y="453"/>
                  <a:pt x="752" y="453"/>
                </a:cubicBezTo>
                <a:cubicBezTo>
                  <a:pt x="752" y="453"/>
                  <a:pt x="752" y="454"/>
                  <a:pt x="752" y="454"/>
                </a:cubicBezTo>
                <a:cubicBezTo>
                  <a:pt x="752" y="455"/>
                  <a:pt x="752" y="455"/>
                  <a:pt x="752" y="454"/>
                </a:cubicBezTo>
                <a:cubicBezTo>
                  <a:pt x="752" y="454"/>
                  <a:pt x="752" y="453"/>
                  <a:pt x="751" y="453"/>
                </a:cubicBezTo>
                <a:cubicBezTo>
                  <a:pt x="752" y="453"/>
                  <a:pt x="751" y="452"/>
                  <a:pt x="751" y="452"/>
                </a:cubicBezTo>
                <a:cubicBezTo>
                  <a:pt x="751" y="453"/>
                  <a:pt x="750" y="453"/>
                  <a:pt x="751" y="453"/>
                </a:cubicBezTo>
                <a:cubicBezTo>
                  <a:pt x="751" y="453"/>
                  <a:pt x="750" y="453"/>
                  <a:pt x="750" y="453"/>
                </a:cubicBezTo>
                <a:cubicBezTo>
                  <a:pt x="750" y="454"/>
                  <a:pt x="751" y="454"/>
                  <a:pt x="751" y="454"/>
                </a:cubicBezTo>
                <a:cubicBezTo>
                  <a:pt x="751" y="454"/>
                  <a:pt x="751" y="455"/>
                  <a:pt x="750" y="456"/>
                </a:cubicBezTo>
                <a:cubicBezTo>
                  <a:pt x="750" y="456"/>
                  <a:pt x="749" y="455"/>
                  <a:pt x="749" y="455"/>
                </a:cubicBezTo>
                <a:cubicBezTo>
                  <a:pt x="749" y="455"/>
                  <a:pt x="750" y="456"/>
                  <a:pt x="749" y="456"/>
                </a:cubicBezTo>
                <a:cubicBezTo>
                  <a:pt x="749" y="456"/>
                  <a:pt x="749" y="455"/>
                  <a:pt x="749" y="455"/>
                </a:cubicBezTo>
                <a:cubicBezTo>
                  <a:pt x="748" y="454"/>
                  <a:pt x="749" y="454"/>
                  <a:pt x="749" y="453"/>
                </a:cubicBezTo>
                <a:cubicBezTo>
                  <a:pt x="749" y="453"/>
                  <a:pt x="749" y="454"/>
                  <a:pt x="749" y="454"/>
                </a:cubicBezTo>
                <a:cubicBezTo>
                  <a:pt x="750" y="453"/>
                  <a:pt x="750" y="452"/>
                  <a:pt x="750" y="451"/>
                </a:cubicBezTo>
                <a:cubicBezTo>
                  <a:pt x="750" y="451"/>
                  <a:pt x="751" y="449"/>
                  <a:pt x="751" y="449"/>
                </a:cubicBezTo>
                <a:cubicBezTo>
                  <a:pt x="751" y="448"/>
                  <a:pt x="752" y="447"/>
                  <a:pt x="752" y="446"/>
                </a:cubicBezTo>
                <a:cubicBezTo>
                  <a:pt x="753" y="445"/>
                  <a:pt x="753" y="445"/>
                  <a:pt x="753" y="444"/>
                </a:cubicBezTo>
                <a:cubicBezTo>
                  <a:pt x="753" y="444"/>
                  <a:pt x="753" y="443"/>
                  <a:pt x="753" y="444"/>
                </a:cubicBezTo>
                <a:cubicBezTo>
                  <a:pt x="753" y="444"/>
                  <a:pt x="753" y="443"/>
                  <a:pt x="753" y="443"/>
                </a:cubicBezTo>
                <a:cubicBezTo>
                  <a:pt x="753" y="442"/>
                  <a:pt x="753" y="442"/>
                  <a:pt x="753" y="442"/>
                </a:cubicBezTo>
                <a:cubicBezTo>
                  <a:pt x="752" y="442"/>
                  <a:pt x="753" y="441"/>
                  <a:pt x="753" y="441"/>
                </a:cubicBezTo>
                <a:cubicBezTo>
                  <a:pt x="752" y="440"/>
                  <a:pt x="752" y="440"/>
                  <a:pt x="752" y="440"/>
                </a:cubicBezTo>
                <a:cubicBezTo>
                  <a:pt x="752" y="440"/>
                  <a:pt x="750" y="440"/>
                  <a:pt x="750" y="439"/>
                </a:cubicBezTo>
                <a:cubicBezTo>
                  <a:pt x="750" y="439"/>
                  <a:pt x="749" y="438"/>
                  <a:pt x="749" y="438"/>
                </a:cubicBezTo>
                <a:cubicBezTo>
                  <a:pt x="749" y="437"/>
                  <a:pt x="749" y="437"/>
                  <a:pt x="749" y="437"/>
                </a:cubicBezTo>
                <a:cubicBezTo>
                  <a:pt x="748" y="436"/>
                  <a:pt x="748" y="436"/>
                  <a:pt x="748" y="435"/>
                </a:cubicBezTo>
                <a:cubicBezTo>
                  <a:pt x="748" y="434"/>
                  <a:pt x="748" y="434"/>
                  <a:pt x="747" y="434"/>
                </a:cubicBezTo>
                <a:cubicBezTo>
                  <a:pt x="747" y="433"/>
                  <a:pt x="747" y="433"/>
                  <a:pt x="747" y="433"/>
                </a:cubicBezTo>
                <a:cubicBezTo>
                  <a:pt x="747" y="431"/>
                  <a:pt x="745" y="431"/>
                  <a:pt x="745" y="430"/>
                </a:cubicBezTo>
                <a:cubicBezTo>
                  <a:pt x="744" y="430"/>
                  <a:pt x="743" y="429"/>
                  <a:pt x="742" y="430"/>
                </a:cubicBezTo>
                <a:cubicBezTo>
                  <a:pt x="742" y="430"/>
                  <a:pt x="742" y="429"/>
                  <a:pt x="741" y="430"/>
                </a:cubicBezTo>
                <a:cubicBezTo>
                  <a:pt x="741" y="430"/>
                  <a:pt x="741" y="430"/>
                  <a:pt x="741" y="430"/>
                </a:cubicBezTo>
                <a:cubicBezTo>
                  <a:pt x="741" y="430"/>
                  <a:pt x="739" y="430"/>
                  <a:pt x="740" y="431"/>
                </a:cubicBezTo>
                <a:cubicBezTo>
                  <a:pt x="740" y="431"/>
                  <a:pt x="739" y="430"/>
                  <a:pt x="739" y="431"/>
                </a:cubicBezTo>
                <a:cubicBezTo>
                  <a:pt x="739" y="431"/>
                  <a:pt x="741" y="432"/>
                  <a:pt x="740" y="432"/>
                </a:cubicBezTo>
                <a:cubicBezTo>
                  <a:pt x="740" y="431"/>
                  <a:pt x="735" y="434"/>
                  <a:pt x="735" y="433"/>
                </a:cubicBezTo>
                <a:cubicBezTo>
                  <a:pt x="734" y="433"/>
                  <a:pt x="735" y="433"/>
                  <a:pt x="735" y="433"/>
                </a:cubicBezTo>
                <a:cubicBezTo>
                  <a:pt x="735" y="433"/>
                  <a:pt x="734" y="434"/>
                  <a:pt x="733" y="434"/>
                </a:cubicBezTo>
                <a:cubicBezTo>
                  <a:pt x="733" y="434"/>
                  <a:pt x="733" y="434"/>
                  <a:pt x="732" y="434"/>
                </a:cubicBezTo>
                <a:cubicBezTo>
                  <a:pt x="732" y="434"/>
                  <a:pt x="732" y="434"/>
                  <a:pt x="731" y="434"/>
                </a:cubicBezTo>
                <a:cubicBezTo>
                  <a:pt x="731" y="434"/>
                  <a:pt x="730" y="434"/>
                  <a:pt x="730" y="434"/>
                </a:cubicBezTo>
                <a:cubicBezTo>
                  <a:pt x="730" y="433"/>
                  <a:pt x="730" y="432"/>
                  <a:pt x="730" y="432"/>
                </a:cubicBezTo>
                <a:cubicBezTo>
                  <a:pt x="730" y="433"/>
                  <a:pt x="729" y="434"/>
                  <a:pt x="730" y="434"/>
                </a:cubicBezTo>
                <a:cubicBezTo>
                  <a:pt x="730" y="434"/>
                  <a:pt x="731" y="433"/>
                  <a:pt x="731" y="433"/>
                </a:cubicBezTo>
                <a:cubicBezTo>
                  <a:pt x="731" y="432"/>
                  <a:pt x="731" y="432"/>
                  <a:pt x="730" y="431"/>
                </a:cubicBezTo>
                <a:cubicBezTo>
                  <a:pt x="730" y="431"/>
                  <a:pt x="729" y="431"/>
                  <a:pt x="729" y="430"/>
                </a:cubicBezTo>
                <a:cubicBezTo>
                  <a:pt x="729" y="430"/>
                  <a:pt x="729" y="431"/>
                  <a:pt x="730" y="431"/>
                </a:cubicBezTo>
                <a:cubicBezTo>
                  <a:pt x="729" y="431"/>
                  <a:pt x="728" y="429"/>
                  <a:pt x="729" y="429"/>
                </a:cubicBezTo>
                <a:cubicBezTo>
                  <a:pt x="729" y="429"/>
                  <a:pt x="730" y="431"/>
                  <a:pt x="731" y="430"/>
                </a:cubicBezTo>
                <a:cubicBezTo>
                  <a:pt x="731" y="430"/>
                  <a:pt x="730" y="430"/>
                  <a:pt x="730" y="430"/>
                </a:cubicBezTo>
                <a:cubicBezTo>
                  <a:pt x="730" y="430"/>
                  <a:pt x="730" y="430"/>
                  <a:pt x="730" y="429"/>
                </a:cubicBezTo>
                <a:cubicBezTo>
                  <a:pt x="730" y="430"/>
                  <a:pt x="730" y="429"/>
                  <a:pt x="730" y="429"/>
                </a:cubicBezTo>
                <a:cubicBezTo>
                  <a:pt x="729" y="429"/>
                  <a:pt x="728" y="429"/>
                  <a:pt x="728" y="428"/>
                </a:cubicBezTo>
                <a:cubicBezTo>
                  <a:pt x="728" y="428"/>
                  <a:pt x="730" y="427"/>
                  <a:pt x="730" y="427"/>
                </a:cubicBezTo>
                <a:cubicBezTo>
                  <a:pt x="729" y="427"/>
                  <a:pt x="729" y="428"/>
                  <a:pt x="729" y="427"/>
                </a:cubicBezTo>
                <a:cubicBezTo>
                  <a:pt x="729" y="427"/>
                  <a:pt x="728" y="428"/>
                  <a:pt x="728" y="428"/>
                </a:cubicBezTo>
                <a:cubicBezTo>
                  <a:pt x="728" y="428"/>
                  <a:pt x="728" y="427"/>
                  <a:pt x="728" y="427"/>
                </a:cubicBezTo>
                <a:cubicBezTo>
                  <a:pt x="728" y="427"/>
                  <a:pt x="727" y="427"/>
                  <a:pt x="727" y="428"/>
                </a:cubicBezTo>
                <a:cubicBezTo>
                  <a:pt x="727" y="428"/>
                  <a:pt x="728" y="428"/>
                  <a:pt x="728" y="428"/>
                </a:cubicBezTo>
                <a:cubicBezTo>
                  <a:pt x="728" y="428"/>
                  <a:pt x="727" y="429"/>
                  <a:pt x="728" y="429"/>
                </a:cubicBezTo>
                <a:cubicBezTo>
                  <a:pt x="728" y="429"/>
                  <a:pt x="728" y="429"/>
                  <a:pt x="727" y="429"/>
                </a:cubicBezTo>
                <a:cubicBezTo>
                  <a:pt x="726" y="428"/>
                  <a:pt x="725" y="427"/>
                  <a:pt x="724" y="427"/>
                </a:cubicBezTo>
                <a:cubicBezTo>
                  <a:pt x="724" y="427"/>
                  <a:pt x="721" y="426"/>
                  <a:pt x="721" y="426"/>
                </a:cubicBezTo>
                <a:cubicBezTo>
                  <a:pt x="721" y="426"/>
                  <a:pt x="723" y="426"/>
                  <a:pt x="723" y="426"/>
                </a:cubicBezTo>
                <a:cubicBezTo>
                  <a:pt x="723" y="426"/>
                  <a:pt x="724" y="426"/>
                  <a:pt x="724" y="426"/>
                </a:cubicBezTo>
                <a:cubicBezTo>
                  <a:pt x="724" y="426"/>
                  <a:pt x="724" y="426"/>
                  <a:pt x="724" y="426"/>
                </a:cubicBezTo>
                <a:cubicBezTo>
                  <a:pt x="724" y="426"/>
                  <a:pt x="724" y="427"/>
                  <a:pt x="725" y="426"/>
                </a:cubicBezTo>
                <a:cubicBezTo>
                  <a:pt x="725" y="426"/>
                  <a:pt x="725" y="426"/>
                  <a:pt x="725" y="425"/>
                </a:cubicBezTo>
                <a:cubicBezTo>
                  <a:pt x="725" y="425"/>
                  <a:pt x="724" y="426"/>
                  <a:pt x="724" y="425"/>
                </a:cubicBezTo>
                <a:cubicBezTo>
                  <a:pt x="724" y="425"/>
                  <a:pt x="723" y="425"/>
                  <a:pt x="722" y="425"/>
                </a:cubicBezTo>
                <a:cubicBezTo>
                  <a:pt x="722" y="426"/>
                  <a:pt x="722" y="425"/>
                  <a:pt x="722" y="425"/>
                </a:cubicBezTo>
                <a:cubicBezTo>
                  <a:pt x="722" y="425"/>
                  <a:pt x="722" y="425"/>
                  <a:pt x="722" y="425"/>
                </a:cubicBezTo>
                <a:cubicBezTo>
                  <a:pt x="722" y="426"/>
                  <a:pt x="720" y="426"/>
                  <a:pt x="719" y="426"/>
                </a:cubicBezTo>
                <a:cubicBezTo>
                  <a:pt x="718" y="426"/>
                  <a:pt x="716" y="427"/>
                  <a:pt x="715" y="427"/>
                </a:cubicBezTo>
                <a:cubicBezTo>
                  <a:pt x="715" y="426"/>
                  <a:pt x="716" y="426"/>
                  <a:pt x="717" y="426"/>
                </a:cubicBezTo>
                <a:cubicBezTo>
                  <a:pt x="717" y="426"/>
                  <a:pt x="718" y="426"/>
                  <a:pt x="718" y="426"/>
                </a:cubicBezTo>
                <a:cubicBezTo>
                  <a:pt x="718" y="425"/>
                  <a:pt x="716" y="425"/>
                  <a:pt x="717" y="424"/>
                </a:cubicBezTo>
                <a:cubicBezTo>
                  <a:pt x="717" y="424"/>
                  <a:pt x="717" y="424"/>
                  <a:pt x="717" y="424"/>
                </a:cubicBezTo>
                <a:cubicBezTo>
                  <a:pt x="717" y="424"/>
                  <a:pt x="716" y="426"/>
                  <a:pt x="716" y="426"/>
                </a:cubicBezTo>
                <a:cubicBezTo>
                  <a:pt x="716" y="425"/>
                  <a:pt x="716" y="425"/>
                  <a:pt x="716" y="424"/>
                </a:cubicBezTo>
                <a:cubicBezTo>
                  <a:pt x="716" y="424"/>
                  <a:pt x="715" y="426"/>
                  <a:pt x="715" y="426"/>
                </a:cubicBezTo>
                <a:cubicBezTo>
                  <a:pt x="714" y="427"/>
                  <a:pt x="713" y="427"/>
                  <a:pt x="711" y="427"/>
                </a:cubicBezTo>
                <a:cubicBezTo>
                  <a:pt x="712" y="427"/>
                  <a:pt x="712" y="427"/>
                  <a:pt x="712" y="427"/>
                </a:cubicBezTo>
                <a:cubicBezTo>
                  <a:pt x="712" y="427"/>
                  <a:pt x="712" y="427"/>
                  <a:pt x="713" y="427"/>
                </a:cubicBezTo>
                <a:cubicBezTo>
                  <a:pt x="713" y="426"/>
                  <a:pt x="713" y="426"/>
                  <a:pt x="713" y="426"/>
                </a:cubicBezTo>
                <a:cubicBezTo>
                  <a:pt x="714" y="426"/>
                  <a:pt x="713" y="426"/>
                  <a:pt x="713" y="425"/>
                </a:cubicBezTo>
                <a:cubicBezTo>
                  <a:pt x="713" y="426"/>
                  <a:pt x="712" y="426"/>
                  <a:pt x="712" y="427"/>
                </a:cubicBezTo>
                <a:cubicBezTo>
                  <a:pt x="712" y="427"/>
                  <a:pt x="711" y="427"/>
                  <a:pt x="711" y="427"/>
                </a:cubicBezTo>
                <a:cubicBezTo>
                  <a:pt x="711" y="427"/>
                  <a:pt x="711" y="427"/>
                  <a:pt x="711" y="427"/>
                </a:cubicBezTo>
                <a:cubicBezTo>
                  <a:pt x="711" y="427"/>
                  <a:pt x="711" y="427"/>
                  <a:pt x="711" y="427"/>
                </a:cubicBezTo>
                <a:cubicBezTo>
                  <a:pt x="711" y="428"/>
                  <a:pt x="709" y="428"/>
                  <a:pt x="708" y="428"/>
                </a:cubicBezTo>
                <a:cubicBezTo>
                  <a:pt x="708" y="428"/>
                  <a:pt x="707" y="428"/>
                  <a:pt x="707" y="428"/>
                </a:cubicBezTo>
                <a:cubicBezTo>
                  <a:pt x="707" y="428"/>
                  <a:pt x="708" y="428"/>
                  <a:pt x="709" y="428"/>
                </a:cubicBezTo>
                <a:cubicBezTo>
                  <a:pt x="709" y="428"/>
                  <a:pt x="709" y="427"/>
                  <a:pt x="709" y="427"/>
                </a:cubicBezTo>
                <a:cubicBezTo>
                  <a:pt x="709" y="427"/>
                  <a:pt x="709" y="427"/>
                  <a:pt x="709" y="426"/>
                </a:cubicBezTo>
                <a:cubicBezTo>
                  <a:pt x="709" y="426"/>
                  <a:pt x="709" y="426"/>
                  <a:pt x="709" y="426"/>
                </a:cubicBezTo>
                <a:cubicBezTo>
                  <a:pt x="709" y="426"/>
                  <a:pt x="708" y="427"/>
                  <a:pt x="708" y="426"/>
                </a:cubicBezTo>
                <a:cubicBezTo>
                  <a:pt x="708" y="425"/>
                  <a:pt x="708" y="425"/>
                  <a:pt x="709" y="424"/>
                </a:cubicBezTo>
                <a:cubicBezTo>
                  <a:pt x="709" y="424"/>
                  <a:pt x="709" y="423"/>
                  <a:pt x="708" y="423"/>
                </a:cubicBezTo>
                <a:cubicBezTo>
                  <a:pt x="708" y="423"/>
                  <a:pt x="708" y="423"/>
                  <a:pt x="708" y="423"/>
                </a:cubicBezTo>
                <a:cubicBezTo>
                  <a:pt x="708" y="424"/>
                  <a:pt x="707" y="425"/>
                  <a:pt x="707" y="426"/>
                </a:cubicBezTo>
                <a:cubicBezTo>
                  <a:pt x="706" y="426"/>
                  <a:pt x="706" y="427"/>
                  <a:pt x="706" y="427"/>
                </a:cubicBezTo>
                <a:cubicBezTo>
                  <a:pt x="706" y="427"/>
                  <a:pt x="705" y="427"/>
                  <a:pt x="705" y="427"/>
                </a:cubicBezTo>
                <a:cubicBezTo>
                  <a:pt x="705" y="426"/>
                  <a:pt x="704" y="426"/>
                  <a:pt x="704" y="426"/>
                </a:cubicBezTo>
                <a:cubicBezTo>
                  <a:pt x="704" y="426"/>
                  <a:pt x="704" y="426"/>
                  <a:pt x="703" y="427"/>
                </a:cubicBezTo>
                <a:cubicBezTo>
                  <a:pt x="703" y="427"/>
                  <a:pt x="702" y="427"/>
                  <a:pt x="702" y="426"/>
                </a:cubicBezTo>
                <a:cubicBezTo>
                  <a:pt x="701" y="428"/>
                  <a:pt x="699" y="425"/>
                  <a:pt x="698" y="426"/>
                </a:cubicBezTo>
                <a:cubicBezTo>
                  <a:pt x="698" y="426"/>
                  <a:pt x="699" y="426"/>
                  <a:pt x="699" y="426"/>
                </a:cubicBezTo>
                <a:cubicBezTo>
                  <a:pt x="699" y="426"/>
                  <a:pt x="698" y="426"/>
                  <a:pt x="697" y="427"/>
                </a:cubicBezTo>
                <a:cubicBezTo>
                  <a:pt x="697" y="427"/>
                  <a:pt x="696" y="427"/>
                  <a:pt x="695" y="427"/>
                </a:cubicBezTo>
                <a:cubicBezTo>
                  <a:pt x="695" y="427"/>
                  <a:pt x="696" y="426"/>
                  <a:pt x="695" y="426"/>
                </a:cubicBezTo>
                <a:cubicBezTo>
                  <a:pt x="695" y="426"/>
                  <a:pt x="695" y="427"/>
                  <a:pt x="695" y="427"/>
                </a:cubicBezTo>
                <a:cubicBezTo>
                  <a:pt x="694" y="428"/>
                  <a:pt x="692" y="429"/>
                  <a:pt x="692" y="429"/>
                </a:cubicBezTo>
                <a:cubicBezTo>
                  <a:pt x="692" y="429"/>
                  <a:pt x="691" y="429"/>
                  <a:pt x="691" y="429"/>
                </a:cubicBezTo>
                <a:cubicBezTo>
                  <a:pt x="691" y="429"/>
                  <a:pt x="690" y="429"/>
                  <a:pt x="690" y="428"/>
                </a:cubicBezTo>
                <a:cubicBezTo>
                  <a:pt x="690" y="428"/>
                  <a:pt x="691" y="428"/>
                  <a:pt x="691" y="428"/>
                </a:cubicBezTo>
                <a:cubicBezTo>
                  <a:pt x="690" y="428"/>
                  <a:pt x="690" y="428"/>
                  <a:pt x="690" y="428"/>
                </a:cubicBezTo>
                <a:cubicBezTo>
                  <a:pt x="690" y="428"/>
                  <a:pt x="689" y="428"/>
                  <a:pt x="689" y="428"/>
                </a:cubicBezTo>
                <a:cubicBezTo>
                  <a:pt x="688" y="428"/>
                  <a:pt x="689" y="427"/>
                  <a:pt x="688" y="427"/>
                </a:cubicBezTo>
                <a:cubicBezTo>
                  <a:pt x="688" y="427"/>
                  <a:pt x="688" y="426"/>
                  <a:pt x="687" y="426"/>
                </a:cubicBezTo>
                <a:cubicBezTo>
                  <a:pt x="686" y="426"/>
                  <a:pt x="686" y="427"/>
                  <a:pt x="685" y="428"/>
                </a:cubicBezTo>
                <a:cubicBezTo>
                  <a:pt x="685" y="428"/>
                  <a:pt x="683" y="429"/>
                  <a:pt x="684" y="430"/>
                </a:cubicBezTo>
                <a:cubicBezTo>
                  <a:pt x="685" y="430"/>
                  <a:pt x="686" y="430"/>
                  <a:pt x="687" y="430"/>
                </a:cubicBezTo>
                <a:cubicBezTo>
                  <a:pt x="687" y="430"/>
                  <a:pt x="688" y="430"/>
                  <a:pt x="688" y="429"/>
                </a:cubicBezTo>
                <a:cubicBezTo>
                  <a:pt x="689" y="429"/>
                  <a:pt x="689" y="429"/>
                  <a:pt x="689" y="429"/>
                </a:cubicBezTo>
                <a:cubicBezTo>
                  <a:pt x="689" y="429"/>
                  <a:pt x="689" y="430"/>
                  <a:pt x="690" y="429"/>
                </a:cubicBezTo>
                <a:cubicBezTo>
                  <a:pt x="690" y="429"/>
                  <a:pt x="690" y="429"/>
                  <a:pt x="690" y="429"/>
                </a:cubicBezTo>
                <a:cubicBezTo>
                  <a:pt x="690" y="429"/>
                  <a:pt x="690" y="429"/>
                  <a:pt x="690" y="429"/>
                </a:cubicBezTo>
                <a:cubicBezTo>
                  <a:pt x="690" y="429"/>
                  <a:pt x="691" y="429"/>
                  <a:pt x="691" y="429"/>
                </a:cubicBezTo>
                <a:cubicBezTo>
                  <a:pt x="691" y="429"/>
                  <a:pt x="691" y="429"/>
                  <a:pt x="691" y="429"/>
                </a:cubicBezTo>
                <a:cubicBezTo>
                  <a:pt x="691" y="429"/>
                  <a:pt x="691" y="429"/>
                  <a:pt x="691" y="429"/>
                </a:cubicBezTo>
                <a:cubicBezTo>
                  <a:pt x="691" y="430"/>
                  <a:pt x="690" y="430"/>
                  <a:pt x="690" y="430"/>
                </a:cubicBezTo>
                <a:cubicBezTo>
                  <a:pt x="690" y="430"/>
                  <a:pt x="690" y="430"/>
                  <a:pt x="690" y="430"/>
                </a:cubicBezTo>
                <a:cubicBezTo>
                  <a:pt x="689" y="430"/>
                  <a:pt x="689" y="430"/>
                  <a:pt x="689" y="431"/>
                </a:cubicBezTo>
                <a:cubicBezTo>
                  <a:pt x="689" y="431"/>
                  <a:pt x="690" y="431"/>
                  <a:pt x="690" y="431"/>
                </a:cubicBezTo>
                <a:cubicBezTo>
                  <a:pt x="690" y="431"/>
                  <a:pt x="690" y="432"/>
                  <a:pt x="690" y="432"/>
                </a:cubicBezTo>
                <a:cubicBezTo>
                  <a:pt x="691" y="432"/>
                  <a:pt x="691" y="431"/>
                  <a:pt x="692" y="431"/>
                </a:cubicBezTo>
                <a:cubicBezTo>
                  <a:pt x="692" y="430"/>
                  <a:pt x="693" y="430"/>
                  <a:pt x="693" y="430"/>
                </a:cubicBezTo>
                <a:cubicBezTo>
                  <a:pt x="693" y="430"/>
                  <a:pt x="693" y="430"/>
                  <a:pt x="693" y="430"/>
                </a:cubicBezTo>
                <a:cubicBezTo>
                  <a:pt x="693" y="430"/>
                  <a:pt x="693" y="430"/>
                  <a:pt x="694" y="430"/>
                </a:cubicBezTo>
                <a:cubicBezTo>
                  <a:pt x="693" y="430"/>
                  <a:pt x="693" y="431"/>
                  <a:pt x="693" y="431"/>
                </a:cubicBezTo>
                <a:cubicBezTo>
                  <a:pt x="693" y="431"/>
                  <a:pt x="693" y="431"/>
                  <a:pt x="693" y="431"/>
                </a:cubicBezTo>
                <a:cubicBezTo>
                  <a:pt x="693" y="431"/>
                  <a:pt x="693" y="432"/>
                  <a:pt x="693" y="431"/>
                </a:cubicBezTo>
                <a:cubicBezTo>
                  <a:pt x="692" y="432"/>
                  <a:pt x="694" y="431"/>
                  <a:pt x="693" y="432"/>
                </a:cubicBezTo>
                <a:cubicBezTo>
                  <a:pt x="693" y="432"/>
                  <a:pt x="693" y="432"/>
                  <a:pt x="693" y="432"/>
                </a:cubicBezTo>
                <a:cubicBezTo>
                  <a:pt x="693" y="432"/>
                  <a:pt x="693" y="432"/>
                  <a:pt x="693" y="433"/>
                </a:cubicBezTo>
                <a:cubicBezTo>
                  <a:pt x="693" y="433"/>
                  <a:pt x="692" y="433"/>
                  <a:pt x="692" y="433"/>
                </a:cubicBezTo>
                <a:cubicBezTo>
                  <a:pt x="692" y="433"/>
                  <a:pt x="692" y="433"/>
                  <a:pt x="692" y="432"/>
                </a:cubicBezTo>
                <a:cubicBezTo>
                  <a:pt x="692" y="432"/>
                  <a:pt x="691" y="433"/>
                  <a:pt x="691" y="433"/>
                </a:cubicBezTo>
                <a:cubicBezTo>
                  <a:pt x="691" y="433"/>
                  <a:pt x="690" y="433"/>
                  <a:pt x="690" y="434"/>
                </a:cubicBezTo>
                <a:cubicBezTo>
                  <a:pt x="690" y="434"/>
                  <a:pt x="691" y="434"/>
                  <a:pt x="691" y="434"/>
                </a:cubicBezTo>
                <a:cubicBezTo>
                  <a:pt x="691" y="434"/>
                  <a:pt x="692" y="434"/>
                  <a:pt x="691" y="435"/>
                </a:cubicBezTo>
                <a:cubicBezTo>
                  <a:pt x="691" y="435"/>
                  <a:pt x="690" y="434"/>
                  <a:pt x="689" y="434"/>
                </a:cubicBezTo>
                <a:cubicBezTo>
                  <a:pt x="690" y="434"/>
                  <a:pt x="690" y="435"/>
                  <a:pt x="690" y="435"/>
                </a:cubicBezTo>
                <a:cubicBezTo>
                  <a:pt x="690" y="435"/>
                  <a:pt x="689" y="435"/>
                  <a:pt x="689" y="435"/>
                </a:cubicBezTo>
                <a:cubicBezTo>
                  <a:pt x="689" y="435"/>
                  <a:pt x="689" y="436"/>
                  <a:pt x="689" y="436"/>
                </a:cubicBezTo>
                <a:cubicBezTo>
                  <a:pt x="690" y="436"/>
                  <a:pt x="690" y="436"/>
                  <a:pt x="690" y="436"/>
                </a:cubicBezTo>
                <a:cubicBezTo>
                  <a:pt x="690" y="436"/>
                  <a:pt x="690" y="437"/>
                  <a:pt x="690" y="437"/>
                </a:cubicBezTo>
                <a:cubicBezTo>
                  <a:pt x="690" y="437"/>
                  <a:pt x="690" y="437"/>
                  <a:pt x="691" y="437"/>
                </a:cubicBezTo>
                <a:cubicBezTo>
                  <a:pt x="691" y="437"/>
                  <a:pt x="692" y="437"/>
                  <a:pt x="692" y="437"/>
                </a:cubicBezTo>
                <a:cubicBezTo>
                  <a:pt x="692" y="437"/>
                  <a:pt x="692" y="437"/>
                  <a:pt x="692" y="437"/>
                </a:cubicBezTo>
                <a:cubicBezTo>
                  <a:pt x="691" y="438"/>
                  <a:pt x="693" y="437"/>
                  <a:pt x="693" y="438"/>
                </a:cubicBezTo>
                <a:cubicBezTo>
                  <a:pt x="693" y="438"/>
                  <a:pt x="693" y="438"/>
                  <a:pt x="693" y="438"/>
                </a:cubicBezTo>
                <a:cubicBezTo>
                  <a:pt x="693" y="438"/>
                  <a:pt x="694" y="439"/>
                  <a:pt x="693" y="439"/>
                </a:cubicBezTo>
                <a:cubicBezTo>
                  <a:pt x="694" y="439"/>
                  <a:pt x="694" y="439"/>
                  <a:pt x="694" y="439"/>
                </a:cubicBezTo>
                <a:cubicBezTo>
                  <a:pt x="694" y="439"/>
                  <a:pt x="694" y="439"/>
                  <a:pt x="694" y="439"/>
                </a:cubicBezTo>
                <a:cubicBezTo>
                  <a:pt x="694" y="439"/>
                  <a:pt x="694" y="440"/>
                  <a:pt x="694" y="440"/>
                </a:cubicBezTo>
                <a:cubicBezTo>
                  <a:pt x="694" y="440"/>
                  <a:pt x="693" y="439"/>
                  <a:pt x="693" y="440"/>
                </a:cubicBezTo>
                <a:cubicBezTo>
                  <a:pt x="693" y="440"/>
                  <a:pt x="694" y="440"/>
                  <a:pt x="694" y="440"/>
                </a:cubicBezTo>
                <a:cubicBezTo>
                  <a:pt x="694" y="440"/>
                  <a:pt x="694" y="440"/>
                  <a:pt x="694" y="441"/>
                </a:cubicBezTo>
                <a:cubicBezTo>
                  <a:pt x="694" y="441"/>
                  <a:pt x="694" y="440"/>
                  <a:pt x="694" y="440"/>
                </a:cubicBezTo>
                <a:cubicBezTo>
                  <a:pt x="694" y="440"/>
                  <a:pt x="693" y="441"/>
                  <a:pt x="693" y="441"/>
                </a:cubicBezTo>
                <a:cubicBezTo>
                  <a:pt x="693" y="440"/>
                  <a:pt x="693" y="442"/>
                  <a:pt x="693" y="442"/>
                </a:cubicBezTo>
                <a:cubicBezTo>
                  <a:pt x="692" y="442"/>
                  <a:pt x="692" y="441"/>
                  <a:pt x="692" y="440"/>
                </a:cubicBezTo>
                <a:cubicBezTo>
                  <a:pt x="692" y="441"/>
                  <a:pt x="691" y="441"/>
                  <a:pt x="691" y="442"/>
                </a:cubicBezTo>
                <a:cubicBezTo>
                  <a:pt x="691" y="442"/>
                  <a:pt x="690" y="443"/>
                  <a:pt x="690" y="442"/>
                </a:cubicBezTo>
                <a:cubicBezTo>
                  <a:pt x="690" y="441"/>
                  <a:pt x="692" y="441"/>
                  <a:pt x="692" y="440"/>
                </a:cubicBezTo>
                <a:cubicBezTo>
                  <a:pt x="692" y="440"/>
                  <a:pt x="692" y="440"/>
                  <a:pt x="692" y="440"/>
                </a:cubicBezTo>
                <a:cubicBezTo>
                  <a:pt x="692" y="440"/>
                  <a:pt x="692" y="440"/>
                  <a:pt x="691" y="440"/>
                </a:cubicBezTo>
                <a:cubicBezTo>
                  <a:pt x="691" y="440"/>
                  <a:pt x="691" y="440"/>
                  <a:pt x="691" y="441"/>
                </a:cubicBezTo>
                <a:cubicBezTo>
                  <a:pt x="691" y="441"/>
                  <a:pt x="691" y="441"/>
                  <a:pt x="691" y="440"/>
                </a:cubicBezTo>
                <a:cubicBezTo>
                  <a:pt x="691" y="440"/>
                  <a:pt x="690" y="439"/>
                  <a:pt x="690" y="439"/>
                </a:cubicBezTo>
                <a:cubicBezTo>
                  <a:pt x="690" y="439"/>
                  <a:pt x="690" y="439"/>
                  <a:pt x="690" y="439"/>
                </a:cubicBezTo>
                <a:cubicBezTo>
                  <a:pt x="690" y="439"/>
                  <a:pt x="689" y="439"/>
                  <a:pt x="689" y="439"/>
                </a:cubicBezTo>
                <a:cubicBezTo>
                  <a:pt x="689" y="439"/>
                  <a:pt x="689" y="438"/>
                  <a:pt x="689" y="438"/>
                </a:cubicBezTo>
                <a:cubicBezTo>
                  <a:pt x="689" y="438"/>
                  <a:pt x="688" y="438"/>
                  <a:pt x="688" y="438"/>
                </a:cubicBezTo>
                <a:cubicBezTo>
                  <a:pt x="688" y="438"/>
                  <a:pt x="688" y="438"/>
                  <a:pt x="687" y="438"/>
                </a:cubicBezTo>
                <a:cubicBezTo>
                  <a:pt x="687" y="438"/>
                  <a:pt x="688" y="437"/>
                  <a:pt x="688" y="437"/>
                </a:cubicBezTo>
                <a:cubicBezTo>
                  <a:pt x="688" y="437"/>
                  <a:pt x="688" y="437"/>
                  <a:pt x="688" y="437"/>
                </a:cubicBezTo>
                <a:cubicBezTo>
                  <a:pt x="688" y="437"/>
                  <a:pt x="688" y="437"/>
                  <a:pt x="687" y="437"/>
                </a:cubicBezTo>
                <a:cubicBezTo>
                  <a:pt x="687" y="437"/>
                  <a:pt x="688" y="436"/>
                  <a:pt x="687" y="437"/>
                </a:cubicBezTo>
                <a:cubicBezTo>
                  <a:pt x="687" y="437"/>
                  <a:pt x="687" y="437"/>
                  <a:pt x="686" y="436"/>
                </a:cubicBezTo>
                <a:cubicBezTo>
                  <a:pt x="686" y="436"/>
                  <a:pt x="685" y="435"/>
                  <a:pt x="685" y="436"/>
                </a:cubicBezTo>
                <a:cubicBezTo>
                  <a:pt x="684" y="435"/>
                  <a:pt x="685" y="436"/>
                  <a:pt x="684" y="436"/>
                </a:cubicBezTo>
                <a:cubicBezTo>
                  <a:pt x="684" y="436"/>
                  <a:pt x="686" y="437"/>
                  <a:pt x="685" y="437"/>
                </a:cubicBezTo>
                <a:cubicBezTo>
                  <a:pt x="685" y="437"/>
                  <a:pt x="685" y="438"/>
                  <a:pt x="685" y="438"/>
                </a:cubicBezTo>
                <a:cubicBezTo>
                  <a:pt x="685" y="438"/>
                  <a:pt x="685" y="438"/>
                  <a:pt x="685" y="438"/>
                </a:cubicBezTo>
                <a:cubicBezTo>
                  <a:pt x="685" y="438"/>
                  <a:pt x="685" y="438"/>
                  <a:pt x="685" y="438"/>
                </a:cubicBezTo>
                <a:cubicBezTo>
                  <a:pt x="685" y="438"/>
                  <a:pt x="684" y="439"/>
                  <a:pt x="685" y="439"/>
                </a:cubicBezTo>
                <a:cubicBezTo>
                  <a:pt x="685" y="440"/>
                  <a:pt x="683" y="441"/>
                  <a:pt x="683" y="441"/>
                </a:cubicBezTo>
                <a:cubicBezTo>
                  <a:pt x="683" y="440"/>
                  <a:pt x="683" y="439"/>
                  <a:pt x="683" y="439"/>
                </a:cubicBezTo>
                <a:cubicBezTo>
                  <a:pt x="683" y="439"/>
                  <a:pt x="682" y="439"/>
                  <a:pt x="682" y="438"/>
                </a:cubicBezTo>
                <a:cubicBezTo>
                  <a:pt x="682" y="438"/>
                  <a:pt x="682" y="439"/>
                  <a:pt x="682" y="439"/>
                </a:cubicBezTo>
                <a:cubicBezTo>
                  <a:pt x="682" y="439"/>
                  <a:pt x="682" y="437"/>
                  <a:pt x="681" y="438"/>
                </a:cubicBezTo>
                <a:cubicBezTo>
                  <a:pt x="681" y="438"/>
                  <a:pt x="680" y="438"/>
                  <a:pt x="680" y="438"/>
                </a:cubicBezTo>
                <a:cubicBezTo>
                  <a:pt x="680" y="439"/>
                  <a:pt x="679" y="439"/>
                  <a:pt x="679" y="440"/>
                </a:cubicBezTo>
                <a:cubicBezTo>
                  <a:pt x="679" y="440"/>
                  <a:pt x="678" y="440"/>
                  <a:pt x="678" y="440"/>
                </a:cubicBezTo>
                <a:cubicBezTo>
                  <a:pt x="678" y="440"/>
                  <a:pt x="678" y="440"/>
                  <a:pt x="678" y="440"/>
                </a:cubicBezTo>
                <a:cubicBezTo>
                  <a:pt x="678" y="440"/>
                  <a:pt x="677" y="440"/>
                  <a:pt x="677" y="440"/>
                </a:cubicBezTo>
                <a:cubicBezTo>
                  <a:pt x="677" y="440"/>
                  <a:pt x="677" y="440"/>
                  <a:pt x="677" y="440"/>
                </a:cubicBezTo>
                <a:cubicBezTo>
                  <a:pt x="676" y="440"/>
                  <a:pt x="676" y="440"/>
                  <a:pt x="676" y="440"/>
                </a:cubicBezTo>
                <a:cubicBezTo>
                  <a:pt x="676" y="439"/>
                  <a:pt x="676" y="439"/>
                  <a:pt x="675" y="439"/>
                </a:cubicBezTo>
                <a:cubicBezTo>
                  <a:pt x="674" y="440"/>
                  <a:pt x="675" y="438"/>
                  <a:pt x="675" y="438"/>
                </a:cubicBezTo>
                <a:cubicBezTo>
                  <a:pt x="675" y="437"/>
                  <a:pt x="674" y="437"/>
                  <a:pt x="674" y="436"/>
                </a:cubicBezTo>
                <a:cubicBezTo>
                  <a:pt x="674" y="436"/>
                  <a:pt x="675" y="435"/>
                  <a:pt x="675" y="435"/>
                </a:cubicBezTo>
                <a:cubicBezTo>
                  <a:pt x="675" y="435"/>
                  <a:pt x="674" y="436"/>
                  <a:pt x="674" y="436"/>
                </a:cubicBezTo>
                <a:cubicBezTo>
                  <a:pt x="674" y="436"/>
                  <a:pt x="673" y="436"/>
                  <a:pt x="673" y="436"/>
                </a:cubicBezTo>
                <a:cubicBezTo>
                  <a:pt x="673" y="436"/>
                  <a:pt x="673" y="436"/>
                  <a:pt x="673" y="436"/>
                </a:cubicBezTo>
                <a:cubicBezTo>
                  <a:pt x="673" y="435"/>
                  <a:pt x="672" y="436"/>
                  <a:pt x="672" y="436"/>
                </a:cubicBezTo>
                <a:cubicBezTo>
                  <a:pt x="672" y="435"/>
                  <a:pt x="672" y="434"/>
                  <a:pt x="671" y="435"/>
                </a:cubicBezTo>
                <a:cubicBezTo>
                  <a:pt x="671" y="435"/>
                  <a:pt x="672" y="434"/>
                  <a:pt x="671" y="434"/>
                </a:cubicBezTo>
                <a:cubicBezTo>
                  <a:pt x="671" y="433"/>
                  <a:pt x="670" y="434"/>
                  <a:pt x="669" y="434"/>
                </a:cubicBezTo>
                <a:cubicBezTo>
                  <a:pt x="669" y="433"/>
                  <a:pt x="671" y="432"/>
                  <a:pt x="670" y="432"/>
                </a:cubicBezTo>
                <a:cubicBezTo>
                  <a:pt x="668" y="432"/>
                  <a:pt x="668" y="433"/>
                  <a:pt x="667" y="433"/>
                </a:cubicBezTo>
                <a:cubicBezTo>
                  <a:pt x="667" y="433"/>
                  <a:pt x="666" y="433"/>
                  <a:pt x="666" y="433"/>
                </a:cubicBezTo>
                <a:cubicBezTo>
                  <a:pt x="666" y="434"/>
                  <a:pt x="667" y="434"/>
                  <a:pt x="667" y="434"/>
                </a:cubicBezTo>
                <a:cubicBezTo>
                  <a:pt x="666" y="434"/>
                  <a:pt x="667" y="435"/>
                  <a:pt x="667" y="435"/>
                </a:cubicBezTo>
                <a:cubicBezTo>
                  <a:pt x="667" y="435"/>
                  <a:pt x="667" y="435"/>
                  <a:pt x="667" y="435"/>
                </a:cubicBezTo>
                <a:cubicBezTo>
                  <a:pt x="667" y="435"/>
                  <a:pt x="666" y="435"/>
                  <a:pt x="666" y="435"/>
                </a:cubicBezTo>
                <a:cubicBezTo>
                  <a:pt x="665" y="435"/>
                  <a:pt x="665" y="436"/>
                  <a:pt x="664" y="436"/>
                </a:cubicBezTo>
                <a:cubicBezTo>
                  <a:pt x="663" y="435"/>
                  <a:pt x="662" y="435"/>
                  <a:pt x="661" y="435"/>
                </a:cubicBezTo>
                <a:cubicBezTo>
                  <a:pt x="660" y="435"/>
                  <a:pt x="660" y="434"/>
                  <a:pt x="659" y="434"/>
                </a:cubicBezTo>
                <a:cubicBezTo>
                  <a:pt x="658" y="433"/>
                  <a:pt x="656" y="433"/>
                  <a:pt x="656" y="432"/>
                </a:cubicBezTo>
                <a:cubicBezTo>
                  <a:pt x="656" y="432"/>
                  <a:pt x="657" y="432"/>
                  <a:pt x="657" y="432"/>
                </a:cubicBezTo>
                <a:cubicBezTo>
                  <a:pt x="657" y="432"/>
                  <a:pt x="657" y="431"/>
                  <a:pt x="657" y="431"/>
                </a:cubicBezTo>
                <a:cubicBezTo>
                  <a:pt x="657" y="431"/>
                  <a:pt x="657" y="430"/>
                  <a:pt x="657" y="430"/>
                </a:cubicBezTo>
                <a:cubicBezTo>
                  <a:pt x="657" y="430"/>
                  <a:pt x="656" y="432"/>
                  <a:pt x="656" y="432"/>
                </a:cubicBezTo>
                <a:cubicBezTo>
                  <a:pt x="655" y="432"/>
                  <a:pt x="655" y="432"/>
                  <a:pt x="656" y="432"/>
                </a:cubicBezTo>
                <a:cubicBezTo>
                  <a:pt x="656" y="433"/>
                  <a:pt x="652" y="433"/>
                  <a:pt x="652" y="433"/>
                </a:cubicBezTo>
                <a:cubicBezTo>
                  <a:pt x="651" y="434"/>
                  <a:pt x="651" y="434"/>
                  <a:pt x="651" y="433"/>
                </a:cubicBezTo>
                <a:cubicBezTo>
                  <a:pt x="651" y="432"/>
                  <a:pt x="651" y="433"/>
                  <a:pt x="652" y="432"/>
                </a:cubicBezTo>
                <a:cubicBezTo>
                  <a:pt x="652" y="432"/>
                  <a:pt x="653" y="431"/>
                  <a:pt x="652" y="431"/>
                </a:cubicBezTo>
                <a:cubicBezTo>
                  <a:pt x="652" y="430"/>
                  <a:pt x="651" y="431"/>
                  <a:pt x="651" y="432"/>
                </a:cubicBezTo>
                <a:cubicBezTo>
                  <a:pt x="651" y="432"/>
                  <a:pt x="650" y="432"/>
                  <a:pt x="650" y="432"/>
                </a:cubicBezTo>
                <a:cubicBezTo>
                  <a:pt x="650" y="433"/>
                  <a:pt x="650" y="433"/>
                  <a:pt x="650" y="434"/>
                </a:cubicBezTo>
                <a:cubicBezTo>
                  <a:pt x="651" y="434"/>
                  <a:pt x="650" y="434"/>
                  <a:pt x="650" y="434"/>
                </a:cubicBezTo>
                <a:cubicBezTo>
                  <a:pt x="647" y="434"/>
                  <a:pt x="645" y="435"/>
                  <a:pt x="643" y="436"/>
                </a:cubicBezTo>
                <a:cubicBezTo>
                  <a:pt x="643" y="436"/>
                  <a:pt x="642" y="437"/>
                  <a:pt x="642" y="437"/>
                </a:cubicBezTo>
                <a:cubicBezTo>
                  <a:pt x="642" y="437"/>
                  <a:pt x="642" y="438"/>
                  <a:pt x="641" y="438"/>
                </a:cubicBezTo>
                <a:cubicBezTo>
                  <a:pt x="641" y="438"/>
                  <a:pt x="642" y="437"/>
                  <a:pt x="642" y="437"/>
                </a:cubicBezTo>
                <a:cubicBezTo>
                  <a:pt x="642" y="437"/>
                  <a:pt x="643" y="436"/>
                  <a:pt x="643" y="436"/>
                </a:cubicBezTo>
                <a:cubicBezTo>
                  <a:pt x="643" y="436"/>
                  <a:pt x="644" y="436"/>
                  <a:pt x="644" y="435"/>
                </a:cubicBezTo>
                <a:cubicBezTo>
                  <a:pt x="644" y="436"/>
                  <a:pt x="643" y="435"/>
                  <a:pt x="643" y="435"/>
                </a:cubicBezTo>
                <a:cubicBezTo>
                  <a:pt x="643" y="435"/>
                  <a:pt x="641" y="436"/>
                  <a:pt x="641" y="436"/>
                </a:cubicBezTo>
                <a:cubicBezTo>
                  <a:pt x="641" y="435"/>
                  <a:pt x="642" y="435"/>
                  <a:pt x="642" y="435"/>
                </a:cubicBezTo>
                <a:cubicBezTo>
                  <a:pt x="643" y="434"/>
                  <a:pt x="643" y="434"/>
                  <a:pt x="643" y="434"/>
                </a:cubicBezTo>
                <a:cubicBezTo>
                  <a:pt x="643" y="433"/>
                  <a:pt x="642" y="433"/>
                  <a:pt x="642" y="433"/>
                </a:cubicBezTo>
                <a:cubicBezTo>
                  <a:pt x="642" y="434"/>
                  <a:pt x="641" y="434"/>
                  <a:pt x="641" y="434"/>
                </a:cubicBezTo>
                <a:cubicBezTo>
                  <a:pt x="641" y="434"/>
                  <a:pt x="639" y="433"/>
                  <a:pt x="639" y="434"/>
                </a:cubicBezTo>
                <a:cubicBezTo>
                  <a:pt x="640" y="434"/>
                  <a:pt x="640" y="434"/>
                  <a:pt x="640" y="434"/>
                </a:cubicBezTo>
                <a:cubicBezTo>
                  <a:pt x="640" y="434"/>
                  <a:pt x="640" y="434"/>
                  <a:pt x="640" y="435"/>
                </a:cubicBezTo>
                <a:cubicBezTo>
                  <a:pt x="640" y="435"/>
                  <a:pt x="640" y="435"/>
                  <a:pt x="640" y="435"/>
                </a:cubicBezTo>
                <a:cubicBezTo>
                  <a:pt x="639" y="436"/>
                  <a:pt x="639" y="436"/>
                  <a:pt x="640" y="436"/>
                </a:cubicBezTo>
                <a:cubicBezTo>
                  <a:pt x="640" y="436"/>
                  <a:pt x="639" y="437"/>
                  <a:pt x="640" y="437"/>
                </a:cubicBezTo>
                <a:cubicBezTo>
                  <a:pt x="640" y="437"/>
                  <a:pt x="640" y="437"/>
                  <a:pt x="640" y="437"/>
                </a:cubicBezTo>
                <a:cubicBezTo>
                  <a:pt x="640" y="437"/>
                  <a:pt x="640" y="437"/>
                  <a:pt x="641" y="437"/>
                </a:cubicBezTo>
                <a:cubicBezTo>
                  <a:pt x="640" y="437"/>
                  <a:pt x="640" y="438"/>
                  <a:pt x="640" y="438"/>
                </a:cubicBezTo>
                <a:cubicBezTo>
                  <a:pt x="639" y="438"/>
                  <a:pt x="639" y="438"/>
                  <a:pt x="639" y="439"/>
                </a:cubicBezTo>
                <a:cubicBezTo>
                  <a:pt x="638" y="439"/>
                  <a:pt x="638" y="440"/>
                  <a:pt x="638" y="440"/>
                </a:cubicBezTo>
                <a:cubicBezTo>
                  <a:pt x="637" y="440"/>
                  <a:pt x="637" y="439"/>
                  <a:pt x="637" y="439"/>
                </a:cubicBezTo>
                <a:cubicBezTo>
                  <a:pt x="637" y="441"/>
                  <a:pt x="636" y="441"/>
                  <a:pt x="635" y="442"/>
                </a:cubicBezTo>
                <a:cubicBezTo>
                  <a:pt x="635" y="442"/>
                  <a:pt x="635" y="442"/>
                  <a:pt x="634" y="443"/>
                </a:cubicBezTo>
                <a:cubicBezTo>
                  <a:pt x="634" y="443"/>
                  <a:pt x="633" y="444"/>
                  <a:pt x="632" y="444"/>
                </a:cubicBezTo>
                <a:cubicBezTo>
                  <a:pt x="631" y="445"/>
                  <a:pt x="629" y="444"/>
                  <a:pt x="628" y="445"/>
                </a:cubicBezTo>
                <a:cubicBezTo>
                  <a:pt x="628" y="446"/>
                  <a:pt x="628" y="446"/>
                  <a:pt x="629" y="445"/>
                </a:cubicBezTo>
                <a:cubicBezTo>
                  <a:pt x="629" y="445"/>
                  <a:pt x="630" y="445"/>
                  <a:pt x="630" y="445"/>
                </a:cubicBezTo>
                <a:cubicBezTo>
                  <a:pt x="630" y="445"/>
                  <a:pt x="629" y="446"/>
                  <a:pt x="628" y="446"/>
                </a:cubicBezTo>
                <a:cubicBezTo>
                  <a:pt x="627" y="446"/>
                  <a:pt x="626" y="447"/>
                  <a:pt x="625" y="447"/>
                </a:cubicBezTo>
                <a:cubicBezTo>
                  <a:pt x="626" y="446"/>
                  <a:pt x="627" y="446"/>
                  <a:pt x="628" y="446"/>
                </a:cubicBezTo>
                <a:cubicBezTo>
                  <a:pt x="628" y="445"/>
                  <a:pt x="626" y="446"/>
                  <a:pt x="625" y="446"/>
                </a:cubicBezTo>
                <a:cubicBezTo>
                  <a:pt x="625" y="446"/>
                  <a:pt x="626" y="446"/>
                  <a:pt x="626" y="446"/>
                </a:cubicBezTo>
                <a:cubicBezTo>
                  <a:pt x="626" y="446"/>
                  <a:pt x="625" y="446"/>
                  <a:pt x="626" y="445"/>
                </a:cubicBezTo>
                <a:cubicBezTo>
                  <a:pt x="626" y="445"/>
                  <a:pt x="626" y="445"/>
                  <a:pt x="626" y="445"/>
                </a:cubicBezTo>
                <a:cubicBezTo>
                  <a:pt x="626" y="445"/>
                  <a:pt x="624" y="446"/>
                  <a:pt x="624" y="446"/>
                </a:cubicBezTo>
                <a:cubicBezTo>
                  <a:pt x="624" y="445"/>
                  <a:pt x="624" y="445"/>
                  <a:pt x="624" y="445"/>
                </a:cubicBezTo>
                <a:cubicBezTo>
                  <a:pt x="624" y="445"/>
                  <a:pt x="624" y="445"/>
                  <a:pt x="624" y="444"/>
                </a:cubicBezTo>
                <a:cubicBezTo>
                  <a:pt x="624" y="444"/>
                  <a:pt x="624" y="445"/>
                  <a:pt x="624" y="445"/>
                </a:cubicBezTo>
                <a:cubicBezTo>
                  <a:pt x="624" y="445"/>
                  <a:pt x="624" y="445"/>
                  <a:pt x="624" y="446"/>
                </a:cubicBezTo>
                <a:cubicBezTo>
                  <a:pt x="624" y="446"/>
                  <a:pt x="624" y="446"/>
                  <a:pt x="624" y="446"/>
                </a:cubicBezTo>
                <a:cubicBezTo>
                  <a:pt x="624" y="446"/>
                  <a:pt x="623" y="446"/>
                  <a:pt x="623" y="446"/>
                </a:cubicBezTo>
                <a:cubicBezTo>
                  <a:pt x="623" y="446"/>
                  <a:pt x="624" y="446"/>
                  <a:pt x="623" y="446"/>
                </a:cubicBezTo>
                <a:cubicBezTo>
                  <a:pt x="623" y="446"/>
                  <a:pt x="623" y="446"/>
                  <a:pt x="623" y="446"/>
                </a:cubicBezTo>
                <a:cubicBezTo>
                  <a:pt x="623" y="446"/>
                  <a:pt x="623" y="445"/>
                  <a:pt x="623" y="445"/>
                </a:cubicBezTo>
                <a:cubicBezTo>
                  <a:pt x="622" y="445"/>
                  <a:pt x="622" y="444"/>
                  <a:pt x="622" y="445"/>
                </a:cubicBezTo>
                <a:cubicBezTo>
                  <a:pt x="621" y="445"/>
                  <a:pt x="622" y="446"/>
                  <a:pt x="622" y="446"/>
                </a:cubicBezTo>
                <a:cubicBezTo>
                  <a:pt x="622" y="446"/>
                  <a:pt x="622" y="446"/>
                  <a:pt x="622" y="446"/>
                </a:cubicBezTo>
                <a:cubicBezTo>
                  <a:pt x="623" y="447"/>
                  <a:pt x="622" y="447"/>
                  <a:pt x="622" y="447"/>
                </a:cubicBezTo>
                <a:cubicBezTo>
                  <a:pt x="622" y="447"/>
                  <a:pt x="624" y="447"/>
                  <a:pt x="623" y="448"/>
                </a:cubicBezTo>
                <a:cubicBezTo>
                  <a:pt x="623" y="448"/>
                  <a:pt x="622" y="448"/>
                  <a:pt x="622" y="449"/>
                </a:cubicBezTo>
                <a:cubicBezTo>
                  <a:pt x="621" y="449"/>
                  <a:pt x="620" y="449"/>
                  <a:pt x="620" y="449"/>
                </a:cubicBezTo>
                <a:cubicBezTo>
                  <a:pt x="620" y="448"/>
                  <a:pt x="620" y="448"/>
                  <a:pt x="620" y="448"/>
                </a:cubicBezTo>
                <a:cubicBezTo>
                  <a:pt x="620" y="448"/>
                  <a:pt x="620" y="447"/>
                  <a:pt x="620" y="447"/>
                </a:cubicBezTo>
                <a:cubicBezTo>
                  <a:pt x="619" y="448"/>
                  <a:pt x="620" y="448"/>
                  <a:pt x="619" y="448"/>
                </a:cubicBezTo>
                <a:cubicBezTo>
                  <a:pt x="619" y="448"/>
                  <a:pt x="619" y="449"/>
                  <a:pt x="619" y="449"/>
                </a:cubicBezTo>
                <a:cubicBezTo>
                  <a:pt x="619" y="450"/>
                  <a:pt x="618" y="451"/>
                  <a:pt x="617" y="451"/>
                </a:cubicBezTo>
                <a:cubicBezTo>
                  <a:pt x="617" y="451"/>
                  <a:pt x="618" y="450"/>
                  <a:pt x="618" y="450"/>
                </a:cubicBezTo>
                <a:cubicBezTo>
                  <a:pt x="618" y="450"/>
                  <a:pt x="617" y="451"/>
                  <a:pt x="617" y="451"/>
                </a:cubicBezTo>
                <a:cubicBezTo>
                  <a:pt x="617" y="451"/>
                  <a:pt x="617" y="451"/>
                  <a:pt x="617" y="451"/>
                </a:cubicBezTo>
                <a:cubicBezTo>
                  <a:pt x="617" y="451"/>
                  <a:pt x="617" y="451"/>
                  <a:pt x="617" y="450"/>
                </a:cubicBezTo>
                <a:cubicBezTo>
                  <a:pt x="617" y="450"/>
                  <a:pt x="616" y="451"/>
                  <a:pt x="616" y="451"/>
                </a:cubicBezTo>
                <a:cubicBezTo>
                  <a:pt x="615" y="451"/>
                  <a:pt x="616" y="451"/>
                  <a:pt x="615" y="451"/>
                </a:cubicBezTo>
                <a:cubicBezTo>
                  <a:pt x="615" y="451"/>
                  <a:pt x="614" y="452"/>
                  <a:pt x="615" y="452"/>
                </a:cubicBezTo>
                <a:cubicBezTo>
                  <a:pt x="615" y="452"/>
                  <a:pt x="615" y="452"/>
                  <a:pt x="615" y="452"/>
                </a:cubicBezTo>
                <a:cubicBezTo>
                  <a:pt x="615" y="452"/>
                  <a:pt x="616" y="451"/>
                  <a:pt x="616" y="451"/>
                </a:cubicBezTo>
                <a:cubicBezTo>
                  <a:pt x="617" y="452"/>
                  <a:pt x="616" y="452"/>
                  <a:pt x="616" y="453"/>
                </a:cubicBezTo>
                <a:cubicBezTo>
                  <a:pt x="615" y="453"/>
                  <a:pt x="614" y="455"/>
                  <a:pt x="614" y="454"/>
                </a:cubicBezTo>
                <a:cubicBezTo>
                  <a:pt x="614" y="454"/>
                  <a:pt x="614" y="454"/>
                  <a:pt x="614" y="454"/>
                </a:cubicBezTo>
                <a:cubicBezTo>
                  <a:pt x="613" y="454"/>
                  <a:pt x="613" y="454"/>
                  <a:pt x="613" y="454"/>
                </a:cubicBezTo>
                <a:cubicBezTo>
                  <a:pt x="613" y="454"/>
                  <a:pt x="612" y="454"/>
                  <a:pt x="612" y="454"/>
                </a:cubicBezTo>
                <a:cubicBezTo>
                  <a:pt x="612" y="454"/>
                  <a:pt x="611" y="454"/>
                  <a:pt x="611" y="454"/>
                </a:cubicBezTo>
                <a:cubicBezTo>
                  <a:pt x="611" y="455"/>
                  <a:pt x="612" y="454"/>
                  <a:pt x="612" y="454"/>
                </a:cubicBezTo>
                <a:cubicBezTo>
                  <a:pt x="612" y="455"/>
                  <a:pt x="612" y="455"/>
                  <a:pt x="613" y="456"/>
                </a:cubicBezTo>
                <a:cubicBezTo>
                  <a:pt x="613" y="456"/>
                  <a:pt x="612" y="457"/>
                  <a:pt x="612" y="458"/>
                </a:cubicBezTo>
                <a:cubicBezTo>
                  <a:pt x="612" y="458"/>
                  <a:pt x="611" y="459"/>
                  <a:pt x="611" y="460"/>
                </a:cubicBezTo>
                <a:cubicBezTo>
                  <a:pt x="610" y="460"/>
                  <a:pt x="609" y="461"/>
                  <a:pt x="609" y="460"/>
                </a:cubicBezTo>
                <a:cubicBezTo>
                  <a:pt x="609" y="460"/>
                  <a:pt x="610" y="460"/>
                  <a:pt x="610" y="460"/>
                </a:cubicBezTo>
                <a:cubicBezTo>
                  <a:pt x="610" y="460"/>
                  <a:pt x="610" y="459"/>
                  <a:pt x="610" y="459"/>
                </a:cubicBezTo>
                <a:cubicBezTo>
                  <a:pt x="610" y="459"/>
                  <a:pt x="609" y="460"/>
                  <a:pt x="609" y="460"/>
                </a:cubicBezTo>
                <a:cubicBezTo>
                  <a:pt x="609" y="460"/>
                  <a:pt x="609" y="460"/>
                  <a:pt x="608" y="460"/>
                </a:cubicBezTo>
                <a:cubicBezTo>
                  <a:pt x="608" y="460"/>
                  <a:pt x="608" y="459"/>
                  <a:pt x="608" y="459"/>
                </a:cubicBezTo>
                <a:cubicBezTo>
                  <a:pt x="608" y="459"/>
                  <a:pt x="608" y="459"/>
                  <a:pt x="608" y="458"/>
                </a:cubicBezTo>
                <a:cubicBezTo>
                  <a:pt x="608" y="459"/>
                  <a:pt x="608" y="460"/>
                  <a:pt x="608" y="460"/>
                </a:cubicBezTo>
                <a:cubicBezTo>
                  <a:pt x="608" y="460"/>
                  <a:pt x="607" y="460"/>
                  <a:pt x="607" y="460"/>
                </a:cubicBezTo>
                <a:cubicBezTo>
                  <a:pt x="607" y="461"/>
                  <a:pt x="608" y="461"/>
                  <a:pt x="608" y="461"/>
                </a:cubicBezTo>
                <a:cubicBezTo>
                  <a:pt x="609" y="461"/>
                  <a:pt x="609" y="461"/>
                  <a:pt x="610" y="461"/>
                </a:cubicBezTo>
                <a:cubicBezTo>
                  <a:pt x="611" y="460"/>
                  <a:pt x="610" y="462"/>
                  <a:pt x="610" y="462"/>
                </a:cubicBezTo>
                <a:cubicBezTo>
                  <a:pt x="610" y="463"/>
                  <a:pt x="609" y="462"/>
                  <a:pt x="609" y="463"/>
                </a:cubicBezTo>
                <a:cubicBezTo>
                  <a:pt x="609" y="464"/>
                  <a:pt x="609" y="463"/>
                  <a:pt x="609" y="463"/>
                </a:cubicBezTo>
                <a:cubicBezTo>
                  <a:pt x="608" y="464"/>
                  <a:pt x="608" y="464"/>
                  <a:pt x="608" y="465"/>
                </a:cubicBezTo>
                <a:cubicBezTo>
                  <a:pt x="608" y="464"/>
                  <a:pt x="609" y="465"/>
                  <a:pt x="609" y="465"/>
                </a:cubicBezTo>
                <a:cubicBezTo>
                  <a:pt x="609" y="465"/>
                  <a:pt x="608" y="465"/>
                  <a:pt x="608" y="465"/>
                </a:cubicBezTo>
                <a:cubicBezTo>
                  <a:pt x="608" y="465"/>
                  <a:pt x="608" y="465"/>
                  <a:pt x="608" y="465"/>
                </a:cubicBezTo>
                <a:cubicBezTo>
                  <a:pt x="609" y="466"/>
                  <a:pt x="608" y="467"/>
                  <a:pt x="608" y="468"/>
                </a:cubicBezTo>
                <a:cubicBezTo>
                  <a:pt x="608" y="468"/>
                  <a:pt x="608" y="470"/>
                  <a:pt x="608" y="470"/>
                </a:cubicBezTo>
                <a:cubicBezTo>
                  <a:pt x="609" y="470"/>
                  <a:pt x="608" y="471"/>
                  <a:pt x="609" y="471"/>
                </a:cubicBezTo>
                <a:cubicBezTo>
                  <a:pt x="609" y="472"/>
                  <a:pt x="609" y="473"/>
                  <a:pt x="609" y="474"/>
                </a:cubicBezTo>
                <a:cubicBezTo>
                  <a:pt x="609" y="474"/>
                  <a:pt x="608" y="474"/>
                  <a:pt x="608" y="474"/>
                </a:cubicBezTo>
                <a:cubicBezTo>
                  <a:pt x="608" y="474"/>
                  <a:pt x="608" y="474"/>
                  <a:pt x="608" y="475"/>
                </a:cubicBezTo>
                <a:cubicBezTo>
                  <a:pt x="608" y="475"/>
                  <a:pt x="609" y="474"/>
                  <a:pt x="609" y="474"/>
                </a:cubicBezTo>
                <a:cubicBezTo>
                  <a:pt x="609" y="474"/>
                  <a:pt x="609" y="475"/>
                  <a:pt x="609" y="475"/>
                </a:cubicBezTo>
                <a:cubicBezTo>
                  <a:pt x="609" y="474"/>
                  <a:pt x="609" y="474"/>
                  <a:pt x="610" y="474"/>
                </a:cubicBezTo>
                <a:cubicBezTo>
                  <a:pt x="610" y="476"/>
                  <a:pt x="608" y="474"/>
                  <a:pt x="608" y="476"/>
                </a:cubicBezTo>
                <a:cubicBezTo>
                  <a:pt x="607" y="476"/>
                  <a:pt x="607" y="476"/>
                  <a:pt x="607" y="476"/>
                </a:cubicBezTo>
                <a:cubicBezTo>
                  <a:pt x="607" y="476"/>
                  <a:pt x="606" y="475"/>
                  <a:pt x="606" y="475"/>
                </a:cubicBezTo>
                <a:cubicBezTo>
                  <a:pt x="605" y="474"/>
                  <a:pt x="605" y="474"/>
                  <a:pt x="604" y="474"/>
                </a:cubicBezTo>
                <a:cubicBezTo>
                  <a:pt x="603" y="474"/>
                  <a:pt x="603" y="474"/>
                  <a:pt x="602" y="474"/>
                </a:cubicBezTo>
                <a:cubicBezTo>
                  <a:pt x="602" y="474"/>
                  <a:pt x="602" y="474"/>
                  <a:pt x="601" y="474"/>
                </a:cubicBezTo>
                <a:cubicBezTo>
                  <a:pt x="601" y="474"/>
                  <a:pt x="601" y="474"/>
                  <a:pt x="601" y="474"/>
                </a:cubicBezTo>
                <a:cubicBezTo>
                  <a:pt x="600" y="474"/>
                  <a:pt x="600" y="474"/>
                  <a:pt x="600" y="474"/>
                </a:cubicBezTo>
                <a:cubicBezTo>
                  <a:pt x="600" y="474"/>
                  <a:pt x="599" y="473"/>
                  <a:pt x="599" y="473"/>
                </a:cubicBezTo>
                <a:cubicBezTo>
                  <a:pt x="599" y="472"/>
                  <a:pt x="596" y="472"/>
                  <a:pt x="596" y="472"/>
                </a:cubicBezTo>
                <a:cubicBezTo>
                  <a:pt x="596" y="472"/>
                  <a:pt x="596" y="471"/>
                  <a:pt x="595" y="471"/>
                </a:cubicBezTo>
                <a:cubicBezTo>
                  <a:pt x="595" y="470"/>
                  <a:pt x="594" y="471"/>
                  <a:pt x="594" y="470"/>
                </a:cubicBezTo>
                <a:cubicBezTo>
                  <a:pt x="593" y="470"/>
                  <a:pt x="594" y="470"/>
                  <a:pt x="593" y="470"/>
                </a:cubicBezTo>
                <a:cubicBezTo>
                  <a:pt x="593" y="470"/>
                  <a:pt x="593" y="470"/>
                  <a:pt x="593" y="470"/>
                </a:cubicBezTo>
                <a:cubicBezTo>
                  <a:pt x="592" y="470"/>
                  <a:pt x="592" y="469"/>
                  <a:pt x="593" y="469"/>
                </a:cubicBezTo>
                <a:cubicBezTo>
                  <a:pt x="593" y="469"/>
                  <a:pt x="592" y="468"/>
                  <a:pt x="592" y="468"/>
                </a:cubicBezTo>
                <a:cubicBezTo>
                  <a:pt x="592" y="467"/>
                  <a:pt x="592" y="467"/>
                  <a:pt x="592" y="466"/>
                </a:cubicBezTo>
                <a:cubicBezTo>
                  <a:pt x="592" y="465"/>
                  <a:pt x="592" y="465"/>
                  <a:pt x="591" y="464"/>
                </a:cubicBezTo>
                <a:cubicBezTo>
                  <a:pt x="591" y="464"/>
                  <a:pt x="591" y="464"/>
                  <a:pt x="591" y="464"/>
                </a:cubicBezTo>
                <a:cubicBezTo>
                  <a:pt x="591" y="463"/>
                  <a:pt x="591" y="463"/>
                  <a:pt x="591" y="463"/>
                </a:cubicBezTo>
                <a:cubicBezTo>
                  <a:pt x="591" y="462"/>
                  <a:pt x="592" y="461"/>
                  <a:pt x="591" y="460"/>
                </a:cubicBezTo>
                <a:cubicBezTo>
                  <a:pt x="591" y="460"/>
                  <a:pt x="591" y="459"/>
                  <a:pt x="592" y="459"/>
                </a:cubicBezTo>
                <a:cubicBezTo>
                  <a:pt x="592" y="458"/>
                  <a:pt x="591" y="458"/>
                  <a:pt x="591" y="458"/>
                </a:cubicBezTo>
                <a:cubicBezTo>
                  <a:pt x="592" y="457"/>
                  <a:pt x="591" y="457"/>
                  <a:pt x="591" y="456"/>
                </a:cubicBezTo>
                <a:cubicBezTo>
                  <a:pt x="591" y="456"/>
                  <a:pt x="591" y="456"/>
                  <a:pt x="590" y="456"/>
                </a:cubicBezTo>
                <a:cubicBezTo>
                  <a:pt x="590" y="456"/>
                  <a:pt x="590" y="456"/>
                  <a:pt x="589" y="455"/>
                </a:cubicBezTo>
                <a:cubicBezTo>
                  <a:pt x="589" y="455"/>
                  <a:pt x="589" y="455"/>
                  <a:pt x="589" y="454"/>
                </a:cubicBezTo>
                <a:cubicBezTo>
                  <a:pt x="589" y="454"/>
                  <a:pt x="589" y="453"/>
                  <a:pt x="588" y="453"/>
                </a:cubicBezTo>
                <a:cubicBezTo>
                  <a:pt x="588" y="453"/>
                  <a:pt x="588" y="451"/>
                  <a:pt x="588" y="451"/>
                </a:cubicBezTo>
                <a:cubicBezTo>
                  <a:pt x="588" y="450"/>
                  <a:pt x="587" y="450"/>
                  <a:pt x="587" y="450"/>
                </a:cubicBezTo>
                <a:cubicBezTo>
                  <a:pt x="586" y="449"/>
                  <a:pt x="586" y="449"/>
                  <a:pt x="586" y="448"/>
                </a:cubicBezTo>
                <a:cubicBezTo>
                  <a:pt x="586" y="448"/>
                  <a:pt x="586" y="448"/>
                  <a:pt x="586" y="447"/>
                </a:cubicBezTo>
                <a:cubicBezTo>
                  <a:pt x="586" y="447"/>
                  <a:pt x="587" y="447"/>
                  <a:pt x="587" y="447"/>
                </a:cubicBezTo>
                <a:cubicBezTo>
                  <a:pt x="586" y="447"/>
                  <a:pt x="586" y="447"/>
                  <a:pt x="586" y="446"/>
                </a:cubicBezTo>
                <a:cubicBezTo>
                  <a:pt x="586" y="446"/>
                  <a:pt x="586" y="446"/>
                  <a:pt x="586" y="446"/>
                </a:cubicBezTo>
                <a:cubicBezTo>
                  <a:pt x="586" y="445"/>
                  <a:pt x="586" y="445"/>
                  <a:pt x="586" y="444"/>
                </a:cubicBezTo>
                <a:cubicBezTo>
                  <a:pt x="586" y="443"/>
                  <a:pt x="585" y="443"/>
                  <a:pt x="585" y="442"/>
                </a:cubicBezTo>
                <a:cubicBezTo>
                  <a:pt x="585" y="441"/>
                  <a:pt x="585" y="440"/>
                  <a:pt x="585" y="440"/>
                </a:cubicBezTo>
                <a:cubicBezTo>
                  <a:pt x="584" y="440"/>
                  <a:pt x="585" y="439"/>
                  <a:pt x="584" y="438"/>
                </a:cubicBezTo>
                <a:cubicBezTo>
                  <a:pt x="584" y="438"/>
                  <a:pt x="584" y="438"/>
                  <a:pt x="583" y="438"/>
                </a:cubicBezTo>
                <a:cubicBezTo>
                  <a:pt x="583" y="438"/>
                  <a:pt x="583" y="438"/>
                  <a:pt x="583" y="437"/>
                </a:cubicBezTo>
                <a:cubicBezTo>
                  <a:pt x="583" y="437"/>
                  <a:pt x="583" y="437"/>
                  <a:pt x="583" y="436"/>
                </a:cubicBezTo>
                <a:cubicBezTo>
                  <a:pt x="583" y="436"/>
                  <a:pt x="582" y="436"/>
                  <a:pt x="582" y="436"/>
                </a:cubicBezTo>
                <a:cubicBezTo>
                  <a:pt x="582" y="436"/>
                  <a:pt x="582" y="435"/>
                  <a:pt x="582" y="435"/>
                </a:cubicBezTo>
                <a:cubicBezTo>
                  <a:pt x="582" y="434"/>
                  <a:pt x="581" y="435"/>
                  <a:pt x="581" y="435"/>
                </a:cubicBezTo>
                <a:cubicBezTo>
                  <a:pt x="581" y="435"/>
                  <a:pt x="581" y="434"/>
                  <a:pt x="581" y="434"/>
                </a:cubicBezTo>
                <a:cubicBezTo>
                  <a:pt x="580" y="434"/>
                  <a:pt x="580" y="433"/>
                  <a:pt x="580" y="433"/>
                </a:cubicBezTo>
                <a:cubicBezTo>
                  <a:pt x="580" y="433"/>
                  <a:pt x="580" y="433"/>
                  <a:pt x="580" y="433"/>
                </a:cubicBezTo>
                <a:cubicBezTo>
                  <a:pt x="579" y="433"/>
                  <a:pt x="580" y="433"/>
                  <a:pt x="579" y="433"/>
                </a:cubicBezTo>
                <a:cubicBezTo>
                  <a:pt x="579" y="433"/>
                  <a:pt x="579" y="433"/>
                  <a:pt x="579" y="433"/>
                </a:cubicBezTo>
                <a:cubicBezTo>
                  <a:pt x="579" y="433"/>
                  <a:pt x="578" y="433"/>
                  <a:pt x="578" y="433"/>
                </a:cubicBezTo>
                <a:cubicBezTo>
                  <a:pt x="577" y="433"/>
                  <a:pt x="577" y="433"/>
                  <a:pt x="576" y="433"/>
                </a:cubicBezTo>
                <a:cubicBezTo>
                  <a:pt x="576" y="433"/>
                  <a:pt x="575" y="433"/>
                  <a:pt x="575" y="433"/>
                </a:cubicBezTo>
                <a:cubicBezTo>
                  <a:pt x="574" y="433"/>
                  <a:pt x="573" y="432"/>
                  <a:pt x="573" y="432"/>
                </a:cubicBezTo>
                <a:cubicBezTo>
                  <a:pt x="572" y="432"/>
                  <a:pt x="572" y="433"/>
                  <a:pt x="571" y="433"/>
                </a:cubicBezTo>
                <a:cubicBezTo>
                  <a:pt x="570" y="433"/>
                  <a:pt x="570" y="433"/>
                  <a:pt x="570" y="433"/>
                </a:cubicBezTo>
                <a:cubicBezTo>
                  <a:pt x="569" y="433"/>
                  <a:pt x="569" y="433"/>
                  <a:pt x="569" y="434"/>
                </a:cubicBezTo>
                <a:cubicBezTo>
                  <a:pt x="568" y="435"/>
                  <a:pt x="567" y="436"/>
                  <a:pt x="566" y="437"/>
                </a:cubicBezTo>
                <a:cubicBezTo>
                  <a:pt x="566" y="437"/>
                  <a:pt x="566" y="438"/>
                  <a:pt x="565" y="438"/>
                </a:cubicBezTo>
                <a:cubicBezTo>
                  <a:pt x="565" y="438"/>
                  <a:pt x="565" y="439"/>
                  <a:pt x="565" y="439"/>
                </a:cubicBezTo>
                <a:cubicBezTo>
                  <a:pt x="565" y="439"/>
                  <a:pt x="564" y="439"/>
                  <a:pt x="564" y="440"/>
                </a:cubicBezTo>
                <a:cubicBezTo>
                  <a:pt x="564" y="440"/>
                  <a:pt x="563" y="440"/>
                  <a:pt x="563" y="440"/>
                </a:cubicBezTo>
                <a:cubicBezTo>
                  <a:pt x="563" y="441"/>
                  <a:pt x="562" y="441"/>
                  <a:pt x="562" y="442"/>
                </a:cubicBezTo>
                <a:cubicBezTo>
                  <a:pt x="562" y="442"/>
                  <a:pt x="561" y="442"/>
                  <a:pt x="561" y="442"/>
                </a:cubicBezTo>
                <a:cubicBezTo>
                  <a:pt x="560" y="442"/>
                  <a:pt x="560" y="441"/>
                  <a:pt x="560" y="441"/>
                </a:cubicBezTo>
                <a:cubicBezTo>
                  <a:pt x="559" y="441"/>
                  <a:pt x="559" y="441"/>
                  <a:pt x="559" y="440"/>
                </a:cubicBezTo>
                <a:cubicBezTo>
                  <a:pt x="558" y="440"/>
                  <a:pt x="558" y="440"/>
                  <a:pt x="557" y="440"/>
                </a:cubicBezTo>
                <a:cubicBezTo>
                  <a:pt x="557" y="439"/>
                  <a:pt x="557" y="439"/>
                  <a:pt x="557" y="439"/>
                </a:cubicBezTo>
                <a:cubicBezTo>
                  <a:pt x="556" y="438"/>
                  <a:pt x="556" y="438"/>
                  <a:pt x="555" y="438"/>
                </a:cubicBezTo>
                <a:cubicBezTo>
                  <a:pt x="555" y="438"/>
                  <a:pt x="554" y="438"/>
                  <a:pt x="554" y="437"/>
                </a:cubicBezTo>
                <a:cubicBezTo>
                  <a:pt x="553" y="436"/>
                  <a:pt x="552" y="436"/>
                  <a:pt x="552" y="435"/>
                </a:cubicBezTo>
                <a:cubicBezTo>
                  <a:pt x="551" y="434"/>
                  <a:pt x="551" y="433"/>
                  <a:pt x="551" y="432"/>
                </a:cubicBezTo>
                <a:cubicBezTo>
                  <a:pt x="551" y="431"/>
                  <a:pt x="551" y="431"/>
                  <a:pt x="551" y="430"/>
                </a:cubicBezTo>
                <a:cubicBezTo>
                  <a:pt x="551" y="430"/>
                  <a:pt x="551" y="429"/>
                  <a:pt x="551" y="428"/>
                </a:cubicBezTo>
                <a:cubicBezTo>
                  <a:pt x="551" y="428"/>
                  <a:pt x="551" y="428"/>
                  <a:pt x="551" y="427"/>
                </a:cubicBezTo>
                <a:cubicBezTo>
                  <a:pt x="551" y="427"/>
                  <a:pt x="551" y="426"/>
                  <a:pt x="551" y="426"/>
                </a:cubicBezTo>
                <a:cubicBezTo>
                  <a:pt x="551" y="425"/>
                  <a:pt x="551" y="425"/>
                  <a:pt x="550" y="424"/>
                </a:cubicBezTo>
                <a:cubicBezTo>
                  <a:pt x="550" y="424"/>
                  <a:pt x="550" y="424"/>
                  <a:pt x="550" y="423"/>
                </a:cubicBezTo>
                <a:cubicBezTo>
                  <a:pt x="550" y="423"/>
                  <a:pt x="549" y="423"/>
                  <a:pt x="549" y="422"/>
                </a:cubicBezTo>
                <a:cubicBezTo>
                  <a:pt x="549" y="422"/>
                  <a:pt x="549" y="422"/>
                  <a:pt x="548" y="422"/>
                </a:cubicBezTo>
                <a:cubicBezTo>
                  <a:pt x="547" y="421"/>
                  <a:pt x="547" y="421"/>
                  <a:pt x="546" y="420"/>
                </a:cubicBezTo>
                <a:cubicBezTo>
                  <a:pt x="546" y="419"/>
                  <a:pt x="546" y="418"/>
                  <a:pt x="545" y="418"/>
                </a:cubicBezTo>
                <a:cubicBezTo>
                  <a:pt x="544" y="417"/>
                  <a:pt x="544" y="416"/>
                  <a:pt x="544" y="416"/>
                </a:cubicBezTo>
                <a:cubicBezTo>
                  <a:pt x="544" y="415"/>
                  <a:pt x="543" y="415"/>
                  <a:pt x="542" y="415"/>
                </a:cubicBezTo>
                <a:cubicBezTo>
                  <a:pt x="542" y="414"/>
                  <a:pt x="542" y="414"/>
                  <a:pt x="541" y="413"/>
                </a:cubicBezTo>
                <a:cubicBezTo>
                  <a:pt x="541" y="412"/>
                  <a:pt x="541" y="411"/>
                  <a:pt x="541" y="411"/>
                </a:cubicBezTo>
                <a:cubicBezTo>
                  <a:pt x="540" y="411"/>
                  <a:pt x="539" y="411"/>
                  <a:pt x="538" y="411"/>
                </a:cubicBezTo>
                <a:cubicBezTo>
                  <a:pt x="537" y="411"/>
                  <a:pt x="535" y="411"/>
                  <a:pt x="533" y="411"/>
                </a:cubicBezTo>
                <a:cubicBezTo>
                  <a:pt x="531" y="411"/>
                  <a:pt x="529" y="411"/>
                  <a:pt x="526" y="411"/>
                </a:cubicBezTo>
                <a:cubicBezTo>
                  <a:pt x="526" y="411"/>
                  <a:pt x="525" y="411"/>
                  <a:pt x="524" y="411"/>
                </a:cubicBezTo>
                <a:cubicBezTo>
                  <a:pt x="524" y="412"/>
                  <a:pt x="524" y="412"/>
                  <a:pt x="524" y="413"/>
                </a:cubicBezTo>
                <a:cubicBezTo>
                  <a:pt x="524" y="413"/>
                  <a:pt x="523" y="414"/>
                  <a:pt x="523" y="415"/>
                </a:cubicBezTo>
                <a:cubicBezTo>
                  <a:pt x="523" y="416"/>
                  <a:pt x="522" y="416"/>
                  <a:pt x="521" y="416"/>
                </a:cubicBezTo>
                <a:cubicBezTo>
                  <a:pt x="520" y="416"/>
                  <a:pt x="519" y="416"/>
                  <a:pt x="518" y="416"/>
                </a:cubicBezTo>
                <a:cubicBezTo>
                  <a:pt x="516" y="416"/>
                  <a:pt x="514" y="416"/>
                  <a:pt x="512" y="416"/>
                </a:cubicBezTo>
                <a:cubicBezTo>
                  <a:pt x="512" y="416"/>
                  <a:pt x="511" y="416"/>
                  <a:pt x="510" y="416"/>
                </a:cubicBezTo>
                <a:cubicBezTo>
                  <a:pt x="507" y="416"/>
                  <a:pt x="503" y="416"/>
                  <a:pt x="500" y="416"/>
                </a:cubicBezTo>
                <a:cubicBezTo>
                  <a:pt x="498" y="416"/>
                  <a:pt x="496" y="416"/>
                  <a:pt x="494" y="415"/>
                </a:cubicBezTo>
                <a:cubicBezTo>
                  <a:pt x="493" y="414"/>
                  <a:pt x="491" y="413"/>
                  <a:pt x="489" y="413"/>
                </a:cubicBezTo>
                <a:cubicBezTo>
                  <a:pt x="481" y="409"/>
                  <a:pt x="474" y="406"/>
                  <a:pt x="466" y="403"/>
                </a:cubicBezTo>
                <a:cubicBezTo>
                  <a:pt x="466" y="403"/>
                  <a:pt x="467" y="402"/>
                  <a:pt x="467" y="402"/>
                </a:cubicBezTo>
                <a:cubicBezTo>
                  <a:pt x="467" y="401"/>
                  <a:pt x="468" y="401"/>
                  <a:pt x="468" y="401"/>
                </a:cubicBezTo>
                <a:cubicBezTo>
                  <a:pt x="460" y="401"/>
                  <a:pt x="453" y="402"/>
                  <a:pt x="445" y="403"/>
                </a:cubicBezTo>
                <a:cubicBezTo>
                  <a:pt x="445" y="403"/>
                  <a:pt x="445" y="401"/>
                  <a:pt x="445" y="401"/>
                </a:cubicBezTo>
                <a:cubicBezTo>
                  <a:pt x="445" y="401"/>
                  <a:pt x="445" y="402"/>
                  <a:pt x="445" y="402"/>
                </a:cubicBezTo>
                <a:cubicBezTo>
                  <a:pt x="445" y="402"/>
                  <a:pt x="445" y="402"/>
                  <a:pt x="445" y="401"/>
                </a:cubicBezTo>
                <a:cubicBezTo>
                  <a:pt x="445" y="401"/>
                  <a:pt x="445" y="400"/>
                  <a:pt x="445" y="401"/>
                </a:cubicBezTo>
                <a:cubicBezTo>
                  <a:pt x="445" y="401"/>
                  <a:pt x="445" y="401"/>
                  <a:pt x="444" y="401"/>
                </a:cubicBezTo>
                <a:cubicBezTo>
                  <a:pt x="444" y="401"/>
                  <a:pt x="445" y="398"/>
                  <a:pt x="446" y="398"/>
                </a:cubicBezTo>
                <a:cubicBezTo>
                  <a:pt x="446" y="397"/>
                  <a:pt x="446" y="395"/>
                  <a:pt x="445" y="394"/>
                </a:cubicBezTo>
                <a:cubicBezTo>
                  <a:pt x="445" y="393"/>
                  <a:pt x="444" y="393"/>
                  <a:pt x="444" y="392"/>
                </a:cubicBezTo>
                <a:cubicBezTo>
                  <a:pt x="443" y="392"/>
                  <a:pt x="443" y="391"/>
                  <a:pt x="443" y="391"/>
                </a:cubicBezTo>
                <a:cubicBezTo>
                  <a:pt x="442" y="391"/>
                  <a:pt x="442" y="389"/>
                  <a:pt x="441" y="389"/>
                </a:cubicBezTo>
                <a:cubicBezTo>
                  <a:pt x="440" y="389"/>
                  <a:pt x="440" y="390"/>
                  <a:pt x="439" y="390"/>
                </a:cubicBezTo>
                <a:cubicBezTo>
                  <a:pt x="439" y="390"/>
                  <a:pt x="439" y="389"/>
                  <a:pt x="439" y="389"/>
                </a:cubicBezTo>
                <a:cubicBezTo>
                  <a:pt x="439" y="388"/>
                  <a:pt x="439" y="388"/>
                  <a:pt x="439" y="388"/>
                </a:cubicBezTo>
                <a:cubicBezTo>
                  <a:pt x="439" y="387"/>
                  <a:pt x="439" y="387"/>
                  <a:pt x="439" y="386"/>
                </a:cubicBezTo>
                <a:cubicBezTo>
                  <a:pt x="438" y="386"/>
                  <a:pt x="437" y="386"/>
                  <a:pt x="436" y="386"/>
                </a:cubicBezTo>
                <a:cubicBezTo>
                  <a:pt x="436" y="386"/>
                  <a:pt x="435" y="386"/>
                  <a:pt x="434" y="386"/>
                </a:cubicBezTo>
                <a:cubicBezTo>
                  <a:pt x="434" y="386"/>
                  <a:pt x="433" y="385"/>
                  <a:pt x="434" y="385"/>
                </a:cubicBezTo>
                <a:cubicBezTo>
                  <a:pt x="433" y="385"/>
                  <a:pt x="433" y="384"/>
                  <a:pt x="433" y="384"/>
                </a:cubicBezTo>
                <a:cubicBezTo>
                  <a:pt x="433" y="383"/>
                  <a:pt x="432" y="383"/>
                  <a:pt x="432" y="383"/>
                </a:cubicBezTo>
                <a:cubicBezTo>
                  <a:pt x="432" y="382"/>
                  <a:pt x="431" y="382"/>
                  <a:pt x="430" y="382"/>
                </a:cubicBezTo>
                <a:cubicBezTo>
                  <a:pt x="430" y="382"/>
                  <a:pt x="429" y="382"/>
                  <a:pt x="429" y="382"/>
                </a:cubicBezTo>
                <a:cubicBezTo>
                  <a:pt x="429" y="382"/>
                  <a:pt x="429" y="382"/>
                  <a:pt x="429" y="382"/>
                </a:cubicBezTo>
                <a:cubicBezTo>
                  <a:pt x="428" y="382"/>
                  <a:pt x="428" y="382"/>
                  <a:pt x="428" y="382"/>
                </a:cubicBezTo>
                <a:cubicBezTo>
                  <a:pt x="427" y="381"/>
                  <a:pt x="426" y="381"/>
                  <a:pt x="426" y="381"/>
                </a:cubicBezTo>
                <a:cubicBezTo>
                  <a:pt x="425" y="381"/>
                  <a:pt x="424" y="381"/>
                  <a:pt x="424" y="382"/>
                </a:cubicBezTo>
                <a:cubicBezTo>
                  <a:pt x="423" y="382"/>
                  <a:pt x="423" y="381"/>
                  <a:pt x="423" y="381"/>
                </a:cubicBezTo>
                <a:cubicBezTo>
                  <a:pt x="423" y="381"/>
                  <a:pt x="422" y="380"/>
                  <a:pt x="422" y="380"/>
                </a:cubicBezTo>
                <a:cubicBezTo>
                  <a:pt x="422" y="379"/>
                  <a:pt x="423" y="379"/>
                  <a:pt x="423" y="379"/>
                </a:cubicBezTo>
                <a:cubicBezTo>
                  <a:pt x="423" y="379"/>
                  <a:pt x="423" y="378"/>
                  <a:pt x="423" y="378"/>
                </a:cubicBezTo>
                <a:cubicBezTo>
                  <a:pt x="423" y="378"/>
                  <a:pt x="424" y="377"/>
                  <a:pt x="424" y="377"/>
                </a:cubicBezTo>
                <a:cubicBezTo>
                  <a:pt x="424" y="377"/>
                  <a:pt x="423" y="376"/>
                  <a:pt x="424" y="376"/>
                </a:cubicBezTo>
                <a:cubicBezTo>
                  <a:pt x="424" y="376"/>
                  <a:pt x="425" y="375"/>
                  <a:pt x="425" y="374"/>
                </a:cubicBezTo>
                <a:cubicBezTo>
                  <a:pt x="425" y="374"/>
                  <a:pt x="424" y="374"/>
                  <a:pt x="424" y="374"/>
                </a:cubicBezTo>
                <a:cubicBezTo>
                  <a:pt x="424" y="374"/>
                  <a:pt x="423" y="373"/>
                  <a:pt x="423" y="373"/>
                </a:cubicBezTo>
                <a:cubicBezTo>
                  <a:pt x="423" y="372"/>
                  <a:pt x="424" y="372"/>
                  <a:pt x="424" y="372"/>
                </a:cubicBezTo>
                <a:cubicBezTo>
                  <a:pt x="424" y="372"/>
                  <a:pt x="424" y="372"/>
                  <a:pt x="424" y="371"/>
                </a:cubicBezTo>
                <a:cubicBezTo>
                  <a:pt x="424" y="371"/>
                  <a:pt x="424" y="371"/>
                  <a:pt x="423" y="370"/>
                </a:cubicBezTo>
                <a:cubicBezTo>
                  <a:pt x="422" y="370"/>
                  <a:pt x="423" y="369"/>
                  <a:pt x="422" y="369"/>
                </a:cubicBezTo>
                <a:cubicBezTo>
                  <a:pt x="421" y="368"/>
                  <a:pt x="422" y="368"/>
                  <a:pt x="422" y="367"/>
                </a:cubicBezTo>
                <a:cubicBezTo>
                  <a:pt x="422" y="367"/>
                  <a:pt x="421" y="366"/>
                  <a:pt x="421" y="366"/>
                </a:cubicBezTo>
                <a:cubicBezTo>
                  <a:pt x="421" y="365"/>
                  <a:pt x="422" y="365"/>
                  <a:pt x="421" y="364"/>
                </a:cubicBezTo>
                <a:cubicBezTo>
                  <a:pt x="420" y="364"/>
                  <a:pt x="421" y="364"/>
                  <a:pt x="421" y="363"/>
                </a:cubicBezTo>
                <a:cubicBezTo>
                  <a:pt x="421" y="363"/>
                  <a:pt x="420" y="362"/>
                  <a:pt x="420" y="362"/>
                </a:cubicBezTo>
                <a:cubicBezTo>
                  <a:pt x="419" y="362"/>
                  <a:pt x="419" y="361"/>
                  <a:pt x="420" y="360"/>
                </a:cubicBezTo>
                <a:cubicBezTo>
                  <a:pt x="420" y="360"/>
                  <a:pt x="420" y="359"/>
                  <a:pt x="420" y="359"/>
                </a:cubicBezTo>
                <a:cubicBezTo>
                  <a:pt x="420" y="359"/>
                  <a:pt x="420" y="358"/>
                  <a:pt x="420" y="358"/>
                </a:cubicBezTo>
                <a:cubicBezTo>
                  <a:pt x="420" y="358"/>
                  <a:pt x="421" y="358"/>
                  <a:pt x="421" y="358"/>
                </a:cubicBezTo>
                <a:cubicBezTo>
                  <a:pt x="422" y="358"/>
                  <a:pt x="422" y="357"/>
                  <a:pt x="422" y="357"/>
                </a:cubicBezTo>
                <a:cubicBezTo>
                  <a:pt x="422" y="357"/>
                  <a:pt x="422" y="357"/>
                  <a:pt x="422" y="357"/>
                </a:cubicBezTo>
                <a:cubicBezTo>
                  <a:pt x="423" y="357"/>
                  <a:pt x="422" y="356"/>
                  <a:pt x="422" y="356"/>
                </a:cubicBezTo>
                <a:cubicBezTo>
                  <a:pt x="423" y="356"/>
                  <a:pt x="423" y="354"/>
                  <a:pt x="422" y="354"/>
                </a:cubicBezTo>
                <a:cubicBezTo>
                  <a:pt x="422" y="354"/>
                  <a:pt x="421" y="354"/>
                  <a:pt x="420" y="354"/>
                </a:cubicBezTo>
                <a:cubicBezTo>
                  <a:pt x="420" y="353"/>
                  <a:pt x="420" y="353"/>
                  <a:pt x="420" y="352"/>
                </a:cubicBezTo>
                <a:cubicBezTo>
                  <a:pt x="419" y="351"/>
                  <a:pt x="420" y="350"/>
                  <a:pt x="420" y="349"/>
                </a:cubicBezTo>
                <a:cubicBezTo>
                  <a:pt x="420" y="348"/>
                  <a:pt x="420" y="348"/>
                  <a:pt x="420" y="348"/>
                </a:cubicBezTo>
                <a:cubicBezTo>
                  <a:pt x="420" y="347"/>
                  <a:pt x="421" y="347"/>
                  <a:pt x="421" y="346"/>
                </a:cubicBezTo>
                <a:cubicBezTo>
                  <a:pt x="421" y="345"/>
                  <a:pt x="422" y="345"/>
                  <a:pt x="422" y="345"/>
                </a:cubicBezTo>
                <a:cubicBezTo>
                  <a:pt x="423" y="345"/>
                  <a:pt x="422" y="345"/>
                  <a:pt x="422" y="346"/>
                </a:cubicBezTo>
                <a:cubicBezTo>
                  <a:pt x="422" y="346"/>
                  <a:pt x="421" y="347"/>
                  <a:pt x="422" y="347"/>
                </a:cubicBezTo>
                <a:cubicBezTo>
                  <a:pt x="422" y="347"/>
                  <a:pt x="423" y="348"/>
                  <a:pt x="423" y="348"/>
                </a:cubicBezTo>
                <a:cubicBezTo>
                  <a:pt x="423" y="348"/>
                  <a:pt x="424" y="349"/>
                  <a:pt x="424" y="349"/>
                </a:cubicBezTo>
                <a:cubicBezTo>
                  <a:pt x="424" y="348"/>
                  <a:pt x="424" y="348"/>
                  <a:pt x="424" y="348"/>
                </a:cubicBezTo>
                <a:cubicBezTo>
                  <a:pt x="423" y="347"/>
                  <a:pt x="424" y="347"/>
                  <a:pt x="424" y="346"/>
                </a:cubicBezTo>
                <a:cubicBezTo>
                  <a:pt x="424" y="346"/>
                  <a:pt x="423" y="345"/>
                  <a:pt x="424" y="345"/>
                </a:cubicBezTo>
                <a:cubicBezTo>
                  <a:pt x="423" y="345"/>
                  <a:pt x="424" y="344"/>
                  <a:pt x="423" y="344"/>
                </a:cubicBezTo>
                <a:cubicBezTo>
                  <a:pt x="423" y="343"/>
                  <a:pt x="425" y="342"/>
                  <a:pt x="425" y="342"/>
                </a:cubicBezTo>
                <a:cubicBezTo>
                  <a:pt x="425" y="342"/>
                  <a:pt x="425" y="342"/>
                  <a:pt x="426" y="342"/>
                </a:cubicBezTo>
                <a:cubicBezTo>
                  <a:pt x="426" y="342"/>
                  <a:pt x="427" y="342"/>
                  <a:pt x="427" y="342"/>
                </a:cubicBezTo>
                <a:cubicBezTo>
                  <a:pt x="428" y="342"/>
                  <a:pt x="429" y="343"/>
                  <a:pt x="430" y="342"/>
                </a:cubicBezTo>
                <a:cubicBezTo>
                  <a:pt x="430" y="342"/>
                  <a:pt x="431" y="342"/>
                  <a:pt x="431" y="342"/>
                </a:cubicBezTo>
                <a:cubicBezTo>
                  <a:pt x="432" y="342"/>
                  <a:pt x="432" y="343"/>
                  <a:pt x="432" y="343"/>
                </a:cubicBezTo>
                <a:cubicBezTo>
                  <a:pt x="432" y="343"/>
                  <a:pt x="432" y="341"/>
                  <a:pt x="431" y="341"/>
                </a:cubicBezTo>
                <a:cubicBezTo>
                  <a:pt x="431" y="342"/>
                  <a:pt x="430" y="342"/>
                  <a:pt x="430" y="342"/>
                </a:cubicBezTo>
                <a:cubicBezTo>
                  <a:pt x="430" y="342"/>
                  <a:pt x="431" y="341"/>
                  <a:pt x="431" y="341"/>
                </a:cubicBezTo>
                <a:cubicBezTo>
                  <a:pt x="430" y="341"/>
                  <a:pt x="430" y="342"/>
                  <a:pt x="429" y="342"/>
                </a:cubicBezTo>
                <a:cubicBezTo>
                  <a:pt x="429" y="342"/>
                  <a:pt x="429" y="342"/>
                  <a:pt x="428" y="342"/>
                </a:cubicBezTo>
                <a:cubicBezTo>
                  <a:pt x="428" y="342"/>
                  <a:pt x="428" y="342"/>
                  <a:pt x="428" y="342"/>
                </a:cubicBezTo>
                <a:cubicBezTo>
                  <a:pt x="428" y="342"/>
                  <a:pt x="428" y="342"/>
                  <a:pt x="428" y="341"/>
                </a:cubicBezTo>
                <a:cubicBezTo>
                  <a:pt x="428" y="341"/>
                  <a:pt x="427" y="342"/>
                  <a:pt x="427" y="342"/>
                </a:cubicBezTo>
                <a:cubicBezTo>
                  <a:pt x="426" y="342"/>
                  <a:pt x="425" y="342"/>
                  <a:pt x="425" y="341"/>
                </a:cubicBezTo>
                <a:cubicBezTo>
                  <a:pt x="425" y="341"/>
                  <a:pt x="424" y="341"/>
                  <a:pt x="424" y="341"/>
                </a:cubicBezTo>
                <a:cubicBezTo>
                  <a:pt x="423" y="342"/>
                  <a:pt x="423" y="342"/>
                  <a:pt x="423" y="342"/>
                </a:cubicBezTo>
                <a:cubicBezTo>
                  <a:pt x="423" y="343"/>
                  <a:pt x="422" y="343"/>
                  <a:pt x="423" y="344"/>
                </a:cubicBezTo>
                <a:cubicBezTo>
                  <a:pt x="423" y="344"/>
                  <a:pt x="422" y="345"/>
                  <a:pt x="422" y="345"/>
                </a:cubicBezTo>
                <a:cubicBezTo>
                  <a:pt x="421" y="345"/>
                  <a:pt x="421" y="344"/>
                  <a:pt x="421" y="343"/>
                </a:cubicBezTo>
                <a:cubicBezTo>
                  <a:pt x="420" y="344"/>
                  <a:pt x="420" y="343"/>
                  <a:pt x="420" y="343"/>
                </a:cubicBezTo>
                <a:cubicBezTo>
                  <a:pt x="420" y="343"/>
                  <a:pt x="419" y="342"/>
                  <a:pt x="419" y="342"/>
                </a:cubicBezTo>
                <a:cubicBezTo>
                  <a:pt x="419" y="342"/>
                  <a:pt x="419" y="343"/>
                  <a:pt x="418" y="343"/>
                </a:cubicBezTo>
                <a:cubicBezTo>
                  <a:pt x="419" y="342"/>
                  <a:pt x="420" y="341"/>
                  <a:pt x="420" y="340"/>
                </a:cubicBezTo>
                <a:cubicBezTo>
                  <a:pt x="420" y="341"/>
                  <a:pt x="420" y="341"/>
                  <a:pt x="420" y="342"/>
                </a:cubicBezTo>
                <a:cubicBezTo>
                  <a:pt x="420" y="341"/>
                  <a:pt x="420" y="339"/>
                  <a:pt x="419" y="339"/>
                </a:cubicBezTo>
                <a:cubicBezTo>
                  <a:pt x="420" y="338"/>
                  <a:pt x="420" y="338"/>
                  <a:pt x="419" y="337"/>
                </a:cubicBezTo>
                <a:cubicBezTo>
                  <a:pt x="418" y="336"/>
                  <a:pt x="418" y="335"/>
                  <a:pt x="418" y="335"/>
                </a:cubicBezTo>
                <a:cubicBezTo>
                  <a:pt x="418" y="334"/>
                  <a:pt x="417" y="333"/>
                  <a:pt x="417" y="332"/>
                </a:cubicBezTo>
                <a:cubicBezTo>
                  <a:pt x="418" y="332"/>
                  <a:pt x="418" y="331"/>
                  <a:pt x="418" y="330"/>
                </a:cubicBezTo>
                <a:cubicBezTo>
                  <a:pt x="418" y="329"/>
                  <a:pt x="418" y="329"/>
                  <a:pt x="419" y="328"/>
                </a:cubicBezTo>
                <a:cubicBezTo>
                  <a:pt x="419" y="327"/>
                  <a:pt x="420" y="326"/>
                  <a:pt x="420" y="326"/>
                </a:cubicBezTo>
                <a:cubicBezTo>
                  <a:pt x="421" y="325"/>
                  <a:pt x="421" y="324"/>
                  <a:pt x="421" y="323"/>
                </a:cubicBezTo>
                <a:cubicBezTo>
                  <a:pt x="421" y="323"/>
                  <a:pt x="421" y="321"/>
                  <a:pt x="421" y="321"/>
                </a:cubicBezTo>
                <a:cubicBezTo>
                  <a:pt x="420" y="321"/>
                  <a:pt x="420" y="320"/>
                  <a:pt x="420" y="319"/>
                </a:cubicBezTo>
                <a:cubicBezTo>
                  <a:pt x="420" y="318"/>
                  <a:pt x="419" y="318"/>
                  <a:pt x="420" y="317"/>
                </a:cubicBezTo>
                <a:cubicBezTo>
                  <a:pt x="420" y="316"/>
                  <a:pt x="420" y="315"/>
                  <a:pt x="421" y="315"/>
                </a:cubicBezTo>
                <a:cubicBezTo>
                  <a:pt x="422" y="314"/>
                  <a:pt x="422" y="313"/>
                  <a:pt x="423" y="313"/>
                </a:cubicBezTo>
                <a:cubicBezTo>
                  <a:pt x="423" y="313"/>
                  <a:pt x="423" y="313"/>
                  <a:pt x="423" y="313"/>
                </a:cubicBezTo>
                <a:cubicBezTo>
                  <a:pt x="423" y="313"/>
                  <a:pt x="423" y="313"/>
                  <a:pt x="424" y="313"/>
                </a:cubicBezTo>
                <a:cubicBezTo>
                  <a:pt x="424" y="312"/>
                  <a:pt x="425" y="312"/>
                  <a:pt x="425" y="311"/>
                </a:cubicBezTo>
                <a:cubicBezTo>
                  <a:pt x="425" y="311"/>
                  <a:pt x="424" y="312"/>
                  <a:pt x="424" y="312"/>
                </a:cubicBezTo>
                <a:cubicBezTo>
                  <a:pt x="424" y="311"/>
                  <a:pt x="425" y="311"/>
                  <a:pt x="426" y="310"/>
                </a:cubicBezTo>
                <a:cubicBezTo>
                  <a:pt x="426" y="309"/>
                  <a:pt x="426" y="309"/>
                  <a:pt x="426" y="308"/>
                </a:cubicBezTo>
                <a:cubicBezTo>
                  <a:pt x="427" y="308"/>
                  <a:pt x="428" y="307"/>
                  <a:pt x="428" y="307"/>
                </a:cubicBezTo>
                <a:cubicBezTo>
                  <a:pt x="429" y="306"/>
                  <a:pt x="430" y="305"/>
                  <a:pt x="430" y="303"/>
                </a:cubicBezTo>
                <a:cubicBezTo>
                  <a:pt x="430" y="303"/>
                  <a:pt x="430" y="302"/>
                  <a:pt x="430" y="302"/>
                </a:cubicBezTo>
                <a:cubicBezTo>
                  <a:pt x="430" y="302"/>
                  <a:pt x="430" y="302"/>
                  <a:pt x="430" y="301"/>
                </a:cubicBezTo>
                <a:cubicBezTo>
                  <a:pt x="430" y="301"/>
                  <a:pt x="431" y="300"/>
                  <a:pt x="431" y="299"/>
                </a:cubicBezTo>
                <a:cubicBezTo>
                  <a:pt x="432" y="299"/>
                  <a:pt x="431" y="299"/>
                  <a:pt x="431" y="298"/>
                </a:cubicBezTo>
                <a:cubicBezTo>
                  <a:pt x="431" y="298"/>
                  <a:pt x="431" y="297"/>
                  <a:pt x="431" y="297"/>
                </a:cubicBezTo>
                <a:cubicBezTo>
                  <a:pt x="432" y="295"/>
                  <a:pt x="432" y="294"/>
                  <a:pt x="433" y="293"/>
                </a:cubicBezTo>
                <a:cubicBezTo>
                  <a:pt x="434" y="293"/>
                  <a:pt x="434" y="292"/>
                  <a:pt x="434" y="292"/>
                </a:cubicBezTo>
                <a:cubicBezTo>
                  <a:pt x="434" y="292"/>
                  <a:pt x="434" y="291"/>
                  <a:pt x="434" y="291"/>
                </a:cubicBezTo>
                <a:cubicBezTo>
                  <a:pt x="434" y="289"/>
                  <a:pt x="436" y="288"/>
                  <a:pt x="437" y="287"/>
                </a:cubicBezTo>
                <a:cubicBezTo>
                  <a:pt x="437" y="287"/>
                  <a:pt x="438" y="286"/>
                  <a:pt x="438" y="285"/>
                </a:cubicBezTo>
                <a:cubicBezTo>
                  <a:pt x="439" y="285"/>
                  <a:pt x="439" y="284"/>
                  <a:pt x="440" y="284"/>
                </a:cubicBezTo>
                <a:cubicBezTo>
                  <a:pt x="439" y="284"/>
                  <a:pt x="439" y="285"/>
                  <a:pt x="439" y="285"/>
                </a:cubicBezTo>
                <a:cubicBezTo>
                  <a:pt x="439" y="285"/>
                  <a:pt x="441" y="283"/>
                  <a:pt x="441" y="284"/>
                </a:cubicBezTo>
                <a:cubicBezTo>
                  <a:pt x="441" y="284"/>
                  <a:pt x="441" y="284"/>
                  <a:pt x="441" y="284"/>
                </a:cubicBezTo>
                <a:cubicBezTo>
                  <a:pt x="441" y="284"/>
                  <a:pt x="441" y="283"/>
                  <a:pt x="442" y="283"/>
                </a:cubicBezTo>
                <a:cubicBezTo>
                  <a:pt x="441" y="283"/>
                  <a:pt x="440" y="284"/>
                  <a:pt x="440" y="284"/>
                </a:cubicBezTo>
                <a:cubicBezTo>
                  <a:pt x="441" y="283"/>
                  <a:pt x="442" y="281"/>
                  <a:pt x="444" y="280"/>
                </a:cubicBezTo>
                <a:cubicBezTo>
                  <a:pt x="444" y="281"/>
                  <a:pt x="445" y="280"/>
                  <a:pt x="444" y="280"/>
                </a:cubicBezTo>
                <a:cubicBezTo>
                  <a:pt x="444" y="280"/>
                  <a:pt x="444" y="280"/>
                  <a:pt x="443" y="281"/>
                </a:cubicBezTo>
                <a:cubicBezTo>
                  <a:pt x="444" y="279"/>
                  <a:pt x="445" y="279"/>
                  <a:pt x="445" y="278"/>
                </a:cubicBezTo>
                <a:cubicBezTo>
                  <a:pt x="446" y="277"/>
                  <a:pt x="446" y="277"/>
                  <a:pt x="446" y="276"/>
                </a:cubicBezTo>
                <a:cubicBezTo>
                  <a:pt x="447" y="276"/>
                  <a:pt x="447" y="275"/>
                  <a:pt x="447" y="275"/>
                </a:cubicBezTo>
                <a:cubicBezTo>
                  <a:pt x="448" y="274"/>
                  <a:pt x="449" y="273"/>
                  <a:pt x="449" y="273"/>
                </a:cubicBezTo>
                <a:cubicBezTo>
                  <a:pt x="450" y="273"/>
                  <a:pt x="450" y="273"/>
                  <a:pt x="450" y="272"/>
                </a:cubicBezTo>
                <a:cubicBezTo>
                  <a:pt x="450" y="272"/>
                  <a:pt x="449" y="273"/>
                  <a:pt x="449" y="272"/>
                </a:cubicBezTo>
                <a:cubicBezTo>
                  <a:pt x="449" y="272"/>
                  <a:pt x="450" y="271"/>
                  <a:pt x="450" y="271"/>
                </a:cubicBezTo>
                <a:cubicBezTo>
                  <a:pt x="450" y="271"/>
                  <a:pt x="451" y="271"/>
                  <a:pt x="451" y="270"/>
                </a:cubicBezTo>
                <a:cubicBezTo>
                  <a:pt x="450" y="271"/>
                  <a:pt x="452" y="269"/>
                  <a:pt x="452" y="269"/>
                </a:cubicBezTo>
                <a:cubicBezTo>
                  <a:pt x="452" y="268"/>
                  <a:pt x="453" y="267"/>
                  <a:pt x="454" y="267"/>
                </a:cubicBezTo>
                <a:cubicBezTo>
                  <a:pt x="454" y="266"/>
                  <a:pt x="455" y="265"/>
                  <a:pt x="456" y="264"/>
                </a:cubicBezTo>
                <a:cubicBezTo>
                  <a:pt x="456" y="263"/>
                  <a:pt x="456" y="262"/>
                  <a:pt x="457" y="262"/>
                </a:cubicBezTo>
                <a:cubicBezTo>
                  <a:pt x="457" y="262"/>
                  <a:pt x="457" y="262"/>
                  <a:pt x="457" y="262"/>
                </a:cubicBezTo>
                <a:cubicBezTo>
                  <a:pt x="457" y="261"/>
                  <a:pt x="458" y="261"/>
                  <a:pt x="458" y="261"/>
                </a:cubicBezTo>
                <a:cubicBezTo>
                  <a:pt x="459" y="261"/>
                  <a:pt x="458" y="261"/>
                  <a:pt x="459" y="260"/>
                </a:cubicBezTo>
                <a:cubicBezTo>
                  <a:pt x="458" y="260"/>
                  <a:pt x="458" y="261"/>
                  <a:pt x="458" y="261"/>
                </a:cubicBezTo>
                <a:cubicBezTo>
                  <a:pt x="459" y="260"/>
                  <a:pt x="459" y="259"/>
                  <a:pt x="460" y="259"/>
                </a:cubicBezTo>
                <a:cubicBezTo>
                  <a:pt x="460" y="259"/>
                  <a:pt x="459" y="259"/>
                  <a:pt x="459" y="259"/>
                </a:cubicBezTo>
                <a:cubicBezTo>
                  <a:pt x="460" y="258"/>
                  <a:pt x="460" y="258"/>
                  <a:pt x="460" y="257"/>
                </a:cubicBezTo>
                <a:cubicBezTo>
                  <a:pt x="460" y="257"/>
                  <a:pt x="461" y="256"/>
                  <a:pt x="461" y="256"/>
                </a:cubicBezTo>
                <a:cubicBezTo>
                  <a:pt x="461" y="256"/>
                  <a:pt x="461" y="256"/>
                  <a:pt x="462" y="255"/>
                </a:cubicBezTo>
                <a:cubicBezTo>
                  <a:pt x="462" y="255"/>
                  <a:pt x="462" y="254"/>
                  <a:pt x="462" y="253"/>
                </a:cubicBezTo>
                <a:cubicBezTo>
                  <a:pt x="463" y="253"/>
                  <a:pt x="463" y="254"/>
                  <a:pt x="463" y="254"/>
                </a:cubicBezTo>
                <a:cubicBezTo>
                  <a:pt x="463" y="254"/>
                  <a:pt x="464" y="254"/>
                  <a:pt x="464" y="254"/>
                </a:cubicBezTo>
                <a:cubicBezTo>
                  <a:pt x="464" y="254"/>
                  <a:pt x="463" y="254"/>
                  <a:pt x="463" y="254"/>
                </a:cubicBezTo>
                <a:cubicBezTo>
                  <a:pt x="463" y="254"/>
                  <a:pt x="464" y="253"/>
                  <a:pt x="464" y="253"/>
                </a:cubicBezTo>
                <a:cubicBezTo>
                  <a:pt x="464" y="253"/>
                  <a:pt x="464" y="254"/>
                  <a:pt x="464" y="254"/>
                </a:cubicBezTo>
                <a:cubicBezTo>
                  <a:pt x="465" y="254"/>
                  <a:pt x="465" y="254"/>
                  <a:pt x="466" y="253"/>
                </a:cubicBezTo>
                <a:cubicBezTo>
                  <a:pt x="466" y="253"/>
                  <a:pt x="467" y="253"/>
                  <a:pt x="467" y="254"/>
                </a:cubicBezTo>
                <a:cubicBezTo>
                  <a:pt x="467" y="255"/>
                  <a:pt x="469" y="254"/>
                  <a:pt x="469" y="254"/>
                </a:cubicBezTo>
                <a:cubicBezTo>
                  <a:pt x="469" y="254"/>
                  <a:pt x="468" y="254"/>
                  <a:pt x="468" y="253"/>
                </a:cubicBezTo>
                <a:cubicBezTo>
                  <a:pt x="468" y="253"/>
                  <a:pt x="468" y="253"/>
                  <a:pt x="467" y="253"/>
                </a:cubicBezTo>
                <a:cubicBezTo>
                  <a:pt x="467" y="253"/>
                  <a:pt x="465" y="253"/>
                  <a:pt x="466" y="252"/>
                </a:cubicBezTo>
                <a:cubicBezTo>
                  <a:pt x="465" y="252"/>
                  <a:pt x="464" y="253"/>
                  <a:pt x="463" y="253"/>
                </a:cubicBezTo>
                <a:cubicBezTo>
                  <a:pt x="463" y="252"/>
                  <a:pt x="463" y="253"/>
                  <a:pt x="462" y="253"/>
                </a:cubicBezTo>
                <a:cubicBezTo>
                  <a:pt x="463" y="252"/>
                  <a:pt x="463" y="251"/>
                  <a:pt x="464" y="250"/>
                </a:cubicBezTo>
                <a:cubicBezTo>
                  <a:pt x="464" y="250"/>
                  <a:pt x="465" y="249"/>
                  <a:pt x="465" y="249"/>
                </a:cubicBezTo>
                <a:cubicBezTo>
                  <a:pt x="465" y="249"/>
                  <a:pt x="465" y="250"/>
                  <a:pt x="464" y="250"/>
                </a:cubicBezTo>
                <a:cubicBezTo>
                  <a:pt x="464" y="250"/>
                  <a:pt x="464" y="251"/>
                  <a:pt x="464" y="251"/>
                </a:cubicBezTo>
                <a:cubicBezTo>
                  <a:pt x="463" y="252"/>
                  <a:pt x="464" y="251"/>
                  <a:pt x="465" y="251"/>
                </a:cubicBezTo>
                <a:cubicBezTo>
                  <a:pt x="465" y="251"/>
                  <a:pt x="465" y="251"/>
                  <a:pt x="465" y="251"/>
                </a:cubicBezTo>
                <a:cubicBezTo>
                  <a:pt x="465" y="251"/>
                  <a:pt x="465" y="250"/>
                  <a:pt x="465" y="250"/>
                </a:cubicBezTo>
                <a:cubicBezTo>
                  <a:pt x="466" y="250"/>
                  <a:pt x="466" y="249"/>
                  <a:pt x="466" y="249"/>
                </a:cubicBezTo>
                <a:cubicBezTo>
                  <a:pt x="466" y="249"/>
                  <a:pt x="466" y="249"/>
                  <a:pt x="466" y="248"/>
                </a:cubicBezTo>
                <a:cubicBezTo>
                  <a:pt x="467" y="248"/>
                  <a:pt x="467" y="248"/>
                  <a:pt x="467" y="248"/>
                </a:cubicBezTo>
                <a:cubicBezTo>
                  <a:pt x="467" y="248"/>
                  <a:pt x="468" y="248"/>
                  <a:pt x="467" y="248"/>
                </a:cubicBezTo>
                <a:cubicBezTo>
                  <a:pt x="467" y="248"/>
                  <a:pt x="467" y="248"/>
                  <a:pt x="467" y="248"/>
                </a:cubicBezTo>
                <a:cubicBezTo>
                  <a:pt x="466" y="248"/>
                  <a:pt x="465" y="248"/>
                  <a:pt x="465" y="247"/>
                </a:cubicBezTo>
                <a:cubicBezTo>
                  <a:pt x="466" y="247"/>
                  <a:pt x="466" y="246"/>
                  <a:pt x="466" y="246"/>
                </a:cubicBezTo>
                <a:cubicBezTo>
                  <a:pt x="466" y="246"/>
                  <a:pt x="466" y="247"/>
                  <a:pt x="467" y="247"/>
                </a:cubicBezTo>
                <a:cubicBezTo>
                  <a:pt x="467" y="246"/>
                  <a:pt x="467" y="246"/>
                  <a:pt x="467" y="246"/>
                </a:cubicBezTo>
                <a:cubicBezTo>
                  <a:pt x="467" y="246"/>
                  <a:pt x="467" y="246"/>
                  <a:pt x="468" y="246"/>
                </a:cubicBezTo>
                <a:cubicBezTo>
                  <a:pt x="468" y="245"/>
                  <a:pt x="469" y="245"/>
                  <a:pt x="469" y="245"/>
                </a:cubicBezTo>
                <a:cubicBezTo>
                  <a:pt x="468" y="245"/>
                  <a:pt x="468" y="245"/>
                  <a:pt x="468" y="244"/>
                </a:cubicBezTo>
                <a:cubicBezTo>
                  <a:pt x="468" y="244"/>
                  <a:pt x="466" y="245"/>
                  <a:pt x="466" y="246"/>
                </a:cubicBezTo>
                <a:cubicBezTo>
                  <a:pt x="467" y="244"/>
                  <a:pt x="468" y="243"/>
                  <a:pt x="468" y="242"/>
                </a:cubicBezTo>
                <a:cubicBezTo>
                  <a:pt x="468" y="241"/>
                  <a:pt x="468" y="240"/>
                  <a:pt x="469" y="239"/>
                </a:cubicBezTo>
                <a:cubicBezTo>
                  <a:pt x="469" y="239"/>
                  <a:pt x="469" y="238"/>
                  <a:pt x="470" y="237"/>
                </a:cubicBezTo>
                <a:cubicBezTo>
                  <a:pt x="470" y="237"/>
                  <a:pt x="470" y="236"/>
                  <a:pt x="470" y="236"/>
                </a:cubicBezTo>
                <a:cubicBezTo>
                  <a:pt x="469" y="234"/>
                  <a:pt x="470" y="234"/>
                  <a:pt x="470" y="233"/>
                </a:cubicBezTo>
                <a:cubicBezTo>
                  <a:pt x="471" y="232"/>
                  <a:pt x="471" y="232"/>
                  <a:pt x="472" y="231"/>
                </a:cubicBezTo>
                <a:cubicBezTo>
                  <a:pt x="472" y="231"/>
                  <a:pt x="472" y="231"/>
                  <a:pt x="472" y="230"/>
                </a:cubicBezTo>
                <a:cubicBezTo>
                  <a:pt x="472" y="230"/>
                  <a:pt x="472" y="230"/>
                  <a:pt x="473" y="230"/>
                </a:cubicBezTo>
                <a:cubicBezTo>
                  <a:pt x="473" y="230"/>
                  <a:pt x="474" y="231"/>
                  <a:pt x="474" y="231"/>
                </a:cubicBezTo>
                <a:cubicBezTo>
                  <a:pt x="475" y="231"/>
                  <a:pt x="476" y="231"/>
                  <a:pt x="476" y="232"/>
                </a:cubicBezTo>
                <a:cubicBezTo>
                  <a:pt x="476" y="232"/>
                  <a:pt x="477" y="232"/>
                  <a:pt x="477" y="232"/>
                </a:cubicBezTo>
                <a:cubicBezTo>
                  <a:pt x="479" y="232"/>
                  <a:pt x="480" y="233"/>
                  <a:pt x="481" y="233"/>
                </a:cubicBezTo>
                <a:cubicBezTo>
                  <a:pt x="481" y="233"/>
                  <a:pt x="482" y="233"/>
                  <a:pt x="482" y="233"/>
                </a:cubicBezTo>
                <a:cubicBezTo>
                  <a:pt x="483" y="233"/>
                  <a:pt x="483" y="232"/>
                  <a:pt x="484" y="232"/>
                </a:cubicBezTo>
                <a:cubicBezTo>
                  <a:pt x="484" y="232"/>
                  <a:pt x="484" y="232"/>
                  <a:pt x="484" y="232"/>
                </a:cubicBezTo>
                <a:cubicBezTo>
                  <a:pt x="484" y="233"/>
                  <a:pt x="484" y="233"/>
                  <a:pt x="484" y="233"/>
                </a:cubicBezTo>
                <a:cubicBezTo>
                  <a:pt x="484" y="233"/>
                  <a:pt x="484" y="234"/>
                  <a:pt x="484" y="234"/>
                </a:cubicBezTo>
                <a:cubicBezTo>
                  <a:pt x="484" y="234"/>
                  <a:pt x="485" y="232"/>
                  <a:pt x="485" y="233"/>
                </a:cubicBezTo>
                <a:cubicBezTo>
                  <a:pt x="485" y="234"/>
                  <a:pt x="485" y="234"/>
                  <a:pt x="485" y="234"/>
                </a:cubicBezTo>
                <a:cubicBezTo>
                  <a:pt x="486" y="234"/>
                  <a:pt x="485" y="233"/>
                  <a:pt x="486" y="233"/>
                </a:cubicBezTo>
                <a:cubicBezTo>
                  <a:pt x="486" y="233"/>
                  <a:pt x="487" y="232"/>
                  <a:pt x="487" y="233"/>
                </a:cubicBezTo>
                <a:cubicBezTo>
                  <a:pt x="487" y="233"/>
                  <a:pt x="486" y="233"/>
                  <a:pt x="486" y="233"/>
                </a:cubicBezTo>
                <a:cubicBezTo>
                  <a:pt x="486" y="234"/>
                  <a:pt x="487" y="235"/>
                  <a:pt x="486" y="236"/>
                </a:cubicBezTo>
                <a:cubicBezTo>
                  <a:pt x="485" y="236"/>
                  <a:pt x="485" y="236"/>
                  <a:pt x="484" y="237"/>
                </a:cubicBezTo>
                <a:cubicBezTo>
                  <a:pt x="484" y="237"/>
                  <a:pt x="484" y="237"/>
                  <a:pt x="483" y="237"/>
                </a:cubicBezTo>
                <a:cubicBezTo>
                  <a:pt x="483" y="237"/>
                  <a:pt x="484" y="236"/>
                  <a:pt x="484" y="236"/>
                </a:cubicBezTo>
                <a:cubicBezTo>
                  <a:pt x="484" y="236"/>
                  <a:pt x="484" y="236"/>
                  <a:pt x="484" y="236"/>
                </a:cubicBezTo>
                <a:cubicBezTo>
                  <a:pt x="484" y="236"/>
                  <a:pt x="484" y="236"/>
                  <a:pt x="484" y="236"/>
                </a:cubicBezTo>
                <a:cubicBezTo>
                  <a:pt x="483" y="236"/>
                  <a:pt x="483" y="237"/>
                  <a:pt x="483" y="237"/>
                </a:cubicBezTo>
                <a:cubicBezTo>
                  <a:pt x="482" y="238"/>
                  <a:pt x="482" y="238"/>
                  <a:pt x="482" y="238"/>
                </a:cubicBezTo>
                <a:cubicBezTo>
                  <a:pt x="481" y="239"/>
                  <a:pt x="480" y="239"/>
                  <a:pt x="479" y="240"/>
                </a:cubicBezTo>
                <a:cubicBezTo>
                  <a:pt x="478" y="241"/>
                  <a:pt x="478" y="241"/>
                  <a:pt x="479" y="241"/>
                </a:cubicBezTo>
                <a:cubicBezTo>
                  <a:pt x="480" y="241"/>
                  <a:pt x="481" y="241"/>
                  <a:pt x="481" y="240"/>
                </a:cubicBezTo>
                <a:cubicBezTo>
                  <a:pt x="480" y="240"/>
                  <a:pt x="480" y="241"/>
                  <a:pt x="479" y="241"/>
                </a:cubicBezTo>
                <a:cubicBezTo>
                  <a:pt x="478" y="241"/>
                  <a:pt x="480" y="239"/>
                  <a:pt x="480" y="239"/>
                </a:cubicBezTo>
                <a:cubicBezTo>
                  <a:pt x="481" y="239"/>
                  <a:pt x="481" y="238"/>
                  <a:pt x="482" y="238"/>
                </a:cubicBezTo>
                <a:cubicBezTo>
                  <a:pt x="483" y="238"/>
                  <a:pt x="483" y="238"/>
                  <a:pt x="484" y="237"/>
                </a:cubicBezTo>
                <a:cubicBezTo>
                  <a:pt x="484" y="237"/>
                  <a:pt x="486" y="235"/>
                  <a:pt x="486" y="236"/>
                </a:cubicBezTo>
                <a:cubicBezTo>
                  <a:pt x="487" y="236"/>
                  <a:pt x="487" y="235"/>
                  <a:pt x="487" y="235"/>
                </a:cubicBezTo>
                <a:cubicBezTo>
                  <a:pt x="488" y="235"/>
                  <a:pt x="487" y="237"/>
                  <a:pt x="486" y="237"/>
                </a:cubicBezTo>
                <a:cubicBezTo>
                  <a:pt x="486" y="237"/>
                  <a:pt x="486" y="237"/>
                  <a:pt x="486" y="237"/>
                </a:cubicBezTo>
                <a:cubicBezTo>
                  <a:pt x="486" y="237"/>
                  <a:pt x="485" y="237"/>
                  <a:pt x="485" y="237"/>
                </a:cubicBezTo>
                <a:cubicBezTo>
                  <a:pt x="485" y="237"/>
                  <a:pt x="485" y="237"/>
                  <a:pt x="485" y="237"/>
                </a:cubicBezTo>
                <a:cubicBezTo>
                  <a:pt x="485" y="237"/>
                  <a:pt x="485" y="238"/>
                  <a:pt x="485" y="238"/>
                </a:cubicBezTo>
                <a:cubicBezTo>
                  <a:pt x="484" y="239"/>
                  <a:pt x="484" y="238"/>
                  <a:pt x="484" y="238"/>
                </a:cubicBezTo>
                <a:cubicBezTo>
                  <a:pt x="484" y="238"/>
                  <a:pt x="484" y="238"/>
                  <a:pt x="484" y="239"/>
                </a:cubicBezTo>
                <a:cubicBezTo>
                  <a:pt x="484" y="239"/>
                  <a:pt x="483" y="239"/>
                  <a:pt x="483" y="239"/>
                </a:cubicBezTo>
                <a:cubicBezTo>
                  <a:pt x="483" y="239"/>
                  <a:pt x="485" y="239"/>
                  <a:pt x="485" y="239"/>
                </a:cubicBezTo>
                <a:cubicBezTo>
                  <a:pt x="484" y="239"/>
                  <a:pt x="484" y="240"/>
                  <a:pt x="484" y="240"/>
                </a:cubicBezTo>
                <a:cubicBezTo>
                  <a:pt x="483" y="241"/>
                  <a:pt x="483" y="241"/>
                  <a:pt x="482" y="242"/>
                </a:cubicBezTo>
                <a:cubicBezTo>
                  <a:pt x="482" y="242"/>
                  <a:pt x="481" y="242"/>
                  <a:pt x="482" y="241"/>
                </a:cubicBezTo>
                <a:cubicBezTo>
                  <a:pt x="482" y="241"/>
                  <a:pt x="483" y="241"/>
                  <a:pt x="483" y="240"/>
                </a:cubicBezTo>
                <a:cubicBezTo>
                  <a:pt x="482" y="241"/>
                  <a:pt x="481" y="241"/>
                  <a:pt x="481" y="242"/>
                </a:cubicBezTo>
                <a:cubicBezTo>
                  <a:pt x="481" y="242"/>
                  <a:pt x="481" y="243"/>
                  <a:pt x="480" y="243"/>
                </a:cubicBezTo>
                <a:cubicBezTo>
                  <a:pt x="480" y="243"/>
                  <a:pt x="480" y="242"/>
                  <a:pt x="480" y="242"/>
                </a:cubicBezTo>
                <a:cubicBezTo>
                  <a:pt x="480" y="242"/>
                  <a:pt x="481" y="242"/>
                  <a:pt x="481" y="241"/>
                </a:cubicBezTo>
                <a:cubicBezTo>
                  <a:pt x="481" y="241"/>
                  <a:pt x="481" y="241"/>
                  <a:pt x="481" y="241"/>
                </a:cubicBezTo>
                <a:cubicBezTo>
                  <a:pt x="481" y="241"/>
                  <a:pt x="481" y="241"/>
                  <a:pt x="480" y="241"/>
                </a:cubicBezTo>
                <a:cubicBezTo>
                  <a:pt x="480" y="242"/>
                  <a:pt x="479" y="242"/>
                  <a:pt x="479" y="242"/>
                </a:cubicBezTo>
                <a:cubicBezTo>
                  <a:pt x="479" y="243"/>
                  <a:pt x="478" y="243"/>
                  <a:pt x="478" y="243"/>
                </a:cubicBezTo>
                <a:cubicBezTo>
                  <a:pt x="478" y="243"/>
                  <a:pt x="477" y="243"/>
                  <a:pt x="477" y="243"/>
                </a:cubicBezTo>
                <a:cubicBezTo>
                  <a:pt x="477" y="243"/>
                  <a:pt x="477" y="243"/>
                  <a:pt x="477" y="243"/>
                </a:cubicBezTo>
                <a:cubicBezTo>
                  <a:pt x="477" y="244"/>
                  <a:pt x="477" y="244"/>
                  <a:pt x="477" y="244"/>
                </a:cubicBezTo>
                <a:cubicBezTo>
                  <a:pt x="477" y="244"/>
                  <a:pt x="478" y="243"/>
                  <a:pt x="478" y="243"/>
                </a:cubicBezTo>
                <a:cubicBezTo>
                  <a:pt x="478" y="243"/>
                  <a:pt x="478" y="244"/>
                  <a:pt x="477" y="244"/>
                </a:cubicBezTo>
                <a:cubicBezTo>
                  <a:pt x="478" y="244"/>
                  <a:pt x="478" y="244"/>
                  <a:pt x="478" y="243"/>
                </a:cubicBezTo>
                <a:cubicBezTo>
                  <a:pt x="478" y="244"/>
                  <a:pt x="478" y="244"/>
                  <a:pt x="478" y="244"/>
                </a:cubicBezTo>
                <a:cubicBezTo>
                  <a:pt x="478" y="244"/>
                  <a:pt x="479" y="243"/>
                  <a:pt x="479" y="243"/>
                </a:cubicBezTo>
                <a:cubicBezTo>
                  <a:pt x="479" y="243"/>
                  <a:pt x="479" y="243"/>
                  <a:pt x="479" y="243"/>
                </a:cubicBezTo>
                <a:cubicBezTo>
                  <a:pt x="479" y="244"/>
                  <a:pt x="479" y="243"/>
                  <a:pt x="480" y="243"/>
                </a:cubicBezTo>
                <a:cubicBezTo>
                  <a:pt x="480" y="243"/>
                  <a:pt x="480" y="244"/>
                  <a:pt x="480" y="244"/>
                </a:cubicBezTo>
                <a:cubicBezTo>
                  <a:pt x="481" y="244"/>
                  <a:pt x="482" y="243"/>
                  <a:pt x="482" y="242"/>
                </a:cubicBezTo>
                <a:cubicBezTo>
                  <a:pt x="483" y="242"/>
                  <a:pt x="483" y="241"/>
                  <a:pt x="483" y="242"/>
                </a:cubicBezTo>
                <a:cubicBezTo>
                  <a:pt x="483" y="242"/>
                  <a:pt x="484" y="242"/>
                  <a:pt x="484" y="242"/>
                </a:cubicBezTo>
                <a:cubicBezTo>
                  <a:pt x="484" y="241"/>
                  <a:pt x="485" y="241"/>
                  <a:pt x="485" y="241"/>
                </a:cubicBezTo>
                <a:cubicBezTo>
                  <a:pt x="485" y="241"/>
                  <a:pt x="485" y="240"/>
                  <a:pt x="485" y="240"/>
                </a:cubicBezTo>
                <a:cubicBezTo>
                  <a:pt x="485" y="240"/>
                  <a:pt x="486" y="239"/>
                  <a:pt x="486" y="239"/>
                </a:cubicBezTo>
                <a:cubicBezTo>
                  <a:pt x="486" y="239"/>
                  <a:pt x="486" y="238"/>
                  <a:pt x="486" y="239"/>
                </a:cubicBezTo>
                <a:cubicBezTo>
                  <a:pt x="487" y="238"/>
                  <a:pt x="486" y="238"/>
                  <a:pt x="487" y="238"/>
                </a:cubicBezTo>
                <a:cubicBezTo>
                  <a:pt x="487" y="237"/>
                  <a:pt x="487" y="237"/>
                  <a:pt x="487" y="237"/>
                </a:cubicBezTo>
                <a:cubicBezTo>
                  <a:pt x="488" y="237"/>
                  <a:pt x="487" y="236"/>
                  <a:pt x="488" y="236"/>
                </a:cubicBezTo>
                <a:cubicBezTo>
                  <a:pt x="489" y="235"/>
                  <a:pt x="489" y="235"/>
                  <a:pt x="490" y="234"/>
                </a:cubicBezTo>
                <a:cubicBezTo>
                  <a:pt x="491" y="234"/>
                  <a:pt x="490" y="234"/>
                  <a:pt x="490" y="233"/>
                </a:cubicBezTo>
                <a:cubicBezTo>
                  <a:pt x="490" y="232"/>
                  <a:pt x="491" y="232"/>
                  <a:pt x="491" y="231"/>
                </a:cubicBezTo>
                <a:cubicBezTo>
                  <a:pt x="491" y="230"/>
                  <a:pt x="490" y="231"/>
                  <a:pt x="491" y="230"/>
                </a:cubicBezTo>
                <a:cubicBezTo>
                  <a:pt x="491" y="229"/>
                  <a:pt x="490" y="230"/>
                  <a:pt x="490" y="230"/>
                </a:cubicBezTo>
                <a:cubicBezTo>
                  <a:pt x="489" y="230"/>
                  <a:pt x="490" y="229"/>
                  <a:pt x="490" y="229"/>
                </a:cubicBezTo>
                <a:cubicBezTo>
                  <a:pt x="490" y="229"/>
                  <a:pt x="491" y="229"/>
                  <a:pt x="491" y="229"/>
                </a:cubicBezTo>
                <a:cubicBezTo>
                  <a:pt x="491" y="229"/>
                  <a:pt x="491" y="230"/>
                  <a:pt x="492" y="229"/>
                </a:cubicBezTo>
                <a:cubicBezTo>
                  <a:pt x="492" y="229"/>
                  <a:pt x="492" y="228"/>
                  <a:pt x="492" y="228"/>
                </a:cubicBezTo>
                <a:cubicBezTo>
                  <a:pt x="492" y="228"/>
                  <a:pt x="493" y="229"/>
                  <a:pt x="493" y="228"/>
                </a:cubicBezTo>
                <a:cubicBezTo>
                  <a:pt x="493" y="227"/>
                  <a:pt x="493" y="227"/>
                  <a:pt x="493" y="227"/>
                </a:cubicBezTo>
                <a:cubicBezTo>
                  <a:pt x="494" y="225"/>
                  <a:pt x="492" y="226"/>
                  <a:pt x="492" y="227"/>
                </a:cubicBezTo>
                <a:cubicBezTo>
                  <a:pt x="492" y="226"/>
                  <a:pt x="493" y="226"/>
                  <a:pt x="492" y="226"/>
                </a:cubicBezTo>
                <a:cubicBezTo>
                  <a:pt x="493" y="225"/>
                  <a:pt x="492" y="225"/>
                  <a:pt x="492" y="225"/>
                </a:cubicBezTo>
                <a:cubicBezTo>
                  <a:pt x="493" y="224"/>
                  <a:pt x="492" y="224"/>
                  <a:pt x="492" y="224"/>
                </a:cubicBezTo>
                <a:cubicBezTo>
                  <a:pt x="493" y="224"/>
                  <a:pt x="493" y="224"/>
                  <a:pt x="493" y="224"/>
                </a:cubicBezTo>
                <a:cubicBezTo>
                  <a:pt x="510" y="224"/>
                  <a:pt x="527" y="224"/>
                  <a:pt x="543" y="224"/>
                </a:cubicBezTo>
                <a:cubicBezTo>
                  <a:pt x="577" y="224"/>
                  <a:pt x="610" y="224"/>
                  <a:pt x="644" y="224"/>
                </a:cubicBezTo>
                <a:cubicBezTo>
                  <a:pt x="644" y="224"/>
                  <a:pt x="644" y="224"/>
                  <a:pt x="644" y="224"/>
                </a:cubicBezTo>
                <a:cubicBezTo>
                  <a:pt x="644" y="223"/>
                  <a:pt x="645" y="223"/>
                  <a:pt x="646" y="224"/>
                </a:cubicBezTo>
                <a:cubicBezTo>
                  <a:pt x="648" y="224"/>
                  <a:pt x="649" y="224"/>
                  <a:pt x="651" y="224"/>
                </a:cubicBezTo>
                <a:cubicBezTo>
                  <a:pt x="655" y="224"/>
                  <a:pt x="659" y="224"/>
                  <a:pt x="663" y="224"/>
                </a:cubicBezTo>
                <a:cubicBezTo>
                  <a:pt x="672" y="224"/>
                  <a:pt x="680" y="224"/>
                  <a:pt x="689" y="224"/>
                </a:cubicBezTo>
                <a:cubicBezTo>
                  <a:pt x="697" y="224"/>
                  <a:pt x="705" y="224"/>
                  <a:pt x="714" y="224"/>
                </a:cubicBezTo>
                <a:cubicBezTo>
                  <a:pt x="718" y="224"/>
                  <a:pt x="722" y="224"/>
                  <a:pt x="726" y="224"/>
                </a:cubicBezTo>
                <a:cubicBezTo>
                  <a:pt x="727" y="224"/>
                  <a:pt x="727" y="224"/>
                  <a:pt x="728" y="223"/>
                </a:cubicBezTo>
                <a:cubicBezTo>
                  <a:pt x="728" y="223"/>
                  <a:pt x="728" y="222"/>
                  <a:pt x="728" y="222"/>
                </a:cubicBezTo>
                <a:cubicBezTo>
                  <a:pt x="729" y="222"/>
                  <a:pt x="729" y="221"/>
                  <a:pt x="729" y="221"/>
                </a:cubicBezTo>
                <a:cubicBezTo>
                  <a:pt x="729" y="221"/>
                  <a:pt x="729" y="220"/>
                  <a:pt x="729" y="220"/>
                </a:cubicBezTo>
                <a:cubicBezTo>
                  <a:pt x="730" y="219"/>
                  <a:pt x="730" y="220"/>
                  <a:pt x="730" y="220"/>
                </a:cubicBezTo>
                <a:cubicBezTo>
                  <a:pt x="731" y="220"/>
                  <a:pt x="732" y="220"/>
                  <a:pt x="732" y="220"/>
                </a:cubicBezTo>
                <a:cubicBezTo>
                  <a:pt x="732" y="221"/>
                  <a:pt x="731" y="222"/>
                  <a:pt x="731" y="223"/>
                </a:cubicBezTo>
                <a:cubicBezTo>
                  <a:pt x="731" y="223"/>
                  <a:pt x="731" y="224"/>
                  <a:pt x="730" y="225"/>
                </a:cubicBezTo>
                <a:cubicBezTo>
                  <a:pt x="730" y="225"/>
                  <a:pt x="730" y="226"/>
                  <a:pt x="730" y="226"/>
                </a:cubicBezTo>
                <a:cubicBezTo>
                  <a:pt x="731" y="227"/>
                  <a:pt x="732" y="227"/>
                  <a:pt x="732" y="227"/>
                </a:cubicBezTo>
                <a:cubicBezTo>
                  <a:pt x="733" y="227"/>
                  <a:pt x="733" y="227"/>
                  <a:pt x="733" y="227"/>
                </a:cubicBezTo>
                <a:cubicBezTo>
                  <a:pt x="734" y="227"/>
                  <a:pt x="736" y="227"/>
                  <a:pt x="736" y="228"/>
                </a:cubicBezTo>
                <a:cubicBezTo>
                  <a:pt x="737" y="228"/>
                  <a:pt x="736" y="228"/>
                  <a:pt x="736" y="229"/>
                </a:cubicBezTo>
                <a:cubicBezTo>
                  <a:pt x="737" y="229"/>
                  <a:pt x="738" y="229"/>
                  <a:pt x="739" y="228"/>
                </a:cubicBezTo>
                <a:cubicBezTo>
                  <a:pt x="739" y="228"/>
                  <a:pt x="739" y="228"/>
                  <a:pt x="740" y="228"/>
                </a:cubicBezTo>
                <a:cubicBezTo>
                  <a:pt x="741" y="228"/>
                  <a:pt x="741" y="227"/>
                  <a:pt x="742" y="227"/>
                </a:cubicBezTo>
                <a:cubicBezTo>
                  <a:pt x="742" y="227"/>
                  <a:pt x="743" y="228"/>
                  <a:pt x="743" y="228"/>
                </a:cubicBezTo>
                <a:cubicBezTo>
                  <a:pt x="744" y="228"/>
                  <a:pt x="745" y="228"/>
                  <a:pt x="746" y="228"/>
                </a:cubicBezTo>
                <a:cubicBezTo>
                  <a:pt x="747" y="229"/>
                  <a:pt x="745" y="229"/>
                  <a:pt x="745" y="229"/>
                </a:cubicBezTo>
                <a:cubicBezTo>
                  <a:pt x="745" y="230"/>
                  <a:pt x="746" y="229"/>
                  <a:pt x="746" y="229"/>
                </a:cubicBezTo>
                <a:cubicBezTo>
                  <a:pt x="747" y="229"/>
                  <a:pt x="747" y="230"/>
                  <a:pt x="747" y="230"/>
                </a:cubicBezTo>
                <a:cubicBezTo>
                  <a:pt x="746" y="231"/>
                  <a:pt x="747" y="232"/>
                  <a:pt x="748" y="231"/>
                </a:cubicBezTo>
                <a:cubicBezTo>
                  <a:pt x="748" y="231"/>
                  <a:pt x="748" y="230"/>
                  <a:pt x="749" y="230"/>
                </a:cubicBezTo>
                <a:cubicBezTo>
                  <a:pt x="749" y="230"/>
                  <a:pt x="750" y="230"/>
                  <a:pt x="750" y="231"/>
                </a:cubicBezTo>
                <a:cubicBezTo>
                  <a:pt x="750" y="232"/>
                  <a:pt x="752" y="232"/>
                  <a:pt x="752" y="233"/>
                </a:cubicBezTo>
                <a:cubicBezTo>
                  <a:pt x="751" y="234"/>
                  <a:pt x="753" y="233"/>
                  <a:pt x="752" y="233"/>
                </a:cubicBezTo>
                <a:cubicBezTo>
                  <a:pt x="752" y="234"/>
                  <a:pt x="753" y="234"/>
                  <a:pt x="753" y="234"/>
                </a:cubicBezTo>
                <a:cubicBezTo>
                  <a:pt x="755" y="234"/>
                  <a:pt x="756" y="233"/>
                  <a:pt x="757" y="232"/>
                </a:cubicBezTo>
                <a:cubicBezTo>
                  <a:pt x="758" y="232"/>
                  <a:pt x="759" y="232"/>
                  <a:pt x="759" y="232"/>
                </a:cubicBezTo>
                <a:cubicBezTo>
                  <a:pt x="760" y="232"/>
                  <a:pt x="759" y="232"/>
                  <a:pt x="760" y="232"/>
                </a:cubicBezTo>
                <a:cubicBezTo>
                  <a:pt x="760" y="233"/>
                  <a:pt x="759" y="233"/>
                  <a:pt x="760" y="233"/>
                </a:cubicBezTo>
                <a:cubicBezTo>
                  <a:pt x="760" y="233"/>
                  <a:pt x="761" y="233"/>
                  <a:pt x="761" y="233"/>
                </a:cubicBezTo>
                <a:cubicBezTo>
                  <a:pt x="761" y="233"/>
                  <a:pt x="761" y="233"/>
                  <a:pt x="762" y="233"/>
                </a:cubicBezTo>
                <a:cubicBezTo>
                  <a:pt x="762" y="233"/>
                  <a:pt x="763" y="233"/>
                  <a:pt x="763" y="233"/>
                </a:cubicBezTo>
                <a:cubicBezTo>
                  <a:pt x="764" y="233"/>
                  <a:pt x="765" y="233"/>
                  <a:pt x="766" y="233"/>
                </a:cubicBezTo>
                <a:cubicBezTo>
                  <a:pt x="766" y="234"/>
                  <a:pt x="766" y="234"/>
                  <a:pt x="767" y="234"/>
                </a:cubicBezTo>
                <a:cubicBezTo>
                  <a:pt x="767" y="234"/>
                  <a:pt x="768" y="234"/>
                  <a:pt x="769" y="234"/>
                </a:cubicBezTo>
                <a:cubicBezTo>
                  <a:pt x="769" y="234"/>
                  <a:pt x="768" y="234"/>
                  <a:pt x="768" y="235"/>
                </a:cubicBezTo>
                <a:cubicBezTo>
                  <a:pt x="768" y="235"/>
                  <a:pt x="767" y="235"/>
                  <a:pt x="767" y="235"/>
                </a:cubicBezTo>
                <a:cubicBezTo>
                  <a:pt x="766" y="235"/>
                  <a:pt x="765" y="236"/>
                  <a:pt x="764" y="236"/>
                </a:cubicBezTo>
                <a:cubicBezTo>
                  <a:pt x="763" y="237"/>
                  <a:pt x="761" y="237"/>
                  <a:pt x="759" y="238"/>
                </a:cubicBezTo>
                <a:cubicBezTo>
                  <a:pt x="757" y="238"/>
                  <a:pt x="756" y="239"/>
                  <a:pt x="754" y="240"/>
                </a:cubicBezTo>
                <a:cubicBezTo>
                  <a:pt x="752" y="241"/>
                  <a:pt x="751" y="242"/>
                  <a:pt x="750" y="243"/>
                </a:cubicBezTo>
                <a:cubicBezTo>
                  <a:pt x="748" y="244"/>
                  <a:pt x="746" y="244"/>
                  <a:pt x="745" y="245"/>
                </a:cubicBezTo>
                <a:cubicBezTo>
                  <a:pt x="744" y="246"/>
                  <a:pt x="743" y="246"/>
                  <a:pt x="742" y="246"/>
                </a:cubicBezTo>
                <a:cubicBezTo>
                  <a:pt x="742" y="247"/>
                  <a:pt x="741" y="247"/>
                  <a:pt x="741" y="247"/>
                </a:cubicBezTo>
                <a:cubicBezTo>
                  <a:pt x="740" y="249"/>
                  <a:pt x="744" y="248"/>
                  <a:pt x="744" y="248"/>
                </a:cubicBezTo>
                <a:cubicBezTo>
                  <a:pt x="745" y="248"/>
                  <a:pt x="746" y="247"/>
                  <a:pt x="747" y="247"/>
                </a:cubicBezTo>
                <a:cubicBezTo>
                  <a:pt x="748" y="247"/>
                  <a:pt x="748" y="246"/>
                  <a:pt x="749" y="246"/>
                </a:cubicBezTo>
                <a:cubicBezTo>
                  <a:pt x="749" y="247"/>
                  <a:pt x="750" y="246"/>
                  <a:pt x="750" y="246"/>
                </a:cubicBezTo>
                <a:cubicBezTo>
                  <a:pt x="751" y="246"/>
                  <a:pt x="751" y="245"/>
                  <a:pt x="752" y="245"/>
                </a:cubicBezTo>
                <a:cubicBezTo>
                  <a:pt x="753" y="245"/>
                  <a:pt x="752" y="246"/>
                  <a:pt x="752" y="247"/>
                </a:cubicBezTo>
                <a:cubicBezTo>
                  <a:pt x="752" y="247"/>
                  <a:pt x="751" y="247"/>
                  <a:pt x="751" y="248"/>
                </a:cubicBezTo>
                <a:cubicBezTo>
                  <a:pt x="751" y="248"/>
                  <a:pt x="751" y="248"/>
                  <a:pt x="751" y="248"/>
                </a:cubicBezTo>
                <a:cubicBezTo>
                  <a:pt x="751" y="248"/>
                  <a:pt x="750" y="249"/>
                  <a:pt x="750" y="249"/>
                </a:cubicBezTo>
                <a:cubicBezTo>
                  <a:pt x="749" y="249"/>
                  <a:pt x="752" y="249"/>
                  <a:pt x="752" y="248"/>
                </a:cubicBezTo>
                <a:cubicBezTo>
                  <a:pt x="752" y="248"/>
                  <a:pt x="752" y="248"/>
                  <a:pt x="752" y="248"/>
                </a:cubicBezTo>
                <a:cubicBezTo>
                  <a:pt x="753" y="249"/>
                  <a:pt x="753" y="249"/>
                  <a:pt x="754" y="249"/>
                </a:cubicBezTo>
                <a:cubicBezTo>
                  <a:pt x="754" y="250"/>
                  <a:pt x="755" y="249"/>
                  <a:pt x="755" y="249"/>
                </a:cubicBezTo>
                <a:cubicBezTo>
                  <a:pt x="757" y="249"/>
                  <a:pt x="758" y="248"/>
                  <a:pt x="760" y="247"/>
                </a:cubicBezTo>
                <a:cubicBezTo>
                  <a:pt x="761" y="247"/>
                  <a:pt x="761" y="247"/>
                  <a:pt x="762" y="247"/>
                </a:cubicBezTo>
                <a:cubicBezTo>
                  <a:pt x="763" y="247"/>
                  <a:pt x="764" y="246"/>
                  <a:pt x="765" y="246"/>
                </a:cubicBezTo>
                <a:cubicBezTo>
                  <a:pt x="766" y="246"/>
                  <a:pt x="766" y="246"/>
                  <a:pt x="767" y="245"/>
                </a:cubicBezTo>
                <a:cubicBezTo>
                  <a:pt x="768" y="245"/>
                  <a:pt x="769" y="245"/>
                  <a:pt x="769" y="245"/>
                </a:cubicBezTo>
                <a:cubicBezTo>
                  <a:pt x="770" y="244"/>
                  <a:pt x="771" y="244"/>
                  <a:pt x="771" y="243"/>
                </a:cubicBezTo>
                <a:cubicBezTo>
                  <a:pt x="772" y="243"/>
                  <a:pt x="774" y="242"/>
                  <a:pt x="773" y="243"/>
                </a:cubicBezTo>
                <a:cubicBezTo>
                  <a:pt x="772" y="243"/>
                  <a:pt x="773" y="244"/>
                  <a:pt x="773" y="244"/>
                </a:cubicBezTo>
                <a:cubicBezTo>
                  <a:pt x="774" y="244"/>
                  <a:pt x="773" y="244"/>
                  <a:pt x="773" y="244"/>
                </a:cubicBezTo>
                <a:cubicBezTo>
                  <a:pt x="774" y="245"/>
                  <a:pt x="772" y="247"/>
                  <a:pt x="772" y="247"/>
                </a:cubicBezTo>
                <a:cubicBezTo>
                  <a:pt x="772" y="247"/>
                  <a:pt x="773" y="247"/>
                  <a:pt x="774" y="246"/>
                </a:cubicBezTo>
                <a:cubicBezTo>
                  <a:pt x="774" y="246"/>
                  <a:pt x="775" y="245"/>
                  <a:pt x="776" y="245"/>
                </a:cubicBezTo>
                <a:cubicBezTo>
                  <a:pt x="775" y="246"/>
                  <a:pt x="774" y="246"/>
                  <a:pt x="774" y="247"/>
                </a:cubicBezTo>
                <a:cubicBezTo>
                  <a:pt x="775" y="247"/>
                  <a:pt x="775" y="246"/>
                  <a:pt x="776" y="246"/>
                </a:cubicBezTo>
                <a:cubicBezTo>
                  <a:pt x="777" y="246"/>
                  <a:pt x="778" y="246"/>
                  <a:pt x="778" y="246"/>
                </a:cubicBezTo>
                <a:cubicBezTo>
                  <a:pt x="778" y="246"/>
                  <a:pt x="779" y="247"/>
                  <a:pt x="779" y="247"/>
                </a:cubicBezTo>
                <a:cubicBezTo>
                  <a:pt x="779" y="247"/>
                  <a:pt x="779" y="247"/>
                  <a:pt x="780" y="247"/>
                </a:cubicBezTo>
                <a:cubicBezTo>
                  <a:pt x="780" y="248"/>
                  <a:pt x="780" y="248"/>
                  <a:pt x="780" y="248"/>
                </a:cubicBezTo>
                <a:cubicBezTo>
                  <a:pt x="780" y="249"/>
                  <a:pt x="780" y="249"/>
                  <a:pt x="780" y="249"/>
                </a:cubicBezTo>
                <a:cubicBezTo>
                  <a:pt x="780" y="250"/>
                  <a:pt x="780" y="250"/>
                  <a:pt x="781" y="250"/>
                </a:cubicBezTo>
                <a:cubicBezTo>
                  <a:pt x="782" y="250"/>
                  <a:pt x="782" y="250"/>
                  <a:pt x="783" y="250"/>
                </a:cubicBezTo>
                <a:cubicBezTo>
                  <a:pt x="784" y="250"/>
                  <a:pt x="784" y="250"/>
                  <a:pt x="784" y="251"/>
                </a:cubicBezTo>
                <a:cubicBezTo>
                  <a:pt x="784" y="251"/>
                  <a:pt x="785" y="250"/>
                  <a:pt x="785" y="250"/>
                </a:cubicBezTo>
                <a:cubicBezTo>
                  <a:pt x="786" y="251"/>
                  <a:pt x="786" y="251"/>
                  <a:pt x="786" y="251"/>
                </a:cubicBezTo>
                <a:cubicBezTo>
                  <a:pt x="787" y="250"/>
                  <a:pt x="788" y="250"/>
                  <a:pt x="789" y="250"/>
                </a:cubicBezTo>
                <a:cubicBezTo>
                  <a:pt x="790" y="249"/>
                  <a:pt x="790" y="249"/>
                  <a:pt x="791" y="248"/>
                </a:cubicBezTo>
                <a:cubicBezTo>
                  <a:pt x="793" y="248"/>
                  <a:pt x="795" y="248"/>
                  <a:pt x="797" y="248"/>
                </a:cubicBezTo>
                <a:cubicBezTo>
                  <a:pt x="798" y="248"/>
                  <a:pt x="799" y="248"/>
                  <a:pt x="800" y="247"/>
                </a:cubicBezTo>
                <a:cubicBezTo>
                  <a:pt x="801" y="247"/>
                  <a:pt x="802" y="247"/>
                  <a:pt x="802" y="247"/>
                </a:cubicBezTo>
                <a:cubicBezTo>
                  <a:pt x="802" y="248"/>
                  <a:pt x="801" y="248"/>
                  <a:pt x="801" y="249"/>
                </a:cubicBezTo>
                <a:cubicBezTo>
                  <a:pt x="801" y="249"/>
                  <a:pt x="800" y="250"/>
                  <a:pt x="800" y="250"/>
                </a:cubicBezTo>
                <a:cubicBezTo>
                  <a:pt x="800" y="250"/>
                  <a:pt x="801" y="251"/>
                  <a:pt x="802" y="251"/>
                </a:cubicBezTo>
                <a:cubicBezTo>
                  <a:pt x="802" y="251"/>
                  <a:pt x="803" y="251"/>
                  <a:pt x="803" y="250"/>
                </a:cubicBezTo>
                <a:cubicBezTo>
                  <a:pt x="804" y="250"/>
                  <a:pt x="804" y="251"/>
                  <a:pt x="804" y="251"/>
                </a:cubicBezTo>
                <a:cubicBezTo>
                  <a:pt x="804" y="251"/>
                  <a:pt x="805" y="251"/>
                  <a:pt x="805" y="251"/>
                </a:cubicBezTo>
                <a:cubicBezTo>
                  <a:pt x="806" y="250"/>
                  <a:pt x="807" y="250"/>
                  <a:pt x="806" y="252"/>
                </a:cubicBezTo>
                <a:cubicBezTo>
                  <a:pt x="806" y="252"/>
                  <a:pt x="806" y="253"/>
                  <a:pt x="806" y="253"/>
                </a:cubicBezTo>
                <a:cubicBezTo>
                  <a:pt x="805" y="254"/>
                  <a:pt x="805" y="254"/>
                  <a:pt x="806" y="254"/>
                </a:cubicBezTo>
                <a:cubicBezTo>
                  <a:pt x="806" y="254"/>
                  <a:pt x="807" y="254"/>
                  <a:pt x="807" y="254"/>
                </a:cubicBezTo>
                <a:cubicBezTo>
                  <a:pt x="807" y="255"/>
                  <a:pt x="807" y="255"/>
                  <a:pt x="807" y="255"/>
                </a:cubicBezTo>
                <a:cubicBezTo>
                  <a:pt x="807" y="255"/>
                  <a:pt x="808" y="256"/>
                  <a:pt x="807" y="256"/>
                </a:cubicBezTo>
                <a:cubicBezTo>
                  <a:pt x="806" y="256"/>
                  <a:pt x="805" y="256"/>
                  <a:pt x="805" y="256"/>
                </a:cubicBezTo>
                <a:cubicBezTo>
                  <a:pt x="804" y="256"/>
                  <a:pt x="803" y="255"/>
                  <a:pt x="802" y="256"/>
                </a:cubicBezTo>
                <a:cubicBezTo>
                  <a:pt x="802" y="255"/>
                  <a:pt x="802" y="255"/>
                  <a:pt x="801" y="255"/>
                </a:cubicBezTo>
                <a:cubicBezTo>
                  <a:pt x="801" y="255"/>
                  <a:pt x="801" y="255"/>
                  <a:pt x="801" y="256"/>
                </a:cubicBezTo>
                <a:cubicBezTo>
                  <a:pt x="800" y="256"/>
                  <a:pt x="800" y="257"/>
                  <a:pt x="800" y="257"/>
                </a:cubicBezTo>
                <a:cubicBezTo>
                  <a:pt x="799" y="257"/>
                  <a:pt x="798" y="256"/>
                  <a:pt x="798" y="256"/>
                </a:cubicBezTo>
                <a:cubicBezTo>
                  <a:pt x="798" y="255"/>
                  <a:pt x="797" y="255"/>
                  <a:pt x="796" y="255"/>
                </a:cubicBezTo>
                <a:cubicBezTo>
                  <a:pt x="795" y="255"/>
                  <a:pt x="794" y="254"/>
                  <a:pt x="793" y="255"/>
                </a:cubicBezTo>
                <a:cubicBezTo>
                  <a:pt x="792" y="256"/>
                  <a:pt x="792" y="256"/>
                  <a:pt x="791" y="256"/>
                </a:cubicBezTo>
                <a:cubicBezTo>
                  <a:pt x="790" y="256"/>
                  <a:pt x="790" y="256"/>
                  <a:pt x="789" y="256"/>
                </a:cubicBezTo>
                <a:cubicBezTo>
                  <a:pt x="788" y="256"/>
                  <a:pt x="787" y="256"/>
                  <a:pt x="787" y="256"/>
                </a:cubicBezTo>
                <a:cubicBezTo>
                  <a:pt x="786" y="257"/>
                  <a:pt x="786" y="258"/>
                  <a:pt x="785" y="258"/>
                </a:cubicBezTo>
                <a:cubicBezTo>
                  <a:pt x="784" y="258"/>
                  <a:pt x="783" y="259"/>
                  <a:pt x="782" y="259"/>
                </a:cubicBezTo>
                <a:cubicBezTo>
                  <a:pt x="782" y="260"/>
                  <a:pt x="781" y="259"/>
                  <a:pt x="782" y="259"/>
                </a:cubicBezTo>
                <a:cubicBezTo>
                  <a:pt x="782" y="259"/>
                  <a:pt x="782" y="258"/>
                  <a:pt x="783" y="258"/>
                </a:cubicBezTo>
                <a:cubicBezTo>
                  <a:pt x="783" y="258"/>
                  <a:pt x="783" y="258"/>
                  <a:pt x="783" y="258"/>
                </a:cubicBezTo>
                <a:cubicBezTo>
                  <a:pt x="783" y="258"/>
                  <a:pt x="784" y="257"/>
                  <a:pt x="784" y="257"/>
                </a:cubicBezTo>
                <a:cubicBezTo>
                  <a:pt x="783" y="257"/>
                  <a:pt x="783" y="257"/>
                  <a:pt x="783" y="257"/>
                </a:cubicBezTo>
                <a:cubicBezTo>
                  <a:pt x="782" y="257"/>
                  <a:pt x="782" y="257"/>
                  <a:pt x="782" y="257"/>
                </a:cubicBezTo>
                <a:cubicBezTo>
                  <a:pt x="782" y="257"/>
                  <a:pt x="780" y="260"/>
                  <a:pt x="779" y="259"/>
                </a:cubicBezTo>
                <a:cubicBezTo>
                  <a:pt x="779" y="259"/>
                  <a:pt x="780" y="257"/>
                  <a:pt x="780" y="257"/>
                </a:cubicBezTo>
                <a:cubicBezTo>
                  <a:pt x="780" y="256"/>
                  <a:pt x="779" y="258"/>
                  <a:pt x="779" y="258"/>
                </a:cubicBezTo>
                <a:cubicBezTo>
                  <a:pt x="778" y="259"/>
                  <a:pt x="777" y="260"/>
                  <a:pt x="776" y="261"/>
                </a:cubicBezTo>
                <a:cubicBezTo>
                  <a:pt x="775" y="261"/>
                  <a:pt x="774" y="262"/>
                  <a:pt x="773" y="263"/>
                </a:cubicBezTo>
                <a:cubicBezTo>
                  <a:pt x="772" y="264"/>
                  <a:pt x="772" y="264"/>
                  <a:pt x="771" y="265"/>
                </a:cubicBezTo>
                <a:cubicBezTo>
                  <a:pt x="771" y="265"/>
                  <a:pt x="771" y="265"/>
                  <a:pt x="771" y="266"/>
                </a:cubicBezTo>
                <a:cubicBezTo>
                  <a:pt x="770" y="266"/>
                  <a:pt x="770" y="267"/>
                  <a:pt x="769" y="267"/>
                </a:cubicBezTo>
                <a:cubicBezTo>
                  <a:pt x="768" y="267"/>
                  <a:pt x="768" y="267"/>
                  <a:pt x="768" y="268"/>
                </a:cubicBezTo>
                <a:cubicBezTo>
                  <a:pt x="767" y="269"/>
                  <a:pt x="766" y="269"/>
                  <a:pt x="765" y="270"/>
                </a:cubicBezTo>
                <a:cubicBezTo>
                  <a:pt x="765" y="270"/>
                  <a:pt x="764" y="271"/>
                  <a:pt x="764" y="271"/>
                </a:cubicBezTo>
                <a:cubicBezTo>
                  <a:pt x="765" y="272"/>
                  <a:pt x="765" y="271"/>
                  <a:pt x="765" y="271"/>
                </a:cubicBezTo>
                <a:cubicBezTo>
                  <a:pt x="766" y="271"/>
                  <a:pt x="766" y="271"/>
                  <a:pt x="767" y="270"/>
                </a:cubicBezTo>
                <a:cubicBezTo>
                  <a:pt x="768" y="270"/>
                  <a:pt x="768" y="269"/>
                  <a:pt x="769" y="269"/>
                </a:cubicBezTo>
                <a:cubicBezTo>
                  <a:pt x="769" y="268"/>
                  <a:pt x="770" y="268"/>
                  <a:pt x="770" y="268"/>
                </a:cubicBezTo>
                <a:cubicBezTo>
                  <a:pt x="771" y="268"/>
                  <a:pt x="771" y="267"/>
                  <a:pt x="771" y="268"/>
                </a:cubicBezTo>
                <a:cubicBezTo>
                  <a:pt x="771" y="269"/>
                  <a:pt x="772" y="269"/>
                  <a:pt x="771" y="269"/>
                </a:cubicBezTo>
                <a:cubicBezTo>
                  <a:pt x="771" y="270"/>
                  <a:pt x="771" y="270"/>
                  <a:pt x="770" y="271"/>
                </a:cubicBezTo>
                <a:cubicBezTo>
                  <a:pt x="769" y="271"/>
                  <a:pt x="769" y="272"/>
                  <a:pt x="768" y="273"/>
                </a:cubicBezTo>
                <a:cubicBezTo>
                  <a:pt x="768" y="273"/>
                  <a:pt x="767" y="274"/>
                  <a:pt x="767" y="274"/>
                </a:cubicBezTo>
                <a:cubicBezTo>
                  <a:pt x="767" y="276"/>
                  <a:pt x="766" y="276"/>
                  <a:pt x="765" y="277"/>
                </a:cubicBezTo>
                <a:cubicBezTo>
                  <a:pt x="764" y="277"/>
                  <a:pt x="764" y="278"/>
                  <a:pt x="764" y="279"/>
                </a:cubicBezTo>
                <a:cubicBezTo>
                  <a:pt x="763" y="280"/>
                  <a:pt x="763" y="280"/>
                  <a:pt x="763" y="281"/>
                </a:cubicBezTo>
                <a:cubicBezTo>
                  <a:pt x="762" y="281"/>
                  <a:pt x="762" y="282"/>
                  <a:pt x="762" y="282"/>
                </a:cubicBezTo>
                <a:cubicBezTo>
                  <a:pt x="761" y="283"/>
                  <a:pt x="760" y="284"/>
                  <a:pt x="760" y="284"/>
                </a:cubicBezTo>
                <a:cubicBezTo>
                  <a:pt x="759" y="285"/>
                  <a:pt x="759" y="285"/>
                  <a:pt x="759" y="286"/>
                </a:cubicBezTo>
                <a:cubicBezTo>
                  <a:pt x="759" y="286"/>
                  <a:pt x="759" y="286"/>
                  <a:pt x="759" y="287"/>
                </a:cubicBezTo>
                <a:cubicBezTo>
                  <a:pt x="758" y="287"/>
                  <a:pt x="758" y="288"/>
                  <a:pt x="758" y="288"/>
                </a:cubicBezTo>
                <a:cubicBezTo>
                  <a:pt x="758" y="289"/>
                  <a:pt x="758" y="289"/>
                  <a:pt x="758" y="289"/>
                </a:cubicBezTo>
                <a:cubicBezTo>
                  <a:pt x="758" y="290"/>
                  <a:pt x="758" y="290"/>
                  <a:pt x="758" y="290"/>
                </a:cubicBezTo>
                <a:cubicBezTo>
                  <a:pt x="758" y="291"/>
                  <a:pt x="758" y="291"/>
                  <a:pt x="757" y="291"/>
                </a:cubicBezTo>
                <a:cubicBezTo>
                  <a:pt x="756" y="293"/>
                  <a:pt x="756" y="294"/>
                  <a:pt x="755" y="296"/>
                </a:cubicBezTo>
                <a:cubicBezTo>
                  <a:pt x="755" y="296"/>
                  <a:pt x="755" y="297"/>
                  <a:pt x="755" y="298"/>
                </a:cubicBezTo>
                <a:cubicBezTo>
                  <a:pt x="755" y="298"/>
                  <a:pt x="755" y="298"/>
                  <a:pt x="755" y="299"/>
                </a:cubicBezTo>
                <a:cubicBezTo>
                  <a:pt x="755" y="299"/>
                  <a:pt x="754" y="303"/>
                  <a:pt x="756" y="303"/>
                </a:cubicBezTo>
                <a:cubicBezTo>
                  <a:pt x="755" y="304"/>
                  <a:pt x="760" y="302"/>
                  <a:pt x="760" y="302"/>
                </a:cubicBezTo>
                <a:cubicBezTo>
                  <a:pt x="761" y="302"/>
                  <a:pt x="762" y="301"/>
                  <a:pt x="763" y="300"/>
                </a:cubicBezTo>
                <a:cubicBezTo>
                  <a:pt x="765" y="299"/>
                  <a:pt x="765" y="298"/>
                  <a:pt x="766" y="297"/>
                </a:cubicBezTo>
                <a:cubicBezTo>
                  <a:pt x="769" y="295"/>
                  <a:pt x="770" y="293"/>
                  <a:pt x="771" y="291"/>
                </a:cubicBezTo>
                <a:cubicBezTo>
                  <a:pt x="772" y="289"/>
                  <a:pt x="772" y="288"/>
                  <a:pt x="772" y="287"/>
                </a:cubicBezTo>
                <a:cubicBezTo>
                  <a:pt x="772" y="287"/>
                  <a:pt x="772" y="286"/>
                  <a:pt x="773" y="286"/>
                </a:cubicBezTo>
                <a:cubicBezTo>
                  <a:pt x="773" y="286"/>
                  <a:pt x="773" y="286"/>
                  <a:pt x="773" y="285"/>
                </a:cubicBezTo>
                <a:cubicBezTo>
                  <a:pt x="773" y="285"/>
                  <a:pt x="773" y="285"/>
                  <a:pt x="773" y="286"/>
                </a:cubicBezTo>
                <a:cubicBezTo>
                  <a:pt x="772" y="285"/>
                  <a:pt x="773" y="284"/>
                  <a:pt x="773" y="283"/>
                </a:cubicBezTo>
                <a:cubicBezTo>
                  <a:pt x="773" y="282"/>
                  <a:pt x="773" y="281"/>
                  <a:pt x="773" y="280"/>
                </a:cubicBezTo>
                <a:cubicBezTo>
                  <a:pt x="774" y="280"/>
                  <a:pt x="774" y="279"/>
                  <a:pt x="775" y="278"/>
                </a:cubicBezTo>
                <a:cubicBezTo>
                  <a:pt x="775" y="278"/>
                  <a:pt x="775" y="277"/>
                  <a:pt x="775" y="277"/>
                </a:cubicBezTo>
                <a:cubicBezTo>
                  <a:pt x="775" y="276"/>
                  <a:pt x="776" y="276"/>
                  <a:pt x="777" y="275"/>
                </a:cubicBezTo>
                <a:cubicBezTo>
                  <a:pt x="778" y="275"/>
                  <a:pt x="778" y="274"/>
                  <a:pt x="779" y="273"/>
                </a:cubicBezTo>
                <a:cubicBezTo>
                  <a:pt x="779" y="273"/>
                  <a:pt x="780" y="272"/>
                  <a:pt x="780" y="271"/>
                </a:cubicBezTo>
                <a:cubicBezTo>
                  <a:pt x="780" y="270"/>
                  <a:pt x="780" y="269"/>
                  <a:pt x="781" y="269"/>
                </a:cubicBezTo>
                <a:cubicBezTo>
                  <a:pt x="782" y="269"/>
                  <a:pt x="782" y="269"/>
                  <a:pt x="783" y="268"/>
                </a:cubicBezTo>
                <a:cubicBezTo>
                  <a:pt x="783" y="268"/>
                  <a:pt x="783" y="268"/>
                  <a:pt x="784" y="267"/>
                </a:cubicBezTo>
                <a:cubicBezTo>
                  <a:pt x="784" y="267"/>
                  <a:pt x="784" y="267"/>
                  <a:pt x="785" y="267"/>
                </a:cubicBezTo>
                <a:cubicBezTo>
                  <a:pt x="785" y="267"/>
                  <a:pt x="785" y="267"/>
                  <a:pt x="785" y="267"/>
                </a:cubicBezTo>
                <a:cubicBezTo>
                  <a:pt x="786" y="267"/>
                  <a:pt x="786" y="266"/>
                  <a:pt x="787" y="266"/>
                </a:cubicBezTo>
                <a:cubicBezTo>
                  <a:pt x="787" y="265"/>
                  <a:pt x="788" y="265"/>
                  <a:pt x="788" y="264"/>
                </a:cubicBezTo>
                <a:cubicBezTo>
                  <a:pt x="789" y="264"/>
                  <a:pt x="790" y="264"/>
                  <a:pt x="789" y="264"/>
                </a:cubicBezTo>
                <a:cubicBezTo>
                  <a:pt x="789" y="265"/>
                  <a:pt x="788" y="265"/>
                  <a:pt x="788" y="266"/>
                </a:cubicBezTo>
                <a:cubicBezTo>
                  <a:pt x="788" y="266"/>
                  <a:pt x="788" y="266"/>
                  <a:pt x="787" y="267"/>
                </a:cubicBezTo>
                <a:cubicBezTo>
                  <a:pt x="788" y="267"/>
                  <a:pt x="787" y="267"/>
                  <a:pt x="787" y="267"/>
                </a:cubicBezTo>
                <a:cubicBezTo>
                  <a:pt x="787" y="268"/>
                  <a:pt x="786" y="268"/>
                  <a:pt x="786" y="269"/>
                </a:cubicBezTo>
                <a:cubicBezTo>
                  <a:pt x="787" y="269"/>
                  <a:pt x="789" y="266"/>
                  <a:pt x="789" y="267"/>
                </a:cubicBezTo>
                <a:cubicBezTo>
                  <a:pt x="789" y="267"/>
                  <a:pt x="787" y="269"/>
                  <a:pt x="787" y="269"/>
                </a:cubicBezTo>
                <a:cubicBezTo>
                  <a:pt x="788" y="269"/>
                  <a:pt x="788" y="268"/>
                  <a:pt x="789" y="267"/>
                </a:cubicBezTo>
                <a:cubicBezTo>
                  <a:pt x="790" y="267"/>
                  <a:pt x="790" y="266"/>
                  <a:pt x="790" y="265"/>
                </a:cubicBezTo>
                <a:cubicBezTo>
                  <a:pt x="791" y="264"/>
                  <a:pt x="792" y="263"/>
                  <a:pt x="793" y="263"/>
                </a:cubicBezTo>
                <a:cubicBezTo>
                  <a:pt x="793" y="263"/>
                  <a:pt x="796" y="262"/>
                  <a:pt x="796" y="262"/>
                </a:cubicBezTo>
                <a:cubicBezTo>
                  <a:pt x="796" y="262"/>
                  <a:pt x="795" y="262"/>
                  <a:pt x="795" y="261"/>
                </a:cubicBezTo>
                <a:cubicBezTo>
                  <a:pt x="794" y="261"/>
                  <a:pt x="795" y="261"/>
                  <a:pt x="795" y="260"/>
                </a:cubicBezTo>
                <a:cubicBezTo>
                  <a:pt x="795" y="260"/>
                  <a:pt x="797" y="259"/>
                  <a:pt x="797" y="258"/>
                </a:cubicBezTo>
                <a:cubicBezTo>
                  <a:pt x="797" y="259"/>
                  <a:pt x="799" y="258"/>
                  <a:pt x="799" y="258"/>
                </a:cubicBezTo>
                <a:cubicBezTo>
                  <a:pt x="800" y="259"/>
                  <a:pt x="801" y="260"/>
                  <a:pt x="802" y="259"/>
                </a:cubicBezTo>
                <a:cubicBezTo>
                  <a:pt x="802" y="259"/>
                  <a:pt x="803" y="259"/>
                  <a:pt x="803" y="260"/>
                </a:cubicBezTo>
                <a:cubicBezTo>
                  <a:pt x="803" y="260"/>
                  <a:pt x="803" y="261"/>
                  <a:pt x="803" y="261"/>
                </a:cubicBezTo>
                <a:cubicBezTo>
                  <a:pt x="804" y="261"/>
                  <a:pt x="804" y="261"/>
                  <a:pt x="805" y="261"/>
                </a:cubicBezTo>
                <a:cubicBezTo>
                  <a:pt x="805" y="262"/>
                  <a:pt x="805" y="262"/>
                  <a:pt x="806" y="262"/>
                </a:cubicBezTo>
                <a:cubicBezTo>
                  <a:pt x="806" y="262"/>
                  <a:pt x="806" y="262"/>
                  <a:pt x="807" y="262"/>
                </a:cubicBezTo>
                <a:cubicBezTo>
                  <a:pt x="807" y="263"/>
                  <a:pt x="807" y="263"/>
                  <a:pt x="808" y="263"/>
                </a:cubicBezTo>
                <a:cubicBezTo>
                  <a:pt x="808" y="263"/>
                  <a:pt x="808" y="263"/>
                  <a:pt x="808" y="264"/>
                </a:cubicBezTo>
                <a:cubicBezTo>
                  <a:pt x="808" y="264"/>
                  <a:pt x="809" y="265"/>
                  <a:pt x="808" y="265"/>
                </a:cubicBezTo>
                <a:cubicBezTo>
                  <a:pt x="808" y="265"/>
                  <a:pt x="808" y="266"/>
                  <a:pt x="808" y="266"/>
                </a:cubicBezTo>
                <a:cubicBezTo>
                  <a:pt x="808" y="266"/>
                  <a:pt x="808" y="266"/>
                  <a:pt x="808" y="266"/>
                </a:cubicBezTo>
                <a:cubicBezTo>
                  <a:pt x="808" y="266"/>
                  <a:pt x="808" y="266"/>
                  <a:pt x="807" y="266"/>
                </a:cubicBezTo>
                <a:cubicBezTo>
                  <a:pt x="807" y="266"/>
                  <a:pt x="806" y="266"/>
                  <a:pt x="806" y="267"/>
                </a:cubicBezTo>
                <a:cubicBezTo>
                  <a:pt x="806" y="267"/>
                  <a:pt x="807" y="268"/>
                  <a:pt x="807" y="268"/>
                </a:cubicBezTo>
                <a:cubicBezTo>
                  <a:pt x="807" y="268"/>
                  <a:pt x="807" y="269"/>
                  <a:pt x="807" y="269"/>
                </a:cubicBezTo>
                <a:cubicBezTo>
                  <a:pt x="806" y="271"/>
                  <a:pt x="805" y="272"/>
                  <a:pt x="805" y="273"/>
                </a:cubicBezTo>
                <a:cubicBezTo>
                  <a:pt x="804" y="274"/>
                  <a:pt x="803" y="274"/>
                  <a:pt x="803" y="275"/>
                </a:cubicBezTo>
                <a:cubicBezTo>
                  <a:pt x="803" y="274"/>
                  <a:pt x="803" y="274"/>
                  <a:pt x="803" y="274"/>
                </a:cubicBezTo>
                <a:cubicBezTo>
                  <a:pt x="802" y="274"/>
                  <a:pt x="802" y="275"/>
                  <a:pt x="801" y="276"/>
                </a:cubicBezTo>
                <a:cubicBezTo>
                  <a:pt x="801" y="276"/>
                  <a:pt x="800" y="277"/>
                  <a:pt x="800" y="277"/>
                </a:cubicBezTo>
                <a:cubicBezTo>
                  <a:pt x="799" y="277"/>
                  <a:pt x="799" y="277"/>
                  <a:pt x="798" y="277"/>
                </a:cubicBezTo>
                <a:cubicBezTo>
                  <a:pt x="798" y="278"/>
                  <a:pt x="797" y="278"/>
                  <a:pt x="797" y="278"/>
                </a:cubicBezTo>
                <a:cubicBezTo>
                  <a:pt x="797" y="279"/>
                  <a:pt x="796" y="280"/>
                  <a:pt x="796" y="280"/>
                </a:cubicBezTo>
                <a:cubicBezTo>
                  <a:pt x="796" y="281"/>
                  <a:pt x="797" y="282"/>
                  <a:pt x="798" y="282"/>
                </a:cubicBezTo>
                <a:cubicBezTo>
                  <a:pt x="798" y="281"/>
                  <a:pt x="799" y="280"/>
                  <a:pt x="800" y="280"/>
                </a:cubicBezTo>
                <a:cubicBezTo>
                  <a:pt x="800" y="281"/>
                  <a:pt x="801" y="279"/>
                  <a:pt x="801" y="279"/>
                </a:cubicBezTo>
                <a:cubicBezTo>
                  <a:pt x="801" y="279"/>
                  <a:pt x="803" y="278"/>
                  <a:pt x="802" y="278"/>
                </a:cubicBezTo>
                <a:cubicBezTo>
                  <a:pt x="803" y="278"/>
                  <a:pt x="803" y="277"/>
                  <a:pt x="804" y="277"/>
                </a:cubicBezTo>
                <a:cubicBezTo>
                  <a:pt x="805" y="277"/>
                  <a:pt x="806" y="276"/>
                  <a:pt x="807" y="277"/>
                </a:cubicBezTo>
                <a:cubicBezTo>
                  <a:pt x="809" y="278"/>
                  <a:pt x="807" y="281"/>
                  <a:pt x="807" y="282"/>
                </a:cubicBezTo>
                <a:cubicBezTo>
                  <a:pt x="807" y="283"/>
                  <a:pt x="806" y="285"/>
                  <a:pt x="806" y="286"/>
                </a:cubicBezTo>
                <a:cubicBezTo>
                  <a:pt x="806" y="286"/>
                  <a:pt x="806" y="288"/>
                  <a:pt x="806" y="289"/>
                </a:cubicBezTo>
                <a:cubicBezTo>
                  <a:pt x="804" y="290"/>
                  <a:pt x="804" y="293"/>
                  <a:pt x="802" y="293"/>
                </a:cubicBezTo>
                <a:cubicBezTo>
                  <a:pt x="803" y="293"/>
                  <a:pt x="803" y="291"/>
                  <a:pt x="801" y="292"/>
                </a:cubicBezTo>
                <a:cubicBezTo>
                  <a:pt x="801" y="292"/>
                  <a:pt x="801" y="292"/>
                  <a:pt x="801" y="293"/>
                </a:cubicBezTo>
                <a:cubicBezTo>
                  <a:pt x="801" y="293"/>
                  <a:pt x="800" y="293"/>
                  <a:pt x="800" y="293"/>
                </a:cubicBezTo>
                <a:cubicBezTo>
                  <a:pt x="799" y="294"/>
                  <a:pt x="799" y="295"/>
                  <a:pt x="799" y="295"/>
                </a:cubicBezTo>
                <a:cubicBezTo>
                  <a:pt x="798" y="295"/>
                  <a:pt x="798" y="295"/>
                  <a:pt x="797" y="296"/>
                </a:cubicBezTo>
                <a:cubicBezTo>
                  <a:pt x="796" y="296"/>
                  <a:pt x="795" y="298"/>
                  <a:pt x="795" y="299"/>
                </a:cubicBezTo>
                <a:cubicBezTo>
                  <a:pt x="794" y="299"/>
                  <a:pt x="794" y="300"/>
                  <a:pt x="793" y="300"/>
                </a:cubicBezTo>
                <a:cubicBezTo>
                  <a:pt x="793" y="300"/>
                  <a:pt x="792" y="301"/>
                  <a:pt x="792" y="301"/>
                </a:cubicBezTo>
                <a:cubicBezTo>
                  <a:pt x="792" y="301"/>
                  <a:pt x="791" y="302"/>
                  <a:pt x="791" y="302"/>
                </a:cubicBezTo>
                <a:cubicBezTo>
                  <a:pt x="792" y="303"/>
                  <a:pt x="792" y="302"/>
                  <a:pt x="793" y="303"/>
                </a:cubicBezTo>
                <a:cubicBezTo>
                  <a:pt x="793" y="303"/>
                  <a:pt x="794" y="303"/>
                  <a:pt x="794" y="303"/>
                </a:cubicBezTo>
                <a:cubicBezTo>
                  <a:pt x="794" y="304"/>
                  <a:pt x="794" y="304"/>
                  <a:pt x="794" y="304"/>
                </a:cubicBezTo>
                <a:cubicBezTo>
                  <a:pt x="795" y="304"/>
                  <a:pt x="796" y="304"/>
                  <a:pt x="796" y="304"/>
                </a:cubicBezTo>
                <a:cubicBezTo>
                  <a:pt x="796" y="303"/>
                  <a:pt x="796" y="304"/>
                  <a:pt x="796" y="304"/>
                </a:cubicBezTo>
                <a:cubicBezTo>
                  <a:pt x="796" y="304"/>
                  <a:pt x="797" y="304"/>
                  <a:pt x="797" y="304"/>
                </a:cubicBezTo>
                <a:cubicBezTo>
                  <a:pt x="797" y="304"/>
                  <a:pt x="796" y="304"/>
                  <a:pt x="796" y="304"/>
                </a:cubicBezTo>
                <a:cubicBezTo>
                  <a:pt x="795" y="304"/>
                  <a:pt x="794" y="305"/>
                  <a:pt x="793" y="305"/>
                </a:cubicBezTo>
                <a:cubicBezTo>
                  <a:pt x="794" y="305"/>
                  <a:pt x="794" y="305"/>
                  <a:pt x="795" y="305"/>
                </a:cubicBezTo>
                <a:cubicBezTo>
                  <a:pt x="796" y="305"/>
                  <a:pt x="797" y="305"/>
                  <a:pt x="797" y="305"/>
                </a:cubicBezTo>
                <a:cubicBezTo>
                  <a:pt x="797" y="305"/>
                  <a:pt x="797" y="305"/>
                  <a:pt x="797" y="305"/>
                </a:cubicBezTo>
                <a:cubicBezTo>
                  <a:pt x="797" y="306"/>
                  <a:pt x="798" y="305"/>
                  <a:pt x="800" y="305"/>
                </a:cubicBezTo>
                <a:cubicBezTo>
                  <a:pt x="801" y="305"/>
                  <a:pt x="802" y="304"/>
                  <a:pt x="803" y="304"/>
                </a:cubicBezTo>
                <a:cubicBezTo>
                  <a:pt x="804" y="304"/>
                  <a:pt x="805" y="305"/>
                  <a:pt x="807" y="304"/>
                </a:cubicBezTo>
                <a:cubicBezTo>
                  <a:pt x="808" y="303"/>
                  <a:pt x="809" y="303"/>
                  <a:pt x="810" y="302"/>
                </a:cubicBezTo>
                <a:cubicBezTo>
                  <a:pt x="812" y="301"/>
                  <a:pt x="814" y="300"/>
                  <a:pt x="817" y="300"/>
                </a:cubicBezTo>
                <a:cubicBezTo>
                  <a:pt x="818" y="299"/>
                  <a:pt x="819" y="299"/>
                  <a:pt x="820" y="299"/>
                </a:cubicBezTo>
                <a:cubicBezTo>
                  <a:pt x="821" y="298"/>
                  <a:pt x="823" y="297"/>
                  <a:pt x="823" y="297"/>
                </a:cubicBezTo>
                <a:cubicBezTo>
                  <a:pt x="823" y="297"/>
                  <a:pt x="822" y="298"/>
                  <a:pt x="822" y="298"/>
                </a:cubicBezTo>
                <a:cubicBezTo>
                  <a:pt x="823" y="297"/>
                  <a:pt x="824" y="297"/>
                  <a:pt x="825" y="296"/>
                </a:cubicBezTo>
                <a:cubicBezTo>
                  <a:pt x="827" y="296"/>
                  <a:pt x="828" y="295"/>
                  <a:pt x="829" y="295"/>
                </a:cubicBezTo>
                <a:cubicBezTo>
                  <a:pt x="829" y="295"/>
                  <a:pt x="830" y="294"/>
                  <a:pt x="831" y="293"/>
                </a:cubicBezTo>
                <a:cubicBezTo>
                  <a:pt x="832" y="293"/>
                  <a:pt x="833" y="293"/>
                  <a:pt x="833" y="292"/>
                </a:cubicBezTo>
                <a:cubicBezTo>
                  <a:pt x="834" y="292"/>
                  <a:pt x="835" y="291"/>
                  <a:pt x="836" y="291"/>
                </a:cubicBezTo>
                <a:cubicBezTo>
                  <a:pt x="836" y="290"/>
                  <a:pt x="837" y="290"/>
                  <a:pt x="837" y="289"/>
                </a:cubicBezTo>
                <a:cubicBezTo>
                  <a:pt x="837" y="289"/>
                  <a:pt x="836" y="288"/>
                  <a:pt x="837" y="288"/>
                </a:cubicBezTo>
                <a:cubicBezTo>
                  <a:pt x="837" y="288"/>
                  <a:pt x="837" y="288"/>
                  <a:pt x="837" y="288"/>
                </a:cubicBezTo>
                <a:cubicBezTo>
                  <a:pt x="837" y="287"/>
                  <a:pt x="836" y="287"/>
                  <a:pt x="836" y="287"/>
                </a:cubicBezTo>
                <a:cubicBezTo>
                  <a:pt x="836" y="287"/>
                  <a:pt x="837" y="285"/>
                  <a:pt x="837" y="285"/>
                </a:cubicBezTo>
                <a:cubicBezTo>
                  <a:pt x="838" y="285"/>
                  <a:pt x="839" y="285"/>
                  <a:pt x="840" y="284"/>
                </a:cubicBezTo>
                <a:cubicBezTo>
                  <a:pt x="841" y="284"/>
                  <a:pt x="843" y="284"/>
                  <a:pt x="844" y="284"/>
                </a:cubicBezTo>
                <a:cubicBezTo>
                  <a:pt x="845" y="284"/>
                  <a:pt x="846" y="284"/>
                  <a:pt x="846" y="284"/>
                </a:cubicBezTo>
                <a:cubicBezTo>
                  <a:pt x="847" y="284"/>
                  <a:pt x="848" y="284"/>
                  <a:pt x="849" y="285"/>
                </a:cubicBezTo>
                <a:cubicBezTo>
                  <a:pt x="850" y="286"/>
                  <a:pt x="850" y="285"/>
                  <a:pt x="851" y="285"/>
                </a:cubicBezTo>
                <a:cubicBezTo>
                  <a:pt x="852" y="285"/>
                  <a:pt x="853" y="285"/>
                  <a:pt x="854" y="285"/>
                </a:cubicBezTo>
                <a:cubicBezTo>
                  <a:pt x="854" y="285"/>
                  <a:pt x="855" y="285"/>
                  <a:pt x="855" y="285"/>
                </a:cubicBezTo>
                <a:cubicBezTo>
                  <a:pt x="855" y="285"/>
                  <a:pt x="855" y="285"/>
                  <a:pt x="855" y="285"/>
                </a:cubicBezTo>
                <a:cubicBezTo>
                  <a:pt x="856" y="285"/>
                  <a:pt x="856" y="285"/>
                  <a:pt x="857" y="285"/>
                </a:cubicBezTo>
                <a:cubicBezTo>
                  <a:pt x="858" y="285"/>
                  <a:pt x="859" y="284"/>
                  <a:pt x="860" y="283"/>
                </a:cubicBezTo>
                <a:cubicBezTo>
                  <a:pt x="860" y="283"/>
                  <a:pt x="861" y="282"/>
                  <a:pt x="861" y="282"/>
                </a:cubicBezTo>
                <a:cubicBezTo>
                  <a:pt x="862" y="282"/>
                  <a:pt x="862" y="283"/>
                  <a:pt x="863" y="282"/>
                </a:cubicBezTo>
                <a:cubicBezTo>
                  <a:pt x="863" y="282"/>
                  <a:pt x="863" y="281"/>
                  <a:pt x="864" y="281"/>
                </a:cubicBezTo>
                <a:cubicBezTo>
                  <a:pt x="864" y="281"/>
                  <a:pt x="864" y="281"/>
                  <a:pt x="863" y="281"/>
                </a:cubicBezTo>
                <a:cubicBezTo>
                  <a:pt x="863" y="280"/>
                  <a:pt x="864" y="280"/>
                  <a:pt x="864" y="279"/>
                </a:cubicBezTo>
                <a:cubicBezTo>
                  <a:pt x="864" y="279"/>
                  <a:pt x="863" y="279"/>
                  <a:pt x="864" y="279"/>
                </a:cubicBezTo>
                <a:cubicBezTo>
                  <a:pt x="864" y="279"/>
                  <a:pt x="864" y="279"/>
                  <a:pt x="864" y="278"/>
                </a:cubicBezTo>
                <a:cubicBezTo>
                  <a:pt x="864" y="279"/>
                  <a:pt x="865" y="278"/>
                  <a:pt x="865" y="278"/>
                </a:cubicBezTo>
                <a:cubicBezTo>
                  <a:pt x="865" y="278"/>
                  <a:pt x="866" y="277"/>
                  <a:pt x="866" y="277"/>
                </a:cubicBezTo>
                <a:cubicBezTo>
                  <a:pt x="866" y="277"/>
                  <a:pt x="865" y="278"/>
                  <a:pt x="865" y="278"/>
                </a:cubicBezTo>
                <a:cubicBezTo>
                  <a:pt x="865" y="277"/>
                  <a:pt x="866" y="277"/>
                  <a:pt x="866" y="277"/>
                </a:cubicBezTo>
                <a:cubicBezTo>
                  <a:pt x="866" y="277"/>
                  <a:pt x="865" y="276"/>
                  <a:pt x="865" y="277"/>
                </a:cubicBezTo>
                <a:cubicBezTo>
                  <a:pt x="865" y="277"/>
                  <a:pt x="864" y="277"/>
                  <a:pt x="865" y="277"/>
                </a:cubicBezTo>
                <a:cubicBezTo>
                  <a:pt x="865" y="277"/>
                  <a:pt x="865" y="277"/>
                  <a:pt x="865" y="277"/>
                </a:cubicBezTo>
                <a:cubicBezTo>
                  <a:pt x="865" y="277"/>
                  <a:pt x="865" y="277"/>
                  <a:pt x="864" y="278"/>
                </a:cubicBezTo>
                <a:cubicBezTo>
                  <a:pt x="865" y="277"/>
                  <a:pt x="864" y="276"/>
                  <a:pt x="865" y="276"/>
                </a:cubicBezTo>
                <a:cubicBezTo>
                  <a:pt x="865" y="275"/>
                  <a:pt x="866" y="275"/>
                  <a:pt x="867" y="275"/>
                </a:cubicBezTo>
                <a:cubicBezTo>
                  <a:pt x="868" y="274"/>
                  <a:pt x="871" y="273"/>
                  <a:pt x="871" y="272"/>
                </a:cubicBezTo>
                <a:cubicBezTo>
                  <a:pt x="871" y="271"/>
                  <a:pt x="873" y="270"/>
                  <a:pt x="874" y="270"/>
                </a:cubicBezTo>
                <a:cubicBezTo>
                  <a:pt x="876" y="269"/>
                  <a:pt x="877" y="268"/>
                  <a:pt x="878" y="267"/>
                </a:cubicBezTo>
                <a:cubicBezTo>
                  <a:pt x="880" y="267"/>
                  <a:pt x="881" y="266"/>
                  <a:pt x="882" y="266"/>
                </a:cubicBezTo>
                <a:cubicBezTo>
                  <a:pt x="884" y="266"/>
                  <a:pt x="886" y="267"/>
                  <a:pt x="887" y="267"/>
                </a:cubicBezTo>
                <a:cubicBezTo>
                  <a:pt x="894" y="267"/>
                  <a:pt x="901" y="266"/>
                  <a:pt x="908" y="266"/>
                </a:cubicBezTo>
                <a:cubicBezTo>
                  <a:pt x="909" y="266"/>
                  <a:pt x="910" y="266"/>
                  <a:pt x="910" y="266"/>
                </a:cubicBezTo>
                <a:cubicBezTo>
                  <a:pt x="911" y="266"/>
                  <a:pt x="911" y="265"/>
                  <a:pt x="911" y="265"/>
                </a:cubicBezTo>
                <a:cubicBezTo>
                  <a:pt x="911" y="265"/>
                  <a:pt x="912" y="264"/>
                  <a:pt x="912" y="264"/>
                </a:cubicBezTo>
                <a:cubicBezTo>
                  <a:pt x="912" y="264"/>
                  <a:pt x="912" y="264"/>
                  <a:pt x="913" y="264"/>
                </a:cubicBezTo>
                <a:cubicBezTo>
                  <a:pt x="913" y="263"/>
                  <a:pt x="913" y="263"/>
                  <a:pt x="914" y="263"/>
                </a:cubicBezTo>
                <a:cubicBezTo>
                  <a:pt x="914" y="264"/>
                  <a:pt x="915" y="264"/>
                  <a:pt x="916" y="263"/>
                </a:cubicBezTo>
                <a:cubicBezTo>
                  <a:pt x="917" y="262"/>
                  <a:pt x="916" y="263"/>
                  <a:pt x="917" y="264"/>
                </a:cubicBezTo>
                <a:cubicBezTo>
                  <a:pt x="917" y="264"/>
                  <a:pt x="918" y="263"/>
                  <a:pt x="918" y="263"/>
                </a:cubicBezTo>
                <a:cubicBezTo>
                  <a:pt x="918" y="262"/>
                  <a:pt x="918" y="262"/>
                  <a:pt x="919" y="262"/>
                </a:cubicBezTo>
                <a:cubicBezTo>
                  <a:pt x="919" y="262"/>
                  <a:pt x="919" y="262"/>
                  <a:pt x="920" y="262"/>
                </a:cubicBezTo>
                <a:cubicBezTo>
                  <a:pt x="920" y="262"/>
                  <a:pt x="919" y="262"/>
                  <a:pt x="919" y="261"/>
                </a:cubicBezTo>
                <a:cubicBezTo>
                  <a:pt x="919" y="261"/>
                  <a:pt x="921" y="260"/>
                  <a:pt x="921" y="259"/>
                </a:cubicBezTo>
                <a:cubicBezTo>
                  <a:pt x="922" y="259"/>
                  <a:pt x="922" y="259"/>
                  <a:pt x="923" y="259"/>
                </a:cubicBezTo>
                <a:cubicBezTo>
                  <a:pt x="923" y="258"/>
                  <a:pt x="923" y="258"/>
                  <a:pt x="923" y="258"/>
                </a:cubicBezTo>
                <a:cubicBezTo>
                  <a:pt x="924" y="257"/>
                  <a:pt x="926" y="256"/>
                  <a:pt x="925" y="256"/>
                </a:cubicBezTo>
                <a:cubicBezTo>
                  <a:pt x="924" y="256"/>
                  <a:pt x="926" y="254"/>
                  <a:pt x="926" y="254"/>
                </a:cubicBezTo>
                <a:cubicBezTo>
                  <a:pt x="926" y="254"/>
                  <a:pt x="926" y="254"/>
                  <a:pt x="926" y="253"/>
                </a:cubicBezTo>
                <a:cubicBezTo>
                  <a:pt x="927" y="253"/>
                  <a:pt x="927" y="252"/>
                  <a:pt x="928" y="252"/>
                </a:cubicBezTo>
                <a:cubicBezTo>
                  <a:pt x="928" y="251"/>
                  <a:pt x="929" y="251"/>
                  <a:pt x="929" y="251"/>
                </a:cubicBezTo>
                <a:cubicBezTo>
                  <a:pt x="929" y="250"/>
                  <a:pt x="930" y="250"/>
                  <a:pt x="930" y="249"/>
                </a:cubicBezTo>
                <a:cubicBezTo>
                  <a:pt x="931" y="248"/>
                  <a:pt x="932" y="247"/>
                  <a:pt x="933" y="246"/>
                </a:cubicBezTo>
                <a:cubicBezTo>
                  <a:pt x="934" y="245"/>
                  <a:pt x="935" y="244"/>
                  <a:pt x="937" y="243"/>
                </a:cubicBezTo>
                <a:cubicBezTo>
                  <a:pt x="937" y="243"/>
                  <a:pt x="938" y="242"/>
                  <a:pt x="938" y="242"/>
                </a:cubicBezTo>
                <a:cubicBezTo>
                  <a:pt x="939" y="241"/>
                  <a:pt x="939" y="241"/>
                  <a:pt x="940" y="240"/>
                </a:cubicBezTo>
                <a:cubicBezTo>
                  <a:pt x="941" y="240"/>
                  <a:pt x="942" y="240"/>
                  <a:pt x="942" y="241"/>
                </a:cubicBezTo>
                <a:cubicBezTo>
                  <a:pt x="941" y="242"/>
                  <a:pt x="941" y="243"/>
                  <a:pt x="943" y="243"/>
                </a:cubicBezTo>
                <a:cubicBezTo>
                  <a:pt x="943" y="243"/>
                  <a:pt x="944" y="242"/>
                  <a:pt x="944" y="242"/>
                </a:cubicBezTo>
                <a:cubicBezTo>
                  <a:pt x="945" y="242"/>
                  <a:pt x="946" y="242"/>
                  <a:pt x="946" y="242"/>
                </a:cubicBezTo>
                <a:cubicBezTo>
                  <a:pt x="947" y="242"/>
                  <a:pt x="948" y="240"/>
                  <a:pt x="949" y="241"/>
                </a:cubicBezTo>
                <a:cubicBezTo>
                  <a:pt x="950" y="242"/>
                  <a:pt x="950" y="243"/>
                  <a:pt x="951" y="244"/>
                </a:cubicBezTo>
                <a:cubicBezTo>
                  <a:pt x="951" y="244"/>
                  <a:pt x="951" y="244"/>
                  <a:pt x="951" y="244"/>
                </a:cubicBezTo>
                <a:close/>
                <a:moveTo>
                  <a:pt x="781" y="404"/>
                </a:moveTo>
                <a:cubicBezTo>
                  <a:pt x="781" y="404"/>
                  <a:pt x="781" y="404"/>
                  <a:pt x="781" y="404"/>
                </a:cubicBezTo>
                <a:cubicBezTo>
                  <a:pt x="782" y="404"/>
                  <a:pt x="782" y="404"/>
                  <a:pt x="781" y="404"/>
                </a:cubicBezTo>
                <a:close/>
                <a:moveTo>
                  <a:pt x="874" y="308"/>
                </a:moveTo>
                <a:cubicBezTo>
                  <a:pt x="874" y="307"/>
                  <a:pt x="873" y="307"/>
                  <a:pt x="874" y="307"/>
                </a:cubicBezTo>
                <a:cubicBezTo>
                  <a:pt x="873" y="307"/>
                  <a:pt x="873" y="308"/>
                  <a:pt x="873" y="309"/>
                </a:cubicBezTo>
                <a:cubicBezTo>
                  <a:pt x="873" y="309"/>
                  <a:pt x="873" y="310"/>
                  <a:pt x="872" y="311"/>
                </a:cubicBezTo>
                <a:cubicBezTo>
                  <a:pt x="872" y="311"/>
                  <a:pt x="872" y="311"/>
                  <a:pt x="872" y="312"/>
                </a:cubicBezTo>
                <a:cubicBezTo>
                  <a:pt x="872" y="311"/>
                  <a:pt x="873" y="310"/>
                  <a:pt x="873" y="310"/>
                </a:cubicBezTo>
                <a:cubicBezTo>
                  <a:pt x="873" y="310"/>
                  <a:pt x="874" y="309"/>
                  <a:pt x="874" y="308"/>
                </a:cubicBezTo>
                <a:close/>
                <a:moveTo>
                  <a:pt x="8" y="516"/>
                </a:moveTo>
                <a:cubicBezTo>
                  <a:pt x="8" y="517"/>
                  <a:pt x="6" y="517"/>
                  <a:pt x="6" y="518"/>
                </a:cubicBezTo>
                <a:cubicBezTo>
                  <a:pt x="7" y="519"/>
                  <a:pt x="7" y="519"/>
                  <a:pt x="8" y="519"/>
                </a:cubicBezTo>
                <a:cubicBezTo>
                  <a:pt x="8" y="520"/>
                  <a:pt x="9" y="519"/>
                  <a:pt x="9" y="520"/>
                </a:cubicBezTo>
                <a:cubicBezTo>
                  <a:pt x="10" y="519"/>
                  <a:pt x="11" y="518"/>
                  <a:pt x="11" y="517"/>
                </a:cubicBezTo>
                <a:cubicBezTo>
                  <a:pt x="11" y="515"/>
                  <a:pt x="9" y="516"/>
                  <a:pt x="8" y="516"/>
                </a:cubicBezTo>
                <a:close/>
                <a:moveTo>
                  <a:pt x="0" y="523"/>
                </a:moveTo>
                <a:cubicBezTo>
                  <a:pt x="0" y="524"/>
                  <a:pt x="0" y="524"/>
                  <a:pt x="0" y="524"/>
                </a:cubicBezTo>
                <a:cubicBezTo>
                  <a:pt x="0" y="524"/>
                  <a:pt x="0" y="524"/>
                  <a:pt x="0" y="524"/>
                </a:cubicBezTo>
                <a:cubicBezTo>
                  <a:pt x="0" y="524"/>
                  <a:pt x="0" y="523"/>
                  <a:pt x="0" y="523"/>
                </a:cubicBezTo>
                <a:close/>
                <a:moveTo>
                  <a:pt x="24" y="524"/>
                </a:moveTo>
                <a:cubicBezTo>
                  <a:pt x="24" y="524"/>
                  <a:pt x="23" y="525"/>
                  <a:pt x="23" y="524"/>
                </a:cubicBezTo>
                <a:cubicBezTo>
                  <a:pt x="23" y="524"/>
                  <a:pt x="23" y="523"/>
                  <a:pt x="23" y="523"/>
                </a:cubicBezTo>
                <a:cubicBezTo>
                  <a:pt x="23" y="521"/>
                  <a:pt x="22" y="523"/>
                  <a:pt x="21" y="523"/>
                </a:cubicBezTo>
                <a:cubicBezTo>
                  <a:pt x="20" y="523"/>
                  <a:pt x="20" y="523"/>
                  <a:pt x="20" y="523"/>
                </a:cubicBezTo>
                <a:cubicBezTo>
                  <a:pt x="19" y="523"/>
                  <a:pt x="20" y="523"/>
                  <a:pt x="20" y="524"/>
                </a:cubicBezTo>
                <a:cubicBezTo>
                  <a:pt x="19" y="524"/>
                  <a:pt x="20" y="525"/>
                  <a:pt x="20" y="525"/>
                </a:cubicBezTo>
                <a:cubicBezTo>
                  <a:pt x="20" y="526"/>
                  <a:pt x="20" y="526"/>
                  <a:pt x="21" y="526"/>
                </a:cubicBezTo>
                <a:cubicBezTo>
                  <a:pt x="21" y="526"/>
                  <a:pt x="21" y="526"/>
                  <a:pt x="21" y="526"/>
                </a:cubicBezTo>
                <a:cubicBezTo>
                  <a:pt x="22" y="526"/>
                  <a:pt x="21" y="525"/>
                  <a:pt x="21" y="525"/>
                </a:cubicBezTo>
                <a:cubicBezTo>
                  <a:pt x="21" y="525"/>
                  <a:pt x="22" y="525"/>
                  <a:pt x="22" y="525"/>
                </a:cubicBezTo>
                <a:cubicBezTo>
                  <a:pt x="22" y="526"/>
                  <a:pt x="21" y="526"/>
                  <a:pt x="22" y="526"/>
                </a:cubicBezTo>
                <a:cubicBezTo>
                  <a:pt x="22" y="526"/>
                  <a:pt x="22" y="526"/>
                  <a:pt x="22" y="526"/>
                </a:cubicBezTo>
                <a:cubicBezTo>
                  <a:pt x="23" y="526"/>
                  <a:pt x="23" y="526"/>
                  <a:pt x="23" y="527"/>
                </a:cubicBezTo>
                <a:cubicBezTo>
                  <a:pt x="23" y="527"/>
                  <a:pt x="25" y="527"/>
                  <a:pt x="25" y="526"/>
                </a:cubicBezTo>
                <a:cubicBezTo>
                  <a:pt x="25" y="526"/>
                  <a:pt x="24" y="526"/>
                  <a:pt x="24" y="525"/>
                </a:cubicBezTo>
                <a:cubicBezTo>
                  <a:pt x="24" y="525"/>
                  <a:pt x="24" y="525"/>
                  <a:pt x="24" y="524"/>
                </a:cubicBezTo>
                <a:close/>
                <a:moveTo>
                  <a:pt x="38" y="533"/>
                </a:moveTo>
                <a:cubicBezTo>
                  <a:pt x="38" y="533"/>
                  <a:pt x="39" y="533"/>
                  <a:pt x="39" y="532"/>
                </a:cubicBezTo>
                <a:cubicBezTo>
                  <a:pt x="39" y="532"/>
                  <a:pt x="38" y="531"/>
                  <a:pt x="38" y="531"/>
                </a:cubicBezTo>
                <a:cubicBezTo>
                  <a:pt x="37" y="531"/>
                  <a:pt x="37" y="530"/>
                  <a:pt x="36" y="530"/>
                </a:cubicBezTo>
                <a:cubicBezTo>
                  <a:pt x="35" y="531"/>
                  <a:pt x="35" y="531"/>
                  <a:pt x="34" y="530"/>
                </a:cubicBezTo>
                <a:cubicBezTo>
                  <a:pt x="34" y="528"/>
                  <a:pt x="32" y="530"/>
                  <a:pt x="33" y="531"/>
                </a:cubicBezTo>
                <a:cubicBezTo>
                  <a:pt x="34" y="532"/>
                  <a:pt x="34" y="531"/>
                  <a:pt x="34" y="533"/>
                </a:cubicBezTo>
                <a:cubicBezTo>
                  <a:pt x="34" y="533"/>
                  <a:pt x="34" y="534"/>
                  <a:pt x="35" y="534"/>
                </a:cubicBezTo>
                <a:cubicBezTo>
                  <a:pt x="35" y="534"/>
                  <a:pt x="36" y="534"/>
                  <a:pt x="36" y="534"/>
                </a:cubicBezTo>
                <a:cubicBezTo>
                  <a:pt x="37" y="533"/>
                  <a:pt x="37" y="534"/>
                  <a:pt x="38" y="533"/>
                </a:cubicBezTo>
                <a:close/>
                <a:moveTo>
                  <a:pt x="32" y="535"/>
                </a:moveTo>
                <a:cubicBezTo>
                  <a:pt x="32" y="535"/>
                  <a:pt x="33" y="535"/>
                  <a:pt x="33" y="534"/>
                </a:cubicBezTo>
                <a:cubicBezTo>
                  <a:pt x="33" y="534"/>
                  <a:pt x="33" y="534"/>
                  <a:pt x="33" y="534"/>
                </a:cubicBezTo>
                <a:cubicBezTo>
                  <a:pt x="32" y="534"/>
                  <a:pt x="31" y="534"/>
                  <a:pt x="32" y="535"/>
                </a:cubicBezTo>
                <a:close/>
                <a:moveTo>
                  <a:pt x="46" y="544"/>
                </a:moveTo>
                <a:cubicBezTo>
                  <a:pt x="46" y="544"/>
                  <a:pt x="46" y="543"/>
                  <a:pt x="46" y="543"/>
                </a:cubicBezTo>
                <a:cubicBezTo>
                  <a:pt x="45" y="544"/>
                  <a:pt x="46" y="542"/>
                  <a:pt x="46" y="542"/>
                </a:cubicBezTo>
                <a:cubicBezTo>
                  <a:pt x="46" y="542"/>
                  <a:pt x="46" y="542"/>
                  <a:pt x="45" y="541"/>
                </a:cubicBezTo>
                <a:cubicBezTo>
                  <a:pt x="45" y="540"/>
                  <a:pt x="44" y="540"/>
                  <a:pt x="43" y="539"/>
                </a:cubicBezTo>
                <a:cubicBezTo>
                  <a:pt x="42" y="539"/>
                  <a:pt x="41" y="539"/>
                  <a:pt x="40" y="538"/>
                </a:cubicBezTo>
                <a:cubicBezTo>
                  <a:pt x="40" y="537"/>
                  <a:pt x="39" y="538"/>
                  <a:pt x="39" y="538"/>
                </a:cubicBezTo>
                <a:cubicBezTo>
                  <a:pt x="39" y="539"/>
                  <a:pt x="40" y="540"/>
                  <a:pt x="39" y="541"/>
                </a:cubicBezTo>
                <a:cubicBezTo>
                  <a:pt x="38" y="541"/>
                  <a:pt x="38" y="542"/>
                  <a:pt x="37" y="543"/>
                </a:cubicBezTo>
                <a:cubicBezTo>
                  <a:pt x="36" y="543"/>
                  <a:pt x="36" y="544"/>
                  <a:pt x="36" y="545"/>
                </a:cubicBezTo>
                <a:cubicBezTo>
                  <a:pt x="37" y="545"/>
                  <a:pt x="37" y="547"/>
                  <a:pt x="37" y="547"/>
                </a:cubicBezTo>
                <a:cubicBezTo>
                  <a:pt x="36" y="548"/>
                  <a:pt x="36" y="549"/>
                  <a:pt x="36" y="550"/>
                </a:cubicBezTo>
                <a:cubicBezTo>
                  <a:pt x="36" y="551"/>
                  <a:pt x="37" y="551"/>
                  <a:pt x="37" y="552"/>
                </a:cubicBezTo>
                <a:cubicBezTo>
                  <a:pt x="37" y="552"/>
                  <a:pt x="38" y="552"/>
                  <a:pt x="38" y="552"/>
                </a:cubicBezTo>
                <a:cubicBezTo>
                  <a:pt x="38" y="552"/>
                  <a:pt x="39" y="552"/>
                  <a:pt x="39" y="551"/>
                </a:cubicBezTo>
                <a:cubicBezTo>
                  <a:pt x="39" y="550"/>
                  <a:pt x="40" y="550"/>
                  <a:pt x="41" y="549"/>
                </a:cubicBezTo>
                <a:cubicBezTo>
                  <a:pt x="42" y="548"/>
                  <a:pt x="43" y="549"/>
                  <a:pt x="45" y="548"/>
                </a:cubicBezTo>
                <a:cubicBezTo>
                  <a:pt x="45" y="548"/>
                  <a:pt x="46" y="547"/>
                  <a:pt x="47" y="546"/>
                </a:cubicBezTo>
                <a:cubicBezTo>
                  <a:pt x="48" y="545"/>
                  <a:pt x="46" y="545"/>
                  <a:pt x="46" y="544"/>
                </a:cubicBezTo>
                <a:close/>
                <a:moveTo>
                  <a:pt x="33" y="528"/>
                </a:moveTo>
                <a:cubicBezTo>
                  <a:pt x="33" y="527"/>
                  <a:pt x="32" y="528"/>
                  <a:pt x="31" y="528"/>
                </a:cubicBezTo>
                <a:cubicBezTo>
                  <a:pt x="31" y="528"/>
                  <a:pt x="31" y="527"/>
                  <a:pt x="31" y="527"/>
                </a:cubicBezTo>
                <a:cubicBezTo>
                  <a:pt x="30" y="528"/>
                  <a:pt x="29" y="527"/>
                  <a:pt x="28" y="527"/>
                </a:cubicBezTo>
                <a:cubicBezTo>
                  <a:pt x="28" y="527"/>
                  <a:pt x="28" y="528"/>
                  <a:pt x="28" y="528"/>
                </a:cubicBezTo>
                <a:cubicBezTo>
                  <a:pt x="28" y="528"/>
                  <a:pt x="27" y="528"/>
                  <a:pt x="27" y="528"/>
                </a:cubicBezTo>
                <a:cubicBezTo>
                  <a:pt x="28" y="529"/>
                  <a:pt x="29" y="528"/>
                  <a:pt x="29" y="528"/>
                </a:cubicBezTo>
                <a:cubicBezTo>
                  <a:pt x="30" y="528"/>
                  <a:pt x="31" y="529"/>
                  <a:pt x="31" y="529"/>
                </a:cubicBezTo>
                <a:cubicBezTo>
                  <a:pt x="32" y="529"/>
                  <a:pt x="33" y="528"/>
                  <a:pt x="33" y="528"/>
                </a:cubicBezTo>
                <a:close/>
                <a:moveTo>
                  <a:pt x="3" y="518"/>
                </a:moveTo>
                <a:cubicBezTo>
                  <a:pt x="3" y="519"/>
                  <a:pt x="1" y="520"/>
                  <a:pt x="2" y="521"/>
                </a:cubicBezTo>
                <a:cubicBezTo>
                  <a:pt x="2" y="520"/>
                  <a:pt x="2" y="520"/>
                  <a:pt x="3" y="520"/>
                </a:cubicBezTo>
                <a:cubicBezTo>
                  <a:pt x="3" y="520"/>
                  <a:pt x="3" y="519"/>
                  <a:pt x="3" y="519"/>
                </a:cubicBezTo>
                <a:cubicBezTo>
                  <a:pt x="3" y="519"/>
                  <a:pt x="4" y="518"/>
                  <a:pt x="3" y="518"/>
                </a:cubicBezTo>
                <a:close/>
                <a:moveTo>
                  <a:pt x="30" y="530"/>
                </a:moveTo>
                <a:cubicBezTo>
                  <a:pt x="29" y="530"/>
                  <a:pt x="29" y="531"/>
                  <a:pt x="29" y="531"/>
                </a:cubicBezTo>
                <a:cubicBezTo>
                  <a:pt x="30" y="532"/>
                  <a:pt x="29" y="532"/>
                  <a:pt x="30" y="532"/>
                </a:cubicBezTo>
                <a:cubicBezTo>
                  <a:pt x="30" y="532"/>
                  <a:pt x="32" y="532"/>
                  <a:pt x="31" y="531"/>
                </a:cubicBezTo>
                <a:cubicBezTo>
                  <a:pt x="31" y="530"/>
                  <a:pt x="30" y="530"/>
                  <a:pt x="30" y="530"/>
                </a:cubicBezTo>
                <a:close/>
                <a:moveTo>
                  <a:pt x="343" y="126"/>
                </a:moveTo>
                <a:cubicBezTo>
                  <a:pt x="343" y="126"/>
                  <a:pt x="342" y="127"/>
                  <a:pt x="342" y="127"/>
                </a:cubicBezTo>
                <a:cubicBezTo>
                  <a:pt x="342" y="127"/>
                  <a:pt x="344" y="126"/>
                  <a:pt x="344" y="125"/>
                </a:cubicBezTo>
                <a:cubicBezTo>
                  <a:pt x="344" y="125"/>
                  <a:pt x="342" y="126"/>
                  <a:pt x="342" y="126"/>
                </a:cubicBezTo>
                <a:cubicBezTo>
                  <a:pt x="343" y="126"/>
                  <a:pt x="343" y="125"/>
                  <a:pt x="343" y="125"/>
                </a:cubicBezTo>
                <a:cubicBezTo>
                  <a:pt x="342" y="125"/>
                  <a:pt x="341" y="126"/>
                  <a:pt x="341" y="126"/>
                </a:cubicBezTo>
                <a:cubicBezTo>
                  <a:pt x="341" y="126"/>
                  <a:pt x="341" y="126"/>
                  <a:pt x="341" y="126"/>
                </a:cubicBezTo>
                <a:cubicBezTo>
                  <a:pt x="341" y="126"/>
                  <a:pt x="340" y="126"/>
                  <a:pt x="340" y="126"/>
                </a:cubicBezTo>
                <a:cubicBezTo>
                  <a:pt x="341" y="126"/>
                  <a:pt x="341" y="125"/>
                  <a:pt x="341" y="125"/>
                </a:cubicBezTo>
                <a:cubicBezTo>
                  <a:pt x="341" y="125"/>
                  <a:pt x="341" y="125"/>
                  <a:pt x="341" y="125"/>
                </a:cubicBezTo>
                <a:cubicBezTo>
                  <a:pt x="341" y="125"/>
                  <a:pt x="341" y="125"/>
                  <a:pt x="341" y="125"/>
                </a:cubicBezTo>
                <a:cubicBezTo>
                  <a:pt x="341" y="124"/>
                  <a:pt x="340" y="125"/>
                  <a:pt x="340" y="125"/>
                </a:cubicBezTo>
                <a:cubicBezTo>
                  <a:pt x="340" y="125"/>
                  <a:pt x="338" y="125"/>
                  <a:pt x="338" y="125"/>
                </a:cubicBezTo>
                <a:cubicBezTo>
                  <a:pt x="338" y="126"/>
                  <a:pt x="338" y="126"/>
                  <a:pt x="338" y="126"/>
                </a:cubicBezTo>
                <a:cubicBezTo>
                  <a:pt x="338" y="126"/>
                  <a:pt x="337" y="127"/>
                  <a:pt x="337" y="127"/>
                </a:cubicBezTo>
                <a:cubicBezTo>
                  <a:pt x="337" y="127"/>
                  <a:pt x="335" y="126"/>
                  <a:pt x="335" y="126"/>
                </a:cubicBezTo>
                <a:cubicBezTo>
                  <a:pt x="334" y="127"/>
                  <a:pt x="335" y="127"/>
                  <a:pt x="335" y="128"/>
                </a:cubicBezTo>
                <a:cubicBezTo>
                  <a:pt x="335" y="128"/>
                  <a:pt x="333" y="127"/>
                  <a:pt x="333" y="127"/>
                </a:cubicBezTo>
                <a:cubicBezTo>
                  <a:pt x="333" y="127"/>
                  <a:pt x="332" y="128"/>
                  <a:pt x="332" y="128"/>
                </a:cubicBezTo>
                <a:cubicBezTo>
                  <a:pt x="332" y="128"/>
                  <a:pt x="333" y="128"/>
                  <a:pt x="333" y="128"/>
                </a:cubicBezTo>
                <a:cubicBezTo>
                  <a:pt x="332" y="129"/>
                  <a:pt x="333" y="129"/>
                  <a:pt x="333" y="130"/>
                </a:cubicBezTo>
                <a:cubicBezTo>
                  <a:pt x="334" y="129"/>
                  <a:pt x="334" y="129"/>
                  <a:pt x="335" y="129"/>
                </a:cubicBezTo>
                <a:cubicBezTo>
                  <a:pt x="335" y="129"/>
                  <a:pt x="338" y="127"/>
                  <a:pt x="338" y="127"/>
                </a:cubicBezTo>
                <a:cubicBezTo>
                  <a:pt x="338" y="128"/>
                  <a:pt x="337" y="128"/>
                  <a:pt x="337" y="129"/>
                </a:cubicBezTo>
                <a:cubicBezTo>
                  <a:pt x="337" y="128"/>
                  <a:pt x="338" y="128"/>
                  <a:pt x="338" y="128"/>
                </a:cubicBezTo>
                <a:cubicBezTo>
                  <a:pt x="339" y="128"/>
                  <a:pt x="338" y="128"/>
                  <a:pt x="339" y="128"/>
                </a:cubicBezTo>
                <a:cubicBezTo>
                  <a:pt x="339" y="128"/>
                  <a:pt x="339" y="128"/>
                  <a:pt x="340" y="128"/>
                </a:cubicBezTo>
                <a:cubicBezTo>
                  <a:pt x="339" y="128"/>
                  <a:pt x="339" y="128"/>
                  <a:pt x="339" y="128"/>
                </a:cubicBezTo>
                <a:cubicBezTo>
                  <a:pt x="340" y="127"/>
                  <a:pt x="340" y="127"/>
                  <a:pt x="341" y="127"/>
                </a:cubicBezTo>
                <a:cubicBezTo>
                  <a:pt x="341" y="127"/>
                  <a:pt x="340" y="127"/>
                  <a:pt x="341" y="128"/>
                </a:cubicBezTo>
                <a:cubicBezTo>
                  <a:pt x="341" y="128"/>
                  <a:pt x="342" y="128"/>
                  <a:pt x="342" y="128"/>
                </a:cubicBezTo>
                <a:cubicBezTo>
                  <a:pt x="342" y="127"/>
                  <a:pt x="344" y="126"/>
                  <a:pt x="344" y="126"/>
                </a:cubicBezTo>
                <a:cubicBezTo>
                  <a:pt x="344" y="126"/>
                  <a:pt x="343" y="127"/>
                  <a:pt x="343" y="127"/>
                </a:cubicBezTo>
                <a:cubicBezTo>
                  <a:pt x="343" y="127"/>
                  <a:pt x="343" y="126"/>
                  <a:pt x="343" y="126"/>
                </a:cubicBezTo>
                <a:close/>
                <a:moveTo>
                  <a:pt x="247" y="109"/>
                </a:moveTo>
                <a:cubicBezTo>
                  <a:pt x="247" y="110"/>
                  <a:pt x="247" y="109"/>
                  <a:pt x="247" y="109"/>
                </a:cubicBezTo>
                <a:cubicBezTo>
                  <a:pt x="247" y="109"/>
                  <a:pt x="247" y="109"/>
                  <a:pt x="247" y="109"/>
                </a:cubicBezTo>
                <a:cubicBezTo>
                  <a:pt x="248" y="110"/>
                  <a:pt x="248" y="111"/>
                  <a:pt x="249" y="111"/>
                </a:cubicBezTo>
                <a:cubicBezTo>
                  <a:pt x="249" y="111"/>
                  <a:pt x="250" y="111"/>
                  <a:pt x="250" y="111"/>
                </a:cubicBezTo>
                <a:cubicBezTo>
                  <a:pt x="251" y="111"/>
                  <a:pt x="250" y="112"/>
                  <a:pt x="250" y="112"/>
                </a:cubicBezTo>
                <a:cubicBezTo>
                  <a:pt x="251" y="112"/>
                  <a:pt x="252" y="111"/>
                  <a:pt x="251" y="111"/>
                </a:cubicBezTo>
                <a:cubicBezTo>
                  <a:pt x="250" y="111"/>
                  <a:pt x="252" y="110"/>
                  <a:pt x="252" y="111"/>
                </a:cubicBezTo>
                <a:cubicBezTo>
                  <a:pt x="252" y="111"/>
                  <a:pt x="254" y="110"/>
                  <a:pt x="254" y="110"/>
                </a:cubicBezTo>
                <a:cubicBezTo>
                  <a:pt x="255" y="111"/>
                  <a:pt x="255" y="110"/>
                  <a:pt x="256" y="110"/>
                </a:cubicBezTo>
                <a:cubicBezTo>
                  <a:pt x="256" y="110"/>
                  <a:pt x="256" y="110"/>
                  <a:pt x="257" y="110"/>
                </a:cubicBezTo>
                <a:cubicBezTo>
                  <a:pt x="257" y="110"/>
                  <a:pt x="258" y="110"/>
                  <a:pt x="258" y="109"/>
                </a:cubicBezTo>
                <a:cubicBezTo>
                  <a:pt x="258" y="109"/>
                  <a:pt x="258" y="109"/>
                  <a:pt x="258" y="109"/>
                </a:cubicBezTo>
                <a:cubicBezTo>
                  <a:pt x="258" y="109"/>
                  <a:pt x="258" y="109"/>
                  <a:pt x="258" y="109"/>
                </a:cubicBezTo>
                <a:cubicBezTo>
                  <a:pt x="258" y="108"/>
                  <a:pt x="260" y="108"/>
                  <a:pt x="259" y="108"/>
                </a:cubicBezTo>
                <a:cubicBezTo>
                  <a:pt x="260" y="107"/>
                  <a:pt x="261" y="107"/>
                  <a:pt x="261" y="106"/>
                </a:cubicBezTo>
                <a:cubicBezTo>
                  <a:pt x="261" y="106"/>
                  <a:pt x="261" y="106"/>
                  <a:pt x="261" y="106"/>
                </a:cubicBezTo>
                <a:cubicBezTo>
                  <a:pt x="262" y="106"/>
                  <a:pt x="261" y="106"/>
                  <a:pt x="260" y="106"/>
                </a:cubicBezTo>
                <a:cubicBezTo>
                  <a:pt x="260" y="106"/>
                  <a:pt x="259" y="106"/>
                  <a:pt x="259" y="106"/>
                </a:cubicBezTo>
                <a:cubicBezTo>
                  <a:pt x="259" y="106"/>
                  <a:pt x="260" y="105"/>
                  <a:pt x="260" y="105"/>
                </a:cubicBezTo>
                <a:cubicBezTo>
                  <a:pt x="260" y="105"/>
                  <a:pt x="258" y="106"/>
                  <a:pt x="259" y="105"/>
                </a:cubicBezTo>
                <a:cubicBezTo>
                  <a:pt x="258" y="105"/>
                  <a:pt x="257" y="106"/>
                  <a:pt x="257" y="106"/>
                </a:cubicBezTo>
                <a:cubicBezTo>
                  <a:pt x="257" y="105"/>
                  <a:pt x="255" y="106"/>
                  <a:pt x="255" y="106"/>
                </a:cubicBezTo>
                <a:cubicBezTo>
                  <a:pt x="254" y="106"/>
                  <a:pt x="254" y="106"/>
                  <a:pt x="253" y="106"/>
                </a:cubicBezTo>
                <a:cubicBezTo>
                  <a:pt x="253" y="106"/>
                  <a:pt x="252" y="107"/>
                  <a:pt x="251" y="107"/>
                </a:cubicBezTo>
                <a:cubicBezTo>
                  <a:pt x="251" y="107"/>
                  <a:pt x="250" y="107"/>
                  <a:pt x="249" y="107"/>
                </a:cubicBezTo>
                <a:cubicBezTo>
                  <a:pt x="249" y="107"/>
                  <a:pt x="248" y="107"/>
                  <a:pt x="247" y="107"/>
                </a:cubicBezTo>
                <a:cubicBezTo>
                  <a:pt x="247" y="107"/>
                  <a:pt x="247" y="107"/>
                  <a:pt x="246" y="108"/>
                </a:cubicBezTo>
                <a:cubicBezTo>
                  <a:pt x="246" y="108"/>
                  <a:pt x="246" y="108"/>
                  <a:pt x="246" y="108"/>
                </a:cubicBezTo>
                <a:cubicBezTo>
                  <a:pt x="246" y="108"/>
                  <a:pt x="246" y="108"/>
                  <a:pt x="246" y="108"/>
                </a:cubicBezTo>
                <a:cubicBezTo>
                  <a:pt x="246" y="109"/>
                  <a:pt x="246" y="109"/>
                  <a:pt x="247" y="109"/>
                </a:cubicBezTo>
                <a:close/>
                <a:moveTo>
                  <a:pt x="341" y="124"/>
                </a:moveTo>
                <a:cubicBezTo>
                  <a:pt x="341" y="125"/>
                  <a:pt x="342" y="125"/>
                  <a:pt x="343" y="124"/>
                </a:cubicBezTo>
                <a:cubicBezTo>
                  <a:pt x="343" y="124"/>
                  <a:pt x="344" y="124"/>
                  <a:pt x="344" y="123"/>
                </a:cubicBezTo>
                <a:cubicBezTo>
                  <a:pt x="344" y="123"/>
                  <a:pt x="345" y="123"/>
                  <a:pt x="345" y="123"/>
                </a:cubicBezTo>
                <a:cubicBezTo>
                  <a:pt x="344" y="123"/>
                  <a:pt x="343" y="123"/>
                  <a:pt x="343" y="123"/>
                </a:cubicBezTo>
                <a:cubicBezTo>
                  <a:pt x="342" y="124"/>
                  <a:pt x="341" y="124"/>
                  <a:pt x="341" y="124"/>
                </a:cubicBezTo>
                <a:close/>
                <a:moveTo>
                  <a:pt x="406" y="106"/>
                </a:moveTo>
                <a:cubicBezTo>
                  <a:pt x="406" y="106"/>
                  <a:pt x="406" y="106"/>
                  <a:pt x="405" y="106"/>
                </a:cubicBezTo>
                <a:cubicBezTo>
                  <a:pt x="406" y="106"/>
                  <a:pt x="406" y="106"/>
                  <a:pt x="406" y="105"/>
                </a:cubicBezTo>
                <a:cubicBezTo>
                  <a:pt x="405" y="105"/>
                  <a:pt x="404" y="106"/>
                  <a:pt x="403" y="107"/>
                </a:cubicBezTo>
                <a:cubicBezTo>
                  <a:pt x="402" y="107"/>
                  <a:pt x="401" y="108"/>
                  <a:pt x="400" y="108"/>
                </a:cubicBezTo>
                <a:cubicBezTo>
                  <a:pt x="399" y="109"/>
                  <a:pt x="398" y="109"/>
                  <a:pt x="397" y="109"/>
                </a:cubicBezTo>
                <a:cubicBezTo>
                  <a:pt x="397" y="109"/>
                  <a:pt x="396" y="110"/>
                  <a:pt x="396" y="110"/>
                </a:cubicBezTo>
                <a:cubicBezTo>
                  <a:pt x="396" y="110"/>
                  <a:pt x="395" y="110"/>
                  <a:pt x="395" y="110"/>
                </a:cubicBezTo>
                <a:cubicBezTo>
                  <a:pt x="395" y="111"/>
                  <a:pt x="393" y="111"/>
                  <a:pt x="393" y="111"/>
                </a:cubicBezTo>
                <a:cubicBezTo>
                  <a:pt x="393" y="111"/>
                  <a:pt x="396" y="111"/>
                  <a:pt x="397" y="111"/>
                </a:cubicBezTo>
                <a:cubicBezTo>
                  <a:pt x="398" y="111"/>
                  <a:pt x="398" y="110"/>
                  <a:pt x="398" y="110"/>
                </a:cubicBezTo>
                <a:cubicBezTo>
                  <a:pt x="399" y="110"/>
                  <a:pt x="399" y="110"/>
                  <a:pt x="399" y="109"/>
                </a:cubicBezTo>
                <a:cubicBezTo>
                  <a:pt x="401" y="107"/>
                  <a:pt x="404" y="108"/>
                  <a:pt x="406" y="106"/>
                </a:cubicBezTo>
                <a:cubicBezTo>
                  <a:pt x="406" y="106"/>
                  <a:pt x="405" y="106"/>
                  <a:pt x="405" y="106"/>
                </a:cubicBezTo>
                <a:cubicBezTo>
                  <a:pt x="405" y="106"/>
                  <a:pt x="406" y="106"/>
                  <a:pt x="406" y="106"/>
                </a:cubicBezTo>
                <a:close/>
                <a:moveTo>
                  <a:pt x="183" y="144"/>
                </a:moveTo>
                <a:cubicBezTo>
                  <a:pt x="183" y="144"/>
                  <a:pt x="184" y="144"/>
                  <a:pt x="184" y="144"/>
                </a:cubicBezTo>
                <a:cubicBezTo>
                  <a:pt x="184" y="144"/>
                  <a:pt x="182" y="143"/>
                  <a:pt x="182" y="144"/>
                </a:cubicBezTo>
                <a:cubicBezTo>
                  <a:pt x="182" y="144"/>
                  <a:pt x="183" y="144"/>
                  <a:pt x="183" y="144"/>
                </a:cubicBezTo>
                <a:close/>
                <a:moveTo>
                  <a:pt x="480" y="145"/>
                </a:moveTo>
                <a:cubicBezTo>
                  <a:pt x="480" y="145"/>
                  <a:pt x="479" y="146"/>
                  <a:pt x="479" y="147"/>
                </a:cubicBezTo>
                <a:cubicBezTo>
                  <a:pt x="478" y="147"/>
                  <a:pt x="478" y="147"/>
                  <a:pt x="478" y="148"/>
                </a:cubicBezTo>
                <a:cubicBezTo>
                  <a:pt x="478" y="148"/>
                  <a:pt x="479" y="148"/>
                  <a:pt x="479" y="148"/>
                </a:cubicBezTo>
                <a:cubicBezTo>
                  <a:pt x="479" y="148"/>
                  <a:pt x="479" y="149"/>
                  <a:pt x="479" y="149"/>
                </a:cubicBezTo>
                <a:cubicBezTo>
                  <a:pt x="479" y="149"/>
                  <a:pt x="480" y="148"/>
                  <a:pt x="480" y="148"/>
                </a:cubicBezTo>
                <a:cubicBezTo>
                  <a:pt x="480" y="148"/>
                  <a:pt x="481" y="148"/>
                  <a:pt x="481" y="148"/>
                </a:cubicBezTo>
                <a:cubicBezTo>
                  <a:pt x="481" y="148"/>
                  <a:pt x="481" y="147"/>
                  <a:pt x="481" y="147"/>
                </a:cubicBezTo>
                <a:cubicBezTo>
                  <a:pt x="481" y="146"/>
                  <a:pt x="480" y="147"/>
                  <a:pt x="480" y="146"/>
                </a:cubicBezTo>
                <a:cubicBezTo>
                  <a:pt x="480" y="146"/>
                  <a:pt x="481" y="145"/>
                  <a:pt x="480" y="145"/>
                </a:cubicBezTo>
                <a:close/>
                <a:moveTo>
                  <a:pt x="239" y="159"/>
                </a:moveTo>
                <a:cubicBezTo>
                  <a:pt x="239" y="159"/>
                  <a:pt x="239" y="159"/>
                  <a:pt x="239" y="158"/>
                </a:cubicBezTo>
                <a:cubicBezTo>
                  <a:pt x="239" y="158"/>
                  <a:pt x="240" y="158"/>
                  <a:pt x="240" y="158"/>
                </a:cubicBezTo>
                <a:cubicBezTo>
                  <a:pt x="240" y="158"/>
                  <a:pt x="240" y="158"/>
                  <a:pt x="240" y="158"/>
                </a:cubicBezTo>
                <a:cubicBezTo>
                  <a:pt x="240" y="158"/>
                  <a:pt x="240" y="157"/>
                  <a:pt x="240" y="157"/>
                </a:cubicBezTo>
                <a:cubicBezTo>
                  <a:pt x="241" y="157"/>
                  <a:pt x="241" y="157"/>
                  <a:pt x="241" y="156"/>
                </a:cubicBezTo>
                <a:cubicBezTo>
                  <a:pt x="241" y="156"/>
                  <a:pt x="240" y="158"/>
                  <a:pt x="239" y="157"/>
                </a:cubicBezTo>
                <a:cubicBezTo>
                  <a:pt x="239" y="157"/>
                  <a:pt x="241" y="157"/>
                  <a:pt x="240" y="156"/>
                </a:cubicBezTo>
                <a:cubicBezTo>
                  <a:pt x="239" y="156"/>
                  <a:pt x="237" y="158"/>
                  <a:pt x="236" y="159"/>
                </a:cubicBezTo>
                <a:cubicBezTo>
                  <a:pt x="237" y="159"/>
                  <a:pt x="237" y="159"/>
                  <a:pt x="237" y="159"/>
                </a:cubicBezTo>
                <a:cubicBezTo>
                  <a:pt x="238" y="158"/>
                  <a:pt x="238" y="158"/>
                  <a:pt x="238" y="158"/>
                </a:cubicBezTo>
                <a:cubicBezTo>
                  <a:pt x="237" y="159"/>
                  <a:pt x="238" y="159"/>
                  <a:pt x="239" y="159"/>
                </a:cubicBezTo>
                <a:cubicBezTo>
                  <a:pt x="239" y="159"/>
                  <a:pt x="239" y="159"/>
                  <a:pt x="239" y="159"/>
                </a:cubicBezTo>
                <a:close/>
                <a:moveTo>
                  <a:pt x="457" y="140"/>
                </a:moveTo>
                <a:cubicBezTo>
                  <a:pt x="459" y="140"/>
                  <a:pt x="460" y="139"/>
                  <a:pt x="461" y="138"/>
                </a:cubicBezTo>
                <a:cubicBezTo>
                  <a:pt x="461" y="138"/>
                  <a:pt x="463" y="137"/>
                  <a:pt x="462" y="136"/>
                </a:cubicBezTo>
                <a:cubicBezTo>
                  <a:pt x="461" y="136"/>
                  <a:pt x="460" y="137"/>
                  <a:pt x="460" y="137"/>
                </a:cubicBezTo>
                <a:cubicBezTo>
                  <a:pt x="460" y="137"/>
                  <a:pt x="460" y="137"/>
                  <a:pt x="460" y="137"/>
                </a:cubicBezTo>
                <a:cubicBezTo>
                  <a:pt x="460" y="138"/>
                  <a:pt x="459" y="138"/>
                  <a:pt x="460" y="138"/>
                </a:cubicBezTo>
                <a:cubicBezTo>
                  <a:pt x="460" y="138"/>
                  <a:pt x="459" y="138"/>
                  <a:pt x="459" y="139"/>
                </a:cubicBezTo>
                <a:cubicBezTo>
                  <a:pt x="458" y="139"/>
                  <a:pt x="458" y="139"/>
                  <a:pt x="457" y="140"/>
                </a:cubicBezTo>
                <a:close/>
                <a:moveTo>
                  <a:pt x="335" y="131"/>
                </a:moveTo>
                <a:cubicBezTo>
                  <a:pt x="335" y="131"/>
                  <a:pt x="335" y="131"/>
                  <a:pt x="335" y="131"/>
                </a:cubicBezTo>
                <a:cubicBezTo>
                  <a:pt x="335" y="132"/>
                  <a:pt x="333" y="132"/>
                  <a:pt x="332" y="133"/>
                </a:cubicBezTo>
                <a:cubicBezTo>
                  <a:pt x="333" y="132"/>
                  <a:pt x="333" y="132"/>
                  <a:pt x="333" y="132"/>
                </a:cubicBezTo>
                <a:cubicBezTo>
                  <a:pt x="333" y="133"/>
                  <a:pt x="333" y="133"/>
                  <a:pt x="332" y="133"/>
                </a:cubicBezTo>
                <a:cubicBezTo>
                  <a:pt x="333" y="133"/>
                  <a:pt x="333" y="133"/>
                  <a:pt x="333" y="133"/>
                </a:cubicBezTo>
                <a:cubicBezTo>
                  <a:pt x="333" y="133"/>
                  <a:pt x="333" y="133"/>
                  <a:pt x="332" y="133"/>
                </a:cubicBezTo>
                <a:cubicBezTo>
                  <a:pt x="332" y="133"/>
                  <a:pt x="334" y="133"/>
                  <a:pt x="334" y="133"/>
                </a:cubicBezTo>
                <a:cubicBezTo>
                  <a:pt x="335" y="133"/>
                  <a:pt x="333" y="134"/>
                  <a:pt x="332" y="134"/>
                </a:cubicBezTo>
                <a:cubicBezTo>
                  <a:pt x="332" y="135"/>
                  <a:pt x="332" y="135"/>
                  <a:pt x="331" y="135"/>
                </a:cubicBezTo>
                <a:cubicBezTo>
                  <a:pt x="331" y="135"/>
                  <a:pt x="330" y="135"/>
                  <a:pt x="330" y="135"/>
                </a:cubicBezTo>
                <a:cubicBezTo>
                  <a:pt x="330" y="135"/>
                  <a:pt x="330" y="135"/>
                  <a:pt x="330" y="135"/>
                </a:cubicBezTo>
                <a:cubicBezTo>
                  <a:pt x="330" y="135"/>
                  <a:pt x="329" y="135"/>
                  <a:pt x="329" y="135"/>
                </a:cubicBezTo>
                <a:cubicBezTo>
                  <a:pt x="329" y="135"/>
                  <a:pt x="327" y="134"/>
                  <a:pt x="327" y="135"/>
                </a:cubicBezTo>
                <a:cubicBezTo>
                  <a:pt x="327" y="135"/>
                  <a:pt x="327" y="135"/>
                  <a:pt x="327" y="135"/>
                </a:cubicBezTo>
                <a:cubicBezTo>
                  <a:pt x="326" y="135"/>
                  <a:pt x="326" y="135"/>
                  <a:pt x="325" y="135"/>
                </a:cubicBezTo>
                <a:cubicBezTo>
                  <a:pt x="326" y="135"/>
                  <a:pt x="327" y="135"/>
                  <a:pt x="328" y="135"/>
                </a:cubicBezTo>
                <a:cubicBezTo>
                  <a:pt x="329" y="136"/>
                  <a:pt x="327" y="137"/>
                  <a:pt x="326" y="137"/>
                </a:cubicBezTo>
                <a:cubicBezTo>
                  <a:pt x="326" y="137"/>
                  <a:pt x="326" y="137"/>
                  <a:pt x="326" y="137"/>
                </a:cubicBezTo>
                <a:cubicBezTo>
                  <a:pt x="326" y="136"/>
                  <a:pt x="325" y="137"/>
                  <a:pt x="325" y="137"/>
                </a:cubicBezTo>
                <a:cubicBezTo>
                  <a:pt x="325" y="137"/>
                  <a:pt x="325" y="137"/>
                  <a:pt x="325" y="137"/>
                </a:cubicBezTo>
                <a:cubicBezTo>
                  <a:pt x="325" y="137"/>
                  <a:pt x="325" y="136"/>
                  <a:pt x="326" y="136"/>
                </a:cubicBezTo>
                <a:cubicBezTo>
                  <a:pt x="325" y="136"/>
                  <a:pt x="323" y="137"/>
                  <a:pt x="323" y="136"/>
                </a:cubicBezTo>
                <a:cubicBezTo>
                  <a:pt x="323" y="136"/>
                  <a:pt x="323" y="136"/>
                  <a:pt x="323" y="136"/>
                </a:cubicBezTo>
                <a:cubicBezTo>
                  <a:pt x="323" y="136"/>
                  <a:pt x="323" y="136"/>
                  <a:pt x="323" y="137"/>
                </a:cubicBezTo>
                <a:cubicBezTo>
                  <a:pt x="323" y="137"/>
                  <a:pt x="324" y="136"/>
                  <a:pt x="324" y="137"/>
                </a:cubicBezTo>
                <a:cubicBezTo>
                  <a:pt x="324" y="137"/>
                  <a:pt x="323" y="137"/>
                  <a:pt x="323" y="137"/>
                </a:cubicBezTo>
                <a:cubicBezTo>
                  <a:pt x="323" y="137"/>
                  <a:pt x="322" y="137"/>
                  <a:pt x="321" y="137"/>
                </a:cubicBezTo>
                <a:cubicBezTo>
                  <a:pt x="320" y="137"/>
                  <a:pt x="320" y="138"/>
                  <a:pt x="319" y="138"/>
                </a:cubicBezTo>
                <a:cubicBezTo>
                  <a:pt x="319" y="138"/>
                  <a:pt x="319" y="138"/>
                  <a:pt x="318" y="139"/>
                </a:cubicBezTo>
                <a:cubicBezTo>
                  <a:pt x="318" y="138"/>
                  <a:pt x="319" y="138"/>
                  <a:pt x="319" y="138"/>
                </a:cubicBezTo>
                <a:cubicBezTo>
                  <a:pt x="319" y="138"/>
                  <a:pt x="318" y="138"/>
                  <a:pt x="318" y="138"/>
                </a:cubicBezTo>
                <a:cubicBezTo>
                  <a:pt x="319" y="138"/>
                  <a:pt x="318" y="138"/>
                  <a:pt x="318" y="139"/>
                </a:cubicBezTo>
                <a:cubicBezTo>
                  <a:pt x="318" y="139"/>
                  <a:pt x="318" y="139"/>
                  <a:pt x="317" y="139"/>
                </a:cubicBezTo>
                <a:cubicBezTo>
                  <a:pt x="317" y="139"/>
                  <a:pt x="316" y="139"/>
                  <a:pt x="315" y="139"/>
                </a:cubicBezTo>
                <a:cubicBezTo>
                  <a:pt x="316" y="139"/>
                  <a:pt x="316" y="139"/>
                  <a:pt x="316" y="139"/>
                </a:cubicBezTo>
                <a:cubicBezTo>
                  <a:pt x="316" y="140"/>
                  <a:pt x="316" y="139"/>
                  <a:pt x="315" y="140"/>
                </a:cubicBezTo>
                <a:cubicBezTo>
                  <a:pt x="317" y="140"/>
                  <a:pt x="315" y="141"/>
                  <a:pt x="315" y="140"/>
                </a:cubicBezTo>
                <a:cubicBezTo>
                  <a:pt x="315" y="140"/>
                  <a:pt x="315" y="140"/>
                  <a:pt x="315" y="140"/>
                </a:cubicBezTo>
                <a:cubicBezTo>
                  <a:pt x="315" y="140"/>
                  <a:pt x="314" y="140"/>
                  <a:pt x="314" y="141"/>
                </a:cubicBezTo>
                <a:cubicBezTo>
                  <a:pt x="314" y="141"/>
                  <a:pt x="313" y="141"/>
                  <a:pt x="313" y="141"/>
                </a:cubicBezTo>
                <a:cubicBezTo>
                  <a:pt x="313" y="141"/>
                  <a:pt x="313" y="141"/>
                  <a:pt x="314" y="141"/>
                </a:cubicBezTo>
                <a:cubicBezTo>
                  <a:pt x="313" y="141"/>
                  <a:pt x="313" y="141"/>
                  <a:pt x="312" y="141"/>
                </a:cubicBezTo>
                <a:cubicBezTo>
                  <a:pt x="312" y="142"/>
                  <a:pt x="311" y="142"/>
                  <a:pt x="311" y="142"/>
                </a:cubicBezTo>
                <a:cubicBezTo>
                  <a:pt x="311" y="142"/>
                  <a:pt x="310" y="143"/>
                  <a:pt x="310" y="142"/>
                </a:cubicBezTo>
                <a:cubicBezTo>
                  <a:pt x="309" y="142"/>
                  <a:pt x="309" y="142"/>
                  <a:pt x="309" y="142"/>
                </a:cubicBezTo>
                <a:cubicBezTo>
                  <a:pt x="310" y="141"/>
                  <a:pt x="313" y="141"/>
                  <a:pt x="314" y="140"/>
                </a:cubicBezTo>
                <a:cubicBezTo>
                  <a:pt x="314" y="140"/>
                  <a:pt x="314" y="140"/>
                  <a:pt x="314" y="140"/>
                </a:cubicBezTo>
                <a:cubicBezTo>
                  <a:pt x="314" y="140"/>
                  <a:pt x="314" y="140"/>
                  <a:pt x="314" y="140"/>
                </a:cubicBezTo>
                <a:cubicBezTo>
                  <a:pt x="314" y="140"/>
                  <a:pt x="313" y="140"/>
                  <a:pt x="313" y="140"/>
                </a:cubicBezTo>
                <a:cubicBezTo>
                  <a:pt x="313" y="139"/>
                  <a:pt x="315" y="139"/>
                  <a:pt x="316" y="138"/>
                </a:cubicBezTo>
                <a:cubicBezTo>
                  <a:pt x="316" y="138"/>
                  <a:pt x="312" y="140"/>
                  <a:pt x="312" y="140"/>
                </a:cubicBezTo>
                <a:cubicBezTo>
                  <a:pt x="312" y="140"/>
                  <a:pt x="312" y="140"/>
                  <a:pt x="312" y="140"/>
                </a:cubicBezTo>
                <a:cubicBezTo>
                  <a:pt x="311" y="140"/>
                  <a:pt x="310" y="141"/>
                  <a:pt x="309" y="141"/>
                </a:cubicBezTo>
                <a:cubicBezTo>
                  <a:pt x="310" y="140"/>
                  <a:pt x="309" y="141"/>
                  <a:pt x="309" y="141"/>
                </a:cubicBezTo>
                <a:cubicBezTo>
                  <a:pt x="309" y="141"/>
                  <a:pt x="309" y="141"/>
                  <a:pt x="309" y="141"/>
                </a:cubicBezTo>
                <a:cubicBezTo>
                  <a:pt x="309" y="141"/>
                  <a:pt x="309" y="141"/>
                  <a:pt x="309" y="141"/>
                </a:cubicBezTo>
                <a:cubicBezTo>
                  <a:pt x="309" y="141"/>
                  <a:pt x="310" y="140"/>
                  <a:pt x="308" y="140"/>
                </a:cubicBezTo>
                <a:cubicBezTo>
                  <a:pt x="309" y="139"/>
                  <a:pt x="310" y="139"/>
                  <a:pt x="311" y="138"/>
                </a:cubicBezTo>
                <a:cubicBezTo>
                  <a:pt x="311" y="137"/>
                  <a:pt x="310" y="137"/>
                  <a:pt x="310" y="137"/>
                </a:cubicBezTo>
                <a:cubicBezTo>
                  <a:pt x="310" y="137"/>
                  <a:pt x="310" y="136"/>
                  <a:pt x="310" y="136"/>
                </a:cubicBezTo>
                <a:cubicBezTo>
                  <a:pt x="311" y="136"/>
                  <a:pt x="311" y="136"/>
                  <a:pt x="311" y="136"/>
                </a:cubicBezTo>
                <a:cubicBezTo>
                  <a:pt x="311" y="136"/>
                  <a:pt x="312" y="136"/>
                  <a:pt x="312" y="135"/>
                </a:cubicBezTo>
                <a:cubicBezTo>
                  <a:pt x="312" y="135"/>
                  <a:pt x="315" y="134"/>
                  <a:pt x="315" y="134"/>
                </a:cubicBezTo>
                <a:cubicBezTo>
                  <a:pt x="315" y="134"/>
                  <a:pt x="315" y="134"/>
                  <a:pt x="316" y="134"/>
                </a:cubicBezTo>
                <a:cubicBezTo>
                  <a:pt x="316" y="133"/>
                  <a:pt x="319" y="133"/>
                  <a:pt x="319" y="133"/>
                </a:cubicBezTo>
                <a:cubicBezTo>
                  <a:pt x="320" y="133"/>
                  <a:pt x="320" y="133"/>
                  <a:pt x="320" y="133"/>
                </a:cubicBezTo>
                <a:cubicBezTo>
                  <a:pt x="319" y="134"/>
                  <a:pt x="319" y="134"/>
                  <a:pt x="318" y="134"/>
                </a:cubicBezTo>
                <a:cubicBezTo>
                  <a:pt x="319" y="134"/>
                  <a:pt x="320" y="134"/>
                  <a:pt x="319" y="135"/>
                </a:cubicBezTo>
                <a:cubicBezTo>
                  <a:pt x="318" y="135"/>
                  <a:pt x="318" y="136"/>
                  <a:pt x="319" y="137"/>
                </a:cubicBezTo>
                <a:cubicBezTo>
                  <a:pt x="319" y="136"/>
                  <a:pt x="319" y="135"/>
                  <a:pt x="320" y="135"/>
                </a:cubicBezTo>
                <a:cubicBezTo>
                  <a:pt x="320" y="135"/>
                  <a:pt x="320" y="134"/>
                  <a:pt x="321" y="134"/>
                </a:cubicBezTo>
                <a:cubicBezTo>
                  <a:pt x="321" y="134"/>
                  <a:pt x="321" y="134"/>
                  <a:pt x="321" y="134"/>
                </a:cubicBezTo>
                <a:cubicBezTo>
                  <a:pt x="322" y="134"/>
                  <a:pt x="320" y="133"/>
                  <a:pt x="322" y="133"/>
                </a:cubicBezTo>
                <a:cubicBezTo>
                  <a:pt x="322" y="133"/>
                  <a:pt x="323" y="133"/>
                  <a:pt x="323" y="133"/>
                </a:cubicBezTo>
                <a:cubicBezTo>
                  <a:pt x="323" y="134"/>
                  <a:pt x="323" y="133"/>
                  <a:pt x="323" y="133"/>
                </a:cubicBezTo>
                <a:cubicBezTo>
                  <a:pt x="323" y="133"/>
                  <a:pt x="322" y="133"/>
                  <a:pt x="322" y="132"/>
                </a:cubicBezTo>
                <a:cubicBezTo>
                  <a:pt x="322" y="132"/>
                  <a:pt x="322" y="132"/>
                  <a:pt x="323" y="131"/>
                </a:cubicBezTo>
                <a:cubicBezTo>
                  <a:pt x="323" y="131"/>
                  <a:pt x="324" y="131"/>
                  <a:pt x="324" y="131"/>
                </a:cubicBezTo>
                <a:cubicBezTo>
                  <a:pt x="325" y="131"/>
                  <a:pt x="325" y="131"/>
                  <a:pt x="325" y="130"/>
                </a:cubicBezTo>
                <a:cubicBezTo>
                  <a:pt x="325" y="130"/>
                  <a:pt x="326" y="131"/>
                  <a:pt x="326" y="131"/>
                </a:cubicBezTo>
                <a:cubicBezTo>
                  <a:pt x="325" y="131"/>
                  <a:pt x="326" y="131"/>
                  <a:pt x="325" y="132"/>
                </a:cubicBezTo>
                <a:cubicBezTo>
                  <a:pt x="325" y="132"/>
                  <a:pt x="324" y="133"/>
                  <a:pt x="324" y="133"/>
                </a:cubicBezTo>
                <a:cubicBezTo>
                  <a:pt x="324" y="133"/>
                  <a:pt x="324" y="133"/>
                  <a:pt x="324" y="133"/>
                </a:cubicBezTo>
                <a:cubicBezTo>
                  <a:pt x="325" y="132"/>
                  <a:pt x="325" y="133"/>
                  <a:pt x="325" y="132"/>
                </a:cubicBezTo>
                <a:cubicBezTo>
                  <a:pt x="325" y="132"/>
                  <a:pt x="326" y="131"/>
                  <a:pt x="326" y="132"/>
                </a:cubicBezTo>
                <a:cubicBezTo>
                  <a:pt x="326" y="132"/>
                  <a:pt x="326" y="132"/>
                  <a:pt x="326" y="132"/>
                </a:cubicBezTo>
                <a:cubicBezTo>
                  <a:pt x="326" y="133"/>
                  <a:pt x="327" y="132"/>
                  <a:pt x="327" y="132"/>
                </a:cubicBezTo>
                <a:cubicBezTo>
                  <a:pt x="326" y="131"/>
                  <a:pt x="327" y="131"/>
                  <a:pt x="328" y="132"/>
                </a:cubicBezTo>
                <a:cubicBezTo>
                  <a:pt x="328" y="132"/>
                  <a:pt x="327" y="132"/>
                  <a:pt x="327" y="132"/>
                </a:cubicBezTo>
                <a:cubicBezTo>
                  <a:pt x="328" y="132"/>
                  <a:pt x="328" y="132"/>
                  <a:pt x="328" y="131"/>
                </a:cubicBezTo>
                <a:cubicBezTo>
                  <a:pt x="329" y="131"/>
                  <a:pt x="329" y="130"/>
                  <a:pt x="329" y="130"/>
                </a:cubicBezTo>
                <a:cubicBezTo>
                  <a:pt x="330" y="131"/>
                  <a:pt x="329" y="131"/>
                  <a:pt x="330" y="131"/>
                </a:cubicBezTo>
                <a:cubicBezTo>
                  <a:pt x="330" y="131"/>
                  <a:pt x="330" y="130"/>
                  <a:pt x="330" y="130"/>
                </a:cubicBezTo>
                <a:cubicBezTo>
                  <a:pt x="330" y="130"/>
                  <a:pt x="329" y="130"/>
                  <a:pt x="330" y="129"/>
                </a:cubicBezTo>
                <a:cubicBezTo>
                  <a:pt x="330" y="129"/>
                  <a:pt x="331" y="130"/>
                  <a:pt x="331" y="130"/>
                </a:cubicBezTo>
                <a:cubicBezTo>
                  <a:pt x="331" y="130"/>
                  <a:pt x="332" y="130"/>
                  <a:pt x="332" y="130"/>
                </a:cubicBezTo>
                <a:cubicBezTo>
                  <a:pt x="333" y="130"/>
                  <a:pt x="332" y="131"/>
                  <a:pt x="332" y="131"/>
                </a:cubicBezTo>
                <a:cubicBezTo>
                  <a:pt x="332" y="131"/>
                  <a:pt x="332" y="131"/>
                  <a:pt x="331" y="131"/>
                </a:cubicBezTo>
                <a:cubicBezTo>
                  <a:pt x="331" y="131"/>
                  <a:pt x="331" y="131"/>
                  <a:pt x="331" y="131"/>
                </a:cubicBezTo>
                <a:cubicBezTo>
                  <a:pt x="330" y="131"/>
                  <a:pt x="330" y="132"/>
                  <a:pt x="330" y="132"/>
                </a:cubicBezTo>
                <a:cubicBezTo>
                  <a:pt x="331" y="132"/>
                  <a:pt x="331" y="131"/>
                  <a:pt x="332" y="131"/>
                </a:cubicBezTo>
                <a:cubicBezTo>
                  <a:pt x="332" y="131"/>
                  <a:pt x="332" y="131"/>
                  <a:pt x="332" y="131"/>
                </a:cubicBezTo>
                <a:cubicBezTo>
                  <a:pt x="332" y="131"/>
                  <a:pt x="333" y="130"/>
                  <a:pt x="334" y="131"/>
                </a:cubicBezTo>
                <a:cubicBezTo>
                  <a:pt x="334" y="131"/>
                  <a:pt x="335" y="130"/>
                  <a:pt x="335" y="130"/>
                </a:cubicBezTo>
                <a:cubicBezTo>
                  <a:pt x="335" y="130"/>
                  <a:pt x="335" y="131"/>
                  <a:pt x="335" y="131"/>
                </a:cubicBezTo>
                <a:close/>
                <a:moveTo>
                  <a:pt x="314" y="139"/>
                </a:moveTo>
                <a:cubicBezTo>
                  <a:pt x="313" y="138"/>
                  <a:pt x="311" y="138"/>
                  <a:pt x="310" y="139"/>
                </a:cubicBezTo>
                <a:cubicBezTo>
                  <a:pt x="310" y="139"/>
                  <a:pt x="311" y="139"/>
                  <a:pt x="311" y="139"/>
                </a:cubicBezTo>
                <a:cubicBezTo>
                  <a:pt x="312" y="139"/>
                  <a:pt x="312" y="138"/>
                  <a:pt x="313" y="139"/>
                </a:cubicBezTo>
                <a:cubicBezTo>
                  <a:pt x="313" y="139"/>
                  <a:pt x="313" y="139"/>
                  <a:pt x="313" y="139"/>
                </a:cubicBezTo>
                <a:cubicBezTo>
                  <a:pt x="313" y="139"/>
                  <a:pt x="314" y="139"/>
                  <a:pt x="314" y="139"/>
                </a:cubicBezTo>
                <a:close/>
                <a:moveTo>
                  <a:pt x="468" y="150"/>
                </a:moveTo>
                <a:cubicBezTo>
                  <a:pt x="468" y="149"/>
                  <a:pt x="469" y="149"/>
                  <a:pt x="469" y="149"/>
                </a:cubicBezTo>
                <a:cubicBezTo>
                  <a:pt x="469" y="149"/>
                  <a:pt x="469" y="149"/>
                  <a:pt x="469" y="148"/>
                </a:cubicBezTo>
                <a:cubicBezTo>
                  <a:pt x="468" y="149"/>
                  <a:pt x="468" y="149"/>
                  <a:pt x="467" y="149"/>
                </a:cubicBezTo>
                <a:cubicBezTo>
                  <a:pt x="466" y="149"/>
                  <a:pt x="467" y="149"/>
                  <a:pt x="467" y="149"/>
                </a:cubicBezTo>
                <a:cubicBezTo>
                  <a:pt x="467" y="149"/>
                  <a:pt x="466" y="149"/>
                  <a:pt x="466" y="149"/>
                </a:cubicBezTo>
                <a:cubicBezTo>
                  <a:pt x="465" y="149"/>
                  <a:pt x="465" y="150"/>
                  <a:pt x="464" y="150"/>
                </a:cubicBezTo>
                <a:cubicBezTo>
                  <a:pt x="464" y="150"/>
                  <a:pt x="463" y="150"/>
                  <a:pt x="463" y="151"/>
                </a:cubicBezTo>
                <a:cubicBezTo>
                  <a:pt x="463" y="151"/>
                  <a:pt x="465" y="151"/>
                  <a:pt x="465" y="150"/>
                </a:cubicBezTo>
                <a:cubicBezTo>
                  <a:pt x="466" y="150"/>
                  <a:pt x="466" y="150"/>
                  <a:pt x="467" y="150"/>
                </a:cubicBezTo>
                <a:cubicBezTo>
                  <a:pt x="467" y="150"/>
                  <a:pt x="468" y="150"/>
                  <a:pt x="468" y="150"/>
                </a:cubicBezTo>
                <a:close/>
                <a:moveTo>
                  <a:pt x="461" y="135"/>
                </a:moveTo>
                <a:cubicBezTo>
                  <a:pt x="461" y="135"/>
                  <a:pt x="462" y="135"/>
                  <a:pt x="461" y="136"/>
                </a:cubicBezTo>
                <a:cubicBezTo>
                  <a:pt x="461" y="136"/>
                  <a:pt x="462" y="136"/>
                  <a:pt x="462" y="136"/>
                </a:cubicBezTo>
                <a:cubicBezTo>
                  <a:pt x="463" y="136"/>
                  <a:pt x="464" y="135"/>
                  <a:pt x="465" y="135"/>
                </a:cubicBezTo>
                <a:cubicBezTo>
                  <a:pt x="465" y="135"/>
                  <a:pt x="465" y="134"/>
                  <a:pt x="465" y="134"/>
                </a:cubicBezTo>
                <a:cubicBezTo>
                  <a:pt x="465" y="134"/>
                  <a:pt x="465" y="134"/>
                  <a:pt x="465" y="134"/>
                </a:cubicBezTo>
                <a:cubicBezTo>
                  <a:pt x="465" y="133"/>
                  <a:pt x="465" y="133"/>
                  <a:pt x="464" y="133"/>
                </a:cubicBezTo>
                <a:cubicBezTo>
                  <a:pt x="465" y="133"/>
                  <a:pt x="465" y="133"/>
                  <a:pt x="466" y="132"/>
                </a:cubicBezTo>
                <a:cubicBezTo>
                  <a:pt x="465" y="132"/>
                  <a:pt x="466" y="132"/>
                  <a:pt x="466" y="132"/>
                </a:cubicBezTo>
                <a:cubicBezTo>
                  <a:pt x="467" y="133"/>
                  <a:pt x="467" y="133"/>
                  <a:pt x="467" y="134"/>
                </a:cubicBezTo>
                <a:cubicBezTo>
                  <a:pt x="468" y="134"/>
                  <a:pt x="468" y="135"/>
                  <a:pt x="468" y="135"/>
                </a:cubicBezTo>
                <a:cubicBezTo>
                  <a:pt x="469" y="135"/>
                  <a:pt x="470" y="135"/>
                  <a:pt x="470" y="135"/>
                </a:cubicBezTo>
                <a:cubicBezTo>
                  <a:pt x="471" y="135"/>
                  <a:pt x="471" y="134"/>
                  <a:pt x="471" y="134"/>
                </a:cubicBezTo>
                <a:cubicBezTo>
                  <a:pt x="472" y="133"/>
                  <a:pt x="472" y="133"/>
                  <a:pt x="472" y="132"/>
                </a:cubicBezTo>
                <a:cubicBezTo>
                  <a:pt x="473" y="132"/>
                  <a:pt x="470" y="132"/>
                  <a:pt x="470" y="133"/>
                </a:cubicBezTo>
                <a:cubicBezTo>
                  <a:pt x="470" y="132"/>
                  <a:pt x="469" y="132"/>
                  <a:pt x="469" y="132"/>
                </a:cubicBezTo>
                <a:cubicBezTo>
                  <a:pt x="469" y="132"/>
                  <a:pt x="469" y="132"/>
                  <a:pt x="469" y="132"/>
                </a:cubicBezTo>
                <a:cubicBezTo>
                  <a:pt x="470" y="132"/>
                  <a:pt x="469" y="131"/>
                  <a:pt x="469" y="131"/>
                </a:cubicBezTo>
                <a:cubicBezTo>
                  <a:pt x="469" y="131"/>
                  <a:pt x="469" y="131"/>
                  <a:pt x="469" y="131"/>
                </a:cubicBezTo>
                <a:cubicBezTo>
                  <a:pt x="468" y="131"/>
                  <a:pt x="468" y="131"/>
                  <a:pt x="468" y="130"/>
                </a:cubicBezTo>
                <a:cubicBezTo>
                  <a:pt x="468" y="130"/>
                  <a:pt x="467" y="130"/>
                  <a:pt x="467" y="130"/>
                </a:cubicBezTo>
                <a:cubicBezTo>
                  <a:pt x="467" y="130"/>
                  <a:pt x="468" y="130"/>
                  <a:pt x="468" y="130"/>
                </a:cubicBezTo>
                <a:cubicBezTo>
                  <a:pt x="469" y="130"/>
                  <a:pt x="469" y="131"/>
                  <a:pt x="470" y="131"/>
                </a:cubicBezTo>
                <a:cubicBezTo>
                  <a:pt x="471" y="132"/>
                  <a:pt x="472" y="132"/>
                  <a:pt x="473" y="131"/>
                </a:cubicBezTo>
                <a:cubicBezTo>
                  <a:pt x="473" y="131"/>
                  <a:pt x="472" y="131"/>
                  <a:pt x="472" y="130"/>
                </a:cubicBezTo>
                <a:cubicBezTo>
                  <a:pt x="472" y="130"/>
                  <a:pt x="472" y="130"/>
                  <a:pt x="473" y="130"/>
                </a:cubicBezTo>
                <a:cubicBezTo>
                  <a:pt x="473" y="130"/>
                  <a:pt x="473" y="131"/>
                  <a:pt x="473" y="131"/>
                </a:cubicBezTo>
                <a:cubicBezTo>
                  <a:pt x="473" y="130"/>
                  <a:pt x="476" y="130"/>
                  <a:pt x="474" y="129"/>
                </a:cubicBezTo>
                <a:cubicBezTo>
                  <a:pt x="474" y="129"/>
                  <a:pt x="475" y="129"/>
                  <a:pt x="475" y="129"/>
                </a:cubicBezTo>
                <a:cubicBezTo>
                  <a:pt x="474" y="128"/>
                  <a:pt x="473" y="129"/>
                  <a:pt x="473" y="128"/>
                </a:cubicBezTo>
                <a:cubicBezTo>
                  <a:pt x="473" y="128"/>
                  <a:pt x="473" y="128"/>
                  <a:pt x="473" y="128"/>
                </a:cubicBezTo>
                <a:cubicBezTo>
                  <a:pt x="473" y="128"/>
                  <a:pt x="472" y="129"/>
                  <a:pt x="471" y="129"/>
                </a:cubicBezTo>
                <a:cubicBezTo>
                  <a:pt x="470" y="129"/>
                  <a:pt x="470" y="130"/>
                  <a:pt x="469" y="130"/>
                </a:cubicBezTo>
                <a:cubicBezTo>
                  <a:pt x="469" y="130"/>
                  <a:pt x="468" y="130"/>
                  <a:pt x="468" y="130"/>
                </a:cubicBezTo>
                <a:cubicBezTo>
                  <a:pt x="468" y="129"/>
                  <a:pt x="469" y="130"/>
                  <a:pt x="470" y="129"/>
                </a:cubicBezTo>
                <a:cubicBezTo>
                  <a:pt x="469" y="129"/>
                  <a:pt x="469" y="129"/>
                  <a:pt x="469" y="129"/>
                </a:cubicBezTo>
                <a:cubicBezTo>
                  <a:pt x="469" y="129"/>
                  <a:pt x="470" y="129"/>
                  <a:pt x="470" y="129"/>
                </a:cubicBezTo>
                <a:cubicBezTo>
                  <a:pt x="470" y="129"/>
                  <a:pt x="471" y="129"/>
                  <a:pt x="471" y="128"/>
                </a:cubicBezTo>
                <a:cubicBezTo>
                  <a:pt x="472" y="128"/>
                  <a:pt x="472" y="128"/>
                  <a:pt x="472" y="128"/>
                </a:cubicBezTo>
                <a:cubicBezTo>
                  <a:pt x="472" y="127"/>
                  <a:pt x="471" y="127"/>
                  <a:pt x="471" y="127"/>
                </a:cubicBezTo>
                <a:cubicBezTo>
                  <a:pt x="471" y="126"/>
                  <a:pt x="470" y="127"/>
                  <a:pt x="469" y="127"/>
                </a:cubicBezTo>
                <a:cubicBezTo>
                  <a:pt x="469" y="127"/>
                  <a:pt x="469" y="128"/>
                  <a:pt x="468" y="128"/>
                </a:cubicBezTo>
                <a:cubicBezTo>
                  <a:pt x="468" y="128"/>
                  <a:pt x="468" y="127"/>
                  <a:pt x="468" y="127"/>
                </a:cubicBezTo>
                <a:cubicBezTo>
                  <a:pt x="467" y="127"/>
                  <a:pt x="466" y="129"/>
                  <a:pt x="466" y="129"/>
                </a:cubicBezTo>
                <a:cubicBezTo>
                  <a:pt x="466" y="129"/>
                  <a:pt x="467" y="127"/>
                  <a:pt x="467" y="127"/>
                </a:cubicBezTo>
                <a:cubicBezTo>
                  <a:pt x="466" y="127"/>
                  <a:pt x="466" y="127"/>
                  <a:pt x="466" y="127"/>
                </a:cubicBezTo>
                <a:cubicBezTo>
                  <a:pt x="466" y="128"/>
                  <a:pt x="466" y="128"/>
                  <a:pt x="465" y="128"/>
                </a:cubicBezTo>
                <a:cubicBezTo>
                  <a:pt x="465" y="128"/>
                  <a:pt x="465" y="128"/>
                  <a:pt x="464" y="128"/>
                </a:cubicBezTo>
                <a:cubicBezTo>
                  <a:pt x="463" y="129"/>
                  <a:pt x="465" y="130"/>
                  <a:pt x="465" y="131"/>
                </a:cubicBezTo>
                <a:cubicBezTo>
                  <a:pt x="464" y="131"/>
                  <a:pt x="464" y="130"/>
                  <a:pt x="464" y="130"/>
                </a:cubicBezTo>
                <a:cubicBezTo>
                  <a:pt x="464" y="130"/>
                  <a:pt x="463" y="130"/>
                  <a:pt x="463" y="130"/>
                </a:cubicBezTo>
                <a:cubicBezTo>
                  <a:pt x="463" y="130"/>
                  <a:pt x="463" y="130"/>
                  <a:pt x="463" y="130"/>
                </a:cubicBezTo>
                <a:cubicBezTo>
                  <a:pt x="463" y="130"/>
                  <a:pt x="464" y="130"/>
                  <a:pt x="464" y="129"/>
                </a:cubicBezTo>
                <a:cubicBezTo>
                  <a:pt x="464" y="129"/>
                  <a:pt x="464" y="129"/>
                  <a:pt x="464" y="129"/>
                </a:cubicBezTo>
                <a:cubicBezTo>
                  <a:pt x="463" y="128"/>
                  <a:pt x="463" y="129"/>
                  <a:pt x="463" y="129"/>
                </a:cubicBezTo>
                <a:cubicBezTo>
                  <a:pt x="463" y="129"/>
                  <a:pt x="462" y="129"/>
                  <a:pt x="462" y="129"/>
                </a:cubicBezTo>
                <a:cubicBezTo>
                  <a:pt x="462" y="130"/>
                  <a:pt x="462" y="130"/>
                  <a:pt x="461" y="130"/>
                </a:cubicBezTo>
                <a:cubicBezTo>
                  <a:pt x="462" y="130"/>
                  <a:pt x="462" y="130"/>
                  <a:pt x="462" y="130"/>
                </a:cubicBezTo>
                <a:cubicBezTo>
                  <a:pt x="462" y="130"/>
                  <a:pt x="461" y="131"/>
                  <a:pt x="461" y="131"/>
                </a:cubicBezTo>
                <a:cubicBezTo>
                  <a:pt x="462" y="131"/>
                  <a:pt x="462" y="131"/>
                  <a:pt x="462" y="131"/>
                </a:cubicBezTo>
                <a:cubicBezTo>
                  <a:pt x="462" y="131"/>
                  <a:pt x="461" y="131"/>
                  <a:pt x="461" y="131"/>
                </a:cubicBezTo>
                <a:cubicBezTo>
                  <a:pt x="462" y="131"/>
                  <a:pt x="462" y="131"/>
                  <a:pt x="462" y="132"/>
                </a:cubicBezTo>
                <a:cubicBezTo>
                  <a:pt x="462" y="132"/>
                  <a:pt x="462" y="132"/>
                  <a:pt x="462" y="132"/>
                </a:cubicBezTo>
                <a:cubicBezTo>
                  <a:pt x="462" y="132"/>
                  <a:pt x="463" y="132"/>
                  <a:pt x="462" y="133"/>
                </a:cubicBezTo>
                <a:cubicBezTo>
                  <a:pt x="462" y="133"/>
                  <a:pt x="462" y="133"/>
                  <a:pt x="462" y="133"/>
                </a:cubicBezTo>
                <a:cubicBezTo>
                  <a:pt x="462" y="133"/>
                  <a:pt x="463" y="133"/>
                  <a:pt x="463" y="133"/>
                </a:cubicBezTo>
                <a:cubicBezTo>
                  <a:pt x="463" y="133"/>
                  <a:pt x="462" y="134"/>
                  <a:pt x="462" y="133"/>
                </a:cubicBezTo>
                <a:cubicBezTo>
                  <a:pt x="461" y="133"/>
                  <a:pt x="463" y="135"/>
                  <a:pt x="462" y="135"/>
                </a:cubicBezTo>
                <a:cubicBezTo>
                  <a:pt x="462" y="135"/>
                  <a:pt x="462" y="134"/>
                  <a:pt x="461" y="135"/>
                </a:cubicBezTo>
                <a:close/>
                <a:moveTo>
                  <a:pt x="459" y="158"/>
                </a:moveTo>
                <a:cubicBezTo>
                  <a:pt x="460" y="158"/>
                  <a:pt x="461" y="158"/>
                  <a:pt x="461" y="158"/>
                </a:cubicBezTo>
                <a:cubicBezTo>
                  <a:pt x="461" y="157"/>
                  <a:pt x="461" y="157"/>
                  <a:pt x="460" y="158"/>
                </a:cubicBezTo>
                <a:cubicBezTo>
                  <a:pt x="461" y="157"/>
                  <a:pt x="461" y="157"/>
                  <a:pt x="461" y="157"/>
                </a:cubicBezTo>
                <a:cubicBezTo>
                  <a:pt x="461" y="157"/>
                  <a:pt x="460" y="157"/>
                  <a:pt x="460" y="157"/>
                </a:cubicBezTo>
                <a:cubicBezTo>
                  <a:pt x="460" y="157"/>
                  <a:pt x="460" y="157"/>
                  <a:pt x="460" y="158"/>
                </a:cubicBezTo>
                <a:cubicBezTo>
                  <a:pt x="459" y="158"/>
                  <a:pt x="459" y="158"/>
                  <a:pt x="459" y="158"/>
                </a:cubicBezTo>
                <a:cubicBezTo>
                  <a:pt x="458" y="158"/>
                  <a:pt x="459" y="158"/>
                  <a:pt x="459" y="158"/>
                </a:cubicBezTo>
                <a:close/>
                <a:moveTo>
                  <a:pt x="475" y="157"/>
                </a:moveTo>
                <a:cubicBezTo>
                  <a:pt x="475" y="158"/>
                  <a:pt x="476" y="157"/>
                  <a:pt x="476" y="156"/>
                </a:cubicBezTo>
                <a:cubicBezTo>
                  <a:pt x="477" y="156"/>
                  <a:pt x="477" y="156"/>
                  <a:pt x="477" y="155"/>
                </a:cubicBezTo>
                <a:cubicBezTo>
                  <a:pt x="477" y="155"/>
                  <a:pt x="478" y="155"/>
                  <a:pt x="478" y="155"/>
                </a:cubicBezTo>
                <a:cubicBezTo>
                  <a:pt x="478" y="155"/>
                  <a:pt x="477" y="155"/>
                  <a:pt x="477" y="156"/>
                </a:cubicBezTo>
                <a:cubicBezTo>
                  <a:pt x="477" y="156"/>
                  <a:pt x="477" y="156"/>
                  <a:pt x="476" y="157"/>
                </a:cubicBezTo>
                <a:cubicBezTo>
                  <a:pt x="477" y="157"/>
                  <a:pt x="478" y="156"/>
                  <a:pt x="478" y="156"/>
                </a:cubicBezTo>
                <a:cubicBezTo>
                  <a:pt x="479" y="155"/>
                  <a:pt x="479" y="154"/>
                  <a:pt x="480" y="154"/>
                </a:cubicBezTo>
                <a:cubicBezTo>
                  <a:pt x="479" y="154"/>
                  <a:pt x="479" y="155"/>
                  <a:pt x="478" y="156"/>
                </a:cubicBezTo>
                <a:cubicBezTo>
                  <a:pt x="478" y="156"/>
                  <a:pt x="477" y="157"/>
                  <a:pt x="476" y="157"/>
                </a:cubicBezTo>
                <a:cubicBezTo>
                  <a:pt x="475" y="157"/>
                  <a:pt x="476" y="158"/>
                  <a:pt x="477" y="158"/>
                </a:cubicBezTo>
                <a:cubicBezTo>
                  <a:pt x="477" y="157"/>
                  <a:pt x="478" y="156"/>
                  <a:pt x="478" y="156"/>
                </a:cubicBezTo>
                <a:cubicBezTo>
                  <a:pt x="479" y="156"/>
                  <a:pt x="477" y="157"/>
                  <a:pt x="477" y="157"/>
                </a:cubicBezTo>
                <a:cubicBezTo>
                  <a:pt x="477" y="158"/>
                  <a:pt x="476" y="158"/>
                  <a:pt x="477" y="158"/>
                </a:cubicBezTo>
                <a:cubicBezTo>
                  <a:pt x="477" y="159"/>
                  <a:pt x="479" y="158"/>
                  <a:pt x="479" y="157"/>
                </a:cubicBezTo>
                <a:cubicBezTo>
                  <a:pt x="479" y="157"/>
                  <a:pt x="480" y="157"/>
                  <a:pt x="480" y="156"/>
                </a:cubicBezTo>
                <a:cubicBezTo>
                  <a:pt x="480" y="156"/>
                  <a:pt x="480" y="156"/>
                  <a:pt x="480" y="156"/>
                </a:cubicBezTo>
                <a:cubicBezTo>
                  <a:pt x="481" y="156"/>
                  <a:pt x="481" y="156"/>
                  <a:pt x="481" y="155"/>
                </a:cubicBezTo>
                <a:cubicBezTo>
                  <a:pt x="482" y="155"/>
                  <a:pt x="482" y="155"/>
                  <a:pt x="483" y="154"/>
                </a:cubicBezTo>
                <a:cubicBezTo>
                  <a:pt x="483" y="153"/>
                  <a:pt x="484" y="152"/>
                  <a:pt x="484" y="151"/>
                </a:cubicBezTo>
                <a:cubicBezTo>
                  <a:pt x="484" y="150"/>
                  <a:pt x="483" y="151"/>
                  <a:pt x="482" y="151"/>
                </a:cubicBezTo>
                <a:cubicBezTo>
                  <a:pt x="482" y="151"/>
                  <a:pt x="479" y="151"/>
                  <a:pt x="481" y="152"/>
                </a:cubicBezTo>
                <a:cubicBezTo>
                  <a:pt x="480" y="152"/>
                  <a:pt x="479" y="151"/>
                  <a:pt x="479" y="152"/>
                </a:cubicBezTo>
                <a:cubicBezTo>
                  <a:pt x="479" y="152"/>
                  <a:pt x="480" y="152"/>
                  <a:pt x="480" y="152"/>
                </a:cubicBezTo>
                <a:cubicBezTo>
                  <a:pt x="480" y="153"/>
                  <a:pt x="478" y="152"/>
                  <a:pt x="478" y="153"/>
                </a:cubicBezTo>
                <a:cubicBezTo>
                  <a:pt x="478" y="153"/>
                  <a:pt x="479" y="153"/>
                  <a:pt x="479" y="153"/>
                </a:cubicBezTo>
                <a:cubicBezTo>
                  <a:pt x="479" y="153"/>
                  <a:pt x="478" y="153"/>
                  <a:pt x="477" y="153"/>
                </a:cubicBezTo>
                <a:cubicBezTo>
                  <a:pt x="477" y="154"/>
                  <a:pt x="477" y="154"/>
                  <a:pt x="477" y="154"/>
                </a:cubicBezTo>
                <a:cubicBezTo>
                  <a:pt x="476" y="155"/>
                  <a:pt x="473" y="155"/>
                  <a:pt x="475" y="157"/>
                </a:cubicBezTo>
                <a:close/>
                <a:moveTo>
                  <a:pt x="479" y="142"/>
                </a:moveTo>
                <a:cubicBezTo>
                  <a:pt x="478" y="142"/>
                  <a:pt x="479" y="142"/>
                  <a:pt x="478" y="142"/>
                </a:cubicBezTo>
                <a:cubicBezTo>
                  <a:pt x="478" y="143"/>
                  <a:pt x="478" y="143"/>
                  <a:pt x="477" y="144"/>
                </a:cubicBezTo>
                <a:cubicBezTo>
                  <a:pt x="477" y="144"/>
                  <a:pt x="476" y="144"/>
                  <a:pt x="476" y="144"/>
                </a:cubicBezTo>
                <a:cubicBezTo>
                  <a:pt x="476" y="144"/>
                  <a:pt x="476" y="145"/>
                  <a:pt x="476" y="145"/>
                </a:cubicBezTo>
                <a:cubicBezTo>
                  <a:pt x="477" y="145"/>
                  <a:pt x="477" y="145"/>
                  <a:pt x="477" y="145"/>
                </a:cubicBezTo>
                <a:cubicBezTo>
                  <a:pt x="477" y="145"/>
                  <a:pt x="477" y="144"/>
                  <a:pt x="478" y="144"/>
                </a:cubicBezTo>
                <a:cubicBezTo>
                  <a:pt x="478" y="144"/>
                  <a:pt x="478" y="145"/>
                  <a:pt x="478" y="144"/>
                </a:cubicBezTo>
                <a:cubicBezTo>
                  <a:pt x="479" y="144"/>
                  <a:pt x="479" y="144"/>
                  <a:pt x="480" y="144"/>
                </a:cubicBezTo>
                <a:cubicBezTo>
                  <a:pt x="480" y="144"/>
                  <a:pt x="480" y="143"/>
                  <a:pt x="480" y="143"/>
                </a:cubicBezTo>
                <a:cubicBezTo>
                  <a:pt x="479" y="143"/>
                  <a:pt x="480" y="142"/>
                  <a:pt x="479" y="142"/>
                </a:cubicBezTo>
                <a:close/>
                <a:moveTo>
                  <a:pt x="479" y="140"/>
                </a:moveTo>
                <a:cubicBezTo>
                  <a:pt x="479" y="140"/>
                  <a:pt x="478" y="140"/>
                  <a:pt x="478" y="140"/>
                </a:cubicBezTo>
                <a:cubicBezTo>
                  <a:pt x="478" y="140"/>
                  <a:pt x="477" y="140"/>
                  <a:pt x="477" y="140"/>
                </a:cubicBezTo>
                <a:cubicBezTo>
                  <a:pt x="477" y="140"/>
                  <a:pt x="477" y="140"/>
                  <a:pt x="477" y="140"/>
                </a:cubicBezTo>
                <a:cubicBezTo>
                  <a:pt x="478" y="140"/>
                  <a:pt x="477" y="140"/>
                  <a:pt x="477" y="140"/>
                </a:cubicBezTo>
                <a:cubicBezTo>
                  <a:pt x="476" y="139"/>
                  <a:pt x="475" y="139"/>
                  <a:pt x="474" y="139"/>
                </a:cubicBezTo>
                <a:cubicBezTo>
                  <a:pt x="474" y="139"/>
                  <a:pt x="473" y="139"/>
                  <a:pt x="472" y="140"/>
                </a:cubicBezTo>
                <a:cubicBezTo>
                  <a:pt x="472" y="140"/>
                  <a:pt x="473" y="141"/>
                  <a:pt x="473" y="141"/>
                </a:cubicBezTo>
                <a:cubicBezTo>
                  <a:pt x="473" y="141"/>
                  <a:pt x="472" y="141"/>
                  <a:pt x="472" y="141"/>
                </a:cubicBezTo>
                <a:cubicBezTo>
                  <a:pt x="472" y="141"/>
                  <a:pt x="472" y="141"/>
                  <a:pt x="472" y="141"/>
                </a:cubicBezTo>
                <a:cubicBezTo>
                  <a:pt x="472" y="142"/>
                  <a:pt x="472" y="141"/>
                  <a:pt x="472" y="142"/>
                </a:cubicBezTo>
                <a:cubicBezTo>
                  <a:pt x="472" y="142"/>
                  <a:pt x="473" y="141"/>
                  <a:pt x="473" y="141"/>
                </a:cubicBezTo>
                <a:cubicBezTo>
                  <a:pt x="473" y="142"/>
                  <a:pt x="472" y="142"/>
                  <a:pt x="471" y="143"/>
                </a:cubicBezTo>
                <a:cubicBezTo>
                  <a:pt x="471" y="143"/>
                  <a:pt x="471" y="144"/>
                  <a:pt x="470" y="144"/>
                </a:cubicBezTo>
                <a:cubicBezTo>
                  <a:pt x="471" y="144"/>
                  <a:pt x="469" y="146"/>
                  <a:pt x="470" y="146"/>
                </a:cubicBezTo>
                <a:cubicBezTo>
                  <a:pt x="470" y="145"/>
                  <a:pt x="471" y="145"/>
                  <a:pt x="471" y="145"/>
                </a:cubicBezTo>
                <a:cubicBezTo>
                  <a:pt x="472" y="145"/>
                  <a:pt x="472" y="145"/>
                  <a:pt x="472" y="145"/>
                </a:cubicBezTo>
                <a:cubicBezTo>
                  <a:pt x="472" y="145"/>
                  <a:pt x="473" y="145"/>
                  <a:pt x="473" y="145"/>
                </a:cubicBezTo>
                <a:cubicBezTo>
                  <a:pt x="473" y="145"/>
                  <a:pt x="476" y="144"/>
                  <a:pt x="475" y="144"/>
                </a:cubicBezTo>
                <a:cubicBezTo>
                  <a:pt x="476" y="144"/>
                  <a:pt x="475" y="143"/>
                  <a:pt x="474" y="143"/>
                </a:cubicBezTo>
                <a:cubicBezTo>
                  <a:pt x="475" y="143"/>
                  <a:pt x="475" y="143"/>
                  <a:pt x="476" y="142"/>
                </a:cubicBezTo>
                <a:cubicBezTo>
                  <a:pt x="475" y="143"/>
                  <a:pt x="475" y="142"/>
                  <a:pt x="476" y="142"/>
                </a:cubicBezTo>
                <a:cubicBezTo>
                  <a:pt x="476" y="141"/>
                  <a:pt x="476" y="142"/>
                  <a:pt x="476" y="142"/>
                </a:cubicBezTo>
                <a:cubicBezTo>
                  <a:pt x="476" y="142"/>
                  <a:pt x="475" y="144"/>
                  <a:pt x="476" y="144"/>
                </a:cubicBezTo>
                <a:cubicBezTo>
                  <a:pt x="477" y="143"/>
                  <a:pt x="477" y="143"/>
                  <a:pt x="478" y="142"/>
                </a:cubicBezTo>
                <a:cubicBezTo>
                  <a:pt x="478" y="142"/>
                  <a:pt x="479" y="142"/>
                  <a:pt x="479" y="141"/>
                </a:cubicBezTo>
                <a:cubicBezTo>
                  <a:pt x="480" y="141"/>
                  <a:pt x="480" y="140"/>
                  <a:pt x="479" y="140"/>
                </a:cubicBezTo>
                <a:close/>
                <a:moveTo>
                  <a:pt x="459" y="147"/>
                </a:moveTo>
                <a:cubicBezTo>
                  <a:pt x="460" y="147"/>
                  <a:pt x="460" y="146"/>
                  <a:pt x="461" y="146"/>
                </a:cubicBezTo>
                <a:cubicBezTo>
                  <a:pt x="461" y="145"/>
                  <a:pt x="462" y="145"/>
                  <a:pt x="462" y="145"/>
                </a:cubicBezTo>
                <a:cubicBezTo>
                  <a:pt x="462" y="145"/>
                  <a:pt x="462" y="144"/>
                  <a:pt x="463" y="144"/>
                </a:cubicBezTo>
                <a:cubicBezTo>
                  <a:pt x="463" y="144"/>
                  <a:pt x="463" y="144"/>
                  <a:pt x="462" y="144"/>
                </a:cubicBezTo>
                <a:cubicBezTo>
                  <a:pt x="464" y="144"/>
                  <a:pt x="464" y="143"/>
                  <a:pt x="465" y="141"/>
                </a:cubicBezTo>
                <a:cubicBezTo>
                  <a:pt x="466" y="141"/>
                  <a:pt x="466" y="140"/>
                  <a:pt x="467" y="139"/>
                </a:cubicBezTo>
                <a:cubicBezTo>
                  <a:pt x="467" y="139"/>
                  <a:pt x="467" y="139"/>
                  <a:pt x="467" y="138"/>
                </a:cubicBezTo>
                <a:cubicBezTo>
                  <a:pt x="467" y="138"/>
                  <a:pt x="467" y="138"/>
                  <a:pt x="468" y="138"/>
                </a:cubicBezTo>
                <a:cubicBezTo>
                  <a:pt x="468" y="138"/>
                  <a:pt x="468" y="137"/>
                  <a:pt x="468" y="137"/>
                </a:cubicBezTo>
                <a:cubicBezTo>
                  <a:pt x="467" y="137"/>
                  <a:pt x="468" y="137"/>
                  <a:pt x="467" y="137"/>
                </a:cubicBezTo>
                <a:cubicBezTo>
                  <a:pt x="467" y="137"/>
                  <a:pt x="468" y="136"/>
                  <a:pt x="468" y="136"/>
                </a:cubicBezTo>
                <a:cubicBezTo>
                  <a:pt x="468" y="136"/>
                  <a:pt x="468" y="136"/>
                  <a:pt x="468" y="136"/>
                </a:cubicBezTo>
                <a:cubicBezTo>
                  <a:pt x="468" y="135"/>
                  <a:pt x="467" y="135"/>
                  <a:pt x="467" y="135"/>
                </a:cubicBezTo>
                <a:cubicBezTo>
                  <a:pt x="467" y="135"/>
                  <a:pt x="468" y="135"/>
                  <a:pt x="467" y="135"/>
                </a:cubicBezTo>
                <a:cubicBezTo>
                  <a:pt x="467" y="135"/>
                  <a:pt x="466" y="135"/>
                  <a:pt x="465" y="135"/>
                </a:cubicBezTo>
                <a:cubicBezTo>
                  <a:pt x="466" y="135"/>
                  <a:pt x="467" y="135"/>
                  <a:pt x="467" y="135"/>
                </a:cubicBezTo>
                <a:cubicBezTo>
                  <a:pt x="467" y="134"/>
                  <a:pt x="467" y="134"/>
                  <a:pt x="466" y="134"/>
                </a:cubicBezTo>
                <a:cubicBezTo>
                  <a:pt x="466" y="134"/>
                  <a:pt x="465" y="135"/>
                  <a:pt x="465" y="135"/>
                </a:cubicBezTo>
                <a:cubicBezTo>
                  <a:pt x="464" y="135"/>
                  <a:pt x="464" y="135"/>
                  <a:pt x="463" y="136"/>
                </a:cubicBezTo>
                <a:cubicBezTo>
                  <a:pt x="464" y="136"/>
                  <a:pt x="464" y="136"/>
                  <a:pt x="463" y="136"/>
                </a:cubicBezTo>
                <a:cubicBezTo>
                  <a:pt x="462" y="136"/>
                  <a:pt x="462" y="137"/>
                  <a:pt x="462" y="137"/>
                </a:cubicBezTo>
                <a:cubicBezTo>
                  <a:pt x="463" y="137"/>
                  <a:pt x="463" y="137"/>
                  <a:pt x="464" y="137"/>
                </a:cubicBezTo>
                <a:cubicBezTo>
                  <a:pt x="464" y="138"/>
                  <a:pt x="463" y="138"/>
                  <a:pt x="462" y="138"/>
                </a:cubicBezTo>
                <a:cubicBezTo>
                  <a:pt x="462" y="138"/>
                  <a:pt x="464" y="138"/>
                  <a:pt x="464" y="138"/>
                </a:cubicBezTo>
                <a:cubicBezTo>
                  <a:pt x="463" y="138"/>
                  <a:pt x="461" y="138"/>
                  <a:pt x="462" y="139"/>
                </a:cubicBezTo>
                <a:cubicBezTo>
                  <a:pt x="462" y="139"/>
                  <a:pt x="463" y="139"/>
                  <a:pt x="463" y="139"/>
                </a:cubicBezTo>
                <a:cubicBezTo>
                  <a:pt x="463" y="140"/>
                  <a:pt x="461" y="140"/>
                  <a:pt x="461" y="140"/>
                </a:cubicBezTo>
                <a:cubicBezTo>
                  <a:pt x="461" y="141"/>
                  <a:pt x="460" y="141"/>
                  <a:pt x="460" y="141"/>
                </a:cubicBezTo>
                <a:cubicBezTo>
                  <a:pt x="460" y="141"/>
                  <a:pt x="459" y="142"/>
                  <a:pt x="460" y="142"/>
                </a:cubicBezTo>
                <a:cubicBezTo>
                  <a:pt x="460" y="142"/>
                  <a:pt x="460" y="142"/>
                  <a:pt x="460" y="142"/>
                </a:cubicBezTo>
                <a:cubicBezTo>
                  <a:pt x="460" y="142"/>
                  <a:pt x="461" y="141"/>
                  <a:pt x="461" y="141"/>
                </a:cubicBezTo>
                <a:cubicBezTo>
                  <a:pt x="461" y="142"/>
                  <a:pt x="461" y="142"/>
                  <a:pt x="460" y="142"/>
                </a:cubicBezTo>
                <a:cubicBezTo>
                  <a:pt x="460" y="142"/>
                  <a:pt x="460" y="143"/>
                  <a:pt x="459" y="143"/>
                </a:cubicBezTo>
                <a:cubicBezTo>
                  <a:pt x="460" y="143"/>
                  <a:pt x="461" y="142"/>
                  <a:pt x="462" y="142"/>
                </a:cubicBezTo>
                <a:cubicBezTo>
                  <a:pt x="462" y="142"/>
                  <a:pt x="459" y="144"/>
                  <a:pt x="459" y="144"/>
                </a:cubicBezTo>
                <a:cubicBezTo>
                  <a:pt x="460" y="144"/>
                  <a:pt x="461" y="142"/>
                  <a:pt x="462" y="143"/>
                </a:cubicBezTo>
                <a:cubicBezTo>
                  <a:pt x="461" y="143"/>
                  <a:pt x="461" y="143"/>
                  <a:pt x="461" y="143"/>
                </a:cubicBezTo>
                <a:cubicBezTo>
                  <a:pt x="461" y="144"/>
                  <a:pt x="462" y="143"/>
                  <a:pt x="462" y="143"/>
                </a:cubicBezTo>
                <a:cubicBezTo>
                  <a:pt x="462" y="143"/>
                  <a:pt x="461" y="144"/>
                  <a:pt x="461" y="144"/>
                </a:cubicBezTo>
                <a:cubicBezTo>
                  <a:pt x="460" y="144"/>
                  <a:pt x="460" y="144"/>
                  <a:pt x="459" y="144"/>
                </a:cubicBezTo>
                <a:cubicBezTo>
                  <a:pt x="459" y="145"/>
                  <a:pt x="459" y="146"/>
                  <a:pt x="458" y="147"/>
                </a:cubicBezTo>
                <a:cubicBezTo>
                  <a:pt x="458" y="147"/>
                  <a:pt x="458" y="147"/>
                  <a:pt x="459" y="147"/>
                </a:cubicBezTo>
                <a:cubicBezTo>
                  <a:pt x="458" y="147"/>
                  <a:pt x="458" y="147"/>
                  <a:pt x="458" y="148"/>
                </a:cubicBezTo>
                <a:cubicBezTo>
                  <a:pt x="458" y="148"/>
                  <a:pt x="459" y="148"/>
                  <a:pt x="459" y="148"/>
                </a:cubicBezTo>
                <a:cubicBezTo>
                  <a:pt x="459" y="148"/>
                  <a:pt x="458" y="148"/>
                  <a:pt x="458" y="148"/>
                </a:cubicBezTo>
                <a:cubicBezTo>
                  <a:pt x="458" y="148"/>
                  <a:pt x="460" y="147"/>
                  <a:pt x="459" y="147"/>
                </a:cubicBezTo>
                <a:close/>
                <a:moveTo>
                  <a:pt x="471" y="141"/>
                </a:moveTo>
                <a:cubicBezTo>
                  <a:pt x="471" y="141"/>
                  <a:pt x="471" y="141"/>
                  <a:pt x="471" y="141"/>
                </a:cubicBezTo>
                <a:close/>
                <a:moveTo>
                  <a:pt x="470" y="144"/>
                </a:moveTo>
                <a:cubicBezTo>
                  <a:pt x="469" y="144"/>
                  <a:pt x="470" y="144"/>
                  <a:pt x="470" y="144"/>
                </a:cubicBezTo>
                <a:cubicBezTo>
                  <a:pt x="471" y="144"/>
                  <a:pt x="471" y="143"/>
                  <a:pt x="471" y="143"/>
                </a:cubicBezTo>
                <a:cubicBezTo>
                  <a:pt x="471" y="143"/>
                  <a:pt x="472" y="142"/>
                  <a:pt x="472" y="142"/>
                </a:cubicBezTo>
                <a:cubicBezTo>
                  <a:pt x="471" y="142"/>
                  <a:pt x="471" y="142"/>
                  <a:pt x="470" y="142"/>
                </a:cubicBezTo>
                <a:cubicBezTo>
                  <a:pt x="470" y="143"/>
                  <a:pt x="469" y="144"/>
                  <a:pt x="468" y="143"/>
                </a:cubicBezTo>
                <a:cubicBezTo>
                  <a:pt x="469" y="143"/>
                  <a:pt x="470" y="142"/>
                  <a:pt x="471" y="142"/>
                </a:cubicBezTo>
                <a:cubicBezTo>
                  <a:pt x="471" y="142"/>
                  <a:pt x="471" y="142"/>
                  <a:pt x="471" y="142"/>
                </a:cubicBezTo>
                <a:cubicBezTo>
                  <a:pt x="471" y="142"/>
                  <a:pt x="471" y="141"/>
                  <a:pt x="471" y="141"/>
                </a:cubicBezTo>
                <a:cubicBezTo>
                  <a:pt x="471" y="141"/>
                  <a:pt x="471" y="141"/>
                  <a:pt x="471" y="141"/>
                </a:cubicBezTo>
                <a:cubicBezTo>
                  <a:pt x="471" y="141"/>
                  <a:pt x="470" y="140"/>
                  <a:pt x="469" y="140"/>
                </a:cubicBezTo>
                <a:cubicBezTo>
                  <a:pt x="470" y="141"/>
                  <a:pt x="469" y="140"/>
                  <a:pt x="469" y="141"/>
                </a:cubicBezTo>
                <a:cubicBezTo>
                  <a:pt x="470" y="141"/>
                  <a:pt x="470" y="141"/>
                  <a:pt x="470" y="141"/>
                </a:cubicBezTo>
                <a:cubicBezTo>
                  <a:pt x="470" y="141"/>
                  <a:pt x="470" y="141"/>
                  <a:pt x="470" y="141"/>
                </a:cubicBezTo>
                <a:cubicBezTo>
                  <a:pt x="469" y="141"/>
                  <a:pt x="469" y="141"/>
                  <a:pt x="469" y="141"/>
                </a:cubicBezTo>
                <a:cubicBezTo>
                  <a:pt x="468" y="140"/>
                  <a:pt x="468" y="142"/>
                  <a:pt x="468" y="142"/>
                </a:cubicBezTo>
                <a:cubicBezTo>
                  <a:pt x="468" y="141"/>
                  <a:pt x="467" y="141"/>
                  <a:pt x="467" y="142"/>
                </a:cubicBezTo>
                <a:cubicBezTo>
                  <a:pt x="466" y="142"/>
                  <a:pt x="466" y="143"/>
                  <a:pt x="466" y="143"/>
                </a:cubicBezTo>
                <a:cubicBezTo>
                  <a:pt x="466" y="143"/>
                  <a:pt x="467" y="143"/>
                  <a:pt x="467" y="143"/>
                </a:cubicBezTo>
                <a:cubicBezTo>
                  <a:pt x="467" y="143"/>
                  <a:pt x="466" y="143"/>
                  <a:pt x="466" y="144"/>
                </a:cubicBezTo>
                <a:cubicBezTo>
                  <a:pt x="466" y="144"/>
                  <a:pt x="467" y="143"/>
                  <a:pt x="468" y="143"/>
                </a:cubicBezTo>
                <a:cubicBezTo>
                  <a:pt x="468" y="143"/>
                  <a:pt x="467" y="144"/>
                  <a:pt x="467" y="144"/>
                </a:cubicBezTo>
                <a:cubicBezTo>
                  <a:pt x="466" y="144"/>
                  <a:pt x="466" y="144"/>
                  <a:pt x="465" y="144"/>
                </a:cubicBezTo>
                <a:cubicBezTo>
                  <a:pt x="466" y="144"/>
                  <a:pt x="466" y="144"/>
                  <a:pt x="466" y="145"/>
                </a:cubicBezTo>
                <a:cubicBezTo>
                  <a:pt x="466" y="145"/>
                  <a:pt x="467" y="144"/>
                  <a:pt x="467" y="144"/>
                </a:cubicBezTo>
                <a:cubicBezTo>
                  <a:pt x="467" y="145"/>
                  <a:pt x="467" y="145"/>
                  <a:pt x="466" y="145"/>
                </a:cubicBezTo>
                <a:cubicBezTo>
                  <a:pt x="466" y="145"/>
                  <a:pt x="466" y="146"/>
                  <a:pt x="465" y="146"/>
                </a:cubicBezTo>
                <a:cubicBezTo>
                  <a:pt x="466" y="146"/>
                  <a:pt x="465" y="146"/>
                  <a:pt x="465" y="146"/>
                </a:cubicBezTo>
                <a:cubicBezTo>
                  <a:pt x="465" y="146"/>
                  <a:pt x="465" y="146"/>
                  <a:pt x="465" y="146"/>
                </a:cubicBezTo>
                <a:cubicBezTo>
                  <a:pt x="465" y="146"/>
                  <a:pt x="464" y="146"/>
                  <a:pt x="464" y="146"/>
                </a:cubicBezTo>
                <a:cubicBezTo>
                  <a:pt x="464" y="146"/>
                  <a:pt x="463" y="147"/>
                  <a:pt x="463" y="147"/>
                </a:cubicBezTo>
                <a:cubicBezTo>
                  <a:pt x="463" y="147"/>
                  <a:pt x="464" y="147"/>
                  <a:pt x="464" y="147"/>
                </a:cubicBezTo>
                <a:cubicBezTo>
                  <a:pt x="464" y="147"/>
                  <a:pt x="463" y="147"/>
                  <a:pt x="463" y="147"/>
                </a:cubicBezTo>
                <a:cubicBezTo>
                  <a:pt x="462" y="147"/>
                  <a:pt x="462" y="148"/>
                  <a:pt x="462" y="148"/>
                </a:cubicBezTo>
                <a:cubicBezTo>
                  <a:pt x="462" y="148"/>
                  <a:pt x="462" y="148"/>
                  <a:pt x="462" y="148"/>
                </a:cubicBezTo>
                <a:cubicBezTo>
                  <a:pt x="462" y="148"/>
                  <a:pt x="461" y="149"/>
                  <a:pt x="461" y="149"/>
                </a:cubicBezTo>
                <a:cubicBezTo>
                  <a:pt x="461" y="150"/>
                  <a:pt x="461" y="149"/>
                  <a:pt x="461" y="150"/>
                </a:cubicBezTo>
                <a:cubicBezTo>
                  <a:pt x="461" y="150"/>
                  <a:pt x="463" y="149"/>
                  <a:pt x="463" y="148"/>
                </a:cubicBezTo>
                <a:cubicBezTo>
                  <a:pt x="462" y="148"/>
                  <a:pt x="462" y="149"/>
                  <a:pt x="462" y="149"/>
                </a:cubicBezTo>
                <a:cubicBezTo>
                  <a:pt x="462" y="148"/>
                  <a:pt x="463" y="148"/>
                  <a:pt x="463" y="148"/>
                </a:cubicBezTo>
                <a:cubicBezTo>
                  <a:pt x="464" y="148"/>
                  <a:pt x="464" y="147"/>
                  <a:pt x="465" y="147"/>
                </a:cubicBezTo>
                <a:cubicBezTo>
                  <a:pt x="465" y="147"/>
                  <a:pt x="464" y="148"/>
                  <a:pt x="464" y="148"/>
                </a:cubicBezTo>
                <a:cubicBezTo>
                  <a:pt x="463" y="148"/>
                  <a:pt x="462" y="149"/>
                  <a:pt x="463" y="149"/>
                </a:cubicBezTo>
                <a:cubicBezTo>
                  <a:pt x="464" y="149"/>
                  <a:pt x="464" y="148"/>
                  <a:pt x="465" y="148"/>
                </a:cubicBezTo>
                <a:cubicBezTo>
                  <a:pt x="465" y="148"/>
                  <a:pt x="465" y="148"/>
                  <a:pt x="465" y="147"/>
                </a:cubicBezTo>
                <a:cubicBezTo>
                  <a:pt x="465" y="147"/>
                  <a:pt x="465" y="147"/>
                  <a:pt x="465" y="147"/>
                </a:cubicBezTo>
                <a:cubicBezTo>
                  <a:pt x="465" y="147"/>
                  <a:pt x="466" y="146"/>
                  <a:pt x="466" y="146"/>
                </a:cubicBezTo>
                <a:cubicBezTo>
                  <a:pt x="466" y="147"/>
                  <a:pt x="466" y="147"/>
                  <a:pt x="466" y="147"/>
                </a:cubicBezTo>
                <a:cubicBezTo>
                  <a:pt x="467" y="146"/>
                  <a:pt x="467" y="146"/>
                  <a:pt x="467" y="146"/>
                </a:cubicBezTo>
                <a:cubicBezTo>
                  <a:pt x="467" y="146"/>
                  <a:pt x="467" y="146"/>
                  <a:pt x="467" y="146"/>
                </a:cubicBezTo>
                <a:cubicBezTo>
                  <a:pt x="467" y="145"/>
                  <a:pt x="468" y="146"/>
                  <a:pt x="468" y="145"/>
                </a:cubicBezTo>
                <a:cubicBezTo>
                  <a:pt x="468" y="145"/>
                  <a:pt x="468" y="145"/>
                  <a:pt x="468" y="145"/>
                </a:cubicBezTo>
                <a:cubicBezTo>
                  <a:pt x="468" y="144"/>
                  <a:pt x="468" y="144"/>
                  <a:pt x="469" y="144"/>
                </a:cubicBezTo>
                <a:cubicBezTo>
                  <a:pt x="469" y="144"/>
                  <a:pt x="469" y="144"/>
                  <a:pt x="469" y="144"/>
                </a:cubicBezTo>
                <a:cubicBezTo>
                  <a:pt x="469" y="144"/>
                  <a:pt x="470" y="144"/>
                  <a:pt x="470" y="144"/>
                </a:cubicBezTo>
                <a:close/>
                <a:moveTo>
                  <a:pt x="477" y="149"/>
                </a:moveTo>
                <a:cubicBezTo>
                  <a:pt x="477" y="149"/>
                  <a:pt x="478" y="149"/>
                  <a:pt x="478" y="149"/>
                </a:cubicBezTo>
                <a:cubicBezTo>
                  <a:pt x="479" y="149"/>
                  <a:pt x="478" y="148"/>
                  <a:pt x="478" y="148"/>
                </a:cubicBezTo>
                <a:cubicBezTo>
                  <a:pt x="477" y="148"/>
                  <a:pt x="477" y="148"/>
                  <a:pt x="477" y="148"/>
                </a:cubicBezTo>
                <a:cubicBezTo>
                  <a:pt x="477" y="148"/>
                  <a:pt x="477" y="148"/>
                  <a:pt x="476" y="148"/>
                </a:cubicBezTo>
                <a:cubicBezTo>
                  <a:pt x="477" y="148"/>
                  <a:pt x="477" y="148"/>
                  <a:pt x="477" y="148"/>
                </a:cubicBezTo>
                <a:cubicBezTo>
                  <a:pt x="478" y="147"/>
                  <a:pt x="478" y="147"/>
                  <a:pt x="478" y="147"/>
                </a:cubicBezTo>
                <a:cubicBezTo>
                  <a:pt x="478" y="146"/>
                  <a:pt x="476" y="147"/>
                  <a:pt x="476" y="147"/>
                </a:cubicBezTo>
                <a:cubicBezTo>
                  <a:pt x="475" y="148"/>
                  <a:pt x="475" y="148"/>
                  <a:pt x="474" y="148"/>
                </a:cubicBezTo>
                <a:cubicBezTo>
                  <a:pt x="474" y="148"/>
                  <a:pt x="474" y="149"/>
                  <a:pt x="474" y="149"/>
                </a:cubicBezTo>
                <a:cubicBezTo>
                  <a:pt x="474" y="149"/>
                  <a:pt x="475" y="149"/>
                  <a:pt x="475" y="149"/>
                </a:cubicBezTo>
                <a:cubicBezTo>
                  <a:pt x="475" y="149"/>
                  <a:pt x="475" y="150"/>
                  <a:pt x="475" y="150"/>
                </a:cubicBezTo>
                <a:cubicBezTo>
                  <a:pt x="475" y="150"/>
                  <a:pt x="475" y="150"/>
                  <a:pt x="475" y="150"/>
                </a:cubicBezTo>
                <a:cubicBezTo>
                  <a:pt x="475" y="150"/>
                  <a:pt x="475" y="150"/>
                  <a:pt x="474" y="150"/>
                </a:cubicBezTo>
                <a:cubicBezTo>
                  <a:pt x="475" y="150"/>
                  <a:pt x="474" y="151"/>
                  <a:pt x="475" y="151"/>
                </a:cubicBezTo>
                <a:cubicBezTo>
                  <a:pt x="475" y="151"/>
                  <a:pt x="476" y="151"/>
                  <a:pt x="476" y="150"/>
                </a:cubicBezTo>
                <a:cubicBezTo>
                  <a:pt x="476" y="150"/>
                  <a:pt x="476" y="151"/>
                  <a:pt x="476" y="151"/>
                </a:cubicBezTo>
                <a:cubicBezTo>
                  <a:pt x="477" y="151"/>
                  <a:pt x="477" y="150"/>
                  <a:pt x="477" y="149"/>
                </a:cubicBezTo>
                <a:close/>
                <a:moveTo>
                  <a:pt x="476" y="129"/>
                </a:moveTo>
                <a:cubicBezTo>
                  <a:pt x="476" y="130"/>
                  <a:pt x="476" y="130"/>
                  <a:pt x="475" y="131"/>
                </a:cubicBezTo>
                <a:cubicBezTo>
                  <a:pt x="475" y="131"/>
                  <a:pt x="474" y="132"/>
                  <a:pt x="474" y="133"/>
                </a:cubicBezTo>
                <a:cubicBezTo>
                  <a:pt x="473" y="133"/>
                  <a:pt x="473" y="134"/>
                  <a:pt x="473" y="134"/>
                </a:cubicBezTo>
                <a:cubicBezTo>
                  <a:pt x="473" y="134"/>
                  <a:pt x="474" y="134"/>
                  <a:pt x="475" y="134"/>
                </a:cubicBezTo>
                <a:cubicBezTo>
                  <a:pt x="474" y="134"/>
                  <a:pt x="473" y="134"/>
                  <a:pt x="472" y="135"/>
                </a:cubicBezTo>
                <a:cubicBezTo>
                  <a:pt x="472" y="136"/>
                  <a:pt x="473" y="136"/>
                  <a:pt x="474" y="136"/>
                </a:cubicBezTo>
                <a:cubicBezTo>
                  <a:pt x="473" y="136"/>
                  <a:pt x="473" y="136"/>
                  <a:pt x="473" y="136"/>
                </a:cubicBezTo>
                <a:cubicBezTo>
                  <a:pt x="473" y="136"/>
                  <a:pt x="473" y="136"/>
                  <a:pt x="473" y="136"/>
                </a:cubicBezTo>
                <a:cubicBezTo>
                  <a:pt x="473" y="136"/>
                  <a:pt x="472" y="136"/>
                  <a:pt x="472" y="136"/>
                </a:cubicBezTo>
                <a:cubicBezTo>
                  <a:pt x="472" y="136"/>
                  <a:pt x="471" y="136"/>
                  <a:pt x="471" y="136"/>
                </a:cubicBezTo>
                <a:cubicBezTo>
                  <a:pt x="472" y="136"/>
                  <a:pt x="471" y="137"/>
                  <a:pt x="471" y="137"/>
                </a:cubicBezTo>
                <a:cubicBezTo>
                  <a:pt x="471" y="137"/>
                  <a:pt x="470" y="137"/>
                  <a:pt x="470" y="137"/>
                </a:cubicBezTo>
                <a:cubicBezTo>
                  <a:pt x="470" y="138"/>
                  <a:pt x="469" y="137"/>
                  <a:pt x="469" y="138"/>
                </a:cubicBezTo>
                <a:cubicBezTo>
                  <a:pt x="469" y="138"/>
                  <a:pt x="468" y="139"/>
                  <a:pt x="467" y="140"/>
                </a:cubicBezTo>
                <a:cubicBezTo>
                  <a:pt x="468" y="139"/>
                  <a:pt x="469" y="139"/>
                  <a:pt x="470" y="139"/>
                </a:cubicBezTo>
                <a:cubicBezTo>
                  <a:pt x="470" y="139"/>
                  <a:pt x="471" y="138"/>
                  <a:pt x="472" y="138"/>
                </a:cubicBezTo>
                <a:cubicBezTo>
                  <a:pt x="472" y="138"/>
                  <a:pt x="473" y="138"/>
                  <a:pt x="473" y="137"/>
                </a:cubicBezTo>
                <a:cubicBezTo>
                  <a:pt x="474" y="137"/>
                  <a:pt x="475" y="137"/>
                  <a:pt x="474" y="137"/>
                </a:cubicBezTo>
                <a:cubicBezTo>
                  <a:pt x="474" y="136"/>
                  <a:pt x="474" y="136"/>
                  <a:pt x="475" y="136"/>
                </a:cubicBezTo>
                <a:cubicBezTo>
                  <a:pt x="475" y="136"/>
                  <a:pt x="475" y="136"/>
                  <a:pt x="475" y="136"/>
                </a:cubicBezTo>
                <a:cubicBezTo>
                  <a:pt x="475" y="136"/>
                  <a:pt x="475" y="136"/>
                  <a:pt x="475" y="136"/>
                </a:cubicBezTo>
                <a:cubicBezTo>
                  <a:pt x="475" y="137"/>
                  <a:pt x="476" y="136"/>
                  <a:pt x="476" y="136"/>
                </a:cubicBezTo>
                <a:cubicBezTo>
                  <a:pt x="477" y="136"/>
                  <a:pt x="477" y="136"/>
                  <a:pt x="477" y="136"/>
                </a:cubicBezTo>
                <a:cubicBezTo>
                  <a:pt x="477" y="135"/>
                  <a:pt x="476" y="135"/>
                  <a:pt x="476" y="135"/>
                </a:cubicBezTo>
                <a:cubicBezTo>
                  <a:pt x="477" y="135"/>
                  <a:pt x="477" y="135"/>
                  <a:pt x="476" y="135"/>
                </a:cubicBezTo>
                <a:cubicBezTo>
                  <a:pt x="477" y="135"/>
                  <a:pt x="477" y="135"/>
                  <a:pt x="477" y="135"/>
                </a:cubicBezTo>
                <a:cubicBezTo>
                  <a:pt x="477" y="135"/>
                  <a:pt x="478" y="135"/>
                  <a:pt x="478" y="135"/>
                </a:cubicBezTo>
                <a:cubicBezTo>
                  <a:pt x="478" y="134"/>
                  <a:pt x="479" y="133"/>
                  <a:pt x="478" y="133"/>
                </a:cubicBezTo>
                <a:cubicBezTo>
                  <a:pt x="479" y="133"/>
                  <a:pt x="479" y="130"/>
                  <a:pt x="478" y="131"/>
                </a:cubicBezTo>
                <a:cubicBezTo>
                  <a:pt x="479" y="131"/>
                  <a:pt x="479" y="130"/>
                  <a:pt x="479" y="130"/>
                </a:cubicBezTo>
                <a:cubicBezTo>
                  <a:pt x="480" y="130"/>
                  <a:pt x="480" y="130"/>
                  <a:pt x="480" y="130"/>
                </a:cubicBezTo>
                <a:cubicBezTo>
                  <a:pt x="480" y="129"/>
                  <a:pt x="480" y="129"/>
                  <a:pt x="480" y="129"/>
                </a:cubicBezTo>
                <a:cubicBezTo>
                  <a:pt x="481" y="129"/>
                  <a:pt x="481" y="129"/>
                  <a:pt x="481" y="129"/>
                </a:cubicBezTo>
                <a:cubicBezTo>
                  <a:pt x="481" y="129"/>
                  <a:pt x="481" y="129"/>
                  <a:pt x="481" y="130"/>
                </a:cubicBezTo>
                <a:cubicBezTo>
                  <a:pt x="481" y="129"/>
                  <a:pt x="480" y="131"/>
                  <a:pt x="480" y="131"/>
                </a:cubicBezTo>
                <a:cubicBezTo>
                  <a:pt x="480" y="132"/>
                  <a:pt x="480" y="132"/>
                  <a:pt x="480" y="132"/>
                </a:cubicBezTo>
                <a:cubicBezTo>
                  <a:pt x="479" y="133"/>
                  <a:pt x="480" y="133"/>
                  <a:pt x="479" y="133"/>
                </a:cubicBezTo>
                <a:cubicBezTo>
                  <a:pt x="479" y="134"/>
                  <a:pt x="480" y="134"/>
                  <a:pt x="480" y="134"/>
                </a:cubicBezTo>
                <a:cubicBezTo>
                  <a:pt x="480" y="133"/>
                  <a:pt x="481" y="132"/>
                  <a:pt x="481" y="131"/>
                </a:cubicBezTo>
                <a:cubicBezTo>
                  <a:pt x="481" y="131"/>
                  <a:pt x="482" y="128"/>
                  <a:pt x="482" y="128"/>
                </a:cubicBezTo>
                <a:cubicBezTo>
                  <a:pt x="482" y="128"/>
                  <a:pt x="482" y="128"/>
                  <a:pt x="481" y="128"/>
                </a:cubicBezTo>
                <a:cubicBezTo>
                  <a:pt x="480" y="128"/>
                  <a:pt x="480" y="128"/>
                  <a:pt x="479" y="128"/>
                </a:cubicBezTo>
                <a:cubicBezTo>
                  <a:pt x="478" y="128"/>
                  <a:pt x="480" y="126"/>
                  <a:pt x="479" y="126"/>
                </a:cubicBezTo>
                <a:cubicBezTo>
                  <a:pt x="479" y="126"/>
                  <a:pt x="479" y="125"/>
                  <a:pt x="479" y="125"/>
                </a:cubicBezTo>
                <a:cubicBezTo>
                  <a:pt x="479" y="125"/>
                  <a:pt x="477" y="127"/>
                  <a:pt x="478" y="127"/>
                </a:cubicBezTo>
                <a:cubicBezTo>
                  <a:pt x="478" y="127"/>
                  <a:pt x="477" y="127"/>
                  <a:pt x="477" y="128"/>
                </a:cubicBezTo>
                <a:cubicBezTo>
                  <a:pt x="477" y="128"/>
                  <a:pt x="477" y="128"/>
                  <a:pt x="477" y="128"/>
                </a:cubicBezTo>
                <a:cubicBezTo>
                  <a:pt x="477" y="128"/>
                  <a:pt x="478" y="128"/>
                  <a:pt x="478" y="128"/>
                </a:cubicBezTo>
                <a:cubicBezTo>
                  <a:pt x="478" y="128"/>
                  <a:pt x="478" y="128"/>
                  <a:pt x="477" y="129"/>
                </a:cubicBezTo>
                <a:cubicBezTo>
                  <a:pt x="477" y="129"/>
                  <a:pt x="477" y="129"/>
                  <a:pt x="476" y="129"/>
                </a:cubicBezTo>
                <a:close/>
                <a:moveTo>
                  <a:pt x="478" y="135"/>
                </a:moveTo>
                <a:cubicBezTo>
                  <a:pt x="478" y="135"/>
                  <a:pt x="478" y="135"/>
                  <a:pt x="478" y="135"/>
                </a:cubicBezTo>
                <a:cubicBezTo>
                  <a:pt x="478" y="135"/>
                  <a:pt x="478" y="135"/>
                  <a:pt x="478" y="135"/>
                </a:cubicBezTo>
                <a:close/>
                <a:moveTo>
                  <a:pt x="321" y="138"/>
                </a:moveTo>
                <a:cubicBezTo>
                  <a:pt x="321" y="138"/>
                  <a:pt x="321" y="138"/>
                  <a:pt x="321" y="138"/>
                </a:cubicBezTo>
                <a:cubicBezTo>
                  <a:pt x="321" y="138"/>
                  <a:pt x="321" y="138"/>
                  <a:pt x="321" y="138"/>
                </a:cubicBezTo>
                <a:cubicBezTo>
                  <a:pt x="321" y="138"/>
                  <a:pt x="320" y="138"/>
                  <a:pt x="320" y="138"/>
                </a:cubicBezTo>
                <a:cubicBezTo>
                  <a:pt x="320" y="138"/>
                  <a:pt x="319" y="139"/>
                  <a:pt x="319" y="139"/>
                </a:cubicBezTo>
                <a:cubicBezTo>
                  <a:pt x="319" y="139"/>
                  <a:pt x="318" y="139"/>
                  <a:pt x="318" y="139"/>
                </a:cubicBezTo>
                <a:cubicBezTo>
                  <a:pt x="318" y="139"/>
                  <a:pt x="319" y="139"/>
                  <a:pt x="319" y="139"/>
                </a:cubicBezTo>
                <a:cubicBezTo>
                  <a:pt x="319" y="139"/>
                  <a:pt x="318" y="140"/>
                  <a:pt x="318" y="140"/>
                </a:cubicBezTo>
                <a:cubicBezTo>
                  <a:pt x="318" y="140"/>
                  <a:pt x="319" y="140"/>
                  <a:pt x="319" y="139"/>
                </a:cubicBezTo>
                <a:cubicBezTo>
                  <a:pt x="320" y="139"/>
                  <a:pt x="320" y="139"/>
                  <a:pt x="321" y="139"/>
                </a:cubicBezTo>
                <a:cubicBezTo>
                  <a:pt x="321" y="139"/>
                  <a:pt x="322" y="138"/>
                  <a:pt x="322" y="138"/>
                </a:cubicBezTo>
                <a:cubicBezTo>
                  <a:pt x="322" y="138"/>
                  <a:pt x="323" y="138"/>
                  <a:pt x="323" y="138"/>
                </a:cubicBezTo>
                <a:cubicBezTo>
                  <a:pt x="323" y="138"/>
                  <a:pt x="323" y="138"/>
                  <a:pt x="323" y="138"/>
                </a:cubicBezTo>
                <a:cubicBezTo>
                  <a:pt x="322" y="138"/>
                  <a:pt x="322" y="138"/>
                  <a:pt x="321" y="138"/>
                </a:cubicBezTo>
                <a:close/>
                <a:moveTo>
                  <a:pt x="177" y="171"/>
                </a:moveTo>
                <a:cubicBezTo>
                  <a:pt x="178" y="171"/>
                  <a:pt x="178" y="171"/>
                  <a:pt x="178" y="171"/>
                </a:cubicBezTo>
                <a:cubicBezTo>
                  <a:pt x="177" y="171"/>
                  <a:pt x="177" y="172"/>
                  <a:pt x="176" y="172"/>
                </a:cubicBezTo>
                <a:cubicBezTo>
                  <a:pt x="175" y="172"/>
                  <a:pt x="175" y="172"/>
                  <a:pt x="174" y="172"/>
                </a:cubicBezTo>
                <a:cubicBezTo>
                  <a:pt x="174" y="172"/>
                  <a:pt x="175" y="172"/>
                  <a:pt x="175" y="172"/>
                </a:cubicBezTo>
                <a:cubicBezTo>
                  <a:pt x="175" y="172"/>
                  <a:pt x="174" y="172"/>
                  <a:pt x="174" y="172"/>
                </a:cubicBezTo>
                <a:cubicBezTo>
                  <a:pt x="175" y="172"/>
                  <a:pt x="176" y="171"/>
                  <a:pt x="176" y="171"/>
                </a:cubicBezTo>
                <a:cubicBezTo>
                  <a:pt x="176" y="170"/>
                  <a:pt x="175" y="171"/>
                  <a:pt x="175" y="171"/>
                </a:cubicBezTo>
                <a:cubicBezTo>
                  <a:pt x="175" y="171"/>
                  <a:pt x="175" y="171"/>
                  <a:pt x="175" y="171"/>
                </a:cubicBezTo>
                <a:cubicBezTo>
                  <a:pt x="174" y="171"/>
                  <a:pt x="173" y="171"/>
                  <a:pt x="172" y="171"/>
                </a:cubicBezTo>
                <a:cubicBezTo>
                  <a:pt x="171" y="172"/>
                  <a:pt x="170" y="172"/>
                  <a:pt x="170" y="173"/>
                </a:cubicBezTo>
                <a:cubicBezTo>
                  <a:pt x="170" y="173"/>
                  <a:pt x="169" y="173"/>
                  <a:pt x="170" y="173"/>
                </a:cubicBezTo>
                <a:cubicBezTo>
                  <a:pt x="170" y="173"/>
                  <a:pt x="172" y="173"/>
                  <a:pt x="172" y="174"/>
                </a:cubicBezTo>
                <a:cubicBezTo>
                  <a:pt x="172" y="174"/>
                  <a:pt x="171" y="174"/>
                  <a:pt x="171" y="174"/>
                </a:cubicBezTo>
                <a:cubicBezTo>
                  <a:pt x="171" y="174"/>
                  <a:pt x="171" y="174"/>
                  <a:pt x="171" y="174"/>
                </a:cubicBezTo>
                <a:cubicBezTo>
                  <a:pt x="171" y="174"/>
                  <a:pt x="171" y="174"/>
                  <a:pt x="171" y="174"/>
                </a:cubicBezTo>
                <a:cubicBezTo>
                  <a:pt x="170" y="174"/>
                  <a:pt x="170" y="174"/>
                  <a:pt x="170" y="175"/>
                </a:cubicBezTo>
                <a:cubicBezTo>
                  <a:pt x="170" y="174"/>
                  <a:pt x="170" y="174"/>
                  <a:pt x="170" y="175"/>
                </a:cubicBezTo>
                <a:cubicBezTo>
                  <a:pt x="171" y="174"/>
                  <a:pt x="170" y="174"/>
                  <a:pt x="169" y="174"/>
                </a:cubicBezTo>
                <a:cubicBezTo>
                  <a:pt x="169" y="174"/>
                  <a:pt x="169" y="174"/>
                  <a:pt x="169" y="174"/>
                </a:cubicBezTo>
                <a:cubicBezTo>
                  <a:pt x="169" y="175"/>
                  <a:pt x="168" y="175"/>
                  <a:pt x="168" y="175"/>
                </a:cubicBezTo>
                <a:cubicBezTo>
                  <a:pt x="168" y="174"/>
                  <a:pt x="167" y="175"/>
                  <a:pt x="167" y="175"/>
                </a:cubicBezTo>
                <a:cubicBezTo>
                  <a:pt x="166" y="176"/>
                  <a:pt x="167" y="176"/>
                  <a:pt x="168" y="176"/>
                </a:cubicBezTo>
                <a:cubicBezTo>
                  <a:pt x="167" y="176"/>
                  <a:pt x="167" y="176"/>
                  <a:pt x="166" y="176"/>
                </a:cubicBezTo>
                <a:cubicBezTo>
                  <a:pt x="166" y="176"/>
                  <a:pt x="166" y="176"/>
                  <a:pt x="166" y="176"/>
                </a:cubicBezTo>
                <a:cubicBezTo>
                  <a:pt x="165" y="176"/>
                  <a:pt x="165" y="176"/>
                  <a:pt x="165" y="176"/>
                </a:cubicBezTo>
                <a:cubicBezTo>
                  <a:pt x="164" y="176"/>
                  <a:pt x="164" y="177"/>
                  <a:pt x="163" y="177"/>
                </a:cubicBezTo>
                <a:cubicBezTo>
                  <a:pt x="163" y="177"/>
                  <a:pt x="163" y="177"/>
                  <a:pt x="163" y="177"/>
                </a:cubicBezTo>
                <a:cubicBezTo>
                  <a:pt x="163" y="177"/>
                  <a:pt x="163" y="177"/>
                  <a:pt x="163" y="177"/>
                </a:cubicBezTo>
                <a:cubicBezTo>
                  <a:pt x="162" y="177"/>
                  <a:pt x="162" y="177"/>
                  <a:pt x="162" y="177"/>
                </a:cubicBezTo>
                <a:cubicBezTo>
                  <a:pt x="162" y="177"/>
                  <a:pt x="162" y="177"/>
                  <a:pt x="162" y="177"/>
                </a:cubicBezTo>
                <a:cubicBezTo>
                  <a:pt x="161" y="177"/>
                  <a:pt x="161" y="177"/>
                  <a:pt x="161" y="177"/>
                </a:cubicBezTo>
                <a:cubicBezTo>
                  <a:pt x="161" y="177"/>
                  <a:pt x="160" y="177"/>
                  <a:pt x="160" y="177"/>
                </a:cubicBezTo>
                <a:cubicBezTo>
                  <a:pt x="159" y="177"/>
                  <a:pt x="159" y="178"/>
                  <a:pt x="158" y="178"/>
                </a:cubicBezTo>
                <a:cubicBezTo>
                  <a:pt x="158" y="178"/>
                  <a:pt x="159" y="178"/>
                  <a:pt x="159" y="179"/>
                </a:cubicBezTo>
                <a:cubicBezTo>
                  <a:pt x="159" y="179"/>
                  <a:pt x="159" y="179"/>
                  <a:pt x="159" y="179"/>
                </a:cubicBezTo>
                <a:cubicBezTo>
                  <a:pt x="159" y="179"/>
                  <a:pt x="159" y="178"/>
                  <a:pt x="160" y="178"/>
                </a:cubicBezTo>
                <a:cubicBezTo>
                  <a:pt x="160" y="178"/>
                  <a:pt x="160" y="179"/>
                  <a:pt x="160" y="178"/>
                </a:cubicBezTo>
                <a:cubicBezTo>
                  <a:pt x="161" y="178"/>
                  <a:pt x="161" y="178"/>
                  <a:pt x="162" y="178"/>
                </a:cubicBezTo>
                <a:cubicBezTo>
                  <a:pt x="162" y="178"/>
                  <a:pt x="162" y="178"/>
                  <a:pt x="163" y="178"/>
                </a:cubicBezTo>
                <a:cubicBezTo>
                  <a:pt x="163" y="177"/>
                  <a:pt x="164" y="177"/>
                  <a:pt x="165" y="177"/>
                </a:cubicBezTo>
                <a:cubicBezTo>
                  <a:pt x="165" y="177"/>
                  <a:pt x="167" y="176"/>
                  <a:pt x="166" y="177"/>
                </a:cubicBezTo>
                <a:cubicBezTo>
                  <a:pt x="167" y="177"/>
                  <a:pt x="167" y="176"/>
                  <a:pt x="167" y="176"/>
                </a:cubicBezTo>
                <a:cubicBezTo>
                  <a:pt x="167" y="177"/>
                  <a:pt x="167" y="176"/>
                  <a:pt x="168" y="176"/>
                </a:cubicBezTo>
                <a:cubicBezTo>
                  <a:pt x="168" y="176"/>
                  <a:pt x="168" y="176"/>
                  <a:pt x="168" y="177"/>
                </a:cubicBezTo>
                <a:cubicBezTo>
                  <a:pt x="168" y="177"/>
                  <a:pt x="168" y="176"/>
                  <a:pt x="168" y="176"/>
                </a:cubicBezTo>
                <a:cubicBezTo>
                  <a:pt x="168" y="177"/>
                  <a:pt x="169" y="175"/>
                  <a:pt x="169" y="175"/>
                </a:cubicBezTo>
                <a:cubicBezTo>
                  <a:pt x="169" y="176"/>
                  <a:pt x="169" y="176"/>
                  <a:pt x="170" y="176"/>
                </a:cubicBezTo>
                <a:cubicBezTo>
                  <a:pt x="170" y="176"/>
                  <a:pt x="170" y="176"/>
                  <a:pt x="170" y="176"/>
                </a:cubicBezTo>
                <a:cubicBezTo>
                  <a:pt x="170" y="175"/>
                  <a:pt x="170" y="176"/>
                  <a:pt x="170" y="175"/>
                </a:cubicBezTo>
                <a:cubicBezTo>
                  <a:pt x="170" y="176"/>
                  <a:pt x="171" y="175"/>
                  <a:pt x="171" y="175"/>
                </a:cubicBezTo>
                <a:cubicBezTo>
                  <a:pt x="171" y="175"/>
                  <a:pt x="171" y="175"/>
                  <a:pt x="171" y="176"/>
                </a:cubicBezTo>
                <a:cubicBezTo>
                  <a:pt x="171" y="175"/>
                  <a:pt x="172" y="175"/>
                  <a:pt x="172" y="175"/>
                </a:cubicBezTo>
                <a:cubicBezTo>
                  <a:pt x="172" y="175"/>
                  <a:pt x="173" y="175"/>
                  <a:pt x="173" y="174"/>
                </a:cubicBezTo>
                <a:cubicBezTo>
                  <a:pt x="174" y="174"/>
                  <a:pt x="174" y="174"/>
                  <a:pt x="175" y="174"/>
                </a:cubicBezTo>
                <a:cubicBezTo>
                  <a:pt x="175" y="174"/>
                  <a:pt x="176" y="174"/>
                  <a:pt x="175" y="174"/>
                </a:cubicBezTo>
                <a:cubicBezTo>
                  <a:pt x="175" y="173"/>
                  <a:pt x="176" y="173"/>
                  <a:pt x="176" y="173"/>
                </a:cubicBezTo>
                <a:cubicBezTo>
                  <a:pt x="175" y="173"/>
                  <a:pt x="175" y="173"/>
                  <a:pt x="175" y="174"/>
                </a:cubicBezTo>
                <a:cubicBezTo>
                  <a:pt x="175" y="173"/>
                  <a:pt x="174" y="174"/>
                  <a:pt x="173" y="174"/>
                </a:cubicBezTo>
                <a:cubicBezTo>
                  <a:pt x="174" y="173"/>
                  <a:pt x="173" y="174"/>
                  <a:pt x="173" y="174"/>
                </a:cubicBezTo>
                <a:cubicBezTo>
                  <a:pt x="173" y="173"/>
                  <a:pt x="174" y="173"/>
                  <a:pt x="174" y="173"/>
                </a:cubicBezTo>
                <a:cubicBezTo>
                  <a:pt x="175" y="173"/>
                  <a:pt x="177" y="172"/>
                  <a:pt x="177" y="172"/>
                </a:cubicBezTo>
                <a:cubicBezTo>
                  <a:pt x="177" y="172"/>
                  <a:pt x="178" y="172"/>
                  <a:pt x="178" y="172"/>
                </a:cubicBezTo>
                <a:cubicBezTo>
                  <a:pt x="178" y="172"/>
                  <a:pt x="178" y="172"/>
                  <a:pt x="178" y="172"/>
                </a:cubicBezTo>
                <a:cubicBezTo>
                  <a:pt x="178" y="172"/>
                  <a:pt x="178" y="171"/>
                  <a:pt x="179" y="171"/>
                </a:cubicBezTo>
                <a:cubicBezTo>
                  <a:pt x="178" y="171"/>
                  <a:pt x="178" y="171"/>
                  <a:pt x="177" y="171"/>
                </a:cubicBezTo>
                <a:close/>
                <a:moveTo>
                  <a:pt x="184" y="169"/>
                </a:moveTo>
                <a:cubicBezTo>
                  <a:pt x="184" y="169"/>
                  <a:pt x="185" y="169"/>
                  <a:pt x="185" y="169"/>
                </a:cubicBezTo>
                <a:cubicBezTo>
                  <a:pt x="185" y="169"/>
                  <a:pt x="184" y="169"/>
                  <a:pt x="184" y="169"/>
                </a:cubicBezTo>
                <a:cubicBezTo>
                  <a:pt x="184" y="169"/>
                  <a:pt x="184" y="169"/>
                  <a:pt x="184" y="169"/>
                </a:cubicBezTo>
                <a:cubicBezTo>
                  <a:pt x="183" y="168"/>
                  <a:pt x="181" y="169"/>
                  <a:pt x="181" y="170"/>
                </a:cubicBezTo>
                <a:cubicBezTo>
                  <a:pt x="181" y="171"/>
                  <a:pt x="183" y="170"/>
                  <a:pt x="182" y="170"/>
                </a:cubicBezTo>
                <a:cubicBezTo>
                  <a:pt x="183" y="170"/>
                  <a:pt x="183" y="170"/>
                  <a:pt x="183" y="170"/>
                </a:cubicBezTo>
                <a:cubicBezTo>
                  <a:pt x="184" y="170"/>
                  <a:pt x="185" y="170"/>
                  <a:pt x="185" y="169"/>
                </a:cubicBezTo>
                <a:cubicBezTo>
                  <a:pt x="185" y="169"/>
                  <a:pt x="184" y="170"/>
                  <a:pt x="184" y="169"/>
                </a:cubicBezTo>
                <a:close/>
                <a:moveTo>
                  <a:pt x="138" y="182"/>
                </a:moveTo>
                <a:cubicBezTo>
                  <a:pt x="138" y="182"/>
                  <a:pt x="140" y="181"/>
                  <a:pt x="139" y="181"/>
                </a:cubicBezTo>
                <a:cubicBezTo>
                  <a:pt x="139" y="180"/>
                  <a:pt x="138" y="182"/>
                  <a:pt x="138" y="182"/>
                </a:cubicBezTo>
                <a:close/>
                <a:moveTo>
                  <a:pt x="161" y="176"/>
                </a:moveTo>
                <a:cubicBezTo>
                  <a:pt x="160" y="176"/>
                  <a:pt x="160" y="176"/>
                  <a:pt x="159" y="175"/>
                </a:cubicBezTo>
                <a:cubicBezTo>
                  <a:pt x="159" y="175"/>
                  <a:pt x="157" y="176"/>
                  <a:pt x="157" y="176"/>
                </a:cubicBezTo>
                <a:cubicBezTo>
                  <a:pt x="156" y="176"/>
                  <a:pt x="155" y="176"/>
                  <a:pt x="155" y="177"/>
                </a:cubicBezTo>
                <a:cubicBezTo>
                  <a:pt x="154" y="177"/>
                  <a:pt x="154" y="177"/>
                  <a:pt x="153" y="178"/>
                </a:cubicBezTo>
                <a:cubicBezTo>
                  <a:pt x="154" y="178"/>
                  <a:pt x="153" y="179"/>
                  <a:pt x="152" y="179"/>
                </a:cubicBezTo>
                <a:cubicBezTo>
                  <a:pt x="152" y="178"/>
                  <a:pt x="152" y="179"/>
                  <a:pt x="152" y="179"/>
                </a:cubicBezTo>
                <a:cubicBezTo>
                  <a:pt x="151" y="179"/>
                  <a:pt x="151" y="178"/>
                  <a:pt x="151" y="178"/>
                </a:cubicBezTo>
                <a:cubicBezTo>
                  <a:pt x="150" y="179"/>
                  <a:pt x="150" y="179"/>
                  <a:pt x="149" y="179"/>
                </a:cubicBezTo>
                <a:cubicBezTo>
                  <a:pt x="149" y="179"/>
                  <a:pt x="148" y="180"/>
                  <a:pt x="148" y="180"/>
                </a:cubicBezTo>
                <a:cubicBezTo>
                  <a:pt x="147" y="181"/>
                  <a:pt x="146" y="181"/>
                  <a:pt x="145" y="182"/>
                </a:cubicBezTo>
                <a:cubicBezTo>
                  <a:pt x="144" y="182"/>
                  <a:pt x="143" y="183"/>
                  <a:pt x="142" y="183"/>
                </a:cubicBezTo>
                <a:cubicBezTo>
                  <a:pt x="143" y="183"/>
                  <a:pt x="143" y="183"/>
                  <a:pt x="144" y="182"/>
                </a:cubicBezTo>
                <a:cubicBezTo>
                  <a:pt x="144" y="182"/>
                  <a:pt x="146" y="182"/>
                  <a:pt x="145" y="182"/>
                </a:cubicBezTo>
                <a:cubicBezTo>
                  <a:pt x="146" y="182"/>
                  <a:pt x="146" y="182"/>
                  <a:pt x="146" y="182"/>
                </a:cubicBezTo>
                <a:cubicBezTo>
                  <a:pt x="147" y="182"/>
                  <a:pt x="147" y="182"/>
                  <a:pt x="147" y="181"/>
                </a:cubicBezTo>
                <a:cubicBezTo>
                  <a:pt x="148" y="181"/>
                  <a:pt x="149" y="181"/>
                  <a:pt x="149" y="181"/>
                </a:cubicBezTo>
                <a:cubicBezTo>
                  <a:pt x="150" y="180"/>
                  <a:pt x="152" y="180"/>
                  <a:pt x="153" y="179"/>
                </a:cubicBezTo>
                <a:cubicBezTo>
                  <a:pt x="154" y="178"/>
                  <a:pt x="155" y="178"/>
                  <a:pt x="157" y="178"/>
                </a:cubicBezTo>
                <a:cubicBezTo>
                  <a:pt x="158" y="177"/>
                  <a:pt x="159" y="177"/>
                  <a:pt x="160" y="176"/>
                </a:cubicBezTo>
                <a:cubicBezTo>
                  <a:pt x="160" y="176"/>
                  <a:pt x="161" y="176"/>
                  <a:pt x="161" y="176"/>
                </a:cubicBezTo>
                <a:close/>
                <a:moveTo>
                  <a:pt x="474" y="158"/>
                </a:moveTo>
                <a:cubicBezTo>
                  <a:pt x="474" y="159"/>
                  <a:pt x="474" y="159"/>
                  <a:pt x="473" y="159"/>
                </a:cubicBezTo>
                <a:cubicBezTo>
                  <a:pt x="473" y="159"/>
                  <a:pt x="473" y="159"/>
                  <a:pt x="473" y="159"/>
                </a:cubicBezTo>
                <a:cubicBezTo>
                  <a:pt x="472" y="160"/>
                  <a:pt x="471" y="161"/>
                  <a:pt x="472" y="160"/>
                </a:cubicBezTo>
                <a:cubicBezTo>
                  <a:pt x="472" y="160"/>
                  <a:pt x="473" y="160"/>
                  <a:pt x="473" y="159"/>
                </a:cubicBezTo>
                <a:cubicBezTo>
                  <a:pt x="473" y="160"/>
                  <a:pt x="473" y="160"/>
                  <a:pt x="473" y="160"/>
                </a:cubicBezTo>
                <a:cubicBezTo>
                  <a:pt x="473" y="161"/>
                  <a:pt x="476" y="159"/>
                  <a:pt x="475" y="158"/>
                </a:cubicBezTo>
                <a:cubicBezTo>
                  <a:pt x="475" y="157"/>
                  <a:pt x="474" y="158"/>
                  <a:pt x="474" y="158"/>
                </a:cubicBezTo>
                <a:close/>
                <a:moveTo>
                  <a:pt x="472" y="162"/>
                </a:moveTo>
                <a:cubicBezTo>
                  <a:pt x="472" y="162"/>
                  <a:pt x="473" y="162"/>
                  <a:pt x="473" y="162"/>
                </a:cubicBezTo>
                <a:cubicBezTo>
                  <a:pt x="474" y="161"/>
                  <a:pt x="474" y="161"/>
                  <a:pt x="474" y="160"/>
                </a:cubicBezTo>
                <a:cubicBezTo>
                  <a:pt x="474" y="161"/>
                  <a:pt x="472" y="161"/>
                  <a:pt x="472" y="161"/>
                </a:cubicBezTo>
                <a:cubicBezTo>
                  <a:pt x="472" y="161"/>
                  <a:pt x="472" y="162"/>
                  <a:pt x="472" y="162"/>
                </a:cubicBezTo>
                <a:close/>
                <a:moveTo>
                  <a:pt x="244" y="159"/>
                </a:moveTo>
                <a:cubicBezTo>
                  <a:pt x="244" y="158"/>
                  <a:pt x="245" y="158"/>
                  <a:pt x="246" y="157"/>
                </a:cubicBezTo>
                <a:cubicBezTo>
                  <a:pt x="245" y="158"/>
                  <a:pt x="244" y="159"/>
                  <a:pt x="244" y="158"/>
                </a:cubicBezTo>
                <a:cubicBezTo>
                  <a:pt x="243" y="158"/>
                  <a:pt x="243" y="159"/>
                  <a:pt x="243" y="159"/>
                </a:cubicBezTo>
                <a:cubicBezTo>
                  <a:pt x="242" y="159"/>
                  <a:pt x="242" y="158"/>
                  <a:pt x="242" y="159"/>
                </a:cubicBezTo>
                <a:cubicBezTo>
                  <a:pt x="242" y="159"/>
                  <a:pt x="242" y="159"/>
                  <a:pt x="241" y="159"/>
                </a:cubicBezTo>
                <a:cubicBezTo>
                  <a:pt x="241" y="159"/>
                  <a:pt x="241" y="160"/>
                  <a:pt x="241" y="160"/>
                </a:cubicBezTo>
                <a:cubicBezTo>
                  <a:pt x="241" y="160"/>
                  <a:pt x="241" y="160"/>
                  <a:pt x="241" y="160"/>
                </a:cubicBezTo>
                <a:cubicBezTo>
                  <a:pt x="241" y="160"/>
                  <a:pt x="241" y="160"/>
                  <a:pt x="241" y="160"/>
                </a:cubicBezTo>
                <a:cubicBezTo>
                  <a:pt x="241" y="160"/>
                  <a:pt x="238" y="161"/>
                  <a:pt x="238" y="162"/>
                </a:cubicBezTo>
                <a:cubicBezTo>
                  <a:pt x="240" y="161"/>
                  <a:pt x="241" y="160"/>
                  <a:pt x="243" y="160"/>
                </a:cubicBezTo>
                <a:cubicBezTo>
                  <a:pt x="243" y="160"/>
                  <a:pt x="243" y="159"/>
                  <a:pt x="243" y="159"/>
                </a:cubicBezTo>
                <a:cubicBezTo>
                  <a:pt x="244" y="159"/>
                  <a:pt x="243" y="159"/>
                  <a:pt x="244" y="159"/>
                </a:cubicBezTo>
                <a:cubicBezTo>
                  <a:pt x="244" y="159"/>
                  <a:pt x="245" y="159"/>
                  <a:pt x="245" y="158"/>
                </a:cubicBezTo>
                <a:cubicBezTo>
                  <a:pt x="244" y="158"/>
                  <a:pt x="244" y="159"/>
                  <a:pt x="244" y="159"/>
                </a:cubicBezTo>
                <a:close/>
                <a:moveTo>
                  <a:pt x="471" y="155"/>
                </a:moveTo>
                <a:cubicBezTo>
                  <a:pt x="471" y="154"/>
                  <a:pt x="472" y="154"/>
                  <a:pt x="472" y="154"/>
                </a:cubicBezTo>
                <a:cubicBezTo>
                  <a:pt x="472" y="153"/>
                  <a:pt x="471" y="154"/>
                  <a:pt x="471" y="154"/>
                </a:cubicBezTo>
                <a:cubicBezTo>
                  <a:pt x="471" y="153"/>
                  <a:pt x="472" y="152"/>
                  <a:pt x="472" y="151"/>
                </a:cubicBezTo>
                <a:cubicBezTo>
                  <a:pt x="472" y="151"/>
                  <a:pt x="472" y="150"/>
                  <a:pt x="472" y="150"/>
                </a:cubicBezTo>
                <a:cubicBezTo>
                  <a:pt x="472" y="150"/>
                  <a:pt x="471" y="150"/>
                  <a:pt x="471" y="150"/>
                </a:cubicBezTo>
                <a:cubicBezTo>
                  <a:pt x="471" y="150"/>
                  <a:pt x="471" y="149"/>
                  <a:pt x="471" y="149"/>
                </a:cubicBezTo>
                <a:cubicBezTo>
                  <a:pt x="471" y="149"/>
                  <a:pt x="470" y="150"/>
                  <a:pt x="470" y="149"/>
                </a:cubicBezTo>
                <a:cubicBezTo>
                  <a:pt x="470" y="149"/>
                  <a:pt x="471" y="149"/>
                  <a:pt x="471" y="149"/>
                </a:cubicBezTo>
                <a:cubicBezTo>
                  <a:pt x="471" y="148"/>
                  <a:pt x="472" y="148"/>
                  <a:pt x="472" y="147"/>
                </a:cubicBezTo>
                <a:cubicBezTo>
                  <a:pt x="471" y="147"/>
                  <a:pt x="472" y="147"/>
                  <a:pt x="472" y="147"/>
                </a:cubicBezTo>
                <a:cubicBezTo>
                  <a:pt x="471" y="146"/>
                  <a:pt x="471" y="147"/>
                  <a:pt x="470" y="147"/>
                </a:cubicBezTo>
                <a:cubicBezTo>
                  <a:pt x="470" y="147"/>
                  <a:pt x="470" y="147"/>
                  <a:pt x="471" y="147"/>
                </a:cubicBezTo>
                <a:cubicBezTo>
                  <a:pt x="470" y="147"/>
                  <a:pt x="470" y="146"/>
                  <a:pt x="469" y="146"/>
                </a:cubicBezTo>
                <a:cubicBezTo>
                  <a:pt x="468" y="146"/>
                  <a:pt x="469" y="147"/>
                  <a:pt x="468" y="147"/>
                </a:cubicBezTo>
                <a:cubicBezTo>
                  <a:pt x="468" y="147"/>
                  <a:pt x="467" y="147"/>
                  <a:pt x="467" y="148"/>
                </a:cubicBezTo>
                <a:cubicBezTo>
                  <a:pt x="467" y="148"/>
                  <a:pt x="468" y="148"/>
                  <a:pt x="468" y="148"/>
                </a:cubicBezTo>
                <a:cubicBezTo>
                  <a:pt x="468" y="148"/>
                  <a:pt x="468" y="148"/>
                  <a:pt x="468" y="148"/>
                </a:cubicBezTo>
                <a:cubicBezTo>
                  <a:pt x="469" y="148"/>
                  <a:pt x="469" y="148"/>
                  <a:pt x="469" y="148"/>
                </a:cubicBezTo>
                <a:cubicBezTo>
                  <a:pt x="470" y="148"/>
                  <a:pt x="469" y="149"/>
                  <a:pt x="469" y="149"/>
                </a:cubicBezTo>
                <a:cubicBezTo>
                  <a:pt x="469" y="149"/>
                  <a:pt x="466" y="152"/>
                  <a:pt x="468" y="151"/>
                </a:cubicBezTo>
                <a:cubicBezTo>
                  <a:pt x="467" y="152"/>
                  <a:pt x="466" y="153"/>
                  <a:pt x="465" y="153"/>
                </a:cubicBezTo>
                <a:cubicBezTo>
                  <a:pt x="465" y="152"/>
                  <a:pt x="464" y="153"/>
                  <a:pt x="464" y="153"/>
                </a:cubicBezTo>
                <a:cubicBezTo>
                  <a:pt x="464" y="153"/>
                  <a:pt x="463" y="153"/>
                  <a:pt x="463" y="154"/>
                </a:cubicBezTo>
                <a:cubicBezTo>
                  <a:pt x="463" y="154"/>
                  <a:pt x="464" y="154"/>
                  <a:pt x="464" y="154"/>
                </a:cubicBezTo>
                <a:cubicBezTo>
                  <a:pt x="465" y="154"/>
                  <a:pt x="467" y="153"/>
                  <a:pt x="467" y="154"/>
                </a:cubicBezTo>
                <a:cubicBezTo>
                  <a:pt x="466" y="154"/>
                  <a:pt x="465" y="155"/>
                  <a:pt x="464" y="155"/>
                </a:cubicBezTo>
                <a:cubicBezTo>
                  <a:pt x="463" y="155"/>
                  <a:pt x="464" y="156"/>
                  <a:pt x="465" y="156"/>
                </a:cubicBezTo>
                <a:cubicBezTo>
                  <a:pt x="465" y="156"/>
                  <a:pt x="464" y="156"/>
                  <a:pt x="464" y="156"/>
                </a:cubicBezTo>
                <a:cubicBezTo>
                  <a:pt x="464" y="156"/>
                  <a:pt x="464" y="156"/>
                  <a:pt x="464" y="156"/>
                </a:cubicBezTo>
                <a:cubicBezTo>
                  <a:pt x="464" y="157"/>
                  <a:pt x="465" y="157"/>
                  <a:pt x="465" y="157"/>
                </a:cubicBezTo>
                <a:cubicBezTo>
                  <a:pt x="464" y="157"/>
                  <a:pt x="462" y="156"/>
                  <a:pt x="462" y="157"/>
                </a:cubicBezTo>
                <a:cubicBezTo>
                  <a:pt x="461" y="158"/>
                  <a:pt x="461" y="157"/>
                  <a:pt x="462" y="157"/>
                </a:cubicBezTo>
                <a:cubicBezTo>
                  <a:pt x="462" y="157"/>
                  <a:pt x="462" y="158"/>
                  <a:pt x="463" y="158"/>
                </a:cubicBezTo>
                <a:cubicBezTo>
                  <a:pt x="463" y="158"/>
                  <a:pt x="463" y="157"/>
                  <a:pt x="464" y="157"/>
                </a:cubicBezTo>
                <a:cubicBezTo>
                  <a:pt x="464" y="158"/>
                  <a:pt x="462" y="158"/>
                  <a:pt x="462" y="158"/>
                </a:cubicBezTo>
                <a:cubicBezTo>
                  <a:pt x="463" y="159"/>
                  <a:pt x="464" y="157"/>
                  <a:pt x="464" y="158"/>
                </a:cubicBezTo>
                <a:cubicBezTo>
                  <a:pt x="464" y="158"/>
                  <a:pt x="463" y="159"/>
                  <a:pt x="465" y="159"/>
                </a:cubicBezTo>
                <a:cubicBezTo>
                  <a:pt x="465" y="159"/>
                  <a:pt x="465" y="158"/>
                  <a:pt x="466" y="158"/>
                </a:cubicBezTo>
                <a:cubicBezTo>
                  <a:pt x="465" y="158"/>
                  <a:pt x="466" y="159"/>
                  <a:pt x="465" y="159"/>
                </a:cubicBezTo>
                <a:cubicBezTo>
                  <a:pt x="465" y="159"/>
                  <a:pt x="464" y="159"/>
                  <a:pt x="464" y="160"/>
                </a:cubicBezTo>
                <a:cubicBezTo>
                  <a:pt x="464" y="160"/>
                  <a:pt x="465" y="159"/>
                  <a:pt x="465" y="159"/>
                </a:cubicBezTo>
                <a:cubicBezTo>
                  <a:pt x="465" y="159"/>
                  <a:pt x="465" y="160"/>
                  <a:pt x="465" y="160"/>
                </a:cubicBezTo>
                <a:cubicBezTo>
                  <a:pt x="465" y="160"/>
                  <a:pt x="465" y="160"/>
                  <a:pt x="465" y="160"/>
                </a:cubicBezTo>
                <a:cubicBezTo>
                  <a:pt x="465" y="160"/>
                  <a:pt x="465" y="160"/>
                  <a:pt x="465" y="160"/>
                </a:cubicBezTo>
                <a:cubicBezTo>
                  <a:pt x="465" y="160"/>
                  <a:pt x="464" y="160"/>
                  <a:pt x="464" y="160"/>
                </a:cubicBezTo>
                <a:cubicBezTo>
                  <a:pt x="464" y="160"/>
                  <a:pt x="463" y="161"/>
                  <a:pt x="463" y="161"/>
                </a:cubicBezTo>
                <a:cubicBezTo>
                  <a:pt x="464" y="161"/>
                  <a:pt x="464" y="160"/>
                  <a:pt x="465" y="160"/>
                </a:cubicBezTo>
                <a:cubicBezTo>
                  <a:pt x="465" y="160"/>
                  <a:pt x="464" y="161"/>
                  <a:pt x="464" y="161"/>
                </a:cubicBezTo>
                <a:cubicBezTo>
                  <a:pt x="464" y="161"/>
                  <a:pt x="465" y="160"/>
                  <a:pt x="465" y="160"/>
                </a:cubicBezTo>
                <a:cubicBezTo>
                  <a:pt x="465" y="160"/>
                  <a:pt x="464" y="162"/>
                  <a:pt x="465" y="162"/>
                </a:cubicBezTo>
                <a:cubicBezTo>
                  <a:pt x="465" y="162"/>
                  <a:pt x="465" y="162"/>
                  <a:pt x="465" y="162"/>
                </a:cubicBezTo>
                <a:cubicBezTo>
                  <a:pt x="465" y="162"/>
                  <a:pt x="465" y="162"/>
                  <a:pt x="465" y="162"/>
                </a:cubicBezTo>
                <a:cubicBezTo>
                  <a:pt x="464" y="162"/>
                  <a:pt x="464" y="162"/>
                  <a:pt x="464" y="162"/>
                </a:cubicBezTo>
                <a:cubicBezTo>
                  <a:pt x="464" y="162"/>
                  <a:pt x="464" y="162"/>
                  <a:pt x="464" y="162"/>
                </a:cubicBezTo>
                <a:cubicBezTo>
                  <a:pt x="464" y="163"/>
                  <a:pt x="464" y="162"/>
                  <a:pt x="465" y="162"/>
                </a:cubicBezTo>
                <a:cubicBezTo>
                  <a:pt x="465" y="162"/>
                  <a:pt x="463" y="163"/>
                  <a:pt x="463" y="163"/>
                </a:cubicBezTo>
                <a:cubicBezTo>
                  <a:pt x="464" y="163"/>
                  <a:pt x="464" y="163"/>
                  <a:pt x="464" y="164"/>
                </a:cubicBezTo>
                <a:cubicBezTo>
                  <a:pt x="465" y="164"/>
                  <a:pt x="465" y="163"/>
                  <a:pt x="465" y="163"/>
                </a:cubicBezTo>
                <a:cubicBezTo>
                  <a:pt x="466" y="163"/>
                  <a:pt x="466" y="163"/>
                  <a:pt x="466" y="163"/>
                </a:cubicBezTo>
                <a:cubicBezTo>
                  <a:pt x="466" y="162"/>
                  <a:pt x="467" y="163"/>
                  <a:pt x="467" y="162"/>
                </a:cubicBezTo>
                <a:cubicBezTo>
                  <a:pt x="467" y="162"/>
                  <a:pt x="467" y="162"/>
                  <a:pt x="468" y="161"/>
                </a:cubicBezTo>
                <a:cubicBezTo>
                  <a:pt x="468" y="161"/>
                  <a:pt x="469" y="161"/>
                  <a:pt x="468" y="161"/>
                </a:cubicBezTo>
                <a:cubicBezTo>
                  <a:pt x="468" y="160"/>
                  <a:pt x="469" y="160"/>
                  <a:pt x="469" y="160"/>
                </a:cubicBezTo>
                <a:cubicBezTo>
                  <a:pt x="468" y="160"/>
                  <a:pt x="468" y="160"/>
                  <a:pt x="467" y="161"/>
                </a:cubicBezTo>
                <a:cubicBezTo>
                  <a:pt x="467" y="160"/>
                  <a:pt x="467" y="160"/>
                  <a:pt x="467" y="160"/>
                </a:cubicBezTo>
                <a:cubicBezTo>
                  <a:pt x="467" y="160"/>
                  <a:pt x="468" y="160"/>
                  <a:pt x="468" y="160"/>
                </a:cubicBezTo>
                <a:cubicBezTo>
                  <a:pt x="469" y="159"/>
                  <a:pt x="469" y="159"/>
                  <a:pt x="470" y="159"/>
                </a:cubicBezTo>
                <a:cubicBezTo>
                  <a:pt x="469" y="159"/>
                  <a:pt x="470" y="159"/>
                  <a:pt x="471" y="158"/>
                </a:cubicBezTo>
                <a:cubicBezTo>
                  <a:pt x="471" y="158"/>
                  <a:pt x="471" y="157"/>
                  <a:pt x="471" y="158"/>
                </a:cubicBezTo>
                <a:cubicBezTo>
                  <a:pt x="470" y="158"/>
                  <a:pt x="470" y="158"/>
                  <a:pt x="469" y="158"/>
                </a:cubicBezTo>
                <a:cubicBezTo>
                  <a:pt x="469" y="158"/>
                  <a:pt x="468" y="158"/>
                  <a:pt x="468" y="158"/>
                </a:cubicBezTo>
                <a:cubicBezTo>
                  <a:pt x="468" y="158"/>
                  <a:pt x="469" y="158"/>
                  <a:pt x="469" y="158"/>
                </a:cubicBezTo>
                <a:cubicBezTo>
                  <a:pt x="470" y="158"/>
                  <a:pt x="470" y="157"/>
                  <a:pt x="471" y="157"/>
                </a:cubicBezTo>
                <a:cubicBezTo>
                  <a:pt x="470" y="157"/>
                  <a:pt x="470" y="156"/>
                  <a:pt x="470" y="156"/>
                </a:cubicBezTo>
                <a:cubicBezTo>
                  <a:pt x="470" y="156"/>
                  <a:pt x="469" y="156"/>
                  <a:pt x="469" y="156"/>
                </a:cubicBezTo>
                <a:cubicBezTo>
                  <a:pt x="469" y="156"/>
                  <a:pt x="469" y="156"/>
                  <a:pt x="468" y="156"/>
                </a:cubicBezTo>
                <a:cubicBezTo>
                  <a:pt x="469" y="156"/>
                  <a:pt x="470" y="156"/>
                  <a:pt x="470" y="156"/>
                </a:cubicBezTo>
                <a:cubicBezTo>
                  <a:pt x="471" y="156"/>
                  <a:pt x="471" y="155"/>
                  <a:pt x="470" y="155"/>
                </a:cubicBezTo>
                <a:cubicBezTo>
                  <a:pt x="470" y="155"/>
                  <a:pt x="470" y="155"/>
                  <a:pt x="470" y="155"/>
                </a:cubicBezTo>
                <a:cubicBezTo>
                  <a:pt x="470" y="155"/>
                  <a:pt x="469" y="155"/>
                  <a:pt x="469" y="155"/>
                </a:cubicBezTo>
                <a:cubicBezTo>
                  <a:pt x="468" y="155"/>
                  <a:pt x="468" y="156"/>
                  <a:pt x="467" y="156"/>
                </a:cubicBezTo>
                <a:cubicBezTo>
                  <a:pt x="468" y="155"/>
                  <a:pt x="468" y="155"/>
                  <a:pt x="469" y="155"/>
                </a:cubicBezTo>
                <a:cubicBezTo>
                  <a:pt x="469" y="155"/>
                  <a:pt x="470" y="155"/>
                  <a:pt x="469" y="154"/>
                </a:cubicBezTo>
                <a:cubicBezTo>
                  <a:pt x="470" y="154"/>
                  <a:pt x="470" y="154"/>
                  <a:pt x="470" y="154"/>
                </a:cubicBezTo>
                <a:cubicBezTo>
                  <a:pt x="470" y="155"/>
                  <a:pt x="471" y="155"/>
                  <a:pt x="471" y="155"/>
                </a:cubicBezTo>
                <a:cubicBezTo>
                  <a:pt x="471" y="155"/>
                  <a:pt x="471" y="156"/>
                  <a:pt x="472" y="156"/>
                </a:cubicBezTo>
                <a:cubicBezTo>
                  <a:pt x="472" y="155"/>
                  <a:pt x="472" y="155"/>
                  <a:pt x="471" y="155"/>
                </a:cubicBezTo>
                <a:close/>
                <a:moveTo>
                  <a:pt x="461" y="158"/>
                </a:moveTo>
                <a:cubicBezTo>
                  <a:pt x="461" y="159"/>
                  <a:pt x="461" y="158"/>
                  <a:pt x="460" y="159"/>
                </a:cubicBezTo>
                <a:cubicBezTo>
                  <a:pt x="461" y="159"/>
                  <a:pt x="460" y="159"/>
                  <a:pt x="460" y="159"/>
                </a:cubicBezTo>
                <a:cubicBezTo>
                  <a:pt x="460" y="159"/>
                  <a:pt x="460" y="159"/>
                  <a:pt x="460" y="159"/>
                </a:cubicBezTo>
                <a:cubicBezTo>
                  <a:pt x="460" y="160"/>
                  <a:pt x="459" y="159"/>
                  <a:pt x="459" y="160"/>
                </a:cubicBezTo>
                <a:cubicBezTo>
                  <a:pt x="459" y="160"/>
                  <a:pt x="459" y="161"/>
                  <a:pt x="459" y="161"/>
                </a:cubicBezTo>
                <a:cubicBezTo>
                  <a:pt x="459" y="161"/>
                  <a:pt x="459" y="161"/>
                  <a:pt x="459" y="161"/>
                </a:cubicBezTo>
                <a:cubicBezTo>
                  <a:pt x="459" y="161"/>
                  <a:pt x="459" y="161"/>
                  <a:pt x="459" y="161"/>
                </a:cubicBezTo>
                <a:cubicBezTo>
                  <a:pt x="459" y="161"/>
                  <a:pt x="459" y="162"/>
                  <a:pt x="459" y="162"/>
                </a:cubicBezTo>
                <a:cubicBezTo>
                  <a:pt x="459" y="162"/>
                  <a:pt x="459" y="162"/>
                  <a:pt x="459" y="162"/>
                </a:cubicBezTo>
                <a:cubicBezTo>
                  <a:pt x="459" y="162"/>
                  <a:pt x="459" y="162"/>
                  <a:pt x="459" y="162"/>
                </a:cubicBezTo>
                <a:cubicBezTo>
                  <a:pt x="459" y="163"/>
                  <a:pt x="459" y="163"/>
                  <a:pt x="459" y="163"/>
                </a:cubicBezTo>
                <a:cubicBezTo>
                  <a:pt x="459" y="163"/>
                  <a:pt x="459" y="163"/>
                  <a:pt x="459" y="164"/>
                </a:cubicBezTo>
                <a:cubicBezTo>
                  <a:pt x="459" y="163"/>
                  <a:pt x="460" y="164"/>
                  <a:pt x="459" y="164"/>
                </a:cubicBezTo>
                <a:cubicBezTo>
                  <a:pt x="460" y="164"/>
                  <a:pt x="460" y="163"/>
                  <a:pt x="460" y="163"/>
                </a:cubicBezTo>
                <a:cubicBezTo>
                  <a:pt x="460" y="163"/>
                  <a:pt x="461" y="162"/>
                  <a:pt x="460" y="162"/>
                </a:cubicBezTo>
                <a:cubicBezTo>
                  <a:pt x="461" y="162"/>
                  <a:pt x="460" y="162"/>
                  <a:pt x="460" y="161"/>
                </a:cubicBezTo>
                <a:cubicBezTo>
                  <a:pt x="460" y="161"/>
                  <a:pt x="461" y="161"/>
                  <a:pt x="460" y="161"/>
                </a:cubicBezTo>
                <a:cubicBezTo>
                  <a:pt x="460" y="161"/>
                  <a:pt x="461" y="160"/>
                  <a:pt x="461" y="160"/>
                </a:cubicBezTo>
                <a:cubicBezTo>
                  <a:pt x="461" y="160"/>
                  <a:pt x="461" y="160"/>
                  <a:pt x="461" y="160"/>
                </a:cubicBezTo>
                <a:cubicBezTo>
                  <a:pt x="460" y="160"/>
                  <a:pt x="461" y="160"/>
                  <a:pt x="461" y="159"/>
                </a:cubicBezTo>
                <a:cubicBezTo>
                  <a:pt x="461" y="159"/>
                  <a:pt x="461" y="159"/>
                  <a:pt x="461" y="160"/>
                </a:cubicBezTo>
                <a:cubicBezTo>
                  <a:pt x="461" y="160"/>
                  <a:pt x="462" y="159"/>
                  <a:pt x="461" y="159"/>
                </a:cubicBezTo>
                <a:cubicBezTo>
                  <a:pt x="461" y="159"/>
                  <a:pt x="461" y="159"/>
                  <a:pt x="461" y="159"/>
                </a:cubicBezTo>
                <a:cubicBezTo>
                  <a:pt x="461" y="158"/>
                  <a:pt x="462" y="158"/>
                  <a:pt x="462" y="158"/>
                </a:cubicBezTo>
                <a:cubicBezTo>
                  <a:pt x="462" y="158"/>
                  <a:pt x="461" y="158"/>
                  <a:pt x="461" y="158"/>
                </a:cubicBezTo>
                <a:close/>
                <a:moveTo>
                  <a:pt x="213" y="163"/>
                </a:moveTo>
                <a:cubicBezTo>
                  <a:pt x="213" y="162"/>
                  <a:pt x="212" y="163"/>
                  <a:pt x="212" y="163"/>
                </a:cubicBezTo>
                <a:cubicBezTo>
                  <a:pt x="211" y="163"/>
                  <a:pt x="212" y="162"/>
                  <a:pt x="212" y="161"/>
                </a:cubicBezTo>
                <a:cubicBezTo>
                  <a:pt x="213" y="161"/>
                  <a:pt x="213" y="160"/>
                  <a:pt x="213" y="160"/>
                </a:cubicBezTo>
                <a:cubicBezTo>
                  <a:pt x="212" y="160"/>
                  <a:pt x="211" y="160"/>
                  <a:pt x="209" y="160"/>
                </a:cubicBezTo>
                <a:cubicBezTo>
                  <a:pt x="208" y="161"/>
                  <a:pt x="208" y="161"/>
                  <a:pt x="207" y="161"/>
                </a:cubicBezTo>
                <a:cubicBezTo>
                  <a:pt x="206" y="161"/>
                  <a:pt x="206" y="162"/>
                  <a:pt x="205" y="161"/>
                </a:cubicBezTo>
                <a:cubicBezTo>
                  <a:pt x="204" y="161"/>
                  <a:pt x="203" y="162"/>
                  <a:pt x="202" y="162"/>
                </a:cubicBezTo>
                <a:cubicBezTo>
                  <a:pt x="201" y="163"/>
                  <a:pt x="200" y="163"/>
                  <a:pt x="199" y="164"/>
                </a:cubicBezTo>
                <a:cubicBezTo>
                  <a:pt x="199" y="164"/>
                  <a:pt x="198" y="164"/>
                  <a:pt x="197" y="164"/>
                </a:cubicBezTo>
                <a:cubicBezTo>
                  <a:pt x="197" y="164"/>
                  <a:pt x="195" y="166"/>
                  <a:pt x="196" y="167"/>
                </a:cubicBezTo>
                <a:cubicBezTo>
                  <a:pt x="196" y="167"/>
                  <a:pt x="198" y="167"/>
                  <a:pt x="198" y="166"/>
                </a:cubicBezTo>
                <a:cubicBezTo>
                  <a:pt x="199" y="166"/>
                  <a:pt x="200" y="166"/>
                  <a:pt x="201" y="165"/>
                </a:cubicBezTo>
                <a:cubicBezTo>
                  <a:pt x="202" y="165"/>
                  <a:pt x="204" y="164"/>
                  <a:pt x="206" y="164"/>
                </a:cubicBezTo>
                <a:cubicBezTo>
                  <a:pt x="207" y="164"/>
                  <a:pt x="208" y="164"/>
                  <a:pt x="209" y="164"/>
                </a:cubicBezTo>
                <a:cubicBezTo>
                  <a:pt x="210" y="164"/>
                  <a:pt x="211" y="163"/>
                  <a:pt x="211" y="163"/>
                </a:cubicBezTo>
                <a:cubicBezTo>
                  <a:pt x="211" y="164"/>
                  <a:pt x="212" y="163"/>
                  <a:pt x="213" y="164"/>
                </a:cubicBezTo>
                <a:cubicBezTo>
                  <a:pt x="212" y="164"/>
                  <a:pt x="212" y="164"/>
                  <a:pt x="212" y="164"/>
                </a:cubicBezTo>
                <a:cubicBezTo>
                  <a:pt x="213" y="164"/>
                  <a:pt x="213" y="164"/>
                  <a:pt x="213" y="163"/>
                </a:cubicBezTo>
                <a:close/>
                <a:moveTo>
                  <a:pt x="213" y="167"/>
                </a:moveTo>
                <a:cubicBezTo>
                  <a:pt x="213" y="167"/>
                  <a:pt x="214" y="167"/>
                  <a:pt x="214" y="166"/>
                </a:cubicBezTo>
                <a:cubicBezTo>
                  <a:pt x="214" y="166"/>
                  <a:pt x="213" y="166"/>
                  <a:pt x="213" y="166"/>
                </a:cubicBezTo>
                <a:cubicBezTo>
                  <a:pt x="212" y="165"/>
                  <a:pt x="211" y="167"/>
                  <a:pt x="213" y="167"/>
                </a:cubicBezTo>
                <a:close/>
                <a:moveTo>
                  <a:pt x="186" y="170"/>
                </a:moveTo>
                <a:cubicBezTo>
                  <a:pt x="186" y="170"/>
                  <a:pt x="187" y="170"/>
                  <a:pt x="187" y="170"/>
                </a:cubicBezTo>
                <a:cubicBezTo>
                  <a:pt x="187" y="170"/>
                  <a:pt x="188" y="170"/>
                  <a:pt x="188" y="170"/>
                </a:cubicBezTo>
                <a:cubicBezTo>
                  <a:pt x="188" y="170"/>
                  <a:pt x="186" y="170"/>
                  <a:pt x="186" y="170"/>
                </a:cubicBezTo>
                <a:close/>
                <a:moveTo>
                  <a:pt x="188" y="170"/>
                </a:moveTo>
                <a:cubicBezTo>
                  <a:pt x="189" y="170"/>
                  <a:pt x="191" y="170"/>
                  <a:pt x="191" y="170"/>
                </a:cubicBezTo>
                <a:cubicBezTo>
                  <a:pt x="191" y="169"/>
                  <a:pt x="191" y="169"/>
                  <a:pt x="191" y="169"/>
                </a:cubicBezTo>
                <a:cubicBezTo>
                  <a:pt x="190" y="170"/>
                  <a:pt x="189" y="169"/>
                  <a:pt x="188" y="170"/>
                </a:cubicBezTo>
                <a:close/>
                <a:moveTo>
                  <a:pt x="474" y="156"/>
                </a:moveTo>
                <a:cubicBezTo>
                  <a:pt x="473" y="156"/>
                  <a:pt x="472" y="158"/>
                  <a:pt x="472" y="159"/>
                </a:cubicBezTo>
                <a:cubicBezTo>
                  <a:pt x="472" y="159"/>
                  <a:pt x="473" y="158"/>
                  <a:pt x="473" y="158"/>
                </a:cubicBezTo>
                <a:cubicBezTo>
                  <a:pt x="473" y="158"/>
                  <a:pt x="473" y="158"/>
                  <a:pt x="474" y="158"/>
                </a:cubicBezTo>
                <a:cubicBezTo>
                  <a:pt x="474" y="158"/>
                  <a:pt x="474" y="157"/>
                  <a:pt x="474" y="158"/>
                </a:cubicBezTo>
                <a:cubicBezTo>
                  <a:pt x="475" y="157"/>
                  <a:pt x="474" y="156"/>
                  <a:pt x="474" y="156"/>
                </a:cubicBezTo>
                <a:close/>
                <a:moveTo>
                  <a:pt x="281" y="121"/>
                </a:moveTo>
                <a:cubicBezTo>
                  <a:pt x="280" y="121"/>
                  <a:pt x="279" y="122"/>
                  <a:pt x="278" y="122"/>
                </a:cubicBezTo>
                <a:cubicBezTo>
                  <a:pt x="278" y="122"/>
                  <a:pt x="277" y="123"/>
                  <a:pt x="276" y="123"/>
                </a:cubicBezTo>
                <a:cubicBezTo>
                  <a:pt x="276" y="123"/>
                  <a:pt x="276" y="123"/>
                  <a:pt x="276" y="123"/>
                </a:cubicBezTo>
                <a:cubicBezTo>
                  <a:pt x="276" y="123"/>
                  <a:pt x="276" y="123"/>
                  <a:pt x="275" y="124"/>
                </a:cubicBezTo>
                <a:cubicBezTo>
                  <a:pt x="276" y="124"/>
                  <a:pt x="276" y="124"/>
                  <a:pt x="277" y="123"/>
                </a:cubicBezTo>
                <a:cubicBezTo>
                  <a:pt x="277" y="123"/>
                  <a:pt x="278" y="123"/>
                  <a:pt x="278" y="123"/>
                </a:cubicBezTo>
                <a:cubicBezTo>
                  <a:pt x="279" y="122"/>
                  <a:pt x="281" y="122"/>
                  <a:pt x="281" y="121"/>
                </a:cubicBezTo>
                <a:close/>
                <a:moveTo>
                  <a:pt x="329" y="131"/>
                </a:moveTo>
                <a:cubicBezTo>
                  <a:pt x="329" y="131"/>
                  <a:pt x="329" y="130"/>
                  <a:pt x="328" y="130"/>
                </a:cubicBezTo>
                <a:cubicBezTo>
                  <a:pt x="327" y="130"/>
                  <a:pt x="327" y="131"/>
                  <a:pt x="328" y="131"/>
                </a:cubicBezTo>
                <a:cubicBezTo>
                  <a:pt x="327" y="131"/>
                  <a:pt x="328" y="132"/>
                  <a:pt x="329" y="131"/>
                </a:cubicBezTo>
                <a:close/>
                <a:moveTo>
                  <a:pt x="221" y="162"/>
                </a:moveTo>
                <a:cubicBezTo>
                  <a:pt x="221" y="162"/>
                  <a:pt x="223" y="161"/>
                  <a:pt x="223" y="161"/>
                </a:cubicBezTo>
                <a:cubicBezTo>
                  <a:pt x="222" y="160"/>
                  <a:pt x="220" y="162"/>
                  <a:pt x="221" y="162"/>
                </a:cubicBezTo>
                <a:close/>
                <a:moveTo>
                  <a:pt x="476" y="146"/>
                </a:moveTo>
                <a:cubicBezTo>
                  <a:pt x="476" y="146"/>
                  <a:pt x="478" y="146"/>
                  <a:pt x="477" y="145"/>
                </a:cubicBezTo>
                <a:cubicBezTo>
                  <a:pt x="476" y="145"/>
                  <a:pt x="475" y="145"/>
                  <a:pt x="474" y="146"/>
                </a:cubicBezTo>
                <a:cubicBezTo>
                  <a:pt x="473" y="146"/>
                  <a:pt x="473" y="146"/>
                  <a:pt x="473" y="147"/>
                </a:cubicBezTo>
                <a:cubicBezTo>
                  <a:pt x="473" y="147"/>
                  <a:pt x="474" y="147"/>
                  <a:pt x="474" y="148"/>
                </a:cubicBezTo>
                <a:cubicBezTo>
                  <a:pt x="475" y="148"/>
                  <a:pt x="476" y="147"/>
                  <a:pt x="476" y="146"/>
                </a:cubicBezTo>
                <a:close/>
                <a:moveTo>
                  <a:pt x="189" y="168"/>
                </a:moveTo>
                <a:cubicBezTo>
                  <a:pt x="188" y="168"/>
                  <a:pt x="188" y="168"/>
                  <a:pt x="187" y="168"/>
                </a:cubicBezTo>
                <a:cubicBezTo>
                  <a:pt x="188" y="167"/>
                  <a:pt x="187" y="168"/>
                  <a:pt x="186" y="168"/>
                </a:cubicBezTo>
                <a:cubicBezTo>
                  <a:pt x="187" y="168"/>
                  <a:pt x="187" y="168"/>
                  <a:pt x="187" y="168"/>
                </a:cubicBezTo>
                <a:cubicBezTo>
                  <a:pt x="187" y="168"/>
                  <a:pt x="185" y="169"/>
                  <a:pt x="186" y="170"/>
                </a:cubicBezTo>
                <a:cubicBezTo>
                  <a:pt x="186" y="170"/>
                  <a:pt x="188" y="169"/>
                  <a:pt x="188" y="169"/>
                </a:cubicBezTo>
                <a:cubicBezTo>
                  <a:pt x="188" y="169"/>
                  <a:pt x="187" y="169"/>
                  <a:pt x="187" y="168"/>
                </a:cubicBezTo>
                <a:cubicBezTo>
                  <a:pt x="187" y="168"/>
                  <a:pt x="188" y="168"/>
                  <a:pt x="189" y="168"/>
                </a:cubicBezTo>
                <a:close/>
                <a:moveTo>
                  <a:pt x="247" y="159"/>
                </a:moveTo>
                <a:cubicBezTo>
                  <a:pt x="246" y="159"/>
                  <a:pt x="246" y="159"/>
                  <a:pt x="246" y="159"/>
                </a:cubicBezTo>
                <a:cubicBezTo>
                  <a:pt x="246" y="159"/>
                  <a:pt x="245" y="160"/>
                  <a:pt x="245" y="160"/>
                </a:cubicBezTo>
                <a:cubicBezTo>
                  <a:pt x="245" y="160"/>
                  <a:pt x="246" y="160"/>
                  <a:pt x="246" y="159"/>
                </a:cubicBezTo>
                <a:cubicBezTo>
                  <a:pt x="246" y="160"/>
                  <a:pt x="246" y="160"/>
                  <a:pt x="246" y="160"/>
                </a:cubicBezTo>
                <a:cubicBezTo>
                  <a:pt x="246" y="160"/>
                  <a:pt x="247" y="159"/>
                  <a:pt x="247" y="159"/>
                </a:cubicBezTo>
                <a:cubicBezTo>
                  <a:pt x="247" y="159"/>
                  <a:pt x="248" y="158"/>
                  <a:pt x="248" y="158"/>
                </a:cubicBezTo>
                <a:cubicBezTo>
                  <a:pt x="248" y="158"/>
                  <a:pt x="247" y="159"/>
                  <a:pt x="247" y="159"/>
                </a:cubicBezTo>
                <a:cubicBezTo>
                  <a:pt x="247" y="159"/>
                  <a:pt x="247" y="159"/>
                  <a:pt x="247" y="159"/>
                </a:cubicBezTo>
                <a:close/>
                <a:moveTo>
                  <a:pt x="135" y="183"/>
                </a:moveTo>
                <a:cubicBezTo>
                  <a:pt x="135" y="183"/>
                  <a:pt x="135" y="183"/>
                  <a:pt x="134" y="183"/>
                </a:cubicBezTo>
                <a:cubicBezTo>
                  <a:pt x="134" y="183"/>
                  <a:pt x="134" y="183"/>
                  <a:pt x="135" y="183"/>
                </a:cubicBezTo>
                <a:cubicBezTo>
                  <a:pt x="135" y="183"/>
                  <a:pt x="136" y="183"/>
                  <a:pt x="136" y="184"/>
                </a:cubicBezTo>
                <a:cubicBezTo>
                  <a:pt x="136" y="184"/>
                  <a:pt x="138" y="183"/>
                  <a:pt x="137" y="182"/>
                </a:cubicBezTo>
                <a:cubicBezTo>
                  <a:pt x="137" y="182"/>
                  <a:pt x="136" y="183"/>
                  <a:pt x="135" y="183"/>
                </a:cubicBezTo>
                <a:close/>
                <a:moveTo>
                  <a:pt x="271" y="142"/>
                </a:moveTo>
                <a:cubicBezTo>
                  <a:pt x="271" y="141"/>
                  <a:pt x="272" y="141"/>
                  <a:pt x="273" y="141"/>
                </a:cubicBezTo>
                <a:cubicBezTo>
                  <a:pt x="272" y="141"/>
                  <a:pt x="271" y="141"/>
                  <a:pt x="271" y="142"/>
                </a:cubicBezTo>
                <a:close/>
                <a:moveTo>
                  <a:pt x="424" y="109"/>
                </a:moveTo>
                <a:cubicBezTo>
                  <a:pt x="425" y="109"/>
                  <a:pt x="425" y="109"/>
                  <a:pt x="425" y="109"/>
                </a:cubicBezTo>
                <a:cubicBezTo>
                  <a:pt x="425" y="109"/>
                  <a:pt x="425" y="109"/>
                  <a:pt x="424" y="109"/>
                </a:cubicBezTo>
                <a:close/>
                <a:moveTo>
                  <a:pt x="365" y="27"/>
                </a:moveTo>
                <a:cubicBezTo>
                  <a:pt x="365" y="27"/>
                  <a:pt x="364" y="28"/>
                  <a:pt x="364" y="28"/>
                </a:cubicBezTo>
                <a:cubicBezTo>
                  <a:pt x="364" y="28"/>
                  <a:pt x="365" y="28"/>
                  <a:pt x="365" y="27"/>
                </a:cubicBezTo>
                <a:close/>
                <a:moveTo>
                  <a:pt x="453" y="106"/>
                </a:moveTo>
                <a:cubicBezTo>
                  <a:pt x="452" y="106"/>
                  <a:pt x="453" y="106"/>
                  <a:pt x="454" y="107"/>
                </a:cubicBezTo>
                <a:cubicBezTo>
                  <a:pt x="454" y="107"/>
                  <a:pt x="455" y="107"/>
                  <a:pt x="455" y="107"/>
                </a:cubicBezTo>
                <a:cubicBezTo>
                  <a:pt x="456" y="107"/>
                  <a:pt x="456" y="106"/>
                  <a:pt x="456" y="106"/>
                </a:cubicBezTo>
                <a:cubicBezTo>
                  <a:pt x="458" y="106"/>
                  <a:pt x="458" y="107"/>
                  <a:pt x="459" y="107"/>
                </a:cubicBezTo>
                <a:cubicBezTo>
                  <a:pt x="461" y="107"/>
                  <a:pt x="463" y="106"/>
                  <a:pt x="464" y="106"/>
                </a:cubicBezTo>
                <a:cubicBezTo>
                  <a:pt x="465" y="106"/>
                  <a:pt x="467" y="105"/>
                  <a:pt x="467" y="106"/>
                </a:cubicBezTo>
                <a:cubicBezTo>
                  <a:pt x="468" y="106"/>
                  <a:pt x="464" y="108"/>
                  <a:pt x="464" y="108"/>
                </a:cubicBezTo>
                <a:cubicBezTo>
                  <a:pt x="463" y="109"/>
                  <a:pt x="465" y="110"/>
                  <a:pt x="465" y="110"/>
                </a:cubicBezTo>
                <a:cubicBezTo>
                  <a:pt x="466" y="110"/>
                  <a:pt x="466" y="110"/>
                  <a:pt x="465" y="111"/>
                </a:cubicBezTo>
                <a:cubicBezTo>
                  <a:pt x="465" y="111"/>
                  <a:pt x="465" y="112"/>
                  <a:pt x="465" y="112"/>
                </a:cubicBezTo>
                <a:cubicBezTo>
                  <a:pt x="466" y="113"/>
                  <a:pt x="466" y="114"/>
                  <a:pt x="466" y="115"/>
                </a:cubicBezTo>
                <a:cubicBezTo>
                  <a:pt x="466" y="115"/>
                  <a:pt x="467" y="116"/>
                  <a:pt x="467" y="117"/>
                </a:cubicBezTo>
                <a:cubicBezTo>
                  <a:pt x="467" y="118"/>
                  <a:pt x="465" y="119"/>
                  <a:pt x="464" y="120"/>
                </a:cubicBezTo>
                <a:cubicBezTo>
                  <a:pt x="465" y="120"/>
                  <a:pt x="466" y="120"/>
                  <a:pt x="466" y="120"/>
                </a:cubicBezTo>
                <a:cubicBezTo>
                  <a:pt x="467" y="119"/>
                  <a:pt x="468" y="119"/>
                  <a:pt x="469" y="119"/>
                </a:cubicBezTo>
                <a:cubicBezTo>
                  <a:pt x="471" y="118"/>
                  <a:pt x="472" y="118"/>
                  <a:pt x="473" y="118"/>
                </a:cubicBezTo>
                <a:cubicBezTo>
                  <a:pt x="474" y="118"/>
                  <a:pt x="475" y="117"/>
                  <a:pt x="476" y="117"/>
                </a:cubicBezTo>
                <a:cubicBezTo>
                  <a:pt x="477" y="116"/>
                  <a:pt x="477" y="115"/>
                  <a:pt x="478" y="115"/>
                </a:cubicBezTo>
                <a:cubicBezTo>
                  <a:pt x="479" y="114"/>
                  <a:pt x="480" y="115"/>
                  <a:pt x="481" y="114"/>
                </a:cubicBezTo>
                <a:cubicBezTo>
                  <a:pt x="481" y="114"/>
                  <a:pt x="481" y="113"/>
                  <a:pt x="481" y="113"/>
                </a:cubicBezTo>
                <a:cubicBezTo>
                  <a:pt x="482" y="113"/>
                  <a:pt x="483" y="113"/>
                  <a:pt x="485" y="112"/>
                </a:cubicBezTo>
                <a:cubicBezTo>
                  <a:pt x="486" y="112"/>
                  <a:pt x="489" y="111"/>
                  <a:pt x="490" y="112"/>
                </a:cubicBezTo>
                <a:cubicBezTo>
                  <a:pt x="490" y="112"/>
                  <a:pt x="490" y="112"/>
                  <a:pt x="490" y="113"/>
                </a:cubicBezTo>
                <a:cubicBezTo>
                  <a:pt x="490" y="113"/>
                  <a:pt x="491" y="113"/>
                  <a:pt x="491" y="113"/>
                </a:cubicBezTo>
                <a:cubicBezTo>
                  <a:pt x="491" y="114"/>
                  <a:pt x="490" y="114"/>
                  <a:pt x="489" y="115"/>
                </a:cubicBezTo>
                <a:cubicBezTo>
                  <a:pt x="489" y="115"/>
                  <a:pt x="489" y="115"/>
                  <a:pt x="489" y="115"/>
                </a:cubicBezTo>
                <a:cubicBezTo>
                  <a:pt x="489" y="115"/>
                  <a:pt x="489" y="115"/>
                  <a:pt x="489" y="116"/>
                </a:cubicBezTo>
                <a:cubicBezTo>
                  <a:pt x="488" y="116"/>
                  <a:pt x="489" y="117"/>
                  <a:pt x="489" y="117"/>
                </a:cubicBezTo>
                <a:cubicBezTo>
                  <a:pt x="490" y="117"/>
                  <a:pt x="489" y="118"/>
                  <a:pt x="490" y="118"/>
                </a:cubicBezTo>
                <a:cubicBezTo>
                  <a:pt x="491" y="118"/>
                  <a:pt x="490" y="119"/>
                  <a:pt x="489" y="119"/>
                </a:cubicBezTo>
                <a:cubicBezTo>
                  <a:pt x="490" y="120"/>
                  <a:pt x="489" y="120"/>
                  <a:pt x="489" y="121"/>
                </a:cubicBezTo>
                <a:cubicBezTo>
                  <a:pt x="490" y="121"/>
                  <a:pt x="491" y="122"/>
                  <a:pt x="491" y="123"/>
                </a:cubicBezTo>
                <a:cubicBezTo>
                  <a:pt x="491" y="123"/>
                  <a:pt x="492" y="124"/>
                  <a:pt x="491" y="125"/>
                </a:cubicBezTo>
                <a:cubicBezTo>
                  <a:pt x="491" y="126"/>
                  <a:pt x="490" y="126"/>
                  <a:pt x="490" y="127"/>
                </a:cubicBezTo>
                <a:cubicBezTo>
                  <a:pt x="491" y="128"/>
                  <a:pt x="490" y="129"/>
                  <a:pt x="490" y="130"/>
                </a:cubicBezTo>
                <a:cubicBezTo>
                  <a:pt x="490" y="130"/>
                  <a:pt x="490" y="131"/>
                  <a:pt x="490" y="131"/>
                </a:cubicBezTo>
                <a:cubicBezTo>
                  <a:pt x="489" y="132"/>
                  <a:pt x="489" y="132"/>
                  <a:pt x="489" y="133"/>
                </a:cubicBezTo>
                <a:cubicBezTo>
                  <a:pt x="489" y="134"/>
                  <a:pt x="489" y="136"/>
                  <a:pt x="488" y="137"/>
                </a:cubicBezTo>
                <a:cubicBezTo>
                  <a:pt x="488" y="138"/>
                  <a:pt x="487" y="138"/>
                  <a:pt x="486" y="139"/>
                </a:cubicBezTo>
                <a:cubicBezTo>
                  <a:pt x="487" y="139"/>
                  <a:pt x="488" y="139"/>
                  <a:pt x="488" y="139"/>
                </a:cubicBezTo>
                <a:cubicBezTo>
                  <a:pt x="488" y="140"/>
                  <a:pt x="485" y="141"/>
                  <a:pt x="487" y="141"/>
                </a:cubicBezTo>
                <a:cubicBezTo>
                  <a:pt x="487" y="141"/>
                  <a:pt x="487" y="142"/>
                  <a:pt x="487" y="142"/>
                </a:cubicBezTo>
                <a:cubicBezTo>
                  <a:pt x="486" y="142"/>
                  <a:pt x="486" y="142"/>
                  <a:pt x="486" y="143"/>
                </a:cubicBezTo>
                <a:cubicBezTo>
                  <a:pt x="486" y="143"/>
                  <a:pt x="486" y="143"/>
                  <a:pt x="485" y="144"/>
                </a:cubicBezTo>
                <a:cubicBezTo>
                  <a:pt x="486" y="144"/>
                  <a:pt x="487" y="144"/>
                  <a:pt x="487" y="144"/>
                </a:cubicBezTo>
                <a:cubicBezTo>
                  <a:pt x="488" y="144"/>
                  <a:pt x="489" y="145"/>
                  <a:pt x="489" y="145"/>
                </a:cubicBezTo>
                <a:cubicBezTo>
                  <a:pt x="490" y="146"/>
                  <a:pt x="490" y="146"/>
                  <a:pt x="491" y="146"/>
                </a:cubicBezTo>
                <a:cubicBezTo>
                  <a:pt x="492" y="146"/>
                  <a:pt x="491" y="147"/>
                  <a:pt x="492" y="147"/>
                </a:cubicBezTo>
                <a:cubicBezTo>
                  <a:pt x="493" y="148"/>
                  <a:pt x="493" y="148"/>
                  <a:pt x="492" y="148"/>
                </a:cubicBezTo>
                <a:cubicBezTo>
                  <a:pt x="492" y="149"/>
                  <a:pt x="493" y="149"/>
                  <a:pt x="493" y="149"/>
                </a:cubicBezTo>
                <a:cubicBezTo>
                  <a:pt x="493" y="149"/>
                  <a:pt x="494" y="149"/>
                  <a:pt x="494" y="149"/>
                </a:cubicBezTo>
                <a:cubicBezTo>
                  <a:pt x="495" y="149"/>
                  <a:pt x="494" y="150"/>
                  <a:pt x="494" y="150"/>
                </a:cubicBezTo>
                <a:cubicBezTo>
                  <a:pt x="493" y="151"/>
                  <a:pt x="491" y="152"/>
                  <a:pt x="490" y="153"/>
                </a:cubicBezTo>
                <a:cubicBezTo>
                  <a:pt x="489" y="154"/>
                  <a:pt x="488" y="155"/>
                  <a:pt x="487" y="157"/>
                </a:cubicBezTo>
                <a:cubicBezTo>
                  <a:pt x="487" y="158"/>
                  <a:pt x="486" y="158"/>
                  <a:pt x="486" y="158"/>
                </a:cubicBezTo>
                <a:cubicBezTo>
                  <a:pt x="485" y="159"/>
                  <a:pt x="484" y="159"/>
                  <a:pt x="483" y="160"/>
                </a:cubicBezTo>
                <a:cubicBezTo>
                  <a:pt x="482" y="161"/>
                  <a:pt x="480" y="162"/>
                  <a:pt x="478" y="162"/>
                </a:cubicBezTo>
                <a:cubicBezTo>
                  <a:pt x="478" y="162"/>
                  <a:pt x="478" y="162"/>
                  <a:pt x="479" y="162"/>
                </a:cubicBezTo>
                <a:cubicBezTo>
                  <a:pt x="479" y="162"/>
                  <a:pt x="477" y="163"/>
                  <a:pt x="477" y="163"/>
                </a:cubicBezTo>
                <a:cubicBezTo>
                  <a:pt x="477" y="162"/>
                  <a:pt x="477" y="163"/>
                  <a:pt x="477" y="162"/>
                </a:cubicBezTo>
                <a:cubicBezTo>
                  <a:pt x="478" y="162"/>
                  <a:pt x="478" y="161"/>
                  <a:pt x="478" y="161"/>
                </a:cubicBezTo>
                <a:cubicBezTo>
                  <a:pt x="478" y="161"/>
                  <a:pt x="477" y="162"/>
                  <a:pt x="477" y="162"/>
                </a:cubicBezTo>
                <a:cubicBezTo>
                  <a:pt x="476" y="163"/>
                  <a:pt x="475" y="163"/>
                  <a:pt x="476" y="162"/>
                </a:cubicBezTo>
                <a:cubicBezTo>
                  <a:pt x="476" y="162"/>
                  <a:pt x="476" y="161"/>
                  <a:pt x="476" y="161"/>
                </a:cubicBezTo>
                <a:cubicBezTo>
                  <a:pt x="477" y="161"/>
                  <a:pt x="476" y="161"/>
                  <a:pt x="477" y="160"/>
                </a:cubicBezTo>
                <a:cubicBezTo>
                  <a:pt x="477" y="160"/>
                  <a:pt x="478" y="159"/>
                  <a:pt x="479" y="159"/>
                </a:cubicBezTo>
                <a:cubicBezTo>
                  <a:pt x="479" y="159"/>
                  <a:pt x="479" y="160"/>
                  <a:pt x="479" y="160"/>
                </a:cubicBezTo>
                <a:cubicBezTo>
                  <a:pt x="480" y="159"/>
                  <a:pt x="480" y="159"/>
                  <a:pt x="480" y="159"/>
                </a:cubicBezTo>
                <a:cubicBezTo>
                  <a:pt x="482" y="158"/>
                  <a:pt x="483" y="158"/>
                  <a:pt x="484" y="157"/>
                </a:cubicBezTo>
                <a:cubicBezTo>
                  <a:pt x="483" y="157"/>
                  <a:pt x="482" y="158"/>
                  <a:pt x="481" y="159"/>
                </a:cubicBezTo>
                <a:cubicBezTo>
                  <a:pt x="480" y="159"/>
                  <a:pt x="479" y="160"/>
                  <a:pt x="479" y="159"/>
                </a:cubicBezTo>
                <a:cubicBezTo>
                  <a:pt x="479" y="159"/>
                  <a:pt x="478" y="160"/>
                  <a:pt x="478" y="160"/>
                </a:cubicBezTo>
                <a:cubicBezTo>
                  <a:pt x="477" y="159"/>
                  <a:pt x="478" y="158"/>
                  <a:pt x="478" y="158"/>
                </a:cubicBezTo>
                <a:cubicBezTo>
                  <a:pt x="479" y="158"/>
                  <a:pt x="479" y="157"/>
                  <a:pt x="480" y="157"/>
                </a:cubicBezTo>
                <a:cubicBezTo>
                  <a:pt x="481" y="157"/>
                  <a:pt x="482" y="158"/>
                  <a:pt x="482" y="157"/>
                </a:cubicBezTo>
                <a:cubicBezTo>
                  <a:pt x="482" y="157"/>
                  <a:pt x="482" y="157"/>
                  <a:pt x="483" y="157"/>
                </a:cubicBezTo>
                <a:cubicBezTo>
                  <a:pt x="482" y="157"/>
                  <a:pt x="481" y="157"/>
                  <a:pt x="481" y="157"/>
                </a:cubicBezTo>
                <a:cubicBezTo>
                  <a:pt x="481" y="156"/>
                  <a:pt x="482" y="156"/>
                  <a:pt x="482" y="155"/>
                </a:cubicBezTo>
                <a:cubicBezTo>
                  <a:pt x="483" y="155"/>
                  <a:pt x="483" y="154"/>
                  <a:pt x="484" y="153"/>
                </a:cubicBezTo>
                <a:cubicBezTo>
                  <a:pt x="484" y="153"/>
                  <a:pt x="484" y="152"/>
                  <a:pt x="485" y="152"/>
                </a:cubicBezTo>
                <a:cubicBezTo>
                  <a:pt x="485" y="152"/>
                  <a:pt x="484" y="152"/>
                  <a:pt x="484" y="152"/>
                </a:cubicBezTo>
                <a:cubicBezTo>
                  <a:pt x="484" y="151"/>
                  <a:pt x="484" y="151"/>
                  <a:pt x="484" y="150"/>
                </a:cubicBezTo>
                <a:cubicBezTo>
                  <a:pt x="485" y="150"/>
                  <a:pt x="486" y="150"/>
                  <a:pt x="486" y="149"/>
                </a:cubicBezTo>
                <a:cubicBezTo>
                  <a:pt x="486" y="149"/>
                  <a:pt x="487" y="149"/>
                  <a:pt x="487" y="149"/>
                </a:cubicBezTo>
                <a:cubicBezTo>
                  <a:pt x="486" y="149"/>
                  <a:pt x="485" y="150"/>
                  <a:pt x="484" y="150"/>
                </a:cubicBezTo>
                <a:cubicBezTo>
                  <a:pt x="484" y="150"/>
                  <a:pt x="483" y="151"/>
                  <a:pt x="483" y="150"/>
                </a:cubicBezTo>
                <a:cubicBezTo>
                  <a:pt x="481" y="150"/>
                  <a:pt x="479" y="151"/>
                  <a:pt x="477" y="151"/>
                </a:cubicBezTo>
                <a:cubicBezTo>
                  <a:pt x="478" y="152"/>
                  <a:pt x="478" y="152"/>
                  <a:pt x="478" y="152"/>
                </a:cubicBezTo>
                <a:cubicBezTo>
                  <a:pt x="478" y="153"/>
                  <a:pt x="477" y="153"/>
                  <a:pt x="477" y="153"/>
                </a:cubicBezTo>
                <a:cubicBezTo>
                  <a:pt x="476" y="153"/>
                  <a:pt x="476" y="154"/>
                  <a:pt x="476" y="154"/>
                </a:cubicBezTo>
                <a:cubicBezTo>
                  <a:pt x="476" y="154"/>
                  <a:pt x="475" y="154"/>
                  <a:pt x="475" y="154"/>
                </a:cubicBezTo>
                <a:cubicBezTo>
                  <a:pt x="475" y="154"/>
                  <a:pt x="475" y="155"/>
                  <a:pt x="474" y="155"/>
                </a:cubicBezTo>
                <a:cubicBezTo>
                  <a:pt x="473" y="155"/>
                  <a:pt x="474" y="155"/>
                  <a:pt x="473" y="155"/>
                </a:cubicBezTo>
                <a:cubicBezTo>
                  <a:pt x="472" y="154"/>
                  <a:pt x="473" y="154"/>
                  <a:pt x="473" y="153"/>
                </a:cubicBezTo>
                <a:cubicBezTo>
                  <a:pt x="474" y="153"/>
                  <a:pt x="473" y="153"/>
                  <a:pt x="474" y="153"/>
                </a:cubicBezTo>
                <a:cubicBezTo>
                  <a:pt x="474" y="152"/>
                  <a:pt x="474" y="153"/>
                  <a:pt x="474" y="153"/>
                </a:cubicBezTo>
                <a:cubicBezTo>
                  <a:pt x="474" y="153"/>
                  <a:pt x="475" y="152"/>
                  <a:pt x="475" y="152"/>
                </a:cubicBezTo>
                <a:cubicBezTo>
                  <a:pt x="476" y="152"/>
                  <a:pt x="476" y="152"/>
                  <a:pt x="476" y="151"/>
                </a:cubicBezTo>
                <a:cubicBezTo>
                  <a:pt x="477" y="151"/>
                  <a:pt x="477" y="151"/>
                  <a:pt x="477" y="151"/>
                </a:cubicBezTo>
                <a:cubicBezTo>
                  <a:pt x="478" y="150"/>
                  <a:pt x="478" y="150"/>
                  <a:pt x="479" y="150"/>
                </a:cubicBezTo>
                <a:cubicBezTo>
                  <a:pt x="480" y="149"/>
                  <a:pt x="480" y="148"/>
                  <a:pt x="482" y="148"/>
                </a:cubicBezTo>
                <a:cubicBezTo>
                  <a:pt x="482" y="148"/>
                  <a:pt x="483" y="148"/>
                  <a:pt x="483" y="148"/>
                </a:cubicBezTo>
                <a:cubicBezTo>
                  <a:pt x="483" y="148"/>
                  <a:pt x="484" y="148"/>
                  <a:pt x="484" y="148"/>
                </a:cubicBezTo>
                <a:cubicBezTo>
                  <a:pt x="483" y="148"/>
                  <a:pt x="482" y="148"/>
                  <a:pt x="481" y="148"/>
                </a:cubicBezTo>
                <a:cubicBezTo>
                  <a:pt x="481" y="147"/>
                  <a:pt x="482" y="147"/>
                  <a:pt x="482" y="146"/>
                </a:cubicBezTo>
                <a:cubicBezTo>
                  <a:pt x="482" y="146"/>
                  <a:pt x="481" y="146"/>
                  <a:pt x="481" y="146"/>
                </a:cubicBezTo>
                <a:cubicBezTo>
                  <a:pt x="481" y="145"/>
                  <a:pt x="481" y="145"/>
                  <a:pt x="481" y="145"/>
                </a:cubicBezTo>
                <a:cubicBezTo>
                  <a:pt x="480" y="144"/>
                  <a:pt x="482" y="144"/>
                  <a:pt x="482" y="143"/>
                </a:cubicBezTo>
                <a:cubicBezTo>
                  <a:pt x="481" y="143"/>
                  <a:pt x="481" y="144"/>
                  <a:pt x="480" y="144"/>
                </a:cubicBezTo>
                <a:cubicBezTo>
                  <a:pt x="480" y="144"/>
                  <a:pt x="480" y="144"/>
                  <a:pt x="480" y="143"/>
                </a:cubicBezTo>
                <a:cubicBezTo>
                  <a:pt x="480" y="143"/>
                  <a:pt x="481" y="143"/>
                  <a:pt x="481" y="143"/>
                </a:cubicBezTo>
                <a:cubicBezTo>
                  <a:pt x="481" y="143"/>
                  <a:pt x="481" y="143"/>
                  <a:pt x="481" y="143"/>
                </a:cubicBezTo>
                <a:cubicBezTo>
                  <a:pt x="482" y="142"/>
                  <a:pt x="483" y="142"/>
                  <a:pt x="483" y="142"/>
                </a:cubicBezTo>
                <a:cubicBezTo>
                  <a:pt x="483" y="142"/>
                  <a:pt x="482" y="142"/>
                  <a:pt x="482" y="142"/>
                </a:cubicBezTo>
                <a:cubicBezTo>
                  <a:pt x="481" y="142"/>
                  <a:pt x="480" y="142"/>
                  <a:pt x="480" y="141"/>
                </a:cubicBezTo>
                <a:cubicBezTo>
                  <a:pt x="481" y="141"/>
                  <a:pt x="480" y="139"/>
                  <a:pt x="481" y="140"/>
                </a:cubicBezTo>
                <a:cubicBezTo>
                  <a:pt x="482" y="140"/>
                  <a:pt x="482" y="139"/>
                  <a:pt x="483" y="139"/>
                </a:cubicBezTo>
                <a:cubicBezTo>
                  <a:pt x="482" y="139"/>
                  <a:pt x="482" y="139"/>
                  <a:pt x="482" y="139"/>
                </a:cubicBezTo>
                <a:cubicBezTo>
                  <a:pt x="481" y="140"/>
                  <a:pt x="481" y="139"/>
                  <a:pt x="481" y="139"/>
                </a:cubicBezTo>
                <a:cubicBezTo>
                  <a:pt x="481" y="139"/>
                  <a:pt x="481" y="140"/>
                  <a:pt x="480" y="139"/>
                </a:cubicBezTo>
                <a:cubicBezTo>
                  <a:pt x="480" y="139"/>
                  <a:pt x="480" y="139"/>
                  <a:pt x="480" y="139"/>
                </a:cubicBezTo>
                <a:cubicBezTo>
                  <a:pt x="480" y="139"/>
                  <a:pt x="480" y="138"/>
                  <a:pt x="480" y="138"/>
                </a:cubicBezTo>
                <a:cubicBezTo>
                  <a:pt x="480" y="138"/>
                  <a:pt x="479" y="139"/>
                  <a:pt x="480" y="138"/>
                </a:cubicBezTo>
                <a:cubicBezTo>
                  <a:pt x="479" y="138"/>
                  <a:pt x="479" y="139"/>
                  <a:pt x="479" y="139"/>
                </a:cubicBezTo>
                <a:cubicBezTo>
                  <a:pt x="478" y="139"/>
                  <a:pt x="478" y="138"/>
                  <a:pt x="478" y="138"/>
                </a:cubicBezTo>
                <a:cubicBezTo>
                  <a:pt x="478" y="138"/>
                  <a:pt x="478" y="137"/>
                  <a:pt x="479" y="137"/>
                </a:cubicBezTo>
                <a:cubicBezTo>
                  <a:pt x="479" y="137"/>
                  <a:pt x="480" y="137"/>
                  <a:pt x="481" y="137"/>
                </a:cubicBezTo>
                <a:cubicBezTo>
                  <a:pt x="481" y="137"/>
                  <a:pt x="483" y="137"/>
                  <a:pt x="483" y="136"/>
                </a:cubicBezTo>
                <a:cubicBezTo>
                  <a:pt x="483" y="136"/>
                  <a:pt x="481" y="137"/>
                  <a:pt x="480" y="136"/>
                </a:cubicBezTo>
                <a:cubicBezTo>
                  <a:pt x="480" y="136"/>
                  <a:pt x="482" y="135"/>
                  <a:pt x="482" y="135"/>
                </a:cubicBezTo>
                <a:cubicBezTo>
                  <a:pt x="481" y="135"/>
                  <a:pt x="481" y="135"/>
                  <a:pt x="481" y="135"/>
                </a:cubicBezTo>
                <a:cubicBezTo>
                  <a:pt x="481" y="134"/>
                  <a:pt x="482" y="134"/>
                  <a:pt x="482" y="134"/>
                </a:cubicBezTo>
                <a:cubicBezTo>
                  <a:pt x="483" y="134"/>
                  <a:pt x="483" y="134"/>
                  <a:pt x="483" y="134"/>
                </a:cubicBezTo>
                <a:cubicBezTo>
                  <a:pt x="483" y="134"/>
                  <a:pt x="482" y="134"/>
                  <a:pt x="481" y="134"/>
                </a:cubicBezTo>
                <a:cubicBezTo>
                  <a:pt x="481" y="133"/>
                  <a:pt x="482" y="133"/>
                  <a:pt x="482" y="133"/>
                </a:cubicBezTo>
                <a:cubicBezTo>
                  <a:pt x="483" y="132"/>
                  <a:pt x="483" y="133"/>
                  <a:pt x="484" y="133"/>
                </a:cubicBezTo>
                <a:cubicBezTo>
                  <a:pt x="484" y="134"/>
                  <a:pt x="485" y="135"/>
                  <a:pt x="485" y="134"/>
                </a:cubicBezTo>
                <a:cubicBezTo>
                  <a:pt x="485" y="134"/>
                  <a:pt x="485" y="134"/>
                  <a:pt x="485" y="134"/>
                </a:cubicBezTo>
                <a:cubicBezTo>
                  <a:pt x="485" y="133"/>
                  <a:pt x="485" y="133"/>
                  <a:pt x="484" y="133"/>
                </a:cubicBezTo>
                <a:cubicBezTo>
                  <a:pt x="484" y="133"/>
                  <a:pt x="484" y="133"/>
                  <a:pt x="484" y="132"/>
                </a:cubicBezTo>
                <a:cubicBezTo>
                  <a:pt x="484" y="132"/>
                  <a:pt x="483" y="132"/>
                  <a:pt x="484" y="132"/>
                </a:cubicBezTo>
                <a:cubicBezTo>
                  <a:pt x="484" y="131"/>
                  <a:pt x="485" y="130"/>
                  <a:pt x="486" y="130"/>
                </a:cubicBezTo>
                <a:cubicBezTo>
                  <a:pt x="486" y="130"/>
                  <a:pt x="488" y="131"/>
                  <a:pt x="488" y="131"/>
                </a:cubicBezTo>
                <a:cubicBezTo>
                  <a:pt x="488" y="130"/>
                  <a:pt x="486" y="131"/>
                  <a:pt x="486" y="130"/>
                </a:cubicBezTo>
                <a:cubicBezTo>
                  <a:pt x="486" y="130"/>
                  <a:pt x="485" y="130"/>
                  <a:pt x="485" y="130"/>
                </a:cubicBezTo>
                <a:cubicBezTo>
                  <a:pt x="485" y="130"/>
                  <a:pt x="484" y="131"/>
                  <a:pt x="484" y="131"/>
                </a:cubicBezTo>
                <a:cubicBezTo>
                  <a:pt x="484" y="131"/>
                  <a:pt x="484" y="131"/>
                  <a:pt x="484" y="131"/>
                </a:cubicBezTo>
                <a:cubicBezTo>
                  <a:pt x="484" y="131"/>
                  <a:pt x="483" y="132"/>
                  <a:pt x="483" y="131"/>
                </a:cubicBezTo>
                <a:cubicBezTo>
                  <a:pt x="483" y="130"/>
                  <a:pt x="483" y="130"/>
                  <a:pt x="484" y="130"/>
                </a:cubicBezTo>
                <a:cubicBezTo>
                  <a:pt x="483" y="131"/>
                  <a:pt x="485" y="129"/>
                  <a:pt x="485" y="129"/>
                </a:cubicBezTo>
                <a:cubicBezTo>
                  <a:pt x="485" y="129"/>
                  <a:pt x="485" y="129"/>
                  <a:pt x="485" y="129"/>
                </a:cubicBezTo>
                <a:cubicBezTo>
                  <a:pt x="484" y="129"/>
                  <a:pt x="486" y="128"/>
                  <a:pt x="486" y="128"/>
                </a:cubicBezTo>
                <a:cubicBezTo>
                  <a:pt x="485" y="128"/>
                  <a:pt x="484" y="130"/>
                  <a:pt x="483" y="130"/>
                </a:cubicBezTo>
                <a:cubicBezTo>
                  <a:pt x="482" y="129"/>
                  <a:pt x="483" y="128"/>
                  <a:pt x="483" y="128"/>
                </a:cubicBezTo>
                <a:cubicBezTo>
                  <a:pt x="484" y="127"/>
                  <a:pt x="484" y="127"/>
                  <a:pt x="484" y="127"/>
                </a:cubicBezTo>
                <a:cubicBezTo>
                  <a:pt x="485" y="126"/>
                  <a:pt x="486" y="126"/>
                  <a:pt x="486" y="126"/>
                </a:cubicBezTo>
                <a:cubicBezTo>
                  <a:pt x="486" y="125"/>
                  <a:pt x="487" y="125"/>
                  <a:pt x="487" y="125"/>
                </a:cubicBezTo>
                <a:cubicBezTo>
                  <a:pt x="488" y="125"/>
                  <a:pt x="488" y="124"/>
                  <a:pt x="488" y="124"/>
                </a:cubicBezTo>
                <a:cubicBezTo>
                  <a:pt x="489" y="124"/>
                  <a:pt x="489" y="124"/>
                  <a:pt x="489" y="124"/>
                </a:cubicBezTo>
                <a:cubicBezTo>
                  <a:pt x="488" y="124"/>
                  <a:pt x="487" y="125"/>
                  <a:pt x="486" y="125"/>
                </a:cubicBezTo>
                <a:cubicBezTo>
                  <a:pt x="486" y="126"/>
                  <a:pt x="485" y="126"/>
                  <a:pt x="484" y="127"/>
                </a:cubicBezTo>
                <a:cubicBezTo>
                  <a:pt x="482" y="129"/>
                  <a:pt x="482" y="125"/>
                  <a:pt x="481" y="126"/>
                </a:cubicBezTo>
                <a:cubicBezTo>
                  <a:pt x="481" y="126"/>
                  <a:pt x="481" y="126"/>
                  <a:pt x="480" y="126"/>
                </a:cubicBezTo>
                <a:cubicBezTo>
                  <a:pt x="480" y="126"/>
                  <a:pt x="481" y="125"/>
                  <a:pt x="481" y="124"/>
                </a:cubicBezTo>
                <a:cubicBezTo>
                  <a:pt x="481" y="124"/>
                  <a:pt x="481" y="123"/>
                  <a:pt x="482" y="123"/>
                </a:cubicBezTo>
                <a:cubicBezTo>
                  <a:pt x="482" y="123"/>
                  <a:pt x="483" y="122"/>
                  <a:pt x="483" y="121"/>
                </a:cubicBezTo>
                <a:cubicBezTo>
                  <a:pt x="483" y="121"/>
                  <a:pt x="482" y="122"/>
                  <a:pt x="482" y="122"/>
                </a:cubicBezTo>
                <a:cubicBezTo>
                  <a:pt x="482" y="121"/>
                  <a:pt x="483" y="120"/>
                  <a:pt x="483" y="119"/>
                </a:cubicBezTo>
                <a:cubicBezTo>
                  <a:pt x="484" y="119"/>
                  <a:pt x="484" y="118"/>
                  <a:pt x="484" y="118"/>
                </a:cubicBezTo>
                <a:cubicBezTo>
                  <a:pt x="485" y="117"/>
                  <a:pt x="485" y="117"/>
                  <a:pt x="485" y="116"/>
                </a:cubicBezTo>
                <a:cubicBezTo>
                  <a:pt x="485" y="116"/>
                  <a:pt x="487" y="115"/>
                  <a:pt x="487" y="115"/>
                </a:cubicBezTo>
                <a:cubicBezTo>
                  <a:pt x="487" y="115"/>
                  <a:pt x="484" y="117"/>
                  <a:pt x="484" y="116"/>
                </a:cubicBezTo>
                <a:cubicBezTo>
                  <a:pt x="484" y="117"/>
                  <a:pt x="484" y="118"/>
                  <a:pt x="483" y="118"/>
                </a:cubicBezTo>
                <a:cubicBezTo>
                  <a:pt x="483" y="118"/>
                  <a:pt x="484" y="117"/>
                  <a:pt x="483" y="117"/>
                </a:cubicBezTo>
                <a:cubicBezTo>
                  <a:pt x="483" y="117"/>
                  <a:pt x="483" y="119"/>
                  <a:pt x="482" y="119"/>
                </a:cubicBezTo>
                <a:cubicBezTo>
                  <a:pt x="482" y="120"/>
                  <a:pt x="481" y="120"/>
                  <a:pt x="481" y="121"/>
                </a:cubicBezTo>
                <a:cubicBezTo>
                  <a:pt x="481" y="122"/>
                  <a:pt x="480" y="122"/>
                  <a:pt x="480" y="122"/>
                </a:cubicBezTo>
                <a:cubicBezTo>
                  <a:pt x="480" y="123"/>
                  <a:pt x="480" y="123"/>
                  <a:pt x="479" y="124"/>
                </a:cubicBezTo>
                <a:cubicBezTo>
                  <a:pt x="479" y="123"/>
                  <a:pt x="479" y="123"/>
                  <a:pt x="479" y="123"/>
                </a:cubicBezTo>
                <a:cubicBezTo>
                  <a:pt x="479" y="123"/>
                  <a:pt x="478" y="125"/>
                  <a:pt x="478" y="125"/>
                </a:cubicBezTo>
                <a:cubicBezTo>
                  <a:pt x="478" y="126"/>
                  <a:pt x="477" y="126"/>
                  <a:pt x="476" y="127"/>
                </a:cubicBezTo>
                <a:cubicBezTo>
                  <a:pt x="476" y="127"/>
                  <a:pt x="475" y="128"/>
                  <a:pt x="474" y="127"/>
                </a:cubicBezTo>
                <a:cubicBezTo>
                  <a:pt x="474" y="126"/>
                  <a:pt x="476" y="125"/>
                  <a:pt x="475" y="125"/>
                </a:cubicBezTo>
                <a:cubicBezTo>
                  <a:pt x="475" y="124"/>
                  <a:pt x="475" y="126"/>
                  <a:pt x="474" y="125"/>
                </a:cubicBezTo>
                <a:cubicBezTo>
                  <a:pt x="473" y="125"/>
                  <a:pt x="472" y="126"/>
                  <a:pt x="471" y="126"/>
                </a:cubicBezTo>
                <a:cubicBezTo>
                  <a:pt x="472" y="125"/>
                  <a:pt x="472" y="125"/>
                  <a:pt x="472" y="125"/>
                </a:cubicBezTo>
                <a:cubicBezTo>
                  <a:pt x="472" y="125"/>
                  <a:pt x="472" y="125"/>
                  <a:pt x="472" y="125"/>
                </a:cubicBezTo>
                <a:cubicBezTo>
                  <a:pt x="472" y="124"/>
                  <a:pt x="473" y="125"/>
                  <a:pt x="473" y="124"/>
                </a:cubicBezTo>
                <a:cubicBezTo>
                  <a:pt x="473" y="124"/>
                  <a:pt x="474" y="124"/>
                  <a:pt x="474" y="123"/>
                </a:cubicBezTo>
                <a:cubicBezTo>
                  <a:pt x="473" y="123"/>
                  <a:pt x="474" y="122"/>
                  <a:pt x="474" y="122"/>
                </a:cubicBezTo>
                <a:cubicBezTo>
                  <a:pt x="474" y="122"/>
                  <a:pt x="474" y="122"/>
                  <a:pt x="474" y="121"/>
                </a:cubicBezTo>
                <a:cubicBezTo>
                  <a:pt x="475" y="121"/>
                  <a:pt x="476" y="121"/>
                  <a:pt x="476" y="121"/>
                </a:cubicBezTo>
                <a:cubicBezTo>
                  <a:pt x="476" y="121"/>
                  <a:pt x="478" y="120"/>
                  <a:pt x="478" y="120"/>
                </a:cubicBezTo>
                <a:cubicBezTo>
                  <a:pt x="478" y="120"/>
                  <a:pt x="475" y="121"/>
                  <a:pt x="475" y="121"/>
                </a:cubicBezTo>
                <a:cubicBezTo>
                  <a:pt x="475" y="121"/>
                  <a:pt x="476" y="119"/>
                  <a:pt x="476" y="119"/>
                </a:cubicBezTo>
                <a:cubicBezTo>
                  <a:pt x="476" y="119"/>
                  <a:pt x="476" y="119"/>
                  <a:pt x="476" y="120"/>
                </a:cubicBezTo>
                <a:cubicBezTo>
                  <a:pt x="475" y="120"/>
                  <a:pt x="475" y="120"/>
                  <a:pt x="474" y="120"/>
                </a:cubicBezTo>
                <a:cubicBezTo>
                  <a:pt x="475" y="120"/>
                  <a:pt x="475" y="120"/>
                  <a:pt x="475" y="120"/>
                </a:cubicBezTo>
                <a:cubicBezTo>
                  <a:pt x="474" y="121"/>
                  <a:pt x="474" y="122"/>
                  <a:pt x="473" y="122"/>
                </a:cubicBezTo>
                <a:cubicBezTo>
                  <a:pt x="473" y="122"/>
                  <a:pt x="472" y="122"/>
                  <a:pt x="472" y="121"/>
                </a:cubicBezTo>
                <a:cubicBezTo>
                  <a:pt x="472" y="121"/>
                  <a:pt x="473" y="121"/>
                  <a:pt x="473" y="121"/>
                </a:cubicBezTo>
                <a:cubicBezTo>
                  <a:pt x="473" y="121"/>
                  <a:pt x="471" y="121"/>
                  <a:pt x="472" y="121"/>
                </a:cubicBezTo>
                <a:cubicBezTo>
                  <a:pt x="472" y="120"/>
                  <a:pt x="472" y="120"/>
                  <a:pt x="473" y="120"/>
                </a:cubicBezTo>
                <a:cubicBezTo>
                  <a:pt x="472" y="120"/>
                  <a:pt x="472" y="120"/>
                  <a:pt x="472" y="120"/>
                </a:cubicBezTo>
                <a:cubicBezTo>
                  <a:pt x="472" y="120"/>
                  <a:pt x="472" y="119"/>
                  <a:pt x="472" y="119"/>
                </a:cubicBezTo>
                <a:cubicBezTo>
                  <a:pt x="471" y="119"/>
                  <a:pt x="471" y="120"/>
                  <a:pt x="471" y="120"/>
                </a:cubicBezTo>
                <a:cubicBezTo>
                  <a:pt x="471" y="121"/>
                  <a:pt x="470" y="119"/>
                  <a:pt x="470" y="119"/>
                </a:cubicBezTo>
                <a:cubicBezTo>
                  <a:pt x="470" y="119"/>
                  <a:pt x="469" y="118"/>
                  <a:pt x="469" y="119"/>
                </a:cubicBezTo>
                <a:cubicBezTo>
                  <a:pt x="469" y="119"/>
                  <a:pt x="469" y="120"/>
                  <a:pt x="469" y="120"/>
                </a:cubicBezTo>
                <a:cubicBezTo>
                  <a:pt x="469" y="120"/>
                  <a:pt x="468" y="120"/>
                  <a:pt x="468" y="120"/>
                </a:cubicBezTo>
                <a:cubicBezTo>
                  <a:pt x="467" y="120"/>
                  <a:pt x="467" y="121"/>
                  <a:pt x="466" y="121"/>
                </a:cubicBezTo>
                <a:cubicBezTo>
                  <a:pt x="467" y="121"/>
                  <a:pt x="467" y="120"/>
                  <a:pt x="468" y="120"/>
                </a:cubicBezTo>
                <a:cubicBezTo>
                  <a:pt x="468" y="120"/>
                  <a:pt x="469" y="120"/>
                  <a:pt x="469" y="121"/>
                </a:cubicBezTo>
                <a:cubicBezTo>
                  <a:pt x="469" y="121"/>
                  <a:pt x="470" y="121"/>
                  <a:pt x="471" y="121"/>
                </a:cubicBezTo>
                <a:cubicBezTo>
                  <a:pt x="471" y="121"/>
                  <a:pt x="471" y="122"/>
                  <a:pt x="470" y="122"/>
                </a:cubicBezTo>
                <a:cubicBezTo>
                  <a:pt x="470" y="121"/>
                  <a:pt x="470" y="121"/>
                  <a:pt x="470" y="121"/>
                </a:cubicBezTo>
                <a:cubicBezTo>
                  <a:pt x="470" y="121"/>
                  <a:pt x="470" y="122"/>
                  <a:pt x="470" y="122"/>
                </a:cubicBezTo>
                <a:cubicBezTo>
                  <a:pt x="470" y="122"/>
                  <a:pt x="470" y="123"/>
                  <a:pt x="470" y="123"/>
                </a:cubicBezTo>
                <a:cubicBezTo>
                  <a:pt x="470" y="123"/>
                  <a:pt x="470" y="122"/>
                  <a:pt x="470" y="122"/>
                </a:cubicBezTo>
                <a:cubicBezTo>
                  <a:pt x="471" y="122"/>
                  <a:pt x="471" y="122"/>
                  <a:pt x="471" y="122"/>
                </a:cubicBezTo>
                <a:cubicBezTo>
                  <a:pt x="470" y="123"/>
                  <a:pt x="469" y="123"/>
                  <a:pt x="469" y="123"/>
                </a:cubicBezTo>
                <a:cubicBezTo>
                  <a:pt x="469" y="124"/>
                  <a:pt x="470" y="123"/>
                  <a:pt x="470" y="123"/>
                </a:cubicBezTo>
                <a:cubicBezTo>
                  <a:pt x="470" y="123"/>
                  <a:pt x="470" y="123"/>
                  <a:pt x="471" y="123"/>
                </a:cubicBezTo>
                <a:cubicBezTo>
                  <a:pt x="471" y="123"/>
                  <a:pt x="471" y="123"/>
                  <a:pt x="471" y="123"/>
                </a:cubicBezTo>
                <a:cubicBezTo>
                  <a:pt x="472" y="123"/>
                  <a:pt x="471" y="124"/>
                  <a:pt x="471" y="124"/>
                </a:cubicBezTo>
                <a:cubicBezTo>
                  <a:pt x="471" y="124"/>
                  <a:pt x="471" y="124"/>
                  <a:pt x="470" y="124"/>
                </a:cubicBezTo>
                <a:cubicBezTo>
                  <a:pt x="471" y="124"/>
                  <a:pt x="471" y="124"/>
                  <a:pt x="471" y="124"/>
                </a:cubicBezTo>
                <a:cubicBezTo>
                  <a:pt x="470" y="125"/>
                  <a:pt x="469" y="126"/>
                  <a:pt x="468" y="126"/>
                </a:cubicBezTo>
                <a:cubicBezTo>
                  <a:pt x="468" y="126"/>
                  <a:pt x="468" y="126"/>
                  <a:pt x="468" y="125"/>
                </a:cubicBezTo>
                <a:cubicBezTo>
                  <a:pt x="468" y="126"/>
                  <a:pt x="467" y="125"/>
                  <a:pt x="467" y="125"/>
                </a:cubicBezTo>
                <a:cubicBezTo>
                  <a:pt x="467" y="125"/>
                  <a:pt x="466" y="126"/>
                  <a:pt x="466" y="126"/>
                </a:cubicBezTo>
                <a:cubicBezTo>
                  <a:pt x="466" y="126"/>
                  <a:pt x="467" y="126"/>
                  <a:pt x="467" y="126"/>
                </a:cubicBezTo>
                <a:cubicBezTo>
                  <a:pt x="468" y="126"/>
                  <a:pt x="467" y="126"/>
                  <a:pt x="466" y="126"/>
                </a:cubicBezTo>
                <a:cubicBezTo>
                  <a:pt x="466" y="126"/>
                  <a:pt x="465" y="126"/>
                  <a:pt x="465" y="126"/>
                </a:cubicBezTo>
                <a:cubicBezTo>
                  <a:pt x="465" y="126"/>
                  <a:pt x="465" y="127"/>
                  <a:pt x="465" y="127"/>
                </a:cubicBezTo>
                <a:cubicBezTo>
                  <a:pt x="464" y="127"/>
                  <a:pt x="464" y="127"/>
                  <a:pt x="463" y="127"/>
                </a:cubicBezTo>
                <a:cubicBezTo>
                  <a:pt x="464" y="127"/>
                  <a:pt x="464" y="127"/>
                  <a:pt x="464" y="126"/>
                </a:cubicBezTo>
                <a:cubicBezTo>
                  <a:pt x="464" y="126"/>
                  <a:pt x="464" y="126"/>
                  <a:pt x="463" y="126"/>
                </a:cubicBezTo>
                <a:cubicBezTo>
                  <a:pt x="464" y="126"/>
                  <a:pt x="464" y="126"/>
                  <a:pt x="464" y="126"/>
                </a:cubicBezTo>
                <a:cubicBezTo>
                  <a:pt x="464" y="126"/>
                  <a:pt x="463" y="126"/>
                  <a:pt x="463" y="126"/>
                </a:cubicBezTo>
                <a:cubicBezTo>
                  <a:pt x="463" y="126"/>
                  <a:pt x="463" y="126"/>
                  <a:pt x="464" y="126"/>
                </a:cubicBezTo>
                <a:cubicBezTo>
                  <a:pt x="463" y="126"/>
                  <a:pt x="463" y="126"/>
                  <a:pt x="463" y="126"/>
                </a:cubicBezTo>
                <a:cubicBezTo>
                  <a:pt x="464" y="125"/>
                  <a:pt x="462" y="126"/>
                  <a:pt x="462" y="125"/>
                </a:cubicBezTo>
                <a:cubicBezTo>
                  <a:pt x="462" y="125"/>
                  <a:pt x="461" y="125"/>
                  <a:pt x="461" y="125"/>
                </a:cubicBezTo>
                <a:cubicBezTo>
                  <a:pt x="461" y="124"/>
                  <a:pt x="461" y="123"/>
                  <a:pt x="460" y="123"/>
                </a:cubicBezTo>
                <a:cubicBezTo>
                  <a:pt x="460" y="123"/>
                  <a:pt x="462" y="123"/>
                  <a:pt x="462" y="123"/>
                </a:cubicBezTo>
                <a:cubicBezTo>
                  <a:pt x="462" y="122"/>
                  <a:pt x="460" y="123"/>
                  <a:pt x="460" y="123"/>
                </a:cubicBezTo>
                <a:cubicBezTo>
                  <a:pt x="460" y="123"/>
                  <a:pt x="460" y="122"/>
                  <a:pt x="460" y="122"/>
                </a:cubicBezTo>
                <a:cubicBezTo>
                  <a:pt x="460" y="121"/>
                  <a:pt x="460" y="121"/>
                  <a:pt x="460" y="121"/>
                </a:cubicBezTo>
                <a:cubicBezTo>
                  <a:pt x="461" y="120"/>
                  <a:pt x="460" y="120"/>
                  <a:pt x="460" y="119"/>
                </a:cubicBezTo>
                <a:cubicBezTo>
                  <a:pt x="460" y="118"/>
                  <a:pt x="459" y="119"/>
                  <a:pt x="459" y="118"/>
                </a:cubicBezTo>
                <a:cubicBezTo>
                  <a:pt x="459" y="118"/>
                  <a:pt x="459" y="118"/>
                  <a:pt x="459" y="118"/>
                </a:cubicBezTo>
                <a:cubicBezTo>
                  <a:pt x="459" y="118"/>
                  <a:pt x="458" y="118"/>
                  <a:pt x="458" y="118"/>
                </a:cubicBezTo>
                <a:cubicBezTo>
                  <a:pt x="458" y="118"/>
                  <a:pt x="459" y="118"/>
                  <a:pt x="459" y="118"/>
                </a:cubicBezTo>
                <a:cubicBezTo>
                  <a:pt x="459" y="118"/>
                  <a:pt x="460" y="118"/>
                  <a:pt x="460" y="117"/>
                </a:cubicBezTo>
                <a:cubicBezTo>
                  <a:pt x="459" y="117"/>
                  <a:pt x="458" y="118"/>
                  <a:pt x="457" y="117"/>
                </a:cubicBezTo>
                <a:cubicBezTo>
                  <a:pt x="457" y="117"/>
                  <a:pt x="457" y="117"/>
                  <a:pt x="457" y="117"/>
                </a:cubicBezTo>
                <a:cubicBezTo>
                  <a:pt x="456" y="116"/>
                  <a:pt x="456" y="116"/>
                  <a:pt x="455" y="116"/>
                </a:cubicBezTo>
                <a:cubicBezTo>
                  <a:pt x="455" y="116"/>
                  <a:pt x="456" y="116"/>
                  <a:pt x="456" y="116"/>
                </a:cubicBezTo>
                <a:cubicBezTo>
                  <a:pt x="456" y="116"/>
                  <a:pt x="455" y="116"/>
                  <a:pt x="456" y="115"/>
                </a:cubicBezTo>
                <a:cubicBezTo>
                  <a:pt x="455" y="115"/>
                  <a:pt x="455" y="116"/>
                  <a:pt x="455" y="116"/>
                </a:cubicBezTo>
                <a:cubicBezTo>
                  <a:pt x="454" y="116"/>
                  <a:pt x="454" y="115"/>
                  <a:pt x="454" y="115"/>
                </a:cubicBezTo>
                <a:cubicBezTo>
                  <a:pt x="454" y="115"/>
                  <a:pt x="455" y="116"/>
                  <a:pt x="455" y="115"/>
                </a:cubicBezTo>
                <a:cubicBezTo>
                  <a:pt x="455" y="115"/>
                  <a:pt x="452" y="114"/>
                  <a:pt x="453" y="114"/>
                </a:cubicBezTo>
                <a:cubicBezTo>
                  <a:pt x="453" y="114"/>
                  <a:pt x="454" y="114"/>
                  <a:pt x="454" y="114"/>
                </a:cubicBezTo>
                <a:cubicBezTo>
                  <a:pt x="454" y="113"/>
                  <a:pt x="455" y="114"/>
                  <a:pt x="455" y="113"/>
                </a:cubicBezTo>
                <a:cubicBezTo>
                  <a:pt x="455" y="113"/>
                  <a:pt x="456" y="113"/>
                  <a:pt x="456" y="113"/>
                </a:cubicBezTo>
                <a:cubicBezTo>
                  <a:pt x="456" y="113"/>
                  <a:pt x="457" y="112"/>
                  <a:pt x="457" y="112"/>
                </a:cubicBezTo>
                <a:cubicBezTo>
                  <a:pt x="458" y="111"/>
                  <a:pt x="458" y="111"/>
                  <a:pt x="458" y="111"/>
                </a:cubicBezTo>
                <a:cubicBezTo>
                  <a:pt x="459" y="110"/>
                  <a:pt x="459" y="110"/>
                  <a:pt x="460" y="110"/>
                </a:cubicBezTo>
                <a:cubicBezTo>
                  <a:pt x="460" y="110"/>
                  <a:pt x="461" y="109"/>
                  <a:pt x="461" y="110"/>
                </a:cubicBezTo>
                <a:cubicBezTo>
                  <a:pt x="461" y="110"/>
                  <a:pt x="461" y="111"/>
                  <a:pt x="460" y="111"/>
                </a:cubicBezTo>
                <a:cubicBezTo>
                  <a:pt x="460" y="111"/>
                  <a:pt x="459" y="111"/>
                  <a:pt x="459" y="112"/>
                </a:cubicBezTo>
                <a:cubicBezTo>
                  <a:pt x="458" y="113"/>
                  <a:pt x="458" y="113"/>
                  <a:pt x="458" y="113"/>
                </a:cubicBezTo>
                <a:cubicBezTo>
                  <a:pt x="457" y="113"/>
                  <a:pt x="457" y="114"/>
                  <a:pt x="458" y="114"/>
                </a:cubicBezTo>
                <a:cubicBezTo>
                  <a:pt x="458" y="113"/>
                  <a:pt x="459" y="112"/>
                  <a:pt x="459" y="112"/>
                </a:cubicBezTo>
                <a:cubicBezTo>
                  <a:pt x="460" y="111"/>
                  <a:pt x="460" y="111"/>
                  <a:pt x="461" y="111"/>
                </a:cubicBezTo>
                <a:cubicBezTo>
                  <a:pt x="462" y="111"/>
                  <a:pt x="462" y="111"/>
                  <a:pt x="463" y="111"/>
                </a:cubicBezTo>
                <a:cubicBezTo>
                  <a:pt x="463" y="111"/>
                  <a:pt x="462" y="111"/>
                  <a:pt x="462" y="111"/>
                </a:cubicBezTo>
                <a:cubicBezTo>
                  <a:pt x="462" y="111"/>
                  <a:pt x="461" y="111"/>
                  <a:pt x="461" y="110"/>
                </a:cubicBezTo>
                <a:cubicBezTo>
                  <a:pt x="461" y="110"/>
                  <a:pt x="461" y="110"/>
                  <a:pt x="461" y="109"/>
                </a:cubicBezTo>
                <a:cubicBezTo>
                  <a:pt x="461" y="109"/>
                  <a:pt x="461" y="109"/>
                  <a:pt x="461" y="109"/>
                </a:cubicBezTo>
                <a:cubicBezTo>
                  <a:pt x="460" y="109"/>
                  <a:pt x="460" y="109"/>
                  <a:pt x="459" y="110"/>
                </a:cubicBezTo>
                <a:cubicBezTo>
                  <a:pt x="458" y="110"/>
                  <a:pt x="458" y="110"/>
                  <a:pt x="457" y="110"/>
                </a:cubicBezTo>
                <a:cubicBezTo>
                  <a:pt x="455" y="111"/>
                  <a:pt x="453" y="112"/>
                  <a:pt x="452" y="112"/>
                </a:cubicBezTo>
                <a:cubicBezTo>
                  <a:pt x="450" y="112"/>
                  <a:pt x="448" y="112"/>
                  <a:pt x="447" y="112"/>
                </a:cubicBezTo>
                <a:cubicBezTo>
                  <a:pt x="446" y="111"/>
                  <a:pt x="446" y="111"/>
                  <a:pt x="445" y="111"/>
                </a:cubicBezTo>
                <a:cubicBezTo>
                  <a:pt x="445" y="111"/>
                  <a:pt x="444" y="111"/>
                  <a:pt x="444" y="110"/>
                </a:cubicBezTo>
                <a:cubicBezTo>
                  <a:pt x="444" y="110"/>
                  <a:pt x="445" y="110"/>
                  <a:pt x="445" y="110"/>
                </a:cubicBezTo>
                <a:cubicBezTo>
                  <a:pt x="445" y="110"/>
                  <a:pt x="444" y="110"/>
                  <a:pt x="444" y="110"/>
                </a:cubicBezTo>
                <a:cubicBezTo>
                  <a:pt x="445" y="110"/>
                  <a:pt x="446" y="110"/>
                  <a:pt x="447" y="109"/>
                </a:cubicBezTo>
                <a:cubicBezTo>
                  <a:pt x="447" y="109"/>
                  <a:pt x="447" y="109"/>
                  <a:pt x="447" y="108"/>
                </a:cubicBezTo>
                <a:cubicBezTo>
                  <a:pt x="447" y="108"/>
                  <a:pt x="447" y="108"/>
                  <a:pt x="447" y="108"/>
                </a:cubicBezTo>
                <a:cubicBezTo>
                  <a:pt x="447" y="108"/>
                  <a:pt x="446" y="108"/>
                  <a:pt x="446" y="108"/>
                </a:cubicBezTo>
                <a:cubicBezTo>
                  <a:pt x="446" y="108"/>
                  <a:pt x="446" y="109"/>
                  <a:pt x="446" y="109"/>
                </a:cubicBezTo>
                <a:cubicBezTo>
                  <a:pt x="446" y="109"/>
                  <a:pt x="444" y="110"/>
                  <a:pt x="443" y="110"/>
                </a:cubicBezTo>
                <a:cubicBezTo>
                  <a:pt x="443" y="110"/>
                  <a:pt x="442" y="109"/>
                  <a:pt x="442" y="109"/>
                </a:cubicBezTo>
                <a:cubicBezTo>
                  <a:pt x="442" y="109"/>
                  <a:pt x="441" y="109"/>
                  <a:pt x="441" y="109"/>
                </a:cubicBezTo>
                <a:cubicBezTo>
                  <a:pt x="440" y="109"/>
                  <a:pt x="439" y="109"/>
                  <a:pt x="438" y="108"/>
                </a:cubicBezTo>
                <a:cubicBezTo>
                  <a:pt x="435" y="108"/>
                  <a:pt x="433" y="109"/>
                  <a:pt x="431" y="109"/>
                </a:cubicBezTo>
                <a:cubicBezTo>
                  <a:pt x="429" y="109"/>
                  <a:pt x="428" y="109"/>
                  <a:pt x="427" y="109"/>
                </a:cubicBezTo>
                <a:cubicBezTo>
                  <a:pt x="427" y="109"/>
                  <a:pt x="426" y="109"/>
                  <a:pt x="426" y="109"/>
                </a:cubicBezTo>
                <a:cubicBezTo>
                  <a:pt x="426" y="109"/>
                  <a:pt x="426" y="109"/>
                  <a:pt x="425" y="109"/>
                </a:cubicBezTo>
                <a:cubicBezTo>
                  <a:pt x="426" y="109"/>
                  <a:pt x="426" y="109"/>
                  <a:pt x="426" y="109"/>
                </a:cubicBezTo>
                <a:cubicBezTo>
                  <a:pt x="426" y="109"/>
                  <a:pt x="426" y="108"/>
                  <a:pt x="425" y="108"/>
                </a:cubicBezTo>
                <a:cubicBezTo>
                  <a:pt x="426" y="107"/>
                  <a:pt x="426" y="107"/>
                  <a:pt x="426" y="107"/>
                </a:cubicBezTo>
                <a:cubicBezTo>
                  <a:pt x="426" y="107"/>
                  <a:pt x="425" y="107"/>
                  <a:pt x="425" y="107"/>
                </a:cubicBezTo>
                <a:cubicBezTo>
                  <a:pt x="424" y="107"/>
                  <a:pt x="424" y="108"/>
                  <a:pt x="424" y="107"/>
                </a:cubicBezTo>
                <a:cubicBezTo>
                  <a:pt x="424" y="107"/>
                  <a:pt x="423" y="108"/>
                  <a:pt x="423" y="107"/>
                </a:cubicBezTo>
                <a:cubicBezTo>
                  <a:pt x="423" y="107"/>
                  <a:pt x="423" y="106"/>
                  <a:pt x="423" y="106"/>
                </a:cubicBezTo>
                <a:cubicBezTo>
                  <a:pt x="423" y="106"/>
                  <a:pt x="422" y="106"/>
                  <a:pt x="422" y="106"/>
                </a:cubicBezTo>
                <a:cubicBezTo>
                  <a:pt x="422" y="106"/>
                  <a:pt x="423" y="105"/>
                  <a:pt x="423" y="105"/>
                </a:cubicBezTo>
                <a:cubicBezTo>
                  <a:pt x="424" y="105"/>
                  <a:pt x="425" y="105"/>
                  <a:pt x="425" y="104"/>
                </a:cubicBezTo>
                <a:cubicBezTo>
                  <a:pt x="425" y="104"/>
                  <a:pt x="424" y="105"/>
                  <a:pt x="424" y="104"/>
                </a:cubicBezTo>
                <a:cubicBezTo>
                  <a:pt x="424" y="104"/>
                  <a:pt x="425" y="104"/>
                  <a:pt x="425" y="104"/>
                </a:cubicBezTo>
                <a:cubicBezTo>
                  <a:pt x="426" y="104"/>
                  <a:pt x="426" y="103"/>
                  <a:pt x="426" y="103"/>
                </a:cubicBezTo>
                <a:cubicBezTo>
                  <a:pt x="427" y="103"/>
                  <a:pt x="427" y="103"/>
                  <a:pt x="428" y="103"/>
                </a:cubicBezTo>
                <a:cubicBezTo>
                  <a:pt x="428" y="102"/>
                  <a:pt x="429" y="102"/>
                  <a:pt x="429" y="102"/>
                </a:cubicBezTo>
                <a:cubicBezTo>
                  <a:pt x="428" y="102"/>
                  <a:pt x="426" y="103"/>
                  <a:pt x="425" y="103"/>
                </a:cubicBezTo>
                <a:cubicBezTo>
                  <a:pt x="424" y="104"/>
                  <a:pt x="423" y="104"/>
                  <a:pt x="421" y="105"/>
                </a:cubicBezTo>
                <a:cubicBezTo>
                  <a:pt x="421" y="106"/>
                  <a:pt x="419" y="106"/>
                  <a:pt x="419" y="105"/>
                </a:cubicBezTo>
                <a:cubicBezTo>
                  <a:pt x="418" y="104"/>
                  <a:pt x="416" y="104"/>
                  <a:pt x="416" y="105"/>
                </a:cubicBezTo>
                <a:cubicBezTo>
                  <a:pt x="416" y="104"/>
                  <a:pt x="418" y="104"/>
                  <a:pt x="419" y="104"/>
                </a:cubicBezTo>
                <a:cubicBezTo>
                  <a:pt x="419" y="103"/>
                  <a:pt x="420" y="103"/>
                  <a:pt x="421" y="102"/>
                </a:cubicBezTo>
                <a:cubicBezTo>
                  <a:pt x="420" y="102"/>
                  <a:pt x="419" y="103"/>
                  <a:pt x="418" y="103"/>
                </a:cubicBezTo>
                <a:cubicBezTo>
                  <a:pt x="419" y="103"/>
                  <a:pt x="419" y="103"/>
                  <a:pt x="419" y="103"/>
                </a:cubicBezTo>
                <a:cubicBezTo>
                  <a:pt x="419" y="103"/>
                  <a:pt x="419" y="103"/>
                  <a:pt x="419" y="103"/>
                </a:cubicBezTo>
                <a:cubicBezTo>
                  <a:pt x="419" y="102"/>
                  <a:pt x="419" y="102"/>
                  <a:pt x="419" y="102"/>
                </a:cubicBezTo>
                <a:cubicBezTo>
                  <a:pt x="419" y="102"/>
                  <a:pt x="418" y="103"/>
                  <a:pt x="417" y="103"/>
                </a:cubicBezTo>
                <a:cubicBezTo>
                  <a:pt x="418" y="102"/>
                  <a:pt x="418" y="102"/>
                  <a:pt x="419" y="102"/>
                </a:cubicBezTo>
                <a:cubicBezTo>
                  <a:pt x="418" y="102"/>
                  <a:pt x="416" y="103"/>
                  <a:pt x="416" y="103"/>
                </a:cubicBezTo>
                <a:cubicBezTo>
                  <a:pt x="416" y="103"/>
                  <a:pt x="417" y="102"/>
                  <a:pt x="417" y="102"/>
                </a:cubicBezTo>
                <a:cubicBezTo>
                  <a:pt x="418" y="102"/>
                  <a:pt x="418" y="102"/>
                  <a:pt x="419" y="101"/>
                </a:cubicBezTo>
                <a:cubicBezTo>
                  <a:pt x="419" y="101"/>
                  <a:pt x="418" y="102"/>
                  <a:pt x="418" y="102"/>
                </a:cubicBezTo>
                <a:cubicBezTo>
                  <a:pt x="418" y="102"/>
                  <a:pt x="417" y="102"/>
                  <a:pt x="417" y="102"/>
                </a:cubicBezTo>
                <a:cubicBezTo>
                  <a:pt x="417" y="102"/>
                  <a:pt x="416" y="102"/>
                  <a:pt x="416" y="102"/>
                </a:cubicBezTo>
                <a:cubicBezTo>
                  <a:pt x="416" y="102"/>
                  <a:pt x="417" y="102"/>
                  <a:pt x="417" y="101"/>
                </a:cubicBezTo>
                <a:cubicBezTo>
                  <a:pt x="416" y="101"/>
                  <a:pt x="415" y="102"/>
                  <a:pt x="415" y="102"/>
                </a:cubicBezTo>
                <a:cubicBezTo>
                  <a:pt x="415" y="102"/>
                  <a:pt x="413" y="102"/>
                  <a:pt x="413" y="102"/>
                </a:cubicBezTo>
                <a:cubicBezTo>
                  <a:pt x="413" y="101"/>
                  <a:pt x="415" y="102"/>
                  <a:pt x="415" y="101"/>
                </a:cubicBezTo>
                <a:cubicBezTo>
                  <a:pt x="415" y="101"/>
                  <a:pt x="416" y="101"/>
                  <a:pt x="416" y="101"/>
                </a:cubicBezTo>
                <a:cubicBezTo>
                  <a:pt x="417" y="101"/>
                  <a:pt x="417" y="101"/>
                  <a:pt x="418" y="101"/>
                </a:cubicBezTo>
                <a:cubicBezTo>
                  <a:pt x="417" y="101"/>
                  <a:pt x="419" y="101"/>
                  <a:pt x="419" y="101"/>
                </a:cubicBezTo>
                <a:cubicBezTo>
                  <a:pt x="418" y="100"/>
                  <a:pt x="417" y="101"/>
                  <a:pt x="416" y="101"/>
                </a:cubicBezTo>
                <a:cubicBezTo>
                  <a:pt x="417" y="101"/>
                  <a:pt x="417" y="101"/>
                  <a:pt x="417" y="101"/>
                </a:cubicBezTo>
                <a:cubicBezTo>
                  <a:pt x="416" y="101"/>
                  <a:pt x="415" y="101"/>
                  <a:pt x="415" y="101"/>
                </a:cubicBezTo>
                <a:cubicBezTo>
                  <a:pt x="415" y="101"/>
                  <a:pt x="415" y="101"/>
                  <a:pt x="415" y="101"/>
                </a:cubicBezTo>
                <a:cubicBezTo>
                  <a:pt x="415" y="101"/>
                  <a:pt x="415" y="101"/>
                  <a:pt x="415" y="100"/>
                </a:cubicBezTo>
                <a:cubicBezTo>
                  <a:pt x="415" y="100"/>
                  <a:pt x="415" y="100"/>
                  <a:pt x="415" y="100"/>
                </a:cubicBezTo>
                <a:cubicBezTo>
                  <a:pt x="415" y="100"/>
                  <a:pt x="415" y="100"/>
                  <a:pt x="415" y="100"/>
                </a:cubicBezTo>
                <a:cubicBezTo>
                  <a:pt x="415" y="100"/>
                  <a:pt x="416" y="100"/>
                  <a:pt x="416" y="100"/>
                </a:cubicBezTo>
                <a:cubicBezTo>
                  <a:pt x="416" y="100"/>
                  <a:pt x="416" y="99"/>
                  <a:pt x="416" y="99"/>
                </a:cubicBezTo>
                <a:cubicBezTo>
                  <a:pt x="416" y="99"/>
                  <a:pt x="418" y="99"/>
                  <a:pt x="418" y="99"/>
                </a:cubicBezTo>
                <a:cubicBezTo>
                  <a:pt x="417" y="98"/>
                  <a:pt x="418" y="98"/>
                  <a:pt x="419" y="98"/>
                </a:cubicBezTo>
                <a:cubicBezTo>
                  <a:pt x="419" y="98"/>
                  <a:pt x="420" y="99"/>
                  <a:pt x="421" y="98"/>
                </a:cubicBezTo>
                <a:cubicBezTo>
                  <a:pt x="421" y="98"/>
                  <a:pt x="420" y="98"/>
                  <a:pt x="420" y="98"/>
                </a:cubicBezTo>
                <a:cubicBezTo>
                  <a:pt x="419" y="98"/>
                  <a:pt x="418" y="98"/>
                  <a:pt x="418" y="98"/>
                </a:cubicBezTo>
                <a:cubicBezTo>
                  <a:pt x="417" y="98"/>
                  <a:pt x="416" y="99"/>
                  <a:pt x="416" y="99"/>
                </a:cubicBezTo>
                <a:cubicBezTo>
                  <a:pt x="415" y="99"/>
                  <a:pt x="414" y="100"/>
                  <a:pt x="413" y="100"/>
                </a:cubicBezTo>
                <a:cubicBezTo>
                  <a:pt x="413" y="99"/>
                  <a:pt x="414" y="99"/>
                  <a:pt x="414" y="99"/>
                </a:cubicBezTo>
                <a:cubicBezTo>
                  <a:pt x="414" y="99"/>
                  <a:pt x="414" y="99"/>
                  <a:pt x="413" y="99"/>
                </a:cubicBezTo>
                <a:cubicBezTo>
                  <a:pt x="413" y="99"/>
                  <a:pt x="413" y="99"/>
                  <a:pt x="414" y="99"/>
                </a:cubicBezTo>
                <a:cubicBezTo>
                  <a:pt x="413" y="99"/>
                  <a:pt x="412" y="100"/>
                  <a:pt x="412" y="100"/>
                </a:cubicBezTo>
                <a:cubicBezTo>
                  <a:pt x="412" y="99"/>
                  <a:pt x="413" y="99"/>
                  <a:pt x="412" y="99"/>
                </a:cubicBezTo>
                <a:cubicBezTo>
                  <a:pt x="412" y="99"/>
                  <a:pt x="412" y="99"/>
                  <a:pt x="411" y="100"/>
                </a:cubicBezTo>
                <a:cubicBezTo>
                  <a:pt x="411" y="100"/>
                  <a:pt x="410" y="100"/>
                  <a:pt x="410" y="100"/>
                </a:cubicBezTo>
                <a:cubicBezTo>
                  <a:pt x="410" y="100"/>
                  <a:pt x="410" y="100"/>
                  <a:pt x="409" y="100"/>
                </a:cubicBezTo>
                <a:cubicBezTo>
                  <a:pt x="410" y="100"/>
                  <a:pt x="410" y="100"/>
                  <a:pt x="411" y="99"/>
                </a:cubicBezTo>
                <a:cubicBezTo>
                  <a:pt x="410" y="99"/>
                  <a:pt x="410" y="99"/>
                  <a:pt x="410" y="100"/>
                </a:cubicBezTo>
                <a:cubicBezTo>
                  <a:pt x="410" y="99"/>
                  <a:pt x="410" y="99"/>
                  <a:pt x="411" y="99"/>
                </a:cubicBezTo>
                <a:cubicBezTo>
                  <a:pt x="410" y="99"/>
                  <a:pt x="409" y="100"/>
                  <a:pt x="409" y="100"/>
                </a:cubicBezTo>
                <a:cubicBezTo>
                  <a:pt x="409" y="100"/>
                  <a:pt x="410" y="99"/>
                  <a:pt x="410" y="99"/>
                </a:cubicBezTo>
                <a:cubicBezTo>
                  <a:pt x="411" y="99"/>
                  <a:pt x="411" y="99"/>
                  <a:pt x="411" y="98"/>
                </a:cubicBezTo>
                <a:cubicBezTo>
                  <a:pt x="411" y="98"/>
                  <a:pt x="411" y="98"/>
                  <a:pt x="412" y="98"/>
                </a:cubicBezTo>
                <a:cubicBezTo>
                  <a:pt x="411" y="98"/>
                  <a:pt x="411" y="98"/>
                  <a:pt x="411" y="98"/>
                </a:cubicBezTo>
                <a:cubicBezTo>
                  <a:pt x="410" y="99"/>
                  <a:pt x="410" y="99"/>
                  <a:pt x="409" y="99"/>
                </a:cubicBezTo>
                <a:cubicBezTo>
                  <a:pt x="410" y="99"/>
                  <a:pt x="409" y="100"/>
                  <a:pt x="408" y="100"/>
                </a:cubicBezTo>
                <a:cubicBezTo>
                  <a:pt x="408" y="100"/>
                  <a:pt x="408" y="101"/>
                  <a:pt x="407" y="101"/>
                </a:cubicBezTo>
                <a:cubicBezTo>
                  <a:pt x="407" y="100"/>
                  <a:pt x="407" y="100"/>
                  <a:pt x="408" y="100"/>
                </a:cubicBezTo>
                <a:cubicBezTo>
                  <a:pt x="407" y="100"/>
                  <a:pt x="407" y="100"/>
                  <a:pt x="407" y="100"/>
                </a:cubicBezTo>
                <a:cubicBezTo>
                  <a:pt x="407" y="100"/>
                  <a:pt x="408" y="100"/>
                  <a:pt x="408" y="100"/>
                </a:cubicBezTo>
                <a:cubicBezTo>
                  <a:pt x="407" y="100"/>
                  <a:pt x="407" y="100"/>
                  <a:pt x="406" y="100"/>
                </a:cubicBezTo>
                <a:cubicBezTo>
                  <a:pt x="406" y="101"/>
                  <a:pt x="406" y="101"/>
                  <a:pt x="406" y="101"/>
                </a:cubicBezTo>
                <a:cubicBezTo>
                  <a:pt x="405" y="101"/>
                  <a:pt x="405" y="101"/>
                  <a:pt x="405" y="100"/>
                </a:cubicBezTo>
                <a:cubicBezTo>
                  <a:pt x="406" y="100"/>
                  <a:pt x="405" y="100"/>
                  <a:pt x="405" y="100"/>
                </a:cubicBezTo>
                <a:cubicBezTo>
                  <a:pt x="406" y="99"/>
                  <a:pt x="407" y="99"/>
                  <a:pt x="408" y="98"/>
                </a:cubicBezTo>
                <a:cubicBezTo>
                  <a:pt x="409" y="98"/>
                  <a:pt x="411" y="98"/>
                  <a:pt x="411" y="97"/>
                </a:cubicBezTo>
                <a:cubicBezTo>
                  <a:pt x="411" y="97"/>
                  <a:pt x="411" y="97"/>
                  <a:pt x="411" y="97"/>
                </a:cubicBezTo>
                <a:cubicBezTo>
                  <a:pt x="411" y="97"/>
                  <a:pt x="411" y="97"/>
                  <a:pt x="412" y="96"/>
                </a:cubicBezTo>
                <a:cubicBezTo>
                  <a:pt x="410" y="97"/>
                  <a:pt x="410" y="97"/>
                  <a:pt x="409" y="98"/>
                </a:cubicBezTo>
                <a:cubicBezTo>
                  <a:pt x="408" y="98"/>
                  <a:pt x="407" y="99"/>
                  <a:pt x="406" y="99"/>
                </a:cubicBezTo>
                <a:cubicBezTo>
                  <a:pt x="406" y="99"/>
                  <a:pt x="406" y="98"/>
                  <a:pt x="406" y="98"/>
                </a:cubicBezTo>
                <a:cubicBezTo>
                  <a:pt x="406" y="98"/>
                  <a:pt x="405" y="98"/>
                  <a:pt x="405" y="98"/>
                </a:cubicBezTo>
                <a:cubicBezTo>
                  <a:pt x="405" y="98"/>
                  <a:pt x="404" y="99"/>
                  <a:pt x="404" y="99"/>
                </a:cubicBezTo>
                <a:cubicBezTo>
                  <a:pt x="404" y="99"/>
                  <a:pt x="403" y="99"/>
                  <a:pt x="403" y="99"/>
                </a:cubicBezTo>
                <a:cubicBezTo>
                  <a:pt x="404" y="99"/>
                  <a:pt x="405" y="98"/>
                  <a:pt x="406" y="99"/>
                </a:cubicBezTo>
                <a:cubicBezTo>
                  <a:pt x="405" y="99"/>
                  <a:pt x="404" y="100"/>
                  <a:pt x="403" y="100"/>
                </a:cubicBezTo>
                <a:cubicBezTo>
                  <a:pt x="404" y="100"/>
                  <a:pt x="402" y="101"/>
                  <a:pt x="401" y="101"/>
                </a:cubicBezTo>
                <a:cubicBezTo>
                  <a:pt x="402" y="101"/>
                  <a:pt x="401" y="101"/>
                  <a:pt x="401" y="101"/>
                </a:cubicBezTo>
                <a:cubicBezTo>
                  <a:pt x="400" y="101"/>
                  <a:pt x="399" y="101"/>
                  <a:pt x="398" y="101"/>
                </a:cubicBezTo>
                <a:cubicBezTo>
                  <a:pt x="399" y="101"/>
                  <a:pt x="400" y="101"/>
                  <a:pt x="400" y="101"/>
                </a:cubicBezTo>
                <a:cubicBezTo>
                  <a:pt x="400" y="101"/>
                  <a:pt x="400" y="101"/>
                  <a:pt x="399" y="101"/>
                </a:cubicBezTo>
                <a:cubicBezTo>
                  <a:pt x="398" y="102"/>
                  <a:pt x="398" y="102"/>
                  <a:pt x="397" y="102"/>
                </a:cubicBezTo>
                <a:cubicBezTo>
                  <a:pt x="398" y="103"/>
                  <a:pt x="399" y="101"/>
                  <a:pt x="401" y="101"/>
                </a:cubicBezTo>
                <a:cubicBezTo>
                  <a:pt x="400" y="102"/>
                  <a:pt x="399" y="102"/>
                  <a:pt x="399" y="103"/>
                </a:cubicBezTo>
                <a:cubicBezTo>
                  <a:pt x="400" y="103"/>
                  <a:pt x="401" y="102"/>
                  <a:pt x="402" y="102"/>
                </a:cubicBezTo>
                <a:cubicBezTo>
                  <a:pt x="401" y="102"/>
                  <a:pt x="401" y="102"/>
                  <a:pt x="401" y="102"/>
                </a:cubicBezTo>
                <a:cubicBezTo>
                  <a:pt x="401" y="103"/>
                  <a:pt x="400" y="103"/>
                  <a:pt x="400" y="103"/>
                </a:cubicBezTo>
                <a:cubicBezTo>
                  <a:pt x="400" y="103"/>
                  <a:pt x="399" y="103"/>
                  <a:pt x="399" y="104"/>
                </a:cubicBezTo>
                <a:cubicBezTo>
                  <a:pt x="399" y="104"/>
                  <a:pt x="398" y="104"/>
                  <a:pt x="398" y="104"/>
                </a:cubicBezTo>
                <a:cubicBezTo>
                  <a:pt x="398" y="104"/>
                  <a:pt x="398" y="104"/>
                  <a:pt x="398" y="103"/>
                </a:cubicBezTo>
                <a:cubicBezTo>
                  <a:pt x="397" y="103"/>
                  <a:pt x="395" y="104"/>
                  <a:pt x="395" y="105"/>
                </a:cubicBezTo>
                <a:cubicBezTo>
                  <a:pt x="395" y="105"/>
                  <a:pt x="396" y="104"/>
                  <a:pt x="397" y="104"/>
                </a:cubicBezTo>
                <a:cubicBezTo>
                  <a:pt x="397" y="104"/>
                  <a:pt x="398" y="104"/>
                  <a:pt x="397" y="104"/>
                </a:cubicBezTo>
                <a:cubicBezTo>
                  <a:pt x="398" y="104"/>
                  <a:pt x="398" y="104"/>
                  <a:pt x="398" y="104"/>
                </a:cubicBezTo>
                <a:cubicBezTo>
                  <a:pt x="398" y="104"/>
                  <a:pt x="398" y="105"/>
                  <a:pt x="398" y="105"/>
                </a:cubicBezTo>
                <a:cubicBezTo>
                  <a:pt x="398" y="105"/>
                  <a:pt x="399" y="104"/>
                  <a:pt x="400" y="104"/>
                </a:cubicBezTo>
                <a:cubicBezTo>
                  <a:pt x="399" y="104"/>
                  <a:pt x="399" y="104"/>
                  <a:pt x="399" y="104"/>
                </a:cubicBezTo>
                <a:cubicBezTo>
                  <a:pt x="400" y="104"/>
                  <a:pt x="400" y="103"/>
                  <a:pt x="401" y="103"/>
                </a:cubicBezTo>
                <a:cubicBezTo>
                  <a:pt x="401" y="103"/>
                  <a:pt x="401" y="104"/>
                  <a:pt x="400" y="104"/>
                </a:cubicBezTo>
                <a:cubicBezTo>
                  <a:pt x="401" y="103"/>
                  <a:pt x="400" y="104"/>
                  <a:pt x="400" y="105"/>
                </a:cubicBezTo>
                <a:cubicBezTo>
                  <a:pt x="401" y="104"/>
                  <a:pt x="400" y="105"/>
                  <a:pt x="399" y="105"/>
                </a:cubicBezTo>
                <a:cubicBezTo>
                  <a:pt x="399" y="105"/>
                  <a:pt x="398" y="105"/>
                  <a:pt x="398" y="105"/>
                </a:cubicBezTo>
                <a:cubicBezTo>
                  <a:pt x="398" y="105"/>
                  <a:pt x="398" y="105"/>
                  <a:pt x="398" y="106"/>
                </a:cubicBezTo>
                <a:cubicBezTo>
                  <a:pt x="397" y="106"/>
                  <a:pt x="397" y="105"/>
                  <a:pt x="397" y="106"/>
                </a:cubicBezTo>
                <a:cubicBezTo>
                  <a:pt x="397" y="106"/>
                  <a:pt x="397" y="106"/>
                  <a:pt x="397" y="106"/>
                </a:cubicBezTo>
                <a:cubicBezTo>
                  <a:pt x="396" y="106"/>
                  <a:pt x="396" y="106"/>
                  <a:pt x="395" y="107"/>
                </a:cubicBezTo>
                <a:cubicBezTo>
                  <a:pt x="395" y="107"/>
                  <a:pt x="395" y="106"/>
                  <a:pt x="395" y="106"/>
                </a:cubicBezTo>
                <a:cubicBezTo>
                  <a:pt x="395" y="106"/>
                  <a:pt x="395" y="107"/>
                  <a:pt x="395" y="107"/>
                </a:cubicBezTo>
                <a:cubicBezTo>
                  <a:pt x="394" y="107"/>
                  <a:pt x="394" y="107"/>
                  <a:pt x="393" y="107"/>
                </a:cubicBezTo>
                <a:cubicBezTo>
                  <a:pt x="394" y="108"/>
                  <a:pt x="395" y="106"/>
                  <a:pt x="396" y="107"/>
                </a:cubicBezTo>
                <a:cubicBezTo>
                  <a:pt x="396" y="107"/>
                  <a:pt x="395" y="107"/>
                  <a:pt x="395" y="107"/>
                </a:cubicBezTo>
                <a:cubicBezTo>
                  <a:pt x="396" y="107"/>
                  <a:pt x="395" y="108"/>
                  <a:pt x="395" y="108"/>
                </a:cubicBezTo>
                <a:cubicBezTo>
                  <a:pt x="395" y="108"/>
                  <a:pt x="396" y="107"/>
                  <a:pt x="396" y="107"/>
                </a:cubicBezTo>
                <a:cubicBezTo>
                  <a:pt x="396" y="107"/>
                  <a:pt x="395" y="108"/>
                  <a:pt x="395" y="108"/>
                </a:cubicBezTo>
                <a:cubicBezTo>
                  <a:pt x="395" y="108"/>
                  <a:pt x="394" y="108"/>
                  <a:pt x="394" y="108"/>
                </a:cubicBezTo>
                <a:cubicBezTo>
                  <a:pt x="394" y="108"/>
                  <a:pt x="394" y="108"/>
                  <a:pt x="394" y="108"/>
                </a:cubicBezTo>
                <a:cubicBezTo>
                  <a:pt x="394" y="107"/>
                  <a:pt x="392" y="109"/>
                  <a:pt x="391" y="109"/>
                </a:cubicBezTo>
                <a:cubicBezTo>
                  <a:pt x="392" y="109"/>
                  <a:pt x="391" y="110"/>
                  <a:pt x="391" y="110"/>
                </a:cubicBezTo>
                <a:cubicBezTo>
                  <a:pt x="390" y="110"/>
                  <a:pt x="391" y="109"/>
                  <a:pt x="391" y="109"/>
                </a:cubicBezTo>
                <a:cubicBezTo>
                  <a:pt x="390" y="109"/>
                  <a:pt x="389" y="110"/>
                  <a:pt x="389" y="110"/>
                </a:cubicBezTo>
                <a:cubicBezTo>
                  <a:pt x="389" y="109"/>
                  <a:pt x="387" y="110"/>
                  <a:pt x="387" y="110"/>
                </a:cubicBezTo>
                <a:cubicBezTo>
                  <a:pt x="387" y="110"/>
                  <a:pt x="387" y="110"/>
                  <a:pt x="387" y="109"/>
                </a:cubicBezTo>
                <a:cubicBezTo>
                  <a:pt x="387" y="109"/>
                  <a:pt x="386" y="110"/>
                  <a:pt x="386" y="109"/>
                </a:cubicBezTo>
                <a:cubicBezTo>
                  <a:pt x="386" y="110"/>
                  <a:pt x="386" y="110"/>
                  <a:pt x="386" y="110"/>
                </a:cubicBezTo>
                <a:cubicBezTo>
                  <a:pt x="386" y="109"/>
                  <a:pt x="387" y="109"/>
                  <a:pt x="387" y="109"/>
                </a:cubicBezTo>
                <a:cubicBezTo>
                  <a:pt x="386" y="108"/>
                  <a:pt x="384" y="110"/>
                  <a:pt x="383" y="110"/>
                </a:cubicBezTo>
                <a:cubicBezTo>
                  <a:pt x="384" y="110"/>
                  <a:pt x="384" y="110"/>
                  <a:pt x="385" y="109"/>
                </a:cubicBezTo>
                <a:cubicBezTo>
                  <a:pt x="385" y="109"/>
                  <a:pt x="385" y="109"/>
                  <a:pt x="385" y="109"/>
                </a:cubicBezTo>
                <a:cubicBezTo>
                  <a:pt x="385" y="109"/>
                  <a:pt x="385" y="108"/>
                  <a:pt x="385" y="108"/>
                </a:cubicBezTo>
                <a:cubicBezTo>
                  <a:pt x="385" y="108"/>
                  <a:pt x="383" y="109"/>
                  <a:pt x="383" y="110"/>
                </a:cubicBezTo>
                <a:cubicBezTo>
                  <a:pt x="382" y="110"/>
                  <a:pt x="380" y="110"/>
                  <a:pt x="380" y="111"/>
                </a:cubicBezTo>
                <a:cubicBezTo>
                  <a:pt x="380" y="111"/>
                  <a:pt x="380" y="111"/>
                  <a:pt x="380" y="111"/>
                </a:cubicBezTo>
                <a:cubicBezTo>
                  <a:pt x="380" y="112"/>
                  <a:pt x="380" y="112"/>
                  <a:pt x="379" y="112"/>
                </a:cubicBezTo>
                <a:cubicBezTo>
                  <a:pt x="379" y="112"/>
                  <a:pt x="379" y="111"/>
                  <a:pt x="380" y="111"/>
                </a:cubicBezTo>
                <a:cubicBezTo>
                  <a:pt x="380" y="111"/>
                  <a:pt x="381" y="110"/>
                  <a:pt x="381" y="110"/>
                </a:cubicBezTo>
                <a:cubicBezTo>
                  <a:pt x="381" y="109"/>
                  <a:pt x="380" y="110"/>
                  <a:pt x="379" y="111"/>
                </a:cubicBezTo>
                <a:cubicBezTo>
                  <a:pt x="379" y="111"/>
                  <a:pt x="378" y="111"/>
                  <a:pt x="378" y="111"/>
                </a:cubicBezTo>
                <a:cubicBezTo>
                  <a:pt x="378" y="111"/>
                  <a:pt x="377" y="113"/>
                  <a:pt x="377" y="113"/>
                </a:cubicBezTo>
                <a:cubicBezTo>
                  <a:pt x="377" y="112"/>
                  <a:pt x="377" y="112"/>
                  <a:pt x="377" y="112"/>
                </a:cubicBezTo>
                <a:cubicBezTo>
                  <a:pt x="377" y="112"/>
                  <a:pt x="377" y="111"/>
                  <a:pt x="376" y="111"/>
                </a:cubicBezTo>
                <a:cubicBezTo>
                  <a:pt x="376" y="112"/>
                  <a:pt x="377" y="112"/>
                  <a:pt x="376" y="112"/>
                </a:cubicBezTo>
                <a:cubicBezTo>
                  <a:pt x="376" y="113"/>
                  <a:pt x="375" y="113"/>
                  <a:pt x="374" y="113"/>
                </a:cubicBezTo>
                <a:cubicBezTo>
                  <a:pt x="375" y="112"/>
                  <a:pt x="375" y="112"/>
                  <a:pt x="374" y="113"/>
                </a:cubicBezTo>
                <a:cubicBezTo>
                  <a:pt x="374" y="113"/>
                  <a:pt x="374" y="113"/>
                  <a:pt x="373" y="113"/>
                </a:cubicBezTo>
                <a:cubicBezTo>
                  <a:pt x="373" y="114"/>
                  <a:pt x="373" y="113"/>
                  <a:pt x="373" y="113"/>
                </a:cubicBezTo>
                <a:cubicBezTo>
                  <a:pt x="372" y="114"/>
                  <a:pt x="372" y="114"/>
                  <a:pt x="372" y="114"/>
                </a:cubicBezTo>
                <a:cubicBezTo>
                  <a:pt x="371" y="114"/>
                  <a:pt x="371" y="115"/>
                  <a:pt x="370" y="115"/>
                </a:cubicBezTo>
                <a:cubicBezTo>
                  <a:pt x="371" y="114"/>
                  <a:pt x="373" y="113"/>
                  <a:pt x="374" y="112"/>
                </a:cubicBezTo>
                <a:cubicBezTo>
                  <a:pt x="372" y="112"/>
                  <a:pt x="371" y="114"/>
                  <a:pt x="369" y="115"/>
                </a:cubicBezTo>
                <a:cubicBezTo>
                  <a:pt x="369" y="114"/>
                  <a:pt x="369" y="114"/>
                  <a:pt x="369" y="114"/>
                </a:cubicBezTo>
                <a:cubicBezTo>
                  <a:pt x="369" y="114"/>
                  <a:pt x="370" y="114"/>
                  <a:pt x="370" y="113"/>
                </a:cubicBezTo>
                <a:cubicBezTo>
                  <a:pt x="370" y="113"/>
                  <a:pt x="369" y="114"/>
                  <a:pt x="369" y="114"/>
                </a:cubicBezTo>
                <a:cubicBezTo>
                  <a:pt x="369" y="115"/>
                  <a:pt x="367" y="115"/>
                  <a:pt x="367" y="115"/>
                </a:cubicBezTo>
                <a:cubicBezTo>
                  <a:pt x="366" y="115"/>
                  <a:pt x="364" y="116"/>
                  <a:pt x="364" y="116"/>
                </a:cubicBezTo>
                <a:cubicBezTo>
                  <a:pt x="364" y="116"/>
                  <a:pt x="362" y="117"/>
                  <a:pt x="362" y="117"/>
                </a:cubicBezTo>
                <a:cubicBezTo>
                  <a:pt x="362" y="117"/>
                  <a:pt x="363" y="117"/>
                  <a:pt x="363" y="116"/>
                </a:cubicBezTo>
                <a:cubicBezTo>
                  <a:pt x="362" y="116"/>
                  <a:pt x="361" y="116"/>
                  <a:pt x="361" y="117"/>
                </a:cubicBezTo>
                <a:cubicBezTo>
                  <a:pt x="362" y="117"/>
                  <a:pt x="361" y="117"/>
                  <a:pt x="360" y="117"/>
                </a:cubicBezTo>
                <a:cubicBezTo>
                  <a:pt x="359" y="117"/>
                  <a:pt x="359" y="117"/>
                  <a:pt x="358" y="117"/>
                </a:cubicBezTo>
                <a:cubicBezTo>
                  <a:pt x="359" y="117"/>
                  <a:pt x="357" y="117"/>
                  <a:pt x="357" y="117"/>
                </a:cubicBezTo>
                <a:cubicBezTo>
                  <a:pt x="357" y="118"/>
                  <a:pt x="357" y="118"/>
                  <a:pt x="357" y="118"/>
                </a:cubicBezTo>
                <a:cubicBezTo>
                  <a:pt x="356" y="118"/>
                  <a:pt x="356" y="118"/>
                  <a:pt x="356" y="118"/>
                </a:cubicBezTo>
                <a:cubicBezTo>
                  <a:pt x="356" y="117"/>
                  <a:pt x="356" y="117"/>
                  <a:pt x="356" y="117"/>
                </a:cubicBezTo>
                <a:cubicBezTo>
                  <a:pt x="356" y="117"/>
                  <a:pt x="355" y="117"/>
                  <a:pt x="355" y="117"/>
                </a:cubicBezTo>
                <a:cubicBezTo>
                  <a:pt x="355" y="117"/>
                  <a:pt x="355" y="117"/>
                  <a:pt x="356" y="117"/>
                </a:cubicBezTo>
                <a:cubicBezTo>
                  <a:pt x="354" y="117"/>
                  <a:pt x="357" y="116"/>
                  <a:pt x="357" y="116"/>
                </a:cubicBezTo>
                <a:cubicBezTo>
                  <a:pt x="357" y="116"/>
                  <a:pt x="357" y="116"/>
                  <a:pt x="357" y="115"/>
                </a:cubicBezTo>
                <a:cubicBezTo>
                  <a:pt x="357" y="115"/>
                  <a:pt x="357" y="115"/>
                  <a:pt x="358" y="115"/>
                </a:cubicBezTo>
                <a:cubicBezTo>
                  <a:pt x="358" y="115"/>
                  <a:pt x="359" y="115"/>
                  <a:pt x="360" y="114"/>
                </a:cubicBezTo>
                <a:cubicBezTo>
                  <a:pt x="361" y="114"/>
                  <a:pt x="362" y="115"/>
                  <a:pt x="362" y="114"/>
                </a:cubicBezTo>
                <a:cubicBezTo>
                  <a:pt x="362" y="113"/>
                  <a:pt x="365" y="114"/>
                  <a:pt x="365" y="113"/>
                </a:cubicBezTo>
                <a:cubicBezTo>
                  <a:pt x="366" y="112"/>
                  <a:pt x="368" y="112"/>
                  <a:pt x="369" y="111"/>
                </a:cubicBezTo>
                <a:cubicBezTo>
                  <a:pt x="368" y="111"/>
                  <a:pt x="367" y="112"/>
                  <a:pt x="366" y="112"/>
                </a:cubicBezTo>
                <a:cubicBezTo>
                  <a:pt x="365" y="112"/>
                  <a:pt x="363" y="112"/>
                  <a:pt x="363" y="113"/>
                </a:cubicBezTo>
                <a:cubicBezTo>
                  <a:pt x="363" y="113"/>
                  <a:pt x="362" y="113"/>
                  <a:pt x="361" y="112"/>
                </a:cubicBezTo>
                <a:cubicBezTo>
                  <a:pt x="361" y="111"/>
                  <a:pt x="363" y="111"/>
                  <a:pt x="364" y="110"/>
                </a:cubicBezTo>
                <a:cubicBezTo>
                  <a:pt x="366" y="109"/>
                  <a:pt x="367" y="108"/>
                  <a:pt x="369" y="108"/>
                </a:cubicBezTo>
                <a:cubicBezTo>
                  <a:pt x="370" y="107"/>
                  <a:pt x="370" y="107"/>
                  <a:pt x="371" y="107"/>
                </a:cubicBezTo>
                <a:cubicBezTo>
                  <a:pt x="372" y="106"/>
                  <a:pt x="372" y="106"/>
                  <a:pt x="373" y="105"/>
                </a:cubicBezTo>
                <a:cubicBezTo>
                  <a:pt x="375" y="105"/>
                  <a:pt x="375" y="103"/>
                  <a:pt x="376" y="102"/>
                </a:cubicBezTo>
                <a:cubicBezTo>
                  <a:pt x="377" y="101"/>
                  <a:pt x="379" y="101"/>
                  <a:pt x="380" y="101"/>
                </a:cubicBezTo>
                <a:cubicBezTo>
                  <a:pt x="381" y="101"/>
                  <a:pt x="383" y="100"/>
                  <a:pt x="384" y="100"/>
                </a:cubicBezTo>
                <a:cubicBezTo>
                  <a:pt x="385" y="99"/>
                  <a:pt x="388" y="98"/>
                  <a:pt x="389" y="99"/>
                </a:cubicBezTo>
                <a:cubicBezTo>
                  <a:pt x="388" y="100"/>
                  <a:pt x="389" y="100"/>
                  <a:pt x="390" y="100"/>
                </a:cubicBezTo>
                <a:cubicBezTo>
                  <a:pt x="390" y="100"/>
                  <a:pt x="391" y="100"/>
                  <a:pt x="392" y="100"/>
                </a:cubicBezTo>
                <a:cubicBezTo>
                  <a:pt x="392" y="99"/>
                  <a:pt x="392" y="99"/>
                  <a:pt x="393" y="100"/>
                </a:cubicBezTo>
                <a:cubicBezTo>
                  <a:pt x="393" y="100"/>
                  <a:pt x="393" y="100"/>
                  <a:pt x="393" y="100"/>
                </a:cubicBezTo>
                <a:cubicBezTo>
                  <a:pt x="394" y="100"/>
                  <a:pt x="395" y="101"/>
                  <a:pt x="397" y="101"/>
                </a:cubicBezTo>
                <a:cubicBezTo>
                  <a:pt x="397" y="101"/>
                  <a:pt x="397" y="100"/>
                  <a:pt x="396" y="100"/>
                </a:cubicBezTo>
                <a:cubicBezTo>
                  <a:pt x="396" y="100"/>
                  <a:pt x="395" y="100"/>
                  <a:pt x="395" y="100"/>
                </a:cubicBezTo>
                <a:cubicBezTo>
                  <a:pt x="395" y="100"/>
                  <a:pt x="395" y="99"/>
                  <a:pt x="394" y="99"/>
                </a:cubicBezTo>
                <a:cubicBezTo>
                  <a:pt x="393" y="99"/>
                  <a:pt x="393" y="98"/>
                  <a:pt x="392" y="98"/>
                </a:cubicBezTo>
                <a:cubicBezTo>
                  <a:pt x="392" y="97"/>
                  <a:pt x="394" y="97"/>
                  <a:pt x="394" y="97"/>
                </a:cubicBezTo>
                <a:cubicBezTo>
                  <a:pt x="396" y="96"/>
                  <a:pt x="397" y="96"/>
                  <a:pt x="398" y="95"/>
                </a:cubicBezTo>
                <a:cubicBezTo>
                  <a:pt x="399" y="95"/>
                  <a:pt x="400" y="95"/>
                  <a:pt x="401" y="95"/>
                </a:cubicBezTo>
                <a:cubicBezTo>
                  <a:pt x="401" y="95"/>
                  <a:pt x="402" y="95"/>
                  <a:pt x="402" y="94"/>
                </a:cubicBezTo>
                <a:cubicBezTo>
                  <a:pt x="400" y="94"/>
                  <a:pt x="398" y="95"/>
                  <a:pt x="396" y="95"/>
                </a:cubicBezTo>
                <a:cubicBezTo>
                  <a:pt x="395" y="96"/>
                  <a:pt x="395" y="97"/>
                  <a:pt x="394" y="97"/>
                </a:cubicBezTo>
                <a:cubicBezTo>
                  <a:pt x="393" y="97"/>
                  <a:pt x="392" y="97"/>
                  <a:pt x="392" y="96"/>
                </a:cubicBezTo>
                <a:cubicBezTo>
                  <a:pt x="391" y="97"/>
                  <a:pt x="391" y="97"/>
                  <a:pt x="390" y="97"/>
                </a:cubicBezTo>
                <a:cubicBezTo>
                  <a:pt x="390" y="96"/>
                  <a:pt x="391" y="96"/>
                  <a:pt x="391" y="96"/>
                </a:cubicBezTo>
                <a:cubicBezTo>
                  <a:pt x="391" y="96"/>
                  <a:pt x="390" y="96"/>
                  <a:pt x="390" y="96"/>
                </a:cubicBezTo>
                <a:cubicBezTo>
                  <a:pt x="390" y="96"/>
                  <a:pt x="390" y="96"/>
                  <a:pt x="389" y="96"/>
                </a:cubicBezTo>
                <a:cubicBezTo>
                  <a:pt x="388" y="97"/>
                  <a:pt x="386" y="97"/>
                  <a:pt x="385" y="97"/>
                </a:cubicBezTo>
                <a:cubicBezTo>
                  <a:pt x="384" y="98"/>
                  <a:pt x="384" y="98"/>
                  <a:pt x="383" y="98"/>
                </a:cubicBezTo>
                <a:cubicBezTo>
                  <a:pt x="382" y="99"/>
                  <a:pt x="382" y="99"/>
                  <a:pt x="381" y="99"/>
                </a:cubicBezTo>
                <a:cubicBezTo>
                  <a:pt x="379" y="99"/>
                  <a:pt x="378" y="100"/>
                  <a:pt x="376" y="100"/>
                </a:cubicBezTo>
                <a:cubicBezTo>
                  <a:pt x="376" y="100"/>
                  <a:pt x="375" y="100"/>
                  <a:pt x="375" y="101"/>
                </a:cubicBezTo>
                <a:cubicBezTo>
                  <a:pt x="375" y="101"/>
                  <a:pt x="375" y="102"/>
                  <a:pt x="374" y="102"/>
                </a:cubicBezTo>
                <a:cubicBezTo>
                  <a:pt x="374" y="102"/>
                  <a:pt x="374" y="102"/>
                  <a:pt x="373" y="102"/>
                </a:cubicBezTo>
                <a:cubicBezTo>
                  <a:pt x="373" y="102"/>
                  <a:pt x="372" y="102"/>
                  <a:pt x="371" y="102"/>
                </a:cubicBezTo>
                <a:cubicBezTo>
                  <a:pt x="370" y="103"/>
                  <a:pt x="369" y="103"/>
                  <a:pt x="368" y="104"/>
                </a:cubicBezTo>
                <a:cubicBezTo>
                  <a:pt x="367" y="104"/>
                  <a:pt x="365" y="105"/>
                  <a:pt x="366" y="105"/>
                </a:cubicBezTo>
                <a:cubicBezTo>
                  <a:pt x="366" y="106"/>
                  <a:pt x="365" y="105"/>
                  <a:pt x="365" y="106"/>
                </a:cubicBezTo>
                <a:cubicBezTo>
                  <a:pt x="364" y="106"/>
                  <a:pt x="364" y="106"/>
                  <a:pt x="363" y="106"/>
                </a:cubicBezTo>
                <a:cubicBezTo>
                  <a:pt x="363" y="107"/>
                  <a:pt x="362" y="107"/>
                  <a:pt x="361" y="107"/>
                </a:cubicBezTo>
                <a:cubicBezTo>
                  <a:pt x="361" y="107"/>
                  <a:pt x="360" y="107"/>
                  <a:pt x="360" y="107"/>
                </a:cubicBezTo>
                <a:cubicBezTo>
                  <a:pt x="360" y="107"/>
                  <a:pt x="360" y="107"/>
                  <a:pt x="360" y="107"/>
                </a:cubicBezTo>
                <a:cubicBezTo>
                  <a:pt x="360" y="106"/>
                  <a:pt x="360" y="106"/>
                  <a:pt x="360" y="107"/>
                </a:cubicBezTo>
                <a:cubicBezTo>
                  <a:pt x="361" y="106"/>
                  <a:pt x="359" y="106"/>
                  <a:pt x="358" y="106"/>
                </a:cubicBezTo>
                <a:cubicBezTo>
                  <a:pt x="358" y="106"/>
                  <a:pt x="360" y="106"/>
                  <a:pt x="360" y="106"/>
                </a:cubicBezTo>
                <a:cubicBezTo>
                  <a:pt x="360" y="107"/>
                  <a:pt x="359" y="107"/>
                  <a:pt x="359" y="107"/>
                </a:cubicBezTo>
                <a:cubicBezTo>
                  <a:pt x="359" y="107"/>
                  <a:pt x="360" y="107"/>
                  <a:pt x="360" y="108"/>
                </a:cubicBezTo>
                <a:cubicBezTo>
                  <a:pt x="360" y="108"/>
                  <a:pt x="360" y="108"/>
                  <a:pt x="359" y="109"/>
                </a:cubicBezTo>
                <a:cubicBezTo>
                  <a:pt x="359" y="109"/>
                  <a:pt x="358" y="110"/>
                  <a:pt x="357" y="110"/>
                </a:cubicBezTo>
                <a:cubicBezTo>
                  <a:pt x="355" y="111"/>
                  <a:pt x="353" y="110"/>
                  <a:pt x="351" y="111"/>
                </a:cubicBezTo>
                <a:cubicBezTo>
                  <a:pt x="352" y="111"/>
                  <a:pt x="353" y="111"/>
                  <a:pt x="354" y="111"/>
                </a:cubicBezTo>
                <a:cubicBezTo>
                  <a:pt x="353" y="112"/>
                  <a:pt x="351" y="113"/>
                  <a:pt x="350" y="113"/>
                </a:cubicBezTo>
                <a:cubicBezTo>
                  <a:pt x="350" y="113"/>
                  <a:pt x="350" y="113"/>
                  <a:pt x="350" y="112"/>
                </a:cubicBezTo>
                <a:cubicBezTo>
                  <a:pt x="349" y="113"/>
                  <a:pt x="349" y="113"/>
                  <a:pt x="348" y="113"/>
                </a:cubicBezTo>
                <a:cubicBezTo>
                  <a:pt x="349" y="113"/>
                  <a:pt x="349" y="112"/>
                  <a:pt x="350" y="112"/>
                </a:cubicBezTo>
                <a:cubicBezTo>
                  <a:pt x="350" y="112"/>
                  <a:pt x="350" y="112"/>
                  <a:pt x="350" y="111"/>
                </a:cubicBezTo>
                <a:cubicBezTo>
                  <a:pt x="349" y="112"/>
                  <a:pt x="348" y="113"/>
                  <a:pt x="347" y="113"/>
                </a:cubicBezTo>
                <a:cubicBezTo>
                  <a:pt x="347" y="113"/>
                  <a:pt x="347" y="113"/>
                  <a:pt x="347" y="112"/>
                </a:cubicBezTo>
                <a:cubicBezTo>
                  <a:pt x="347" y="112"/>
                  <a:pt x="346" y="113"/>
                  <a:pt x="346" y="113"/>
                </a:cubicBezTo>
                <a:cubicBezTo>
                  <a:pt x="347" y="113"/>
                  <a:pt x="347" y="113"/>
                  <a:pt x="346" y="114"/>
                </a:cubicBezTo>
                <a:cubicBezTo>
                  <a:pt x="345" y="114"/>
                  <a:pt x="344" y="113"/>
                  <a:pt x="344" y="114"/>
                </a:cubicBezTo>
                <a:cubicBezTo>
                  <a:pt x="344" y="114"/>
                  <a:pt x="344" y="114"/>
                  <a:pt x="344" y="114"/>
                </a:cubicBezTo>
                <a:cubicBezTo>
                  <a:pt x="343" y="115"/>
                  <a:pt x="343" y="115"/>
                  <a:pt x="342" y="115"/>
                </a:cubicBezTo>
                <a:cubicBezTo>
                  <a:pt x="342" y="115"/>
                  <a:pt x="340" y="116"/>
                  <a:pt x="339" y="116"/>
                </a:cubicBezTo>
                <a:cubicBezTo>
                  <a:pt x="340" y="116"/>
                  <a:pt x="340" y="116"/>
                  <a:pt x="341" y="116"/>
                </a:cubicBezTo>
                <a:cubicBezTo>
                  <a:pt x="340" y="116"/>
                  <a:pt x="339" y="116"/>
                  <a:pt x="338" y="116"/>
                </a:cubicBezTo>
                <a:cubicBezTo>
                  <a:pt x="338" y="117"/>
                  <a:pt x="338" y="117"/>
                  <a:pt x="337" y="117"/>
                </a:cubicBezTo>
                <a:cubicBezTo>
                  <a:pt x="337" y="117"/>
                  <a:pt x="336" y="117"/>
                  <a:pt x="336" y="118"/>
                </a:cubicBezTo>
                <a:cubicBezTo>
                  <a:pt x="336" y="118"/>
                  <a:pt x="336" y="118"/>
                  <a:pt x="336" y="118"/>
                </a:cubicBezTo>
                <a:cubicBezTo>
                  <a:pt x="336" y="118"/>
                  <a:pt x="335" y="119"/>
                  <a:pt x="335" y="119"/>
                </a:cubicBezTo>
                <a:cubicBezTo>
                  <a:pt x="335" y="119"/>
                  <a:pt x="336" y="119"/>
                  <a:pt x="336" y="119"/>
                </a:cubicBezTo>
                <a:cubicBezTo>
                  <a:pt x="336" y="119"/>
                  <a:pt x="337" y="118"/>
                  <a:pt x="338" y="119"/>
                </a:cubicBezTo>
                <a:cubicBezTo>
                  <a:pt x="338" y="119"/>
                  <a:pt x="339" y="118"/>
                  <a:pt x="339" y="119"/>
                </a:cubicBezTo>
                <a:cubicBezTo>
                  <a:pt x="339" y="120"/>
                  <a:pt x="340" y="119"/>
                  <a:pt x="340" y="119"/>
                </a:cubicBezTo>
                <a:cubicBezTo>
                  <a:pt x="340" y="119"/>
                  <a:pt x="340" y="120"/>
                  <a:pt x="340" y="120"/>
                </a:cubicBezTo>
                <a:cubicBezTo>
                  <a:pt x="340" y="120"/>
                  <a:pt x="340" y="121"/>
                  <a:pt x="340" y="121"/>
                </a:cubicBezTo>
                <a:cubicBezTo>
                  <a:pt x="340" y="121"/>
                  <a:pt x="340" y="121"/>
                  <a:pt x="340" y="121"/>
                </a:cubicBezTo>
                <a:cubicBezTo>
                  <a:pt x="340" y="121"/>
                  <a:pt x="340" y="121"/>
                  <a:pt x="339" y="121"/>
                </a:cubicBezTo>
                <a:cubicBezTo>
                  <a:pt x="339" y="121"/>
                  <a:pt x="339" y="121"/>
                  <a:pt x="338" y="122"/>
                </a:cubicBezTo>
                <a:cubicBezTo>
                  <a:pt x="337" y="122"/>
                  <a:pt x="336" y="122"/>
                  <a:pt x="336" y="123"/>
                </a:cubicBezTo>
                <a:cubicBezTo>
                  <a:pt x="335" y="123"/>
                  <a:pt x="334" y="123"/>
                  <a:pt x="333" y="123"/>
                </a:cubicBezTo>
                <a:cubicBezTo>
                  <a:pt x="332" y="123"/>
                  <a:pt x="332" y="124"/>
                  <a:pt x="331" y="124"/>
                </a:cubicBezTo>
                <a:cubicBezTo>
                  <a:pt x="331" y="124"/>
                  <a:pt x="330" y="125"/>
                  <a:pt x="330" y="125"/>
                </a:cubicBezTo>
                <a:cubicBezTo>
                  <a:pt x="329" y="125"/>
                  <a:pt x="329" y="125"/>
                  <a:pt x="329" y="125"/>
                </a:cubicBezTo>
                <a:cubicBezTo>
                  <a:pt x="329" y="125"/>
                  <a:pt x="329" y="125"/>
                  <a:pt x="329" y="125"/>
                </a:cubicBezTo>
                <a:cubicBezTo>
                  <a:pt x="329" y="126"/>
                  <a:pt x="327" y="126"/>
                  <a:pt x="327" y="126"/>
                </a:cubicBezTo>
                <a:cubicBezTo>
                  <a:pt x="326" y="126"/>
                  <a:pt x="325" y="126"/>
                  <a:pt x="324" y="127"/>
                </a:cubicBezTo>
                <a:cubicBezTo>
                  <a:pt x="325" y="127"/>
                  <a:pt x="326" y="126"/>
                  <a:pt x="327" y="126"/>
                </a:cubicBezTo>
                <a:cubicBezTo>
                  <a:pt x="327" y="127"/>
                  <a:pt x="326" y="127"/>
                  <a:pt x="325" y="127"/>
                </a:cubicBezTo>
                <a:cubicBezTo>
                  <a:pt x="326" y="127"/>
                  <a:pt x="326" y="127"/>
                  <a:pt x="326" y="127"/>
                </a:cubicBezTo>
                <a:cubicBezTo>
                  <a:pt x="326" y="127"/>
                  <a:pt x="324" y="128"/>
                  <a:pt x="324" y="128"/>
                </a:cubicBezTo>
                <a:cubicBezTo>
                  <a:pt x="324" y="128"/>
                  <a:pt x="324" y="128"/>
                  <a:pt x="324" y="128"/>
                </a:cubicBezTo>
                <a:cubicBezTo>
                  <a:pt x="323" y="128"/>
                  <a:pt x="323" y="129"/>
                  <a:pt x="323" y="129"/>
                </a:cubicBezTo>
                <a:cubicBezTo>
                  <a:pt x="322" y="129"/>
                  <a:pt x="323" y="128"/>
                  <a:pt x="323" y="128"/>
                </a:cubicBezTo>
                <a:cubicBezTo>
                  <a:pt x="323" y="128"/>
                  <a:pt x="322" y="128"/>
                  <a:pt x="322" y="128"/>
                </a:cubicBezTo>
                <a:cubicBezTo>
                  <a:pt x="322" y="129"/>
                  <a:pt x="322" y="129"/>
                  <a:pt x="321" y="128"/>
                </a:cubicBezTo>
                <a:cubicBezTo>
                  <a:pt x="321" y="128"/>
                  <a:pt x="321" y="129"/>
                  <a:pt x="321" y="129"/>
                </a:cubicBezTo>
                <a:cubicBezTo>
                  <a:pt x="321" y="129"/>
                  <a:pt x="320" y="129"/>
                  <a:pt x="320" y="129"/>
                </a:cubicBezTo>
                <a:cubicBezTo>
                  <a:pt x="320" y="129"/>
                  <a:pt x="320" y="129"/>
                  <a:pt x="320" y="129"/>
                </a:cubicBezTo>
                <a:cubicBezTo>
                  <a:pt x="319" y="129"/>
                  <a:pt x="319" y="129"/>
                  <a:pt x="318" y="129"/>
                </a:cubicBezTo>
                <a:cubicBezTo>
                  <a:pt x="318" y="129"/>
                  <a:pt x="317" y="129"/>
                  <a:pt x="317" y="129"/>
                </a:cubicBezTo>
                <a:cubicBezTo>
                  <a:pt x="316" y="129"/>
                  <a:pt x="316" y="130"/>
                  <a:pt x="315" y="130"/>
                </a:cubicBezTo>
                <a:cubicBezTo>
                  <a:pt x="315" y="130"/>
                  <a:pt x="315" y="130"/>
                  <a:pt x="314" y="131"/>
                </a:cubicBezTo>
                <a:cubicBezTo>
                  <a:pt x="314" y="131"/>
                  <a:pt x="313" y="131"/>
                  <a:pt x="313" y="131"/>
                </a:cubicBezTo>
                <a:cubicBezTo>
                  <a:pt x="313" y="131"/>
                  <a:pt x="313" y="131"/>
                  <a:pt x="312" y="131"/>
                </a:cubicBezTo>
                <a:cubicBezTo>
                  <a:pt x="312" y="131"/>
                  <a:pt x="312" y="131"/>
                  <a:pt x="312" y="131"/>
                </a:cubicBezTo>
                <a:cubicBezTo>
                  <a:pt x="312" y="132"/>
                  <a:pt x="311" y="131"/>
                  <a:pt x="311" y="132"/>
                </a:cubicBezTo>
                <a:cubicBezTo>
                  <a:pt x="311" y="132"/>
                  <a:pt x="310" y="132"/>
                  <a:pt x="310" y="132"/>
                </a:cubicBezTo>
                <a:cubicBezTo>
                  <a:pt x="310" y="132"/>
                  <a:pt x="309" y="132"/>
                  <a:pt x="309" y="132"/>
                </a:cubicBezTo>
                <a:cubicBezTo>
                  <a:pt x="309" y="132"/>
                  <a:pt x="308" y="132"/>
                  <a:pt x="308" y="133"/>
                </a:cubicBezTo>
                <a:cubicBezTo>
                  <a:pt x="308" y="133"/>
                  <a:pt x="307" y="133"/>
                  <a:pt x="306" y="133"/>
                </a:cubicBezTo>
                <a:cubicBezTo>
                  <a:pt x="306" y="133"/>
                  <a:pt x="306" y="134"/>
                  <a:pt x="305" y="134"/>
                </a:cubicBezTo>
                <a:cubicBezTo>
                  <a:pt x="305" y="134"/>
                  <a:pt x="305" y="134"/>
                  <a:pt x="305" y="134"/>
                </a:cubicBezTo>
                <a:cubicBezTo>
                  <a:pt x="305" y="134"/>
                  <a:pt x="304" y="134"/>
                  <a:pt x="304" y="134"/>
                </a:cubicBezTo>
                <a:cubicBezTo>
                  <a:pt x="304" y="134"/>
                  <a:pt x="304" y="134"/>
                  <a:pt x="303" y="134"/>
                </a:cubicBezTo>
                <a:cubicBezTo>
                  <a:pt x="303" y="134"/>
                  <a:pt x="303" y="134"/>
                  <a:pt x="303" y="134"/>
                </a:cubicBezTo>
                <a:cubicBezTo>
                  <a:pt x="303" y="134"/>
                  <a:pt x="302" y="134"/>
                  <a:pt x="302" y="134"/>
                </a:cubicBezTo>
                <a:cubicBezTo>
                  <a:pt x="302" y="134"/>
                  <a:pt x="302" y="134"/>
                  <a:pt x="302" y="134"/>
                </a:cubicBezTo>
                <a:cubicBezTo>
                  <a:pt x="302" y="135"/>
                  <a:pt x="301" y="136"/>
                  <a:pt x="301" y="135"/>
                </a:cubicBezTo>
                <a:cubicBezTo>
                  <a:pt x="301" y="134"/>
                  <a:pt x="300" y="135"/>
                  <a:pt x="300" y="135"/>
                </a:cubicBezTo>
                <a:cubicBezTo>
                  <a:pt x="298" y="136"/>
                  <a:pt x="297" y="136"/>
                  <a:pt x="296" y="137"/>
                </a:cubicBezTo>
                <a:cubicBezTo>
                  <a:pt x="296" y="137"/>
                  <a:pt x="297" y="136"/>
                  <a:pt x="298" y="137"/>
                </a:cubicBezTo>
                <a:cubicBezTo>
                  <a:pt x="297" y="137"/>
                  <a:pt x="296" y="137"/>
                  <a:pt x="296" y="137"/>
                </a:cubicBezTo>
                <a:cubicBezTo>
                  <a:pt x="297" y="138"/>
                  <a:pt x="295" y="138"/>
                  <a:pt x="294" y="139"/>
                </a:cubicBezTo>
                <a:cubicBezTo>
                  <a:pt x="294" y="139"/>
                  <a:pt x="293" y="139"/>
                  <a:pt x="293" y="139"/>
                </a:cubicBezTo>
                <a:cubicBezTo>
                  <a:pt x="293" y="139"/>
                  <a:pt x="293" y="139"/>
                  <a:pt x="292" y="139"/>
                </a:cubicBezTo>
                <a:cubicBezTo>
                  <a:pt x="292" y="139"/>
                  <a:pt x="292" y="140"/>
                  <a:pt x="292" y="140"/>
                </a:cubicBezTo>
                <a:cubicBezTo>
                  <a:pt x="291" y="140"/>
                  <a:pt x="292" y="139"/>
                  <a:pt x="291" y="139"/>
                </a:cubicBezTo>
                <a:cubicBezTo>
                  <a:pt x="291" y="139"/>
                  <a:pt x="289" y="141"/>
                  <a:pt x="289" y="141"/>
                </a:cubicBezTo>
                <a:cubicBezTo>
                  <a:pt x="289" y="139"/>
                  <a:pt x="288" y="141"/>
                  <a:pt x="288" y="141"/>
                </a:cubicBezTo>
                <a:cubicBezTo>
                  <a:pt x="287" y="141"/>
                  <a:pt x="287" y="141"/>
                  <a:pt x="286" y="141"/>
                </a:cubicBezTo>
                <a:cubicBezTo>
                  <a:pt x="286" y="141"/>
                  <a:pt x="286" y="141"/>
                  <a:pt x="286" y="141"/>
                </a:cubicBezTo>
                <a:cubicBezTo>
                  <a:pt x="285" y="142"/>
                  <a:pt x="285" y="142"/>
                  <a:pt x="284" y="142"/>
                </a:cubicBezTo>
                <a:cubicBezTo>
                  <a:pt x="284" y="142"/>
                  <a:pt x="285" y="141"/>
                  <a:pt x="284" y="141"/>
                </a:cubicBezTo>
                <a:cubicBezTo>
                  <a:pt x="283" y="141"/>
                  <a:pt x="283" y="141"/>
                  <a:pt x="283" y="142"/>
                </a:cubicBezTo>
                <a:cubicBezTo>
                  <a:pt x="283" y="142"/>
                  <a:pt x="282" y="142"/>
                  <a:pt x="282" y="142"/>
                </a:cubicBezTo>
                <a:cubicBezTo>
                  <a:pt x="282" y="142"/>
                  <a:pt x="281" y="142"/>
                  <a:pt x="281" y="143"/>
                </a:cubicBezTo>
                <a:cubicBezTo>
                  <a:pt x="280" y="143"/>
                  <a:pt x="281" y="143"/>
                  <a:pt x="281" y="143"/>
                </a:cubicBezTo>
                <a:cubicBezTo>
                  <a:pt x="281" y="144"/>
                  <a:pt x="279" y="144"/>
                  <a:pt x="279" y="144"/>
                </a:cubicBezTo>
                <a:cubicBezTo>
                  <a:pt x="279" y="144"/>
                  <a:pt x="279" y="143"/>
                  <a:pt x="279" y="143"/>
                </a:cubicBezTo>
                <a:cubicBezTo>
                  <a:pt x="279" y="143"/>
                  <a:pt x="278" y="143"/>
                  <a:pt x="278" y="143"/>
                </a:cubicBezTo>
                <a:cubicBezTo>
                  <a:pt x="277" y="144"/>
                  <a:pt x="275" y="144"/>
                  <a:pt x="274" y="145"/>
                </a:cubicBezTo>
                <a:cubicBezTo>
                  <a:pt x="275" y="145"/>
                  <a:pt x="276" y="144"/>
                  <a:pt x="277" y="144"/>
                </a:cubicBezTo>
                <a:cubicBezTo>
                  <a:pt x="277" y="145"/>
                  <a:pt x="276" y="145"/>
                  <a:pt x="275" y="145"/>
                </a:cubicBezTo>
                <a:cubicBezTo>
                  <a:pt x="275" y="145"/>
                  <a:pt x="275" y="145"/>
                  <a:pt x="274" y="145"/>
                </a:cubicBezTo>
                <a:cubicBezTo>
                  <a:pt x="274" y="145"/>
                  <a:pt x="273" y="145"/>
                  <a:pt x="274" y="145"/>
                </a:cubicBezTo>
                <a:cubicBezTo>
                  <a:pt x="273" y="146"/>
                  <a:pt x="272" y="145"/>
                  <a:pt x="271" y="145"/>
                </a:cubicBezTo>
                <a:cubicBezTo>
                  <a:pt x="270" y="146"/>
                  <a:pt x="269" y="146"/>
                  <a:pt x="269" y="147"/>
                </a:cubicBezTo>
                <a:cubicBezTo>
                  <a:pt x="268" y="147"/>
                  <a:pt x="267" y="147"/>
                  <a:pt x="267" y="147"/>
                </a:cubicBezTo>
                <a:cubicBezTo>
                  <a:pt x="267" y="148"/>
                  <a:pt x="269" y="146"/>
                  <a:pt x="269" y="146"/>
                </a:cubicBezTo>
                <a:cubicBezTo>
                  <a:pt x="269" y="147"/>
                  <a:pt x="270" y="146"/>
                  <a:pt x="269" y="147"/>
                </a:cubicBezTo>
                <a:cubicBezTo>
                  <a:pt x="270" y="147"/>
                  <a:pt x="270" y="147"/>
                  <a:pt x="271" y="147"/>
                </a:cubicBezTo>
                <a:cubicBezTo>
                  <a:pt x="270" y="148"/>
                  <a:pt x="269" y="147"/>
                  <a:pt x="268" y="148"/>
                </a:cubicBezTo>
                <a:cubicBezTo>
                  <a:pt x="268" y="148"/>
                  <a:pt x="269" y="148"/>
                  <a:pt x="269" y="148"/>
                </a:cubicBezTo>
                <a:cubicBezTo>
                  <a:pt x="269" y="148"/>
                  <a:pt x="269" y="148"/>
                  <a:pt x="269" y="148"/>
                </a:cubicBezTo>
                <a:cubicBezTo>
                  <a:pt x="269" y="148"/>
                  <a:pt x="270" y="148"/>
                  <a:pt x="271" y="148"/>
                </a:cubicBezTo>
                <a:cubicBezTo>
                  <a:pt x="270" y="148"/>
                  <a:pt x="269" y="148"/>
                  <a:pt x="269" y="148"/>
                </a:cubicBezTo>
                <a:cubicBezTo>
                  <a:pt x="268" y="148"/>
                  <a:pt x="267" y="149"/>
                  <a:pt x="268" y="148"/>
                </a:cubicBezTo>
                <a:cubicBezTo>
                  <a:pt x="267" y="148"/>
                  <a:pt x="267" y="149"/>
                  <a:pt x="267" y="149"/>
                </a:cubicBezTo>
                <a:cubicBezTo>
                  <a:pt x="267" y="149"/>
                  <a:pt x="267" y="149"/>
                  <a:pt x="267" y="149"/>
                </a:cubicBezTo>
                <a:cubicBezTo>
                  <a:pt x="266" y="149"/>
                  <a:pt x="265" y="150"/>
                  <a:pt x="266" y="150"/>
                </a:cubicBezTo>
                <a:cubicBezTo>
                  <a:pt x="266" y="150"/>
                  <a:pt x="266" y="150"/>
                  <a:pt x="266" y="150"/>
                </a:cubicBezTo>
                <a:cubicBezTo>
                  <a:pt x="266" y="150"/>
                  <a:pt x="266" y="150"/>
                  <a:pt x="266" y="150"/>
                </a:cubicBezTo>
                <a:cubicBezTo>
                  <a:pt x="266" y="150"/>
                  <a:pt x="266" y="150"/>
                  <a:pt x="266" y="150"/>
                </a:cubicBezTo>
                <a:cubicBezTo>
                  <a:pt x="265" y="150"/>
                  <a:pt x="265" y="150"/>
                  <a:pt x="265" y="150"/>
                </a:cubicBezTo>
                <a:cubicBezTo>
                  <a:pt x="265" y="150"/>
                  <a:pt x="265" y="150"/>
                  <a:pt x="266" y="149"/>
                </a:cubicBezTo>
                <a:cubicBezTo>
                  <a:pt x="265" y="150"/>
                  <a:pt x="265" y="150"/>
                  <a:pt x="265" y="150"/>
                </a:cubicBezTo>
                <a:cubicBezTo>
                  <a:pt x="265" y="149"/>
                  <a:pt x="267" y="148"/>
                  <a:pt x="267" y="148"/>
                </a:cubicBezTo>
                <a:cubicBezTo>
                  <a:pt x="267" y="148"/>
                  <a:pt x="266" y="148"/>
                  <a:pt x="266" y="148"/>
                </a:cubicBezTo>
                <a:cubicBezTo>
                  <a:pt x="266" y="148"/>
                  <a:pt x="266" y="149"/>
                  <a:pt x="265" y="149"/>
                </a:cubicBezTo>
                <a:cubicBezTo>
                  <a:pt x="265" y="149"/>
                  <a:pt x="265" y="149"/>
                  <a:pt x="265" y="149"/>
                </a:cubicBezTo>
                <a:cubicBezTo>
                  <a:pt x="265" y="149"/>
                  <a:pt x="265" y="149"/>
                  <a:pt x="265" y="149"/>
                </a:cubicBezTo>
                <a:cubicBezTo>
                  <a:pt x="264" y="149"/>
                  <a:pt x="264" y="149"/>
                  <a:pt x="264" y="150"/>
                </a:cubicBezTo>
                <a:cubicBezTo>
                  <a:pt x="265" y="150"/>
                  <a:pt x="263" y="151"/>
                  <a:pt x="263" y="150"/>
                </a:cubicBezTo>
                <a:cubicBezTo>
                  <a:pt x="263" y="150"/>
                  <a:pt x="263" y="150"/>
                  <a:pt x="263" y="150"/>
                </a:cubicBezTo>
                <a:cubicBezTo>
                  <a:pt x="263" y="149"/>
                  <a:pt x="260" y="151"/>
                  <a:pt x="260" y="151"/>
                </a:cubicBezTo>
                <a:cubicBezTo>
                  <a:pt x="260" y="151"/>
                  <a:pt x="260" y="151"/>
                  <a:pt x="260" y="151"/>
                </a:cubicBezTo>
                <a:cubicBezTo>
                  <a:pt x="260" y="151"/>
                  <a:pt x="259" y="151"/>
                  <a:pt x="259" y="151"/>
                </a:cubicBezTo>
                <a:cubicBezTo>
                  <a:pt x="258" y="151"/>
                  <a:pt x="258" y="151"/>
                  <a:pt x="257" y="151"/>
                </a:cubicBezTo>
                <a:cubicBezTo>
                  <a:pt x="257" y="151"/>
                  <a:pt x="255" y="152"/>
                  <a:pt x="255" y="152"/>
                </a:cubicBezTo>
                <a:cubicBezTo>
                  <a:pt x="255" y="152"/>
                  <a:pt x="256" y="151"/>
                  <a:pt x="256" y="151"/>
                </a:cubicBezTo>
                <a:cubicBezTo>
                  <a:pt x="255" y="151"/>
                  <a:pt x="254" y="152"/>
                  <a:pt x="254" y="153"/>
                </a:cubicBezTo>
                <a:cubicBezTo>
                  <a:pt x="253" y="153"/>
                  <a:pt x="252" y="155"/>
                  <a:pt x="250" y="154"/>
                </a:cubicBezTo>
                <a:cubicBezTo>
                  <a:pt x="250" y="154"/>
                  <a:pt x="251" y="154"/>
                  <a:pt x="250" y="154"/>
                </a:cubicBezTo>
                <a:cubicBezTo>
                  <a:pt x="251" y="154"/>
                  <a:pt x="251" y="154"/>
                  <a:pt x="252" y="154"/>
                </a:cubicBezTo>
                <a:cubicBezTo>
                  <a:pt x="252" y="154"/>
                  <a:pt x="252" y="154"/>
                  <a:pt x="252" y="153"/>
                </a:cubicBezTo>
                <a:cubicBezTo>
                  <a:pt x="252" y="153"/>
                  <a:pt x="254" y="152"/>
                  <a:pt x="254" y="152"/>
                </a:cubicBezTo>
                <a:cubicBezTo>
                  <a:pt x="253" y="151"/>
                  <a:pt x="252" y="152"/>
                  <a:pt x="252" y="152"/>
                </a:cubicBezTo>
                <a:cubicBezTo>
                  <a:pt x="252" y="152"/>
                  <a:pt x="251" y="152"/>
                  <a:pt x="251" y="152"/>
                </a:cubicBezTo>
                <a:cubicBezTo>
                  <a:pt x="251" y="152"/>
                  <a:pt x="251" y="152"/>
                  <a:pt x="251" y="152"/>
                </a:cubicBezTo>
                <a:cubicBezTo>
                  <a:pt x="250" y="152"/>
                  <a:pt x="250" y="152"/>
                  <a:pt x="250" y="153"/>
                </a:cubicBezTo>
                <a:cubicBezTo>
                  <a:pt x="250" y="153"/>
                  <a:pt x="249" y="153"/>
                  <a:pt x="249" y="153"/>
                </a:cubicBezTo>
                <a:cubicBezTo>
                  <a:pt x="249" y="153"/>
                  <a:pt x="249" y="153"/>
                  <a:pt x="249" y="153"/>
                </a:cubicBezTo>
                <a:cubicBezTo>
                  <a:pt x="248" y="153"/>
                  <a:pt x="248" y="153"/>
                  <a:pt x="248" y="154"/>
                </a:cubicBezTo>
                <a:cubicBezTo>
                  <a:pt x="247" y="154"/>
                  <a:pt x="247" y="154"/>
                  <a:pt x="246" y="154"/>
                </a:cubicBezTo>
                <a:cubicBezTo>
                  <a:pt x="245" y="154"/>
                  <a:pt x="246" y="154"/>
                  <a:pt x="245" y="154"/>
                </a:cubicBezTo>
                <a:cubicBezTo>
                  <a:pt x="244" y="154"/>
                  <a:pt x="243" y="156"/>
                  <a:pt x="243" y="155"/>
                </a:cubicBezTo>
                <a:cubicBezTo>
                  <a:pt x="242" y="155"/>
                  <a:pt x="244" y="154"/>
                  <a:pt x="244" y="154"/>
                </a:cubicBezTo>
                <a:cubicBezTo>
                  <a:pt x="243" y="154"/>
                  <a:pt x="243" y="154"/>
                  <a:pt x="243" y="154"/>
                </a:cubicBezTo>
                <a:cubicBezTo>
                  <a:pt x="242" y="155"/>
                  <a:pt x="242" y="155"/>
                  <a:pt x="242" y="155"/>
                </a:cubicBezTo>
                <a:cubicBezTo>
                  <a:pt x="241" y="155"/>
                  <a:pt x="242" y="155"/>
                  <a:pt x="242" y="155"/>
                </a:cubicBezTo>
                <a:cubicBezTo>
                  <a:pt x="242" y="155"/>
                  <a:pt x="241" y="155"/>
                  <a:pt x="241" y="156"/>
                </a:cubicBezTo>
                <a:cubicBezTo>
                  <a:pt x="241" y="156"/>
                  <a:pt x="241" y="156"/>
                  <a:pt x="241" y="156"/>
                </a:cubicBezTo>
                <a:cubicBezTo>
                  <a:pt x="239" y="156"/>
                  <a:pt x="241" y="155"/>
                  <a:pt x="241" y="155"/>
                </a:cubicBezTo>
                <a:cubicBezTo>
                  <a:pt x="240" y="155"/>
                  <a:pt x="239" y="155"/>
                  <a:pt x="239" y="155"/>
                </a:cubicBezTo>
                <a:cubicBezTo>
                  <a:pt x="238" y="156"/>
                  <a:pt x="237" y="156"/>
                  <a:pt x="236" y="156"/>
                </a:cubicBezTo>
                <a:cubicBezTo>
                  <a:pt x="236" y="157"/>
                  <a:pt x="235" y="157"/>
                  <a:pt x="235" y="156"/>
                </a:cubicBezTo>
                <a:cubicBezTo>
                  <a:pt x="235" y="156"/>
                  <a:pt x="234" y="157"/>
                  <a:pt x="234" y="157"/>
                </a:cubicBezTo>
                <a:cubicBezTo>
                  <a:pt x="233" y="156"/>
                  <a:pt x="237" y="154"/>
                  <a:pt x="237" y="154"/>
                </a:cubicBezTo>
                <a:cubicBezTo>
                  <a:pt x="237" y="154"/>
                  <a:pt x="237" y="155"/>
                  <a:pt x="237" y="155"/>
                </a:cubicBezTo>
                <a:cubicBezTo>
                  <a:pt x="238" y="155"/>
                  <a:pt x="238" y="155"/>
                  <a:pt x="238" y="155"/>
                </a:cubicBezTo>
                <a:cubicBezTo>
                  <a:pt x="238" y="155"/>
                  <a:pt x="237" y="154"/>
                  <a:pt x="237" y="154"/>
                </a:cubicBezTo>
                <a:cubicBezTo>
                  <a:pt x="236" y="154"/>
                  <a:pt x="235" y="154"/>
                  <a:pt x="234" y="155"/>
                </a:cubicBezTo>
                <a:cubicBezTo>
                  <a:pt x="233" y="155"/>
                  <a:pt x="232" y="156"/>
                  <a:pt x="231" y="157"/>
                </a:cubicBezTo>
                <a:cubicBezTo>
                  <a:pt x="231" y="157"/>
                  <a:pt x="229" y="158"/>
                  <a:pt x="228" y="158"/>
                </a:cubicBezTo>
                <a:cubicBezTo>
                  <a:pt x="229" y="158"/>
                  <a:pt x="228" y="158"/>
                  <a:pt x="228" y="158"/>
                </a:cubicBezTo>
                <a:cubicBezTo>
                  <a:pt x="227" y="158"/>
                  <a:pt x="227" y="158"/>
                  <a:pt x="227" y="159"/>
                </a:cubicBezTo>
                <a:cubicBezTo>
                  <a:pt x="228" y="159"/>
                  <a:pt x="224" y="160"/>
                  <a:pt x="226" y="159"/>
                </a:cubicBezTo>
                <a:cubicBezTo>
                  <a:pt x="226" y="159"/>
                  <a:pt x="225" y="159"/>
                  <a:pt x="224" y="160"/>
                </a:cubicBezTo>
                <a:cubicBezTo>
                  <a:pt x="224" y="160"/>
                  <a:pt x="223" y="160"/>
                  <a:pt x="223" y="160"/>
                </a:cubicBezTo>
                <a:cubicBezTo>
                  <a:pt x="223" y="160"/>
                  <a:pt x="222" y="160"/>
                  <a:pt x="222" y="160"/>
                </a:cubicBezTo>
                <a:cubicBezTo>
                  <a:pt x="222" y="159"/>
                  <a:pt x="223" y="160"/>
                  <a:pt x="223" y="159"/>
                </a:cubicBezTo>
                <a:cubicBezTo>
                  <a:pt x="223" y="159"/>
                  <a:pt x="224" y="158"/>
                  <a:pt x="224" y="158"/>
                </a:cubicBezTo>
                <a:cubicBezTo>
                  <a:pt x="224" y="158"/>
                  <a:pt x="224" y="157"/>
                  <a:pt x="224" y="157"/>
                </a:cubicBezTo>
                <a:cubicBezTo>
                  <a:pt x="224" y="157"/>
                  <a:pt x="222" y="158"/>
                  <a:pt x="222" y="158"/>
                </a:cubicBezTo>
                <a:cubicBezTo>
                  <a:pt x="222" y="158"/>
                  <a:pt x="222" y="159"/>
                  <a:pt x="222" y="159"/>
                </a:cubicBezTo>
                <a:cubicBezTo>
                  <a:pt x="222" y="159"/>
                  <a:pt x="221" y="159"/>
                  <a:pt x="221" y="160"/>
                </a:cubicBezTo>
                <a:cubicBezTo>
                  <a:pt x="221" y="160"/>
                  <a:pt x="221" y="160"/>
                  <a:pt x="221" y="160"/>
                </a:cubicBezTo>
                <a:cubicBezTo>
                  <a:pt x="221" y="160"/>
                  <a:pt x="220" y="161"/>
                  <a:pt x="220" y="161"/>
                </a:cubicBezTo>
                <a:cubicBezTo>
                  <a:pt x="220" y="160"/>
                  <a:pt x="221" y="160"/>
                  <a:pt x="221" y="160"/>
                </a:cubicBezTo>
                <a:cubicBezTo>
                  <a:pt x="221" y="160"/>
                  <a:pt x="220" y="160"/>
                  <a:pt x="220" y="160"/>
                </a:cubicBezTo>
                <a:cubicBezTo>
                  <a:pt x="219" y="161"/>
                  <a:pt x="218" y="161"/>
                  <a:pt x="218" y="161"/>
                </a:cubicBezTo>
                <a:cubicBezTo>
                  <a:pt x="217" y="161"/>
                  <a:pt x="218" y="160"/>
                  <a:pt x="218" y="160"/>
                </a:cubicBezTo>
                <a:cubicBezTo>
                  <a:pt x="218" y="160"/>
                  <a:pt x="218" y="160"/>
                  <a:pt x="218" y="160"/>
                </a:cubicBezTo>
                <a:cubicBezTo>
                  <a:pt x="218" y="159"/>
                  <a:pt x="217" y="159"/>
                  <a:pt x="217" y="159"/>
                </a:cubicBezTo>
                <a:cubicBezTo>
                  <a:pt x="217" y="159"/>
                  <a:pt x="217" y="159"/>
                  <a:pt x="218" y="159"/>
                </a:cubicBezTo>
                <a:cubicBezTo>
                  <a:pt x="217" y="159"/>
                  <a:pt x="216" y="159"/>
                  <a:pt x="216" y="160"/>
                </a:cubicBezTo>
                <a:cubicBezTo>
                  <a:pt x="216" y="160"/>
                  <a:pt x="216" y="160"/>
                  <a:pt x="216" y="160"/>
                </a:cubicBezTo>
                <a:cubicBezTo>
                  <a:pt x="216" y="161"/>
                  <a:pt x="216" y="161"/>
                  <a:pt x="216" y="161"/>
                </a:cubicBezTo>
                <a:cubicBezTo>
                  <a:pt x="215" y="161"/>
                  <a:pt x="213" y="163"/>
                  <a:pt x="212" y="162"/>
                </a:cubicBezTo>
                <a:cubicBezTo>
                  <a:pt x="213" y="162"/>
                  <a:pt x="213" y="161"/>
                  <a:pt x="214" y="161"/>
                </a:cubicBezTo>
                <a:cubicBezTo>
                  <a:pt x="214" y="161"/>
                  <a:pt x="214" y="161"/>
                  <a:pt x="213" y="161"/>
                </a:cubicBezTo>
                <a:cubicBezTo>
                  <a:pt x="214" y="160"/>
                  <a:pt x="214" y="161"/>
                  <a:pt x="215" y="161"/>
                </a:cubicBezTo>
                <a:cubicBezTo>
                  <a:pt x="215" y="161"/>
                  <a:pt x="215" y="160"/>
                  <a:pt x="216" y="159"/>
                </a:cubicBezTo>
                <a:cubicBezTo>
                  <a:pt x="216" y="159"/>
                  <a:pt x="217" y="159"/>
                  <a:pt x="218" y="159"/>
                </a:cubicBezTo>
                <a:cubicBezTo>
                  <a:pt x="218" y="158"/>
                  <a:pt x="219" y="158"/>
                  <a:pt x="220" y="158"/>
                </a:cubicBezTo>
                <a:cubicBezTo>
                  <a:pt x="220" y="158"/>
                  <a:pt x="219" y="158"/>
                  <a:pt x="219" y="159"/>
                </a:cubicBezTo>
                <a:cubicBezTo>
                  <a:pt x="219" y="159"/>
                  <a:pt x="220" y="159"/>
                  <a:pt x="220" y="158"/>
                </a:cubicBezTo>
                <a:cubicBezTo>
                  <a:pt x="220" y="158"/>
                  <a:pt x="222" y="158"/>
                  <a:pt x="221" y="158"/>
                </a:cubicBezTo>
                <a:cubicBezTo>
                  <a:pt x="221" y="157"/>
                  <a:pt x="222" y="157"/>
                  <a:pt x="222" y="157"/>
                </a:cubicBezTo>
                <a:cubicBezTo>
                  <a:pt x="223" y="157"/>
                  <a:pt x="224" y="157"/>
                  <a:pt x="224" y="157"/>
                </a:cubicBezTo>
                <a:cubicBezTo>
                  <a:pt x="224" y="157"/>
                  <a:pt x="226" y="156"/>
                  <a:pt x="226" y="156"/>
                </a:cubicBezTo>
                <a:cubicBezTo>
                  <a:pt x="226" y="156"/>
                  <a:pt x="226" y="156"/>
                  <a:pt x="225" y="156"/>
                </a:cubicBezTo>
                <a:cubicBezTo>
                  <a:pt x="228" y="154"/>
                  <a:pt x="231" y="153"/>
                  <a:pt x="234" y="152"/>
                </a:cubicBezTo>
                <a:cubicBezTo>
                  <a:pt x="237" y="151"/>
                  <a:pt x="241" y="150"/>
                  <a:pt x="244" y="150"/>
                </a:cubicBezTo>
                <a:cubicBezTo>
                  <a:pt x="243" y="150"/>
                  <a:pt x="242" y="150"/>
                  <a:pt x="242" y="150"/>
                </a:cubicBezTo>
                <a:cubicBezTo>
                  <a:pt x="242" y="151"/>
                  <a:pt x="243" y="151"/>
                  <a:pt x="244" y="150"/>
                </a:cubicBezTo>
                <a:cubicBezTo>
                  <a:pt x="245" y="150"/>
                  <a:pt x="245" y="150"/>
                  <a:pt x="246" y="150"/>
                </a:cubicBezTo>
                <a:cubicBezTo>
                  <a:pt x="246" y="150"/>
                  <a:pt x="246" y="150"/>
                  <a:pt x="246" y="150"/>
                </a:cubicBezTo>
                <a:cubicBezTo>
                  <a:pt x="245" y="151"/>
                  <a:pt x="245" y="151"/>
                  <a:pt x="245" y="151"/>
                </a:cubicBezTo>
                <a:cubicBezTo>
                  <a:pt x="244" y="151"/>
                  <a:pt x="243" y="152"/>
                  <a:pt x="244" y="151"/>
                </a:cubicBezTo>
                <a:cubicBezTo>
                  <a:pt x="243" y="152"/>
                  <a:pt x="244" y="152"/>
                  <a:pt x="243" y="153"/>
                </a:cubicBezTo>
                <a:cubicBezTo>
                  <a:pt x="243" y="153"/>
                  <a:pt x="244" y="152"/>
                  <a:pt x="244" y="153"/>
                </a:cubicBezTo>
                <a:cubicBezTo>
                  <a:pt x="244" y="153"/>
                  <a:pt x="244" y="153"/>
                  <a:pt x="244" y="153"/>
                </a:cubicBezTo>
                <a:cubicBezTo>
                  <a:pt x="245" y="153"/>
                  <a:pt x="244" y="152"/>
                  <a:pt x="244" y="152"/>
                </a:cubicBezTo>
                <a:cubicBezTo>
                  <a:pt x="245" y="151"/>
                  <a:pt x="247" y="151"/>
                  <a:pt x="247" y="151"/>
                </a:cubicBezTo>
                <a:cubicBezTo>
                  <a:pt x="247" y="151"/>
                  <a:pt x="247" y="152"/>
                  <a:pt x="247" y="152"/>
                </a:cubicBezTo>
                <a:cubicBezTo>
                  <a:pt x="247" y="152"/>
                  <a:pt x="247" y="152"/>
                  <a:pt x="248" y="152"/>
                </a:cubicBezTo>
                <a:cubicBezTo>
                  <a:pt x="247" y="152"/>
                  <a:pt x="248" y="152"/>
                  <a:pt x="248" y="152"/>
                </a:cubicBezTo>
                <a:cubicBezTo>
                  <a:pt x="248" y="152"/>
                  <a:pt x="249" y="152"/>
                  <a:pt x="249" y="152"/>
                </a:cubicBezTo>
                <a:cubicBezTo>
                  <a:pt x="249" y="151"/>
                  <a:pt x="248" y="150"/>
                  <a:pt x="248" y="151"/>
                </a:cubicBezTo>
                <a:cubicBezTo>
                  <a:pt x="248" y="151"/>
                  <a:pt x="249" y="150"/>
                  <a:pt x="248" y="150"/>
                </a:cubicBezTo>
                <a:cubicBezTo>
                  <a:pt x="249" y="149"/>
                  <a:pt x="251" y="149"/>
                  <a:pt x="252" y="148"/>
                </a:cubicBezTo>
                <a:cubicBezTo>
                  <a:pt x="253" y="147"/>
                  <a:pt x="254" y="147"/>
                  <a:pt x="256" y="146"/>
                </a:cubicBezTo>
                <a:cubicBezTo>
                  <a:pt x="259" y="145"/>
                  <a:pt x="261" y="144"/>
                  <a:pt x="264" y="143"/>
                </a:cubicBezTo>
                <a:cubicBezTo>
                  <a:pt x="264" y="143"/>
                  <a:pt x="264" y="144"/>
                  <a:pt x="264" y="144"/>
                </a:cubicBezTo>
                <a:cubicBezTo>
                  <a:pt x="265" y="143"/>
                  <a:pt x="267" y="143"/>
                  <a:pt x="268" y="143"/>
                </a:cubicBezTo>
                <a:cubicBezTo>
                  <a:pt x="267" y="143"/>
                  <a:pt x="268" y="142"/>
                  <a:pt x="268" y="142"/>
                </a:cubicBezTo>
                <a:cubicBezTo>
                  <a:pt x="268" y="142"/>
                  <a:pt x="269" y="142"/>
                  <a:pt x="270" y="142"/>
                </a:cubicBezTo>
                <a:cubicBezTo>
                  <a:pt x="270" y="142"/>
                  <a:pt x="270" y="142"/>
                  <a:pt x="271" y="142"/>
                </a:cubicBezTo>
                <a:cubicBezTo>
                  <a:pt x="271" y="142"/>
                  <a:pt x="270" y="142"/>
                  <a:pt x="270" y="142"/>
                </a:cubicBezTo>
                <a:cubicBezTo>
                  <a:pt x="270" y="142"/>
                  <a:pt x="271" y="141"/>
                  <a:pt x="271" y="141"/>
                </a:cubicBezTo>
                <a:cubicBezTo>
                  <a:pt x="271" y="141"/>
                  <a:pt x="272" y="142"/>
                  <a:pt x="272" y="142"/>
                </a:cubicBezTo>
                <a:cubicBezTo>
                  <a:pt x="273" y="142"/>
                  <a:pt x="273" y="142"/>
                  <a:pt x="273" y="142"/>
                </a:cubicBezTo>
                <a:cubicBezTo>
                  <a:pt x="274" y="141"/>
                  <a:pt x="274" y="141"/>
                  <a:pt x="274" y="141"/>
                </a:cubicBezTo>
                <a:cubicBezTo>
                  <a:pt x="274" y="141"/>
                  <a:pt x="275" y="140"/>
                  <a:pt x="275" y="140"/>
                </a:cubicBezTo>
                <a:cubicBezTo>
                  <a:pt x="276" y="139"/>
                  <a:pt x="278" y="138"/>
                  <a:pt x="280" y="138"/>
                </a:cubicBezTo>
                <a:cubicBezTo>
                  <a:pt x="280" y="137"/>
                  <a:pt x="281" y="137"/>
                  <a:pt x="282" y="136"/>
                </a:cubicBezTo>
                <a:cubicBezTo>
                  <a:pt x="283" y="136"/>
                  <a:pt x="284" y="136"/>
                  <a:pt x="285" y="136"/>
                </a:cubicBezTo>
                <a:cubicBezTo>
                  <a:pt x="284" y="136"/>
                  <a:pt x="285" y="136"/>
                  <a:pt x="285" y="135"/>
                </a:cubicBezTo>
                <a:cubicBezTo>
                  <a:pt x="286" y="135"/>
                  <a:pt x="286" y="135"/>
                  <a:pt x="287" y="135"/>
                </a:cubicBezTo>
                <a:cubicBezTo>
                  <a:pt x="288" y="134"/>
                  <a:pt x="289" y="134"/>
                  <a:pt x="290" y="134"/>
                </a:cubicBezTo>
                <a:cubicBezTo>
                  <a:pt x="290" y="134"/>
                  <a:pt x="290" y="135"/>
                  <a:pt x="289" y="135"/>
                </a:cubicBezTo>
                <a:cubicBezTo>
                  <a:pt x="290" y="135"/>
                  <a:pt x="290" y="135"/>
                  <a:pt x="291" y="135"/>
                </a:cubicBezTo>
                <a:cubicBezTo>
                  <a:pt x="291" y="135"/>
                  <a:pt x="291" y="135"/>
                  <a:pt x="291" y="135"/>
                </a:cubicBezTo>
                <a:cubicBezTo>
                  <a:pt x="291" y="135"/>
                  <a:pt x="290" y="135"/>
                  <a:pt x="290" y="135"/>
                </a:cubicBezTo>
                <a:cubicBezTo>
                  <a:pt x="290" y="135"/>
                  <a:pt x="291" y="133"/>
                  <a:pt x="291" y="133"/>
                </a:cubicBezTo>
                <a:cubicBezTo>
                  <a:pt x="291" y="133"/>
                  <a:pt x="291" y="133"/>
                  <a:pt x="291" y="133"/>
                </a:cubicBezTo>
                <a:cubicBezTo>
                  <a:pt x="290" y="133"/>
                  <a:pt x="291" y="133"/>
                  <a:pt x="291" y="133"/>
                </a:cubicBezTo>
                <a:cubicBezTo>
                  <a:pt x="293" y="132"/>
                  <a:pt x="294" y="131"/>
                  <a:pt x="295" y="130"/>
                </a:cubicBezTo>
                <a:cubicBezTo>
                  <a:pt x="296" y="129"/>
                  <a:pt x="297" y="128"/>
                  <a:pt x="299" y="128"/>
                </a:cubicBezTo>
                <a:cubicBezTo>
                  <a:pt x="299" y="128"/>
                  <a:pt x="300" y="127"/>
                  <a:pt x="301" y="127"/>
                </a:cubicBezTo>
                <a:cubicBezTo>
                  <a:pt x="301" y="127"/>
                  <a:pt x="302" y="128"/>
                  <a:pt x="301" y="128"/>
                </a:cubicBezTo>
                <a:cubicBezTo>
                  <a:pt x="302" y="128"/>
                  <a:pt x="301" y="127"/>
                  <a:pt x="300" y="127"/>
                </a:cubicBezTo>
                <a:cubicBezTo>
                  <a:pt x="299" y="128"/>
                  <a:pt x="300" y="126"/>
                  <a:pt x="301" y="126"/>
                </a:cubicBezTo>
                <a:cubicBezTo>
                  <a:pt x="302" y="125"/>
                  <a:pt x="304" y="124"/>
                  <a:pt x="305" y="124"/>
                </a:cubicBezTo>
                <a:cubicBezTo>
                  <a:pt x="306" y="123"/>
                  <a:pt x="307" y="123"/>
                  <a:pt x="308" y="123"/>
                </a:cubicBezTo>
                <a:cubicBezTo>
                  <a:pt x="308" y="122"/>
                  <a:pt x="309" y="122"/>
                  <a:pt x="310" y="122"/>
                </a:cubicBezTo>
                <a:cubicBezTo>
                  <a:pt x="310" y="122"/>
                  <a:pt x="309" y="122"/>
                  <a:pt x="309" y="122"/>
                </a:cubicBezTo>
                <a:cubicBezTo>
                  <a:pt x="309" y="122"/>
                  <a:pt x="312" y="120"/>
                  <a:pt x="312" y="120"/>
                </a:cubicBezTo>
                <a:cubicBezTo>
                  <a:pt x="313" y="119"/>
                  <a:pt x="315" y="119"/>
                  <a:pt x="316" y="118"/>
                </a:cubicBezTo>
                <a:cubicBezTo>
                  <a:pt x="315" y="118"/>
                  <a:pt x="314" y="119"/>
                  <a:pt x="313" y="119"/>
                </a:cubicBezTo>
                <a:cubicBezTo>
                  <a:pt x="312" y="120"/>
                  <a:pt x="311" y="120"/>
                  <a:pt x="310" y="121"/>
                </a:cubicBezTo>
                <a:cubicBezTo>
                  <a:pt x="307" y="121"/>
                  <a:pt x="304" y="122"/>
                  <a:pt x="302" y="123"/>
                </a:cubicBezTo>
                <a:cubicBezTo>
                  <a:pt x="301" y="123"/>
                  <a:pt x="299" y="123"/>
                  <a:pt x="298" y="123"/>
                </a:cubicBezTo>
                <a:cubicBezTo>
                  <a:pt x="297" y="123"/>
                  <a:pt x="299" y="122"/>
                  <a:pt x="299" y="122"/>
                </a:cubicBezTo>
                <a:cubicBezTo>
                  <a:pt x="299" y="122"/>
                  <a:pt x="298" y="122"/>
                  <a:pt x="298" y="122"/>
                </a:cubicBezTo>
                <a:cubicBezTo>
                  <a:pt x="298" y="121"/>
                  <a:pt x="298" y="121"/>
                  <a:pt x="299" y="121"/>
                </a:cubicBezTo>
                <a:cubicBezTo>
                  <a:pt x="299" y="121"/>
                  <a:pt x="300" y="120"/>
                  <a:pt x="300" y="120"/>
                </a:cubicBezTo>
                <a:cubicBezTo>
                  <a:pt x="300" y="120"/>
                  <a:pt x="301" y="120"/>
                  <a:pt x="301" y="119"/>
                </a:cubicBezTo>
                <a:cubicBezTo>
                  <a:pt x="301" y="119"/>
                  <a:pt x="301" y="119"/>
                  <a:pt x="301" y="119"/>
                </a:cubicBezTo>
                <a:cubicBezTo>
                  <a:pt x="301" y="119"/>
                  <a:pt x="303" y="119"/>
                  <a:pt x="303" y="119"/>
                </a:cubicBezTo>
                <a:cubicBezTo>
                  <a:pt x="304" y="119"/>
                  <a:pt x="303" y="120"/>
                  <a:pt x="303" y="121"/>
                </a:cubicBezTo>
                <a:cubicBezTo>
                  <a:pt x="303" y="120"/>
                  <a:pt x="303" y="120"/>
                  <a:pt x="304" y="120"/>
                </a:cubicBezTo>
                <a:cubicBezTo>
                  <a:pt x="303" y="120"/>
                  <a:pt x="304" y="120"/>
                  <a:pt x="304" y="120"/>
                </a:cubicBezTo>
                <a:cubicBezTo>
                  <a:pt x="304" y="119"/>
                  <a:pt x="304" y="119"/>
                  <a:pt x="304" y="119"/>
                </a:cubicBezTo>
                <a:cubicBezTo>
                  <a:pt x="303" y="119"/>
                  <a:pt x="302" y="118"/>
                  <a:pt x="303" y="118"/>
                </a:cubicBezTo>
                <a:cubicBezTo>
                  <a:pt x="302" y="118"/>
                  <a:pt x="302" y="118"/>
                  <a:pt x="302" y="118"/>
                </a:cubicBezTo>
                <a:cubicBezTo>
                  <a:pt x="302" y="119"/>
                  <a:pt x="301" y="119"/>
                  <a:pt x="301" y="119"/>
                </a:cubicBezTo>
                <a:cubicBezTo>
                  <a:pt x="300" y="120"/>
                  <a:pt x="299" y="120"/>
                  <a:pt x="297" y="121"/>
                </a:cubicBezTo>
                <a:cubicBezTo>
                  <a:pt x="298" y="120"/>
                  <a:pt x="298" y="120"/>
                  <a:pt x="299" y="119"/>
                </a:cubicBezTo>
                <a:cubicBezTo>
                  <a:pt x="298" y="120"/>
                  <a:pt x="297" y="120"/>
                  <a:pt x="297" y="121"/>
                </a:cubicBezTo>
                <a:cubicBezTo>
                  <a:pt x="297" y="121"/>
                  <a:pt x="295" y="122"/>
                  <a:pt x="295" y="122"/>
                </a:cubicBezTo>
                <a:cubicBezTo>
                  <a:pt x="295" y="122"/>
                  <a:pt x="296" y="121"/>
                  <a:pt x="296" y="121"/>
                </a:cubicBezTo>
                <a:cubicBezTo>
                  <a:pt x="295" y="121"/>
                  <a:pt x="294" y="122"/>
                  <a:pt x="294" y="122"/>
                </a:cubicBezTo>
                <a:cubicBezTo>
                  <a:pt x="294" y="123"/>
                  <a:pt x="294" y="123"/>
                  <a:pt x="293" y="124"/>
                </a:cubicBezTo>
                <a:cubicBezTo>
                  <a:pt x="293" y="124"/>
                  <a:pt x="293" y="124"/>
                  <a:pt x="293" y="124"/>
                </a:cubicBezTo>
                <a:cubicBezTo>
                  <a:pt x="293" y="125"/>
                  <a:pt x="292" y="125"/>
                  <a:pt x="291" y="125"/>
                </a:cubicBezTo>
                <a:cubicBezTo>
                  <a:pt x="291" y="126"/>
                  <a:pt x="289" y="125"/>
                  <a:pt x="290" y="125"/>
                </a:cubicBezTo>
                <a:cubicBezTo>
                  <a:pt x="290" y="125"/>
                  <a:pt x="290" y="125"/>
                  <a:pt x="290" y="125"/>
                </a:cubicBezTo>
                <a:cubicBezTo>
                  <a:pt x="290" y="125"/>
                  <a:pt x="291" y="123"/>
                  <a:pt x="291" y="123"/>
                </a:cubicBezTo>
                <a:cubicBezTo>
                  <a:pt x="291" y="122"/>
                  <a:pt x="291" y="122"/>
                  <a:pt x="291" y="121"/>
                </a:cubicBezTo>
                <a:cubicBezTo>
                  <a:pt x="291" y="121"/>
                  <a:pt x="290" y="121"/>
                  <a:pt x="290" y="121"/>
                </a:cubicBezTo>
                <a:cubicBezTo>
                  <a:pt x="290" y="120"/>
                  <a:pt x="291" y="120"/>
                  <a:pt x="291" y="120"/>
                </a:cubicBezTo>
                <a:cubicBezTo>
                  <a:pt x="291" y="120"/>
                  <a:pt x="290" y="120"/>
                  <a:pt x="289" y="121"/>
                </a:cubicBezTo>
                <a:cubicBezTo>
                  <a:pt x="289" y="121"/>
                  <a:pt x="289" y="121"/>
                  <a:pt x="288" y="121"/>
                </a:cubicBezTo>
                <a:cubicBezTo>
                  <a:pt x="288" y="121"/>
                  <a:pt x="287" y="122"/>
                  <a:pt x="287" y="122"/>
                </a:cubicBezTo>
                <a:cubicBezTo>
                  <a:pt x="287" y="121"/>
                  <a:pt x="288" y="121"/>
                  <a:pt x="287" y="120"/>
                </a:cubicBezTo>
                <a:cubicBezTo>
                  <a:pt x="287" y="120"/>
                  <a:pt x="286" y="121"/>
                  <a:pt x="287" y="120"/>
                </a:cubicBezTo>
                <a:cubicBezTo>
                  <a:pt x="287" y="120"/>
                  <a:pt x="286" y="120"/>
                  <a:pt x="286" y="120"/>
                </a:cubicBezTo>
                <a:cubicBezTo>
                  <a:pt x="286" y="120"/>
                  <a:pt x="286" y="120"/>
                  <a:pt x="286" y="120"/>
                </a:cubicBezTo>
                <a:cubicBezTo>
                  <a:pt x="286" y="120"/>
                  <a:pt x="286" y="120"/>
                  <a:pt x="286" y="120"/>
                </a:cubicBezTo>
                <a:cubicBezTo>
                  <a:pt x="286" y="120"/>
                  <a:pt x="287" y="120"/>
                  <a:pt x="287" y="120"/>
                </a:cubicBezTo>
                <a:cubicBezTo>
                  <a:pt x="287" y="119"/>
                  <a:pt x="287" y="119"/>
                  <a:pt x="287" y="119"/>
                </a:cubicBezTo>
                <a:cubicBezTo>
                  <a:pt x="286" y="118"/>
                  <a:pt x="285" y="119"/>
                  <a:pt x="284" y="119"/>
                </a:cubicBezTo>
                <a:cubicBezTo>
                  <a:pt x="283" y="120"/>
                  <a:pt x="282" y="120"/>
                  <a:pt x="281" y="121"/>
                </a:cubicBezTo>
                <a:cubicBezTo>
                  <a:pt x="281" y="120"/>
                  <a:pt x="280" y="121"/>
                  <a:pt x="279" y="121"/>
                </a:cubicBezTo>
                <a:cubicBezTo>
                  <a:pt x="279" y="121"/>
                  <a:pt x="279" y="121"/>
                  <a:pt x="278" y="121"/>
                </a:cubicBezTo>
                <a:cubicBezTo>
                  <a:pt x="278" y="121"/>
                  <a:pt x="276" y="122"/>
                  <a:pt x="277" y="121"/>
                </a:cubicBezTo>
                <a:cubicBezTo>
                  <a:pt x="276" y="121"/>
                  <a:pt x="276" y="122"/>
                  <a:pt x="277" y="122"/>
                </a:cubicBezTo>
                <a:cubicBezTo>
                  <a:pt x="276" y="122"/>
                  <a:pt x="275" y="122"/>
                  <a:pt x="274" y="123"/>
                </a:cubicBezTo>
                <a:cubicBezTo>
                  <a:pt x="274" y="123"/>
                  <a:pt x="275" y="123"/>
                  <a:pt x="275" y="123"/>
                </a:cubicBezTo>
                <a:cubicBezTo>
                  <a:pt x="274" y="123"/>
                  <a:pt x="273" y="123"/>
                  <a:pt x="272" y="123"/>
                </a:cubicBezTo>
                <a:cubicBezTo>
                  <a:pt x="271" y="124"/>
                  <a:pt x="271" y="124"/>
                  <a:pt x="270" y="124"/>
                </a:cubicBezTo>
                <a:cubicBezTo>
                  <a:pt x="270" y="124"/>
                  <a:pt x="271" y="123"/>
                  <a:pt x="271" y="123"/>
                </a:cubicBezTo>
                <a:cubicBezTo>
                  <a:pt x="271" y="123"/>
                  <a:pt x="271" y="123"/>
                  <a:pt x="270" y="123"/>
                </a:cubicBezTo>
                <a:cubicBezTo>
                  <a:pt x="271" y="123"/>
                  <a:pt x="268" y="123"/>
                  <a:pt x="268" y="123"/>
                </a:cubicBezTo>
                <a:cubicBezTo>
                  <a:pt x="268" y="123"/>
                  <a:pt x="270" y="122"/>
                  <a:pt x="270" y="123"/>
                </a:cubicBezTo>
                <a:cubicBezTo>
                  <a:pt x="271" y="123"/>
                  <a:pt x="272" y="122"/>
                  <a:pt x="273" y="122"/>
                </a:cubicBezTo>
                <a:cubicBezTo>
                  <a:pt x="273" y="122"/>
                  <a:pt x="274" y="121"/>
                  <a:pt x="274" y="121"/>
                </a:cubicBezTo>
                <a:cubicBezTo>
                  <a:pt x="273" y="121"/>
                  <a:pt x="273" y="121"/>
                  <a:pt x="273" y="121"/>
                </a:cubicBezTo>
                <a:cubicBezTo>
                  <a:pt x="273" y="121"/>
                  <a:pt x="274" y="120"/>
                  <a:pt x="274" y="120"/>
                </a:cubicBezTo>
                <a:cubicBezTo>
                  <a:pt x="275" y="120"/>
                  <a:pt x="275" y="119"/>
                  <a:pt x="275" y="119"/>
                </a:cubicBezTo>
                <a:cubicBezTo>
                  <a:pt x="275" y="119"/>
                  <a:pt x="276" y="119"/>
                  <a:pt x="277" y="119"/>
                </a:cubicBezTo>
                <a:cubicBezTo>
                  <a:pt x="277" y="119"/>
                  <a:pt x="278" y="118"/>
                  <a:pt x="278" y="118"/>
                </a:cubicBezTo>
                <a:cubicBezTo>
                  <a:pt x="278" y="118"/>
                  <a:pt x="278" y="118"/>
                  <a:pt x="278" y="118"/>
                </a:cubicBezTo>
                <a:cubicBezTo>
                  <a:pt x="278" y="118"/>
                  <a:pt x="278" y="118"/>
                  <a:pt x="278" y="118"/>
                </a:cubicBezTo>
                <a:cubicBezTo>
                  <a:pt x="278" y="118"/>
                  <a:pt x="276" y="118"/>
                  <a:pt x="275" y="119"/>
                </a:cubicBezTo>
                <a:cubicBezTo>
                  <a:pt x="275" y="119"/>
                  <a:pt x="275" y="118"/>
                  <a:pt x="275" y="118"/>
                </a:cubicBezTo>
                <a:cubicBezTo>
                  <a:pt x="275" y="118"/>
                  <a:pt x="276" y="117"/>
                  <a:pt x="276" y="117"/>
                </a:cubicBezTo>
                <a:cubicBezTo>
                  <a:pt x="276" y="117"/>
                  <a:pt x="278" y="116"/>
                  <a:pt x="278" y="116"/>
                </a:cubicBezTo>
                <a:cubicBezTo>
                  <a:pt x="279" y="116"/>
                  <a:pt x="279" y="115"/>
                  <a:pt x="280" y="115"/>
                </a:cubicBezTo>
                <a:cubicBezTo>
                  <a:pt x="281" y="115"/>
                  <a:pt x="281" y="115"/>
                  <a:pt x="281" y="114"/>
                </a:cubicBezTo>
                <a:cubicBezTo>
                  <a:pt x="282" y="114"/>
                  <a:pt x="282" y="114"/>
                  <a:pt x="282" y="113"/>
                </a:cubicBezTo>
                <a:cubicBezTo>
                  <a:pt x="283" y="113"/>
                  <a:pt x="283" y="112"/>
                  <a:pt x="283" y="112"/>
                </a:cubicBezTo>
                <a:cubicBezTo>
                  <a:pt x="284" y="111"/>
                  <a:pt x="284" y="111"/>
                  <a:pt x="284" y="110"/>
                </a:cubicBezTo>
                <a:cubicBezTo>
                  <a:pt x="284" y="110"/>
                  <a:pt x="284" y="110"/>
                  <a:pt x="285" y="110"/>
                </a:cubicBezTo>
                <a:cubicBezTo>
                  <a:pt x="285" y="109"/>
                  <a:pt x="285" y="109"/>
                  <a:pt x="285" y="109"/>
                </a:cubicBezTo>
                <a:cubicBezTo>
                  <a:pt x="286" y="108"/>
                  <a:pt x="287" y="107"/>
                  <a:pt x="288" y="107"/>
                </a:cubicBezTo>
                <a:cubicBezTo>
                  <a:pt x="287" y="107"/>
                  <a:pt x="287" y="107"/>
                  <a:pt x="287" y="107"/>
                </a:cubicBezTo>
                <a:cubicBezTo>
                  <a:pt x="287" y="107"/>
                  <a:pt x="287" y="107"/>
                  <a:pt x="287" y="107"/>
                </a:cubicBezTo>
                <a:cubicBezTo>
                  <a:pt x="287" y="107"/>
                  <a:pt x="285" y="108"/>
                  <a:pt x="285" y="108"/>
                </a:cubicBezTo>
                <a:cubicBezTo>
                  <a:pt x="285" y="108"/>
                  <a:pt x="285" y="107"/>
                  <a:pt x="286" y="107"/>
                </a:cubicBezTo>
                <a:cubicBezTo>
                  <a:pt x="286" y="107"/>
                  <a:pt x="286" y="107"/>
                  <a:pt x="286" y="107"/>
                </a:cubicBezTo>
                <a:cubicBezTo>
                  <a:pt x="286" y="106"/>
                  <a:pt x="288" y="105"/>
                  <a:pt x="289" y="105"/>
                </a:cubicBezTo>
                <a:cubicBezTo>
                  <a:pt x="290" y="104"/>
                  <a:pt x="291" y="104"/>
                  <a:pt x="292" y="103"/>
                </a:cubicBezTo>
                <a:cubicBezTo>
                  <a:pt x="293" y="103"/>
                  <a:pt x="295" y="103"/>
                  <a:pt x="296" y="102"/>
                </a:cubicBezTo>
                <a:cubicBezTo>
                  <a:pt x="295" y="102"/>
                  <a:pt x="294" y="102"/>
                  <a:pt x="294" y="103"/>
                </a:cubicBezTo>
                <a:cubicBezTo>
                  <a:pt x="294" y="102"/>
                  <a:pt x="294" y="102"/>
                  <a:pt x="294" y="102"/>
                </a:cubicBezTo>
                <a:cubicBezTo>
                  <a:pt x="294" y="102"/>
                  <a:pt x="294" y="102"/>
                  <a:pt x="294" y="102"/>
                </a:cubicBezTo>
                <a:cubicBezTo>
                  <a:pt x="294" y="103"/>
                  <a:pt x="293" y="103"/>
                  <a:pt x="293" y="103"/>
                </a:cubicBezTo>
                <a:cubicBezTo>
                  <a:pt x="292" y="103"/>
                  <a:pt x="292" y="103"/>
                  <a:pt x="291" y="104"/>
                </a:cubicBezTo>
                <a:cubicBezTo>
                  <a:pt x="290" y="104"/>
                  <a:pt x="289" y="104"/>
                  <a:pt x="289" y="105"/>
                </a:cubicBezTo>
                <a:cubicBezTo>
                  <a:pt x="288" y="105"/>
                  <a:pt x="288" y="105"/>
                  <a:pt x="287" y="105"/>
                </a:cubicBezTo>
                <a:cubicBezTo>
                  <a:pt x="288" y="105"/>
                  <a:pt x="287" y="106"/>
                  <a:pt x="287" y="106"/>
                </a:cubicBezTo>
                <a:cubicBezTo>
                  <a:pt x="286" y="106"/>
                  <a:pt x="286" y="106"/>
                  <a:pt x="285" y="106"/>
                </a:cubicBezTo>
                <a:cubicBezTo>
                  <a:pt x="286" y="106"/>
                  <a:pt x="286" y="106"/>
                  <a:pt x="286" y="106"/>
                </a:cubicBezTo>
                <a:cubicBezTo>
                  <a:pt x="285" y="106"/>
                  <a:pt x="285" y="106"/>
                  <a:pt x="285" y="106"/>
                </a:cubicBezTo>
                <a:cubicBezTo>
                  <a:pt x="286" y="107"/>
                  <a:pt x="284" y="107"/>
                  <a:pt x="284" y="107"/>
                </a:cubicBezTo>
                <a:cubicBezTo>
                  <a:pt x="284" y="107"/>
                  <a:pt x="286" y="107"/>
                  <a:pt x="285" y="108"/>
                </a:cubicBezTo>
                <a:cubicBezTo>
                  <a:pt x="284" y="108"/>
                  <a:pt x="283" y="108"/>
                  <a:pt x="283" y="109"/>
                </a:cubicBezTo>
                <a:cubicBezTo>
                  <a:pt x="282" y="109"/>
                  <a:pt x="281" y="109"/>
                  <a:pt x="280" y="109"/>
                </a:cubicBezTo>
                <a:cubicBezTo>
                  <a:pt x="280" y="109"/>
                  <a:pt x="279" y="110"/>
                  <a:pt x="279" y="110"/>
                </a:cubicBezTo>
                <a:cubicBezTo>
                  <a:pt x="278" y="110"/>
                  <a:pt x="278" y="110"/>
                  <a:pt x="277" y="110"/>
                </a:cubicBezTo>
                <a:cubicBezTo>
                  <a:pt x="276" y="111"/>
                  <a:pt x="274" y="111"/>
                  <a:pt x="273" y="111"/>
                </a:cubicBezTo>
                <a:cubicBezTo>
                  <a:pt x="272" y="111"/>
                  <a:pt x="271" y="111"/>
                  <a:pt x="270" y="111"/>
                </a:cubicBezTo>
                <a:cubicBezTo>
                  <a:pt x="269" y="111"/>
                  <a:pt x="267" y="111"/>
                  <a:pt x="268" y="110"/>
                </a:cubicBezTo>
                <a:cubicBezTo>
                  <a:pt x="268" y="110"/>
                  <a:pt x="269" y="110"/>
                  <a:pt x="270" y="109"/>
                </a:cubicBezTo>
                <a:cubicBezTo>
                  <a:pt x="269" y="109"/>
                  <a:pt x="268" y="108"/>
                  <a:pt x="269" y="107"/>
                </a:cubicBezTo>
                <a:cubicBezTo>
                  <a:pt x="269" y="107"/>
                  <a:pt x="269" y="107"/>
                  <a:pt x="269" y="107"/>
                </a:cubicBezTo>
                <a:cubicBezTo>
                  <a:pt x="269" y="106"/>
                  <a:pt x="269" y="106"/>
                  <a:pt x="270" y="106"/>
                </a:cubicBezTo>
                <a:cubicBezTo>
                  <a:pt x="269" y="106"/>
                  <a:pt x="268" y="107"/>
                  <a:pt x="267" y="106"/>
                </a:cubicBezTo>
                <a:cubicBezTo>
                  <a:pt x="267" y="105"/>
                  <a:pt x="267" y="105"/>
                  <a:pt x="268" y="105"/>
                </a:cubicBezTo>
                <a:cubicBezTo>
                  <a:pt x="269" y="104"/>
                  <a:pt x="269" y="104"/>
                  <a:pt x="270" y="104"/>
                </a:cubicBezTo>
                <a:cubicBezTo>
                  <a:pt x="270" y="104"/>
                  <a:pt x="269" y="104"/>
                  <a:pt x="268" y="104"/>
                </a:cubicBezTo>
                <a:cubicBezTo>
                  <a:pt x="267" y="104"/>
                  <a:pt x="266" y="104"/>
                  <a:pt x="267" y="103"/>
                </a:cubicBezTo>
                <a:cubicBezTo>
                  <a:pt x="269" y="103"/>
                  <a:pt x="270" y="103"/>
                  <a:pt x="271" y="102"/>
                </a:cubicBezTo>
                <a:cubicBezTo>
                  <a:pt x="272" y="102"/>
                  <a:pt x="272" y="102"/>
                  <a:pt x="272" y="102"/>
                </a:cubicBezTo>
                <a:cubicBezTo>
                  <a:pt x="273" y="101"/>
                  <a:pt x="273" y="101"/>
                  <a:pt x="274" y="101"/>
                </a:cubicBezTo>
                <a:cubicBezTo>
                  <a:pt x="274" y="101"/>
                  <a:pt x="275" y="101"/>
                  <a:pt x="275" y="100"/>
                </a:cubicBezTo>
                <a:cubicBezTo>
                  <a:pt x="275" y="100"/>
                  <a:pt x="275" y="100"/>
                  <a:pt x="275" y="100"/>
                </a:cubicBezTo>
                <a:cubicBezTo>
                  <a:pt x="275" y="101"/>
                  <a:pt x="277" y="100"/>
                  <a:pt x="277" y="100"/>
                </a:cubicBezTo>
                <a:cubicBezTo>
                  <a:pt x="277" y="100"/>
                  <a:pt x="275" y="101"/>
                  <a:pt x="276" y="101"/>
                </a:cubicBezTo>
                <a:cubicBezTo>
                  <a:pt x="277" y="101"/>
                  <a:pt x="278" y="101"/>
                  <a:pt x="278" y="101"/>
                </a:cubicBezTo>
                <a:cubicBezTo>
                  <a:pt x="278" y="102"/>
                  <a:pt x="277" y="102"/>
                  <a:pt x="277" y="102"/>
                </a:cubicBezTo>
                <a:cubicBezTo>
                  <a:pt x="276" y="103"/>
                  <a:pt x="275" y="103"/>
                  <a:pt x="274" y="104"/>
                </a:cubicBezTo>
                <a:cubicBezTo>
                  <a:pt x="275" y="104"/>
                  <a:pt x="276" y="103"/>
                  <a:pt x="276" y="103"/>
                </a:cubicBezTo>
                <a:cubicBezTo>
                  <a:pt x="277" y="103"/>
                  <a:pt x="277" y="103"/>
                  <a:pt x="278" y="103"/>
                </a:cubicBezTo>
                <a:cubicBezTo>
                  <a:pt x="278" y="102"/>
                  <a:pt x="279" y="102"/>
                  <a:pt x="279" y="102"/>
                </a:cubicBezTo>
                <a:cubicBezTo>
                  <a:pt x="279" y="102"/>
                  <a:pt x="280" y="102"/>
                  <a:pt x="281" y="101"/>
                </a:cubicBezTo>
                <a:cubicBezTo>
                  <a:pt x="281" y="101"/>
                  <a:pt x="282" y="101"/>
                  <a:pt x="281" y="102"/>
                </a:cubicBezTo>
                <a:cubicBezTo>
                  <a:pt x="281" y="102"/>
                  <a:pt x="279" y="104"/>
                  <a:pt x="280" y="103"/>
                </a:cubicBezTo>
                <a:cubicBezTo>
                  <a:pt x="281" y="103"/>
                  <a:pt x="282" y="103"/>
                  <a:pt x="283" y="103"/>
                </a:cubicBezTo>
                <a:cubicBezTo>
                  <a:pt x="283" y="103"/>
                  <a:pt x="283" y="102"/>
                  <a:pt x="284" y="102"/>
                </a:cubicBezTo>
                <a:cubicBezTo>
                  <a:pt x="284" y="102"/>
                  <a:pt x="284" y="102"/>
                  <a:pt x="285" y="102"/>
                </a:cubicBezTo>
                <a:cubicBezTo>
                  <a:pt x="284" y="101"/>
                  <a:pt x="284" y="101"/>
                  <a:pt x="284" y="101"/>
                </a:cubicBezTo>
                <a:cubicBezTo>
                  <a:pt x="283" y="101"/>
                  <a:pt x="283" y="101"/>
                  <a:pt x="282" y="101"/>
                </a:cubicBezTo>
                <a:cubicBezTo>
                  <a:pt x="283" y="100"/>
                  <a:pt x="283" y="100"/>
                  <a:pt x="284" y="100"/>
                </a:cubicBezTo>
                <a:cubicBezTo>
                  <a:pt x="284" y="100"/>
                  <a:pt x="286" y="100"/>
                  <a:pt x="285" y="100"/>
                </a:cubicBezTo>
                <a:cubicBezTo>
                  <a:pt x="285" y="100"/>
                  <a:pt x="285" y="100"/>
                  <a:pt x="285" y="100"/>
                </a:cubicBezTo>
                <a:cubicBezTo>
                  <a:pt x="284" y="100"/>
                  <a:pt x="286" y="99"/>
                  <a:pt x="286" y="99"/>
                </a:cubicBezTo>
                <a:cubicBezTo>
                  <a:pt x="284" y="99"/>
                  <a:pt x="283" y="100"/>
                  <a:pt x="282" y="100"/>
                </a:cubicBezTo>
                <a:cubicBezTo>
                  <a:pt x="281" y="101"/>
                  <a:pt x="280" y="100"/>
                  <a:pt x="279" y="100"/>
                </a:cubicBezTo>
                <a:cubicBezTo>
                  <a:pt x="279" y="100"/>
                  <a:pt x="277" y="101"/>
                  <a:pt x="277" y="101"/>
                </a:cubicBezTo>
                <a:cubicBezTo>
                  <a:pt x="277" y="100"/>
                  <a:pt x="278" y="100"/>
                  <a:pt x="277" y="100"/>
                </a:cubicBezTo>
                <a:cubicBezTo>
                  <a:pt x="277" y="100"/>
                  <a:pt x="276" y="100"/>
                  <a:pt x="276" y="100"/>
                </a:cubicBezTo>
                <a:cubicBezTo>
                  <a:pt x="277" y="99"/>
                  <a:pt x="274" y="100"/>
                  <a:pt x="274" y="100"/>
                </a:cubicBezTo>
                <a:cubicBezTo>
                  <a:pt x="273" y="99"/>
                  <a:pt x="276" y="99"/>
                  <a:pt x="276" y="99"/>
                </a:cubicBezTo>
                <a:cubicBezTo>
                  <a:pt x="277" y="99"/>
                  <a:pt x="277" y="98"/>
                  <a:pt x="277" y="98"/>
                </a:cubicBezTo>
                <a:cubicBezTo>
                  <a:pt x="278" y="98"/>
                  <a:pt x="279" y="98"/>
                  <a:pt x="279" y="98"/>
                </a:cubicBezTo>
                <a:cubicBezTo>
                  <a:pt x="278" y="98"/>
                  <a:pt x="277" y="98"/>
                  <a:pt x="277" y="98"/>
                </a:cubicBezTo>
                <a:cubicBezTo>
                  <a:pt x="276" y="99"/>
                  <a:pt x="276" y="99"/>
                  <a:pt x="276" y="98"/>
                </a:cubicBezTo>
                <a:cubicBezTo>
                  <a:pt x="276" y="98"/>
                  <a:pt x="276" y="98"/>
                  <a:pt x="276" y="98"/>
                </a:cubicBezTo>
                <a:cubicBezTo>
                  <a:pt x="276" y="98"/>
                  <a:pt x="276" y="97"/>
                  <a:pt x="275" y="97"/>
                </a:cubicBezTo>
                <a:cubicBezTo>
                  <a:pt x="276" y="97"/>
                  <a:pt x="277" y="97"/>
                  <a:pt x="277" y="97"/>
                </a:cubicBezTo>
                <a:cubicBezTo>
                  <a:pt x="277" y="97"/>
                  <a:pt x="279" y="96"/>
                  <a:pt x="278" y="96"/>
                </a:cubicBezTo>
                <a:cubicBezTo>
                  <a:pt x="279" y="96"/>
                  <a:pt x="279" y="95"/>
                  <a:pt x="280" y="95"/>
                </a:cubicBezTo>
                <a:cubicBezTo>
                  <a:pt x="281" y="95"/>
                  <a:pt x="282" y="94"/>
                  <a:pt x="282" y="94"/>
                </a:cubicBezTo>
                <a:cubicBezTo>
                  <a:pt x="283" y="94"/>
                  <a:pt x="284" y="94"/>
                  <a:pt x="284" y="94"/>
                </a:cubicBezTo>
                <a:cubicBezTo>
                  <a:pt x="285" y="94"/>
                  <a:pt x="286" y="93"/>
                  <a:pt x="286" y="93"/>
                </a:cubicBezTo>
                <a:cubicBezTo>
                  <a:pt x="286" y="93"/>
                  <a:pt x="285" y="93"/>
                  <a:pt x="284" y="93"/>
                </a:cubicBezTo>
                <a:cubicBezTo>
                  <a:pt x="284" y="94"/>
                  <a:pt x="283" y="94"/>
                  <a:pt x="282" y="94"/>
                </a:cubicBezTo>
                <a:cubicBezTo>
                  <a:pt x="281" y="95"/>
                  <a:pt x="281" y="95"/>
                  <a:pt x="281" y="95"/>
                </a:cubicBezTo>
                <a:cubicBezTo>
                  <a:pt x="280" y="95"/>
                  <a:pt x="280" y="95"/>
                  <a:pt x="279" y="95"/>
                </a:cubicBezTo>
                <a:cubicBezTo>
                  <a:pt x="279" y="95"/>
                  <a:pt x="277" y="96"/>
                  <a:pt x="278" y="96"/>
                </a:cubicBezTo>
                <a:cubicBezTo>
                  <a:pt x="277" y="96"/>
                  <a:pt x="276" y="97"/>
                  <a:pt x="275" y="97"/>
                </a:cubicBezTo>
                <a:cubicBezTo>
                  <a:pt x="275" y="97"/>
                  <a:pt x="275" y="98"/>
                  <a:pt x="275" y="98"/>
                </a:cubicBezTo>
                <a:cubicBezTo>
                  <a:pt x="275" y="98"/>
                  <a:pt x="274" y="98"/>
                  <a:pt x="274" y="98"/>
                </a:cubicBezTo>
                <a:cubicBezTo>
                  <a:pt x="274" y="98"/>
                  <a:pt x="272" y="99"/>
                  <a:pt x="273" y="98"/>
                </a:cubicBezTo>
                <a:cubicBezTo>
                  <a:pt x="273" y="97"/>
                  <a:pt x="274" y="97"/>
                  <a:pt x="275" y="96"/>
                </a:cubicBezTo>
                <a:cubicBezTo>
                  <a:pt x="274" y="96"/>
                  <a:pt x="273" y="96"/>
                  <a:pt x="273" y="96"/>
                </a:cubicBezTo>
                <a:cubicBezTo>
                  <a:pt x="273" y="95"/>
                  <a:pt x="275" y="95"/>
                  <a:pt x="276" y="95"/>
                </a:cubicBezTo>
                <a:cubicBezTo>
                  <a:pt x="276" y="94"/>
                  <a:pt x="277" y="94"/>
                  <a:pt x="276" y="94"/>
                </a:cubicBezTo>
                <a:cubicBezTo>
                  <a:pt x="275" y="94"/>
                  <a:pt x="275" y="94"/>
                  <a:pt x="274" y="94"/>
                </a:cubicBezTo>
                <a:cubicBezTo>
                  <a:pt x="274" y="94"/>
                  <a:pt x="274" y="94"/>
                  <a:pt x="274" y="94"/>
                </a:cubicBezTo>
                <a:cubicBezTo>
                  <a:pt x="274" y="93"/>
                  <a:pt x="275" y="92"/>
                  <a:pt x="276" y="92"/>
                </a:cubicBezTo>
                <a:cubicBezTo>
                  <a:pt x="276" y="92"/>
                  <a:pt x="276" y="92"/>
                  <a:pt x="275" y="93"/>
                </a:cubicBezTo>
                <a:cubicBezTo>
                  <a:pt x="276" y="93"/>
                  <a:pt x="278" y="93"/>
                  <a:pt x="279" y="92"/>
                </a:cubicBezTo>
                <a:cubicBezTo>
                  <a:pt x="278" y="92"/>
                  <a:pt x="277" y="92"/>
                  <a:pt x="278" y="92"/>
                </a:cubicBezTo>
                <a:cubicBezTo>
                  <a:pt x="278" y="91"/>
                  <a:pt x="279" y="91"/>
                  <a:pt x="280" y="91"/>
                </a:cubicBezTo>
                <a:cubicBezTo>
                  <a:pt x="280" y="91"/>
                  <a:pt x="282" y="91"/>
                  <a:pt x="282" y="90"/>
                </a:cubicBezTo>
                <a:cubicBezTo>
                  <a:pt x="283" y="90"/>
                  <a:pt x="282" y="90"/>
                  <a:pt x="283" y="89"/>
                </a:cubicBezTo>
                <a:cubicBezTo>
                  <a:pt x="283" y="89"/>
                  <a:pt x="283" y="89"/>
                  <a:pt x="284" y="89"/>
                </a:cubicBezTo>
                <a:cubicBezTo>
                  <a:pt x="286" y="87"/>
                  <a:pt x="288" y="87"/>
                  <a:pt x="290" y="86"/>
                </a:cubicBezTo>
                <a:cubicBezTo>
                  <a:pt x="292" y="85"/>
                  <a:pt x="294" y="84"/>
                  <a:pt x="297" y="84"/>
                </a:cubicBezTo>
                <a:cubicBezTo>
                  <a:pt x="297" y="84"/>
                  <a:pt x="296" y="84"/>
                  <a:pt x="296" y="85"/>
                </a:cubicBezTo>
                <a:cubicBezTo>
                  <a:pt x="296" y="85"/>
                  <a:pt x="297" y="84"/>
                  <a:pt x="297" y="85"/>
                </a:cubicBezTo>
                <a:cubicBezTo>
                  <a:pt x="297" y="85"/>
                  <a:pt x="297" y="85"/>
                  <a:pt x="297" y="85"/>
                </a:cubicBezTo>
                <a:cubicBezTo>
                  <a:pt x="297" y="85"/>
                  <a:pt x="296" y="85"/>
                  <a:pt x="296" y="86"/>
                </a:cubicBezTo>
                <a:cubicBezTo>
                  <a:pt x="296" y="85"/>
                  <a:pt x="298" y="85"/>
                  <a:pt x="298" y="85"/>
                </a:cubicBezTo>
                <a:cubicBezTo>
                  <a:pt x="298" y="85"/>
                  <a:pt x="297" y="85"/>
                  <a:pt x="297" y="85"/>
                </a:cubicBezTo>
                <a:cubicBezTo>
                  <a:pt x="298" y="84"/>
                  <a:pt x="298" y="84"/>
                  <a:pt x="298" y="84"/>
                </a:cubicBezTo>
                <a:cubicBezTo>
                  <a:pt x="298" y="84"/>
                  <a:pt x="298" y="84"/>
                  <a:pt x="297" y="84"/>
                </a:cubicBezTo>
                <a:cubicBezTo>
                  <a:pt x="297" y="85"/>
                  <a:pt x="297" y="84"/>
                  <a:pt x="296" y="84"/>
                </a:cubicBezTo>
                <a:cubicBezTo>
                  <a:pt x="297" y="84"/>
                  <a:pt x="297" y="84"/>
                  <a:pt x="297" y="84"/>
                </a:cubicBezTo>
                <a:cubicBezTo>
                  <a:pt x="297" y="84"/>
                  <a:pt x="299" y="83"/>
                  <a:pt x="299" y="83"/>
                </a:cubicBezTo>
                <a:cubicBezTo>
                  <a:pt x="300" y="83"/>
                  <a:pt x="302" y="82"/>
                  <a:pt x="303" y="82"/>
                </a:cubicBezTo>
                <a:cubicBezTo>
                  <a:pt x="301" y="82"/>
                  <a:pt x="300" y="83"/>
                  <a:pt x="298" y="83"/>
                </a:cubicBezTo>
                <a:cubicBezTo>
                  <a:pt x="299" y="83"/>
                  <a:pt x="299" y="82"/>
                  <a:pt x="299" y="82"/>
                </a:cubicBezTo>
                <a:cubicBezTo>
                  <a:pt x="300" y="82"/>
                  <a:pt x="300" y="81"/>
                  <a:pt x="300" y="81"/>
                </a:cubicBezTo>
                <a:cubicBezTo>
                  <a:pt x="300" y="81"/>
                  <a:pt x="301" y="82"/>
                  <a:pt x="301" y="81"/>
                </a:cubicBezTo>
                <a:cubicBezTo>
                  <a:pt x="300" y="81"/>
                  <a:pt x="301" y="81"/>
                  <a:pt x="301" y="81"/>
                </a:cubicBezTo>
                <a:cubicBezTo>
                  <a:pt x="302" y="80"/>
                  <a:pt x="303" y="80"/>
                  <a:pt x="304" y="79"/>
                </a:cubicBezTo>
                <a:cubicBezTo>
                  <a:pt x="305" y="79"/>
                  <a:pt x="305" y="79"/>
                  <a:pt x="306" y="79"/>
                </a:cubicBezTo>
                <a:cubicBezTo>
                  <a:pt x="307" y="79"/>
                  <a:pt x="308" y="79"/>
                  <a:pt x="308" y="79"/>
                </a:cubicBezTo>
                <a:cubicBezTo>
                  <a:pt x="307" y="79"/>
                  <a:pt x="307" y="78"/>
                  <a:pt x="307" y="78"/>
                </a:cubicBezTo>
                <a:cubicBezTo>
                  <a:pt x="307" y="78"/>
                  <a:pt x="307" y="78"/>
                  <a:pt x="307" y="78"/>
                </a:cubicBezTo>
                <a:cubicBezTo>
                  <a:pt x="307" y="78"/>
                  <a:pt x="307" y="78"/>
                  <a:pt x="308" y="78"/>
                </a:cubicBezTo>
                <a:cubicBezTo>
                  <a:pt x="308" y="77"/>
                  <a:pt x="309" y="77"/>
                  <a:pt x="310" y="77"/>
                </a:cubicBezTo>
                <a:cubicBezTo>
                  <a:pt x="311" y="77"/>
                  <a:pt x="313" y="77"/>
                  <a:pt x="314" y="77"/>
                </a:cubicBezTo>
                <a:cubicBezTo>
                  <a:pt x="314" y="78"/>
                  <a:pt x="314" y="78"/>
                  <a:pt x="314" y="78"/>
                </a:cubicBezTo>
                <a:cubicBezTo>
                  <a:pt x="314" y="78"/>
                  <a:pt x="314" y="78"/>
                  <a:pt x="315" y="78"/>
                </a:cubicBezTo>
                <a:cubicBezTo>
                  <a:pt x="314" y="78"/>
                  <a:pt x="314" y="78"/>
                  <a:pt x="314" y="78"/>
                </a:cubicBezTo>
                <a:cubicBezTo>
                  <a:pt x="314" y="78"/>
                  <a:pt x="314" y="78"/>
                  <a:pt x="314" y="78"/>
                </a:cubicBezTo>
                <a:cubicBezTo>
                  <a:pt x="314" y="78"/>
                  <a:pt x="315" y="78"/>
                  <a:pt x="315" y="78"/>
                </a:cubicBezTo>
                <a:cubicBezTo>
                  <a:pt x="315" y="79"/>
                  <a:pt x="315" y="79"/>
                  <a:pt x="315" y="79"/>
                </a:cubicBezTo>
                <a:cubicBezTo>
                  <a:pt x="315" y="80"/>
                  <a:pt x="319" y="78"/>
                  <a:pt x="319" y="78"/>
                </a:cubicBezTo>
                <a:cubicBezTo>
                  <a:pt x="321" y="78"/>
                  <a:pt x="322" y="77"/>
                  <a:pt x="323" y="77"/>
                </a:cubicBezTo>
                <a:cubicBezTo>
                  <a:pt x="325" y="76"/>
                  <a:pt x="326" y="75"/>
                  <a:pt x="328" y="75"/>
                </a:cubicBezTo>
                <a:cubicBezTo>
                  <a:pt x="328" y="75"/>
                  <a:pt x="331" y="73"/>
                  <a:pt x="331" y="75"/>
                </a:cubicBezTo>
                <a:cubicBezTo>
                  <a:pt x="330" y="75"/>
                  <a:pt x="330" y="75"/>
                  <a:pt x="329" y="75"/>
                </a:cubicBezTo>
                <a:cubicBezTo>
                  <a:pt x="331" y="75"/>
                  <a:pt x="334" y="75"/>
                  <a:pt x="336" y="75"/>
                </a:cubicBezTo>
                <a:cubicBezTo>
                  <a:pt x="338" y="74"/>
                  <a:pt x="340" y="73"/>
                  <a:pt x="342" y="73"/>
                </a:cubicBezTo>
                <a:cubicBezTo>
                  <a:pt x="343" y="72"/>
                  <a:pt x="344" y="72"/>
                  <a:pt x="344" y="71"/>
                </a:cubicBezTo>
                <a:cubicBezTo>
                  <a:pt x="345" y="71"/>
                  <a:pt x="346" y="70"/>
                  <a:pt x="346" y="69"/>
                </a:cubicBezTo>
                <a:cubicBezTo>
                  <a:pt x="347" y="68"/>
                  <a:pt x="348" y="68"/>
                  <a:pt x="348" y="68"/>
                </a:cubicBezTo>
                <a:cubicBezTo>
                  <a:pt x="349" y="67"/>
                  <a:pt x="349" y="67"/>
                  <a:pt x="349" y="66"/>
                </a:cubicBezTo>
                <a:cubicBezTo>
                  <a:pt x="348" y="66"/>
                  <a:pt x="349" y="66"/>
                  <a:pt x="349" y="66"/>
                </a:cubicBezTo>
                <a:cubicBezTo>
                  <a:pt x="349" y="66"/>
                  <a:pt x="349" y="66"/>
                  <a:pt x="349" y="65"/>
                </a:cubicBezTo>
                <a:cubicBezTo>
                  <a:pt x="348" y="65"/>
                  <a:pt x="347" y="66"/>
                  <a:pt x="346" y="66"/>
                </a:cubicBezTo>
                <a:cubicBezTo>
                  <a:pt x="347" y="65"/>
                  <a:pt x="348" y="65"/>
                  <a:pt x="349" y="64"/>
                </a:cubicBezTo>
                <a:cubicBezTo>
                  <a:pt x="350" y="64"/>
                  <a:pt x="351" y="65"/>
                  <a:pt x="352" y="64"/>
                </a:cubicBezTo>
                <a:cubicBezTo>
                  <a:pt x="352" y="64"/>
                  <a:pt x="352" y="64"/>
                  <a:pt x="352" y="64"/>
                </a:cubicBezTo>
                <a:cubicBezTo>
                  <a:pt x="352" y="64"/>
                  <a:pt x="352" y="64"/>
                  <a:pt x="353" y="64"/>
                </a:cubicBezTo>
                <a:cubicBezTo>
                  <a:pt x="353" y="64"/>
                  <a:pt x="354" y="64"/>
                  <a:pt x="354" y="64"/>
                </a:cubicBezTo>
                <a:cubicBezTo>
                  <a:pt x="355" y="63"/>
                  <a:pt x="356" y="63"/>
                  <a:pt x="356" y="62"/>
                </a:cubicBezTo>
                <a:cubicBezTo>
                  <a:pt x="356" y="62"/>
                  <a:pt x="357" y="62"/>
                  <a:pt x="357" y="62"/>
                </a:cubicBezTo>
                <a:cubicBezTo>
                  <a:pt x="357" y="61"/>
                  <a:pt x="356" y="61"/>
                  <a:pt x="356" y="61"/>
                </a:cubicBezTo>
                <a:cubicBezTo>
                  <a:pt x="356" y="60"/>
                  <a:pt x="357" y="61"/>
                  <a:pt x="358" y="60"/>
                </a:cubicBezTo>
                <a:cubicBezTo>
                  <a:pt x="355" y="60"/>
                  <a:pt x="353" y="62"/>
                  <a:pt x="351" y="62"/>
                </a:cubicBezTo>
                <a:cubicBezTo>
                  <a:pt x="351" y="62"/>
                  <a:pt x="350" y="62"/>
                  <a:pt x="350" y="62"/>
                </a:cubicBezTo>
                <a:cubicBezTo>
                  <a:pt x="350" y="62"/>
                  <a:pt x="350" y="62"/>
                  <a:pt x="350" y="62"/>
                </a:cubicBezTo>
                <a:cubicBezTo>
                  <a:pt x="349" y="62"/>
                  <a:pt x="348" y="62"/>
                  <a:pt x="348" y="63"/>
                </a:cubicBezTo>
                <a:cubicBezTo>
                  <a:pt x="348" y="63"/>
                  <a:pt x="349" y="62"/>
                  <a:pt x="349" y="62"/>
                </a:cubicBezTo>
                <a:cubicBezTo>
                  <a:pt x="349" y="62"/>
                  <a:pt x="348" y="63"/>
                  <a:pt x="347" y="63"/>
                </a:cubicBezTo>
                <a:cubicBezTo>
                  <a:pt x="347" y="63"/>
                  <a:pt x="346" y="62"/>
                  <a:pt x="346" y="63"/>
                </a:cubicBezTo>
                <a:cubicBezTo>
                  <a:pt x="346" y="63"/>
                  <a:pt x="345" y="63"/>
                  <a:pt x="344" y="64"/>
                </a:cubicBezTo>
                <a:cubicBezTo>
                  <a:pt x="343" y="64"/>
                  <a:pt x="342" y="64"/>
                  <a:pt x="341" y="64"/>
                </a:cubicBezTo>
                <a:cubicBezTo>
                  <a:pt x="340" y="65"/>
                  <a:pt x="338" y="66"/>
                  <a:pt x="336" y="66"/>
                </a:cubicBezTo>
                <a:cubicBezTo>
                  <a:pt x="337" y="66"/>
                  <a:pt x="338" y="65"/>
                  <a:pt x="338" y="65"/>
                </a:cubicBezTo>
                <a:cubicBezTo>
                  <a:pt x="338" y="65"/>
                  <a:pt x="338" y="64"/>
                  <a:pt x="337" y="64"/>
                </a:cubicBezTo>
                <a:cubicBezTo>
                  <a:pt x="338" y="64"/>
                  <a:pt x="337" y="63"/>
                  <a:pt x="338" y="63"/>
                </a:cubicBezTo>
                <a:cubicBezTo>
                  <a:pt x="337" y="63"/>
                  <a:pt x="336" y="64"/>
                  <a:pt x="335" y="64"/>
                </a:cubicBezTo>
                <a:cubicBezTo>
                  <a:pt x="335" y="64"/>
                  <a:pt x="336" y="64"/>
                  <a:pt x="336" y="64"/>
                </a:cubicBezTo>
                <a:cubicBezTo>
                  <a:pt x="336" y="64"/>
                  <a:pt x="336" y="64"/>
                  <a:pt x="336" y="64"/>
                </a:cubicBezTo>
                <a:cubicBezTo>
                  <a:pt x="336" y="65"/>
                  <a:pt x="337" y="64"/>
                  <a:pt x="337" y="64"/>
                </a:cubicBezTo>
                <a:cubicBezTo>
                  <a:pt x="336" y="65"/>
                  <a:pt x="335" y="65"/>
                  <a:pt x="335" y="65"/>
                </a:cubicBezTo>
                <a:cubicBezTo>
                  <a:pt x="334" y="66"/>
                  <a:pt x="335" y="65"/>
                  <a:pt x="335" y="65"/>
                </a:cubicBezTo>
                <a:cubicBezTo>
                  <a:pt x="335" y="65"/>
                  <a:pt x="334" y="64"/>
                  <a:pt x="334" y="64"/>
                </a:cubicBezTo>
                <a:cubicBezTo>
                  <a:pt x="333" y="64"/>
                  <a:pt x="333" y="64"/>
                  <a:pt x="332" y="64"/>
                </a:cubicBezTo>
                <a:cubicBezTo>
                  <a:pt x="331" y="64"/>
                  <a:pt x="331" y="64"/>
                  <a:pt x="330" y="64"/>
                </a:cubicBezTo>
                <a:cubicBezTo>
                  <a:pt x="329" y="64"/>
                  <a:pt x="328" y="64"/>
                  <a:pt x="328" y="64"/>
                </a:cubicBezTo>
                <a:cubicBezTo>
                  <a:pt x="328" y="64"/>
                  <a:pt x="328" y="64"/>
                  <a:pt x="329" y="64"/>
                </a:cubicBezTo>
                <a:cubicBezTo>
                  <a:pt x="327" y="64"/>
                  <a:pt x="325" y="65"/>
                  <a:pt x="324" y="65"/>
                </a:cubicBezTo>
                <a:cubicBezTo>
                  <a:pt x="324" y="65"/>
                  <a:pt x="325" y="65"/>
                  <a:pt x="325" y="64"/>
                </a:cubicBezTo>
                <a:cubicBezTo>
                  <a:pt x="324" y="64"/>
                  <a:pt x="323" y="65"/>
                  <a:pt x="323" y="65"/>
                </a:cubicBezTo>
                <a:cubicBezTo>
                  <a:pt x="323" y="65"/>
                  <a:pt x="323" y="65"/>
                  <a:pt x="323" y="64"/>
                </a:cubicBezTo>
                <a:cubicBezTo>
                  <a:pt x="323" y="65"/>
                  <a:pt x="322" y="65"/>
                  <a:pt x="322" y="65"/>
                </a:cubicBezTo>
                <a:cubicBezTo>
                  <a:pt x="323" y="65"/>
                  <a:pt x="323" y="65"/>
                  <a:pt x="323" y="65"/>
                </a:cubicBezTo>
                <a:cubicBezTo>
                  <a:pt x="322" y="66"/>
                  <a:pt x="320" y="65"/>
                  <a:pt x="319" y="65"/>
                </a:cubicBezTo>
                <a:cubicBezTo>
                  <a:pt x="317" y="64"/>
                  <a:pt x="315" y="64"/>
                  <a:pt x="314" y="64"/>
                </a:cubicBezTo>
                <a:cubicBezTo>
                  <a:pt x="313" y="63"/>
                  <a:pt x="315" y="62"/>
                  <a:pt x="315" y="62"/>
                </a:cubicBezTo>
                <a:cubicBezTo>
                  <a:pt x="316" y="62"/>
                  <a:pt x="316" y="61"/>
                  <a:pt x="316" y="61"/>
                </a:cubicBezTo>
                <a:cubicBezTo>
                  <a:pt x="317" y="61"/>
                  <a:pt x="317" y="61"/>
                  <a:pt x="317" y="61"/>
                </a:cubicBezTo>
                <a:cubicBezTo>
                  <a:pt x="317" y="60"/>
                  <a:pt x="317" y="60"/>
                  <a:pt x="317" y="61"/>
                </a:cubicBezTo>
                <a:cubicBezTo>
                  <a:pt x="317" y="60"/>
                  <a:pt x="316" y="60"/>
                  <a:pt x="316" y="60"/>
                </a:cubicBezTo>
                <a:cubicBezTo>
                  <a:pt x="317" y="59"/>
                  <a:pt x="316" y="59"/>
                  <a:pt x="316" y="59"/>
                </a:cubicBezTo>
                <a:cubicBezTo>
                  <a:pt x="317" y="58"/>
                  <a:pt x="318" y="57"/>
                  <a:pt x="319" y="57"/>
                </a:cubicBezTo>
                <a:cubicBezTo>
                  <a:pt x="318" y="58"/>
                  <a:pt x="317" y="58"/>
                  <a:pt x="317" y="58"/>
                </a:cubicBezTo>
                <a:cubicBezTo>
                  <a:pt x="318" y="59"/>
                  <a:pt x="319" y="59"/>
                  <a:pt x="321" y="58"/>
                </a:cubicBezTo>
                <a:cubicBezTo>
                  <a:pt x="322" y="57"/>
                  <a:pt x="322" y="57"/>
                  <a:pt x="324" y="57"/>
                </a:cubicBezTo>
                <a:cubicBezTo>
                  <a:pt x="325" y="58"/>
                  <a:pt x="324" y="57"/>
                  <a:pt x="323" y="57"/>
                </a:cubicBezTo>
                <a:cubicBezTo>
                  <a:pt x="323" y="57"/>
                  <a:pt x="322" y="56"/>
                  <a:pt x="322" y="56"/>
                </a:cubicBezTo>
                <a:cubicBezTo>
                  <a:pt x="321" y="56"/>
                  <a:pt x="320" y="56"/>
                  <a:pt x="320" y="56"/>
                </a:cubicBezTo>
                <a:cubicBezTo>
                  <a:pt x="320" y="56"/>
                  <a:pt x="321" y="56"/>
                  <a:pt x="321" y="57"/>
                </a:cubicBezTo>
                <a:cubicBezTo>
                  <a:pt x="320" y="56"/>
                  <a:pt x="319" y="56"/>
                  <a:pt x="317" y="56"/>
                </a:cubicBezTo>
                <a:cubicBezTo>
                  <a:pt x="316" y="56"/>
                  <a:pt x="316" y="55"/>
                  <a:pt x="315" y="54"/>
                </a:cubicBezTo>
                <a:cubicBezTo>
                  <a:pt x="315" y="54"/>
                  <a:pt x="314" y="54"/>
                  <a:pt x="314" y="54"/>
                </a:cubicBezTo>
                <a:cubicBezTo>
                  <a:pt x="314" y="54"/>
                  <a:pt x="315" y="53"/>
                  <a:pt x="315" y="53"/>
                </a:cubicBezTo>
                <a:cubicBezTo>
                  <a:pt x="316" y="53"/>
                  <a:pt x="317" y="53"/>
                  <a:pt x="318" y="53"/>
                </a:cubicBezTo>
                <a:cubicBezTo>
                  <a:pt x="317" y="53"/>
                  <a:pt x="316" y="53"/>
                  <a:pt x="315" y="54"/>
                </a:cubicBezTo>
                <a:cubicBezTo>
                  <a:pt x="316" y="54"/>
                  <a:pt x="317" y="53"/>
                  <a:pt x="317" y="53"/>
                </a:cubicBezTo>
                <a:cubicBezTo>
                  <a:pt x="318" y="53"/>
                  <a:pt x="319" y="53"/>
                  <a:pt x="319" y="53"/>
                </a:cubicBezTo>
                <a:cubicBezTo>
                  <a:pt x="320" y="53"/>
                  <a:pt x="321" y="53"/>
                  <a:pt x="321" y="52"/>
                </a:cubicBezTo>
                <a:cubicBezTo>
                  <a:pt x="321" y="52"/>
                  <a:pt x="322" y="52"/>
                  <a:pt x="322" y="52"/>
                </a:cubicBezTo>
                <a:cubicBezTo>
                  <a:pt x="321" y="52"/>
                  <a:pt x="323" y="52"/>
                  <a:pt x="323" y="51"/>
                </a:cubicBezTo>
                <a:cubicBezTo>
                  <a:pt x="323" y="51"/>
                  <a:pt x="324" y="51"/>
                  <a:pt x="324" y="51"/>
                </a:cubicBezTo>
                <a:cubicBezTo>
                  <a:pt x="324" y="52"/>
                  <a:pt x="326" y="51"/>
                  <a:pt x="326" y="51"/>
                </a:cubicBezTo>
                <a:cubicBezTo>
                  <a:pt x="327" y="51"/>
                  <a:pt x="328" y="51"/>
                  <a:pt x="328" y="51"/>
                </a:cubicBezTo>
                <a:cubicBezTo>
                  <a:pt x="328" y="50"/>
                  <a:pt x="329" y="50"/>
                  <a:pt x="329" y="50"/>
                </a:cubicBezTo>
                <a:cubicBezTo>
                  <a:pt x="329" y="50"/>
                  <a:pt x="329" y="50"/>
                  <a:pt x="329" y="50"/>
                </a:cubicBezTo>
                <a:cubicBezTo>
                  <a:pt x="329" y="50"/>
                  <a:pt x="330" y="50"/>
                  <a:pt x="330" y="50"/>
                </a:cubicBezTo>
                <a:cubicBezTo>
                  <a:pt x="331" y="50"/>
                  <a:pt x="331" y="49"/>
                  <a:pt x="332" y="49"/>
                </a:cubicBezTo>
                <a:cubicBezTo>
                  <a:pt x="333" y="49"/>
                  <a:pt x="333" y="49"/>
                  <a:pt x="334" y="49"/>
                </a:cubicBezTo>
                <a:cubicBezTo>
                  <a:pt x="335" y="49"/>
                  <a:pt x="336" y="48"/>
                  <a:pt x="337" y="49"/>
                </a:cubicBezTo>
                <a:cubicBezTo>
                  <a:pt x="337" y="49"/>
                  <a:pt x="336" y="49"/>
                  <a:pt x="336" y="49"/>
                </a:cubicBezTo>
                <a:cubicBezTo>
                  <a:pt x="336" y="49"/>
                  <a:pt x="338" y="49"/>
                  <a:pt x="338" y="49"/>
                </a:cubicBezTo>
                <a:cubicBezTo>
                  <a:pt x="339" y="49"/>
                  <a:pt x="341" y="49"/>
                  <a:pt x="341" y="49"/>
                </a:cubicBezTo>
                <a:cubicBezTo>
                  <a:pt x="341" y="48"/>
                  <a:pt x="339" y="48"/>
                  <a:pt x="339" y="48"/>
                </a:cubicBezTo>
                <a:cubicBezTo>
                  <a:pt x="339" y="48"/>
                  <a:pt x="342" y="47"/>
                  <a:pt x="342" y="47"/>
                </a:cubicBezTo>
                <a:cubicBezTo>
                  <a:pt x="343" y="47"/>
                  <a:pt x="344" y="46"/>
                  <a:pt x="346" y="46"/>
                </a:cubicBezTo>
                <a:cubicBezTo>
                  <a:pt x="346" y="46"/>
                  <a:pt x="347" y="46"/>
                  <a:pt x="347" y="46"/>
                </a:cubicBezTo>
                <a:cubicBezTo>
                  <a:pt x="348" y="46"/>
                  <a:pt x="348" y="46"/>
                  <a:pt x="348" y="46"/>
                </a:cubicBezTo>
                <a:cubicBezTo>
                  <a:pt x="348" y="46"/>
                  <a:pt x="349" y="46"/>
                  <a:pt x="349" y="46"/>
                </a:cubicBezTo>
                <a:cubicBezTo>
                  <a:pt x="350" y="46"/>
                  <a:pt x="350" y="45"/>
                  <a:pt x="351" y="45"/>
                </a:cubicBezTo>
                <a:cubicBezTo>
                  <a:pt x="352" y="45"/>
                  <a:pt x="353" y="45"/>
                  <a:pt x="355" y="45"/>
                </a:cubicBezTo>
                <a:cubicBezTo>
                  <a:pt x="356" y="44"/>
                  <a:pt x="359" y="44"/>
                  <a:pt x="360" y="45"/>
                </a:cubicBezTo>
                <a:cubicBezTo>
                  <a:pt x="360" y="45"/>
                  <a:pt x="359" y="44"/>
                  <a:pt x="358" y="45"/>
                </a:cubicBezTo>
                <a:cubicBezTo>
                  <a:pt x="358" y="45"/>
                  <a:pt x="359" y="45"/>
                  <a:pt x="359" y="45"/>
                </a:cubicBezTo>
                <a:cubicBezTo>
                  <a:pt x="359" y="45"/>
                  <a:pt x="358" y="45"/>
                  <a:pt x="358" y="45"/>
                </a:cubicBezTo>
                <a:cubicBezTo>
                  <a:pt x="358" y="46"/>
                  <a:pt x="357" y="46"/>
                  <a:pt x="356" y="47"/>
                </a:cubicBezTo>
                <a:cubicBezTo>
                  <a:pt x="355" y="47"/>
                  <a:pt x="354" y="48"/>
                  <a:pt x="353" y="48"/>
                </a:cubicBezTo>
                <a:cubicBezTo>
                  <a:pt x="353" y="48"/>
                  <a:pt x="352" y="48"/>
                  <a:pt x="351" y="48"/>
                </a:cubicBezTo>
                <a:cubicBezTo>
                  <a:pt x="352" y="48"/>
                  <a:pt x="352" y="48"/>
                  <a:pt x="353" y="48"/>
                </a:cubicBezTo>
                <a:cubicBezTo>
                  <a:pt x="352" y="49"/>
                  <a:pt x="353" y="48"/>
                  <a:pt x="353" y="48"/>
                </a:cubicBezTo>
                <a:cubicBezTo>
                  <a:pt x="353" y="48"/>
                  <a:pt x="352" y="50"/>
                  <a:pt x="354" y="50"/>
                </a:cubicBezTo>
                <a:cubicBezTo>
                  <a:pt x="355" y="49"/>
                  <a:pt x="356" y="50"/>
                  <a:pt x="357" y="50"/>
                </a:cubicBezTo>
                <a:cubicBezTo>
                  <a:pt x="358" y="49"/>
                  <a:pt x="359" y="49"/>
                  <a:pt x="360" y="49"/>
                </a:cubicBezTo>
                <a:cubicBezTo>
                  <a:pt x="361" y="49"/>
                  <a:pt x="360" y="50"/>
                  <a:pt x="360" y="50"/>
                </a:cubicBezTo>
                <a:cubicBezTo>
                  <a:pt x="360" y="50"/>
                  <a:pt x="361" y="50"/>
                  <a:pt x="362" y="50"/>
                </a:cubicBezTo>
                <a:cubicBezTo>
                  <a:pt x="363" y="50"/>
                  <a:pt x="364" y="49"/>
                  <a:pt x="365" y="50"/>
                </a:cubicBezTo>
                <a:cubicBezTo>
                  <a:pt x="365" y="50"/>
                  <a:pt x="365" y="50"/>
                  <a:pt x="365" y="50"/>
                </a:cubicBezTo>
                <a:cubicBezTo>
                  <a:pt x="365" y="50"/>
                  <a:pt x="365" y="50"/>
                  <a:pt x="365" y="50"/>
                </a:cubicBezTo>
                <a:cubicBezTo>
                  <a:pt x="365" y="50"/>
                  <a:pt x="365" y="50"/>
                  <a:pt x="365" y="50"/>
                </a:cubicBezTo>
                <a:cubicBezTo>
                  <a:pt x="365" y="50"/>
                  <a:pt x="365" y="50"/>
                  <a:pt x="366" y="50"/>
                </a:cubicBezTo>
                <a:cubicBezTo>
                  <a:pt x="365" y="50"/>
                  <a:pt x="366" y="50"/>
                  <a:pt x="367" y="50"/>
                </a:cubicBezTo>
                <a:cubicBezTo>
                  <a:pt x="367" y="50"/>
                  <a:pt x="368" y="49"/>
                  <a:pt x="367" y="49"/>
                </a:cubicBezTo>
                <a:cubicBezTo>
                  <a:pt x="368" y="49"/>
                  <a:pt x="369" y="49"/>
                  <a:pt x="370" y="48"/>
                </a:cubicBezTo>
                <a:cubicBezTo>
                  <a:pt x="370" y="48"/>
                  <a:pt x="371" y="47"/>
                  <a:pt x="373" y="48"/>
                </a:cubicBezTo>
                <a:cubicBezTo>
                  <a:pt x="372" y="48"/>
                  <a:pt x="374" y="48"/>
                  <a:pt x="374" y="48"/>
                </a:cubicBezTo>
                <a:cubicBezTo>
                  <a:pt x="374" y="48"/>
                  <a:pt x="373" y="49"/>
                  <a:pt x="372" y="49"/>
                </a:cubicBezTo>
                <a:cubicBezTo>
                  <a:pt x="373" y="50"/>
                  <a:pt x="377" y="47"/>
                  <a:pt x="374" y="47"/>
                </a:cubicBezTo>
                <a:cubicBezTo>
                  <a:pt x="373" y="46"/>
                  <a:pt x="372" y="46"/>
                  <a:pt x="371" y="47"/>
                </a:cubicBezTo>
                <a:cubicBezTo>
                  <a:pt x="370" y="47"/>
                  <a:pt x="370" y="47"/>
                  <a:pt x="370" y="47"/>
                </a:cubicBezTo>
                <a:cubicBezTo>
                  <a:pt x="369" y="47"/>
                  <a:pt x="369" y="48"/>
                  <a:pt x="369" y="48"/>
                </a:cubicBezTo>
                <a:cubicBezTo>
                  <a:pt x="370" y="47"/>
                  <a:pt x="371" y="46"/>
                  <a:pt x="372" y="46"/>
                </a:cubicBezTo>
                <a:cubicBezTo>
                  <a:pt x="372" y="45"/>
                  <a:pt x="373" y="44"/>
                  <a:pt x="372" y="43"/>
                </a:cubicBezTo>
                <a:cubicBezTo>
                  <a:pt x="372" y="43"/>
                  <a:pt x="371" y="43"/>
                  <a:pt x="371" y="43"/>
                </a:cubicBezTo>
                <a:cubicBezTo>
                  <a:pt x="371" y="43"/>
                  <a:pt x="371" y="43"/>
                  <a:pt x="371" y="43"/>
                </a:cubicBezTo>
                <a:cubicBezTo>
                  <a:pt x="372" y="42"/>
                  <a:pt x="372" y="42"/>
                  <a:pt x="372" y="42"/>
                </a:cubicBezTo>
                <a:cubicBezTo>
                  <a:pt x="372" y="42"/>
                  <a:pt x="372" y="41"/>
                  <a:pt x="373" y="41"/>
                </a:cubicBezTo>
                <a:cubicBezTo>
                  <a:pt x="373" y="41"/>
                  <a:pt x="373" y="41"/>
                  <a:pt x="374" y="41"/>
                </a:cubicBezTo>
                <a:cubicBezTo>
                  <a:pt x="373" y="42"/>
                  <a:pt x="375" y="41"/>
                  <a:pt x="375" y="41"/>
                </a:cubicBezTo>
                <a:cubicBezTo>
                  <a:pt x="375" y="42"/>
                  <a:pt x="374" y="43"/>
                  <a:pt x="375" y="43"/>
                </a:cubicBezTo>
                <a:cubicBezTo>
                  <a:pt x="374" y="43"/>
                  <a:pt x="373" y="43"/>
                  <a:pt x="373" y="44"/>
                </a:cubicBezTo>
                <a:cubicBezTo>
                  <a:pt x="372" y="44"/>
                  <a:pt x="372" y="45"/>
                  <a:pt x="373" y="46"/>
                </a:cubicBezTo>
                <a:cubicBezTo>
                  <a:pt x="374" y="47"/>
                  <a:pt x="376" y="45"/>
                  <a:pt x="377" y="45"/>
                </a:cubicBezTo>
                <a:cubicBezTo>
                  <a:pt x="377" y="45"/>
                  <a:pt x="378" y="46"/>
                  <a:pt x="378" y="46"/>
                </a:cubicBezTo>
                <a:cubicBezTo>
                  <a:pt x="378" y="47"/>
                  <a:pt x="380" y="47"/>
                  <a:pt x="381" y="47"/>
                </a:cubicBezTo>
                <a:cubicBezTo>
                  <a:pt x="382" y="47"/>
                  <a:pt x="383" y="46"/>
                  <a:pt x="384" y="46"/>
                </a:cubicBezTo>
                <a:cubicBezTo>
                  <a:pt x="385" y="45"/>
                  <a:pt x="385" y="44"/>
                  <a:pt x="386" y="44"/>
                </a:cubicBezTo>
                <a:cubicBezTo>
                  <a:pt x="385" y="44"/>
                  <a:pt x="385" y="44"/>
                  <a:pt x="385" y="44"/>
                </a:cubicBezTo>
                <a:cubicBezTo>
                  <a:pt x="384" y="44"/>
                  <a:pt x="384" y="44"/>
                  <a:pt x="383" y="45"/>
                </a:cubicBezTo>
                <a:cubicBezTo>
                  <a:pt x="383" y="45"/>
                  <a:pt x="382" y="45"/>
                  <a:pt x="382" y="44"/>
                </a:cubicBezTo>
                <a:cubicBezTo>
                  <a:pt x="382" y="44"/>
                  <a:pt x="381" y="44"/>
                  <a:pt x="381" y="44"/>
                </a:cubicBezTo>
                <a:cubicBezTo>
                  <a:pt x="380" y="44"/>
                  <a:pt x="380" y="44"/>
                  <a:pt x="379" y="44"/>
                </a:cubicBezTo>
                <a:cubicBezTo>
                  <a:pt x="378" y="44"/>
                  <a:pt x="378" y="45"/>
                  <a:pt x="377" y="45"/>
                </a:cubicBezTo>
                <a:cubicBezTo>
                  <a:pt x="377" y="45"/>
                  <a:pt x="374" y="45"/>
                  <a:pt x="376" y="45"/>
                </a:cubicBezTo>
                <a:cubicBezTo>
                  <a:pt x="375" y="44"/>
                  <a:pt x="375" y="44"/>
                  <a:pt x="375" y="44"/>
                </a:cubicBezTo>
                <a:cubicBezTo>
                  <a:pt x="375" y="43"/>
                  <a:pt x="376" y="43"/>
                  <a:pt x="376" y="43"/>
                </a:cubicBezTo>
                <a:cubicBezTo>
                  <a:pt x="377" y="42"/>
                  <a:pt x="379" y="41"/>
                  <a:pt x="380" y="41"/>
                </a:cubicBezTo>
                <a:cubicBezTo>
                  <a:pt x="380" y="41"/>
                  <a:pt x="381" y="41"/>
                  <a:pt x="381" y="41"/>
                </a:cubicBezTo>
                <a:cubicBezTo>
                  <a:pt x="381" y="40"/>
                  <a:pt x="380" y="41"/>
                  <a:pt x="380" y="41"/>
                </a:cubicBezTo>
                <a:cubicBezTo>
                  <a:pt x="380" y="40"/>
                  <a:pt x="380" y="40"/>
                  <a:pt x="380" y="40"/>
                </a:cubicBezTo>
                <a:cubicBezTo>
                  <a:pt x="380" y="40"/>
                  <a:pt x="379" y="40"/>
                  <a:pt x="379" y="40"/>
                </a:cubicBezTo>
                <a:cubicBezTo>
                  <a:pt x="378" y="40"/>
                  <a:pt x="377" y="41"/>
                  <a:pt x="376" y="41"/>
                </a:cubicBezTo>
                <a:cubicBezTo>
                  <a:pt x="376" y="40"/>
                  <a:pt x="377" y="40"/>
                  <a:pt x="377" y="40"/>
                </a:cubicBezTo>
                <a:cubicBezTo>
                  <a:pt x="376" y="40"/>
                  <a:pt x="375" y="41"/>
                  <a:pt x="374" y="41"/>
                </a:cubicBezTo>
                <a:cubicBezTo>
                  <a:pt x="375" y="40"/>
                  <a:pt x="377" y="40"/>
                  <a:pt x="378" y="39"/>
                </a:cubicBezTo>
                <a:cubicBezTo>
                  <a:pt x="377" y="39"/>
                  <a:pt x="377" y="40"/>
                  <a:pt x="376" y="40"/>
                </a:cubicBezTo>
                <a:cubicBezTo>
                  <a:pt x="375" y="40"/>
                  <a:pt x="374" y="41"/>
                  <a:pt x="373" y="41"/>
                </a:cubicBezTo>
                <a:cubicBezTo>
                  <a:pt x="373" y="41"/>
                  <a:pt x="373" y="40"/>
                  <a:pt x="373" y="40"/>
                </a:cubicBezTo>
                <a:cubicBezTo>
                  <a:pt x="372" y="40"/>
                  <a:pt x="371" y="40"/>
                  <a:pt x="372" y="41"/>
                </a:cubicBezTo>
                <a:cubicBezTo>
                  <a:pt x="371" y="41"/>
                  <a:pt x="370" y="40"/>
                  <a:pt x="370" y="40"/>
                </a:cubicBezTo>
                <a:cubicBezTo>
                  <a:pt x="369" y="40"/>
                  <a:pt x="368" y="40"/>
                  <a:pt x="368" y="40"/>
                </a:cubicBezTo>
                <a:cubicBezTo>
                  <a:pt x="367" y="40"/>
                  <a:pt x="367" y="39"/>
                  <a:pt x="368" y="39"/>
                </a:cubicBezTo>
                <a:cubicBezTo>
                  <a:pt x="368" y="38"/>
                  <a:pt x="369" y="38"/>
                  <a:pt x="370" y="37"/>
                </a:cubicBezTo>
                <a:cubicBezTo>
                  <a:pt x="370" y="37"/>
                  <a:pt x="371" y="36"/>
                  <a:pt x="371" y="35"/>
                </a:cubicBezTo>
                <a:cubicBezTo>
                  <a:pt x="371" y="35"/>
                  <a:pt x="370" y="35"/>
                  <a:pt x="370" y="34"/>
                </a:cubicBezTo>
                <a:cubicBezTo>
                  <a:pt x="370" y="34"/>
                  <a:pt x="370" y="34"/>
                  <a:pt x="370" y="33"/>
                </a:cubicBezTo>
                <a:cubicBezTo>
                  <a:pt x="370" y="33"/>
                  <a:pt x="369" y="32"/>
                  <a:pt x="369" y="33"/>
                </a:cubicBezTo>
                <a:cubicBezTo>
                  <a:pt x="369" y="32"/>
                  <a:pt x="369" y="31"/>
                  <a:pt x="368" y="31"/>
                </a:cubicBezTo>
                <a:cubicBezTo>
                  <a:pt x="367" y="30"/>
                  <a:pt x="366" y="31"/>
                  <a:pt x="366" y="30"/>
                </a:cubicBezTo>
                <a:cubicBezTo>
                  <a:pt x="365" y="30"/>
                  <a:pt x="365" y="30"/>
                  <a:pt x="366" y="29"/>
                </a:cubicBezTo>
                <a:cubicBezTo>
                  <a:pt x="366" y="29"/>
                  <a:pt x="365" y="28"/>
                  <a:pt x="365" y="28"/>
                </a:cubicBezTo>
                <a:cubicBezTo>
                  <a:pt x="364" y="28"/>
                  <a:pt x="363" y="28"/>
                  <a:pt x="362" y="28"/>
                </a:cubicBezTo>
                <a:cubicBezTo>
                  <a:pt x="363" y="28"/>
                  <a:pt x="363" y="28"/>
                  <a:pt x="364" y="28"/>
                </a:cubicBezTo>
                <a:cubicBezTo>
                  <a:pt x="363" y="28"/>
                  <a:pt x="363" y="28"/>
                  <a:pt x="363" y="28"/>
                </a:cubicBezTo>
                <a:cubicBezTo>
                  <a:pt x="364" y="28"/>
                  <a:pt x="366" y="28"/>
                  <a:pt x="366" y="27"/>
                </a:cubicBezTo>
                <a:cubicBezTo>
                  <a:pt x="368" y="26"/>
                  <a:pt x="370" y="26"/>
                  <a:pt x="371" y="25"/>
                </a:cubicBezTo>
                <a:cubicBezTo>
                  <a:pt x="372" y="24"/>
                  <a:pt x="373" y="23"/>
                  <a:pt x="375" y="23"/>
                </a:cubicBezTo>
                <a:cubicBezTo>
                  <a:pt x="377" y="23"/>
                  <a:pt x="379" y="23"/>
                  <a:pt x="381" y="23"/>
                </a:cubicBezTo>
                <a:cubicBezTo>
                  <a:pt x="385" y="23"/>
                  <a:pt x="389" y="23"/>
                  <a:pt x="393" y="22"/>
                </a:cubicBezTo>
                <a:cubicBezTo>
                  <a:pt x="395" y="21"/>
                  <a:pt x="396" y="21"/>
                  <a:pt x="398" y="20"/>
                </a:cubicBezTo>
                <a:cubicBezTo>
                  <a:pt x="399" y="20"/>
                  <a:pt x="400" y="19"/>
                  <a:pt x="401" y="19"/>
                </a:cubicBezTo>
                <a:cubicBezTo>
                  <a:pt x="401" y="19"/>
                  <a:pt x="402" y="18"/>
                  <a:pt x="403" y="18"/>
                </a:cubicBezTo>
                <a:cubicBezTo>
                  <a:pt x="402" y="19"/>
                  <a:pt x="402" y="19"/>
                  <a:pt x="401" y="19"/>
                </a:cubicBezTo>
                <a:cubicBezTo>
                  <a:pt x="402" y="19"/>
                  <a:pt x="403" y="19"/>
                  <a:pt x="403" y="18"/>
                </a:cubicBezTo>
                <a:cubicBezTo>
                  <a:pt x="404" y="18"/>
                  <a:pt x="405" y="17"/>
                  <a:pt x="406" y="17"/>
                </a:cubicBezTo>
                <a:cubicBezTo>
                  <a:pt x="406" y="16"/>
                  <a:pt x="407" y="16"/>
                  <a:pt x="407" y="16"/>
                </a:cubicBezTo>
                <a:cubicBezTo>
                  <a:pt x="408" y="16"/>
                  <a:pt x="410" y="15"/>
                  <a:pt x="409" y="15"/>
                </a:cubicBezTo>
                <a:cubicBezTo>
                  <a:pt x="410" y="14"/>
                  <a:pt x="411" y="14"/>
                  <a:pt x="412" y="14"/>
                </a:cubicBezTo>
                <a:cubicBezTo>
                  <a:pt x="413" y="14"/>
                  <a:pt x="414" y="14"/>
                  <a:pt x="415" y="13"/>
                </a:cubicBezTo>
                <a:cubicBezTo>
                  <a:pt x="415" y="13"/>
                  <a:pt x="416" y="13"/>
                  <a:pt x="417" y="12"/>
                </a:cubicBezTo>
                <a:cubicBezTo>
                  <a:pt x="418" y="12"/>
                  <a:pt x="420" y="11"/>
                  <a:pt x="421" y="11"/>
                </a:cubicBezTo>
                <a:cubicBezTo>
                  <a:pt x="422" y="11"/>
                  <a:pt x="424" y="10"/>
                  <a:pt x="425" y="10"/>
                </a:cubicBezTo>
                <a:cubicBezTo>
                  <a:pt x="425" y="10"/>
                  <a:pt x="425" y="10"/>
                  <a:pt x="425" y="10"/>
                </a:cubicBezTo>
                <a:cubicBezTo>
                  <a:pt x="425" y="10"/>
                  <a:pt x="425" y="10"/>
                  <a:pt x="425" y="10"/>
                </a:cubicBezTo>
                <a:cubicBezTo>
                  <a:pt x="425" y="11"/>
                  <a:pt x="424" y="10"/>
                  <a:pt x="424" y="10"/>
                </a:cubicBezTo>
                <a:cubicBezTo>
                  <a:pt x="424" y="11"/>
                  <a:pt x="424" y="11"/>
                  <a:pt x="425" y="11"/>
                </a:cubicBezTo>
                <a:cubicBezTo>
                  <a:pt x="423" y="11"/>
                  <a:pt x="422" y="11"/>
                  <a:pt x="421" y="11"/>
                </a:cubicBezTo>
                <a:cubicBezTo>
                  <a:pt x="422" y="11"/>
                  <a:pt x="423" y="11"/>
                  <a:pt x="423" y="11"/>
                </a:cubicBezTo>
                <a:cubicBezTo>
                  <a:pt x="424" y="11"/>
                  <a:pt x="425" y="11"/>
                  <a:pt x="425" y="10"/>
                </a:cubicBezTo>
                <a:cubicBezTo>
                  <a:pt x="426" y="10"/>
                  <a:pt x="427" y="10"/>
                  <a:pt x="428" y="10"/>
                </a:cubicBezTo>
                <a:cubicBezTo>
                  <a:pt x="429" y="10"/>
                  <a:pt x="430" y="10"/>
                  <a:pt x="431" y="10"/>
                </a:cubicBezTo>
                <a:cubicBezTo>
                  <a:pt x="431" y="10"/>
                  <a:pt x="431" y="10"/>
                  <a:pt x="431" y="10"/>
                </a:cubicBezTo>
                <a:cubicBezTo>
                  <a:pt x="432" y="10"/>
                  <a:pt x="432" y="10"/>
                  <a:pt x="433" y="9"/>
                </a:cubicBezTo>
                <a:cubicBezTo>
                  <a:pt x="434" y="9"/>
                  <a:pt x="434" y="9"/>
                  <a:pt x="435" y="9"/>
                </a:cubicBezTo>
                <a:cubicBezTo>
                  <a:pt x="435" y="9"/>
                  <a:pt x="434" y="9"/>
                  <a:pt x="433" y="9"/>
                </a:cubicBezTo>
                <a:cubicBezTo>
                  <a:pt x="436" y="8"/>
                  <a:pt x="438" y="8"/>
                  <a:pt x="441" y="7"/>
                </a:cubicBezTo>
                <a:cubicBezTo>
                  <a:pt x="441" y="8"/>
                  <a:pt x="442" y="7"/>
                  <a:pt x="442" y="7"/>
                </a:cubicBezTo>
                <a:cubicBezTo>
                  <a:pt x="442" y="8"/>
                  <a:pt x="440" y="8"/>
                  <a:pt x="439" y="8"/>
                </a:cubicBezTo>
                <a:cubicBezTo>
                  <a:pt x="440" y="9"/>
                  <a:pt x="440" y="8"/>
                  <a:pt x="441" y="8"/>
                </a:cubicBezTo>
                <a:cubicBezTo>
                  <a:pt x="440" y="9"/>
                  <a:pt x="438" y="9"/>
                  <a:pt x="437" y="10"/>
                </a:cubicBezTo>
                <a:cubicBezTo>
                  <a:pt x="437" y="10"/>
                  <a:pt x="439" y="9"/>
                  <a:pt x="439" y="10"/>
                </a:cubicBezTo>
                <a:cubicBezTo>
                  <a:pt x="439" y="10"/>
                  <a:pt x="439" y="10"/>
                  <a:pt x="438" y="10"/>
                </a:cubicBezTo>
                <a:cubicBezTo>
                  <a:pt x="438" y="10"/>
                  <a:pt x="438" y="11"/>
                  <a:pt x="438" y="11"/>
                </a:cubicBezTo>
                <a:cubicBezTo>
                  <a:pt x="438" y="11"/>
                  <a:pt x="438" y="11"/>
                  <a:pt x="438" y="10"/>
                </a:cubicBezTo>
                <a:cubicBezTo>
                  <a:pt x="439" y="10"/>
                  <a:pt x="439" y="10"/>
                  <a:pt x="439" y="10"/>
                </a:cubicBezTo>
                <a:cubicBezTo>
                  <a:pt x="440" y="9"/>
                  <a:pt x="441" y="8"/>
                  <a:pt x="442" y="8"/>
                </a:cubicBezTo>
                <a:cubicBezTo>
                  <a:pt x="442" y="9"/>
                  <a:pt x="443" y="8"/>
                  <a:pt x="443" y="8"/>
                </a:cubicBezTo>
                <a:cubicBezTo>
                  <a:pt x="444" y="8"/>
                  <a:pt x="445" y="8"/>
                  <a:pt x="446" y="8"/>
                </a:cubicBezTo>
                <a:cubicBezTo>
                  <a:pt x="445" y="8"/>
                  <a:pt x="445" y="8"/>
                  <a:pt x="444" y="8"/>
                </a:cubicBezTo>
                <a:cubicBezTo>
                  <a:pt x="444" y="8"/>
                  <a:pt x="443" y="8"/>
                  <a:pt x="442" y="8"/>
                </a:cubicBezTo>
                <a:cubicBezTo>
                  <a:pt x="442" y="8"/>
                  <a:pt x="443" y="7"/>
                  <a:pt x="443" y="7"/>
                </a:cubicBezTo>
                <a:cubicBezTo>
                  <a:pt x="442" y="7"/>
                  <a:pt x="442" y="7"/>
                  <a:pt x="441" y="7"/>
                </a:cubicBezTo>
                <a:cubicBezTo>
                  <a:pt x="443" y="6"/>
                  <a:pt x="444" y="6"/>
                  <a:pt x="446" y="6"/>
                </a:cubicBezTo>
                <a:cubicBezTo>
                  <a:pt x="447" y="6"/>
                  <a:pt x="448" y="5"/>
                  <a:pt x="449" y="5"/>
                </a:cubicBezTo>
                <a:cubicBezTo>
                  <a:pt x="450" y="5"/>
                  <a:pt x="451" y="5"/>
                  <a:pt x="452" y="5"/>
                </a:cubicBezTo>
                <a:cubicBezTo>
                  <a:pt x="451" y="5"/>
                  <a:pt x="450" y="5"/>
                  <a:pt x="450" y="5"/>
                </a:cubicBezTo>
                <a:cubicBezTo>
                  <a:pt x="450" y="5"/>
                  <a:pt x="451" y="5"/>
                  <a:pt x="451" y="5"/>
                </a:cubicBezTo>
                <a:cubicBezTo>
                  <a:pt x="451" y="6"/>
                  <a:pt x="449" y="5"/>
                  <a:pt x="448" y="6"/>
                </a:cubicBezTo>
                <a:cubicBezTo>
                  <a:pt x="449" y="6"/>
                  <a:pt x="449" y="6"/>
                  <a:pt x="449" y="6"/>
                </a:cubicBezTo>
                <a:cubicBezTo>
                  <a:pt x="449" y="6"/>
                  <a:pt x="449" y="6"/>
                  <a:pt x="449" y="6"/>
                </a:cubicBezTo>
                <a:cubicBezTo>
                  <a:pt x="449" y="6"/>
                  <a:pt x="450" y="6"/>
                  <a:pt x="450" y="6"/>
                </a:cubicBezTo>
                <a:cubicBezTo>
                  <a:pt x="450" y="6"/>
                  <a:pt x="452" y="6"/>
                  <a:pt x="452" y="5"/>
                </a:cubicBezTo>
                <a:cubicBezTo>
                  <a:pt x="452" y="5"/>
                  <a:pt x="451" y="5"/>
                  <a:pt x="451" y="5"/>
                </a:cubicBezTo>
                <a:cubicBezTo>
                  <a:pt x="452" y="5"/>
                  <a:pt x="453" y="5"/>
                  <a:pt x="453" y="5"/>
                </a:cubicBezTo>
                <a:cubicBezTo>
                  <a:pt x="454" y="6"/>
                  <a:pt x="456" y="5"/>
                  <a:pt x="456" y="5"/>
                </a:cubicBezTo>
                <a:cubicBezTo>
                  <a:pt x="456" y="5"/>
                  <a:pt x="456" y="5"/>
                  <a:pt x="456" y="5"/>
                </a:cubicBezTo>
                <a:cubicBezTo>
                  <a:pt x="456" y="5"/>
                  <a:pt x="457" y="5"/>
                  <a:pt x="457" y="5"/>
                </a:cubicBezTo>
                <a:cubicBezTo>
                  <a:pt x="458" y="5"/>
                  <a:pt x="459" y="5"/>
                  <a:pt x="460" y="5"/>
                </a:cubicBezTo>
                <a:cubicBezTo>
                  <a:pt x="462" y="5"/>
                  <a:pt x="464" y="4"/>
                  <a:pt x="466" y="3"/>
                </a:cubicBezTo>
                <a:cubicBezTo>
                  <a:pt x="468" y="3"/>
                  <a:pt x="470" y="2"/>
                  <a:pt x="472" y="2"/>
                </a:cubicBezTo>
                <a:cubicBezTo>
                  <a:pt x="474" y="1"/>
                  <a:pt x="476" y="1"/>
                  <a:pt x="478" y="0"/>
                </a:cubicBezTo>
                <a:cubicBezTo>
                  <a:pt x="478" y="0"/>
                  <a:pt x="478" y="0"/>
                  <a:pt x="478" y="0"/>
                </a:cubicBezTo>
                <a:cubicBezTo>
                  <a:pt x="477" y="0"/>
                  <a:pt x="476" y="0"/>
                  <a:pt x="476" y="1"/>
                </a:cubicBezTo>
                <a:cubicBezTo>
                  <a:pt x="476" y="1"/>
                  <a:pt x="476" y="1"/>
                  <a:pt x="476" y="1"/>
                </a:cubicBezTo>
                <a:cubicBezTo>
                  <a:pt x="477" y="1"/>
                  <a:pt x="477" y="1"/>
                  <a:pt x="478" y="1"/>
                </a:cubicBezTo>
                <a:cubicBezTo>
                  <a:pt x="478" y="2"/>
                  <a:pt x="477" y="2"/>
                  <a:pt x="477" y="2"/>
                </a:cubicBezTo>
                <a:cubicBezTo>
                  <a:pt x="478" y="2"/>
                  <a:pt x="478" y="2"/>
                  <a:pt x="479" y="2"/>
                </a:cubicBezTo>
                <a:cubicBezTo>
                  <a:pt x="479" y="2"/>
                  <a:pt x="479" y="2"/>
                  <a:pt x="479" y="2"/>
                </a:cubicBezTo>
                <a:cubicBezTo>
                  <a:pt x="480" y="2"/>
                  <a:pt x="481" y="2"/>
                  <a:pt x="480" y="2"/>
                </a:cubicBezTo>
                <a:cubicBezTo>
                  <a:pt x="480" y="3"/>
                  <a:pt x="479" y="3"/>
                  <a:pt x="478" y="3"/>
                </a:cubicBezTo>
                <a:cubicBezTo>
                  <a:pt x="477" y="4"/>
                  <a:pt x="475" y="4"/>
                  <a:pt x="474" y="4"/>
                </a:cubicBezTo>
                <a:cubicBezTo>
                  <a:pt x="474" y="4"/>
                  <a:pt x="474" y="4"/>
                  <a:pt x="474" y="4"/>
                </a:cubicBezTo>
                <a:cubicBezTo>
                  <a:pt x="474" y="4"/>
                  <a:pt x="473" y="4"/>
                  <a:pt x="473" y="4"/>
                </a:cubicBezTo>
                <a:cubicBezTo>
                  <a:pt x="473" y="4"/>
                  <a:pt x="474" y="4"/>
                  <a:pt x="473" y="4"/>
                </a:cubicBezTo>
                <a:cubicBezTo>
                  <a:pt x="474" y="4"/>
                  <a:pt x="474" y="4"/>
                  <a:pt x="474" y="4"/>
                </a:cubicBezTo>
                <a:cubicBezTo>
                  <a:pt x="473" y="5"/>
                  <a:pt x="473" y="5"/>
                  <a:pt x="472" y="6"/>
                </a:cubicBezTo>
                <a:cubicBezTo>
                  <a:pt x="473" y="6"/>
                  <a:pt x="473" y="5"/>
                  <a:pt x="474" y="5"/>
                </a:cubicBezTo>
                <a:cubicBezTo>
                  <a:pt x="475" y="5"/>
                  <a:pt x="475" y="5"/>
                  <a:pt x="476" y="5"/>
                </a:cubicBezTo>
                <a:cubicBezTo>
                  <a:pt x="478" y="5"/>
                  <a:pt x="479" y="3"/>
                  <a:pt x="481" y="3"/>
                </a:cubicBezTo>
                <a:cubicBezTo>
                  <a:pt x="481" y="3"/>
                  <a:pt x="481" y="3"/>
                  <a:pt x="481" y="4"/>
                </a:cubicBezTo>
                <a:cubicBezTo>
                  <a:pt x="481" y="4"/>
                  <a:pt x="481" y="3"/>
                  <a:pt x="481" y="3"/>
                </a:cubicBezTo>
                <a:cubicBezTo>
                  <a:pt x="482" y="3"/>
                  <a:pt x="481" y="3"/>
                  <a:pt x="482" y="3"/>
                </a:cubicBezTo>
                <a:cubicBezTo>
                  <a:pt x="482" y="3"/>
                  <a:pt x="482" y="3"/>
                  <a:pt x="482" y="3"/>
                </a:cubicBezTo>
                <a:cubicBezTo>
                  <a:pt x="483" y="2"/>
                  <a:pt x="482" y="3"/>
                  <a:pt x="483" y="3"/>
                </a:cubicBezTo>
                <a:cubicBezTo>
                  <a:pt x="483" y="3"/>
                  <a:pt x="483" y="2"/>
                  <a:pt x="484" y="2"/>
                </a:cubicBezTo>
                <a:cubicBezTo>
                  <a:pt x="483" y="3"/>
                  <a:pt x="482" y="3"/>
                  <a:pt x="482" y="3"/>
                </a:cubicBezTo>
                <a:cubicBezTo>
                  <a:pt x="483" y="4"/>
                  <a:pt x="483" y="3"/>
                  <a:pt x="484" y="3"/>
                </a:cubicBezTo>
                <a:cubicBezTo>
                  <a:pt x="484" y="3"/>
                  <a:pt x="485" y="3"/>
                  <a:pt x="485" y="4"/>
                </a:cubicBezTo>
                <a:cubicBezTo>
                  <a:pt x="484" y="4"/>
                  <a:pt x="483" y="4"/>
                  <a:pt x="482" y="5"/>
                </a:cubicBezTo>
                <a:cubicBezTo>
                  <a:pt x="482" y="5"/>
                  <a:pt x="483" y="5"/>
                  <a:pt x="483" y="5"/>
                </a:cubicBezTo>
                <a:cubicBezTo>
                  <a:pt x="483" y="5"/>
                  <a:pt x="483" y="5"/>
                  <a:pt x="482" y="5"/>
                </a:cubicBezTo>
                <a:cubicBezTo>
                  <a:pt x="483" y="5"/>
                  <a:pt x="485" y="5"/>
                  <a:pt x="484" y="6"/>
                </a:cubicBezTo>
                <a:cubicBezTo>
                  <a:pt x="486" y="6"/>
                  <a:pt x="488" y="5"/>
                  <a:pt x="489" y="5"/>
                </a:cubicBezTo>
                <a:cubicBezTo>
                  <a:pt x="490" y="4"/>
                  <a:pt x="491" y="5"/>
                  <a:pt x="492" y="4"/>
                </a:cubicBezTo>
                <a:cubicBezTo>
                  <a:pt x="493" y="4"/>
                  <a:pt x="494" y="4"/>
                  <a:pt x="495" y="4"/>
                </a:cubicBezTo>
                <a:cubicBezTo>
                  <a:pt x="494" y="5"/>
                  <a:pt x="495" y="5"/>
                  <a:pt x="496" y="5"/>
                </a:cubicBezTo>
                <a:cubicBezTo>
                  <a:pt x="496" y="5"/>
                  <a:pt x="496" y="5"/>
                  <a:pt x="495" y="5"/>
                </a:cubicBezTo>
                <a:cubicBezTo>
                  <a:pt x="496" y="5"/>
                  <a:pt x="497" y="5"/>
                  <a:pt x="496" y="5"/>
                </a:cubicBezTo>
                <a:cubicBezTo>
                  <a:pt x="497" y="4"/>
                  <a:pt x="498" y="5"/>
                  <a:pt x="499" y="5"/>
                </a:cubicBezTo>
                <a:cubicBezTo>
                  <a:pt x="499" y="5"/>
                  <a:pt x="497" y="6"/>
                  <a:pt x="497" y="6"/>
                </a:cubicBezTo>
                <a:cubicBezTo>
                  <a:pt x="497" y="6"/>
                  <a:pt x="494" y="6"/>
                  <a:pt x="495" y="7"/>
                </a:cubicBezTo>
                <a:cubicBezTo>
                  <a:pt x="495" y="7"/>
                  <a:pt x="496" y="7"/>
                  <a:pt x="497" y="7"/>
                </a:cubicBezTo>
                <a:cubicBezTo>
                  <a:pt x="497" y="7"/>
                  <a:pt x="496" y="8"/>
                  <a:pt x="496" y="8"/>
                </a:cubicBezTo>
                <a:cubicBezTo>
                  <a:pt x="497" y="7"/>
                  <a:pt x="498" y="7"/>
                  <a:pt x="499" y="8"/>
                </a:cubicBezTo>
                <a:cubicBezTo>
                  <a:pt x="498" y="8"/>
                  <a:pt x="498" y="8"/>
                  <a:pt x="497" y="8"/>
                </a:cubicBezTo>
                <a:cubicBezTo>
                  <a:pt x="498" y="8"/>
                  <a:pt x="497" y="8"/>
                  <a:pt x="497" y="8"/>
                </a:cubicBezTo>
                <a:cubicBezTo>
                  <a:pt x="496" y="8"/>
                  <a:pt x="496" y="8"/>
                  <a:pt x="496" y="9"/>
                </a:cubicBezTo>
                <a:cubicBezTo>
                  <a:pt x="497" y="9"/>
                  <a:pt x="498" y="9"/>
                  <a:pt x="499" y="9"/>
                </a:cubicBezTo>
                <a:cubicBezTo>
                  <a:pt x="499" y="9"/>
                  <a:pt x="500" y="9"/>
                  <a:pt x="500" y="9"/>
                </a:cubicBezTo>
                <a:cubicBezTo>
                  <a:pt x="500" y="9"/>
                  <a:pt x="501" y="9"/>
                  <a:pt x="501" y="9"/>
                </a:cubicBezTo>
                <a:cubicBezTo>
                  <a:pt x="502" y="8"/>
                  <a:pt x="503" y="9"/>
                  <a:pt x="504" y="8"/>
                </a:cubicBezTo>
                <a:cubicBezTo>
                  <a:pt x="505" y="8"/>
                  <a:pt x="505" y="8"/>
                  <a:pt x="505" y="8"/>
                </a:cubicBezTo>
                <a:cubicBezTo>
                  <a:pt x="505" y="8"/>
                  <a:pt x="507" y="8"/>
                  <a:pt x="506" y="8"/>
                </a:cubicBezTo>
                <a:cubicBezTo>
                  <a:pt x="507" y="8"/>
                  <a:pt x="507" y="8"/>
                  <a:pt x="507" y="8"/>
                </a:cubicBezTo>
                <a:cubicBezTo>
                  <a:pt x="507" y="9"/>
                  <a:pt x="506" y="9"/>
                  <a:pt x="506" y="9"/>
                </a:cubicBezTo>
                <a:cubicBezTo>
                  <a:pt x="508" y="9"/>
                  <a:pt x="509" y="8"/>
                  <a:pt x="510" y="8"/>
                </a:cubicBezTo>
                <a:cubicBezTo>
                  <a:pt x="511" y="8"/>
                  <a:pt x="512" y="8"/>
                  <a:pt x="512" y="8"/>
                </a:cubicBezTo>
                <a:cubicBezTo>
                  <a:pt x="512" y="8"/>
                  <a:pt x="513" y="8"/>
                  <a:pt x="513" y="8"/>
                </a:cubicBezTo>
                <a:cubicBezTo>
                  <a:pt x="513" y="8"/>
                  <a:pt x="514" y="8"/>
                  <a:pt x="514" y="8"/>
                </a:cubicBezTo>
                <a:cubicBezTo>
                  <a:pt x="514" y="8"/>
                  <a:pt x="516" y="8"/>
                  <a:pt x="516" y="9"/>
                </a:cubicBezTo>
                <a:cubicBezTo>
                  <a:pt x="517" y="9"/>
                  <a:pt x="519" y="9"/>
                  <a:pt x="518" y="10"/>
                </a:cubicBezTo>
                <a:cubicBezTo>
                  <a:pt x="518" y="10"/>
                  <a:pt x="521" y="9"/>
                  <a:pt x="521" y="10"/>
                </a:cubicBezTo>
                <a:cubicBezTo>
                  <a:pt x="521" y="10"/>
                  <a:pt x="522" y="10"/>
                  <a:pt x="521" y="10"/>
                </a:cubicBezTo>
                <a:cubicBezTo>
                  <a:pt x="522" y="10"/>
                  <a:pt x="522" y="10"/>
                  <a:pt x="522" y="10"/>
                </a:cubicBezTo>
                <a:cubicBezTo>
                  <a:pt x="522" y="10"/>
                  <a:pt x="522" y="10"/>
                  <a:pt x="522" y="11"/>
                </a:cubicBezTo>
                <a:cubicBezTo>
                  <a:pt x="522" y="11"/>
                  <a:pt x="524" y="11"/>
                  <a:pt x="525" y="11"/>
                </a:cubicBezTo>
                <a:cubicBezTo>
                  <a:pt x="526" y="11"/>
                  <a:pt x="528" y="11"/>
                  <a:pt x="529" y="11"/>
                </a:cubicBezTo>
                <a:cubicBezTo>
                  <a:pt x="531" y="11"/>
                  <a:pt x="532" y="11"/>
                  <a:pt x="533" y="11"/>
                </a:cubicBezTo>
                <a:cubicBezTo>
                  <a:pt x="533" y="11"/>
                  <a:pt x="534" y="11"/>
                  <a:pt x="534" y="11"/>
                </a:cubicBezTo>
                <a:cubicBezTo>
                  <a:pt x="535" y="11"/>
                  <a:pt x="535" y="12"/>
                  <a:pt x="535" y="12"/>
                </a:cubicBezTo>
                <a:cubicBezTo>
                  <a:pt x="535" y="12"/>
                  <a:pt x="536" y="12"/>
                  <a:pt x="536" y="12"/>
                </a:cubicBezTo>
                <a:cubicBezTo>
                  <a:pt x="536" y="12"/>
                  <a:pt x="537" y="12"/>
                  <a:pt x="537" y="12"/>
                </a:cubicBezTo>
                <a:cubicBezTo>
                  <a:pt x="537" y="12"/>
                  <a:pt x="536" y="13"/>
                  <a:pt x="536" y="13"/>
                </a:cubicBezTo>
                <a:cubicBezTo>
                  <a:pt x="538" y="13"/>
                  <a:pt x="540" y="13"/>
                  <a:pt x="541" y="13"/>
                </a:cubicBezTo>
                <a:cubicBezTo>
                  <a:pt x="542" y="13"/>
                  <a:pt x="543" y="12"/>
                  <a:pt x="543" y="12"/>
                </a:cubicBezTo>
                <a:cubicBezTo>
                  <a:pt x="544" y="12"/>
                  <a:pt x="545" y="12"/>
                  <a:pt x="545" y="12"/>
                </a:cubicBezTo>
                <a:cubicBezTo>
                  <a:pt x="545" y="12"/>
                  <a:pt x="545" y="13"/>
                  <a:pt x="545" y="13"/>
                </a:cubicBezTo>
                <a:cubicBezTo>
                  <a:pt x="545" y="13"/>
                  <a:pt x="545" y="12"/>
                  <a:pt x="546" y="12"/>
                </a:cubicBezTo>
                <a:cubicBezTo>
                  <a:pt x="546" y="12"/>
                  <a:pt x="547" y="12"/>
                  <a:pt x="548" y="12"/>
                </a:cubicBezTo>
                <a:cubicBezTo>
                  <a:pt x="548" y="12"/>
                  <a:pt x="549" y="12"/>
                  <a:pt x="550" y="12"/>
                </a:cubicBezTo>
                <a:cubicBezTo>
                  <a:pt x="550" y="12"/>
                  <a:pt x="551" y="12"/>
                  <a:pt x="551" y="12"/>
                </a:cubicBezTo>
                <a:cubicBezTo>
                  <a:pt x="551" y="12"/>
                  <a:pt x="551" y="12"/>
                  <a:pt x="551" y="12"/>
                </a:cubicBezTo>
                <a:cubicBezTo>
                  <a:pt x="551" y="12"/>
                  <a:pt x="551" y="12"/>
                  <a:pt x="551" y="12"/>
                </a:cubicBezTo>
                <a:cubicBezTo>
                  <a:pt x="552" y="11"/>
                  <a:pt x="552" y="12"/>
                  <a:pt x="552" y="12"/>
                </a:cubicBezTo>
                <a:cubicBezTo>
                  <a:pt x="553" y="12"/>
                  <a:pt x="553" y="12"/>
                  <a:pt x="553" y="12"/>
                </a:cubicBezTo>
                <a:cubicBezTo>
                  <a:pt x="553" y="12"/>
                  <a:pt x="554" y="12"/>
                  <a:pt x="554" y="12"/>
                </a:cubicBezTo>
                <a:cubicBezTo>
                  <a:pt x="554" y="12"/>
                  <a:pt x="555" y="12"/>
                  <a:pt x="555" y="13"/>
                </a:cubicBezTo>
                <a:cubicBezTo>
                  <a:pt x="555" y="13"/>
                  <a:pt x="555" y="13"/>
                  <a:pt x="555" y="13"/>
                </a:cubicBezTo>
                <a:cubicBezTo>
                  <a:pt x="555" y="13"/>
                  <a:pt x="555" y="13"/>
                  <a:pt x="555" y="13"/>
                </a:cubicBezTo>
                <a:cubicBezTo>
                  <a:pt x="555" y="13"/>
                  <a:pt x="555" y="13"/>
                  <a:pt x="555" y="13"/>
                </a:cubicBezTo>
                <a:cubicBezTo>
                  <a:pt x="555" y="14"/>
                  <a:pt x="555" y="14"/>
                  <a:pt x="556" y="14"/>
                </a:cubicBezTo>
                <a:cubicBezTo>
                  <a:pt x="556" y="14"/>
                  <a:pt x="556" y="14"/>
                  <a:pt x="556" y="14"/>
                </a:cubicBezTo>
                <a:cubicBezTo>
                  <a:pt x="557" y="14"/>
                  <a:pt x="556" y="14"/>
                  <a:pt x="556" y="14"/>
                </a:cubicBezTo>
                <a:cubicBezTo>
                  <a:pt x="557" y="15"/>
                  <a:pt x="557" y="14"/>
                  <a:pt x="557" y="14"/>
                </a:cubicBezTo>
                <a:cubicBezTo>
                  <a:pt x="558" y="15"/>
                  <a:pt x="558" y="15"/>
                  <a:pt x="559" y="15"/>
                </a:cubicBezTo>
                <a:cubicBezTo>
                  <a:pt x="559" y="15"/>
                  <a:pt x="559" y="16"/>
                  <a:pt x="559" y="16"/>
                </a:cubicBezTo>
                <a:cubicBezTo>
                  <a:pt x="559" y="16"/>
                  <a:pt x="560" y="16"/>
                  <a:pt x="560" y="16"/>
                </a:cubicBezTo>
                <a:cubicBezTo>
                  <a:pt x="560" y="16"/>
                  <a:pt x="560" y="16"/>
                  <a:pt x="560" y="16"/>
                </a:cubicBezTo>
                <a:cubicBezTo>
                  <a:pt x="561" y="15"/>
                  <a:pt x="561" y="16"/>
                  <a:pt x="562" y="16"/>
                </a:cubicBezTo>
                <a:cubicBezTo>
                  <a:pt x="535" y="36"/>
                  <a:pt x="509" y="57"/>
                  <a:pt x="484" y="78"/>
                </a:cubicBezTo>
                <a:cubicBezTo>
                  <a:pt x="478" y="84"/>
                  <a:pt x="472" y="89"/>
                  <a:pt x="465" y="94"/>
                </a:cubicBezTo>
                <a:cubicBezTo>
                  <a:pt x="462" y="97"/>
                  <a:pt x="460" y="100"/>
                  <a:pt x="457" y="102"/>
                </a:cubicBezTo>
                <a:cubicBezTo>
                  <a:pt x="456" y="103"/>
                  <a:pt x="455" y="103"/>
                  <a:pt x="454" y="104"/>
                </a:cubicBezTo>
                <a:cubicBezTo>
                  <a:pt x="454" y="105"/>
                  <a:pt x="453" y="105"/>
                  <a:pt x="453" y="106"/>
                </a:cubicBezTo>
                <a:close/>
                <a:moveTo>
                  <a:pt x="493" y="8"/>
                </a:moveTo>
                <a:cubicBezTo>
                  <a:pt x="493" y="8"/>
                  <a:pt x="494" y="8"/>
                  <a:pt x="495" y="8"/>
                </a:cubicBezTo>
                <a:cubicBezTo>
                  <a:pt x="495" y="8"/>
                  <a:pt x="496" y="8"/>
                  <a:pt x="496" y="8"/>
                </a:cubicBezTo>
                <a:cubicBezTo>
                  <a:pt x="495" y="8"/>
                  <a:pt x="493" y="7"/>
                  <a:pt x="493" y="8"/>
                </a:cubicBezTo>
                <a:close/>
                <a:moveTo>
                  <a:pt x="278" y="97"/>
                </a:moveTo>
                <a:cubicBezTo>
                  <a:pt x="278" y="97"/>
                  <a:pt x="277" y="97"/>
                  <a:pt x="277" y="98"/>
                </a:cubicBezTo>
                <a:cubicBezTo>
                  <a:pt x="277" y="97"/>
                  <a:pt x="278" y="97"/>
                  <a:pt x="278" y="97"/>
                </a:cubicBezTo>
                <a:close/>
                <a:moveTo>
                  <a:pt x="314" y="79"/>
                </a:moveTo>
                <a:cubicBezTo>
                  <a:pt x="313" y="79"/>
                  <a:pt x="312" y="79"/>
                  <a:pt x="311" y="79"/>
                </a:cubicBezTo>
                <a:cubicBezTo>
                  <a:pt x="312" y="79"/>
                  <a:pt x="313" y="79"/>
                  <a:pt x="314" y="79"/>
                </a:cubicBezTo>
                <a:close/>
                <a:moveTo>
                  <a:pt x="292" y="134"/>
                </a:moveTo>
                <a:cubicBezTo>
                  <a:pt x="292" y="134"/>
                  <a:pt x="292" y="134"/>
                  <a:pt x="291" y="135"/>
                </a:cubicBezTo>
                <a:cubicBezTo>
                  <a:pt x="292" y="134"/>
                  <a:pt x="292" y="134"/>
                  <a:pt x="292" y="13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 name="United Kingdom"/>
          <p:cNvSpPr>
            <a:spLocks noEditPoints="1"/>
          </p:cNvSpPr>
          <p:nvPr/>
        </p:nvSpPr>
        <p:spPr bwMode="auto">
          <a:xfrm>
            <a:off x="5463095" y="2277027"/>
            <a:ext cx="433984" cy="440983"/>
          </a:xfrm>
          <a:custGeom>
            <a:avLst/>
            <a:gdLst/>
            <a:ahLst/>
            <a:cxnLst>
              <a:cxn ang="0">
                <a:pos x="88" y="21"/>
              </a:cxn>
              <a:cxn ang="0">
                <a:pos x="59" y="40"/>
              </a:cxn>
              <a:cxn ang="0">
                <a:pos x="102" y="9"/>
              </a:cxn>
              <a:cxn ang="0">
                <a:pos x="103" y="5"/>
              </a:cxn>
              <a:cxn ang="0">
                <a:pos x="101" y="4"/>
              </a:cxn>
              <a:cxn ang="0">
                <a:pos x="93" y="105"/>
              </a:cxn>
              <a:cxn ang="0">
                <a:pos x="115" y="93"/>
              </a:cxn>
              <a:cxn ang="0">
                <a:pos x="111" y="98"/>
              </a:cxn>
              <a:cxn ang="0">
                <a:pos x="98" y="105"/>
              </a:cxn>
              <a:cxn ang="0">
                <a:pos x="87" y="106"/>
              </a:cxn>
              <a:cxn ang="0">
                <a:pos x="74" y="110"/>
              </a:cxn>
              <a:cxn ang="0">
                <a:pos x="63" y="111"/>
              </a:cxn>
              <a:cxn ang="0">
                <a:pos x="62" y="108"/>
              </a:cxn>
              <a:cxn ang="0">
                <a:pos x="80" y="100"/>
              </a:cxn>
              <a:cxn ang="0">
                <a:pos x="70" y="96"/>
              </a:cxn>
              <a:cxn ang="0">
                <a:pos x="63" y="95"/>
              </a:cxn>
              <a:cxn ang="0">
                <a:pos x="72" y="86"/>
              </a:cxn>
              <a:cxn ang="0">
                <a:pos x="74" y="79"/>
              </a:cxn>
              <a:cxn ang="0">
                <a:pos x="82" y="72"/>
              </a:cxn>
              <a:cxn ang="0">
                <a:pos x="79" y="63"/>
              </a:cxn>
              <a:cxn ang="0">
                <a:pos x="75" y="63"/>
              </a:cxn>
              <a:cxn ang="0">
                <a:pos x="67" y="60"/>
              </a:cxn>
              <a:cxn ang="0">
                <a:pos x="69" y="48"/>
              </a:cxn>
              <a:cxn ang="0">
                <a:pos x="64" y="50"/>
              </a:cxn>
              <a:cxn ang="0">
                <a:pos x="62" y="51"/>
              </a:cxn>
              <a:cxn ang="0">
                <a:pos x="65" y="45"/>
              </a:cxn>
              <a:cxn ang="0">
                <a:pos x="62" y="43"/>
              </a:cxn>
              <a:cxn ang="0">
                <a:pos x="63" y="40"/>
              </a:cxn>
              <a:cxn ang="0">
                <a:pos x="65" y="36"/>
              </a:cxn>
              <a:cxn ang="0">
                <a:pos x="66" y="31"/>
              </a:cxn>
              <a:cxn ang="0">
                <a:pos x="70" y="27"/>
              </a:cxn>
              <a:cxn ang="0">
                <a:pos x="75" y="24"/>
              </a:cxn>
              <a:cxn ang="0">
                <a:pos x="77" y="30"/>
              </a:cxn>
              <a:cxn ang="0">
                <a:pos x="76" y="34"/>
              </a:cxn>
              <a:cxn ang="0">
                <a:pos x="93" y="33"/>
              </a:cxn>
              <a:cxn ang="0">
                <a:pos x="86" y="45"/>
              </a:cxn>
              <a:cxn ang="0">
                <a:pos x="87" y="50"/>
              </a:cxn>
              <a:cxn ang="0">
                <a:pos x="104" y="68"/>
              </a:cxn>
              <a:cxn ang="0">
                <a:pos x="106" y="75"/>
              </a:cxn>
              <a:cxn ang="0">
                <a:pos x="120" y="88"/>
              </a:cxn>
              <a:cxn ang="0">
                <a:pos x="61" y="65"/>
              </a:cxn>
              <a:cxn ang="0">
                <a:pos x="59" y="60"/>
              </a:cxn>
              <a:cxn ang="0">
                <a:pos x="43" y="65"/>
              </a:cxn>
              <a:cxn ang="0">
                <a:pos x="51" y="67"/>
              </a:cxn>
              <a:cxn ang="0">
                <a:pos x="65" y="56"/>
              </a:cxn>
              <a:cxn ang="0">
                <a:pos x="51" y="36"/>
              </a:cxn>
              <a:cxn ang="0">
                <a:pos x="60" y="36"/>
              </a:cxn>
              <a:cxn ang="0">
                <a:pos x="57" y="36"/>
              </a:cxn>
              <a:cxn ang="0">
                <a:pos x="58" y="44"/>
              </a:cxn>
              <a:cxn ang="0">
                <a:pos x="62" y="46"/>
              </a:cxn>
              <a:cxn ang="0">
                <a:pos x="57" y="29"/>
              </a:cxn>
              <a:cxn ang="0">
                <a:pos x="60" y="27"/>
              </a:cxn>
              <a:cxn ang="0">
                <a:pos x="54" y="29"/>
              </a:cxn>
              <a:cxn ang="0">
                <a:pos x="59" y="53"/>
              </a:cxn>
              <a:cxn ang="0">
                <a:pos x="56" y="31"/>
              </a:cxn>
              <a:cxn ang="0">
                <a:pos x="53" y="33"/>
              </a:cxn>
              <a:cxn ang="0">
                <a:pos x="105" y="2"/>
              </a:cxn>
              <a:cxn ang="0">
                <a:pos x="52" y="35"/>
              </a:cxn>
              <a:cxn ang="0">
                <a:pos x="54" y="44"/>
              </a:cxn>
              <a:cxn ang="0">
                <a:pos x="70" y="67"/>
              </a:cxn>
            </a:cxnLst>
            <a:rect l="0" t="0" r="r" b="b"/>
            <a:pathLst>
              <a:path w="120" h="122">
                <a:moveTo>
                  <a:pt x="1" y="34"/>
                </a:moveTo>
                <a:cubicBezTo>
                  <a:pt x="1" y="34"/>
                  <a:pt x="1" y="34"/>
                  <a:pt x="1" y="34"/>
                </a:cubicBezTo>
                <a:cubicBezTo>
                  <a:pt x="1" y="34"/>
                  <a:pt x="0" y="33"/>
                  <a:pt x="1" y="34"/>
                </a:cubicBezTo>
                <a:close/>
                <a:moveTo>
                  <a:pt x="103" y="4"/>
                </a:moveTo>
                <a:cubicBezTo>
                  <a:pt x="103" y="4"/>
                  <a:pt x="103" y="4"/>
                  <a:pt x="103" y="4"/>
                </a:cubicBezTo>
                <a:cubicBezTo>
                  <a:pt x="103" y="5"/>
                  <a:pt x="104" y="3"/>
                  <a:pt x="103" y="3"/>
                </a:cubicBezTo>
                <a:cubicBezTo>
                  <a:pt x="104" y="3"/>
                  <a:pt x="103" y="3"/>
                  <a:pt x="103" y="3"/>
                </a:cubicBezTo>
                <a:cubicBezTo>
                  <a:pt x="104" y="3"/>
                  <a:pt x="104" y="2"/>
                  <a:pt x="104" y="2"/>
                </a:cubicBezTo>
                <a:cubicBezTo>
                  <a:pt x="103" y="1"/>
                  <a:pt x="103" y="3"/>
                  <a:pt x="103" y="3"/>
                </a:cubicBezTo>
                <a:cubicBezTo>
                  <a:pt x="102" y="2"/>
                  <a:pt x="102" y="4"/>
                  <a:pt x="103" y="4"/>
                </a:cubicBezTo>
                <a:close/>
                <a:moveTo>
                  <a:pt x="85" y="19"/>
                </a:moveTo>
                <a:cubicBezTo>
                  <a:pt x="85" y="19"/>
                  <a:pt x="85" y="20"/>
                  <a:pt x="85" y="20"/>
                </a:cubicBezTo>
                <a:cubicBezTo>
                  <a:pt x="85" y="20"/>
                  <a:pt x="86" y="20"/>
                  <a:pt x="87" y="20"/>
                </a:cubicBezTo>
                <a:cubicBezTo>
                  <a:pt x="87" y="20"/>
                  <a:pt x="88" y="20"/>
                  <a:pt x="88" y="21"/>
                </a:cubicBezTo>
                <a:cubicBezTo>
                  <a:pt x="88" y="20"/>
                  <a:pt x="89" y="20"/>
                  <a:pt x="89" y="20"/>
                </a:cubicBezTo>
                <a:cubicBezTo>
                  <a:pt x="89" y="19"/>
                  <a:pt x="89" y="20"/>
                  <a:pt x="89" y="20"/>
                </a:cubicBezTo>
                <a:cubicBezTo>
                  <a:pt x="88" y="20"/>
                  <a:pt x="88" y="20"/>
                  <a:pt x="88" y="20"/>
                </a:cubicBezTo>
                <a:cubicBezTo>
                  <a:pt x="89" y="19"/>
                  <a:pt x="88" y="19"/>
                  <a:pt x="88" y="19"/>
                </a:cubicBezTo>
                <a:cubicBezTo>
                  <a:pt x="88" y="20"/>
                  <a:pt x="88" y="19"/>
                  <a:pt x="87" y="19"/>
                </a:cubicBezTo>
                <a:cubicBezTo>
                  <a:pt x="87" y="19"/>
                  <a:pt x="86" y="20"/>
                  <a:pt x="86" y="19"/>
                </a:cubicBezTo>
                <a:cubicBezTo>
                  <a:pt x="86" y="19"/>
                  <a:pt x="87" y="19"/>
                  <a:pt x="87" y="19"/>
                </a:cubicBezTo>
                <a:cubicBezTo>
                  <a:pt x="87" y="18"/>
                  <a:pt x="86" y="18"/>
                  <a:pt x="85" y="18"/>
                </a:cubicBezTo>
                <a:cubicBezTo>
                  <a:pt x="84" y="18"/>
                  <a:pt x="84" y="20"/>
                  <a:pt x="84" y="20"/>
                </a:cubicBezTo>
                <a:cubicBezTo>
                  <a:pt x="85" y="20"/>
                  <a:pt x="85" y="19"/>
                  <a:pt x="85" y="19"/>
                </a:cubicBezTo>
                <a:close/>
                <a:moveTo>
                  <a:pt x="59" y="40"/>
                </a:moveTo>
                <a:cubicBezTo>
                  <a:pt x="59" y="39"/>
                  <a:pt x="58" y="39"/>
                  <a:pt x="58" y="39"/>
                </a:cubicBezTo>
                <a:cubicBezTo>
                  <a:pt x="57" y="39"/>
                  <a:pt x="58" y="40"/>
                  <a:pt x="58" y="40"/>
                </a:cubicBezTo>
                <a:cubicBezTo>
                  <a:pt x="59" y="40"/>
                  <a:pt x="59" y="40"/>
                  <a:pt x="59" y="40"/>
                </a:cubicBezTo>
                <a:close/>
                <a:moveTo>
                  <a:pt x="100" y="7"/>
                </a:moveTo>
                <a:cubicBezTo>
                  <a:pt x="100" y="7"/>
                  <a:pt x="99" y="7"/>
                  <a:pt x="99" y="7"/>
                </a:cubicBezTo>
                <a:cubicBezTo>
                  <a:pt x="100" y="8"/>
                  <a:pt x="100" y="7"/>
                  <a:pt x="101" y="7"/>
                </a:cubicBezTo>
                <a:cubicBezTo>
                  <a:pt x="101" y="7"/>
                  <a:pt x="100" y="7"/>
                  <a:pt x="100" y="7"/>
                </a:cubicBezTo>
                <a:cubicBezTo>
                  <a:pt x="101" y="7"/>
                  <a:pt x="101" y="7"/>
                  <a:pt x="101" y="7"/>
                </a:cubicBezTo>
                <a:cubicBezTo>
                  <a:pt x="101" y="7"/>
                  <a:pt x="101" y="7"/>
                  <a:pt x="101" y="7"/>
                </a:cubicBezTo>
                <a:cubicBezTo>
                  <a:pt x="101" y="7"/>
                  <a:pt x="101" y="8"/>
                  <a:pt x="101" y="7"/>
                </a:cubicBezTo>
                <a:cubicBezTo>
                  <a:pt x="101" y="8"/>
                  <a:pt x="101" y="8"/>
                  <a:pt x="101" y="9"/>
                </a:cubicBezTo>
                <a:cubicBezTo>
                  <a:pt x="101" y="9"/>
                  <a:pt x="101" y="10"/>
                  <a:pt x="100" y="10"/>
                </a:cubicBezTo>
                <a:cubicBezTo>
                  <a:pt x="100" y="10"/>
                  <a:pt x="101" y="10"/>
                  <a:pt x="101" y="11"/>
                </a:cubicBezTo>
                <a:cubicBezTo>
                  <a:pt x="101" y="10"/>
                  <a:pt x="101" y="11"/>
                  <a:pt x="101" y="11"/>
                </a:cubicBezTo>
                <a:cubicBezTo>
                  <a:pt x="101" y="10"/>
                  <a:pt x="101" y="10"/>
                  <a:pt x="101" y="9"/>
                </a:cubicBezTo>
                <a:cubicBezTo>
                  <a:pt x="102" y="9"/>
                  <a:pt x="102" y="9"/>
                  <a:pt x="102" y="9"/>
                </a:cubicBezTo>
                <a:cubicBezTo>
                  <a:pt x="101" y="9"/>
                  <a:pt x="102" y="9"/>
                  <a:pt x="102" y="9"/>
                </a:cubicBezTo>
                <a:cubicBezTo>
                  <a:pt x="102" y="9"/>
                  <a:pt x="102" y="8"/>
                  <a:pt x="102" y="8"/>
                </a:cubicBezTo>
                <a:cubicBezTo>
                  <a:pt x="102" y="8"/>
                  <a:pt x="102" y="8"/>
                  <a:pt x="102" y="8"/>
                </a:cubicBezTo>
                <a:cubicBezTo>
                  <a:pt x="102" y="8"/>
                  <a:pt x="102" y="7"/>
                  <a:pt x="102" y="7"/>
                </a:cubicBezTo>
                <a:cubicBezTo>
                  <a:pt x="102" y="7"/>
                  <a:pt x="102" y="7"/>
                  <a:pt x="102" y="7"/>
                </a:cubicBezTo>
                <a:cubicBezTo>
                  <a:pt x="102" y="7"/>
                  <a:pt x="102" y="7"/>
                  <a:pt x="102" y="7"/>
                </a:cubicBezTo>
                <a:cubicBezTo>
                  <a:pt x="102" y="7"/>
                  <a:pt x="102" y="7"/>
                  <a:pt x="102" y="7"/>
                </a:cubicBezTo>
                <a:cubicBezTo>
                  <a:pt x="102" y="7"/>
                  <a:pt x="102" y="7"/>
                  <a:pt x="102" y="7"/>
                </a:cubicBezTo>
                <a:cubicBezTo>
                  <a:pt x="102" y="7"/>
                  <a:pt x="102" y="7"/>
                  <a:pt x="102" y="6"/>
                </a:cubicBezTo>
                <a:cubicBezTo>
                  <a:pt x="102" y="7"/>
                  <a:pt x="103" y="7"/>
                  <a:pt x="103" y="6"/>
                </a:cubicBezTo>
                <a:cubicBezTo>
                  <a:pt x="102" y="6"/>
                  <a:pt x="102" y="6"/>
                  <a:pt x="103" y="6"/>
                </a:cubicBezTo>
                <a:cubicBezTo>
                  <a:pt x="103" y="6"/>
                  <a:pt x="102" y="6"/>
                  <a:pt x="102" y="6"/>
                </a:cubicBezTo>
                <a:cubicBezTo>
                  <a:pt x="102" y="6"/>
                  <a:pt x="103" y="6"/>
                  <a:pt x="103" y="5"/>
                </a:cubicBezTo>
                <a:cubicBezTo>
                  <a:pt x="103" y="5"/>
                  <a:pt x="103" y="5"/>
                  <a:pt x="103" y="5"/>
                </a:cubicBezTo>
                <a:cubicBezTo>
                  <a:pt x="103" y="5"/>
                  <a:pt x="103" y="5"/>
                  <a:pt x="103" y="5"/>
                </a:cubicBezTo>
                <a:cubicBezTo>
                  <a:pt x="103" y="5"/>
                  <a:pt x="103" y="5"/>
                  <a:pt x="102" y="5"/>
                </a:cubicBezTo>
                <a:cubicBezTo>
                  <a:pt x="102" y="5"/>
                  <a:pt x="102" y="5"/>
                  <a:pt x="102" y="5"/>
                </a:cubicBezTo>
                <a:cubicBezTo>
                  <a:pt x="102" y="5"/>
                  <a:pt x="102" y="5"/>
                  <a:pt x="102" y="5"/>
                </a:cubicBezTo>
                <a:cubicBezTo>
                  <a:pt x="102" y="5"/>
                  <a:pt x="102" y="5"/>
                  <a:pt x="102" y="5"/>
                </a:cubicBezTo>
                <a:cubicBezTo>
                  <a:pt x="102" y="5"/>
                  <a:pt x="103" y="5"/>
                  <a:pt x="102" y="4"/>
                </a:cubicBezTo>
                <a:cubicBezTo>
                  <a:pt x="102" y="4"/>
                  <a:pt x="101" y="5"/>
                  <a:pt x="101" y="4"/>
                </a:cubicBezTo>
                <a:cubicBezTo>
                  <a:pt x="101" y="5"/>
                  <a:pt x="101" y="5"/>
                  <a:pt x="102" y="5"/>
                </a:cubicBezTo>
                <a:cubicBezTo>
                  <a:pt x="101" y="5"/>
                  <a:pt x="101" y="5"/>
                  <a:pt x="101" y="5"/>
                </a:cubicBezTo>
                <a:cubicBezTo>
                  <a:pt x="101" y="5"/>
                  <a:pt x="101" y="5"/>
                  <a:pt x="101" y="4"/>
                </a:cubicBezTo>
                <a:cubicBezTo>
                  <a:pt x="101" y="4"/>
                  <a:pt x="101" y="4"/>
                  <a:pt x="101" y="4"/>
                </a:cubicBezTo>
                <a:cubicBezTo>
                  <a:pt x="101" y="4"/>
                  <a:pt x="101" y="3"/>
                  <a:pt x="101" y="3"/>
                </a:cubicBezTo>
                <a:cubicBezTo>
                  <a:pt x="101" y="3"/>
                  <a:pt x="101" y="3"/>
                  <a:pt x="101" y="3"/>
                </a:cubicBezTo>
                <a:cubicBezTo>
                  <a:pt x="101" y="3"/>
                  <a:pt x="100" y="3"/>
                  <a:pt x="100" y="4"/>
                </a:cubicBezTo>
                <a:cubicBezTo>
                  <a:pt x="100" y="4"/>
                  <a:pt x="100" y="4"/>
                  <a:pt x="101" y="4"/>
                </a:cubicBezTo>
                <a:cubicBezTo>
                  <a:pt x="100" y="4"/>
                  <a:pt x="100" y="4"/>
                  <a:pt x="99" y="4"/>
                </a:cubicBezTo>
                <a:cubicBezTo>
                  <a:pt x="100" y="4"/>
                  <a:pt x="99" y="4"/>
                  <a:pt x="99" y="4"/>
                </a:cubicBezTo>
                <a:cubicBezTo>
                  <a:pt x="99" y="5"/>
                  <a:pt x="100" y="4"/>
                  <a:pt x="100" y="4"/>
                </a:cubicBezTo>
                <a:cubicBezTo>
                  <a:pt x="100" y="5"/>
                  <a:pt x="100" y="4"/>
                  <a:pt x="100" y="4"/>
                </a:cubicBezTo>
                <a:cubicBezTo>
                  <a:pt x="100" y="5"/>
                  <a:pt x="100" y="5"/>
                  <a:pt x="101" y="5"/>
                </a:cubicBezTo>
                <a:cubicBezTo>
                  <a:pt x="100" y="5"/>
                  <a:pt x="101" y="5"/>
                  <a:pt x="101" y="6"/>
                </a:cubicBezTo>
                <a:cubicBezTo>
                  <a:pt x="101" y="5"/>
                  <a:pt x="101" y="6"/>
                  <a:pt x="101" y="6"/>
                </a:cubicBezTo>
                <a:cubicBezTo>
                  <a:pt x="100" y="6"/>
                  <a:pt x="100" y="6"/>
                  <a:pt x="100" y="6"/>
                </a:cubicBezTo>
                <a:cubicBezTo>
                  <a:pt x="100" y="6"/>
                  <a:pt x="99" y="6"/>
                  <a:pt x="99" y="6"/>
                </a:cubicBezTo>
                <a:cubicBezTo>
                  <a:pt x="99" y="6"/>
                  <a:pt x="98" y="6"/>
                  <a:pt x="98" y="6"/>
                </a:cubicBezTo>
                <a:cubicBezTo>
                  <a:pt x="98" y="7"/>
                  <a:pt x="99" y="8"/>
                  <a:pt x="100" y="7"/>
                </a:cubicBezTo>
                <a:close/>
                <a:moveTo>
                  <a:pt x="95" y="105"/>
                </a:moveTo>
                <a:cubicBezTo>
                  <a:pt x="94" y="105"/>
                  <a:pt x="94" y="105"/>
                  <a:pt x="94" y="105"/>
                </a:cubicBezTo>
                <a:cubicBezTo>
                  <a:pt x="93" y="105"/>
                  <a:pt x="93" y="105"/>
                  <a:pt x="93" y="105"/>
                </a:cubicBezTo>
                <a:cubicBezTo>
                  <a:pt x="93" y="105"/>
                  <a:pt x="92" y="105"/>
                  <a:pt x="92" y="106"/>
                </a:cubicBezTo>
                <a:cubicBezTo>
                  <a:pt x="92" y="106"/>
                  <a:pt x="93" y="107"/>
                  <a:pt x="94" y="107"/>
                </a:cubicBezTo>
                <a:cubicBezTo>
                  <a:pt x="95" y="107"/>
                  <a:pt x="95" y="106"/>
                  <a:pt x="95" y="106"/>
                </a:cubicBezTo>
                <a:cubicBezTo>
                  <a:pt x="96" y="105"/>
                  <a:pt x="95" y="105"/>
                  <a:pt x="95" y="105"/>
                </a:cubicBezTo>
                <a:close/>
                <a:moveTo>
                  <a:pt x="120" y="88"/>
                </a:moveTo>
                <a:cubicBezTo>
                  <a:pt x="119" y="89"/>
                  <a:pt x="119" y="89"/>
                  <a:pt x="119" y="90"/>
                </a:cubicBezTo>
                <a:cubicBezTo>
                  <a:pt x="119" y="91"/>
                  <a:pt x="118" y="91"/>
                  <a:pt x="118" y="91"/>
                </a:cubicBezTo>
                <a:cubicBezTo>
                  <a:pt x="117" y="92"/>
                  <a:pt x="117" y="92"/>
                  <a:pt x="117" y="92"/>
                </a:cubicBezTo>
                <a:cubicBezTo>
                  <a:pt x="116" y="92"/>
                  <a:pt x="116" y="92"/>
                  <a:pt x="116" y="92"/>
                </a:cubicBezTo>
                <a:cubicBezTo>
                  <a:pt x="116" y="92"/>
                  <a:pt x="115" y="92"/>
                  <a:pt x="115" y="92"/>
                </a:cubicBezTo>
                <a:cubicBezTo>
                  <a:pt x="115" y="92"/>
                  <a:pt x="116" y="92"/>
                  <a:pt x="116" y="92"/>
                </a:cubicBezTo>
                <a:cubicBezTo>
                  <a:pt x="116" y="92"/>
                  <a:pt x="115" y="92"/>
                  <a:pt x="114" y="92"/>
                </a:cubicBezTo>
                <a:cubicBezTo>
                  <a:pt x="115" y="93"/>
                  <a:pt x="116" y="92"/>
                  <a:pt x="116" y="92"/>
                </a:cubicBezTo>
                <a:cubicBezTo>
                  <a:pt x="116" y="93"/>
                  <a:pt x="115" y="93"/>
                  <a:pt x="115" y="93"/>
                </a:cubicBezTo>
                <a:cubicBezTo>
                  <a:pt x="116" y="93"/>
                  <a:pt x="116" y="93"/>
                  <a:pt x="116" y="93"/>
                </a:cubicBezTo>
                <a:cubicBezTo>
                  <a:pt x="116" y="93"/>
                  <a:pt x="115" y="94"/>
                  <a:pt x="115" y="94"/>
                </a:cubicBezTo>
                <a:cubicBezTo>
                  <a:pt x="114" y="94"/>
                  <a:pt x="114" y="94"/>
                  <a:pt x="113" y="93"/>
                </a:cubicBezTo>
                <a:cubicBezTo>
                  <a:pt x="113" y="94"/>
                  <a:pt x="113" y="94"/>
                  <a:pt x="113" y="94"/>
                </a:cubicBezTo>
                <a:cubicBezTo>
                  <a:pt x="112" y="95"/>
                  <a:pt x="112" y="94"/>
                  <a:pt x="111" y="95"/>
                </a:cubicBezTo>
                <a:cubicBezTo>
                  <a:pt x="112" y="95"/>
                  <a:pt x="112" y="95"/>
                  <a:pt x="113" y="95"/>
                </a:cubicBezTo>
                <a:cubicBezTo>
                  <a:pt x="113" y="95"/>
                  <a:pt x="113" y="95"/>
                  <a:pt x="113" y="96"/>
                </a:cubicBezTo>
                <a:cubicBezTo>
                  <a:pt x="113" y="96"/>
                  <a:pt x="112" y="97"/>
                  <a:pt x="111" y="97"/>
                </a:cubicBezTo>
                <a:cubicBezTo>
                  <a:pt x="111" y="97"/>
                  <a:pt x="110" y="97"/>
                  <a:pt x="110" y="97"/>
                </a:cubicBezTo>
                <a:cubicBezTo>
                  <a:pt x="109" y="97"/>
                  <a:pt x="109" y="97"/>
                  <a:pt x="108" y="98"/>
                </a:cubicBezTo>
                <a:cubicBezTo>
                  <a:pt x="109" y="98"/>
                  <a:pt x="110" y="97"/>
                  <a:pt x="111" y="97"/>
                </a:cubicBezTo>
                <a:cubicBezTo>
                  <a:pt x="112" y="97"/>
                  <a:pt x="110" y="98"/>
                  <a:pt x="110" y="98"/>
                </a:cubicBezTo>
                <a:cubicBezTo>
                  <a:pt x="110" y="98"/>
                  <a:pt x="110" y="98"/>
                  <a:pt x="110" y="98"/>
                </a:cubicBezTo>
                <a:cubicBezTo>
                  <a:pt x="111" y="98"/>
                  <a:pt x="111" y="98"/>
                  <a:pt x="111" y="98"/>
                </a:cubicBezTo>
                <a:cubicBezTo>
                  <a:pt x="111" y="98"/>
                  <a:pt x="112" y="99"/>
                  <a:pt x="112" y="99"/>
                </a:cubicBezTo>
                <a:cubicBezTo>
                  <a:pt x="113" y="99"/>
                  <a:pt x="114" y="98"/>
                  <a:pt x="115" y="98"/>
                </a:cubicBezTo>
                <a:cubicBezTo>
                  <a:pt x="116" y="98"/>
                  <a:pt x="116" y="98"/>
                  <a:pt x="117" y="98"/>
                </a:cubicBezTo>
                <a:cubicBezTo>
                  <a:pt x="118" y="98"/>
                  <a:pt x="117" y="99"/>
                  <a:pt x="117" y="99"/>
                </a:cubicBezTo>
                <a:cubicBezTo>
                  <a:pt x="116" y="99"/>
                  <a:pt x="117" y="100"/>
                  <a:pt x="117" y="101"/>
                </a:cubicBezTo>
                <a:cubicBezTo>
                  <a:pt x="116" y="101"/>
                  <a:pt x="115" y="101"/>
                  <a:pt x="115" y="101"/>
                </a:cubicBezTo>
                <a:cubicBezTo>
                  <a:pt x="114" y="102"/>
                  <a:pt x="113" y="102"/>
                  <a:pt x="113" y="103"/>
                </a:cubicBezTo>
                <a:cubicBezTo>
                  <a:pt x="113" y="104"/>
                  <a:pt x="112" y="103"/>
                  <a:pt x="111" y="103"/>
                </a:cubicBezTo>
                <a:cubicBezTo>
                  <a:pt x="111" y="103"/>
                  <a:pt x="110" y="104"/>
                  <a:pt x="109" y="104"/>
                </a:cubicBezTo>
                <a:cubicBezTo>
                  <a:pt x="108" y="104"/>
                  <a:pt x="108" y="104"/>
                  <a:pt x="107" y="105"/>
                </a:cubicBezTo>
                <a:cubicBezTo>
                  <a:pt x="106" y="105"/>
                  <a:pt x="105" y="105"/>
                  <a:pt x="105" y="105"/>
                </a:cubicBezTo>
                <a:cubicBezTo>
                  <a:pt x="104" y="104"/>
                  <a:pt x="103" y="104"/>
                  <a:pt x="102" y="104"/>
                </a:cubicBezTo>
                <a:cubicBezTo>
                  <a:pt x="101" y="104"/>
                  <a:pt x="100" y="104"/>
                  <a:pt x="99" y="105"/>
                </a:cubicBezTo>
                <a:cubicBezTo>
                  <a:pt x="99" y="105"/>
                  <a:pt x="99" y="105"/>
                  <a:pt x="98" y="105"/>
                </a:cubicBezTo>
                <a:cubicBezTo>
                  <a:pt x="98" y="105"/>
                  <a:pt x="98" y="105"/>
                  <a:pt x="98" y="105"/>
                </a:cubicBezTo>
                <a:cubicBezTo>
                  <a:pt x="98" y="105"/>
                  <a:pt x="97" y="105"/>
                  <a:pt x="97" y="105"/>
                </a:cubicBezTo>
                <a:cubicBezTo>
                  <a:pt x="97" y="104"/>
                  <a:pt x="97" y="105"/>
                  <a:pt x="97" y="104"/>
                </a:cubicBezTo>
                <a:cubicBezTo>
                  <a:pt x="97" y="104"/>
                  <a:pt x="97" y="104"/>
                  <a:pt x="97" y="104"/>
                </a:cubicBezTo>
                <a:cubicBezTo>
                  <a:pt x="97" y="103"/>
                  <a:pt x="96" y="105"/>
                  <a:pt x="95" y="105"/>
                </a:cubicBezTo>
                <a:cubicBezTo>
                  <a:pt x="95" y="104"/>
                  <a:pt x="96" y="104"/>
                  <a:pt x="96" y="104"/>
                </a:cubicBezTo>
                <a:cubicBezTo>
                  <a:pt x="96" y="104"/>
                  <a:pt x="95" y="104"/>
                  <a:pt x="95" y="104"/>
                </a:cubicBezTo>
                <a:cubicBezTo>
                  <a:pt x="96" y="104"/>
                  <a:pt x="95" y="105"/>
                  <a:pt x="95" y="104"/>
                </a:cubicBezTo>
                <a:cubicBezTo>
                  <a:pt x="94" y="104"/>
                  <a:pt x="93" y="103"/>
                  <a:pt x="93" y="103"/>
                </a:cubicBezTo>
                <a:cubicBezTo>
                  <a:pt x="93" y="103"/>
                  <a:pt x="94" y="104"/>
                  <a:pt x="94" y="104"/>
                </a:cubicBezTo>
                <a:cubicBezTo>
                  <a:pt x="93" y="105"/>
                  <a:pt x="92" y="105"/>
                  <a:pt x="92" y="105"/>
                </a:cubicBezTo>
                <a:cubicBezTo>
                  <a:pt x="92" y="105"/>
                  <a:pt x="90" y="105"/>
                  <a:pt x="89" y="105"/>
                </a:cubicBezTo>
                <a:cubicBezTo>
                  <a:pt x="89" y="105"/>
                  <a:pt x="89" y="106"/>
                  <a:pt x="88" y="105"/>
                </a:cubicBezTo>
                <a:cubicBezTo>
                  <a:pt x="88" y="105"/>
                  <a:pt x="87" y="105"/>
                  <a:pt x="87" y="106"/>
                </a:cubicBezTo>
                <a:cubicBezTo>
                  <a:pt x="88" y="105"/>
                  <a:pt x="89" y="106"/>
                  <a:pt x="88" y="106"/>
                </a:cubicBezTo>
                <a:cubicBezTo>
                  <a:pt x="88" y="107"/>
                  <a:pt x="87" y="107"/>
                  <a:pt x="87" y="106"/>
                </a:cubicBezTo>
                <a:cubicBezTo>
                  <a:pt x="86" y="106"/>
                  <a:pt x="85" y="106"/>
                  <a:pt x="84" y="106"/>
                </a:cubicBezTo>
                <a:cubicBezTo>
                  <a:pt x="84" y="106"/>
                  <a:pt x="85" y="107"/>
                  <a:pt x="84" y="107"/>
                </a:cubicBezTo>
                <a:cubicBezTo>
                  <a:pt x="84" y="107"/>
                  <a:pt x="84" y="106"/>
                  <a:pt x="83" y="106"/>
                </a:cubicBezTo>
                <a:cubicBezTo>
                  <a:pt x="82" y="106"/>
                  <a:pt x="81" y="105"/>
                  <a:pt x="81" y="105"/>
                </a:cubicBezTo>
                <a:cubicBezTo>
                  <a:pt x="80" y="105"/>
                  <a:pt x="79" y="106"/>
                  <a:pt x="78" y="106"/>
                </a:cubicBezTo>
                <a:cubicBezTo>
                  <a:pt x="77" y="106"/>
                  <a:pt x="77" y="106"/>
                  <a:pt x="77" y="106"/>
                </a:cubicBezTo>
                <a:cubicBezTo>
                  <a:pt x="76" y="107"/>
                  <a:pt x="76" y="106"/>
                  <a:pt x="76" y="106"/>
                </a:cubicBezTo>
                <a:cubicBezTo>
                  <a:pt x="76" y="106"/>
                  <a:pt x="75" y="107"/>
                  <a:pt x="75" y="107"/>
                </a:cubicBezTo>
                <a:cubicBezTo>
                  <a:pt x="75" y="108"/>
                  <a:pt x="75" y="108"/>
                  <a:pt x="75" y="108"/>
                </a:cubicBezTo>
                <a:cubicBezTo>
                  <a:pt x="75" y="108"/>
                  <a:pt x="75" y="108"/>
                  <a:pt x="75" y="108"/>
                </a:cubicBezTo>
                <a:cubicBezTo>
                  <a:pt x="74" y="109"/>
                  <a:pt x="75" y="109"/>
                  <a:pt x="75" y="109"/>
                </a:cubicBezTo>
                <a:cubicBezTo>
                  <a:pt x="75" y="109"/>
                  <a:pt x="74" y="109"/>
                  <a:pt x="74" y="110"/>
                </a:cubicBezTo>
                <a:cubicBezTo>
                  <a:pt x="73" y="110"/>
                  <a:pt x="73" y="111"/>
                  <a:pt x="73" y="111"/>
                </a:cubicBezTo>
                <a:cubicBezTo>
                  <a:pt x="72" y="110"/>
                  <a:pt x="72" y="110"/>
                  <a:pt x="71" y="110"/>
                </a:cubicBezTo>
                <a:cubicBezTo>
                  <a:pt x="71" y="110"/>
                  <a:pt x="69" y="110"/>
                  <a:pt x="70" y="109"/>
                </a:cubicBezTo>
                <a:cubicBezTo>
                  <a:pt x="69" y="109"/>
                  <a:pt x="69" y="108"/>
                  <a:pt x="70" y="108"/>
                </a:cubicBezTo>
                <a:cubicBezTo>
                  <a:pt x="69" y="108"/>
                  <a:pt x="69" y="108"/>
                  <a:pt x="69" y="108"/>
                </a:cubicBezTo>
                <a:cubicBezTo>
                  <a:pt x="69" y="109"/>
                  <a:pt x="69" y="109"/>
                  <a:pt x="69" y="109"/>
                </a:cubicBezTo>
                <a:cubicBezTo>
                  <a:pt x="69" y="109"/>
                  <a:pt x="69" y="109"/>
                  <a:pt x="69" y="109"/>
                </a:cubicBezTo>
                <a:cubicBezTo>
                  <a:pt x="69" y="109"/>
                  <a:pt x="69" y="109"/>
                  <a:pt x="69" y="109"/>
                </a:cubicBezTo>
                <a:cubicBezTo>
                  <a:pt x="69" y="109"/>
                  <a:pt x="69" y="110"/>
                  <a:pt x="69" y="109"/>
                </a:cubicBezTo>
                <a:cubicBezTo>
                  <a:pt x="69" y="109"/>
                  <a:pt x="68" y="109"/>
                  <a:pt x="68" y="109"/>
                </a:cubicBezTo>
                <a:cubicBezTo>
                  <a:pt x="67" y="109"/>
                  <a:pt x="67" y="109"/>
                  <a:pt x="66" y="109"/>
                </a:cubicBezTo>
                <a:cubicBezTo>
                  <a:pt x="66" y="109"/>
                  <a:pt x="65" y="109"/>
                  <a:pt x="65" y="109"/>
                </a:cubicBezTo>
                <a:cubicBezTo>
                  <a:pt x="64" y="109"/>
                  <a:pt x="64" y="110"/>
                  <a:pt x="64" y="110"/>
                </a:cubicBezTo>
                <a:cubicBezTo>
                  <a:pt x="64" y="110"/>
                  <a:pt x="64" y="110"/>
                  <a:pt x="63" y="111"/>
                </a:cubicBezTo>
                <a:cubicBezTo>
                  <a:pt x="63" y="111"/>
                  <a:pt x="63" y="111"/>
                  <a:pt x="62" y="111"/>
                </a:cubicBezTo>
                <a:cubicBezTo>
                  <a:pt x="62" y="111"/>
                  <a:pt x="62" y="111"/>
                  <a:pt x="62" y="111"/>
                </a:cubicBezTo>
                <a:cubicBezTo>
                  <a:pt x="62" y="111"/>
                  <a:pt x="61" y="112"/>
                  <a:pt x="61" y="112"/>
                </a:cubicBezTo>
                <a:cubicBezTo>
                  <a:pt x="62" y="112"/>
                  <a:pt x="61" y="113"/>
                  <a:pt x="61" y="113"/>
                </a:cubicBezTo>
                <a:cubicBezTo>
                  <a:pt x="61" y="113"/>
                  <a:pt x="61" y="113"/>
                  <a:pt x="60" y="113"/>
                </a:cubicBezTo>
                <a:cubicBezTo>
                  <a:pt x="60" y="113"/>
                  <a:pt x="60" y="113"/>
                  <a:pt x="60" y="112"/>
                </a:cubicBezTo>
                <a:cubicBezTo>
                  <a:pt x="60" y="112"/>
                  <a:pt x="58" y="111"/>
                  <a:pt x="58" y="112"/>
                </a:cubicBezTo>
                <a:cubicBezTo>
                  <a:pt x="57" y="112"/>
                  <a:pt x="56" y="113"/>
                  <a:pt x="56" y="112"/>
                </a:cubicBezTo>
                <a:cubicBezTo>
                  <a:pt x="56" y="112"/>
                  <a:pt x="57" y="111"/>
                  <a:pt x="57" y="111"/>
                </a:cubicBezTo>
                <a:cubicBezTo>
                  <a:pt x="58" y="111"/>
                  <a:pt x="58" y="111"/>
                  <a:pt x="58" y="111"/>
                </a:cubicBezTo>
                <a:cubicBezTo>
                  <a:pt x="58" y="111"/>
                  <a:pt x="58" y="111"/>
                  <a:pt x="59" y="111"/>
                </a:cubicBezTo>
                <a:cubicBezTo>
                  <a:pt x="59" y="110"/>
                  <a:pt x="60" y="110"/>
                  <a:pt x="61" y="109"/>
                </a:cubicBezTo>
                <a:cubicBezTo>
                  <a:pt x="61" y="109"/>
                  <a:pt x="61" y="109"/>
                  <a:pt x="61" y="109"/>
                </a:cubicBezTo>
                <a:cubicBezTo>
                  <a:pt x="61" y="108"/>
                  <a:pt x="62" y="108"/>
                  <a:pt x="62" y="108"/>
                </a:cubicBezTo>
                <a:cubicBezTo>
                  <a:pt x="63" y="107"/>
                  <a:pt x="63" y="107"/>
                  <a:pt x="64" y="107"/>
                </a:cubicBezTo>
                <a:cubicBezTo>
                  <a:pt x="63" y="107"/>
                  <a:pt x="63" y="107"/>
                  <a:pt x="63" y="107"/>
                </a:cubicBezTo>
                <a:cubicBezTo>
                  <a:pt x="64" y="107"/>
                  <a:pt x="64" y="106"/>
                  <a:pt x="65" y="106"/>
                </a:cubicBezTo>
                <a:cubicBezTo>
                  <a:pt x="65" y="105"/>
                  <a:pt x="67" y="105"/>
                  <a:pt x="67" y="104"/>
                </a:cubicBezTo>
                <a:cubicBezTo>
                  <a:pt x="67" y="103"/>
                  <a:pt x="67" y="102"/>
                  <a:pt x="67" y="102"/>
                </a:cubicBezTo>
                <a:cubicBezTo>
                  <a:pt x="68" y="102"/>
                  <a:pt x="68" y="102"/>
                  <a:pt x="69" y="102"/>
                </a:cubicBezTo>
                <a:cubicBezTo>
                  <a:pt x="69" y="102"/>
                  <a:pt x="70" y="102"/>
                  <a:pt x="70" y="101"/>
                </a:cubicBezTo>
                <a:cubicBezTo>
                  <a:pt x="70" y="101"/>
                  <a:pt x="69" y="101"/>
                  <a:pt x="69" y="101"/>
                </a:cubicBezTo>
                <a:cubicBezTo>
                  <a:pt x="70" y="101"/>
                  <a:pt x="70" y="101"/>
                  <a:pt x="70" y="100"/>
                </a:cubicBezTo>
                <a:cubicBezTo>
                  <a:pt x="70" y="100"/>
                  <a:pt x="72" y="100"/>
                  <a:pt x="73" y="100"/>
                </a:cubicBezTo>
                <a:cubicBezTo>
                  <a:pt x="74" y="100"/>
                  <a:pt x="75" y="100"/>
                  <a:pt x="76" y="100"/>
                </a:cubicBezTo>
                <a:cubicBezTo>
                  <a:pt x="77" y="101"/>
                  <a:pt x="79" y="100"/>
                  <a:pt x="80" y="100"/>
                </a:cubicBezTo>
                <a:cubicBezTo>
                  <a:pt x="80" y="100"/>
                  <a:pt x="80" y="100"/>
                  <a:pt x="80" y="100"/>
                </a:cubicBezTo>
                <a:cubicBezTo>
                  <a:pt x="80" y="100"/>
                  <a:pt x="80" y="100"/>
                  <a:pt x="80" y="100"/>
                </a:cubicBezTo>
                <a:cubicBezTo>
                  <a:pt x="80" y="99"/>
                  <a:pt x="80" y="99"/>
                  <a:pt x="80" y="99"/>
                </a:cubicBezTo>
                <a:cubicBezTo>
                  <a:pt x="81" y="98"/>
                  <a:pt x="81" y="98"/>
                  <a:pt x="82" y="97"/>
                </a:cubicBezTo>
                <a:cubicBezTo>
                  <a:pt x="83" y="97"/>
                  <a:pt x="83" y="96"/>
                  <a:pt x="84" y="96"/>
                </a:cubicBezTo>
                <a:cubicBezTo>
                  <a:pt x="84" y="96"/>
                  <a:pt x="85" y="94"/>
                  <a:pt x="86" y="94"/>
                </a:cubicBezTo>
                <a:cubicBezTo>
                  <a:pt x="85" y="94"/>
                  <a:pt x="85" y="94"/>
                  <a:pt x="85" y="94"/>
                </a:cubicBezTo>
                <a:cubicBezTo>
                  <a:pt x="84" y="94"/>
                  <a:pt x="83" y="96"/>
                  <a:pt x="82" y="96"/>
                </a:cubicBezTo>
                <a:cubicBezTo>
                  <a:pt x="81" y="97"/>
                  <a:pt x="80" y="96"/>
                  <a:pt x="80" y="97"/>
                </a:cubicBezTo>
                <a:cubicBezTo>
                  <a:pt x="79" y="97"/>
                  <a:pt x="79" y="97"/>
                  <a:pt x="79" y="97"/>
                </a:cubicBezTo>
                <a:cubicBezTo>
                  <a:pt x="79" y="98"/>
                  <a:pt x="79" y="98"/>
                  <a:pt x="78" y="98"/>
                </a:cubicBezTo>
                <a:cubicBezTo>
                  <a:pt x="77" y="98"/>
                  <a:pt x="77" y="98"/>
                  <a:pt x="76" y="98"/>
                </a:cubicBezTo>
                <a:cubicBezTo>
                  <a:pt x="75" y="98"/>
                  <a:pt x="75" y="97"/>
                  <a:pt x="74" y="97"/>
                </a:cubicBezTo>
                <a:cubicBezTo>
                  <a:pt x="74" y="97"/>
                  <a:pt x="74" y="96"/>
                  <a:pt x="73" y="96"/>
                </a:cubicBezTo>
                <a:cubicBezTo>
                  <a:pt x="73" y="96"/>
                  <a:pt x="71" y="96"/>
                  <a:pt x="72" y="96"/>
                </a:cubicBezTo>
                <a:cubicBezTo>
                  <a:pt x="72" y="97"/>
                  <a:pt x="69" y="97"/>
                  <a:pt x="70" y="96"/>
                </a:cubicBezTo>
                <a:cubicBezTo>
                  <a:pt x="70" y="95"/>
                  <a:pt x="71" y="96"/>
                  <a:pt x="71" y="95"/>
                </a:cubicBezTo>
                <a:cubicBezTo>
                  <a:pt x="71" y="95"/>
                  <a:pt x="69" y="95"/>
                  <a:pt x="69" y="95"/>
                </a:cubicBezTo>
                <a:cubicBezTo>
                  <a:pt x="69" y="95"/>
                  <a:pt x="69" y="95"/>
                  <a:pt x="69" y="95"/>
                </a:cubicBezTo>
                <a:cubicBezTo>
                  <a:pt x="69" y="95"/>
                  <a:pt x="69" y="94"/>
                  <a:pt x="69" y="94"/>
                </a:cubicBezTo>
                <a:cubicBezTo>
                  <a:pt x="69" y="94"/>
                  <a:pt x="68" y="94"/>
                  <a:pt x="68" y="95"/>
                </a:cubicBezTo>
                <a:cubicBezTo>
                  <a:pt x="67" y="95"/>
                  <a:pt x="67" y="94"/>
                  <a:pt x="66" y="95"/>
                </a:cubicBezTo>
                <a:cubicBezTo>
                  <a:pt x="66" y="96"/>
                  <a:pt x="66" y="95"/>
                  <a:pt x="65" y="95"/>
                </a:cubicBezTo>
                <a:cubicBezTo>
                  <a:pt x="65" y="95"/>
                  <a:pt x="65" y="96"/>
                  <a:pt x="64" y="96"/>
                </a:cubicBezTo>
                <a:cubicBezTo>
                  <a:pt x="64" y="96"/>
                  <a:pt x="63" y="95"/>
                  <a:pt x="63" y="95"/>
                </a:cubicBezTo>
                <a:cubicBezTo>
                  <a:pt x="63" y="95"/>
                  <a:pt x="65" y="95"/>
                  <a:pt x="65" y="95"/>
                </a:cubicBezTo>
                <a:cubicBezTo>
                  <a:pt x="64" y="94"/>
                  <a:pt x="65" y="94"/>
                  <a:pt x="65" y="94"/>
                </a:cubicBezTo>
                <a:cubicBezTo>
                  <a:pt x="65" y="94"/>
                  <a:pt x="65" y="94"/>
                  <a:pt x="64" y="94"/>
                </a:cubicBezTo>
                <a:cubicBezTo>
                  <a:pt x="65" y="95"/>
                  <a:pt x="64" y="95"/>
                  <a:pt x="64" y="95"/>
                </a:cubicBezTo>
                <a:cubicBezTo>
                  <a:pt x="63" y="95"/>
                  <a:pt x="63" y="95"/>
                  <a:pt x="63" y="95"/>
                </a:cubicBezTo>
                <a:cubicBezTo>
                  <a:pt x="63" y="95"/>
                  <a:pt x="62" y="95"/>
                  <a:pt x="62" y="95"/>
                </a:cubicBezTo>
                <a:cubicBezTo>
                  <a:pt x="62" y="95"/>
                  <a:pt x="62" y="95"/>
                  <a:pt x="62" y="95"/>
                </a:cubicBezTo>
                <a:cubicBezTo>
                  <a:pt x="62" y="95"/>
                  <a:pt x="63" y="94"/>
                  <a:pt x="63" y="94"/>
                </a:cubicBezTo>
                <a:cubicBezTo>
                  <a:pt x="63" y="93"/>
                  <a:pt x="62" y="93"/>
                  <a:pt x="61" y="93"/>
                </a:cubicBezTo>
                <a:cubicBezTo>
                  <a:pt x="61" y="93"/>
                  <a:pt x="62" y="93"/>
                  <a:pt x="62" y="92"/>
                </a:cubicBezTo>
                <a:cubicBezTo>
                  <a:pt x="63" y="92"/>
                  <a:pt x="63" y="92"/>
                  <a:pt x="63" y="92"/>
                </a:cubicBezTo>
                <a:cubicBezTo>
                  <a:pt x="63" y="92"/>
                  <a:pt x="63" y="91"/>
                  <a:pt x="64" y="91"/>
                </a:cubicBezTo>
                <a:cubicBezTo>
                  <a:pt x="64" y="92"/>
                  <a:pt x="64" y="92"/>
                  <a:pt x="64" y="92"/>
                </a:cubicBezTo>
                <a:cubicBezTo>
                  <a:pt x="65" y="92"/>
                  <a:pt x="65" y="92"/>
                  <a:pt x="65" y="91"/>
                </a:cubicBezTo>
                <a:cubicBezTo>
                  <a:pt x="66" y="91"/>
                  <a:pt x="66" y="90"/>
                  <a:pt x="67" y="91"/>
                </a:cubicBezTo>
                <a:cubicBezTo>
                  <a:pt x="67" y="90"/>
                  <a:pt x="68" y="90"/>
                  <a:pt x="68" y="90"/>
                </a:cubicBezTo>
                <a:cubicBezTo>
                  <a:pt x="69" y="90"/>
                  <a:pt x="69" y="90"/>
                  <a:pt x="70" y="89"/>
                </a:cubicBezTo>
                <a:cubicBezTo>
                  <a:pt x="71" y="89"/>
                  <a:pt x="71" y="88"/>
                  <a:pt x="72" y="87"/>
                </a:cubicBezTo>
                <a:cubicBezTo>
                  <a:pt x="72" y="87"/>
                  <a:pt x="72" y="87"/>
                  <a:pt x="72" y="86"/>
                </a:cubicBezTo>
                <a:cubicBezTo>
                  <a:pt x="72" y="86"/>
                  <a:pt x="73" y="86"/>
                  <a:pt x="73" y="86"/>
                </a:cubicBezTo>
                <a:cubicBezTo>
                  <a:pt x="73" y="86"/>
                  <a:pt x="72" y="86"/>
                  <a:pt x="72" y="85"/>
                </a:cubicBezTo>
                <a:cubicBezTo>
                  <a:pt x="72" y="85"/>
                  <a:pt x="73" y="85"/>
                  <a:pt x="73" y="84"/>
                </a:cubicBezTo>
                <a:cubicBezTo>
                  <a:pt x="72" y="84"/>
                  <a:pt x="72" y="84"/>
                  <a:pt x="72" y="83"/>
                </a:cubicBezTo>
                <a:cubicBezTo>
                  <a:pt x="72" y="83"/>
                  <a:pt x="72" y="83"/>
                  <a:pt x="72" y="83"/>
                </a:cubicBezTo>
                <a:cubicBezTo>
                  <a:pt x="72" y="82"/>
                  <a:pt x="72" y="82"/>
                  <a:pt x="72" y="82"/>
                </a:cubicBezTo>
                <a:cubicBezTo>
                  <a:pt x="72" y="82"/>
                  <a:pt x="71" y="82"/>
                  <a:pt x="70" y="82"/>
                </a:cubicBezTo>
                <a:cubicBezTo>
                  <a:pt x="69" y="83"/>
                  <a:pt x="69" y="84"/>
                  <a:pt x="68" y="83"/>
                </a:cubicBezTo>
                <a:cubicBezTo>
                  <a:pt x="68" y="83"/>
                  <a:pt x="67" y="84"/>
                  <a:pt x="67" y="83"/>
                </a:cubicBezTo>
                <a:cubicBezTo>
                  <a:pt x="67" y="83"/>
                  <a:pt x="68" y="82"/>
                  <a:pt x="68" y="82"/>
                </a:cubicBezTo>
                <a:cubicBezTo>
                  <a:pt x="69" y="82"/>
                  <a:pt x="70" y="81"/>
                  <a:pt x="70" y="81"/>
                </a:cubicBezTo>
                <a:cubicBezTo>
                  <a:pt x="70" y="80"/>
                  <a:pt x="71" y="80"/>
                  <a:pt x="71" y="79"/>
                </a:cubicBezTo>
                <a:cubicBezTo>
                  <a:pt x="72" y="79"/>
                  <a:pt x="72" y="79"/>
                  <a:pt x="72" y="79"/>
                </a:cubicBezTo>
                <a:cubicBezTo>
                  <a:pt x="73" y="79"/>
                  <a:pt x="73" y="79"/>
                  <a:pt x="74" y="79"/>
                </a:cubicBezTo>
                <a:cubicBezTo>
                  <a:pt x="74" y="78"/>
                  <a:pt x="74" y="78"/>
                  <a:pt x="75" y="78"/>
                </a:cubicBezTo>
                <a:cubicBezTo>
                  <a:pt x="75" y="78"/>
                  <a:pt x="74" y="78"/>
                  <a:pt x="74" y="78"/>
                </a:cubicBezTo>
                <a:cubicBezTo>
                  <a:pt x="75" y="78"/>
                  <a:pt x="76" y="78"/>
                  <a:pt x="76" y="78"/>
                </a:cubicBezTo>
                <a:cubicBezTo>
                  <a:pt x="77" y="78"/>
                  <a:pt x="77" y="78"/>
                  <a:pt x="78" y="78"/>
                </a:cubicBezTo>
                <a:cubicBezTo>
                  <a:pt x="79" y="78"/>
                  <a:pt x="80" y="78"/>
                  <a:pt x="81" y="79"/>
                </a:cubicBezTo>
                <a:cubicBezTo>
                  <a:pt x="81" y="78"/>
                  <a:pt x="79" y="76"/>
                  <a:pt x="81" y="77"/>
                </a:cubicBezTo>
                <a:cubicBezTo>
                  <a:pt x="82" y="77"/>
                  <a:pt x="82" y="78"/>
                  <a:pt x="82" y="78"/>
                </a:cubicBezTo>
                <a:cubicBezTo>
                  <a:pt x="83" y="78"/>
                  <a:pt x="84" y="78"/>
                  <a:pt x="84" y="78"/>
                </a:cubicBezTo>
                <a:cubicBezTo>
                  <a:pt x="84" y="78"/>
                  <a:pt x="83" y="78"/>
                  <a:pt x="83" y="78"/>
                </a:cubicBezTo>
                <a:cubicBezTo>
                  <a:pt x="82" y="78"/>
                  <a:pt x="82" y="77"/>
                  <a:pt x="82" y="77"/>
                </a:cubicBezTo>
                <a:cubicBezTo>
                  <a:pt x="81" y="76"/>
                  <a:pt x="81" y="76"/>
                  <a:pt x="81" y="75"/>
                </a:cubicBezTo>
                <a:cubicBezTo>
                  <a:pt x="82" y="74"/>
                  <a:pt x="82" y="74"/>
                  <a:pt x="83" y="74"/>
                </a:cubicBezTo>
                <a:cubicBezTo>
                  <a:pt x="82" y="73"/>
                  <a:pt x="82" y="74"/>
                  <a:pt x="82" y="73"/>
                </a:cubicBezTo>
                <a:cubicBezTo>
                  <a:pt x="81" y="73"/>
                  <a:pt x="82" y="72"/>
                  <a:pt x="82" y="72"/>
                </a:cubicBezTo>
                <a:cubicBezTo>
                  <a:pt x="82" y="71"/>
                  <a:pt x="83" y="71"/>
                  <a:pt x="84" y="71"/>
                </a:cubicBezTo>
                <a:cubicBezTo>
                  <a:pt x="83" y="71"/>
                  <a:pt x="83" y="71"/>
                  <a:pt x="83" y="70"/>
                </a:cubicBezTo>
                <a:cubicBezTo>
                  <a:pt x="83" y="70"/>
                  <a:pt x="84" y="70"/>
                  <a:pt x="84" y="70"/>
                </a:cubicBezTo>
                <a:cubicBezTo>
                  <a:pt x="84" y="69"/>
                  <a:pt x="84" y="69"/>
                  <a:pt x="84" y="69"/>
                </a:cubicBezTo>
                <a:cubicBezTo>
                  <a:pt x="84" y="69"/>
                  <a:pt x="84" y="69"/>
                  <a:pt x="84" y="68"/>
                </a:cubicBezTo>
                <a:cubicBezTo>
                  <a:pt x="84" y="69"/>
                  <a:pt x="83" y="69"/>
                  <a:pt x="83" y="69"/>
                </a:cubicBezTo>
                <a:cubicBezTo>
                  <a:pt x="83" y="69"/>
                  <a:pt x="82" y="69"/>
                  <a:pt x="82" y="69"/>
                </a:cubicBezTo>
                <a:cubicBezTo>
                  <a:pt x="82" y="69"/>
                  <a:pt x="82" y="70"/>
                  <a:pt x="81" y="70"/>
                </a:cubicBezTo>
                <a:cubicBezTo>
                  <a:pt x="80" y="70"/>
                  <a:pt x="81" y="69"/>
                  <a:pt x="81" y="68"/>
                </a:cubicBezTo>
                <a:cubicBezTo>
                  <a:pt x="80" y="68"/>
                  <a:pt x="80" y="69"/>
                  <a:pt x="79" y="68"/>
                </a:cubicBezTo>
                <a:cubicBezTo>
                  <a:pt x="79" y="68"/>
                  <a:pt x="79" y="67"/>
                  <a:pt x="79" y="67"/>
                </a:cubicBezTo>
                <a:cubicBezTo>
                  <a:pt x="79" y="67"/>
                  <a:pt x="78" y="66"/>
                  <a:pt x="78" y="65"/>
                </a:cubicBezTo>
                <a:cubicBezTo>
                  <a:pt x="78" y="65"/>
                  <a:pt x="78" y="64"/>
                  <a:pt x="78" y="64"/>
                </a:cubicBezTo>
                <a:cubicBezTo>
                  <a:pt x="79" y="63"/>
                  <a:pt x="79" y="63"/>
                  <a:pt x="79" y="63"/>
                </a:cubicBezTo>
                <a:cubicBezTo>
                  <a:pt x="79" y="63"/>
                  <a:pt x="79" y="62"/>
                  <a:pt x="79" y="62"/>
                </a:cubicBezTo>
                <a:cubicBezTo>
                  <a:pt x="80" y="62"/>
                  <a:pt x="80" y="61"/>
                  <a:pt x="80" y="62"/>
                </a:cubicBezTo>
                <a:cubicBezTo>
                  <a:pt x="81" y="62"/>
                  <a:pt x="81" y="61"/>
                  <a:pt x="81" y="61"/>
                </a:cubicBezTo>
                <a:cubicBezTo>
                  <a:pt x="81" y="61"/>
                  <a:pt x="82" y="61"/>
                  <a:pt x="83" y="61"/>
                </a:cubicBezTo>
                <a:cubicBezTo>
                  <a:pt x="83" y="61"/>
                  <a:pt x="82" y="61"/>
                  <a:pt x="82" y="61"/>
                </a:cubicBezTo>
                <a:cubicBezTo>
                  <a:pt x="82" y="61"/>
                  <a:pt x="83" y="61"/>
                  <a:pt x="83" y="61"/>
                </a:cubicBezTo>
                <a:cubicBezTo>
                  <a:pt x="82" y="60"/>
                  <a:pt x="81" y="61"/>
                  <a:pt x="81" y="61"/>
                </a:cubicBezTo>
                <a:cubicBezTo>
                  <a:pt x="80" y="61"/>
                  <a:pt x="79" y="60"/>
                  <a:pt x="78" y="61"/>
                </a:cubicBezTo>
                <a:cubicBezTo>
                  <a:pt x="78" y="61"/>
                  <a:pt x="79" y="61"/>
                  <a:pt x="78" y="61"/>
                </a:cubicBezTo>
                <a:cubicBezTo>
                  <a:pt x="78" y="62"/>
                  <a:pt x="78" y="62"/>
                  <a:pt x="77" y="62"/>
                </a:cubicBezTo>
                <a:cubicBezTo>
                  <a:pt x="77" y="62"/>
                  <a:pt x="76" y="62"/>
                  <a:pt x="76" y="62"/>
                </a:cubicBezTo>
                <a:cubicBezTo>
                  <a:pt x="76" y="62"/>
                  <a:pt x="76" y="62"/>
                  <a:pt x="76" y="62"/>
                </a:cubicBezTo>
                <a:cubicBezTo>
                  <a:pt x="76" y="62"/>
                  <a:pt x="76" y="62"/>
                  <a:pt x="75" y="63"/>
                </a:cubicBezTo>
                <a:cubicBezTo>
                  <a:pt x="75" y="63"/>
                  <a:pt x="75" y="63"/>
                  <a:pt x="75" y="63"/>
                </a:cubicBezTo>
                <a:cubicBezTo>
                  <a:pt x="74" y="63"/>
                  <a:pt x="75" y="62"/>
                  <a:pt x="74" y="62"/>
                </a:cubicBezTo>
                <a:cubicBezTo>
                  <a:pt x="74" y="62"/>
                  <a:pt x="74" y="63"/>
                  <a:pt x="74" y="63"/>
                </a:cubicBezTo>
                <a:cubicBezTo>
                  <a:pt x="73" y="63"/>
                  <a:pt x="73" y="62"/>
                  <a:pt x="73" y="62"/>
                </a:cubicBezTo>
                <a:cubicBezTo>
                  <a:pt x="72" y="62"/>
                  <a:pt x="72" y="62"/>
                  <a:pt x="72" y="61"/>
                </a:cubicBezTo>
                <a:cubicBezTo>
                  <a:pt x="71" y="61"/>
                  <a:pt x="71" y="62"/>
                  <a:pt x="71" y="62"/>
                </a:cubicBezTo>
                <a:cubicBezTo>
                  <a:pt x="71" y="62"/>
                  <a:pt x="72" y="62"/>
                  <a:pt x="72" y="62"/>
                </a:cubicBezTo>
                <a:cubicBezTo>
                  <a:pt x="72" y="63"/>
                  <a:pt x="72" y="64"/>
                  <a:pt x="71" y="64"/>
                </a:cubicBezTo>
                <a:cubicBezTo>
                  <a:pt x="70" y="64"/>
                  <a:pt x="70" y="63"/>
                  <a:pt x="70" y="62"/>
                </a:cubicBezTo>
                <a:cubicBezTo>
                  <a:pt x="69" y="62"/>
                  <a:pt x="67" y="61"/>
                  <a:pt x="67" y="62"/>
                </a:cubicBezTo>
                <a:cubicBezTo>
                  <a:pt x="67" y="63"/>
                  <a:pt x="68" y="64"/>
                  <a:pt x="68" y="64"/>
                </a:cubicBezTo>
                <a:cubicBezTo>
                  <a:pt x="67" y="65"/>
                  <a:pt x="67" y="63"/>
                  <a:pt x="67" y="63"/>
                </a:cubicBezTo>
                <a:cubicBezTo>
                  <a:pt x="66" y="62"/>
                  <a:pt x="65" y="61"/>
                  <a:pt x="66" y="60"/>
                </a:cubicBezTo>
                <a:cubicBezTo>
                  <a:pt x="66" y="60"/>
                  <a:pt x="66" y="61"/>
                  <a:pt x="66" y="61"/>
                </a:cubicBezTo>
                <a:cubicBezTo>
                  <a:pt x="67" y="62"/>
                  <a:pt x="67" y="60"/>
                  <a:pt x="67" y="60"/>
                </a:cubicBezTo>
                <a:cubicBezTo>
                  <a:pt x="67" y="59"/>
                  <a:pt x="67" y="59"/>
                  <a:pt x="67" y="59"/>
                </a:cubicBezTo>
                <a:cubicBezTo>
                  <a:pt x="68" y="58"/>
                  <a:pt x="69" y="57"/>
                  <a:pt x="69" y="56"/>
                </a:cubicBezTo>
                <a:cubicBezTo>
                  <a:pt x="69" y="56"/>
                  <a:pt x="71" y="55"/>
                  <a:pt x="70" y="55"/>
                </a:cubicBezTo>
                <a:cubicBezTo>
                  <a:pt x="71" y="54"/>
                  <a:pt x="69" y="54"/>
                  <a:pt x="69" y="53"/>
                </a:cubicBezTo>
                <a:cubicBezTo>
                  <a:pt x="68" y="53"/>
                  <a:pt x="68" y="53"/>
                  <a:pt x="69" y="53"/>
                </a:cubicBezTo>
                <a:cubicBezTo>
                  <a:pt x="69" y="52"/>
                  <a:pt x="69" y="52"/>
                  <a:pt x="69" y="51"/>
                </a:cubicBezTo>
                <a:cubicBezTo>
                  <a:pt x="69" y="50"/>
                  <a:pt x="71" y="51"/>
                  <a:pt x="72" y="51"/>
                </a:cubicBezTo>
                <a:cubicBezTo>
                  <a:pt x="71" y="50"/>
                  <a:pt x="71" y="50"/>
                  <a:pt x="70" y="50"/>
                </a:cubicBezTo>
                <a:cubicBezTo>
                  <a:pt x="70" y="50"/>
                  <a:pt x="69" y="49"/>
                  <a:pt x="69" y="49"/>
                </a:cubicBezTo>
                <a:cubicBezTo>
                  <a:pt x="69" y="49"/>
                  <a:pt x="69" y="50"/>
                  <a:pt x="69" y="50"/>
                </a:cubicBezTo>
                <a:cubicBezTo>
                  <a:pt x="70" y="50"/>
                  <a:pt x="69" y="51"/>
                  <a:pt x="69" y="50"/>
                </a:cubicBezTo>
                <a:cubicBezTo>
                  <a:pt x="69" y="49"/>
                  <a:pt x="70" y="49"/>
                  <a:pt x="70" y="48"/>
                </a:cubicBezTo>
                <a:cubicBezTo>
                  <a:pt x="70" y="48"/>
                  <a:pt x="70" y="49"/>
                  <a:pt x="69" y="49"/>
                </a:cubicBezTo>
                <a:cubicBezTo>
                  <a:pt x="69" y="49"/>
                  <a:pt x="69" y="48"/>
                  <a:pt x="69" y="48"/>
                </a:cubicBezTo>
                <a:cubicBezTo>
                  <a:pt x="68" y="48"/>
                  <a:pt x="69" y="51"/>
                  <a:pt x="68" y="50"/>
                </a:cubicBezTo>
                <a:cubicBezTo>
                  <a:pt x="69" y="50"/>
                  <a:pt x="68" y="52"/>
                  <a:pt x="68" y="51"/>
                </a:cubicBezTo>
                <a:cubicBezTo>
                  <a:pt x="67" y="51"/>
                  <a:pt x="67" y="50"/>
                  <a:pt x="67" y="50"/>
                </a:cubicBezTo>
                <a:cubicBezTo>
                  <a:pt x="67" y="50"/>
                  <a:pt x="67" y="51"/>
                  <a:pt x="67" y="51"/>
                </a:cubicBezTo>
                <a:cubicBezTo>
                  <a:pt x="67" y="51"/>
                  <a:pt x="66" y="51"/>
                  <a:pt x="66" y="50"/>
                </a:cubicBezTo>
                <a:cubicBezTo>
                  <a:pt x="66" y="50"/>
                  <a:pt x="66" y="52"/>
                  <a:pt x="66" y="52"/>
                </a:cubicBezTo>
                <a:cubicBezTo>
                  <a:pt x="66" y="52"/>
                  <a:pt x="65" y="51"/>
                  <a:pt x="65" y="51"/>
                </a:cubicBezTo>
                <a:cubicBezTo>
                  <a:pt x="65" y="50"/>
                  <a:pt x="65" y="50"/>
                  <a:pt x="66" y="49"/>
                </a:cubicBezTo>
                <a:cubicBezTo>
                  <a:pt x="66" y="49"/>
                  <a:pt x="67" y="49"/>
                  <a:pt x="67" y="48"/>
                </a:cubicBezTo>
                <a:cubicBezTo>
                  <a:pt x="68" y="48"/>
                  <a:pt x="68" y="48"/>
                  <a:pt x="68" y="48"/>
                </a:cubicBezTo>
                <a:cubicBezTo>
                  <a:pt x="68" y="48"/>
                  <a:pt x="69" y="47"/>
                  <a:pt x="69" y="47"/>
                </a:cubicBezTo>
                <a:cubicBezTo>
                  <a:pt x="68" y="47"/>
                  <a:pt x="68" y="47"/>
                  <a:pt x="67" y="48"/>
                </a:cubicBezTo>
                <a:cubicBezTo>
                  <a:pt x="67" y="49"/>
                  <a:pt x="66" y="49"/>
                  <a:pt x="66" y="49"/>
                </a:cubicBezTo>
                <a:cubicBezTo>
                  <a:pt x="65" y="49"/>
                  <a:pt x="65" y="50"/>
                  <a:pt x="64" y="50"/>
                </a:cubicBezTo>
                <a:cubicBezTo>
                  <a:pt x="64" y="50"/>
                  <a:pt x="64" y="51"/>
                  <a:pt x="64" y="51"/>
                </a:cubicBezTo>
                <a:cubicBezTo>
                  <a:pt x="65" y="51"/>
                  <a:pt x="65" y="52"/>
                  <a:pt x="65" y="52"/>
                </a:cubicBezTo>
                <a:cubicBezTo>
                  <a:pt x="65" y="53"/>
                  <a:pt x="64" y="53"/>
                  <a:pt x="64" y="53"/>
                </a:cubicBezTo>
                <a:cubicBezTo>
                  <a:pt x="64" y="54"/>
                  <a:pt x="64" y="54"/>
                  <a:pt x="64" y="54"/>
                </a:cubicBezTo>
                <a:cubicBezTo>
                  <a:pt x="64" y="55"/>
                  <a:pt x="63" y="56"/>
                  <a:pt x="63" y="56"/>
                </a:cubicBezTo>
                <a:cubicBezTo>
                  <a:pt x="64" y="56"/>
                  <a:pt x="63" y="57"/>
                  <a:pt x="62" y="57"/>
                </a:cubicBezTo>
                <a:cubicBezTo>
                  <a:pt x="62" y="57"/>
                  <a:pt x="60" y="57"/>
                  <a:pt x="61" y="56"/>
                </a:cubicBezTo>
                <a:cubicBezTo>
                  <a:pt x="61" y="56"/>
                  <a:pt x="62" y="55"/>
                  <a:pt x="62" y="54"/>
                </a:cubicBezTo>
                <a:cubicBezTo>
                  <a:pt x="63" y="53"/>
                  <a:pt x="64" y="52"/>
                  <a:pt x="64" y="52"/>
                </a:cubicBezTo>
                <a:cubicBezTo>
                  <a:pt x="64" y="52"/>
                  <a:pt x="63" y="53"/>
                  <a:pt x="62" y="52"/>
                </a:cubicBezTo>
                <a:cubicBezTo>
                  <a:pt x="62" y="52"/>
                  <a:pt x="63" y="51"/>
                  <a:pt x="63" y="51"/>
                </a:cubicBezTo>
                <a:cubicBezTo>
                  <a:pt x="63" y="51"/>
                  <a:pt x="62" y="51"/>
                  <a:pt x="62" y="51"/>
                </a:cubicBezTo>
                <a:cubicBezTo>
                  <a:pt x="62" y="50"/>
                  <a:pt x="63" y="50"/>
                  <a:pt x="63" y="50"/>
                </a:cubicBezTo>
                <a:cubicBezTo>
                  <a:pt x="63" y="50"/>
                  <a:pt x="62" y="51"/>
                  <a:pt x="62" y="51"/>
                </a:cubicBezTo>
                <a:cubicBezTo>
                  <a:pt x="62" y="50"/>
                  <a:pt x="64" y="49"/>
                  <a:pt x="64" y="49"/>
                </a:cubicBezTo>
                <a:cubicBezTo>
                  <a:pt x="64" y="49"/>
                  <a:pt x="64" y="48"/>
                  <a:pt x="64" y="48"/>
                </a:cubicBezTo>
                <a:cubicBezTo>
                  <a:pt x="64" y="48"/>
                  <a:pt x="63" y="48"/>
                  <a:pt x="63" y="49"/>
                </a:cubicBezTo>
                <a:cubicBezTo>
                  <a:pt x="63" y="48"/>
                  <a:pt x="63" y="48"/>
                  <a:pt x="64" y="48"/>
                </a:cubicBezTo>
                <a:cubicBezTo>
                  <a:pt x="64" y="48"/>
                  <a:pt x="64" y="47"/>
                  <a:pt x="64" y="47"/>
                </a:cubicBezTo>
                <a:cubicBezTo>
                  <a:pt x="64" y="47"/>
                  <a:pt x="64" y="48"/>
                  <a:pt x="63" y="47"/>
                </a:cubicBezTo>
                <a:cubicBezTo>
                  <a:pt x="63" y="46"/>
                  <a:pt x="64" y="47"/>
                  <a:pt x="65" y="46"/>
                </a:cubicBezTo>
                <a:cubicBezTo>
                  <a:pt x="65" y="46"/>
                  <a:pt x="64" y="46"/>
                  <a:pt x="64" y="46"/>
                </a:cubicBezTo>
                <a:cubicBezTo>
                  <a:pt x="64" y="46"/>
                  <a:pt x="66" y="45"/>
                  <a:pt x="66" y="45"/>
                </a:cubicBezTo>
                <a:cubicBezTo>
                  <a:pt x="67" y="45"/>
                  <a:pt x="67" y="45"/>
                  <a:pt x="68" y="44"/>
                </a:cubicBezTo>
                <a:cubicBezTo>
                  <a:pt x="67" y="45"/>
                  <a:pt x="67" y="45"/>
                  <a:pt x="66" y="45"/>
                </a:cubicBezTo>
                <a:cubicBezTo>
                  <a:pt x="66" y="45"/>
                  <a:pt x="66" y="45"/>
                  <a:pt x="65" y="45"/>
                </a:cubicBezTo>
                <a:cubicBezTo>
                  <a:pt x="65" y="45"/>
                  <a:pt x="65" y="45"/>
                  <a:pt x="65" y="45"/>
                </a:cubicBezTo>
                <a:cubicBezTo>
                  <a:pt x="65" y="45"/>
                  <a:pt x="65" y="45"/>
                  <a:pt x="65" y="45"/>
                </a:cubicBezTo>
                <a:cubicBezTo>
                  <a:pt x="65" y="45"/>
                  <a:pt x="65" y="45"/>
                  <a:pt x="65" y="45"/>
                </a:cubicBezTo>
                <a:cubicBezTo>
                  <a:pt x="66" y="45"/>
                  <a:pt x="66" y="44"/>
                  <a:pt x="66" y="44"/>
                </a:cubicBezTo>
                <a:cubicBezTo>
                  <a:pt x="66" y="44"/>
                  <a:pt x="65" y="45"/>
                  <a:pt x="65" y="44"/>
                </a:cubicBezTo>
                <a:cubicBezTo>
                  <a:pt x="65" y="44"/>
                  <a:pt x="66" y="44"/>
                  <a:pt x="66" y="43"/>
                </a:cubicBezTo>
                <a:cubicBezTo>
                  <a:pt x="66" y="43"/>
                  <a:pt x="67" y="43"/>
                  <a:pt x="67" y="43"/>
                </a:cubicBezTo>
                <a:cubicBezTo>
                  <a:pt x="67" y="43"/>
                  <a:pt x="67" y="43"/>
                  <a:pt x="67" y="43"/>
                </a:cubicBezTo>
                <a:cubicBezTo>
                  <a:pt x="67" y="42"/>
                  <a:pt x="68" y="42"/>
                  <a:pt x="68" y="42"/>
                </a:cubicBezTo>
                <a:cubicBezTo>
                  <a:pt x="67" y="42"/>
                  <a:pt x="67" y="42"/>
                  <a:pt x="66" y="43"/>
                </a:cubicBezTo>
                <a:cubicBezTo>
                  <a:pt x="66" y="43"/>
                  <a:pt x="65" y="43"/>
                  <a:pt x="65" y="44"/>
                </a:cubicBezTo>
                <a:cubicBezTo>
                  <a:pt x="64" y="44"/>
                  <a:pt x="64" y="45"/>
                  <a:pt x="63" y="45"/>
                </a:cubicBezTo>
                <a:cubicBezTo>
                  <a:pt x="63" y="45"/>
                  <a:pt x="62" y="45"/>
                  <a:pt x="62" y="44"/>
                </a:cubicBezTo>
                <a:cubicBezTo>
                  <a:pt x="62" y="45"/>
                  <a:pt x="59" y="43"/>
                  <a:pt x="62" y="44"/>
                </a:cubicBezTo>
                <a:cubicBezTo>
                  <a:pt x="62" y="43"/>
                  <a:pt x="62" y="43"/>
                  <a:pt x="62" y="43"/>
                </a:cubicBezTo>
                <a:cubicBezTo>
                  <a:pt x="62" y="43"/>
                  <a:pt x="62" y="43"/>
                  <a:pt x="62" y="43"/>
                </a:cubicBezTo>
                <a:cubicBezTo>
                  <a:pt x="61" y="43"/>
                  <a:pt x="60" y="43"/>
                  <a:pt x="59" y="43"/>
                </a:cubicBezTo>
                <a:cubicBezTo>
                  <a:pt x="58" y="43"/>
                  <a:pt x="60" y="42"/>
                  <a:pt x="60" y="42"/>
                </a:cubicBezTo>
                <a:cubicBezTo>
                  <a:pt x="60" y="42"/>
                  <a:pt x="61" y="42"/>
                  <a:pt x="61" y="42"/>
                </a:cubicBezTo>
                <a:cubicBezTo>
                  <a:pt x="61" y="42"/>
                  <a:pt x="62" y="42"/>
                  <a:pt x="62" y="42"/>
                </a:cubicBezTo>
                <a:cubicBezTo>
                  <a:pt x="62" y="42"/>
                  <a:pt x="62" y="42"/>
                  <a:pt x="62" y="42"/>
                </a:cubicBezTo>
                <a:cubicBezTo>
                  <a:pt x="62" y="42"/>
                  <a:pt x="62" y="42"/>
                  <a:pt x="62" y="42"/>
                </a:cubicBezTo>
                <a:cubicBezTo>
                  <a:pt x="62" y="42"/>
                  <a:pt x="62" y="42"/>
                  <a:pt x="62" y="41"/>
                </a:cubicBezTo>
                <a:cubicBezTo>
                  <a:pt x="63" y="41"/>
                  <a:pt x="63" y="41"/>
                  <a:pt x="63" y="41"/>
                </a:cubicBezTo>
                <a:cubicBezTo>
                  <a:pt x="63" y="41"/>
                  <a:pt x="63" y="41"/>
                  <a:pt x="63" y="41"/>
                </a:cubicBezTo>
                <a:cubicBezTo>
                  <a:pt x="63" y="41"/>
                  <a:pt x="63" y="41"/>
                  <a:pt x="63" y="41"/>
                </a:cubicBezTo>
                <a:cubicBezTo>
                  <a:pt x="62" y="41"/>
                  <a:pt x="62" y="41"/>
                  <a:pt x="62" y="41"/>
                </a:cubicBezTo>
                <a:cubicBezTo>
                  <a:pt x="62" y="41"/>
                  <a:pt x="62" y="40"/>
                  <a:pt x="63" y="40"/>
                </a:cubicBezTo>
                <a:cubicBezTo>
                  <a:pt x="63" y="39"/>
                  <a:pt x="64" y="40"/>
                  <a:pt x="65" y="40"/>
                </a:cubicBezTo>
                <a:cubicBezTo>
                  <a:pt x="64" y="40"/>
                  <a:pt x="64" y="40"/>
                  <a:pt x="63" y="40"/>
                </a:cubicBezTo>
                <a:cubicBezTo>
                  <a:pt x="64" y="39"/>
                  <a:pt x="64" y="39"/>
                  <a:pt x="63" y="39"/>
                </a:cubicBezTo>
                <a:cubicBezTo>
                  <a:pt x="63" y="39"/>
                  <a:pt x="63" y="40"/>
                  <a:pt x="63" y="39"/>
                </a:cubicBezTo>
                <a:cubicBezTo>
                  <a:pt x="63" y="39"/>
                  <a:pt x="64" y="38"/>
                  <a:pt x="64" y="39"/>
                </a:cubicBezTo>
                <a:cubicBezTo>
                  <a:pt x="65" y="39"/>
                  <a:pt x="65" y="39"/>
                  <a:pt x="66" y="39"/>
                </a:cubicBezTo>
                <a:cubicBezTo>
                  <a:pt x="66" y="38"/>
                  <a:pt x="63" y="38"/>
                  <a:pt x="64" y="38"/>
                </a:cubicBezTo>
                <a:cubicBezTo>
                  <a:pt x="64" y="38"/>
                  <a:pt x="64" y="37"/>
                  <a:pt x="65" y="37"/>
                </a:cubicBezTo>
                <a:cubicBezTo>
                  <a:pt x="65" y="37"/>
                  <a:pt x="65" y="38"/>
                  <a:pt x="66" y="37"/>
                </a:cubicBezTo>
                <a:cubicBezTo>
                  <a:pt x="65" y="37"/>
                  <a:pt x="65" y="37"/>
                  <a:pt x="66" y="36"/>
                </a:cubicBezTo>
                <a:cubicBezTo>
                  <a:pt x="66" y="37"/>
                  <a:pt x="63" y="37"/>
                  <a:pt x="64" y="36"/>
                </a:cubicBezTo>
                <a:cubicBezTo>
                  <a:pt x="64" y="36"/>
                  <a:pt x="65" y="36"/>
                  <a:pt x="65" y="36"/>
                </a:cubicBezTo>
                <a:cubicBezTo>
                  <a:pt x="65" y="36"/>
                  <a:pt x="66" y="36"/>
                  <a:pt x="66" y="35"/>
                </a:cubicBezTo>
                <a:cubicBezTo>
                  <a:pt x="66" y="35"/>
                  <a:pt x="65" y="36"/>
                  <a:pt x="65" y="36"/>
                </a:cubicBezTo>
                <a:cubicBezTo>
                  <a:pt x="65" y="36"/>
                  <a:pt x="65" y="36"/>
                  <a:pt x="65" y="36"/>
                </a:cubicBezTo>
                <a:cubicBezTo>
                  <a:pt x="64" y="36"/>
                  <a:pt x="64" y="36"/>
                  <a:pt x="65" y="36"/>
                </a:cubicBezTo>
                <a:cubicBezTo>
                  <a:pt x="65" y="35"/>
                  <a:pt x="64" y="36"/>
                  <a:pt x="64" y="36"/>
                </a:cubicBezTo>
                <a:cubicBezTo>
                  <a:pt x="63" y="36"/>
                  <a:pt x="63" y="36"/>
                  <a:pt x="63" y="35"/>
                </a:cubicBezTo>
                <a:cubicBezTo>
                  <a:pt x="62" y="35"/>
                  <a:pt x="63" y="34"/>
                  <a:pt x="63" y="34"/>
                </a:cubicBezTo>
                <a:cubicBezTo>
                  <a:pt x="64" y="34"/>
                  <a:pt x="64" y="34"/>
                  <a:pt x="65" y="34"/>
                </a:cubicBezTo>
                <a:cubicBezTo>
                  <a:pt x="65" y="34"/>
                  <a:pt x="65" y="34"/>
                  <a:pt x="65" y="34"/>
                </a:cubicBezTo>
                <a:cubicBezTo>
                  <a:pt x="65" y="34"/>
                  <a:pt x="65" y="34"/>
                  <a:pt x="64" y="34"/>
                </a:cubicBezTo>
                <a:cubicBezTo>
                  <a:pt x="64" y="34"/>
                  <a:pt x="64" y="34"/>
                  <a:pt x="64" y="33"/>
                </a:cubicBezTo>
                <a:cubicBezTo>
                  <a:pt x="63" y="33"/>
                  <a:pt x="63" y="33"/>
                  <a:pt x="63" y="33"/>
                </a:cubicBezTo>
                <a:cubicBezTo>
                  <a:pt x="64" y="32"/>
                  <a:pt x="64" y="33"/>
                  <a:pt x="64" y="33"/>
                </a:cubicBezTo>
                <a:cubicBezTo>
                  <a:pt x="64" y="32"/>
                  <a:pt x="63" y="32"/>
                  <a:pt x="64" y="31"/>
                </a:cubicBezTo>
                <a:cubicBezTo>
                  <a:pt x="64" y="30"/>
                  <a:pt x="64" y="32"/>
                  <a:pt x="65" y="32"/>
                </a:cubicBezTo>
                <a:cubicBezTo>
                  <a:pt x="65" y="32"/>
                  <a:pt x="65" y="31"/>
                  <a:pt x="65" y="31"/>
                </a:cubicBezTo>
                <a:cubicBezTo>
                  <a:pt x="65" y="31"/>
                  <a:pt x="65" y="30"/>
                  <a:pt x="65" y="31"/>
                </a:cubicBezTo>
                <a:cubicBezTo>
                  <a:pt x="66" y="31"/>
                  <a:pt x="66" y="31"/>
                  <a:pt x="66" y="31"/>
                </a:cubicBezTo>
                <a:cubicBezTo>
                  <a:pt x="67" y="30"/>
                  <a:pt x="68" y="31"/>
                  <a:pt x="68" y="31"/>
                </a:cubicBezTo>
                <a:cubicBezTo>
                  <a:pt x="68" y="31"/>
                  <a:pt x="67" y="31"/>
                  <a:pt x="67" y="30"/>
                </a:cubicBezTo>
                <a:cubicBezTo>
                  <a:pt x="67" y="30"/>
                  <a:pt x="66" y="30"/>
                  <a:pt x="67" y="30"/>
                </a:cubicBezTo>
                <a:cubicBezTo>
                  <a:pt x="68" y="30"/>
                  <a:pt x="69" y="31"/>
                  <a:pt x="69" y="31"/>
                </a:cubicBezTo>
                <a:cubicBezTo>
                  <a:pt x="69" y="31"/>
                  <a:pt x="69" y="31"/>
                  <a:pt x="68" y="30"/>
                </a:cubicBezTo>
                <a:cubicBezTo>
                  <a:pt x="69" y="30"/>
                  <a:pt x="67" y="29"/>
                  <a:pt x="67" y="29"/>
                </a:cubicBezTo>
                <a:cubicBezTo>
                  <a:pt x="66" y="29"/>
                  <a:pt x="67" y="28"/>
                  <a:pt x="67" y="29"/>
                </a:cubicBezTo>
                <a:cubicBezTo>
                  <a:pt x="67" y="29"/>
                  <a:pt x="67" y="29"/>
                  <a:pt x="67" y="29"/>
                </a:cubicBezTo>
                <a:cubicBezTo>
                  <a:pt x="68" y="29"/>
                  <a:pt x="68" y="28"/>
                  <a:pt x="68" y="28"/>
                </a:cubicBezTo>
                <a:cubicBezTo>
                  <a:pt x="68" y="28"/>
                  <a:pt x="67" y="27"/>
                  <a:pt x="67" y="27"/>
                </a:cubicBezTo>
                <a:cubicBezTo>
                  <a:pt x="67" y="27"/>
                  <a:pt x="68" y="27"/>
                  <a:pt x="68" y="27"/>
                </a:cubicBezTo>
                <a:cubicBezTo>
                  <a:pt x="69" y="27"/>
                  <a:pt x="69" y="27"/>
                  <a:pt x="70" y="27"/>
                </a:cubicBezTo>
                <a:cubicBezTo>
                  <a:pt x="70" y="27"/>
                  <a:pt x="70" y="27"/>
                  <a:pt x="71" y="27"/>
                </a:cubicBezTo>
                <a:cubicBezTo>
                  <a:pt x="71" y="27"/>
                  <a:pt x="71" y="27"/>
                  <a:pt x="70" y="27"/>
                </a:cubicBezTo>
                <a:cubicBezTo>
                  <a:pt x="71" y="27"/>
                  <a:pt x="71" y="27"/>
                  <a:pt x="71" y="27"/>
                </a:cubicBezTo>
                <a:cubicBezTo>
                  <a:pt x="70" y="27"/>
                  <a:pt x="69" y="27"/>
                  <a:pt x="69" y="26"/>
                </a:cubicBezTo>
                <a:cubicBezTo>
                  <a:pt x="69" y="25"/>
                  <a:pt x="70" y="26"/>
                  <a:pt x="70" y="26"/>
                </a:cubicBezTo>
                <a:cubicBezTo>
                  <a:pt x="70" y="25"/>
                  <a:pt x="70" y="25"/>
                  <a:pt x="70" y="25"/>
                </a:cubicBezTo>
                <a:cubicBezTo>
                  <a:pt x="70" y="25"/>
                  <a:pt x="70" y="25"/>
                  <a:pt x="70" y="25"/>
                </a:cubicBezTo>
                <a:cubicBezTo>
                  <a:pt x="70" y="25"/>
                  <a:pt x="69" y="24"/>
                  <a:pt x="70" y="24"/>
                </a:cubicBezTo>
                <a:cubicBezTo>
                  <a:pt x="70" y="24"/>
                  <a:pt x="70" y="24"/>
                  <a:pt x="71" y="23"/>
                </a:cubicBezTo>
                <a:cubicBezTo>
                  <a:pt x="71" y="23"/>
                  <a:pt x="72" y="23"/>
                  <a:pt x="72" y="24"/>
                </a:cubicBezTo>
                <a:cubicBezTo>
                  <a:pt x="72" y="24"/>
                  <a:pt x="72" y="24"/>
                  <a:pt x="72" y="23"/>
                </a:cubicBezTo>
                <a:cubicBezTo>
                  <a:pt x="73" y="24"/>
                  <a:pt x="73" y="24"/>
                  <a:pt x="73" y="24"/>
                </a:cubicBezTo>
                <a:cubicBezTo>
                  <a:pt x="73" y="24"/>
                  <a:pt x="73" y="25"/>
                  <a:pt x="72" y="25"/>
                </a:cubicBezTo>
                <a:cubicBezTo>
                  <a:pt x="73" y="25"/>
                  <a:pt x="74" y="24"/>
                  <a:pt x="74" y="24"/>
                </a:cubicBezTo>
                <a:cubicBezTo>
                  <a:pt x="75" y="24"/>
                  <a:pt x="75" y="24"/>
                  <a:pt x="74" y="25"/>
                </a:cubicBezTo>
                <a:cubicBezTo>
                  <a:pt x="75" y="25"/>
                  <a:pt x="75" y="24"/>
                  <a:pt x="75" y="24"/>
                </a:cubicBezTo>
                <a:cubicBezTo>
                  <a:pt x="76" y="24"/>
                  <a:pt x="76" y="24"/>
                  <a:pt x="76" y="24"/>
                </a:cubicBezTo>
                <a:cubicBezTo>
                  <a:pt x="77" y="24"/>
                  <a:pt x="78" y="24"/>
                  <a:pt x="78" y="23"/>
                </a:cubicBezTo>
                <a:cubicBezTo>
                  <a:pt x="78" y="24"/>
                  <a:pt x="80" y="24"/>
                  <a:pt x="81" y="23"/>
                </a:cubicBezTo>
                <a:cubicBezTo>
                  <a:pt x="81" y="23"/>
                  <a:pt x="82" y="23"/>
                  <a:pt x="82" y="23"/>
                </a:cubicBezTo>
                <a:cubicBezTo>
                  <a:pt x="83" y="23"/>
                  <a:pt x="83" y="23"/>
                  <a:pt x="84" y="23"/>
                </a:cubicBezTo>
                <a:cubicBezTo>
                  <a:pt x="84" y="23"/>
                  <a:pt x="83" y="23"/>
                  <a:pt x="83" y="23"/>
                </a:cubicBezTo>
                <a:cubicBezTo>
                  <a:pt x="83" y="23"/>
                  <a:pt x="84" y="23"/>
                  <a:pt x="84" y="23"/>
                </a:cubicBezTo>
                <a:cubicBezTo>
                  <a:pt x="85" y="23"/>
                  <a:pt x="86" y="23"/>
                  <a:pt x="86" y="23"/>
                </a:cubicBezTo>
                <a:cubicBezTo>
                  <a:pt x="86" y="23"/>
                  <a:pt x="85" y="24"/>
                  <a:pt x="85" y="25"/>
                </a:cubicBezTo>
                <a:cubicBezTo>
                  <a:pt x="86" y="25"/>
                  <a:pt x="85" y="25"/>
                  <a:pt x="85" y="26"/>
                </a:cubicBezTo>
                <a:cubicBezTo>
                  <a:pt x="84" y="26"/>
                  <a:pt x="84" y="26"/>
                  <a:pt x="83" y="27"/>
                </a:cubicBezTo>
                <a:cubicBezTo>
                  <a:pt x="82" y="27"/>
                  <a:pt x="81" y="28"/>
                  <a:pt x="81" y="28"/>
                </a:cubicBezTo>
                <a:cubicBezTo>
                  <a:pt x="80" y="29"/>
                  <a:pt x="79" y="29"/>
                  <a:pt x="78" y="30"/>
                </a:cubicBezTo>
                <a:cubicBezTo>
                  <a:pt x="78" y="30"/>
                  <a:pt x="77" y="30"/>
                  <a:pt x="77" y="30"/>
                </a:cubicBezTo>
                <a:cubicBezTo>
                  <a:pt x="77" y="30"/>
                  <a:pt x="78" y="30"/>
                  <a:pt x="78" y="30"/>
                </a:cubicBezTo>
                <a:cubicBezTo>
                  <a:pt x="78" y="31"/>
                  <a:pt x="77" y="31"/>
                  <a:pt x="77" y="31"/>
                </a:cubicBezTo>
                <a:cubicBezTo>
                  <a:pt x="77" y="31"/>
                  <a:pt x="76" y="31"/>
                  <a:pt x="76" y="31"/>
                </a:cubicBezTo>
                <a:cubicBezTo>
                  <a:pt x="75" y="31"/>
                  <a:pt x="75" y="31"/>
                  <a:pt x="75" y="30"/>
                </a:cubicBezTo>
                <a:cubicBezTo>
                  <a:pt x="75" y="31"/>
                  <a:pt x="77" y="31"/>
                  <a:pt x="78" y="31"/>
                </a:cubicBezTo>
                <a:cubicBezTo>
                  <a:pt x="78" y="31"/>
                  <a:pt x="78" y="31"/>
                  <a:pt x="79" y="31"/>
                </a:cubicBezTo>
                <a:cubicBezTo>
                  <a:pt x="79" y="31"/>
                  <a:pt x="79" y="31"/>
                  <a:pt x="79" y="31"/>
                </a:cubicBezTo>
                <a:cubicBezTo>
                  <a:pt x="80" y="31"/>
                  <a:pt x="78" y="33"/>
                  <a:pt x="77" y="32"/>
                </a:cubicBezTo>
                <a:cubicBezTo>
                  <a:pt x="77" y="32"/>
                  <a:pt x="74" y="33"/>
                  <a:pt x="74" y="34"/>
                </a:cubicBezTo>
                <a:cubicBezTo>
                  <a:pt x="75" y="34"/>
                  <a:pt x="75" y="33"/>
                  <a:pt x="76" y="33"/>
                </a:cubicBezTo>
                <a:cubicBezTo>
                  <a:pt x="76" y="33"/>
                  <a:pt x="76" y="33"/>
                  <a:pt x="77" y="33"/>
                </a:cubicBezTo>
                <a:cubicBezTo>
                  <a:pt x="77" y="33"/>
                  <a:pt x="77" y="33"/>
                  <a:pt x="77" y="33"/>
                </a:cubicBezTo>
                <a:cubicBezTo>
                  <a:pt x="78" y="33"/>
                  <a:pt x="77" y="33"/>
                  <a:pt x="77" y="34"/>
                </a:cubicBezTo>
                <a:cubicBezTo>
                  <a:pt x="76" y="34"/>
                  <a:pt x="77" y="34"/>
                  <a:pt x="76" y="34"/>
                </a:cubicBezTo>
                <a:cubicBezTo>
                  <a:pt x="76" y="34"/>
                  <a:pt x="76" y="34"/>
                  <a:pt x="75" y="34"/>
                </a:cubicBezTo>
                <a:cubicBezTo>
                  <a:pt x="76" y="34"/>
                  <a:pt x="75" y="35"/>
                  <a:pt x="76" y="34"/>
                </a:cubicBezTo>
                <a:cubicBezTo>
                  <a:pt x="76" y="34"/>
                  <a:pt x="78" y="34"/>
                  <a:pt x="77" y="34"/>
                </a:cubicBezTo>
                <a:cubicBezTo>
                  <a:pt x="78" y="33"/>
                  <a:pt x="78" y="34"/>
                  <a:pt x="79" y="33"/>
                </a:cubicBezTo>
                <a:cubicBezTo>
                  <a:pt x="80" y="33"/>
                  <a:pt x="80" y="33"/>
                  <a:pt x="80" y="33"/>
                </a:cubicBezTo>
                <a:cubicBezTo>
                  <a:pt x="81" y="33"/>
                  <a:pt x="80" y="33"/>
                  <a:pt x="81" y="33"/>
                </a:cubicBezTo>
                <a:cubicBezTo>
                  <a:pt x="81" y="33"/>
                  <a:pt x="81" y="33"/>
                  <a:pt x="82" y="33"/>
                </a:cubicBezTo>
                <a:cubicBezTo>
                  <a:pt x="82" y="32"/>
                  <a:pt x="82" y="32"/>
                  <a:pt x="83" y="32"/>
                </a:cubicBezTo>
                <a:cubicBezTo>
                  <a:pt x="83" y="32"/>
                  <a:pt x="84" y="32"/>
                  <a:pt x="84" y="33"/>
                </a:cubicBezTo>
                <a:cubicBezTo>
                  <a:pt x="85" y="33"/>
                  <a:pt x="85" y="33"/>
                  <a:pt x="86" y="33"/>
                </a:cubicBezTo>
                <a:cubicBezTo>
                  <a:pt x="87" y="33"/>
                  <a:pt x="87" y="33"/>
                  <a:pt x="88" y="33"/>
                </a:cubicBezTo>
                <a:cubicBezTo>
                  <a:pt x="88" y="33"/>
                  <a:pt x="89" y="33"/>
                  <a:pt x="90" y="33"/>
                </a:cubicBezTo>
                <a:cubicBezTo>
                  <a:pt x="90" y="33"/>
                  <a:pt x="91" y="33"/>
                  <a:pt x="92" y="33"/>
                </a:cubicBezTo>
                <a:cubicBezTo>
                  <a:pt x="92" y="33"/>
                  <a:pt x="93" y="33"/>
                  <a:pt x="93" y="33"/>
                </a:cubicBezTo>
                <a:cubicBezTo>
                  <a:pt x="94" y="33"/>
                  <a:pt x="95" y="34"/>
                  <a:pt x="95" y="34"/>
                </a:cubicBezTo>
                <a:cubicBezTo>
                  <a:pt x="95" y="35"/>
                  <a:pt x="93" y="36"/>
                  <a:pt x="93" y="37"/>
                </a:cubicBezTo>
                <a:cubicBezTo>
                  <a:pt x="92" y="38"/>
                  <a:pt x="93" y="38"/>
                  <a:pt x="92" y="39"/>
                </a:cubicBezTo>
                <a:cubicBezTo>
                  <a:pt x="92" y="39"/>
                  <a:pt x="92" y="39"/>
                  <a:pt x="91" y="40"/>
                </a:cubicBezTo>
                <a:cubicBezTo>
                  <a:pt x="91" y="41"/>
                  <a:pt x="91" y="41"/>
                  <a:pt x="91" y="41"/>
                </a:cubicBezTo>
                <a:cubicBezTo>
                  <a:pt x="90" y="42"/>
                  <a:pt x="90" y="42"/>
                  <a:pt x="90" y="42"/>
                </a:cubicBezTo>
                <a:cubicBezTo>
                  <a:pt x="89" y="42"/>
                  <a:pt x="89" y="43"/>
                  <a:pt x="89" y="43"/>
                </a:cubicBezTo>
                <a:cubicBezTo>
                  <a:pt x="89" y="43"/>
                  <a:pt x="89" y="43"/>
                  <a:pt x="89" y="43"/>
                </a:cubicBezTo>
                <a:cubicBezTo>
                  <a:pt x="89" y="43"/>
                  <a:pt x="89" y="44"/>
                  <a:pt x="88" y="44"/>
                </a:cubicBezTo>
                <a:cubicBezTo>
                  <a:pt x="88" y="44"/>
                  <a:pt x="87" y="45"/>
                  <a:pt x="86" y="45"/>
                </a:cubicBezTo>
                <a:cubicBezTo>
                  <a:pt x="86" y="45"/>
                  <a:pt x="85" y="45"/>
                  <a:pt x="84" y="45"/>
                </a:cubicBezTo>
                <a:cubicBezTo>
                  <a:pt x="83" y="45"/>
                  <a:pt x="83" y="46"/>
                  <a:pt x="82" y="46"/>
                </a:cubicBezTo>
                <a:cubicBezTo>
                  <a:pt x="82" y="47"/>
                  <a:pt x="83" y="46"/>
                  <a:pt x="83" y="46"/>
                </a:cubicBezTo>
                <a:cubicBezTo>
                  <a:pt x="84" y="46"/>
                  <a:pt x="85" y="45"/>
                  <a:pt x="86" y="45"/>
                </a:cubicBezTo>
                <a:cubicBezTo>
                  <a:pt x="86" y="45"/>
                  <a:pt x="86" y="46"/>
                  <a:pt x="86" y="46"/>
                </a:cubicBezTo>
                <a:cubicBezTo>
                  <a:pt x="86" y="46"/>
                  <a:pt x="86" y="46"/>
                  <a:pt x="87" y="47"/>
                </a:cubicBezTo>
                <a:cubicBezTo>
                  <a:pt x="88" y="47"/>
                  <a:pt x="88" y="47"/>
                  <a:pt x="87" y="48"/>
                </a:cubicBezTo>
                <a:cubicBezTo>
                  <a:pt x="86" y="48"/>
                  <a:pt x="85" y="48"/>
                  <a:pt x="84" y="48"/>
                </a:cubicBezTo>
                <a:cubicBezTo>
                  <a:pt x="84" y="48"/>
                  <a:pt x="83" y="49"/>
                  <a:pt x="82" y="49"/>
                </a:cubicBezTo>
                <a:cubicBezTo>
                  <a:pt x="82" y="50"/>
                  <a:pt x="81" y="50"/>
                  <a:pt x="81" y="50"/>
                </a:cubicBezTo>
                <a:cubicBezTo>
                  <a:pt x="80" y="50"/>
                  <a:pt x="80" y="50"/>
                  <a:pt x="80" y="49"/>
                </a:cubicBezTo>
                <a:cubicBezTo>
                  <a:pt x="79" y="49"/>
                  <a:pt x="79" y="50"/>
                  <a:pt x="78" y="49"/>
                </a:cubicBezTo>
                <a:cubicBezTo>
                  <a:pt x="78" y="49"/>
                  <a:pt x="78" y="49"/>
                  <a:pt x="77" y="49"/>
                </a:cubicBezTo>
                <a:cubicBezTo>
                  <a:pt x="78" y="49"/>
                  <a:pt x="78" y="50"/>
                  <a:pt x="79" y="50"/>
                </a:cubicBezTo>
                <a:cubicBezTo>
                  <a:pt x="79" y="50"/>
                  <a:pt x="80" y="50"/>
                  <a:pt x="81" y="50"/>
                </a:cubicBezTo>
                <a:cubicBezTo>
                  <a:pt x="82" y="50"/>
                  <a:pt x="83" y="51"/>
                  <a:pt x="84" y="50"/>
                </a:cubicBezTo>
                <a:cubicBezTo>
                  <a:pt x="85" y="50"/>
                  <a:pt x="85" y="50"/>
                  <a:pt x="86" y="49"/>
                </a:cubicBezTo>
                <a:cubicBezTo>
                  <a:pt x="86" y="49"/>
                  <a:pt x="88" y="49"/>
                  <a:pt x="87" y="50"/>
                </a:cubicBezTo>
                <a:cubicBezTo>
                  <a:pt x="88" y="50"/>
                  <a:pt x="90" y="51"/>
                  <a:pt x="91" y="51"/>
                </a:cubicBezTo>
                <a:cubicBezTo>
                  <a:pt x="92" y="52"/>
                  <a:pt x="92" y="53"/>
                  <a:pt x="93" y="53"/>
                </a:cubicBezTo>
                <a:cubicBezTo>
                  <a:pt x="93" y="53"/>
                  <a:pt x="94" y="54"/>
                  <a:pt x="94" y="54"/>
                </a:cubicBezTo>
                <a:cubicBezTo>
                  <a:pt x="95" y="54"/>
                  <a:pt x="95" y="55"/>
                  <a:pt x="95" y="56"/>
                </a:cubicBezTo>
                <a:cubicBezTo>
                  <a:pt x="95" y="56"/>
                  <a:pt x="95" y="56"/>
                  <a:pt x="95" y="56"/>
                </a:cubicBezTo>
                <a:cubicBezTo>
                  <a:pt x="95" y="57"/>
                  <a:pt x="95" y="57"/>
                  <a:pt x="95" y="57"/>
                </a:cubicBezTo>
                <a:cubicBezTo>
                  <a:pt x="95" y="58"/>
                  <a:pt x="95" y="58"/>
                  <a:pt x="95" y="59"/>
                </a:cubicBezTo>
                <a:cubicBezTo>
                  <a:pt x="96" y="60"/>
                  <a:pt x="96" y="61"/>
                  <a:pt x="97" y="62"/>
                </a:cubicBezTo>
                <a:cubicBezTo>
                  <a:pt x="97" y="63"/>
                  <a:pt x="97" y="63"/>
                  <a:pt x="97" y="63"/>
                </a:cubicBezTo>
                <a:cubicBezTo>
                  <a:pt x="98" y="64"/>
                  <a:pt x="98" y="64"/>
                  <a:pt x="97" y="64"/>
                </a:cubicBezTo>
                <a:cubicBezTo>
                  <a:pt x="98" y="64"/>
                  <a:pt x="98" y="64"/>
                  <a:pt x="98" y="64"/>
                </a:cubicBezTo>
                <a:cubicBezTo>
                  <a:pt x="99" y="64"/>
                  <a:pt x="99" y="65"/>
                  <a:pt x="100" y="65"/>
                </a:cubicBezTo>
                <a:cubicBezTo>
                  <a:pt x="101" y="65"/>
                  <a:pt x="102" y="65"/>
                  <a:pt x="103" y="66"/>
                </a:cubicBezTo>
                <a:cubicBezTo>
                  <a:pt x="103" y="67"/>
                  <a:pt x="103" y="68"/>
                  <a:pt x="104" y="68"/>
                </a:cubicBezTo>
                <a:cubicBezTo>
                  <a:pt x="104" y="68"/>
                  <a:pt x="104" y="68"/>
                  <a:pt x="105" y="68"/>
                </a:cubicBezTo>
                <a:cubicBezTo>
                  <a:pt x="105" y="69"/>
                  <a:pt x="105" y="69"/>
                  <a:pt x="105" y="69"/>
                </a:cubicBezTo>
                <a:cubicBezTo>
                  <a:pt x="105" y="69"/>
                  <a:pt x="106" y="69"/>
                  <a:pt x="106" y="70"/>
                </a:cubicBezTo>
                <a:cubicBezTo>
                  <a:pt x="106" y="69"/>
                  <a:pt x="105" y="70"/>
                  <a:pt x="105" y="71"/>
                </a:cubicBezTo>
                <a:cubicBezTo>
                  <a:pt x="105" y="71"/>
                  <a:pt x="106" y="72"/>
                  <a:pt x="106" y="73"/>
                </a:cubicBezTo>
                <a:cubicBezTo>
                  <a:pt x="106" y="73"/>
                  <a:pt x="108" y="75"/>
                  <a:pt x="107" y="75"/>
                </a:cubicBezTo>
                <a:cubicBezTo>
                  <a:pt x="108" y="75"/>
                  <a:pt x="107" y="75"/>
                  <a:pt x="106" y="75"/>
                </a:cubicBezTo>
                <a:cubicBezTo>
                  <a:pt x="106" y="75"/>
                  <a:pt x="105" y="74"/>
                  <a:pt x="105" y="74"/>
                </a:cubicBezTo>
                <a:cubicBezTo>
                  <a:pt x="104" y="73"/>
                  <a:pt x="103" y="74"/>
                  <a:pt x="103" y="74"/>
                </a:cubicBezTo>
                <a:cubicBezTo>
                  <a:pt x="102" y="74"/>
                  <a:pt x="101" y="73"/>
                  <a:pt x="101" y="74"/>
                </a:cubicBezTo>
                <a:cubicBezTo>
                  <a:pt x="101" y="74"/>
                  <a:pt x="101" y="74"/>
                  <a:pt x="101" y="74"/>
                </a:cubicBezTo>
                <a:cubicBezTo>
                  <a:pt x="102" y="74"/>
                  <a:pt x="102" y="74"/>
                  <a:pt x="102" y="74"/>
                </a:cubicBezTo>
                <a:cubicBezTo>
                  <a:pt x="103" y="74"/>
                  <a:pt x="103" y="74"/>
                  <a:pt x="104" y="74"/>
                </a:cubicBezTo>
                <a:cubicBezTo>
                  <a:pt x="105" y="74"/>
                  <a:pt x="105" y="75"/>
                  <a:pt x="106" y="75"/>
                </a:cubicBezTo>
                <a:cubicBezTo>
                  <a:pt x="106" y="75"/>
                  <a:pt x="107" y="76"/>
                  <a:pt x="107" y="76"/>
                </a:cubicBezTo>
                <a:cubicBezTo>
                  <a:pt x="108" y="77"/>
                  <a:pt x="109" y="78"/>
                  <a:pt x="109" y="79"/>
                </a:cubicBezTo>
                <a:cubicBezTo>
                  <a:pt x="109" y="81"/>
                  <a:pt x="107" y="81"/>
                  <a:pt x="106" y="82"/>
                </a:cubicBezTo>
                <a:cubicBezTo>
                  <a:pt x="107" y="82"/>
                  <a:pt x="107" y="82"/>
                  <a:pt x="108" y="83"/>
                </a:cubicBezTo>
                <a:cubicBezTo>
                  <a:pt x="108" y="84"/>
                  <a:pt x="109" y="83"/>
                  <a:pt x="109" y="84"/>
                </a:cubicBezTo>
                <a:cubicBezTo>
                  <a:pt x="109" y="83"/>
                  <a:pt x="110" y="82"/>
                  <a:pt x="111" y="82"/>
                </a:cubicBezTo>
                <a:cubicBezTo>
                  <a:pt x="111" y="81"/>
                  <a:pt x="112" y="82"/>
                  <a:pt x="113" y="82"/>
                </a:cubicBezTo>
                <a:cubicBezTo>
                  <a:pt x="113" y="82"/>
                  <a:pt x="113" y="82"/>
                  <a:pt x="114" y="82"/>
                </a:cubicBezTo>
                <a:cubicBezTo>
                  <a:pt x="114" y="82"/>
                  <a:pt x="115" y="82"/>
                  <a:pt x="114" y="82"/>
                </a:cubicBezTo>
                <a:cubicBezTo>
                  <a:pt x="115" y="81"/>
                  <a:pt x="116" y="82"/>
                  <a:pt x="116" y="82"/>
                </a:cubicBezTo>
                <a:cubicBezTo>
                  <a:pt x="117" y="82"/>
                  <a:pt x="117" y="82"/>
                  <a:pt x="118" y="82"/>
                </a:cubicBezTo>
                <a:cubicBezTo>
                  <a:pt x="118" y="83"/>
                  <a:pt x="118" y="83"/>
                  <a:pt x="119" y="83"/>
                </a:cubicBezTo>
                <a:cubicBezTo>
                  <a:pt x="120" y="84"/>
                  <a:pt x="120" y="84"/>
                  <a:pt x="120" y="85"/>
                </a:cubicBezTo>
                <a:cubicBezTo>
                  <a:pt x="120" y="86"/>
                  <a:pt x="120" y="87"/>
                  <a:pt x="120" y="88"/>
                </a:cubicBezTo>
                <a:close/>
                <a:moveTo>
                  <a:pt x="64" y="43"/>
                </a:moveTo>
                <a:cubicBezTo>
                  <a:pt x="64" y="43"/>
                  <a:pt x="63" y="43"/>
                  <a:pt x="62" y="43"/>
                </a:cubicBezTo>
                <a:cubicBezTo>
                  <a:pt x="63" y="43"/>
                  <a:pt x="64" y="43"/>
                  <a:pt x="64" y="43"/>
                </a:cubicBezTo>
                <a:close/>
                <a:moveTo>
                  <a:pt x="51" y="114"/>
                </a:moveTo>
                <a:cubicBezTo>
                  <a:pt x="51" y="114"/>
                  <a:pt x="51" y="114"/>
                  <a:pt x="51" y="114"/>
                </a:cubicBezTo>
                <a:cubicBezTo>
                  <a:pt x="51" y="114"/>
                  <a:pt x="51" y="114"/>
                  <a:pt x="51" y="114"/>
                </a:cubicBezTo>
                <a:close/>
                <a:moveTo>
                  <a:pt x="57" y="70"/>
                </a:moveTo>
                <a:cubicBezTo>
                  <a:pt x="58" y="71"/>
                  <a:pt x="58" y="70"/>
                  <a:pt x="59" y="69"/>
                </a:cubicBezTo>
                <a:cubicBezTo>
                  <a:pt x="59" y="69"/>
                  <a:pt x="59" y="68"/>
                  <a:pt x="60" y="68"/>
                </a:cubicBezTo>
                <a:cubicBezTo>
                  <a:pt x="61" y="68"/>
                  <a:pt x="62" y="68"/>
                  <a:pt x="62" y="67"/>
                </a:cubicBezTo>
                <a:cubicBezTo>
                  <a:pt x="62" y="67"/>
                  <a:pt x="61" y="67"/>
                  <a:pt x="60" y="67"/>
                </a:cubicBezTo>
                <a:cubicBezTo>
                  <a:pt x="61" y="67"/>
                  <a:pt x="62" y="66"/>
                  <a:pt x="61" y="66"/>
                </a:cubicBezTo>
                <a:cubicBezTo>
                  <a:pt x="61" y="65"/>
                  <a:pt x="61" y="65"/>
                  <a:pt x="61" y="65"/>
                </a:cubicBezTo>
                <a:cubicBezTo>
                  <a:pt x="61" y="65"/>
                  <a:pt x="61" y="65"/>
                  <a:pt x="61" y="65"/>
                </a:cubicBezTo>
                <a:cubicBezTo>
                  <a:pt x="61" y="64"/>
                  <a:pt x="62" y="65"/>
                  <a:pt x="62" y="66"/>
                </a:cubicBezTo>
                <a:cubicBezTo>
                  <a:pt x="62" y="66"/>
                  <a:pt x="61" y="67"/>
                  <a:pt x="62" y="67"/>
                </a:cubicBezTo>
                <a:cubicBezTo>
                  <a:pt x="62" y="67"/>
                  <a:pt x="63" y="66"/>
                  <a:pt x="63" y="66"/>
                </a:cubicBezTo>
                <a:cubicBezTo>
                  <a:pt x="62" y="65"/>
                  <a:pt x="63" y="64"/>
                  <a:pt x="62" y="64"/>
                </a:cubicBezTo>
                <a:cubicBezTo>
                  <a:pt x="61" y="63"/>
                  <a:pt x="60" y="64"/>
                  <a:pt x="59" y="64"/>
                </a:cubicBezTo>
                <a:cubicBezTo>
                  <a:pt x="59" y="65"/>
                  <a:pt x="59" y="64"/>
                  <a:pt x="59" y="64"/>
                </a:cubicBezTo>
                <a:cubicBezTo>
                  <a:pt x="59" y="64"/>
                  <a:pt x="59" y="64"/>
                  <a:pt x="60" y="63"/>
                </a:cubicBezTo>
                <a:cubicBezTo>
                  <a:pt x="60" y="63"/>
                  <a:pt x="61" y="63"/>
                  <a:pt x="61" y="62"/>
                </a:cubicBezTo>
                <a:cubicBezTo>
                  <a:pt x="61" y="62"/>
                  <a:pt x="60" y="62"/>
                  <a:pt x="60" y="62"/>
                </a:cubicBezTo>
                <a:cubicBezTo>
                  <a:pt x="60" y="62"/>
                  <a:pt x="61" y="62"/>
                  <a:pt x="61" y="63"/>
                </a:cubicBezTo>
                <a:cubicBezTo>
                  <a:pt x="61" y="62"/>
                  <a:pt x="60" y="62"/>
                  <a:pt x="60" y="62"/>
                </a:cubicBezTo>
                <a:cubicBezTo>
                  <a:pt x="60" y="62"/>
                  <a:pt x="60" y="62"/>
                  <a:pt x="60" y="62"/>
                </a:cubicBezTo>
                <a:cubicBezTo>
                  <a:pt x="60" y="61"/>
                  <a:pt x="59" y="61"/>
                  <a:pt x="59" y="61"/>
                </a:cubicBezTo>
                <a:cubicBezTo>
                  <a:pt x="59" y="60"/>
                  <a:pt x="59" y="60"/>
                  <a:pt x="59" y="60"/>
                </a:cubicBezTo>
                <a:cubicBezTo>
                  <a:pt x="59" y="60"/>
                  <a:pt x="58" y="60"/>
                  <a:pt x="58" y="60"/>
                </a:cubicBezTo>
                <a:cubicBezTo>
                  <a:pt x="58" y="59"/>
                  <a:pt x="59" y="59"/>
                  <a:pt x="58" y="58"/>
                </a:cubicBezTo>
                <a:cubicBezTo>
                  <a:pt x="58" y="58"/>
                  <a:pt x="58" y="58"/>
                  <a:pt x="57" y="58"/>
                </a:cubicBezTo>
                <a:cubicBezTo>
                  <a:pt x="56" y="58"/>
                  <a:pt x="55" y="57"/>
                  <a:pt x="55" y="58"/>
                </a:cubicBezTo>
                <a:cubicBezTo>
                  <a:pt x="54" y="58"/>
                  <a:pt x="53" y="59"/>
                  <a:pt x="52" y="59"/>
                </a:cubicBezTo>
                <a:cubicBezTo>
                  <a:pt x="51" y="58"/>
                  <a:pt x="51" y="59"/>
                  <a:pt x="51" y="60"/>
                </a:cubicBezTo>
                <a:cubicBezTo>
                  <a:pt x="50" y="60"/>
                  <a:pt x="49" y="60"/>
                  <a:pt x="49" y="60"/>
                </a:cubicBezTo>
                <a:cubicBezTo>
                  <a:pt x="48" y="59"/>
                  <a:pt x="48" y="60"/>
                  <a:pt x="47" y="61"/>
                </a:cubicBezTo>
                <a:cubicBezTo>
                  <a:pt x="47" y="61"/>
                  <a:pt x="47" y="62"/>
                  <a:pt x="47" y="62"/>
                </a:cubicBezTo>
                <a:cubicBezTo>
                  <a:pt x="46" y="62"/>
                  <a:pt x="46" y="62"/>
                  <a:pt x="46" y="63"/>
                </a:cubicBezTo>
                <a:cubicBezTo>
                  <a:pt x="46" y="63"/>
                  <a:pt x="45" y="63"/>
                  <a:pt x="44" y="63"/>
                </a:cubicBezTo>
                <a:cubicBezTo>
                  <a:pt x="44" y="63"/>
                  <a:pt x="43" y="63"/>
                  <a:pt x="43" y="64"/>
                </a:cubicBezTo>
                <a:cubicBezTo>
                  <a:pt x="43" y="64"/>
                  <a:pt x="44" y="65"/>
                  <a:pt x="44" y="64"/>
                </a:cubicBezTo>
                <a:cubicBezTo>
                  <a:pt x="45" y="65"/>
                  <a:pt x="43" y="65"/>
                  <a:pt x="43" y="65"/>
                </a:cubicBezTo>
                <a:cubicBezTo>
                  <a:pt x="42" y="65"/>
                  <a:pt x="42" y="65"/>
                  <a:pt x="42" y="65"/>
                </a:cubicBezTo>
                <a:cubicBezTo>
                  <a:pt x="41" y="66"/>
                  <a:pt x="41" y="66"/>
                  <a:pt x="41" y="66"/>
                </a:cubicBezTo>
                <a:cubicBezTo>
                  <a:pt x="41" y="67"/>
                  <a:pt x="42" y="67"/>
                  <a:pt x="43" y="68"/>
                </a:cubicBezTo>
                <a:cubicBezTo>
                  <a:pt x="43" y="68"/>
                  <a:pt x="43" y="68"/>
                  <a:pt x="43" y="68"/>
                </a:cubicBezTo>
                <a:cubicBezTo>
                  <a:pt x="43" y="69"/>
                  <a:pt x="44" y="69"/>
                  <a:pt x="44" y="69"/>
                </a:cubicBezTo>
                <a:cubicBezTo>
                  <a:pt x="44" y="69"/>
                  <a:pt x="45" y="69"/>
                  <a:pt x="45" y="69"/>
                </a:cubicBezTo>
                <a:cubicBezTo>
                  <a:pt x="46" y="69"/>
                  <a:pt x="46" y="69"/>
                  <a:pt x="46" y="69"/>
                </a:cubicBezTo>
                <a:cubicBezTo>
                  <a:pt x="46" y="69"/>
                  <a:pt x="47" y="70"/>
                  <a:pt x="47" y="69"/>
                </a:cubicBezTo>
                <a:cubicBezTo>
                  <a:pt x="47" y="69"/>
                  <a:pt x="47" y="69"/>
                  <a:pt x="47" y="69"/>
                </a:cubicBezTo>
                <a:cubicBezTo>
                  <a:pt x="47" y="69"/>
                  <a:pt x="47" y="69"/>
                  <a:pt x="47" y="69"/>
                </a:cubicBezTo>
                <a:cubicBezTo>
                  <a:pt x="48" y="69"/>
                  <a:pt x="48" y="69"/>
                  <a:pt x="48" y="69"/>
                </a:cubicBezTo>
                <a:cubicBezTo>
                  <a:pt x="48" y="69"/>
                  <a:pt x="49" y="68"/>
                  <a:pt x="49" y="68"/>
                </a:cubicBezTo>
                <a:cubicBezTo>
                  <a:pt x="48" y="67"/>
                  <a:pt x="48" y="67"/>
                  <a:pt x="49" y="67"/>
                </a:cubicBezTo>
                <a:cubicBezTo>
                  <a:pt x="49" y="67"/>
                  <a:pt x="50" y="66"/>
                  <a:pt x="51" y="67"/>
                </a:cubicBezTo>
                <a:cubicBezTo>
                  <a:pt x="51" y="67"/>
                  <a:pt x="51" y="67"/>
                  <a:pt x="51" y="68"/>
                </a:cubicBezTo>
                <a:cubicBezTo>
                  <a:pt x="51" y="68"/>
                  <a:pt x="51" y="68"/>
                  <a:pt x="51" y="69"/>
                </a:cubicBezTo>
                <a:cubicBezTo>
                  <a:pt x="52" y="69"/>
                  <a:pt x="53" y="69"/>
                  <a:pt x="53" y="69"/>
                </a:cubicBezTo>
                <a:cubicBezTo>
                  <a:pt x="52" y="70"/>
                  <a:pt x="53" y="70"/>
                  <a:pt x="54" y="70"/>
                </a:cubicBezTo>
                <a:cubicBezTo>
                  <a:pt x="54" y="70"/>
                  <a:pt x="54" y="70"/>
                  <a:pt x="55" y="70"/>
                </a:cubicBezTo>
                <a:cubicBezTo>
                  <a:pt x="55" y="70"/>
                  <a:pt x="55" y="69"/>
                  <a:pt x="55" y="70"/>
                </a:cubicBezTo>
                <a:cubicBezTo>
                  <a:pt x="56" y="70"/>
                  <a:pt x="56" y="70"/>
                  <a:pt x="57" y="70"/>
                </a:cubicBezTo>
                <a:cubicBezTo>
                  <a:pt x="57" y="70"/>
                  <a:pt x="57" y="70"/>
                  <a:pt x="57" y="70"/>
                </a:cubicBezTo>
                <a:close/>
                <a:moveTo>
                  <a:pt x="67" y="55"/>
                </a:moveTo>
                <a:cubicBezTo>
                  <a:pt x="67" y="55"/>
                  <a:pt x="67" y="54"/>
                  <a:pt x="66" y="54"/>
                </a:cubicBezTo>
                <a:cubicBezTo>
                  <a:pt x="66" y="54"/>
                  <a:pt x="66" y="54"/>
                  <a:pt x="66" y="54"/>
                </a:cubicBezTo>
                <a:cubicBezTo>
                  <a:pt x="66" y="53"/>
                  <a:pt x="66" y="53"/>
                  <a:pt x="65" y="53"/>
                </a:cubicBezTo>
                <a:cubicBezTo>
                  <a:pt x="64" y="53"/>
                  <a:pt x="64" y="54"/>
                  <a:pt x="65" y="55"/>
                </a:cubicBezTo>
                <a:cubicBezTo>
                  <a:pt x="65" y="55"/>
                  <a:pt x="64" y="55"/>
                  <a:pt x="65" y="56"/>
                </a:cubicBezTo>
                <a:cubicBezTo>
                  <a:pt x="65" y="56"/>
                  <a:pt x="66" y="56"/>
                  <a:pt x="66" y="56"/>
                </a:cubicBezTo>
                <a:cubicBezTo>
                  <a:pt x="66" y="56"/>
                  <a:pt x="67" y="56"/>
                  <a:pt x="67" y="55"/>
                </a:cubicBezTo>
                <a:cubicBezTo>
                  <a:pt x="67" y="55"/>
                  <a:pt x="67" y="55"/>
                  <a:pt x="67" y="55"/>
                </a:cubicBezTo>
                <a:cubicBezTo>
                  <a:pt x="67" y="55"/>
                  <a:pt x="67" y="54"/>
                  <a:pt x="67" y="55"/>
                </a:cubicBezTo>
                <a:close/>
                <a:moveTo>
                  <a:pt x="51" y="37"/>
                </a:moveTo>
                <a:cubicBezTo>
                  <a:pt x="51" y="37"/>
                  <a:pt x="51" y="37"/>
                  <a:pt x="51" y="38"/>
                </a:cubicBezTo>
                <a:cubicBezTo>
                  <a:pt x="51" y="38"/>
                  <a:pt x="51" y="38"/>
                  <a:pt x="50" y="38"/>
                </a:cubicBezTo>
                <a:cubicBezTo>
                  <a:pt x="51" y="38"/>
                  <a:pt x="52" y="38"/>
                  <a:pt x="51" y="39"/>
                </a:cubicBezTo>
                <a:cubicBezTo>
                  <a:pt x="51" y="38"/>
                  <a:pt x="50" y="38"/>
                  <a:pt x="50" y="37"/>
                </a:cubicBezTo>
                <a:cubicBezTo>
                  <a:pt x="50" y="37"/>
                  <a:pt x="50" y="37"/>
                  <a:pt x="50" y="36"/>
                </a:cubicBezTo>
                <a:cubicBezTo>
                  <a:pt x="50" y="35"/>
                  <a:pt x="51" y="36"/>
                  <a:pt x="51" y="36"/>
                </a:cubicBezTo>
                <a:cubicBezTo>
                  <a:pt x="51" y="36"/>
                  <a:pt x="51" y="36"/>
                  <a:pt x="51" y="36"/>
                </a:cubicBezTo>
                <a:cubicBezTo>
                  <a:pt x="51" y="36"/>
                  <a:pt x="51" y="36"/>
                  <a:pt x="52" y="36"/>
                </a:cubicBezTo>
                <a:cubicBezTo>
                  <a:pt x="52" y="36"/>
                  <a:pt x="51" y="36"/>
                  <a:pt x="51" y="36"/>
                </a:cubicBezTo>
                <a:cubicBezTo>
                  <a:pt x="51" y="36"/>
                  <a:pt x="52" y="36"/>
                  <a:pt x="52" y="37"/>
                </a:cubicBezTo>
                <a:cubicBezTo>
                  <a:pt x="52" y="37"/>
                  <a:pt x="51" y="37"/>
                  <a:pt x="51" y="37"/>
                </a:cubicBezTo>
                <a:close/>
                <a:moveTo>
                  <a:pt x="51" y="36"/>
                </a:moveTo>
                <a:cubicBezTo>
                  <a:pt x="51" y="36"/>
                  <a:pt x="51" y="36"/>
                  <a:pt x="50" y="36"/>
                </a:cubicBezTo>
                <a:cubicBezTo>
                  <a:pt x="50" y="36"/>
                  <a:pt x="51" y="36"/>
                  <a:pt x="51" y="36"/>
                </a:cubicBezTo>
                <a:close/>
                <a:moveTo>
                  <a:pt x="61" y="39"/>
                </a:moveTo>
                <a:cubicBezTo>
                  <a:pt x="61" y="39"/>
                  <a:pt x="62" y="39"/>
                  <a:pt x="62" y="39"/>
                </a:cubicBezTo>
                <a:cubicBezTo>
                  <a:pt x="63" y="39"/>
                  <a:pt x="63" y="38"/>
                  <a:pt x="63" y="38"/>
                </a:cubicBezTo>
                <a:cubicBezTo>
                  <a:pt x="63" y="38"/>
                  <a:pt x="64" y="38"/>
                  <a:pt x="64" y="37"/>
                </a:cubicBezTo>
                <a:cubicBezTo>
                  <a:pt x="64" y="37"/>
                  <a:pt x="63" y="37"/>
                  <a:pt x="62" y="37"/>
                </a:cubicBezTo>
                <a:cubicBezTo>
                  <a:pt x="62" y="37"/>
                  <a:pt x="61" y="37"/>
                  <a:pt x="61" y="37"/>
                </a:cubicBezTo>
                <a:cubicBezTo>
                  <a:pt x="61" y="37"/>
                  <a:pt x="61" y="37"/>
                  <a:pt x="61" y="37"/>
                </a:cubicBezTo>
                <a:cubicBezTo>
                  <a:pt x="61" y="36"/>
                  <a:pt x="60" y="37"/>
                  <a:pt x="60" y="37"/>
                </a:cubicBezTo>
                <a:cubicBezTo>
                  <a:pt x="60" y="36"/>
                  <a:pt x="61" y="35"/>
                  <a:pt x="60" y="36"/>
                </a:cubicBezTo>
                <a:cubicBezTo>
                  <a:pt x="61" y="35"/>
                  <a:pt x="60" y="32"/>
                  <a:pt x="59" y="33"/>
                </a:cubicBezTo>
                <a:cubicBezTo>
                  <a:pt x="58" y="33"/>
                  <a:pt x="59" y="34"/>
                  <a:pt x="59" y="34"/>
                </a:cubicBezTo>
                <a:cubicBezTo>
                  <a:pt x="58" y="34"/>
                  <a:pt x="59" y="35"/>
                  <a:pt x="59" y="35"/>
                </a:cubicBezTo>
                <a:cubicBezTo>
                  <a:pt x="59" y="35"/>
                  <a:pt x="58" y="34"/>
                  <a:pt x="58" y="35"/>
                </a:cubicBezTo>
                <a:cubicBezTo>
                  <a:pt x="58" y="34"/>
                  <a:pt x="58" y="35"/>
                  <a:pt x="58" y="34"/>
                </a:cubicBezTo>
                <a:cubicBezTo>
                  <a:pt x="58" y="34"/>
                  <a:pt x="57" y="34"/>
                  <a:pt x="57" y="34"/>
                </a:cubicBezTo>
                <a:cubicBezTo>
                  <a:pt x="57" y="33"/>
                  <a:pt x="57" y="34"/>
                  <a:pt x="56" y="34"/>
                </a:cubicBezTo>
                <a:cubicBezTo>
                  <a:pt x="57" y="34"/>
                  <a:pt x="57" y="34"/>
                  <a:pt x="57" y="35"/>
                </a:cubicBezTo>
                <a:cubicBezTo>
                  <a:pt x="56" y="34"/>
                  <a:pt x="57" y="35"/>
                  <a:pt x="57" y="35"/>
                </a:cubicBezTo>
                <a:cubicBezTo>
                  <a:pt x="56" y="35"/>
                  <a:pt x="56" y="34"/>
                  <a:pt x="56" y="34"/>
                </a:cubicBezTo>
                <a:cubicBezTo>
                  <a:pt x="56" y="34"/>
                  <a:pt x="56" y="35"/>
                  <a:pt x="56" y="35"/>
                </a:cubicBezTo>
                <a:cubicBezTo>
                  <a:pt x="55" y="35"/>
                  <a:pt x="56" y="36"/>
                  <a:pt x="56" y="36"/>
                </a:cubicBezTo>
                <a:cubicBezTo>
                  <a:pt x="57" y="36"/>
                  <a:pt x="57" y="36"/>
                  <a:pt x="57" y="36"/>
                </a:cubicBezTo>
                <a:cubicBezTo>
                  <a:pt x="57" y="36"/>
                  <a:pt x="57" y="35"/>
                  <a:pt x="57" y="36"/>
                </a:cubicBezTo>
                <a:cubicBezTo>
                  <a:pt x="57" y="36"/>
                  <a:pt x="57" y="36"/>
                  <a:pt x="58" y="36"/>
                </a:cubicBezTo>
                <a:cubicBezTo>
                  <a:pt x="58" y="36"/>
                  <a:pt x="58" y="36"/>
                  <a:pt x="59" y="37"/>
                </a:cubicBezTo>
                <a:cubicBezTo>
                  <a:pt x="58" y="37"/>
                  <a:pt x="58" y="36"/>
                  <a:pt x="58" y="37"/>
                </a:cubicBezTo>
                <a:cubicBezTo>
                  <a:pt x="57" y="37"/>
                  <a:pt x="58" y="37"/>
                  <a:pt x="58" y="37"/>
                </a:cubicBezTo>
                <a:cubicBezTo>
                  <a:pt x="58" y="38"/>
                  <a:pt x="59" y="37"/>
                  <a:pt x="59" y="38"/>
                </a:cubicBezTo>
                <a:cubicBezTo>
                  <a:pt x="59" y="38"/>
                  <a:pt x="60" y="37"/>
                  <a:pt x="60" y="38"/>
                </a:cubicBezTo>
                <a:cubicBezTo>
                  <a:pt x="60" y="39"/>
                  <a:pt x="61" y="38"/>
                  <a:pt x="61" y="37"/>
                </a:cubicBezTo>
                <a:cubicBezTo>
                  <a:pt x="61" y="38"/>
                  <a:pt x="61" y="38"/>
                  <a:pt x="62" y="38"/>
                </a:cubicBezTo>
                <a:cubicBezTo>
                  <a:pt x="62" y="38"/>
                  <a:pt x="62" y="38"/>
                  <a:pt x="62" y="38"/>
                </a:cubicBezTo>
                <a:cubicBezTo>
                  <a:pt x="62" y="38"/>
                  <a:pt x="60" y="39"/>
                  <a:pt x="61" y="39"/>
                </a:cubicBezTo>
                <a:close/>
                <a:moveTo>
                  <a:pt x="62" y="45"/>
                </a:moveTo>
                <a:cubicBezTo>
                  <a:pt x="61" y="45"/>
                  <a:pt x="61" y="45"/>
                  <a:pt x="61" y="44"/>
                </a:cubicBezTo>
                <a:cubicBezTo>
                  <a:pt x="60" y="44"/>
                  <a:pt x="60" y="43"/>
                  <a:pt x="59" y="43"/>
                </a:cubicBezTo>
                <a:cubicBezTo>
                  <a:pt x="59" y="43"/>
                  <a:pt x="58" y="44"/>
                  <a:pt x="58" y="44"/>
                </a:cubicBezTo>
                <a:cubicBezTo>
                  <a:pt x="58" y="44"/>
                  <a:pt x="58" y="44"/>
                  <a:pt x="58" y="44"/>
                </a:cubicBezTo>
                <a:cubicBezTo>
                  <a:pt x="58" y="44"/>
                  <a:pt x="58" y="44"/>
                  <a:pt x="58" y="45"/>
                </a:cubicBezTo>
                <a:cubicBezTo>
                  <a:pt x="59" y="45"/>
                  <a:pt x="59" y="45"/>
                  <a:pt x="59" y="45"/>
                </a:cubicBezTo>
                <a:cubicBezTo>
                  <a:pt x="60" y="45"/>
                  <a:pt x="61" y="45"/>
                  <a:pt x="60" y="45"/>
                </a:cubicBezTo>
                <a:cubicBezTo>
                  <a:pt x="60" y="45"/>
                  <a:pt x="59" y="45"/>
                  <a:pt x="59" y="46"/>
                </a:cubicBezTo>
                <a:cubicBezTo>
                  <a:pt x="58" y="46"/>
                  <a:pt x="60" y="46"/>
                  <a:pt x="60" y="46"/>
                </a:cubicBezTo>
                <a:cubicBezTo>
                  <a:pt x="60" y="46"/>
                  <a:pt x="59" y="46"/>
                  <a:pt x="59" y="47"/>
                </a:cubicBezTo>
                <a:cubicBezTo>
                  <a:pt x="58" y="47"/>
                  <a:pt x="58" y="47"/>
                  <a:pt x="58" y="47"/>
                </a:cubicBezTo>
                <a:cubicBezTo>
                  <a:pt x="58" y="47"/>
                  <a:pt x="57" y="46"/>
                  <a:pt x="57" y="47"/>
                </a:cubicBezTo>
                <a:cubicBezTo>
                  <a:pt x="57" y="47"/>
                  <a:pt x="58" y="47"/>
                  <a:pt x="58" y="47"/>
                </a:cubicBezTo>
                <a:cubicBezTo>
                  <a:pt x="58" y="47"/>
                  <a:pt x="59" y="47"/>
                  <a:pt x="60" y="47"/>
                </a:cubicBezTo>
                <a:cubicBezTo>
                  <a:pt x="60" y="47"/>
                  <a:pt x="61" y="46"/>
                  <a:pt x="61" y="47"/>
                </a:cubicBezTo>
                <a:cubicBezTo>
                  <a:pt x="61" y="47"/>
                  <a:pt x="61" y="47"/>
                  <a:pt x="61" y="47"/>
                </a:cubicBezTo>
                <a:cubicBezTo>
                  <a:pt x="62" y="47"/>
                  <a:pt x="63" y="46"/>
                  <a:pt x="62" y="46"/>
                </a:cubicBezTo>
                <a:cubicBezTo>
                  <a:pt x="62" y="46"/>
                  <a:pt x="63" y="46"/>
                  <a:pt x="63" y="46"/>
                </a:cubicBezTo>
                <a:cubicBezTo>
                  <a:pt x="64" y="45"/>
                  <a:pt x="62" y="45"/>
                  <a:pt x="62" y="45"/>
                </a:cubicBezTo>
                <a:close/>
                <a:moveTo>
                  <a:pt x="62" y="50"/>
                </a:moveTo>
                <a:cubicBezTo>
                  <a:pt x="62" y="50"/>
                  <a:pt x="63" y="49"/>
                  <a:pt x="62" y="49"/>
                </a:cubicBezTo>
                <a:cubicBezTo>
                  <a:pt x="62" y="49"/>
                  <a:pt x="61" y="49"/>
                  <a:pt x="61" y="49"/>
                </a:cubicBezTo>
                <a:cubicBezTo>
                  <a:pt x="60" y="50"/>
                  <a:pt x="60" y="50"/>
                  <a:pt x="61" y="50"/>
                </a:cubicBezTo>
                <a:cubicBezTo>
                  <a:pt x="60" y="51"/>
                  <a:pt x="59" y="50"/>
                  <a:pt x="59" y="51"/>
                </a:cubicBezTo>
                <a:cubicBezTo>
                  <a:pt x="59" y="52"/>
                  <a:pt x="59" y="52"/>
                  <a:pt x="60" y="52"/>
                </a:cubicBezTo>
                <a:cubicBezTo>
                  <a:pt x="60" y="51"/>
                  <a:pt x="61" y="51"/>
                  <a:pt x="62" y="50"/>
                </a:cubicBezTo>
                <a:close/>
                <a:moveTo>
                  <a:pt x="55" y="30"/>
                </a:moveTo>
                <a:cubicBezTo>
                  <a:pt x="55" y="30"/>
                  <a:pt x="55" y="30"/>
                  <a:pt x="56" y="30"/>
                </a:cubicBezTo>
                <a:cubicBezTo>
                  <a:pt x="56" y="31"/>
                  <a:pt x="56" y="31"/>
                  <a:pt x="57" y="31"/>
                </a:cubicBezTo>
                <a:cubicBezTo>
                  <a:pt x="57" y="30"/>
                  <a:pt x="56" y="30"/>
                  <a:pt x="56" y="30"/>
                </a:cubicBezTo>
                <a:cubicBezTo>
                  <a:pt x="56" y="29"/>
                  <a:pt x="57" y="29"/>
                  <a:pt x="57" y="29"/>
                </a:cubicBezTo>
                <a:cubicBezTo>
                  <a:pt x="57" y="29"/>
                  <a:pt x="56" y="29"/>
                  <a:pt x="57" y="30"/>
                </a:cubicBezTo>
                <a:cubicBezTo>
                  <a:pt x="57" y="30"/>
                  <a:pt x="57" y="31"/>
                  <a:pt x="57" y="30"/>
                </a:cubicBezTo>
                <a:cubicBezTo>
                  <a:pt x="57" y="30"/>
                  <a:pt x="58" y="31"/>
                  <a:pt x="58" y="30"/>
                </a:cubicBezTo>
                <a:cubicBezTo>
                  <a:pt x="58" y="30"/>
                  <a:pt x="58" y="30"/>
                  <a:pt x="58" y="30"/>
                </a:cubicBezTo>
                <a:cubicBezTo>
                  <a:pt x="58" y="29"/>
                  <a:pt x="58" y="29"/>
                  <a:pt x="58" y="29"/>
                </a:cubicBezTo>
                <a:cubicBezTo>
                  <a:pt x="58" y="29"/>
                  <a:pt x="59" y="29"/>
                  <a:pt x="59" y="29"/>
                </a:cubicBezTo>
                <a:cubicBezTo>
                  <a:pt x="59" y="29"/>
                  <a:pt x="60" y="29"/>
                  <a:pt x="59" y="29"/>
                </a:cubicBezTo>
                <a:cubicBezTo>
                  <a:pt x="60" y="29"/>
                  <a:pt x="59" y="28"/>
                  <a:pt x="59" y="28"/>
                </a:cubicBezTo>
                <a:cubicBezTo>
                  <a:pt x="58" y="29"/>
                  <a:pt x="58" y="29"/>
                  <a:pt x="57" y="29"/>
                </a:cubicBezTo>
                <a:cubicBezTo>
                  <a:pt x="58" y="29"/>
                  <a:pt x="59" y="28"/>
                  <a:pt x="59" y="28"/>
                </a:cubicBezTo>
                <a:cubicBezTo>
                  <a:pt x="59" y="27"/>
                  <a:pt x="59" y="27"/>
                  <a:pt x="60" y="28"/>
                </a:cubicBezTo>
                <a:cubicBezTo>
                  <a:pt x="60" y="28"/>
                  <a:pt x="61" y="28"/>
                  <a:pt x="61" y="27"/>
                </a:cubicBezTo>
                <a:cubicBezTo>
                  <a:pt x="61" y="27"/>
                  <a:pt x="61" y="27"/>
                  <a:pt x="61" y="27"/>
                </a:cubicBezTo>
                <a:cubicBezTo>
                  <a:pt x="61" y="27"/>
                  <a:pt x="61" y="27"/>
                  <a:pt x="60" y="27"/>
                </a:cubicBezTo>
                <a:cubicBezTo>
                  <a:pt x="60" y="27"/>
                  <a:pt x="60" y="27"/>
                  <a:pt x="60" y="27"/>
                </a:cubicBezTo>
                <a:cubicBezTo>
                  <a:pt x="60" y="27"/>
                  <a:pt x="61" y="26"/>
                  <a:pt x="61" y="26"/>
                </a:cubicBezTo>
                <a:cubicBezTo>
                  <a:pt x="61" y="26"/>
                  <a:pt x="61" y="25"/>
                  <a:pt x="61" y="25"/>
                </a:cubicBezTo>
                <a:cubicBezTo>
                  <a:pt x="61" y="24"/>
                  <a:pt x="60" y="25"/>
                  <a:pt x="59" y="25"/>
                </a:cubicBezTo>
                <a:cubicBezTo>
                  <a:pt x="59" y="25"/>
                  <a:pt x="58" y="26"/>
                  <a:pt x="57" y="26"/>
                </a:cubicBezTo>
                <a:cubicBezTo>
                  <a:pt x="57" y="26"/>
                  <a:pt x="56" y="26"/>
                  <a:pt x="56" y="27"/>
                </a:cubicBezTo>
                <a:cubicBezTo>
                  <a:pt x="56" y="27"/>
                  <a:pt x="57" y="28"/>
                  <a:pt x="57" y="28"/>
                </a:cubicBezTo>
                <a:cubicBezTo>
                  <a:pt x="56" y="28"/>
                  <a:pt x="56" y="27"/>
                  <a:pt x="56" y="27"/>
                </a:cubicBezTo>
                <a:cubicBezTo>
                  <a:pt x="55" y="27"/>
                  <a:pt x="55" y="28"/>
                  <a:pt x="55" y="28"/>
                </a:cubicBezTo>
                <a:cubicBezTo>
                  <a:pt x="55" y="28"/>
                  <a:pt x="55" y="27"/>
                  <a:pt x="55" y="27"/>
                </a:cubicBezTo>
                <a:cubicBezTo>
                  <a:pt x="55" y="27"/>
                  <a:pt x="54" y="27"/>
                  <a:pt x="54" y="28"/>
                </a:cubicBezTo>
                <a:cubicBezTo>
                  <a:pt x="54" y="28"/>
                  <a:pt x="53" y="28"/>
                  <a:pt x="53" y="28"/>
                </a:cubicBezTo>
                <a:cubicBezTo>
                  <a:pt x="53" y="28"/>
                  <a:pt x="54" y="29"/>
                  <a:pt x="54" y="29"/>
                </a:cubicBezTo>
                <a:cubicBezTo>
                  <a:pt x="54" y="29"/>
                  <a:pt x="54" y="29"/>
                  <a:pt x="54" y="29"/>
                </a:cubicBezTo>
                <a:cubicBezTo>
                  <a:pt x="54" y="29"/>
                  <a:pt x="54" y="29"/>
                  <a:pt x="55" y="29"/>
                </a:cubicBezTo>
                <a:cubicBezTo>
                  <a:pt x="54" y="29"/>
                  <a:pt x="54" y="29"/>
                  <a:pt x="53" y="30"/>
                </a:cubicBezTo>
                <a:cubicBezTo>
                  <a:pt x="54" y="30"/>
                  <a:pt x="55" y="30"/>
                  <a:pt x="55" y="30"/>
                </a:cubicBezTo>
                <a:close/>
                <a:moveTo>
                  <a:pt x="70" y="80"/>
                </a:moveTo>
                <a:cubicBezTo>
                  <a:pt x="70" y="80"/>
                  <a:pt x="71" y="79"/>
                  <a:pt x="72" y="79"/>
                </a:cubicBezTo>
                <a:cubicBezTo>
                  <a:pt x="72" y="79"/>
                  <a:pt x="72" y="79"/>
                  <a:pt x="73" y="79"/>
                </a:cubicBezTo>
                <a:cubicBezTo>
                  <a:pt x="73" y="78"/>
                  <a:pt x="73" y="78"/>
                  <a:pt x="73" y="78"/>
                </a:cubicBezTo>
                <a:cubicBezTo>
                  <a:pt x="72" y="78"/>
                  <a:pt x="72" y="79"/>
                  <a:pt x="71" y="78"/>
                </a:cubicBezTo>
                <a:cubicBezTo>
                  <a:pt x="71" y="77"/>
                  <a:pt x="70" y="77"/>
                  <a:pt x="70" y="77"/>
                </a:cubicBezTo>
                <a:cubicBezTo>
                  <a:pt x="68" y="77"/>
                  <a:pt x="69" y="80"/>
                  <a:pt x="70" y="79"/>
                </a:cubicBezTo>
                <a:cubicBezTo>
                  <a:pt x="70" y="80"/>
                  <a:pt x="70" y="80"/>
                  <a:pt x="70" y="80"/>
                </a:cubicBezTo>
                <a:close/>
                <a:moveTo>
                  <a:pt x="57" y="54"/>
                </a:moveTo>
                <a:cubicBezTo>
                  <a:pt x="58" y="54"/>
                  <a:pt x="58" y="54"/>
                  <a:pt x="58" y="54"/>
                </a:cubicBezTo>
                <a:cubicBezTo>
                  <a:pt x="59" y="54"/>
                  <a:pt x="59" y="54"/>
                  <a:pt x="59" y="53"/>
                </a:cubicBezTo>
                <a:cubicBezTo>
                  <a:pt x="60" y="53"/>
                  <a:pt x="59" y="52"/>
                  <a:pt x="59" y="52"/>
                </a:cubicBezTo>
                <a:cubicBezTo>
                  <a:pt x="59" y="51"/>
                  <a:pt x="59" y="50"/>
                  <a:pt x="58" y="51"/>
                </a:cubicBezTo>
                <a:cubicBezTo>
                  <a:pt x="58" y="51"/>
                  <a:pt x="57" y="51"/>
                  <a:pt x="57" y="52"/>
                </a:cubicBezTo>
                <a:cubicBezTo>
                  <a:pt x="57" y="52"/>
                  <a:pt x="57" y="51"/>
                  <a:pt x="57" y="51"/>
                </a:cubicBezTo>
                <a:cubicBezTo>
                  <a:pt x="57" y="51"/>
                  <a:pt x="56" y="51"/>
                  <a:pt x="56" y="52"/>
                </a:cubicBezTo>
                <a:cubicBezTo>
                  <a:pt x="56" y="53"/>
                  <a:pt x="56" y="53"/>
                  <a:pt x="55" y="53"/>
                </a:cubicBezTo>
                <a:cubicBezTo>
                  <a:pt x="55" y="54"/>
                  <a:pt x="56" y="53"/>
                  <a:pt x="56" y="53"/>
                </a:cubicBezTo>
                <a:cubicBezTo>
                  <a:pt x="56" y="53"/>
                  <a:pt x="58" y="52"/>
                  <a:pt x="58" y="52"/>
                </a:cubicBezTo>
                <a:cubicBezTo>
                  <a:pt x="57" y="53"/>
                  <a:pt x="57" y="53"/>
                  <a:pt x="57" y="53"/>
                </a:cubicBezTo>
                <a:cubicBezTo>
                  <a:pt x="57" y="53"/>
                  <a:pt x="57" y="53"/>
                  <a:pt x="57" y="53"/>
                </a:cubicBezTo>
                <a:cubicBezTo>
                  <a:pt x="57" y="54"/>
                  <a:pt x="56" y="54"/>
                  <a:pt x="57" y="54"/>
                </a:cubicBezTo>
                <a:close/>
                <a:moveTo>
                  <a:pt x="54" y="32"/>
                </a:moveTo>
                <a:cubicBezTo>
                  <a:pt x="54" y="32"/>
                  <a:pt x="55" y="32"/>
                  <a:pt x="55" y="31"/>
                </a:cubicBezTo>
                <a:cubicBezTo>
                  <a:pt x="55" y="31"/>
                  <a:pt x="56" y="31"/>
                  <a:pt x="56" y="31"/>
                </a:cubicBezTo>
                <a:cubicBezTo>
                  <a:pt x="56" y="31"/>
                  <a:pt x="56" y="31"/>
                  <a:pt x="56" y="31"/>
                </a:cubicBezTo>
                <a:cubicBezTo>
                  <a:pt x="55" y="30"/>
                  <a:pt x="54" y="30"/>
                  <a:pt x="54" y="31"/>
                </a:cubicBezTo>
                <a:cubicBezTo>
                  <a:pt x="54" y="31"/>
                  <a:pt x="55" y="31"/>
                  <a:pt x="55" y="31"/>
                </a:cubicBezTo>
                <a:cubicBezTo>
                  <a:pt x="54" y="31"/>
                  <a:pt x="54" y="31"/>
                  <a:pt x="53" y="31"/>
                </a:cubicBezTo>
                <a:cubicBezTo>
                  <a:pt x="53" y="31"/>
                  <a:pt x="53" y="31"/>
                  <a:pt x="53" y="31"/>
                </a:cubicBezTo>
                <a:cubicBezTo>
                  <a:pt x="53" y="31"/>
                  <a:pt x="54" y="32"/>
                  <a:pt x="54" y="32"/>
                </a:cubicBezTo>
                <a:close/>
                <a:moveTo>
                  <a:pt x="42" y="31"/>
                </a:moveTo>
                <a:cubicBezTo>
                  <a:pt x="42" y="31"/>
                  <a:pt x="41" y="31"/>
                  <a:pt x="41" y="31"/>
                </a:cubicBezTo>
                <a:cubicBezTo>
                  <a:pt x="41" y="31"/>
                  <a:pt x="41" y="31"/>
                  <a:pt x="42" y="32"/>
                </a:cubicBezTo>
                <a:cubicBezTo>
                  <a:pt x="42" y="31"/>
                  <a:pt x="42" y="31"/>
                  <a:pt x="42" y="31"/>
                </a:cubicBezTo>
                <a:close/>
                <a:moveTo>
                  <a:pt x="52" y="34"/>
                </a:moveTo>
                <a:cubicBezTo>
                  <a:pt x="53" y="34"/>
                  <a:pt x="51" y="34"/>
                  <a:pt x="51" y="34"/>
                </a:cubicBezTo>
                <a:cubicBezTo>
                  <a:pt x="52" y="34"/>
                  <a:pt x="54" y="34"/>
                  <a:pt x="52" y="33"/>
                </a:cubicBezTo>
                <a:cubicBezTo>
                  <a:pt x="52" y="33"/>
                  <a:pt x="53" y="34"/>
                  <a:pt x="53" y="33"/>
                </a:cubicBezTo>
                <a:cubicBezTo>
                  <a:pt x="53" y="33"/>
                  <a:pt x="52" y="33"/>
                  <a:pt x="52" y="33"/>
                </a:cubicBezTo>
                <a:cubicBezTo>
                  <a:pt x="53" y="32"/>
                  <a:pt x="51" y="33"/>
                  <a:pt x="51" y="33"/>
                </a:cubicBezTo>
                <a:cubicBezTo>
                  <a:pt x="51" y="33"/>
                  <a:pt x="51" y="33"/>
                  <a:pt x="51" y="33"/>
                </a:cubicBezTo>
                <a:cubicBezTo>
                  <a:pt x="51" y="33"/>
                  <a:pt x="50" y="33"/>
                  <a:pt x="50" y="33"/>
                </a:cubicBezTo>
                <a:cubicBezTo>
                  <a:pt x="49" y="34"/>
                  <a:pt x="50" y="34"/>
                  <a:pt x="51" y="34"/>
                </a:cubicBezTo>
                <a:cubicBezTo>
                  <a:pt x="51" y="35"/>
                  <a:pt x="52" y="35"/>
                  <a:pt x="52" y="34"/>
                </a:cubicBezTo>
                <a:close/>
                <a:moveTo>
                  <a:pt x="111" y="98"/>
                </a:moveTo>
                <a:cubicBezTo>
                  <a:pt x="111" y="98"/>
                  <a:pt x="112" y="98"/>
                  <a:pt x="113" y="98"/>
                </a:cubicBezTo>
                <a:cubicBezTo>
                  <a:pt x="113" y="98"/>
                  <a:pt x="112" y="97"/>
                  <a:pt x="111" y="98"/>
                </a:cubicBezTo>
                <a:close/>
                <a:moveTo>
                  <a:pt x="106" y="1"/>
                </a:moveTo>
                <a:cubicBezTo>
                  <a:pt x="106" y="0"/>
                  <a:pt x="105" y="1"/>
                  <a:pt x="105" y="1"/>
                </a:cubicBezTo>
                <a:cubicBezTo>
                  <a:pt x="105" y="1"/>
                  <a:pt x="105" y="1"/>
                  <a:pt x="105" y="1"/>
                </a:cubicBezTo>
                <a:cubicBezTo>
                  <a:pt x="105" y="0"/>
                  <a:pt x="104" y="2"/>
                  <a:pt x="104" y="2"/>
                </a:cubicBezTo>
                <a:cubicBezTo>
                  <a:pt x="104" y="3"/>
                  <a:pt x="105" y="2"/>
                  <a:pt x="105" y="2"/>
                </a:cubicBezTo>
                <a:cubicBezTo>
                  <a:pt x="105" y="2"/>
                  <a:pt x="106" y="1"/>
                  <a:pt x="106" y="1"/>
                </a:cubicBezTo>
                <a:close/>
                <a:moveTo>
                  <a:pt x="57" y="43"/>
                </a:moveTo>
                <a:cubicBezTo>
                  <a:pt x="57" y="43"/>
                  <a:pt x="55" y="44"/>
                  <a:pt x="55" y="44"/>
                </a:cubicBezTo>
                <a:cubicBezTo>
                  <a:pt x="55" y="44"/>
                  <a:pt x="57" y="44"/>
                  <a:pt x="57" y="43"/>
                </a:cubicBezTo>
                <a:close/>
                <a:moveTo>
                  <a:pt x="85" y="22"/>
                </a:moveTo>
                <a:cubicBezTo>
                  <a:pt x="85" y="22"/>
                  <a:pt x="85" y="22"/>
                  <a:pt x="85" y="21"/>
                </a:cubicBezTo>
                <a:cubicBezTo>
                  <a:pt x="85" y="21"/>
                  <a:pt x="85" y="21"/>
                  <a:pt x="85" y="21"/>
                </a:cubicBezTo>
                <a:cubicBezTo>
                  <a:pt x="85" y="21"/>
                  <a:pt x="85" y="21"/>
                  <a:pt x="85" y="21"/>
                </a:cubicBezTo>
                <a:cubicBezTo>
                  <a:pt x="85" y="21"/>
                  <a:pt x="84" y="19"/>
                  <a:pt x="83" y="20"/>
                </a:cubicBezTo>
                <a:cubicBezTo>
                  <a:pt x="83" y="21"/>
                  <a:pt x="84" y="21"/>
                  <a:pt x="84" y="21"/>
                </a:cubicBezTo>
                <a:cubicBezTo>
                  <a:pt x="84" y="21"/>
                  <a:pt x="84" y="22"/>
                  <a:pt x="85" y="22"/>
                </a:cubicBezTo>
                <a:close/>
                <a:moveTo>
                  <a:pt x="51" y="36"/>
                </a:moveTo>
                <a:cubicBezTo>
                  <a:pt x="51" y="36"/>
                  <a:pt x="52" y="36"/>
                  <a:pt x="52" y="35"/>
                </a:cubicBezTo>
                <a:cubicBezTo>
                  <a:pt x="52" y="35"/>
                  <a:pt x="52" y="35"/>
                  <a:pt x="52" y="35"/>
                </a:cubicBezTo>
                <a:cubicBezTo>
                  <a:pt x="52" y="35"/>
                  <a:pt x="52" y="35"/>
                  <a:pt x="52" y="35"/>
                </a:cubicBezTo>
                <a:cubicBezTo>
                  <a:pt x="51" y="34"/>
                  <a:pt x="50" y="35"/>
                  <a:pt x="51" y="36"/>
                </a:cubicBezTo>
                <a:close/>
                <a:moveTo>
                  <a:pt x="59" y="49"/>
                </a:moveTo>
                <a:cubicBezTo>
                  <a:pt x="58" y="49"/>
                  <a:pt x="58" y="49"/>
                  <a:pt x="58" y="50"/>
                </a:cubicBezTo>
                <a:cubicBezTo>
                  <a:pt x="58" y="50"/>
                  <a:pt x="58" y="50"/>
                  <a:pt x="58" y="50"/>
                </a:cubicBezTo>
                <a:cubicBezTo>
                  <a:pt x="59" y="49"/>
                  <a:pt x="59" y="49"/>
                  <a:pt x="59" y="49"/>
                </a:cubicBezTo>
                <a:close/>
                <a:moveTo>
                  <a:pt x="50" y="40"/>
                </a:moveTo>
                <a:cubicBezTo>
                  <a:pt x="50" y="39"/>
                  <a:pt x="50" y="39"/>
                  <a:pt x="49" y="40"/>
                </a:cubicBezTo>
                <a:cubicBezTo>
                  <a:pt x="49" y="40"/>
                  <a:pt x="48" y="40"/>
                  <a:pt x="49" y="40"/>
                </a:cubicBezTo>
                <a:cubicBezTo>
                  <a:pt x="49" y="40"/>
                  <a:pt x="50" y="40"/>
                  <a:pt x="50" y="40"/>
                </a:cubicBezTo>
                <a:close/>
                <a:moveTo>
                  <a:pt x="53" y="45"/>
                </a:moveTo>
                <a:cubicBezTo>
                  <a:pt x="52" y="45"/>
                  <a:pt x="53" y="45"/>
                  <a:pt x="53" y="45"/>
                </a:cubicBezTo>
                <a:cubicBezTo>
                  <a:pt x="53" y="45"/>
                  <a:pt x="54" y="45"/>
                  <a:pt x="54" y="45"/>
                </a:cubicBezTo>
                <a:cubicBezTo>
                  <a:pt x="55" y="45"/>
                  <a:pt x="55" y="44"/>
                  <a:pt x="54" y="44"/>
                </a:cubicBezTo>
                <a:cubicBezTo>
                  <a:pt x="54" y="45"/>
                  <a:pt x="53" y="44"/>
                  <a:pt x="53" y="45"/>
                </a:cubicBezTo>
                <a:close/>
                <a:moveTo>
                  <a:pt x="86" y="121"/>
                </a:moveTo>
                <a:cubicBezTo>
                  <a:pt x="86" y="121"/>
                  <a:pt x="85" y="121"/>
                  <a:pt x="85" y="121"/>
                </a:cubicBezTo>
                <a:cubicBezTo>
                  <a:pt x="85" y="121"/>
                  <a:pt x="85" y="121"/>
                  <a:pt x="85" y="122"/>
                </a:cubicBezTo>
                <a:cubicBezTo>
                  <a:pt x="85" y="121"/>
                  <a:pt x="86" y="122"/>
                  <a:pt x="86" y="122"/>
                </a:cubicBezTo>
                <a:cubicBezTo>
                  <a:pt x="87" y="122"/>
                  <a:pt x="87" y="121"/>
                  <a:pt x="86" y="121"/>
                </a:cubicBezTo>
                <a:close/>
                <a:moveTo>
                  <a:pt x="70" y="67"/>
                </a:moveTo>
                <a:cubicBezTo>
                  <a:pt x="70" y="67"/>
                  <a:pt x="70" y="68"/>
                  <a:pt x="69" y="68"/>
                </a:cubicBezTo>
                <a:cubicBezTo>
                  <a:pt x="69" y="68"/>
                  <a:pt x="69" y="68"/>
                  <a:pt x="68" y="69"/>
                </a:cubicBezTo>
                <a:cubicBezTo>
                  <a:pt x="68" y="69"/>
                  <a:pt x="68" y="70"/>
                  <a:pt x="68" y="70"/>
                </a:cubicBezTo>
                <a:cubicBezTo>
                  <a:pt x="68" y="70"/>
                  <a:pt x="69" y="70"/>
                  <a:pt x="69" y="70"/>
                </a:cubicBezTo>
                <a:cubicBezTo>
                  <a:pt x="70" y="69"/>
                  <a:pt x="71" y="69"/>
                  <a:pt x="71" y="68"/>
                </a:cubicBezTo>
                <a:cubicBezTo>
                  <a:pt x="72" y="68"/>
                  <a:pt x="71" y="67"/>
                  <a:pt x="72" y="67"/>
                </a:cubicBezTo>
                <a:cubicBezTo>
                  <a:pt x="72" y="66"/>
                  <a:pt x="70" y="67"/>
                  <a:pt x="70" y="67"/>
                </a:cubicBezTo>
                <a:close/>
                <a:moveTo>
                  <a:pt x="81" y="119"/>
                </a:moveTo>
                <a:cubicBezTo>
                  <a:pt x="82" y="119"/>
                  <a:pt x="82" y="119"/>
                  <a:pt x="82" y="119"/>
                </a:cubicBezTo>
                <a:cubicBezTo>
                  <a:pt x="82" y="119"/>
                  <a:pt x="83" y="118"/>
                  <a:pt x="83" y="118"/>
                </a:cubicBezTo>
                <a:cubicBezTo>
                  <a:pt x="82" y="118"/>
                  <a:pt x="81" y="119"/>
                  <a:pt x="81" y="11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 name="United Arab Emirates"/>
          <p:cNvSpPr>
            <a:spLocks noEditPoints="1"/>
          </p:cNvSpPr>
          <p:nvPr/>
        </p:nvSpPr>
        <p:spPr bwMode="auto">
          <a:xfrm>
            <a:off x="7566017" y="3625976"/>
            <a:ext cx="158994" cy="136995"/>
          </a:xfrm>
          <a:custGeom>
            <a:avLst/>
            <a:gdLst/>
            <a:ahLst/>
            <a:cxnLst>
              <a:cxn ang="0">
                <a:pos x="44" y="9"/>
              </a:cxn>
              <a:cxn ang="0">
                <a:pos x="42" y="5"/>
              </a:cxn>
              <a:cxn ang="0">
                <a:pos x="42" y="3"/>
              </a:cxn>
              <a:cxn ang="0">
                <a:pos x="42" y="1"/>
              </a:cxn>
              <a:cxn ang="0">
                <a:pos x="40" y="4"/>
              </a:cxn>
              <a:cxn ang="0">
                <a:pos x="39" y="5"/>
              </a:cxn>
              <a:cxn ang="0">
                <a:pos x="37" y="7"/>
              </a:cxn>
              <a:cxn ang="0">
                <a:pos x="36" y="8"/>
              </a:cxn>
              <a:cxn ang="0">
                <a:pos x="34" y="9"/>
              </a:cxn>
              <a:cxn ang="0">
                <a:pos x="34" y="10"/>
              </a:cxn>
              <a:cxn ang="0">
                <a:pos x="31" y="13"/>
              </a:cxn>
              <a:cxn ang="0">
                <a:pos x="29" y="15"/>
              </a:cxn>
              <a:cxn ang="0">
                <a:pos x="28" y="16"/>
              </a:cxn>
              <a:cxn ang="0">
                <a:pos x="28" y="18"/>
              </a:cxn>
              <a:cxn ang="0">
                <a:pos x="26" y="21"/>
              </a:cxn>
              <a:cxn ang="0">
                <a:pos x="23" y="20"/>
              </a:cxn>
              <a:cxn ang="0">
                <a:pos x="23" y="22"/>
              </a:cxn>
              <a:cxn ang="0">
                <a:pos x="16" y="22"/>
              </a:cxn>
              <a:cxn ang="0">
                <a:pos x="13" y="22"/>
              </a:cxn>
              <a:cxn ang="0">
                <a:pos x="10" y="22"/>
              </a:cxn>
              <a:cxn ang="0">
                <a:pos x="9" y="22"/>
              </a:cxn>
              <a:cxn ang="0">
                <a:pos x="3" y="24"/>
              </a:cxn>
              <a:cxn ang="0">
                <a:pos x="2" y="22"/>
              </a:cxn>
              <a:cxn ang="0">
                <a:pos x="1" y="21"/>
              </a:cxn>
              <a:cxn ang="0">
                <a:pos x="0" y="20"/>
              </a:cxn>
              <a:cxn ang="0">
                <a:pos x="0" y="21"/>
              </a:cxn>
              <a:cxn ang="0">
                <a:pos x="4" y="27"/>
              </a:cxn>
              <a:cxn ang="0">
                <a:pos x="11" y="35"/>
              </a:cxn>
              <a:cxn ang="0">
                <a:pos x="21" y="37"/>
              </a:cxn>
              <a:cxn ang="0">
                <a:pos x="33" y="38"/>
              </a:cxn>
              <a:cxn ang="0">
                <a:pos x="35" y="36"/>
              </a:cxn>
              <a:cxn ang="0">
                <a:pos x="36" y="32"/>
              </a:cxn>
              <a:cxn ang="0">
                <a:pos x="37" y="28"/>
              </a:cxn>
              <a:cxn ang="0">
                <a:pos x="38" y="25"/>
              </a:cxn>
              <a:cxn ang="0">
                <a:pos x="40" y="23"/>
              </a:cxn>
              <a:cxn ang="0">
                <a:pos x="41" y="21"/>
              </a:cxn>
              <a:cxn ang="0">
                <a:pos x="40" y="20"/>
              </a:cxn>
              <a:cxn ang="0">
                <a:pos x="39" y="15"/>
              </a:cxn>
              <a:cxn ang="0">
                <a:pos x="41" y="13"/>
              </a:cxn>
              <a:cxn ang="0">
                <a:pos x="41" y="14"/>
              </a:cxn>
              <a:cxn ang="0">
                <a:pos x="43" y="14"/>
              </a:cxn>
              <a:cxn ang="0">
                <a:pos x="44" y="12"/>
              </a:cxn>
              <a:cxn ang="0">
                <a:pos x="43" y="10"/>
              </a:cxn>
              <a:cxn ang="0">
                <a:pos x="27" y="18"/>
              </a:cxn>
              <a:cxn ang="0">
                <a:pos x="27" y="18"/>
              </a:cxn>
              <a:cxn ang="0">
                <a:pos x="27" y="17"/>
              </a:cxn>
              <a:cxn ang="0">
                <a:pos x="16" y="21"/>
              </a:cxn>
              <a:cxn ang="0">
                <a:pos x="16" y="20"/>
              </a:cxn>
              <a:cxn ang="0">
                <a:pos x="21" y="22"/>
              </a:cxn>
              <a:cxn ang="0">
                <a:pos x="20" y="21"/>
              </a:cxn>
              <a:cxn ang="0">
                <a:pos x="22" y="22"/>
              </a:cxn>
              <a:cxn ang="0">
                <a:pos x="21" y="22"/>
              </a:cxn>
            </a:cxnLst>
            <a:rect l="0" t="0" r="r" b="b"/>
            <a:pathLst>
              <a:path w="44" h="38">
                <a:moveTo>
                  <a:pt x="44" y="12"/>
                </a:moveTo>
                <a:cubicBezTo>
                  <a:pt x="44" y="11"/>
                  <a:pt x="44" y="10"/>
                  <a:pt x="44" y="9"/>
                </a:cubicBezTo>
                <a:cubicBezTo>
                  <a:pt x="44" y="8"/>
                  <a:pt x="44" y="7"/>
                  <a:pt x="44" y="6"/>
                </a:cubicBezTo>
                <a:cubicBezTo>
                  <a:pt x="43" y="6"/>
                  <a:pt x="42" y="6"/>
                  <a:pt x="42" y="5"/>
                </a:cubicBezTo>
                <a:cubicBezTo>
                  <a:pt x="42" y="5"/>
                  <a:pt x="42" y="5"/>
                  <a:pt x="42" y="5"/>
                </a:cubicBezTo>
                <a:cubicBezTo>
                  <a:pt x="42" y="4"/>
                  <a:pt x="42" y="4"/>
                  <a:pt x="42" y="3"/>
                </a:cubicBezTo>
                <a:cubicBezTo>
                  <a:pt x="41" y="3"/>
                  <a:pt x="42" y="3"/>
                  <a:pt x="42" y="2"/>
                </a:cubicBezTo>
                <a:cubicBezTo>
                  <a:pt x="42" y="2"/>
                  <a:pt x="42" y="1"/>
                  <a:pt x="42" y="1"/>
                </a:cubicBezTo>
                <a:cubicBezTo>
                  <a:pt x="41" y="0"/>
                  <a:pt x="41" y="1"/>
                  <a:pt x="41" y="1"/>
                </a:cubicBezTo>
                <a:cubicBezTo>
                  <a:pt x="41" y="2"/>
                  <a:pt x="40" y="3"/>
                  <a:pt x="40" y="4"/>
                </a:cubicBezTo>
                <a:cubicBezTo>
                  <a:pt x="40" y="3"/>
                  <a:pt x="39" y="4"/>
                  <a:pt x="39" y="4"/>
                </a:cubicBezTo>
                <a:cubicBezTo>
                  <a:pt x="39" y="4"/>
                  <a:pt x="39" y="5"/>
                  <a:pt x="39" y="5"/>
                </a:cubicBezTo>
                <a:cubicBezTo>
                  <a:pt x="38" y="5"/>
                  <a:pt x="38" y="5"/>
                  <a:pt x="37" y="6"/>
                </a:cubicBezTo>
                <a:cubicBezTo>
                  <a:pt x="37" y="6"/>
                  <a:pt x="37" y="7"/>
                  <a:pt x="37" y="7"/>
                </a:cubicBezTo>
                <a:cubicBezTo>
                  <a:pt x="36" y="7"/>
                  <a:pt x="36" y="7"/>
                  <a:pt x="36" y="6"/>
                </a:cubicBezTo>
                <a:cubicBezTo>
                  <a:pt x="36" y="6"/>
                  <a:pt x="36" y="7"/>
                  <a:pt x="36" y="8"/>
                </a:cubicBezTo>
                <a:cubicBezTo>
                  <a:pt x="35" y="8"/>
                  <a:pt x="35" y="8"/>
                  <a:pt x="35" y="8"/>
                </a:cubicBezTo>
                <a:cubicBezTo>
                  <a:pt x="35" y="9"/>
                  <a:pt x="34" y="9"/>
                  <a:pt x="34" y="9"/>
                </a:cubicBezTo>
                <a:cubicBezTo>
                  <a:pt x="34" y="10"/>
                  <a:pt x="35" y="10"/>
                  <a:pt x="34" y="10"/>
                </a:cubicBezTo>
                <a:cubicBezTo>
                  <a:pt x="34" y="10"/>
                  <a:pt x="34" y="10"/>
                  <a:pt x="34" y="10"/>
                </a:cubicBezTo>
                <a:cubicBezTo>
                  <a:pt x="34" y="10"/>
                  <a:pt x="34" y="10"/>
                  <a:pt x="33" y="11"/>
                </a:cubicBezTo>
                <a:cubicBezTo>
                  <a:pt x="33" y="12"/>
                  <a:pt x="32" y="12"/>
                  <a:pt x="31" y="13"/>
                </a:cubicBezTo>
                <a:cubicBezTo>
                  <a:pt x="30" y="13"/>
                  <a:pt x="30" y="14"/>
                  <a:pt x="29" y="15"/>
                </a:cubicBezTo>
                <a:cubicBezTo>
                  <a:pt x="29" y="15"/>
                  <a:pt x="29" y="15"/>
                  <a:pt x="29" y="15"/>
                </a:cubicBezTo>
                <a:cubicBezTo>
                  <a:pt x="29" y="15"/>
                  <a:pt x="28" y="15"/>
                  <a:pt x="28" y="16"/>
                </a:cubicBezTo>
                <a:cubicBezTo>
                  <a:pt x="28" y="16"/>
                  <a:pt x="29" y="16"/>
                  <a:pt x="28" y="16"/>
                </a:cubicBezTo>
                <a:cubicBezTo>
                  <a:pt x="28" y="17"/>
                  <a:pt x="28" y="17"/>
                  <a:pt x="28" y="17"/>
                </a:cubicBezTo>
                <a:cubicBezTo>
                  <a:pt x="28" y="18"/>
                  <a:pt x="27" y="18"/>
                  <a:pt x="28" y="18"/>
                </a:cubicBezTo>
                <a:cubicBezTo>
                  <a:pt x="28" y="19"/>
                  <a:pt x="27" y="19"/>
                  <a:pt x="27" y="19"/>
                </a:cubicBezTo>
                <a:cubicBezTo>
                  <a:pt x="27" y="19"/>
                  <a:pt x="27" y="21"/>
                  <a:pt x="26" y="21"/>
                </a:cubicBezTo>
                <a:cubicBezTo>
                  <a:pt x="26" y="21"/>
                  <a:pt x="25" y="21"/>
                  <a:pt x="25" y="21"/>
                </a:cubicBezTo>
                <a:cubicBezTo>
                  <a:pt x="24" y="21"/>
                  <a:pt x="24" y="19"/>
                  <a:pt x="23" y="20"/>
                </a:cubicBezTo>
                <a:cubicBezTo>
                  <a:pt x="23" y="21"/>
                  <a:pt x="24" y="21"/>
                  <a:pt x="24" y="21"/>
                </a:cubicBezTo>
                <a:cubicBezTo>
                  <a:pt x="25" y="22"/>
                  <a:pt x="24" y="22"/>
                  <a:pt x="23" y="22"/>
                </a:cubicBezTo>
                <a:cubicBezTo>
                  <a:pt x="22" y="23"/>
                  <a:pt x="20" y="23"/>
                  <a:pt x="18" y="22"/>
                </a:cubicBezTo>
                <a:cubicBezTo>
                  <a:pt x="17" y="22"/>
                  <a:pt x="16" y="23"/>
                  <a:pt x="16" y="22"/>
                </a:cubicBezTo>
                <a:cubicBezTo>
                  <a:pt x="15" y="22"/>
                  <a:pt x="15" y="21"/>
                  <a:pt x="15" y="22"/>
                </a:cubicBezTo>
                <a:cubicBezTo>
                  <a:pt x="14" y="22"/>
                  <a:pt x="14" y="22"/>
                  <a:pt x="13" y="22"/>
                </a:cubicBezTo>
                <a:cubicBezTo>
                  <a:pt x="13" y="22"/>
                  <a:pt x="12" y="22"/>
                  <a:pt x="11" y="22"/>
                </a:cubicBezTo>
                <a:cubicBezTo>
                  <a:pt x="11" y="22"/>
                  <a:pt x="11" y="22"/>
                  <a:pt x="10" y="22"/>
                </a:cubicBezTo>
                <a:cubicBezTo>
                  <a:pt x="10" y="22"/>
                  <a:pt x="10" y="21"/>
                  <a:pt x="10" y="21"/>
                </a:cubicBezTo>
                <a:cubicBezTo>
                  <a:pt x="9" y="21"/>
                  <a:pt x="9" y="22"/>
                  <a:pt x="9" y="22"/>
                </a:cubicBezTo>
                <a:cubicBezTo>
                  <a:pt x="8" y="23"/>
                  <a:pt x="7" y="24"/>
                  <a:pt x="6" y="24"/>
                </a:cubicBezTo>
                <a:cubicBezTo>
                  <a:pt x="5" y="24"/>
                  <a:pt x="3" y="23"/>
                  <a:pt x="3" y="24"/>
                </a:cubicBezTo>
                <a:cubicBezTo>
                  <a:pt x="3" y="23"/>
                  <a:pt x="2" y="24"/>
                  <a:pt x="2" y="23"/>
                </a:cubicBezTo>
                <a:cubicBezTo>
                  <a:pt x="2" y="22"/>
                  <a:pt x="2" y="22"/>
                  <a:pt x="2" y="22"/>
                </a:cubicBezTo>
                <a:cubicBezTo>
                  <a:pt x="2" y="21"/>
                  <a:pt x="2" y="21"/>
                  <a:pt x="2" y="20"/>
                </a:cubicBezTo>
                <a:cubicBezTo>
                  <a:pt x="1" y="20"/>
                  <a:pt x="1" y="21"/>
                  <a:pt x="1" y="21"/>
                </a:cubicBezTo>
                <a:cubicBezTo>
                  <a:pt x="1" y="21"/>
                  <a:pt x="1" y="21"/>
                  <a:pt x="1" y="21"/>
                </a:cubicBezTo>
                <a:cubicBezTo>
                  <a:pt x="1" y="21"/>
                  <a:pt x="0" y="21"/>
                  <a:pt x="0" y="20"/>
                </a:cubicBezTo>
                <a:cubicBezTo>
                  <a:pt x="0" y="20"/>
                  <a:pt x="0" y="19"/>
                  <a:pt x="0" y="19"/>
                </a:cubicBezTo>
                <a:cubicBezTo>
                  <a:pt x="0" y="20"/>
                  <a:pt x="0" y="21"/>
                  <a:pt x="0" y="21"/>
                </a:cubicBezTo>
                <a:cubicBezTo>
                  <a:pt x="0" y="22"/>
                  <a:pt x="0" y="23"/>
                  <a:pt x="1" y="23"/>
                </a:cubicBezTo>
                <a:cubicBezTo>
                  <a:pt x="2" y="24"/>
                  <a:pt x="3" y="26"/>
                  <a:pt x="4" y="27"/>
                </a:cubicBezTo>
                <a:cubicBezTo>
                  <a:pt x="5" y="28"/>
                  <a:pt x="6" y="30"/>
                  <a:pt x="8" y="32"/>
                </a:cubicBezTo>
                <a:cubicBezTo>
                  <a:pt x="9" y="33"/>
                  <a:pt x="10" y="34"/>
                  <a:pt x="11" y="35"/>
                </a:cubicBezTo>
                <a:cubicBezTo>
                  <a:pt x="12" y="36"/>
                  <a:pt x="14" y="36"/>
                  <a:pt x="16" y="36"/>
                </a:cubicBezTo>
                <a:cubicBezTo>
                  <a:pt x="17" y="36"/>
                  <a:pt x="19" y="36"/>
                  <a:pt x="21" y="37"/>
                </a:cubicBezTo>
                <a:cubicBezTo>
                  <a:pt x="22" y="37"/>
                  <a:pt x="24" y="37"/>
                  <a:pt x="25" y="37"/>
                </a:cubicBezTo>
                <a:cubicBezTo>
                  <a:pt x="28" y="37"/>
                  <a:pt x="30" y="38"/>
                  <a:pt x="33" y="38"/>
                </a:cubicBezTo>
                <a:cubicBezTo>
                  <a:pt x="34" y="38"/>
                  <a:pt x="35" y="38"/>
                  <a:pt x="35" y="38"/>
                </a:cubicBezTo>
                <a:cubicBezTo>
                  <a:pt x="36" y="37"/>
                  <a:pt x="35" y="37"/>
                  <a:pt x="35" y="36"/>
                </a:cubicBezTo>
                <a:cubicBezTo>
                  <a:pt x="35" y="36"/>
                  <a:pt x="35" y="35"/>
                  <a:pt x="35" y="34"/>
                </a:cubicBezTo>
                <a:cubicBezTo>
                  <a:pt x="35" y="33"/>
                  <a:pt x="36" y="33"/>
                  <a:pt x="36" y="32"/>
                </a:cubicBezTo>
                <a:cubicBezTo>
                  <a:pt x="36" y="31"/>
                  <a:pt x="36" y="30"/>
                  <a:pt x="37" y="29"/>
                </a:cubicBezTo>
                <a:cubicBezTo>
                  <a:pt x="37" y="29"/>
                  <a:pt x="37" y="28"/>
                  <a:pt x="37" y="28"/>
                </a:cubicBezTo>
                <a:cubicBezTo>
                  <a:pt x="37" y="27"/>
                  <a:pt x="38" y="26"/>
                  <a:pt x="38" y="25"/>
                </a:cubicBezTo>
                <a:cubicBezTo>
                  <a:pt x="38" y="25"/>
                  <a:pt x="38" y="25"/>
                  <a:pt x="38" y="25"/>
                </a:cubicBezTo>
                <a:cubicBezTo>
                  <a:pt x="37" y="24"/>
                  <a:pt x="37" y="24"/>
                  <a:pt x="37" y="24"/>
                </a:cubicBezTo>
                <a:cubicBezTo>
                  <a:pt x="37" y="23"/>
                  <a:pt x="40" y="23"/>
                  <a:pt x="40" y="23"/>
                </a:cubicBezTo>
                <a:cubicBezTo>
                  <a:pt x="41" y="24"/>
                  <a:pt x="42" y="23"/>
                  <a:pt x="42" y="22"/>
                </a:cubicBezTo>
                <a:cubicBezTo>
                  <a:pt x="41" y="22"/>
                  <a:pt x="41" y="21"/>
                  <a:pt x="41" y="21"/>
                </a:cubicBezTo>
                <a:cubicBezTo>
                  <a:pt x="41" y="21"/>
                  <a:pt x="40" y="21"/>
                  <a:pt x="40" y="21"/>
                </a:cubicBezTo>
                <a:cubicBezTo>
                  <a:pt x="39" y="21"/>
                  <a:pt x="40" y="20"/>
                  <a:pt x="40" y="20"/>
                </a:cubicBezTo>
                <a:cubicBezTo>
                  <a:pt x="40" y="19"/>
                  <a:pt x="39" y="18"/>
                  <a:pt x="39" y="18"/>
                </a:cubicBezTo>
                <a:cubicBezTo>
                  <a:pt x="39" y="17"/>
                  <a:pt x="40" y="16"/>
                  <a:pt x="39" y="15"/>
                </a:cubicBezTo>
                <a:cubicBezTo>
                  <a:pt x="39" y="15"/>
                  <a:pt x="39" y="14"/>
                  <a:pt x="39" y="14"/>
                </a:cubicBezTo>
                <a:cubicBezTo>
                  <a:pt x="40" y="13"/>
                  <a:pt x="40" y="12"/>
                  <a:pt x="41" y="13"/>
                </a:cubicBezTo>
                <a:cubicBezTo>
                  <a:pt x="41" y="13"/>
                  <a:pt x="41" y="14"/>
                  <a:pt x="42" y="14"/>
                </a:cubicBezTo>
                <a:cubicBezTo>
                  <a:pt x="42" y="14"/>
                  <a:pt x="41" y="14"/>
                  <a:pt x="41" y="14"/>
                </a:cubicBezTo>
                <a:cubicBezTo>
                  <a:pt x="41" y="14"/>
                  <a:pt x="42" y="16"/>
                  <a:pt x="42" y="15"/>
                </a:cubicBezTo>
                <a:cubicBezTo>
                  <a:pt x="43" y="15"/>
                  <a:pt x="43" y="15"/>
                  <a:pt x="43" y="14"/>
                </a:cubicBezTo>
                <a:cubicBezTo>
                  <a:pt x="43" y="14"/>
                  <a:pt x="44" y="14"/>
                  <a:pt x="44" y="14"/>
                </a:cubicBezTo>
                <a:cubicBezTo>
                  <a:pt x="44" y="13"/>
                  <a:pt x="44" y="12"/>
                  <a:pt x="44" y="12"/>
                </a:cubicBezTo>
                <a:close/>
                <a:moveTo>
                  <a:pt x="43" y="10"/>
                </a:moveTo>
                <a:cubicBezTo>
                  <a:pt x="43" y="8"/>
                  <a:pt x="44" y="10"/>
                  <a:pt x="43" y="10"/>
                </a:cubicBezTo>
                <a:close/>
                <a:moveTo>
                  <a:pt x="27" y="18"/>
                </a:moveTo>
                <a:cubicBezTo>
                  <a:pt x="28" y="18"/>
                  <a:pt x="27" y="18"/>
                  <a:pt x="27" y="18"/>
                </a:cubicBezTo>
                <a:cubicBezTo>
                  <a:pt x="27" y="18"/>
                  <a:pt x="27" y="18"/>
                  <a:pt x="27" y="18"/>
                </a:cubicBezTo>
                <a:cubicBezTo>
                  <a:pt x="27" y="18"/>
                  <a:pt x="27" y="18"/>
                  <a:pt x="27" y="18"/>
                </a:cubicBezTo>
                <a:close/>
                <a:moveTo>
                  <a:pt x="27" y="18"/>
                </a:moveTo>
                <a:cubicBezTo>
                  <a:pt x="26" y="18"/>
                  <a:pt x="27" y="17"/>
                  <a:pt x="27" y="17"/>
                </a:cubicBezTo>
                <a:cubicBezTo>
                  <a:pt x="27" y="17"/>
                  <a:pt x="27" y="18"/>
                  <a:pt x="27" y="18"/>
                </a:cubicBezTo>
                <a:close/>
                <a:moveTo>
                  <a:pt x="16" y="21"/>
                </a:moveTo>
                <a:cubicBezTo>
                  <a:pt x="16" y="21"/>
                  <a:pt x="15" y="20"/>
                  <a:pt x="15" y="20"/>
                </a:cubicBezTo>
                <a:cubicBezTo>
                  <a:pt x="16" y="20"/>
                  <a:pt x="16" y="20"/>
                  <a:pt x="16" y="20"/>
                </a:cubicBezTo>
                <a:cubicBezTo>
                  <a:pt x="17" y="20"/>
                  <a:pt x="16" y="21"/>
                  <a:pt x="16" y="21"/>
                </a:cubicBezTo>
                <a:close/>
                <a:moveTo>
                  <a:pt x="21" y="22"/>
                </a:moveTo>
                <a:cubicBezTo>
                  <a:pt x="21" y="22"/>
                  <a:pt x="19" y="22"/>
                  <a:pt x="19" y="22"/>
                </a:cubicBezTo>
                <a:cubicBezTo>
                  <a:pt x="19" y="22"/>
                  <a:pt x="20" y="21"/>
                  <a:pt x="20" y="21"/>
                </a:cubicBezTo>
                <a:cubicBezTo>
                  <a:pt x="21" y="21"/>
                  <a:pt x="21" y="21"/>
                  <a:pt x="21" y="21"/>
                </a:cubicBezTo>
                <a:cubicBezTo>
                  <a:pt x="21" y="21"/>
                  <a:pt x="23" y="21"/>
                  <a:pt x="22" y="22"/>
                </a:cubicBezTo>
                <a:cubicBezTo>
                  <a:pt x="22" y="22"/>
                  <a:pt x="22" y="22"/>
                  <a:pt x="21" y="22"/>
                </a:cubicBezTo>
                <a:cubicBezTo>
                  <a:pt x="21" y="21"/>
                  <a:pt x="21" y="22"/>
                  <a:pt x="21" y="2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 name="Ukraine"/>
          <p:cNvSpPr>
            <a:spLocks noEditPoints="1"/>
          </p:cNvSpPr>
          <p:nvPr/>
        </p:nvSpPr>
        <p:spPr bwMode="auto">
          <a:xfrm>
            <a:off x="6518055" y="2595015"/>
            <a:ext cx="548979" cy="306989"/>
          </a:xfrm>
          <a:custGeom>
            <a:avLst/>
            <a:gdLst/>
            <a:ahLst/>
            <a:cxnLst>
              <a:cxn ang="0">
                <a:pos x="152" y="37"/>
              </a:cxn>
              <a:cxn ang="0">
                <a:pos x="147" y="28"/>
              </a:cxn>
              <a:cxn ang="0">
                <a:pos x="135" y="24"/>
              </a:cxn>
              <a:cxn ang="0">
                <a:pos x="123" y="21"/>
              </a:cxn>
              <a:cxn ang="0">
                <a:pos x="109" y="16"/>
              </a:cxn>
              <a:cxn ang="0">
                <a:pos x="99" y="12"/>
              </a:cxn>
              <a:cxn ang="0">
                <a:pos x="96" y="3"/>
              </a:cxn>
              <a:cxn ang="0">
                <a:pos x="82" y="1"/>
              </a:cxn>
              <a:cxn ang="0">
                <a:pos x="70" y="4"/>
              </a:cxn>
              <a:cxn ang="0">
                <a:pos x="68" y="9"/>
              </a:cxn>
              <a:cxn ang="0">
                <a:pos x="59" y="10"/>
              </a:cxn>
              <a:cxn ang="0">
                <a:pos x="52" y="9"/>
              </a:cxn>
              <a:cxn ang="0">
                <a:pos x="42" y="8"/>
              </a:cxn>
              <a:cxn ang="0">
                <a:pos x="29" y="5"/>
              </a:cxn>
              <a:cxn ang="0">
                <a:pos x="11" y="7"/>
              </a:cxn>
              <a:cxn ang="0">
                <a:pos x="14" y="17"/>
              </a:cxn>
              <a:cxn ang="0">
                <a:pos x="5" y="34"/>
              </a:cxn>
              <a:cxn ang="0">
                <a:pos x="1" y="42"/>
              </a:cxn>
              <a:cxn ang="0">
                <a:pos x="11" y="46"/>
              </a:cxn>
              <a:cxn ang="0">
                <a:pos x="26" y="48"/>
              </a:cxn>
              <a:cxn ang="0">
                <a:pos x="40" y="42"/>
              </a:cxn>
              <a:cxn ang="0">
                <a:pos x="51" y="44"/>
              </a:cxn>
              <a:cxn ang="0">
                <a:pos x="59" y="47"/>
              </a:cxn>
              <a:cxn ang="0">
                <a:pos x="64" y="55"/>
              </a:cxn>
              <a:cxn ang="0">
                <a:pos x="68" y="62"/>
              </a:cxn>
              <a:cxn ang="0">
                <a:pos x="65" y="63"/>
              </a:cxn>
              <a:cxn ang="0">
                <a:pos x="60" y="67"/>
              </a:cxn>
              <a:cxn ang="0">
                <a:pos x="55" y="73"/>
              </a:cxn>
              <a:cxn ang="0">
                <a:pos x="65" y="74"/>
              </a:cxn>
              <a:cxn ang="0">
                <a:pos x="68" y="71"/>
              </a:cxn>
              <a:cxn ang="0">
                <a:pos x="71" y="70"/>
              </a:cxn>
              <a:cxn ang="0">
                <a:pos x="74" y="67"/>
              </a:cxn>
              <a:cxn ang="0">
                <a:pos x="81" y="59"/>
              </a:cxn>
              <a:cxn ang="0">
                <a:pos x="85" y="58"/>
              </a:cxn>
              <a:cxn ang="0">
                <a:pos x="85" y="56"/>
              </a:cxn>
              <a:cxn ang="0">
                <a:pos x="88" y="62"/>
              </a:cxn>
              <a:cxn ang="0">
                <a:pos x="86" y="65"/>
              </a:cxn>
              <a:cxn ang="0">
                <a:pos x="98" y="67"/>
              </a:cxn>
              <a:cxn ang="0">
                <a:pos x="101" y="69"/>
              </a:cxn>
              <a:cxn ang="0">
                <a:pos x="94" y="72"/>
              </a:cxn>
              <a:cxn ang="0">
                <a:pos x="102" y="80"/>
              </a:cxn>
              <a:cxn ang="0">
                <a:pos x="109" y="83"/>
              </a:cxn>
              <a:cxn ang="0">
                <a:pos x="118" y="79"/>
              </a:cxn>
              <a:cxn ang="0">
                <a:pos x="127" y="75"/>
              </a:cxn>
              <a:cxn ang="0">
                <a:pos x="115" y="73"/>
              </a:cxn>
              <a:cxn ang="0">
                <a:pos x="115" y="64"/>
              </a:cxn>
              <a:cxn ang="0">
                <a:pos x="123" y="61"/>
              </a:cxn>
              <a:cxn ang="0">
                <a:pos x="134" y="56"/>
              </a:cxn>
              <a:cxn ang="0">
                <a:pos x="143" y="50"/>
              </a:cxn>
              <a:cxn ang="0">
                <a:pos x="152" y="43"/>
              </a:cxn>
              <a:cxn ang="0">
                <a:pos x="115" y="75"/>
              </a:cxn>
              <a:cxn ang="0">
                <a:pos x="111" y="69"/>
              </a:cxn>
              <a:cxn ang="0">
                <a:pos x="107" y="69"/>
              </a:cxn>
              <a:cxn ang="0">
                <a:pos x="105" y="68"/>
              </a:cxn>
              <a:cxn ang="0">
                <a:pos x="103" y="65"/>
              </a:cxn>
              <a:cxn ang="0">
                <a:pos x="108" y="66"/>
              </a:cxn>
              <a:cxn ang="0">
                <a:pos x="110" y="66"/>
              </a:cxn>
              <a:cxn ang="0">
                <a:pos x="88" y="66"/>
              </a:cxn>
            </a:cxnLst>
            <a:rect l="0" t="0" r="r" b="b"/>
            <a:pathLst>
              <a:path w="152" h="85">
                <a:moveTo>
                  <a:pt x="151" y="43"/>
                </a:moveTo>
                <a:cubicBezTo>
                  <a:pt x="151" y="43"/>
                  <a:pt x="151" y="43"/>
                  <a:pt x="151" y="43"/>
                </a:cubicBezTo>
                <a:cubicBezTo>
                  <a:pt x="151" y="43"/>
                  <a:pt x="151" y="42"/>
                  <a:pt x="151" y="42"/>
                </a:cubicBezTo>
                <a:cubicBezTo>
                  <a:pt x="151" y="42"/>
                  <a:pt x="151" y="41"/>
                  <a:pt x="151" y="41"/>
                </a:cubicBezTo>
                <a:cubicBezTo>
                  <a:pt x="150" y="41"/>
                  <a:pt x="151" y="40"/>
                  <a:pt x="150" y="40"/>
                </a:cubicBezTo>
                <a:cubicBezTo>
                  <a:pt x="150" y="40"/>
                  <a:pt x="150" y="40"/>
                  <a:pt x="149" y="40"/>
                </a:cubicBezTo>
                <a:cubicBezTo>
                  <a:pt x="148" y="40"/>
                  <a:pt x="149" y="39"/>
                  <a:pt x="149" y="38"/>
                </a:cubicBezTo>
                <a:cubicBezTo>
                  <a:pt x="150" y="37"/>
                  <a:pt x="150" y="38"/>
                  <a:pt x="151" y="38"/>
                </a:cubicBezTo>
                <a:cubicBezTo>
                  <a:pt x="152" y="38"/>
                  <a:pt x="152" y="37"/>
                  <a:pt x="152" y="37"/>
                </a:cubicBezTo>
                <a:cubicBezTo>
                  <a:pt x="151" y="36"/>
                  <a:pt x="151" y="37"/>
                  <a:pt x="151" y="37"/>
                </a:cubicBezTo>
                <a:cubicBezTo>
                  <a:pt x="150" y="37"/>
                  <a:pt x="149" y="37"/>
                  <a:pt x="148" y="36"/>
                </a:cubicBezTo>
                <a:cubicBezTo>
                  <a:pt x="148" y="35"/>
                  <a:pt x="150" y="35"/>
                  <a:pt x="150" y="35"/>
                </a:cubicBezTo>
                <a:cubicBezTo>
                  <a:pt x="150" y="35"/>
                  <a:pt x="150" y="34"/>
                  <a:pt x="151" y="34"/>
                </a:cubicBezTo>
                <a:cubicBezTo>
                  <a:pt x="151" y="34"/>
                  <a:pt x="151" y="34"/>
                  <a:pt x="151" y="33"/>
                </a:cubicBezTo>
                <a:cubicBezTo>
                  <a:pt x="152" y="32"/>
                  <a:pt x="152" y="32"/>
                  <a:pt x="151" y="31"/>
                </a:cubicBezTo>
                <a:cubicBezTo>
                  <a:pt x="150" y="30"/>
                  <a:pt x="152" y="30"/>
                  <a:pt x="151" y="29"/>
                </a:cubicBezTo>
                <a:cubicBezTo>
                  <a:pt x="150" y="28"/>
                  <a:pt x="149" y="30"/>
                  <a:pt x="149" y="30"/>
                </a:cubicBezTo>
                <a:cubicBezTo>
                  <a:pt x="148" y="30"/>
                  <a:pt x="147" y="29"/>
                  <a:pt x="147" y="28"/>
                </a:cubicBezTo>
                <a:cubicBezTo>
                  <a:pt x="146" y="27"/>
                  <a:pt x="145" y="28"/>
                  <a:pt x="144" y="28"/>
                </a:cubicBezTo>
                <a:cubicBezTo>
                  <a:pt x="143" y="28"/>
                  <a:pt x="143" y="26"/>
                  <a:pt x="142" y="26"/>
                </a:cubicBezTo>
                <a:cubicBezTo>
                  <a:pt x="142" y="26"/>
                  <a:pt x="141" y="28"/>
                  <a:pt x="140" y="27"/>
                </a:cubicBezTo>
                <a:cubicBezTo>
                  <a:pt x="140" y="26"/>
                  <a:pt x="139" y="26"/>
                  <a:pt x="139" y="26"/>
                </a:cubicBezTo>
                <a:cubicBezTo>
                  <a:pt x="139" y="26"/>
                  <a:pt x="139" y="26"/>
                  <a:pt x="138" y="25"/>
                </a:cubicBezTo>
                <a:cubicBezTo>
                  <a:pt x="138" y="25"/>
                  <a:pt x="138" y="25"/>
                  <a:pt x="138" y="25"/>
                </a:cubicBezTo>
                <a:cubicBezTo>
                  <a:pt x="138" y="25"/>
                  <a:pt x="137" y="25"/>
                  <a:pt x="137" y="25"/>
                </a:cubicBezTo>
                <a:cubicBezTo>
                  <a:pt x="137" y="25"/>
                  <a:pt x="136" y="25"/>
                  <a:pt x="136" y="25"/>
                </a:cubicBezTo>
                <a:cubicBezTo>
                  <a:pt x="135" y="25"/>
                  <a:pt x="135" y="24"/>
                  <a:pt x="135" y="24"/>
                </a:cubicBezTo>
                <a:cubicBezTo>
                  <a:pt x="134" y="24"/>
                  <a:pt x="134" y="24"/>
                  <a:pt x="134" y="25"/>
                </a:cubicBezTo>
                <a:cubicBezTo>
                  <a:pt x="134" y="26"/>
                  <a:pt x="133" y="25"/>
                  <a:pt x="133" y="26"/>
                </a:cubicBezTo>
                <a:cubicBezTo>
                  <a:pt x="133" y="26"/>
                  <a:pt x="132" y="25"/>
                  <a:pt x="132" y="25"/>
                </a:cubicBezTo>
                <a:cubicBezTo>
                  <a:pt x="131" y="24"/>
                  <a:pt x="131" y="24"/>
                  <a:pt x="130" y="24"/>
                </a:cubicBezTo>
                <a:cubicBezTo>
                  <a:pt x="130" y="24"/>
                  <a:pt x="129" y="23"/>
                  <a:pt x="129" y="22"/>
                </a:cubicBezTo>
                <a:cubicBezTo>
                  <a:pt x="129" y="22"/>
                  <a:pt x="129" y="22"/>
                  <a:pt x="128" y="21"/>
                </a:cubicBezTo>
                <a:cubicBezTo>
                  <a:pt x="128" y="21"/>
                  <a:pt x="127" y="20"/>
                  <a:pt x="127" y="20"/>
                </a:cubicBezTo>
                <a:cubicBezTo>
                  <a:pt x="126" y="20"/>
                  <a:pt x="125" y="21"/>
                  <a:pt x="125" y="21"/>
                </a:cubicBezTo>
                <a:cubicBezTo>
                  <a:pt x="124" y="21"/>
                  <a:pt x="123" y="21"/>
                  <a:pt x="123" y="21"/>
                </a:cubicBezTo>
                <a:cubicBezTo>
                  <a:pt x="122" y="22"/>
                  <a:pt x="121" y="22"/>
                  <a:pt x="121" y="23"/>
                </a:cubicBezTo>
                <a:cubicBezTo>
                  <a:pt x="120" y="23"/>
                  <a:pt x="120" y="22"/>
                  <a:pt x="120" y="22"/>
                </a:cubicBezTo>
                <a:cubicBezTo>
                  <a:pt x="119" y="21"/>
                  <a:pt x="118" y="22"/>
                  <a:pt x="117" y="21"/>
                </a:cubicBezTo>
                <a:cubicBezTo>
                  <a:pt x="116" y="20"/>
                  <a:pt x="114" y="20"/>
                  <a:pt x="113" y="21"/>
                </a:cubicBezTo>
                <a:cubicBezTo>
                  <a:pt x="112" y="22"/>
                  <a:pt x="112" y="20"/>
                  <a:pt x="111" y="20"/>
                </a:cubicBezTo>
                <a:cubicBezTo>
                  <a:pt x="110" y="20"/>
                  <a:pt x="110" y="19"/>
                  <a:pt x="110" y="18"/>
                </a:cubicBezTo>
                <a:cubicBezTo>
                  <a:pt x="109" y="18"/>
                  <a:pt x="110" y="18"/>
                  <a:pt x="110" y="18"/>
                </a:cubicBezTo>
                <a:cubicBezTo>
                  <a:pt x="110" y="17"/>
                  <a:pt x="110" y="17"/>
                  <a:pt x="110" y="17"/>
                </a:cubicBezTo>
                <a:cubicBezTo>
                  <a:pt x="110" y="16"/>
                  <a:pt x="109" y="17"/>
                  <a:pt x="109" y="16"/>
                </a:cubicBezTo>
                <a:cubicBezTo>
                  <a:pt x="109" y="16"/>
                  <a:pt x="109" y="15"/>
                  <a:pt x="108" y="15"/>
                </a:cubicBezTo>
                <a:cubicBezTo>
                  <a:pt x="108" y="15"/>
                  <a:pt x="108" y="14"/>
                  <a:pt x="108" y="14"/>
                </a:cubicBezTo>
                <a:cubicBezTo>
                  <a:pt x="109" y="14"/>
                  <a:pt x="109" y="14"/>
                  <a:pt x="109" y="14"/>
                </a:cubicBezTo>
                <a:cubicBezTo>
                  <a:pt x="108" y="14"/>
                  <a:pt x="108" y="14"/>
                  <a:pt x="107" y="14"/>
                </a:cubicBezTo>
                <a:cubicBezTo>
                  <a:pt x="106" y="13"/>
                  <a:pt x="107" y="12"/>
                  <a:pt x="105" y="12"/>
                </a:cubicBezTo>
                <a:cubicBezTo>
                  <a:pt x="105" y="12"/>
                  <a:pt x="104" y="12"/>
                  <a:pt x="103" y="12"/>
                </a:cubicBezTo>
                <a:cubicBezTo>
                  <a:pt x="103" y="13"/>
                  <a:pt x="103" y="12"/>
                  <a:pt x="102" y="12"/>
                </a:cubicBezTo>
                <a:cubicBezTo>
                  <a:pt x="102" y="12"/>
                  <a:pt x="101" y="12"/>
                  <a:pt x="100" y="12"/>
                </a:cubicBezTo>
                <a:cubicBezTo>
                  <a:pt x="100" y="12"/>
                  <a:pt x="99" y="12"/>
                  <a:pt x="99" y="12"/>
                </a:cubicBezTo>
                <a:cubicBezTo>
                  <a:pt x="99" y="11"/>
                  <a:pt x="100" y="11"/>
                  <a:pt x="99" y="10"/>
                </a:cubicBezTo>
                <a:cubicBezTo>
                  <a:pt x="98" y="10"/>
                  <a:pt x="98" y="10"/>
                  <a:pt x="98" y="9"/>
                </a:cubicBezTo>
                <a:cubicBezTo>
                  <a:pt x="99" y="9"/>
                  <a:pt x="98" y="8"/>
                  <a:pt x="98" y="8"/>
                </a:cubicBezTo>
                <a:cubicBezTo>
                  <a:pt x="98" y="8"/>
                  <a:pt x="97" y="7"/>
                  <a:pt x="97" y="7"/>
                </a:cubicBezTo>
                <a:cubicBezTo>
                  <a:pt x="98" y="7"/>
                  <a:pt x="101" y="7"/>
                  <a:pt x="99" y="6"/>
                </a:cubicBezTo>
                <a:cubicBezTo>
                  <a:pt x="99" y="5"/>
                  <a:pt x="99" y="5"/>
                  <a:pt x="98" y="5"/>
                </a:cubicBezTo>
                <a:cubicBezTo>
                  <a:pt x="98" y="5"/>
                  <a:pt x="98" y="4"/>
                  <a:pt x="97" y="4"/>
                </a:cubicBezTo>
                <a:cubicBezTo>
                  <a:pt x="97" y="4"/>
                  <a:pt x="97" y="4"/>
                  <a:pt x="97" y="4"/>
                </a:cubicBezTo>
                <a:cubicBezTo>
                  <a:pt x="97" y="4"/>
                  <a:pt x="96" y="3"/>
                  <a:pt x="96" y="3"/>
                </a:cubicBezTo>
                <a:cubicBezTo>
                  <a:pt x="96" y="2"/>
                  <a:pt x="96" y="2"/>
                  <a:pt x="96" y="1"/>
                </a:cubicBezTo>
                <a:cubicBezTo>
                  <a:pt x="94" y="1"/>
                  <a:pt x="94" y="0"/>
                  <a:pt x="93" y="0"/>
                </a:cubicBezTo>
                <a:cubicBezTo>
                  <a:pt x="92" y="0"/>
                  <a:pt x="92" y="1"/>
                  <a:pt x="91" y="1"/>
                </a:cubicBezTo>
                <a:cubicBezTo>
                  <a:pt x="91" y="0"/>
                  <a:pt x="91" y="0"/>
                  <a:pt x="91" y="0"/>
                </a:cubicBezTo>
                <a:cubicBezTo>
                  <a:pt x="91" y="0"/>
                  <a:pt x="91" y="0"/>
                  <a:pt x="90" y="0"/>
                </a:cubicBezTo>
                <a:cubicBezTo>
                  <a:pt x="90" y="0"/>
                  <a:pt x="89" y="0"/>
                  <a:pt x="88" y="0"/>
                </a:cubicBezTo>
                <a:cubicBezTo>
                  <a:pt x="88" y="0"/>
                  <a:pt x="87" y="0"/>
                  <a:pt x="87" y="1"/>
                </a:cubicBezTo>
                <a:cubicBezTo>
                  <a:pt x="86" y="1"/>
                  <a:pt x="85" y="1"/>
                  <a:pt x="84" y="0"/>
                </a:cubicBezTo>
                <a:cubicBezTo>
                  <a:pt x="83" y="0"/>
                  <a:pt x="82" y="0"/>
                  <a:pt x="82" y="1"/>
                </a:cubicBezTo>
                <a:cubicBezTo>
                  <a:pt x="82" y="1"/>
                  <a:pt x="82" y="3"/>
                  <a:pt x="81" y="3"/>
                </a:cubicBezTo>
                <a:cubicBezTo>
                  <a:pt x="80" y="3"/>
                  <a:pt x="79" y="3"/>
                  <a:pt x="79" y="3"/>
                </a:cubicBezTo>
                <a:cubicBezTo>
                  <a:pt x="78" y="3"/>
                  <a:pt x="78" y="3"/>
                  <a:pt x="78" y="3"/>
                </a:cubicBezTo>
                <a:cubicBezTo>
                  <a:pt x="78" y="2"/>
                  <a:pt x="77" y="3"/>
                  <a:pt x="77" y="3"/>
                </a:cubicBezTo>
                <a:cubicBezTo>
                  <a:pt x="76" y="3"/>
                  <a:pt x="74" y="2"/>
                  <a:pt x="73" y="3"/>
                </a:cubicBezTo>
                <a:cubicBezTo>
                  <a:pt x="73" y="3"/>
                  <a:pt x="73" y="3"/>
                  <a:pt x="73" y="3"/>
                </a:cubicBezTo>
                <a:cubicBezTo>
                  <a:pt x="72" y="3"/>
                  <a:pt x="72" y="3"/>
                  <a:pt x="71" y="3"/>
                </a:cubicBezTo>
                <a:cubicBezTo>
                  <a:pt x="71" y="3"/>
                  <a:pt x="70" y="3"/>
                  <a:pt x="70" y="3"/>
                </a:cubicBezTo>
                <a:cubicBezTo>
                  <a:pt x="70" y="3"/>
                  <a:pt x="71" y="3"/>
                  <a:pt x="70" y="4"/>
                </a:cubicBezTo>
                <a:cubicBezTo>
                  <a:pt x="71" y="3"/>
                  <a:pt x="70" y="4"/>
                  <a:pt x="70" y="4"/>
                </a:cubicBezTo>
                <a:cubicBezTo>
                  <a:pt x="69" y="4"/>
                  <a:pt x="69" y="4"/>
                  <a:pt x="69" y="5"/>
                </a:cubicBezTo>
                <a:cubicBezTo>
                  <a:pt x="69" y="5"/>
                  <a:pt x="69" y="5"/>
                  <a:pt x="68" y="6"/>
                </a:cubicBezTo>
                <a:cubicBezTo>
                  <a:pt x="68" y="6"/>
                  <a:pt x="68" y="6"/>
                  <a:pt x="68" y="6"/>
                </a:cubicBezTo>
                <a:cubicBezTo>
                  <a:pt x="68" y="6"/>
                  <a:pt x="68" y="6"/>
                  <a:pt x="68" y="6"/>
                </a:cubicBezTo>
                <a:cubicBezTo>
                  <a:pt x="68" y="6"/>
                  <a:pt x="68" y="7"/>
                  <a:pt x="68" y="7"/>
                </a:cubicBezTo>
                <a:cubicBezTo>
                  <a:pt x="68" y="7"/>
                  <a:pt x="68" y="7"/>
                  <a:pt x="68" y="7"/>
                </a:cubicBezTo>
                <a:cubicBezTo>
                  <a:pt x="67" y="8"/>
                  <a:pt x="67" y="8"/>
                  <a:pt x="67" y="8"/>
                </a:cubicBezTo>
                <a:cubicBezTo>
                  <a:pt x="68" y="9"/>
                  <a:pt x="68" y="8"/>
                  <a:pt x="68" y="9"/>
                </a:cubicBezTo>
                <a:cubicBezTo>
                  <a:pt x="68" y="9"/>
                  <a:pt x="68" y="10"/>
                  <a:pt x="68" y="10"/>
                </a:cubicBezTo>
                <a:cubicBezTo>
                  <a:pt x="69" y="10"/>
                  <a:pt x="69" y="11"/>
                  <a:pt x="69" y="11"/>
                </a:cubicBezTo>
                <a:cubicBezTo>
                  <a:pt x="68" y="11"/>
                  <a:pt x="68" y="11"/>
                  <a:pt x="68" y="12"/>
                </a:cubicBezTo>
                <a:cubicBezTo>
                  <a:pt x="67" y="11"/>
                  <a:pt x="66" y="11"/>
                  <a:pt x="66" y="10"/>
                </a:cubicBezTo>
                <a:cubicBezTo>
                  <a:pt x="66" y="10"/>
                  <a:pt x="65" y="9"/>
                  <a:pt x="65" y="9"/>
                </a:cubicBezTo>
                <a:cubicBezTo>
                  <a:pt x="64" y="9"/>
                  <a:pt x="63" y="9"/>
                  <a:pt x="62" y="9"/>
                </a:cubicBezTo>
                <a:cubicBezTo>
                  <a:pt x="62" y="9"/>
                  <a:pt x="62" y="10"/>
                  <a:pt x="61" y="10"/>
                </a:cubicBezTo>
                <a:cubicBezTo>
                  <a:pt x="61" y="9"/>
                  <a:pt x="61" y="9"/>
                  <a:pt x="61" y="9"/>
                </a:cubicBezTo>
                <a:cubicBezTo>
                  <a:pt x="60" y="9"/>
                  <a:pt x="59" y="10"/>
                  <a:pt x="59" y="10"/>
                </a:cubicBezTo>
                <a:cubicBezTo>
                  <a:pt x="59" y="10"/>
                  <a:pt x="58" y="10"/>
                  <a:pt x="58" y="10"/>
                </a:cubicBezTo>
                <a:cubicBezTo>
                  <a:pt x="58" y="10"/>
                  <a:pt x="57" y="10"/>
                  <a:pt x="57" y="9"/>
                </a:cubicBezTo>
                <a:cubicBezTo>
                  <a:pt x="57" y="9"/>
                  <a:pt x="57" y="9"/>
                  <a:pt x="57" y="8"/>
                </a:cubicBezTo>
                <a:cubicBezTo>
                  <a:pt x="56" y="8"/>
                  <a:pt x="56" y="8"/>
                  <a:pt x="56" y="8"/>
                </a:cubicBezTo>
                <a:cubicBezTo>
                  <a:pt x="56" y="7"/>
                  <a:pt x="55" y="7"/>
                  <a:pt x="55" y="8"/>
                </a:cubicBezTo>
                <a:cubicBezTo>
                  <a:pt x="55" y="8"/>
                  <a:pt x="55" y="8"/>
                  <a:pt x="55" y="8"/>
                </a:cubicBezTo>
                <a:cubicBezTo>
                  <a:pt x="54" y="8"/>
                  <a:pt x="53" y="8"/>
                  <a:pt x="53" y="9"/>
                </a:cubicBezTo>
                <a:cubicBezTo>
                  <a:pt x="53" y="9"/>
                  <a:pt x="53" y="10"/>
                  <a:pt x="53" y="10"/>
                </a:cubicBezTo>
                <a:cubicBezTo>
                  <a:pt x="53" y="9"/>
                  <a:pt x="52" y="10"/>
                  <a:pt x="52" y="9"/>
                </a:cubicBezTo>
                <a:cubicBezTo>
                  <a:pt x="52" y="8"/>
                  <a:pt x="51" y="8"/>
                  <a:pt x="51" y="8"/>
                </a:cubicBezTo>
                <a:cubicBezTo>
                  <a:pt x="50" y="8"/>
                  <a:pt x="49" y="9"/>
                  <a:pt x="49" y="8"/>
                </a:cubicBezTo>
                <a:cubicBezTo>
                  <a:pt x="49" y="8"/>
                  <a:pt x="48" y="8"/>
                  <a:pt x="48" y="7"/>
                </a:cubicBezTo>
                <a:cubicBezTo>
                  <a:pt x="48" y="7"/>
                  <a:pt x="48" y="8"/>
                  <a:pt x="48" y="8"/>
                </a:cubicBezTo>
                <a:cubicBezTo>
                  <a:pt x="47" y="9"/>
                  <a:pt x="46" y="8"/>
                  <a:pt x="46" y="8"/>
                </a:cubicBezTo>
                <a:cubicBezTo>
                  <a:pt x="45" y="7"/>
                  <a:pt x="45" y="8"/>
                  <a:pt x="45" y="9"/>
                </a:cubicBezTo>
                <a:cubicBezTo>
                  <a:pt x="45" y="9"/>
                  <a:pt x="44" y="10"/>
                  <a:pt x="44" y="9"/>
                </a:cubicBezTo>
                <a:cubicBezTo>
                  <a:pt x="44" y="9"/>
                  <a:pt x="44" y="8"/>
                  <a:pt x="44" y="8"/>
                </a:cubicBezTo>
                <a:cubicBezTo>
                  <a:pt x="43" y="8"/>
                  <a:pt x="42" y="7"/>
                  <a:pt x="42" y="8"/>
                </a:cubicBezTo>
                <a:cubicBezTo>
                  <a:pt x="42" y="8"/>
                  <a:pt x="41" y="8"/>
                  <a:pt x="40" y="8"/>
                </a:cubicBezTo>
                <a:cubicBezTo>
                  <a:pt x="40" y="8"/>
                  <a:pt x="41" y="8"/>
                  <a:pt x="40" y="7"/>
                </a:cubicBezTo>
                <a:cubicBezTo>
                  <a:pt x="40" y="7"/>
                  <a:pt x="40" y="7"/>
                  <a:pt x="40" y="7"/>
                </a:cubicBezTo>
                <a:cubicBezTo>
                  <a:pt x="39" y="7"/>
                  <a:pt x="40" y="6"/>
                  <a:pt x="39" y="6"/>
                </a:cubicBezTo>
                <a:cubicBezTo>
                  <a:pt x="39" y="6"/>
                  <a:pt x="38" y="6"/>
                  <a:pt x="37" y="6"/>
                </a:cubicBezTo>
                <a:cubicBezTo>
                  <a:pt x="37" y="6"/>
                  <a:pt x="36" y="6"/>
                  <a:pt x="35" y="6"/>
                </a:cubicBezTo>
                <a:cubicBezTo>
                  <a:pt x="35" y="6"/>
                  <a:pt x="33" y="6"/>
                  <a:pt x="33" y="5"/>
                </a:cubicBezTo>
                <a:cubicBezTo>
                  <a:pt x="33" y="5"/>
                  <a:pt x="32" y="5"/>
                  <a:pt x="31" y="5"/>
                </a:cubicBezTo>
                <a:cubicBezTo>
                  <a:pt x="31" y="5"/>
                  <a:pt x="30" y="5"/>
                  <a:pt x="29" y="5"/>
                </a:cubicBezTo>
                <a:cubicBezTo>
                  <a:pt x="29" y="5"/>
                  <a:pt x="28" y="4"/>
                  <a:pt x="27" y="4"/>
                </a:cubicBezTo>
                <a:cubicBezTo>
                  <a:pt x="26" y="4"/>
                  <a:pt x="25" y="5"/>
                  <a:pt x="24" y="4"/>
                </a:cubicBezTo>
                <a:cubicBezTo>
                  <a:pt x="23" y="4"/>
                  <a:pt x="23" y="4"/>
                  <a:pt x="22" y="4"/>
                </a:cubicBezTo>
                <a:cubicBezTo>
                  <a:pt x="21" y="5"/>
                  <a:pt x="20" y="5"/>
                  <a:pt x="19" y="5"/>
                </a:cubicBezTo>
                <a:cubicBezTo>
                  <a:pt x="18" y="5"/>
                  <a:pt x="18" y="5"/>
                  <a:pt x="17" y="5"/>
                </a:cubicBezTo>
                <a:cubicBezTo>
                  <a:pt x="16" y="5"/>
                  <a:pt x="16" y="5"/>
                  <a:pt x="16" y="6"/>
                </a:cubicBezTo>
                <a:cubicBezTo>
                  <a:pt x="15" y="6"/>
                  <a:pt x="15" y="7"/>
                  <a:pt x="14" y="7"/>
                </a:cubicBezTo>
                <a:cubicBezTo>
                  <a:pt x="14" y="8"/>
                  <a:pt x="13" y="8"/>
                  <a:pt x="12" y="8"/>
                </a:cubicBezTo>
                <a:cubicBezTo>
                  <a:pt x="12" y="7"/>
                  <a:pt x="11" y="7"/>
                  <a:pt x="11" y="7"/>
                </a:cubicBezTo>
                <a:cubicBezTo>
                  <a:pt x="11" y="7"/>
                  <a:pt x="10" y="7"/>
                  <a:pt x="10" y="8"/>
                </a:cubicBezTo>
                <a:cubicBezTo>
                  <a:pt x="10" y="8"/>
                  <a:pt x="10" y="9"/>
                  <a:pt x="10" y="9"/>
                </a:cubicBezTo>
                <a:cubicBezTo>
                  <a:pt x="10" y="9"/>
                  <a:pt x="11" y="10"/>
                  <a:pt x="10" y="10"/>
                </a:cubicBezTo>
                <a:cubicBezTo>
                  <a:pt x="10" y="11"/>
                  <a:pt x="11" y="11"/>
                  <a:pt x="11" y="12"/>
                </a:cubicBezTo>
                <a:cubicBezTo>
                  <a:pt x="11" y="12"/>
                  <a:pt x="12" y="12"/>
                  <a:pt x="12" y="13"/>
                </a:cubicBezTo>
                <a:cubicBezTo>
                  <a:pt x="12" y="13"/>
                  <a:pt x="13" y="13"/>
                  <a:pt x="13" y="14"/>
                </a:cubicBezTo>
                <a:cubicBezTo>
                  <a:pt x="13" y="15"/>
                  <a:pt x="14" y="15"/>
                  <a:pt x="14" y="15"/>
                </a:cubicBezTo>
                <a:cubicBezTo>
                  <a:pt x="15" y="16"/>
                  <a:pt x="15" y="16"/>
                  <a:pt x="14" y="16"/>
                </a:cubicBezTo>
                <a:cubicBezTo>
                  <a:pt x="13" y="16"/>
                  <a:pt x="14" y="17"/>
                  <a:pt x="14" y="17"/>
                </a:cubicBezTo>
                <a:cubicBezTo>
                  <a:pt x="15" y="18"/>
                  <a:pt x="15" y="19"/>
                  <a:pt x="15" y="19"/>
                </a:cubicBezTo>
                <a:cubicBezTo>
                  <a:pt x="14" y="20"/>
                  <a:pt x="15" y="21"/>
                  <a:pt x="13" y="21"/>
                </a:cubicBezTo>
                <a:cubicBezTo>
                  <a:pt x="12" y="21"/>
                  <a:pt x="12" y="21"/>
                  <a:pt x="11" y="22"/>
                </a:cubicBezTo>
                <a:cubicBezTo>
                  <a:pt x="10" y="22"/>
                  <a:pt x="9" y="23"/>
                  <a:pt x="9" y="24"/>
                </a:cubicBezTo>
                <a:cubicBezTo>
                  <a:pt x="8" y="25"/>
                  <a:pt x="7" y="25"/>
                  <a:pt x="6" y="26"/>
                </a:cubicBezTo>
                <a:cubicBezTo>
                  <a:pt x="6" y="27"/>
                  <a:pt x="5" y="28"/>
                  <a:pt x="4" y="29"/>
                </a:cubicBezTo>
                <a:cubicBezTo>
                  <a:pt x="3" y="29"/>
                  <a:pt x="4" y="30"/>
                  <a:pt x="4" y="31"/>
                </a:cubicBezTo>
                <a:cubicBezTo>
                  <a:pt x="4" y="32"/>
                  <a:pt x="4" y="32"/>
                  <a:pt x="4" y="33"/>
                </a:cubicBezTo>
                <a:cubicBezTo>
                  <a:pt x="4" y="34"/>
                  <a:pt x="5" y="34"/>
                  <a:pt x="5" y="34"/>
                </a:cubicBezTo>
                <a:cubicBezTo>
                  <a:pt x="5" y="34"/>
                  <a:pt x="6" y="35"/>
                  <a:pt x="6" y="35"/>
                </a:cubicBezTo>
                <a:cubicBezTo>
                  <a:pt x="5" y="36"/>
                  <a:pt x="5" y="35"/>
                  <a:pt x="4" y="35"/>
                </a:cubicBezTo>
                <a:cubicBezTo>
                  <a:pt x="4" y="35"/>
                  <a:pt x="4" y="35"/>
                  <a:pt x="3" y="35"/>
                </a:cubicBezTo>
                <a:cubicBezTo>
                  <a:pt x="3" y="35"/>
                  <a:pt x="3" y="35"/>
                  <a:pt x="3" y="36"/>
                </a:cubicBezTo>
                <a:cubicBezTo>
                  <a:pt x="2" y="36"/>
                  <a:pt x="2" y="37"/>
                  <a:pt x="2" y="37"/>
                </a:cubicBezTo>
                <a:cubicBezTo>
                  <a:pt x="1" y="38"/>
                  <a:pt x="2" y="38"/>
                  <a:pt x="1" y="39"/>
                </a:cubicBezTo>
                <a:cubicBezTo>
                  <a:pt x="1" y="39"/>
                  <a:pt x="0" y="39"/>
                  <a:pt x="0" y="40"/>
                </a:cubicBezTo>
                <a:cubicBezTo>
                  <a:pt x="0" y="40"/>
                  <a:pt x="0" y="41"/>
                  <a:pt x="0" y="42"/>
                </a:cubicBezTo>
                <a:cubicBezTo>
                  <a:pt x="0" y="42"/>
                  <a:pt x="0" y="41"/>
                  <a:pt x="1" y="42"/>
                </a:cubicBezTo>
                <a:cubicBezTo>
                  <a:pt x="1" y="42"/>
                  <a:pt x="1" y="42"/>
                  <a:pt x="1" y="43"/>
                </a:cubicBezTo>
                <a:cubicBezTo>
                  <a:pt x="2" y="43"/>
                  <a:pt x="2" y="44"/>
                  <a:pt x="3" y="44"/>
                </a:cubicBezTo>
                <a:cubicBezTo>
                  <a:pt x="3" y="44"/>
                  <a:pt x="4" y="44"/>
                  <a:pt x="4" y="45"/>
                </a:cubicBezTo>
                <a:cubicBezTo>
                  <a:pt x="4" y="45"/>
                  <a:pt x="5" y="45"/>
                  <a:pt x="6" y="45"/>
                </a:cubicBezTo>
                <a:cubicBezTo>
                  <a:pt x="7" y="45"/>
                  <a:pt x="6" y="46"/>
                  <a:pt x="6" y="47"/>
                </a:cubicBezTo>
                <a:cubicBezTo>
                  <a:pt x="7" y="47"/>
                  <a:pt x="7" y="46"/>
                  <a:pt x="7" y="46"/>
                </a:cubicBezTo>
                <a:cubicBezTo>
                  <a:pt x="8" y="46"/>
                  <a:pt x="8" y="47"/>
                  <a:pt x="8" y="46"/>
                </a:cubicBezTo>
                <a:cubicBezTo>
                  <a:pt x="9" y="45"/>
                  <a:pt x="9" y="45"/>
                  <a:pt x="10" y="45"/>
                </a:cubicBezTo>
                <a:cubicBezTo>
                  <a:pt x="10" y="46"/>
                  <a:pt x="10" y="46"/>
                  <a:pt x="11" y="46"/>
                </a:cubicBezTo>
                <a:cubicBezTo>
                  <a:pt x="12" y="46"/>
                  <a:pt x="12" y="46"/>
                  <a:pt x="13" y="46"/>
                </a:cubicBezTo>
                <a:cubicBezTo>
                  <a:pt x="13" y="46"/>
                  <a:pt x="14" y="46"/>
                  <a:pt x="15" y="47"/>
                </a:cubicBezTo>
                <a:cubicBezTo>
                  <a:pt x="15" y="47"/>
                  <a:pt x="16" y="47"/>
                  <a:pt x="16" y="47"/>
                </a:cubicBezTo>
                <a:cubicBezTo>
                  <a:pt x="17" y="47"/>
                  <a:pt x="17" y="47"/>
                  <a:pt x="18" y="47"/>
                </a:cubicBezTo>
                <a:cubicBezTo>
                  <a:pt x="19" y="47"/>
                  <a:pt x="19" y="47"/>
                  <a:pt x="20" y="47"/>
                </a:cubicBezTo>
                <a:cubicBezTo>
                  <a:pt x="21" y="47"/>
                  <a:pt x="21" y="47"/>
                  <a:pt x="22" y="47"/>
                </a:cubicBezTo>
                <a:cubicBezTo>
                  <a:pt x="22" y="48"/>
                  <a:pt x="23" y="48"/>
                  <a:pt x="23" y="48"/>
                </a:cubicBezTo>
                <a:cubicBezTo>
                  <a:pt x="24" y="49"/>
                  <a:pt x="24" y="49"/>
                  <a:pt x="25" y="49"/>
                </a:cubicBezTo>
                <a:cubicBezTo>
                  <a:pt x="26" y="49"/>
                  <a:pt x="26" y="48"/>
                  <a:pt x="26" y="48"/>
                </a:cubicBezTo>
                <a:cubicBezTo>
                  <a:pt x="27" y="47"/>
                  <a:pt x="28" y="47"/>
                  <a:pt x="29" y="47"/>
                </a:cubicBezTo>
                <a:cubicBezTo>
                  <a:pt x="29" y="47"/>
                  <a:pt x="30" y="47"/>
                  <a:pt x="31" y="47"/>
                </a:cubicBezTo>
                <a:cubicBezTo>
                  <a:pt x="31" y="47"/>
                  <a:pt x="32" y="46"/>
                  <a:pt x="33" y="46"/>
                </a:cubicBezTo>
                <a:cubicBezTo>
                  <a:pt x="34" y="46"/>
                  <a:pt x="35" y="46"/>
                  <a:pt x="35" y="46"/>
                </a:cubicBezTo>
                <a:cubicBezTo>
                  <a:pt x="35" y="45"/>
                  <a:pt x="35" y="44"/>
                  <a:pt x="36" y="44"/>
                </a:cubicBezTo>
                <a:cubicBezTo>
                  <a:pt x="36" y="44"/>
                  <a:pt x="37" y="44"/>
                  <a:pt x="37" y="44"/>
                </a:cubicBezTo>
                <a:cubicBezTo>
                  <a:pt x="38" y="44"/>
                  <a:pt x="38" y="43"/>
                  <a:pt x="39" y="43"/>
                </a:cubicBezTo>
                <a:cubicBezTo>
                  <a:pt x="39" y="42"/>
                  <a:pt x="40" y="44"/>
                  <a:pt x="40" y="43"/>
                </a:cubicBezTo>
                <a:cubicBezTo>
                  <a:pt x="40" y="42"/>
                  <a:pt x="39" y="42"/>
                  <a:pt x="40" y="42"/>
                </a:cubicBezTo>
                <a:cubicBezTo>
                  <a:pt x="40" y="42"/>
                  <a:pt x="42" y="43"/>
                  <a:pt x="42" y="42"/>
                </a:cubicBezTo>
                <a:cubicBezTo>
                  <a:pt x="42" y="42"/>
                  <a:pt x="42" y="42"/>
                  <a:pt x="42" y="42"/>
                </a:cubicBezTo>
                <a:cubicBezTo>
                  <a:pt x="42" y="42"/>
                  <a:pt x="43" y="42"/>
                  <a:pt x="43" y="42"/>
                </a:cubicBezTo>
                <a:cubicBezTo>
                  <a:pt x="44" y="42"/>
                  <a:pt x="44" y="42"/>
                  <a:pt x="44" y="42"/>
                </a:cubicBezTo>
                <a:cubicBezTo>
                  <a:pt x="45" y="41"/>
                  <a:pt x="45" y="42"/>
                  <a:pt x="45" y="41"/>
                </a:cubicBezTo>
                <a:cubicBezTo>
                  <a:pt x="46" y="41"/>
                  <a:pt x="46" y="41"/>
                  <a:pt x="46" y="41"/>
                </a:cubicBezTo>
                <a:cubicBezTo>
                  <a:pt x="47" y="42"/>
                  <a:pt x="47" y="41"/>
                  <a:pt x="48" y="42"/>
                </a:cubicBezTo>
                <a:cubicBezTo>
                  <a:pt x="48" y="42"/>
                  <a:pt x="49" y="42"/>
                  <a:pt x="49" y="42"/>
                </a:cubicBezTo>
                <a:cubicBezTo>
                  <a:pt x="50" y="43"/>
                  <a:pt x="51" y="43"/>
                  <a:pt x="51" y="44"/>
                </a:cubicBezTo>
                <a:cubicBezTo>
                  <a:pt x="51" y="44"/>
                  <a:pt x="51" y="43"/>
                  <a:pt x="51" y="44"/>
                </a:cubicBezTo>
                <a:cubicBezTo>
                  <a:pt x="52" y="44"/>
                  <a:pt x="52" y="44"/>
                  <a:pt x="52" y="44"/>
                </a:cubicBezTo>
                <a:cubicBezTo>
                  <a:pt x="52" y="44"/>
                  <a:pt x="53" y="43"/>
                  <a:pt x="53" y="44"/>
                </a:cubicBezTo>
                <a:cubicBezTo>
                  <a:pt x="53" y="45"/>
                  <a:pt x="53" y="45"/>
                  <a:pt x="53" y="45"/>
                </a:cubicBezTo>
                <a:cubicBezTo>
                  <a:pt x="54" y="44"/>
                  <a:pt x="54" y="46"/>
                  <a:pt x="54" y="45"/>
                </a:cubicBezTo>
                <a:cubicBezTo>
                  <a:pt x="54" y="45"/>
                  <a:pt x="54" y="45"/>
                  <a:pt x="54" y="45"/>
                </a:cubicBezTo>
                <a:cubicBezTo>
                  <a:pt x="54" y="45"/>
                  <a:pt x="55" y="45"/>
                  <a:pt x="55" y="44"/>
                </a:cubicBezTo>
                <a:cubicBezTo>
                  <a:pt x="55" y="44"/>
                  <a:pt x="56" y="45"/>
                  <a:pt x="57" y="45"/>
                </a:cubicBezTo>
                <a:cubicBezTo>
                  <a:pt x="57" y="45"/>
                  <a:pt x="59" y="48"/>
                  <a:pt x="59" y="47"/>
                </a:cubicBezTo>
                <a:cubicBezTo>
                  <a:pt x="60" y="46"/>
                  <a:pt x="61" y="48"/>
                  <a:pt x="61" y="48"/>
                </a:cubicBezTo>
                <a:cubicBezTo>
                  <a:pt x="60" y="48"/>
                  <a:pt x="61" y="49"/>
                  <a:pt x="61" y="49"/>
                </a:cubicBezTo>
                <a:cubicBezTo>
                  <a:pt x="61" y="49"/>
                  <a:pt x="61" y="50"/>
                  <a:pt x="61" y="50"/>
                </a:cubicBezTo>
                <a:cubicBezTo>
                  <a:pt x="61" y="51"/>
                  <a:pt x="60" y="51"/>
                  <a:pt x="60" y="51"/>
                </a:cubicBezTo>
                <a:cubicBezTo>
                  <a:pt x="61" y="52"/>
                  <a:pt x="61" y="52"/>
                  <a:pt x="61" y="52"/>
                </a:cubicBezTo>
                <a:cubicBezTo>
                  <a:pt x="62" y="52"/>
                  <a:pt x="63" y="54"/>
                  <a:pt x="63" y="54"/>
                </a:cubicBezTo>
                <a:cubicBezTo>
                  <a:pt x="64" y="54"/>
                  <a:pt x="64" y="53"/>
                  <a:pt x="64" y="53"/>
                </a:cubicBezTo>
                <a:cubicBezTo>
                  <a:pt x="64" y="53"/>
                  <a:pt x="65" y="54"/>
                  <a:pt x="65" y="54"/>
                </a:cubicBezTo>
                <a:cubicBezTo>
                  <a:pt x="65" y="54"/>
                  <a:pt x="64" y="54"/>
                  <a:pt x="64" y="55"/>
                </a:cubicBezTo>
                <a:cubicBezTo>
                  <a:pt x="64" y="55"/>
                  <a:pt x="65" y="56"/>
                  <a:pt x="64" y="56"/>
                </a:cubicBezTo>
                <a:cubicBezTo>
                  <a:pt x="64" y="56"/>
                  <a:pt x="64" y="56"/>
                  <a:pt x="64" y="56"/>
                </a:cubicBezTo>
                <a:cubicBezTo>
                  <a:pt x="64" y="56"/>
                  <a:pt x="65" y="56"/>
                  <a:pt x="65" y="56"/>
                </a:cubicBezTo>
                <a:cubicBezTo>
                  <a:pt x="65" y="57"/>
                  <a:pt x="65" y="57"/>
                  <a:pt x="65" y="57"/>
                </a:cubicBezTo>
                <a:cubicBezTo>
                  <a:pt x="65" y="58"/>
                  <a:pt x="66" y="58"/>
                  <a:pt x="66" y="58"/>
                </a:cubicBezTo>
                <a:cubicBezTo>
                  <a:pt x="66" y="58"/>
                  <a:pt x="66" y="58"/>
                  <a:pt x="67" y="58"/>
                </a:cubicBezTo>
                <a:cubicBezTo>
                  <a:pt x="67" y="58"/>
                  <a:pt x="68" y="59"/>
                  <a:pt x="68" y="59"/>
                </a:cubicBezTo>
                <a:cubicBezTo>
                  <a:pt x="68" y="60"/>
                  <a:pt x="69" y="61"/>
                  <a:pt x="69" y="62"/>
                </a:cubicBezTo>
                <a:cubicBezTo>
                  <a:pt x="68" y="62"/>
                  <a:pt x="68" y="62"/>
                  <a:pt x="68" y="62"/>
                </a:cubicBezTo>
                <a:cubicBezTo>
                  <a:pt x="68" y="62"/>
                  <a:pt x="69" y="62"/>
                  <a:pt x="69" y="62"/>
                </a:cubicBezTo>
                <a:cubicBezTo>
                  <a:pt x="69" y="63"/>
                  <a:pt x="69" y="63"/>
                  <a:pt x="70" y="63"/>
                </a:cubicBezTo>
                <a:cubicBezTo>
                  <a:pt x="70" y="63"/>
                  <a:pt x="70" y="63"/>
                  <a:pt x="70" y="64"/>
                </a:cubicBezTo>
                <a:cubicBezTo>
                  <a:pt x="70" y="64"/>
                  <a:pt x="69" y="64"/>
                  <a:pt x="69" y="64"/>
                </a:cubicBezTo>
                <a:cubicBezTo>
                  <a:pt x="68" y="64"/>
                  <a:pt x="68" y="64"/>
                  <a:pt x="68" y="64"/>
                </a:cubicBezTo>
                <a:cubicBezTo>
                  <a:pt x="68" y="64"/>
                  <a:pt x="67" y="63"/>
                  <a:pt x="67" y="63"/>
                </a:cubicBezTo>
                <a:cubicBezTo>
                  <a:pt x="67" y="63"/>
                  <a:pt x="66" y="63"/>
                  <a:pt x="66" y="63"/>
                </a:cubicBezTo>
                <a:cubicBezTo>
                  <a:pt x="66" y="63"/>
                  <a:pt x="66" y="64"/>
                  <a:pt x="66" y="64"/>
                </a:cubicBezTo>
                <a:cubicBezTo>
                  <a:pt x="65" y="63"/>
                  <a:pt x="65" y="63"/>
                  <a:pt x="65" y="63"/>
                </a:cubicBezTo>
                <a:cubicBezTo>
                  <a:pt x="64" y="63"/>
                  <a:pt x="65" y="63"/>
                  <a:pt x="65" y="63"/>
                </a:cubicBezTo>
                <a:cubicBezTo>
                  <a:pt x="64" y="62"/>
                  <a:pt x="64" y="63"/>
                  <a:pt x="64" y="63"/>
                </a:cubicBezTo>
                <a:cubicBezTo>
                  <a:pt x="63" y="63"/>
                  <a:pt x="63" y="63"/>
                  <a:pt x="63" y="63"/>
                </a:cubicBezTo>
                <a:cubicBezTo>
                  <a:pt x="63" y="62"/>
                  <a:pt x="63" y="63"/>
                  <a:pt x="63" y="63"/>
                </a:cubicBezTo>
                <a:cubicBezTo>
                  <a:pt x="63" y="63"/>
                  <a:pt x="62" y="64"/>
                  <a:pt x="62" y="64"/>
                </a:cubicBezTo>
                <a:cubicBezTo>
                  <a:pt x="62" y="64"/>
                  <a:pt x="62" y="62"/>
                  <a:pt x="62" y="62"/>
                </a:cubicBezTo>
                <a:cubicBezTo>
                  <a:pt x="62" y="62"/>
                  <a:pt x="61" y="62"/>
                  <a:pt x="61" y="62"/>
                </a:cubicBezTo>
                <a:cubicBezTo>
                  <a:pt x="60" y="63"/>
                  <a:pt x="60" y="65"/>
                  <a:pt x="61" y="65"/>
                </a:cubicBezTo>
                <a:cubicBezTo>
                  <a:pt x="61" y="66"/>
                  <a:pt x="60" y="66"/>
                  <a:pt x="60" y="67"/>
                </a:cubicBezTo>
                <a:cubicBezTo>
                  <a:pt x="60" y="67"/>
                  <a:pt x="61" y="67"/>
                  <a:pt x="60" y="68"/>
                </a:cubicBezTo>
                <a:cubicBezTo>
                  <a:pt x="60" y="68"/>
                  <a:pt x="60" y="68"/>
                  <a:pt x="60" y="68"/>
                </a:cubicBezTo>
                <a:cubicBezTo>
                  <a:pt x="59" y="68"/>
                  <a:pt x="58" y="68"/>
                  <a:pt x="59" y="69"/>
                </a:cubicBezTo>
                <a:cubicBezTo>
                  <a:pt x="59" y="69"/>
                  <a:pt x="58" y="70"/>
                  <a:pt x="58" y="70"/>
                </a:cubicBezTo>
                <a:cubicBezTo>
                  <a:pt x="58" y="70"/>
                  <a:pt x="57" y="70"/>
                  <a:pt x="57" y="70"/>
                </a:cubicBezTo>
                <a:cubicBezTo>
                  <a:pt x="58" y="71"/>
                  <a:pt x="57" y="71"/>
                  <a:pt x="57" y="71"/>
                </a:cubicBezTo>
                <a:cubicBezTo>
                  <a:pt x="56" y="71"/>
                  <a:pt x="58" y="72"/>
                  <a:pt x="57" y="72"/>
                </a:cubicBezTo>
                <a:cubicBezTo>
                  <a:pt x="57" y="72"/>
                  <a:pt x="57" y="73"/>
                  <a:pt x="56" y="73"/>
                </a:cubicBezTo>
                <a:cubicBezTo>
                  <a:pt x="56" y="73"/>
                  <a:pt x="56" y="73"/>
                  <a:pt x="55" y="73"/>
                </a:cubicBezTo>
                <a:cubicBezTo>
                  <a:pt x="55" y="73"/>
                  <a:pt x="54" y="74"/>
                  <a:pt x="55" y="74"/>
                </a:cubicBezTo>
                <a:cubicBezTo>
                  <a:pt x="55" y="74"/>
                  <a:pt x="55" y="75"/>
                  <a:pt x="56" y="75"/>
                </a:cubicBezTo>
                <a:cubicBezTo>
                  <a:pt x="56" y="75"/>
                  <a:pt x="59" y="77"/>
                  <a:pt x="60" y="76"/>
                </a:cubicBezTo>
                <a:cubicBezTo>
                  <a:pt x="60" y="76"/>
                  <a:pt x="60" y="76"/>
                  <a:pt x="60" y="75"/>
                </a:cubicBezTo>
                <a:cubicBezTo>
                  <a:pt x="60" y="75"/>
                  <a:pt x="60" y="75"/>
                  <a:pt x="60" y="75"/>
                </a:cubicBezTo>
                <a:cubicBezTo>
                  <a:pt x="60" y="75"/>
                  <a:pt x="61" y="76"/>
                  <a:pt x="61" y="75"/>
                </a:cubicBezTo>
                <a:cubicBezTo>
                  <a:pt x="61" y="75"/>
                  <a:pt x="62" y="75"/>
                  <a:pt x="63" y="75"/>
                </a:cubicBezTo>
                <a:cubicBezTo>
                  <a:pt x="63" y="74"/>
                  <a:pt x="63" y="74"/>
                  <a:pt x="64" y="74"/>
                </a:cubicBezTo>
                <a:cubicBezTo>
                  <a:pt x="64" y="74"/>
                  <a:pt x="65" y="74"/>
                  <a:pt x="65" y="74"/>
                </a:cubicBezTo>
                <a:cubicBezTo>
                  <a:pt x="67" y="74"/>
                  <a:pt x="67" y="75"/>
                  <a:pt x="67" y="76"/>
                </a:cubicBezTo>
                <a:cubicBezTo>
                  <a:pt x="68" y="76"/>
                  <a:pt x="68" y="74"/>
                  <a:pt x="68" y="74"/>
                </a:cubicBezTo>
                <a:cubicBezTo>
                  <a:pt x="68" y="73"/>
                  <a:pt x="67" y="73"/>
                  <a:pt x="67" y="74"/>
                </a:cubicBezTo>
                <a:cubicBezTo>
                  <a:pt x="67" y="74"/>
                  <a:pt x="67" y="73"/>
                  <a:pt x="67" y="73"/>
                </a:cubicBezTo>
                <a:cubicBezTo>
                  <a:pt x="67" y="73"/>
                  <a:pt x="67" y="73"/>
                  <a:pt x="67" y="72"/>
                </a:cubicBezTo>
                <a:cubicBezTo>
                  <a:pt x="67" y="73"/>
                  <a:pt x="66" y="72"/>
                  <a:pt x="66" y="71"/>
                </a:cubicBezTo>
                <a:cubicBezTo>
                  <a:pt x="66" y="71"/>
                  <a:pt x="67" y="70"/>
                  <a:pt x="66" y="70"/>
                </a:cubicBezTo>
                <a:cubicBezTo>
                  <a:pt x="67" y="70"/>
                  <a:pt x="67" y="72"/>
                  <a:pt x="68" y="72"/>
                </a:cubicBezTo>
                <a:cubicBezTo>
                  <a:pt x="69" y="71"/>
                  <a:pt x="68" y="71"/>
                  <a:pt x="68" y="71"/>
                </a:cubicBezTo>
                <a:cubicBezTo>
                  <a:pt x="68" y="70"/>
                  <a:pt x="69" y="71"/>
                  <a:pt x="69" y="71"/>
                </a:cubicBezTo>
                <a:cubicBezTo>
                  <a:pt x="69" y="70"/>
                  <a:pt x="69" y="70"/>
                  <a:pt x="69" y="70"/>
                </a:cubicBezTo>
                <a:cubicBezTo>
                  <a:pt x="69" y="70"/>
                  <a:pt x="69" y="70"/>
                  <a:pt x="69" y="70"/>
                </a:cubicBezTo>
                <a:cubicBezTo>
                  <a:pt x="70" y="70"/>
                  <a:pt x="69" y="69"/>
                  <a:pt x="70" y="70"/>
                </a:cubicBezTo>
                <a:cubicBezTo>
                  <a:pt x="70" y="70"/>
                  <a:pt x="70" y="69"/>
                  <a:pt x="71" y="69"/>
                </a:cubicBezTo>
                <a:cubicBezTo>
                  <a:pt x="71" y="69"/>
                  <a:pt x="71" y="70"/>
                  <a:pt x="71" y="70"/>
                </a:cubicBezTo>
                <a:cubicBezTo>
                  <a:pt x="71" y="70"/>
                  <a:pt x="70" y="70"/>
                  <a:pt x="70" y="70"/>
                </a:cubicBezTo>
                <a:cubicBezTo>
                  <a:pt x="69" y="71"/>
                  <a:pt x="68" y="72"/>
                  <a:pt x="68" y="72"/>
                </a:cubicBezTo>
                <a:cubicBezTo>
                  <a:pt x="69" y="72"/>
                  <a:pt x="70" y="70"/>
                  <a:pt x="71" y="70"/>
                </a:cubicBezTo>
                <a:cubicBezTo>
                  <a:pt x="71" y="69"/>
                  <a:pt x="72" y="69"/>
                  <a:pt x="72" y="68"/>
                </a:cubicBezTo>
                <a:cubicBezTo>
                  <a:pt x="72" y="68"/>
                  <a:pt x="73" y="67"/>
                  <a:pt x="73" y="67"/>
                </a:cubicBezTo>
                <a:cubicBezTo>
                  <a:pt x="73" y="66"/>
                  <a:pt x="72" y="66"/>
                  <a:pt x="72" y="65"/>
                </a:cubicBezTo>
                <a:cubicBezTo>
                  <a:pt x="71" y="65"/>
                  <a:pt x="70" y="65"/>
                  <a:pt x="70" y="64"/>
                </a:cubicBezTo>
                <a:cubicBezTo>
                  <a:pt x="70" y="64"/>
                  <a:pt x="71" y="63"/>
                  <a:pt x="71" y="64"/>
                </a:cubicBezTo>
                <a:cubicBezTo>
                  <a:pt x="71" y="64"/>
                  <a:pt x="72" y="65"/>
                  <a:pt x="72" y="64"/>
                </a:cubicBezTo>
                <a:cubicBezTo>
                  <a:pt x="72" y="64"/>
                  <a:pt x="72" y="65"/>
                  <a:pt x="73" y="65"/>
                </a:cubicBezTo>
                <a:cubicBezTo>
                  <a:pt x="73" y="65"/>
                  <a:pt x="73" y="66"/>
                  <a:pt x="73" y="66"/>
                </a:cubicBezTo>
                <a:cubicBezTo>
                  <a:pt x="73" y="66"/>
                  <a:pt x="74" y="66"/>
                  <a:pt x="74" y="67"/>
                </a:cubicBezTo>
                <a:cubicBezTo>
                  <a:pt x="74" y="67"/>
                  <a:pt x="73" y="67"/>
                  <a:pt x="73" y="67"/>
                </a:cubicBezTo>
                <a:cubicBezTo>
                  <a:pt x="74" y="67"/>
                  <a:pt x="75" y="65"/>
                  <a:pt x="75" y="65"/>
                </a:cubicBezTo>
                <a:cubicBezTo>
                  <a:pt x="75" y="65"/>
                  <a:pt x="75" y="64"/>
                  <a:pt x="75" y="64"/>
                </a:cubicBezTo>
                <a:cubicBezTo>
                  <a:pt x="75" y="64"/>
                  <a:pt x="75" y="64"/>
                  <a:pt x="75" y="64"/>
                </a:cubicBezTo>
                <a:cubicBezTo>
                  <a:pt x="76" y="64"/>
                  <a:pt x="76" y="63"/>
                  <a:pt x="76" y="63"/>
                </a:cubicBezTo>
                <a:cubicBezTo>
                  <a:pt x="75" y="62"/>
                  <a:pt x="76" y="62"/>
                  <a:pt x="77" y="61"/>
                </a:cubicBezTo>
                <a:cubicBezTo>
                  <a:pt x="78" y="61"/>
                  <a:pt x="79" y="61"/>
                  <a:pt x="81" y="61"/>
                </a:cubicBezTo>
                <a:cubicBezTo>
                  <a:pt x="81" y="61"/>
                  <a:pt x="81" y="61"/>
                  <a:pt x="82" y="60"/>
                </a:cubicBezTo>
                <a:cubicBezTo>
                  <a:pt x="82" y="60"/>
                  <a:pt x="81" y="60"/>
                  <a:pt x="81" y="59"/>
                </a:cubicBezTo>
                <a:cubicBezTo>
                  <a:pt x="81" y="59"/>
                  <a:pt x="81" y="60"/>
                  <a:pt x="82" y="59"/>
                </a:cubicBezTo>
                <a:cubicBezTo>
                  <a:pt x="82" y="59"/>
                  <a:pt x="82" y="59"/>
                  <a:pt x="82" y="59"/>
                </a:cubicBezTo>
                <a:cubicBezTo>
                  <a:pt x="83" y="59"/>
                  <a:pt x="81" y="60"/>
                  <a:pt x="81" y="61"/>
                </a:cubicBezTo>
                <a:cubicBezTo>
                  <a:pt x="82" y="61"/>
                  <a:pt x="82" y="61"/>
                  <a:pt x="82" y="61"/>
                </a:cubicBezTo>
                <a:cubicBezTo>
                  <a:pt x="83" y="61"/>
                  <a:pt x="83" y="61"/>
                  <a:pt x="83" y="61"/>
                </a:cubicBezTo>
                <a:cubicBezTo>
                  <a:pt x="83" y="61"/>
                  <a:pt x="85" y="62"/>
                  <a:pt x="85" y="60"/>
                </a:cubicBezTo>
                <a:cubicBezTo>
                  <a:pt x="85" y="60"/>
                  <a:pt x="84" y="59"/>
                  <a:pt x="85" y="59"/>
                </a:cubicBezTo>
                <a:cubicBezTo>
                  <a:pt x="85" y="59"/>
                  <a:pt x="86" y="58"/>
                  <a:pt x="85" y="58"/>
                </a:cubicBezTo>
                <a:cubicBezTo>
                  <a:pt x="85" y="58"/>
                  <a:pt x="85" y="58"/>
                  <a:pt x="85" y="58"/>
                </a:cubicBezTo>
                <a:cubicBezTo>
                  <a:pt x="84" y="58"/>
                  <a:pt x="85" y="57"/>
                  <a:pt x="85" y="57"/>
                </a:cubicBezTo>
                <a:cubicBezTo>
                  <a:pt x="85" y="57"/>
                  <a:pt x="85" y="57"/>
                  <a:pt x="84" y="57"/>
                </a:cubicBezTo>
                <a:cubicBezTo>
                  <a:pt x="84" y="57"/>
                  <a:pt x="84" y="56"/>
                  <a:pt x="84" y="56"/>
                </a:cubicBezTo>
                <a:cubicBezTo>
                  <a:pt x="84" y="56"/>
                  <a:pt x="84" y="56"/>
                  <a:pt x="84" y="56"/>
                </a:cubicBezTo>
                <a:cubicBezTo>
                  <a:pt x="84" y="55"/>
                  <a:pt x="84" y="55"/>
                  <a:pt x="83" y="55"/>
                </a:cubicBezTo>
                <a:cubicBezTo>
                  <a:pt x="83" y="55"/>
                  <a:pt x="83" y="54"/>
                  <a:pt x="83" y="54"/>
                </a:cubicBezTo>
                <a:cubicBezTo>
                  <a:pt x="83" y="54"/>
                  <a:pt x="83" y="55"/>
                  <a:pt x="83" y="55"/>
                </a:cubicBezTo>
                <a:cubicBezTo>
                  <a:pt x="84" y="55"/>
                  <a:pt x="84" y="55"/>
                  <a:pt x="84" y="55"/>
                </a:cubicBezTo>
                <a:cubicBezTo>
                  <a:pt x="84" y="56"/>
                  <a:pt x="85" y="56"/>
                  <a:pt x="85" y="56"/>
                </a:cubicBezTo>
                <a:cubicBezTo>
                  <a:pt x="84" y="57"/>
                  <a:pt x="84" y="57"/>
                  <a:pt x="85" y="57"/>
                </a:cubicBezTo>
                <a:cubicBezTo>
                  <a:pt x="86" y="57"/>
                  <a:pt x="85" y="58"/>
                  <a:pt x="85" y="58"/>
                </a:cubicBezTo>
                <a:cubicBezTo>
                  <a:pt x="86" y="58"/>
                  <a:pt x="86" y="58"/>
                  <a:pt x="85" y="59"/>
                </a:cubicBezTo>
                <a:cubicBezTo>
                  <a:pt x="85" y="60"/>
                  <a:pt x="86" y="61"/>
                  <a:pt x="86" y="61"/>
                </a:cubicBezTo>
                <a:cubicBezTo>
                  <a:pt x="87" y="61"/>
                  <a:pt x="87" y="62"/>
                  <a:pt x="87" y="62"/>
                </a:cubicBezTo>
                <a:cubicBezTo>
                  <a:pt x="88" y="61"/>
                  <a:pt x="89" y="62"/>
                  <a:pt x="90" y="62"/>
                </a:cubicBezTo>
                <a:cubicBezTo>
                  <a:pt x="90" y="61"/>
                  <a:pt x="91" y="61"/>
                  <a:pt x="92" y="61"/>
                </a:cubicBezTo>
                <a:cubicBezTo>
                  <a:pt x="91" y="61"/>
                  <a:pt x="90" y="61"/>
                  <a:pt x="90" y="62"/>
                </a:cubicBezTo>
                <a:cubicBezTo>
                  <a:pt x="90" y="63"/>
                  <a:pt x="88" y="63"/>
                  <a:pt x="88" y="62"/>
                </a:cubicBezTo>
                <a:cubicBezTo>
                  <a:pt x="87" y="62"/>
                  <a:pt x="86" y="62"/>
                  <a:pt x="85" y="62"/>
                </a:cubicBezTo>
                <a:cubicBezTo>
                  <a:pt x="84" y="62"/>
                  <a:pt x="83" y="62"/>
                  <a:pt x="82" y="62"/>
                </a:cubicBezTo>
                <a:cubicBezTo>
                  <a:pt x="82" y="62"/>
                  <a:pt x="83" y="62"/>
                  <a:pt x="83" y="63"/>
                </a:cubicBezTo>
                <a:cubicBezTo>
                  <a:pt x="83" y="62"/>
                  <a:pt x="84" y="62"/>
                  <a:pt x="85" y="63"/>
                </a:cubicBezTo>
                <a:cubicBezTo>
                  <a:pt x="85" y="63"/>
                  <a:pt x="86" y="63"/>
                  <a:pt x="86" y="63"/>
                </a:cubicBezTo>
                <a:cubicBezTo>
                  <a:pt x="86" y="63"/>
                  <a:pt x="87" y="63"/>
                  <a:pt x="87" y="64"/>
                </a:cubicBezTo>
                <a:cubicBezTo>
                  <a:pt x="86" y="64"/>
                  <a:pt x="84" y="64"/>
                  <a:pt x="84" y="64"/>
                </a:cubicBezTo>
                <a:cubicBezTo>
                  <a:pt x="85" y="65"/>
                  <a:pt x="86" y="65"/>
                  <a:pt x="85" y="64"/>
                </a:cubicBezTo>
                <a:cubicBezTo>
                  <a:pt x="86" y="64"/>
                  <a:pt x="86" y="65"/>
                  <a:pt x="86" y="65"/>
                </a:cubicBezTo>
                <a:cubicBezTo>
                  <a:pt x="86" y="65"/>
                  <a:pt x="87" y="65"/>
                  <a:pt x="87" y="65"/>
                </a:cubicBezTo>
                <a:cubicBezTo>
                  <a:pt x="88" y="65"/>
                  <a:pt x="88" y="66"/>
                  <a:pt x="89" y="66"/>
                </a:cubicBezTo>
                <a:cubicBezTo>
                  <a:pt x="88" y="66"/>
                  <a:pt x="89" y="67"/>
                  <a:pt x="90" y="67"/>
                </a:cubicBezTo>
                <a:cubicBezTo>
                  <a:pt x="91" y="67"/>
                  <a:pt x="91" y="67"/>
                  <a:pt x="92" y="66"/>
                </a:cubicBezTo>
                <a:cubicBezTo>
                  <a:pt x="93" y="66"/>
                  <a:pt x="96" y="67"/>
                  <a:pt x="95" y="66"/>
                </a:cubicBezTo>
                <a:cubicBezTo>
                  <a:pt x="96" y="66"/>
                  <a:pt x="96" y="66"/>
                  <a:pt x="96" y="66"/>
                </a:cubicBezTo>
                <a:cubicBezTo>
                  <a:pt x="97" y="66"/>
                  <a:pt x="97" y="66"/>
                  <a:pt x="97" y="65"/>
                </a:cubicBezTo>
                <a:cubicBezTo>
                  <a:pt x="97" y="66"/>
                  <a:pt x="97" y="66"/>
                  <a:pt x="97" y="66"/>
                </a:cubicBezTo>
                <a:cubicBezTo>
                  <a:pt x="97" y="66"/>
                  <a:pt x="98" y="66"/>
                  <a:pt x="98" y="67"/>
                </a:cubicBezTo>
                <a:cubicBezTo>
                  <a:pt x="98" y="66"/>
                  <a:pt x="98" y="67"/>
                  <a:pt x="99" y="67"/>
                </a:cubicBezTo>
                <a:cubicBezTo>
                  <a:pt x="99" y="67"/>
                  <a:pt x="99" y="67"/>
                  <a:pt x="100" y="67"/>
                </a:cubicBezTo>
                <a:cubicBezTo>
                  <a:pt x="99" y="67"/>
                  <a:pt x="100" y="67"/>
                  <a:pt x="100" y="67"/>
                </a:cubicBezTo>
                <a:cubicBezTo>
                  <a:pt x="99" y="66"/>
                  <a:pt x="101" y="65"/>
                  <a:pt x="101" y="67"/>
                </a:cubicBezTo>
                <a:cubicBezTo>
                  <a:pt x="101" y="67"/>
                  <a:pt x="101" y="68"/>
                  <a:pt x="101" y="68"/>
                </a:cubicBezTo>
                <a:cubicBezTo>
                  <a:pt x="101" y="68"/>
                  <a:pt x="102" y="68"/>
                  <a:pt x="102" y="68"/>
                </a:cubicBezTo>
                <a:cubicBezTo>
                  <a:pt x="102" y="69"/>
                  <a:pt x="102" y="69"/>
                  <a:pt x="101" y="69"/>
                </a:cubicBezTo>
                <a:cubicBezTo>
                  <a:pt x="101" y="69"/>
                  <a:pt x="102" y="69"/>
                  <a:pt x="102" y="69"/>
                </a:cubicBezTo>
                <a:cubicBezTo>
                  <a:pt x="101" y="69"/>
                  <a:pt x="101" y="69"/>
                  <a:pt x="101" y="69"/>
                </a:cubicBezTo>
                <a:cubicBezTo>
                  <a:pt x="100" y="69"/>
                  <a:pt x="100" y="69"/>
                  <a:pt x="100" y="69"/>
                </a:cubicBezTo>
                <a:cubicBezTo>
                  <a:pt x="100" y="70"/>
                  <a:pt x="100" y="69"/>
                  <a:pt x="99" y="70"/>
                </a:cubicBezTo>
                <a:cubicBezTo>
                  <a:pt x="99" y="70"/>
                  <a:pt x="99" y="70"/>
                  <a:pt x="99" y="70"/>
                </a:cubicBezTo>
                <a:cubicBezTo>
                  <a:pt x="98" y="70"/>
                  <a:pt x="98" y="70"/>
                  <a:pt x="98" y="70"/>
                </a:cubicBezTo>
                <a:cubicBezTo>
                  <a:pt x="98" y="70"/>
                  <a:pt x="97" y="70"/>
                  <a:pt x="97" y="70"/>
                </a:cubicBezTo>
                <a:cubicBezTo>
                  <a:pt x="97" y="70"/>
                  <a:pt x="97" y="70"/>
                  <a:pt x="97" y="71"/>
                </a:cubicBezTo>
                <a:cubicBezTo>
                  <a:pt x="97" y="71"/>
                  <a:pt x="96" y="71"/>
                  <a:pt x="96" y="71"/>
                </a:cubicBezTo>
                <a:cubicBezTo>
                  <a:pt x="95" y="71"/>
                  <a:pt x="95" y="72"/>
                  <a:pt x="94" y="72"/>
                </a:cubicBezTo>
                <a:cubicBezTo>
                  <a:pt x="94" y="73"/>
                  <a:pt x="94" y="72"/>
                  <a:pt x="94" y="72"/>
                </a:cubicBezTo>
                <a:cubicBezTo>
                  <a:pt x="93" y="73"/>
                  <a:pt x="93" y="73"/>
                  <a:pt x="93" y="73"/>
                </a:cubicBezTo>
                <a:cubicBezTo>
                  <a:pt x="92" y="73"/>
                  <a:pt x="91" y="75"/>
                  <a:pt x="93" y="75"/>
                </a:cubicBezTo>
                <a:cubicBezTo>
                  <a:pt x="93" y="75"/>
                  <a:pt x="94" y="75"/>
                  <a:pt x="94" y="75"/>
                </a:cubicBezTo>
                <a:cubicBezTo>
                  <a:pt x="95" y="75"/>
                  <a:pt x="95" y="75"/>
                  <a:pt x="96" y="75"/>
                </a:cubicBezTo>
                <a:cubicBezTo>
                  <a:pt x="96" y="75"/>
                  <a:pt x="97" y="75"/>
                  <a:pt x="97" y="76"/>
                </a:cubicBezTo>
                <a:cubicBezTo>
                  <a:pt x="98" y="76"/>
                  <a:pt x="98" y="77"/>
                  <a:pt x="99" y="77"/>
                </a:cubicBezTo>
                <a:cubicBezTo>
                  <a:pt x="100" y="77"/>
                  <a:pt x="100" y="76"/>
                  <a:pt x="100" y="77"/>
                </a:cubicBezTo>
                <a:cubicBezTo>
                  <a:pt x="101" y="77"/>
                  <a:pt x="101" y="77"/>
                  <a:pt x="102" y="78"/>
                </a:cubicBezTo>
                <a:cubicBezTo>
                  <a:pt x="102" y="78"/>
                  <a:pt x="102" y="79"/>
                  <a:pt x="102" y="80"/>
                </a:cubicBezTo>
                <a:cubicBezTo>
                  <a:pt x="102" y="80"/>
                  <a:pt x="102" y="80"/>
                  <a:pt x="101" y="81"/>
                </a:cubicBezTo>
                <a:cubicBezTo>
                  <a:pt x="101" y="81"/>
                  <a:pt x="102" y="81"/>
                  <a:pt x="102" y="82"/>
                </a:cubicBezTo>
                <a:cubicBezTo>
                  <a:pt x="102" y="82"/>
                  <a:pt x="101" y="83"/>
                  <a:pt x="102" y="83"/>
                </a:cubicBezTo>
                <a:cubicBezTo>
                  <a:pt x="101" y="83"/>
                  <a:pt x="100" y="83"/>
                  <a:pt x="101" y="84"/>
                </a:cubicBezTo>
                <a:cubicBezTo>
                  <a:pt x="101" y="84"/>
                  <a:pt x="102" y="84"/>
                  <a:pt x="102" y="84"/>
                </a:cubicBezTo>
                <a:cubicBezTo>
                  <a:pt x="103" y="84"/>
                  <a:pt x="103" y="85"/>
                  <a:pt x="103" y="85"/>
                </a:cubicBezTo>
                <a:cubicBezTo>
                  <a:pt x="104" y="85"/>
                  <a:pt x="105" y="85"/>
                  <a:pt x="105" y="85"/>
                </a:cubicBezTo>
                <a:cubicBezTo>
                  <a:pt x="106" y="85"/>
                  <a:pt x="106" y="85"/>
                  <a:pt x="107" y="85"/>
                </a:cubicBezTo>
                <a:cubicBezTo>
                  <a:pt x="107" y="84"/>
                  <a:pt x="108" y="84"/>
                  <a:pt x="109" y="83"/>
                </a:cubicBezTo>
                <a:cubicBezTo>
                  <a:pt x="109" y="83"/>
                  <a:pt x="109" y="82"/>
                  <a:pt x="109" y="82"/>
                </a:cubicBezTo>
                <a:cubicBezTo>
                  <a:pt x="110" y="81"/>
                  <a:pt x="110" y="81"/>
                  <a:pt x="111" y="81"/>
                </a:cubicBezTo>
                <a:cubicBezTo>
                  <a:pt x="111" y="81"/>
                  <a:pt x="112" y="81"/>
                  <a:pt x="112" y="81"/>
                </a:cubicBezTo>
                <a:cubicBezTo>
                  <a:pt x="113" y="81"/>
                  <a:pt x="113" y="80"/>
                  <a:pt x="114" y="80"/>
                </a:cubicBezTo>
                <a:cubicBezTo>
                  <a:pt x="114" y="80"/>
                  <a:pt x="114" y="81"/>
                  <a:pt x="115" y="81"/>
                </a:cubicBezTo>
                <a:cubicBezTo>
                  <a:pt x="115" y="81"/>
                  <a:pt x="115" y="80"/>
                  <a:pt x="115" y="80"/>
                </a:cubicBezTo>
                <a:cubicBezTo>
                  <a:pt x="115" y="80"/>
                  <a:pt x="116" y="79"/>
                  <a:pt x="116" y="79"/>
                </a:cubicBezTo>
                <a:cubicBezTo>
                  <a:pt x="116" y="79"/>
                  <a:pt x="117" y="79"/>
                  <a:pt x="117" y="79"/>
                </a:cubicBezTo>
                <a:cubicBezTo>
                  <a:pt x="117" y="79"/>
                  <a:pt x="118" y="78"/>
                  <a:pt x="118" y="79"/>
                </a:cubicBezTo>
                <a:cubicBezTo>
                  <a:pt x="118" y="78"/>
                  <a:pt x="117" y="78"/>
                  <a:pt x="118" y="78"/>
                </a:cubicBezTo>
                <a:cubicBezTo>
                  <a:pt x="118" y="77"/>
                  <a:pt x="119" y="77"/>
                  <a:pt x="119" y="77"/>
                </a:cubicBezTo>
                <a:cubicBezTo>
                  <a:pt x="120" y="77"/>
                  <a:pt x="120" y="78"/>
                  <a:pt x="121" y="78"/>
                </a:cubicBezTo>
                <a:cubicBezTo>
                  <a:pt x="121" y="78"/>
                  <a:pt x="121" y="79"/>
                  <a:pt x="122" y="79"/>
                </a:cubicBezTo>
                <a:cubicBezTo>
                  <a:pt x="122" y="79"/>
                  <a:pt x="123" y="78"/>
                  <a:pt x="123" y="78"/>
                </a:cubicBezTo>
                <a:cubicBezTo>
                  <a:pt x="124" y="78"/>
                  <a:pt x="124" y="79"/>
                  <a:pt x="125" y="78"/>
                </a:cubicBezTo>
                <a:cubicBezTo>
                  <a:pt x="125" y="78"/>
                  <a:pt x="127" y="78"/>
                  <a:pt x="126" y="77"/>
                </a:cubicBezTo>
                <a:cubicBezTo>
                  <a:pt x="126" y="77"/>
                  <a:pt x="126" y="76"/>
                  <a:pt x="126" y="76"/>
                </a:cubicBezTo>
                <a:cubicBezTo>
                  <a:pt x="126" y="75"/>
                  <a:pt x="127" y="76"/>
                  <a:pt x="127" y="75"/>
                </a:cubicBezTo>
                <a:cubicBezTo>
                  <a:pt x="126" y="75"/>
                  <a:pt x="128" y="75"/>
                  <a:pt x="128" y="74"/>
                </a:cubicBezTo>
                <a:cubicBezTo>
                  <a:pt x="127" y="74"/>
                  <a:pt x="127" y="74"/>
                  <a:pt x="127" y="74"/>
                </a:cubicBezTo>
                <a:cubicBezTo>
                  <a:pt x="126" y="74"/>
                  <a:pt x="126" y="74"/>
                  <a:pt x="125" y="74"/>
                </a:cubicBezTo>
                <a:cubicBezTo>
                  <a:pt x="125" y="74"/>
                  <a:pt x="125" y="73"/>
                  <a:pt x="125" y="73"/>
                </a:cubicBezTo>
                <a:cubicBezTo>
                  <a:pt x="124" y="73"/>
                  <a:pt x="123" y="73"/>
                  <a:pt x="123" y="74"/>
                </a:cubicBezTo>
                <a:cubicBezTo>
                  <a:pt x="122" y="74"/>
                  <a:pt x="123" y="75"/>
                  <a:pt x="122" y="75"/>
                </a:cubicBezTo>
                <a:cubicBezTo>
                  <a:pt x="121" y="74"/>
                  <a:pt x="121" y="74"/>
                  <a:pt x="121" y="74"/>
                </a:cubicBezTo>
                <a:cubicBezTo>
                  <a:pt x="121" y="73"/>
                  <a:pt x="120" y="75"/>
                  <a:pt x="120" y="75"/>
                </a:cubicBezTo>
                <a:cubicBezTo>
                  <a:pt x="118" y="76"/>
                  <a:pt x="116" y="74"/>
                  <a:pt x="115" y="73"/>
                </a:cubicBezTo>
                <a:cubicBezTo>
                  <a:pt x="114" y="72"/>
                  <a:pt x="113" y="70"/>
                  <a:pt x="112" y="69"/>
                </a:cubicBezTo>
                <a:cubicBezTo>
                  <a:pt x="111" y="68"/>
                  <a:pt x="111" y="67"/>
                  <a:pt x="111" y="66"/>
                </a:cubicBezTo>
                <a:cubicBezTo>
                  <a:pt x="111" y="66"/>
                  <a:pt x="111" y="66"/>
                  <a:pt x="111" y="66"/>
                </a:cubicBezTo>
                <a:cubicBezTo>
                  <a:pt x="111" y="66"/>
                  <a:pt x="111" y="65"/>
                  <a:pt x="111" y="65"/>
                </a:cubicBezTo>
                <a:cubicBezTo>
                  <a:pt x="111" y="65"/>
                  <a:pt x="112" y="65"/>
                  <a:pt x="112" y="65"/>
                </a:cubicBezTo>
                <a:cubicBezTo>
                  <a:pt x="112" y="65"/>
                  <a:pt x="113" y="65"/>
                  <a:pt x="113" y="64"/>
                </a:cubicBezTo>
                <a:cubicBezTo>
                  <a:pt x="114" y="64"/>
                  <a:pt x="114" y="64"/>
                  <a:pt x="114" y="63"/>
                </a:cubicBezTo>
                <a:cubicBezTo>
                  <a:pt x="114" y="63"/>
                  <a:pt x="113" y="63"/>
                  <a:pt x="114" y="62"/>
                </a:cubicBezTo>
                <a:cubicBezTo>
                  <a:pt x="114" y="63"/>
                  <a:pt x="114" y="63"/>
                  <a:pt x="115" y="64"/>
                </a:cubicBezTo>
                <a:cubicBezTo>
                  <a:pt x="115" y="64"/>
                  <a:pt x="115" y="64"/>
                  <a:pt x="115" y="64"/>
                </a:cubicBezTo>
                <a:cubicBezTo>
                  <a:pt x="115" y="64"/>
                  <a:pt x="114" y="65"/>
                  <a:pt x="114" y="66"/>
                </a:cubicBezTo>
                <a:cubicBezTo>
                  <a:pt x="114" y="66"/>
                  <a:pt x="113" y="66"/>
                  <a:pt x="113" y="67"/>
                </a:cubicBezTo>
                <a:cubicBezTo>
                  <a:pt x="112" y="67"/>
                  <a:pt x="113" y="67"/>
                  <a:pt x="114" y="66"/>
                </a:cubicBezTo>
                <a:cubicBezTo>
                  <a:pt x="114" y="66"/>
                  <a:pt x="115" y="65"/>
                  <a:pt x="115" y="65"/>
                </a:cubicBezTo>
                <a:cubicBezTo>
                  <a:pt x="115" y="64"/>
                  <a:pt x="116" y="63"/>
                  <a:pt x="117" y="63"/>
                </a:cubicBezTo>
                <a:cubicBezTo>
                  <a:pt x="118" y="62"/>
                  <a:pt x="118" y="62"/>
                  <a:pt x="119" y="61"/>
                </a:cubicBezTo>
                <a:cubicBezTo>
                  <a:pt x="119" y="61"/>
                  <a:pt x="122" y="60"/>
                  <a:pt x="123" y="61"/>
                </a:cubicBezTo>
                <a:cubicBezTo>
                  <a:pt x="123" y="61"/>
                  <a:pt x="123" y="61"/>
                  <a:pt x="123" y="61"/>
                </a:cubicBezTo>
                <a:cubicBezTo>
                  <a:pt x="123" y="60"/>
                  <a:pt x="124" y="60"/>
                  <a:pt x="125" y="59"/>
                </a:cubicBezTo>
                <a:cubicBezTo>
                  <a:pt x="126" y="59"/>
                  <a:pt x="127" y="59"/>
                  <a:pt x="127" y="60"/>
                </a:cubicBezTo>
                <a:cubicBezTo>
                  <a:pt x="127" y="60"/>
                  <a:pt x="127" y="61"/>
                  <a:pt x="127" y="61"/>
                </a:cubicBezTo>
                <a:cubicBezTo>
                  <a:pt x="127" y="61"/>
                  <a:pt x="127" y="60"/>
                  <a:pt x="127" y="60"/>
                </a:cubicBezTo>
                <a:cubicBezTo>
                  <a:pt x="128" y="59"/>
                  <a:pt x="128" y="59"/>
                  <a:pt x="129" y="59"/>
                </a:cubicBezTo>
                <a:cubicBezTo>
                  <a:pt x="129" y="58"/>
                  <a:pt x="130" y="58"/>
                  <a:pt x="131" y="58"/>
                </a:cubicBezTo>
                <a:cubicBezTo>
                  <a:pt x="131" y="58"/>
                  <a:pt x="131" y="59"/>
                  <a:pt x="132" y="58"/>
                </a:cubicBezTo>
                <a:cubicBezTo>
                  <a:pt x="132" y="57"/>
                  <a:pt x="133" y="56"/>
                  <a:pt x="133" y="56"/>
                </a:cubicBezTo>
                <a:cubicBezTo>
                  <a:pt x="134" y="56"/>
                  <a:pt x="134" y="56"/>
                  <a:pt x="134" y="56"/>
                </a:cubicBezTo>
                <a:cubicBezTo>
                  <a:pt x="135" y="56"/>
                  <a:pt x="135" y="56"/>
                  <a:pt x="135" y="56"/>
                </a:cubicBezTo>
                <a:cubicBezTo>
                  <a:pt x="136" y="56"/>
                  <a:pt x="139" y="56"/>
                  <a:pt x="138" y="57"/>
                </a:cubicBezTo>
                <a:cubicBezTo>
                  <a:pt x="138" y="56"/>
                  <a:pt x="139" y="56"/>
                  <a:pt x="139" y="56"/>
                </a:cubicBezTo>
                <a:cubicBezTo>
                  <a:pt x="139" y="55"/>
                  <a:pt x="139" y="55"/>
                  <a:pt x="139" y="55"/>
                </a:cubicBezTo>
                <a:cubicBezTo>
                  <a:pt x="140" y="54"/>
                  <a:pt x="138" y="54"/>
                  <a:pt x="139" y="53"/>
                </a:cubicBezTo>
                <a:cubicBezTo>
                  <a:pt x="139" y="53"/>
                  <a:pt x="139" y="52"/>
                  <a:pt x="139" y="51"/>
                </a:cubicBezTo>
                <a:cubicBezTo>
                  <a:pt x="139" y="51"/>
                  <a:pt x="139" y="51"/>
                  <a:pt x="140" y="50"/>
                </a:cubicBezTo>
                <a:cubicBezTo>
                  <a:pt x="140" y="50"/>
                  <a:pt x="141" y="50"/>
                  <a:pt x="141" y="50"/>
                </a:cubicBezTo>
                <a:cubicBezTo>
                  <a:pt x="142" y="50"/>
                  <a:pt x="142" y="50"/>
                  <a:pt x="143" y="50"/>
                </a:cubicBezTo>
                <a:cubicBezTo>
                  <a:pt x="143" y="49"/>
                  <a:pt x="143" y="48"/>
                  <a:pt x="143" y="48"/>
                </a:cubicBezTo>
                <a:cubicBezTo>
                  <a:pt x="143" y="48"/>
                  <a:pt x="144" y="48"/>
                  <a:pt x="144" y="48"/>
                </a:cubicBezTo>
                <a:cubicBezTo>
                  <a:pt x="145" y="48"/>
                  <a:pt x="145" y="48"/>
                  <a:pt x="146" y="48"/>
                </a:cubicBezTo>
                <a:cubicBezTo>
                  <a:pt x="147" y="48"/>
                  <a:pt x="147" y="48"/>
                  <a:pt x="148" y="48"/>
                </a:cubicBezTo>
                <a:cubicBezTo>
                  <a:pt x="149" y="48"/>
                  <a:pt x="150" y="48"/>
                  <a:pt x="150" y="48"/>
                </a:cubicBezTo>
                <a:cubicBezTo>
                  <a:pt x="151" y="48"/>
                  <a:pt x="151" y="48"/>
                  <a:pt x="151" y="47"/>
                </a:cubicBezTo>
                <a:cubicBezTo>
                  <a:pt x="151" y="47"/>
                  <a:pt x="150" y="46"/>
                  <a:pt x="151" y="46"/>
                </a:cubicBezTo>
                <a:cubicBezTo>
                  <a:pt x="151" y="45"/>
                  <a:pt x="151" y="45"/>
                  <a:pt x="152" y="44"/>
                </a:cubicBezTo>
                <a:cubicBezTo>
                  <a:pt x="152" y="44"/>
                  <a:pt x="152" y="44"/>
                  <a:pt x="152" y="43"/>
                </a:cubicBezTo>
                <a:cubicBezTo>
                  <a:pt x="152" y="43"/>
                  <a:pt x="152" y="43"/>
                  <a:pt x="151" y="43"/>
                </a:cubicBezTo>
                <a:close/>
                <a:moveTo>
                  <a:pt x="111" y="69"/>
                </a:moveTo>
                <a:cubicBezTo>
                  <a:pt x="111" y="69"/>
                  <a:pt x="111" y="70"/>
                  <a:pt x="111" y="70"/>
                </a:cubicBezTo>
                <a:cubicBezTo>
                  <a:pt x="112" y="70"/>
                  <a:pt x="111" y="69"/>
                  <a:pt x="112" y="70"/>
                </a:cubicBezTo>
                <a:cubicBezTo>
                  <a:pt x="112" y="70"/>
                  <a:pt x="112" y="70"/>
                  <a:pt x="113" y="71"/>
                </a:cubicBezTo>
                <a:cubicBezTo>
                  <a:pt x="113" y="71"/>
                  <a:pt x="114" y="72"/>
                  <a:pt x="114" y="73"/>
                </a:cubicBezTo>
                <a:cubicBezTo>
                  <a:pt x="115" y="73"/>
                  <a:pt x="116" y="74"/>
                  <a:pt x="117" y="75"/>
                </a:cubicBezTo>
                <a:cubicBezTo>
                  <a:pt x="117" y="75"/>
                  <a:pt x="118" y="76"/>
                  <a:pt x="117" y="76"/>
                </a:cubicBezTo>
                <a:cubicBezTo>
                  <a:pt x="116" y="76"/>
                  <a:pt x="116" y="75"/>
                  <a:pt x="115" y="75"/>
                </a:cubicBezTo>
                <a:cubicBezTo>
                  <a:pt x="115" y="75"/>
                  <a:pt x="114" y="75"/>
                  <a:pt x="114" y="74"/>
                </a:cubicBezTo>
                <a:cubicBezTo>
                  <a:pt x="113" y="74"/>
                  <a:pt x="114" y="74"/>
                  <a:pt x="114" y="73"/>
                </a:cubicBezTo>
                <a:cubicBezTo>
                  <a:pt x="114" y="72"/>
                  <a:pt x="113" y="72"/>
                  <a:pt x="113" y="71"/>
                </a:cubicBezTo>
                <a:cubicBezTo>
                  <a:pt x="112" y="71"/>
                  <a:pt x="112" y="71"/>
                  <a:pt x="112" y="71"/>
                </a:cubicBezTo>
                <a:cubicBezTo>
                  <a:pt x="112" y="71"/>
                  <a:pt x="112" y="71"/>
                  <a:pt x="112" y="71"/>
                </a:cubicBezTo>
                <a:cubicBezTo>
                  <a:pt x="112" y="71"/>
                  <a:pt x="111" y="71"/>
                  <a:pt x="111" y="71"/>
                </a:cubicBezTo>
                <a:cubicBezTo>
                  <a:pt x="111" y="70"/>
                  <a:pt x="111" y="70"/>
                  <a:pt x="111" y="70"/>
                </a:cubicBezTo>
                <a:cubicBezTo>
                  <a:pt x="110" y="70"/>
                  <a:pt x="110" y="70"/>
                  <a:pt x="110" y="70"/>
                </a:cubicBezTo>
                <a:cubicBezTo>
                  <a:pt x="110" y="70"/>
                  <a:pt x="111" y="69"/>
                  <a:pt x="111" y="69"/>
                </a:cubicBezTo>
                <a:cubicBezTo>
                  <a:pt x="111" y="69"/>
                  <a:pt x="110" y="69"/>
                  <a:pt x="110" y="69"/>
                </a:cubicBezTo>
                <a:cubicBezTo>
                  <a:pt x="110" y="69"/>
                  <a:pt x="109" y="70"/>
                  <a:pt x="108" y="70"/>
                </a:cubicBezTo>
                <a:cubicBezTo>
                  <a:pt x="109" y="70"/>
                  <a:pt x="109" y="69"/>
                  <a:pt x="109" y="69"/>
                </a:cubicBezTo>
                <a:cubicBezTo>
                  <a:pt x="110" y="69"/>
                  <a:pt x="109" y="68"/>
                  <a:pt x="109" y="68"/>
                </a:cubicBezTo>
                <a:cubicBezTo>
                  <a:pt x="109" y="68"/>
                  <a:pt x="109" y="69"/>
                  <a:pt x="108" y="69"/>
                </a:cubicBezTo>
                <a:cubicBezTo>
                  <a:pt x="108" y="69"/>
                  <a:pt x="108" y="68"/>
                  <a:pt x="108" y="68"/>
                </a:cubicBezTo>
                <a:cubicBezTo>
                  <a:pt x="108" y="68"/>
                  <a:pt x="108" y="69"/>
                  <a:pt x="108" y="69"/>
                </a:cubicBezTo>
                <a:cubicBezTo>
                  <a:pt x="108" y="69"/>
                  <a:pt x="108" y="69"/>
                  <a:pt x="108" y="69"/>
                </a:cubicBezTo>
                <a:cubicBezTo>
                  <a:pt x="107" y="69"/>
                  <a:pt x="107" y="69"/>
                  <a:pt x="107" y="69"/>
                </a:cubicBezTo>
                <a:cubicBezTo>
                  <a:pt x="107" y="69"/>
                  <a:pt x="107" y="69"/>
                  <a:pt x="107" y="69"/>
                </a:cubicBezTo>
                <a:cubicBezTo>
                  <a:pt x="107" y="69"/>
                  <a:pt x="108" y="68"/>
                  <a:pt x="107" y="68"/>
                </a:cubicBezTo>
                <a:cubicBezTo>
                  <a:pt x="107" y="68"/>
                  <a:pt x="107" y="68"/>
                  <a:pt x="107" y="68"/>
                </a:cubicBezTo>
                <a:cubicBezTo>
                  <a:pt x="107" y="68"/>
                  <a:pt x="107" y="68"/>
                  <a:pt x="107" y="68"/>
                </a:cubicBezTo>
                <a:cubicBezTo>
                  <a:pt x="107" y="68"/>
                  <a:pt x="106" y="67"/>
                  <a:pt x="106" y="67"/>
                </a:cubicBezTo>
                <a:cubicBezTo>
                  <a:pt x="106" y="67"/>
                  <a:pt x="106" y="68"/>
                  <a:pt x="106" y="68"/>
                </a:cubicBezTo>
                <a:cubicBezTo>
                  <a:pt x="106" y="67"/>
                  <a:pt x="105" y="67"/>
                  <a:pt x="105" y="67"/>
                </a:cubicBezTo>
                <a:cubicBezTo>
                  <a:pt x="105" y="67"/>
                  <a:pt x="106" y="68"/>
                  <a:pt x="106" y="68"/>
                </a:cubicBezTo>
                <a:cubicBezTo>
                  <a:pt x="106" y="69"/>
                  <a:pt x="105" y="68"/>
                  <a:pt x="105" y="68"/>
                </a:cubicBezTo>
                <a:cubicBezTo>
                  <a:pt x="106" y="68"/>
                  <a:pt x="105" y="67"/>
                  <a:pt x="105" y="67"/>
                </a:cubicBezTo>
                <a:cubicBezTo>
                  <a:pt x="105" y="67"/>
                  <a:pt x="104" y="67"/>
                  <a:pt x="104" y="67"/>
                </a:cubicBezTo>
                <a:cubicBezTo>
                  <a:pt x="104" y="67"/>
                  <a:pt x="103" y="67"/>
                  <a:pt x="103" y="67"/>
                </a:cubicBezTo>
                <a:cubicBezTo>
                  <a:pt x="103" y="67"/>
                  <a:pt x="104" y="67"/>
                  <a:pt x="104" y="67"/>
                </a:cubicBezTo>
                <a:cubicBezTo>
                  <a:pt x="104" y="68"/>
                  <a:pt x="103" y="67"/>
                  <a:pt x="103" y="67"/>
                </a:cubicBezTo>
                <a:cubicBezTo>
                  <a:pt x="103" y="67"/>
                  <a:pt x="103" y="67"/>
                  <a:pt x="103" y="67"/>
                </a:cubicBezTo>
                <a:cubicBezTo>
                  <a:pt x="103" y="67"/>
                  <a:pt x="102" y="65"/>
                  <a:pt x="102" y="66"/>
                </a:cubicBezTo>
                <a:cubicBezTo>
                  <a:pt x="102" y="67"/>
                  <a:pt x="101" y="66"/>
                  <a:pt x="101" y="65"/>
                </a:cubicBezTo>
                <a:cubicBezTo>
                  <a:pt x="101" y="65"/>
                  <a:pt x="103" y="65"/>
                  <a:pt x="103" y="65"/>
                </a:cubicBezTo>
                <a:cubicBezTo>
                  <a:pt x="104" y="66"/>
                  <a:pt x="104" y="67"/>
                  <a:pt x="105" y="66"/>
                </a:cubicBezTo>
                <a:cubicBezTo>
                  <a:pt x="105" y="66"/>
                  <a:pt x="105" y="66"/>
                  <a:pt x="104" y="66"/>
                </a:cubicBezTo>
                <a:cubicBezTo>
                  <a:pt x="105" y="66"/>
                  <a:pt x="105" y="66"/>
                  <a:pt x="105" y="66"/>
                </a:cubicBezTo>
                <a:cubicBezTo>
                  <a:pt x="105" y="66"/>
                  <a:pt x="105" y="66"/>
                  <a:pt x="105" y="66"/>
                </a:cubicBezTo>
                <a:cubicBezTo>
                  <a:pt x="105" y="66"/>
                  <a:pt x="105" y="65"/>
                  <a:pt x="105" y="65"/>
                </a:cubicBezTo>
                <a:cubicBezTo>
                  <a:pt x="105" y="65"/>
                  <a:pt x="105" y="65"/>
                  <a:pt x="105" y="65"/>
                </a:cubicBezTo>
                <a:cubicBezTo>
                  <a:pt x="106" y="65"/>
                  <a:pt x="107" y="67"/>
                  <a:pt x="107" y="67"/>
                </a:cubicBezTo>
                <a:cubicBezTo>
                  <a:pt x="107" y="66"/>
                  <a:pt x="106" y="66"/>
                  <a:pt x="107" y="65"/>
                </a:cubicBezTo>
                <a:cubicBezTo>
                  <a:pt x="107" y="65"/>
                  <a:pt x="108" y="66"/>
                  <a:pt x="108" y="66"/>
                </a:cubicBezTo>
                <a:cubicBezTo>
                  <a:pt x="108" y="66"/>
                  <a:pt x="109" y="65"/>
                  <a:pt x="109" y="66"/>
                </a:cubicBezTo>
                <a:cubicBezTo>
                  <a:pt x="109" y="67"/>
                  <a:pt x="108" y="66"/>
                  <a:pt x="108" y="67"/>
                </a:cubicBezTo>
                <a:cubicBezTo>
                  <a:pt x="108" y="66"/>
                  <a:pt x="108" y="67"/>
                  <a:pt x="108" y="67"/>
                </a:cubicBezTo>
                <a:cubicBezTo>
                  <a:pt x="108" y="67"/>
                  <a:pt x="107" y="67"/>
                  <a:pt x="108" y="68"/>
                </a:cubicBezTo>
                <a:cubicBezTo>
                  <a:pt x="108" y="68"/>
                  <a:pt x="108" y="68"/>
                  <a:pt x="108" y="68"/>
                </a:cubicBezTo>
                <a:cubicBezTo>
                  <a:pt x="108" y="68"/>
                  <a:pt x="108" y="68"/>
                  <a:pt x="108" y="68"/>
                </a:cubicBezTo>
                <a:cubicBezTo>
                  <a:pt x="109" y="68"/>
                  <a:pt x="109" y="68"/>
                  <a:pt x="109" y="67"/>
                </a:cubicBezTo>
                <a:cubicBezTo>
                  <a:pt x="109" y="67"/>
                  <a:pt x="109" y="66"/>
                  <a:pt x="109" y="66"/>
                </a:cubicBezTo>
                <a:cubicBezTo>
                  <a:pt x="110" y="66"/>
                  <a:pt x="110" y="66"/>
                  <a:pt x="110" y="66"/>
                </a:cubicBezTo>
                <a:cubicBezTo>
                  <a:pt x="110" y="66"/>
                  <a:pt x="111" y="66"/>
                  <a:pt x="111" y="67"/>
                </a:cubicBezTo>
                <a:cubicBezTo>
                  <a:pt x="111" y="67"/>
                  <a:pt x="110" y="67"/>
                  <a:pt x="110" y="67"/>
                </a:cubicBezTo>
                <a:cubicBezTo>
                  <a:pt x="109" y="67"/>
                  <a:pt x="110" y="67"/>
                  <a:pt x="110" y="67"/>
                </a:cubicBezTo>
                <a:cubicBezTo>
                  <a:pt x="111" y="68"/>
                  <a:pt x="110" y="67"/>
                  <a:pt x="111" y="67"/>
                </a:cubicBezTo>
                <a:cubicBezTo>
                  <a:pt x="111" y="67"/>
                  <a:pt x="111" y="69"/>
                  <a:pt x="111" y="69"/>
                </a:cubicBezTo>
                <a:close/>
                <a:moveTo>
                  <a:pt x="107" y="69"/>
                </a:moveTo>
                <a:cubicBezTo>
                  <a:pt x="108" y="69"/>
                  <a:pt x="108" y="69"/>
                  <a:pt x="107" y="69"/>
                </a:cubicBezTo>
                <a:close/>
                <a:moveTo>
                  <a:pt x="84" y="65"/>
                </a:moveTo>
                <a:cubicBezTo>
                  <a:pt x="86" y="65"/>
                  <a:pt x="87" y="66"/>
                  <a:pt x="88" y="66"/>
                </a:cubicBezTo>
                <a:cubicBezTo>
                  <a:pt x="87" y="66"/>
                  <a:pt x="85" y="66"/>
                  <a:pt x="84" y="65"/>
                </a:cubicBezTo>
                <a:cubicBezTo>
                  <a:pt x="84" y="65"/>
                  <a:pt x="83" y="65"/>
                  <a:pt x="82" y="65"/>
                </a:cubicBezTo>
                <a:cubicBezTo>
                  <a:pt x="82" y="65"/>
                  <a:pt x="82" y="64"/>
                  <a:pt x="82" y="64"/>
                </a:cubicBezTo>
                <a:cubicBezTo>
                  <a:pt x="82" y="64"/>
                  <a:pt x="82" y="65"/>
                  <a:pt x="83" y="65"/>
                </a:cubicBezTo>
                <a:cubicBezTo>
                  <a:pt x="83" y="65"/>
                  <a:pt x="84" y="65"/>
                  <a:pt x="84" y="6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 name="Uganda"/>
          <p:cNvSpPr>
            <a:spLocks/>
          </p:cNvSpPr>
          <p:nvPr/>
        </p:nvSpPr>
        <p:spPr bwMode="auto">
          <a:xfrm>
            <a:off x="6829044" y="4496943"/>
            <a:ext cx="190993" cy="224992"/>
          </a:xfrm>
          <a:custGeom>
            <a:avLst/>
            <a:gdLst/>
            <a:ahLst/>
            <a:cxnLst>
              <a:cxn ang="0">
                <a:pos x="52" y="22"/>
              </a:cxn>
              <a:cxn ang="0">
                <a:pos x="52" y="18"/>
              </a:cxn>
              <a:cxn ang="0">
                <a:pos x="50" y="15"/>
              </a:cxn>
              <a:cxn ang="0">
                <a:pos x="47" y="10"/>
              </a:cxn>
              <a:cxn ang="0">
                <a:pos x="47" y="5"/>
              </a:cxn>
              <a:cxn ang="0">
                <a:pos x="45" y="4"/>
              </a:cxn>
              <a:cxn ang="0">
                <a:pos x="44" y="2"/>
              </a:cxn>
              <a:cxn ang="0">
                <a:pos x="39" y="5"/>
              </a:cxn>
              <a:cxn ang="0">
                <a:pos x="32" y="4"/>
              </a:cxn>
              <a:cxn ang="0">
                <a:pos x="25" y="7"/>
              </a:cxn>
              <a:cxn ang="0">
                <a:pos x="21" y="5"/>
              </a:cxn>
              <a:cxn ang="0">
                <a:pos x="13" y="8"/>
              </a:cxn>
              <a:cxn ang="0">
                <a:pos x="12" y="13"/>
              </a:cxn>
              <a:cxn ang="0">
                <a:pos x="12" y="19"/>
              </a:cxn>
              <a:cxn ang="0">
                <a:pos x="14" y="20"/>
              </a:cxn>
              <a:cxn ang="0">
                <a:pos x="17" y="23"/>
              </a:cxn>
              <a:cxn ang="0">
                <a:pos x="8" y="33"/>
              </a:cxn>
              <a:cxn ang="0">
                <a:pos x="7" y="35"/>
              </a:cxn>
              <a:cxn ang="0">
                <a:pos x="3" y="43"/>
              </a:cxn>
              <a:cxn ang="0">
                <a:pos x="1" y="50"/>
              </a:cxn>
              <a:cxn ang="0">
                <a:pos x="1" y="55"/>
              </a:cxn>
              <a:cxn ang="0">
                <a:pos x="1" y="61"/>
              </a:cxn>
              <a:cxn ang="0">
                <a:pos x="4" y="62"/>
              </a:cxn>
              <a:cxn ang="0">
                <a:pos x="7" y="60"/>
              </a:cxn>
              <a:cxn ang="0">
                <a:pos x="9" y="58"/>
              </a:cxn>
              <a:cxn ang="0">
                <a:pos x="22" y="57"/>
              </a:cxn>
              <a:cxn ang="0">
                <a:pos x="22" y="53"/>
              </a:cxn>
              <a:cxn ang="0">
                <a:pos x="24" y="50"/>
              </a:cxn>
              <a:cxn ang="0">
                <a:pos x="24" y="47"/>
              </a:cxn>
              <a:cxn ang="0">
                <a:pos x="27" y="47"/>
              </a:cxn>
              <a:cxn ang="0">
                <a:pos x="28" y="47"/>
              </a:cxn>
              <a:cxn ang="0">
                <a:pos x="28" y="46"/>
              </a:cxn>
              <a:cxn ang="0">
                <a:pos x="30" y="46"/>
              </a:cxn>
              <a:cxn ang="0">
                <a:pos x="30" y="44"/>
              </a:cxn>
              <a:cxn ang="0">
                <a:pos x="31" y="44"/>
              </a:cxn>
              <a:cxn ang="0">
                <a:pos x="31" y="45"/>
              </a:cxn>
              <a:cxn ang="0">
                <a:pos x="33" y="44"/>
              </a:cxn>
              <a:cxn ang="0">
                <a:pos x="34" y="44"/>
              </a:cxn>
              <a:cxn ang="0">
                <a:pos x="36" y="42"/>
              </a:cxn>
              <a:cxn ang="0">
                <a:pos x="37" y="41"/>
              </a:cxn>
              <a:cxn ang="0">
                <a:pos x="37" y="42"/>
              </a:cxn>
              <a:cxn ang="0">
                <a:pos x="38" y="43"/>
              </a:cxn>
              <a:cxn ang="0">
                <a:pos x="39" y="44"/>
              </a:cxn>
              <a:cxn ang="0">
                <a:pos x="40" y="43"/>
              </a:cxn>
              <a:cxn ang="0">
                <a:pos x="41" y="44"/>
              </a:cxn>
              <a:cxn ang="0">
                <a:pos x="42" y="44"/>
              </a:cxn>
              <a:cxn ang="0">
                <a:pos x="45" y="41"/>
              </a:cxn>
              <a:cxn ang="0">
                <a:pos x="46" y="38"/>
              </a:cxn>
              <a:cxn ang="0">
                <a:pos x="50" y="33"/>
              </a:cxn>
              <a:cxn ang="0">
                <a:pos x="52" y="31"/>
              </a:cxn>
              <a:cxn ang="0">
                <a:pos x="53" y="27"/>
              </a:cxn>
            </a:cxnLst>
            <a:rect l="0" t="0" r="r" b="b"/>
            <a:pathLst>
              <a:path w="53" h="62">
                <a:moveTo>
                  <a:pt x="53" y="25"/>
                </a:moveTo>
                <a:cubicBezTo>
                  <a:pt x="53" y="24"/>
                  <a:pt x="53" y="24"/>
                  <a:pt x="53" y="23"/>
                </a:cubicBezTo>
                <a:cubicBezTo>
                  <a:pt x="53" y="23"/>
                  <a:pt x="53" y="22"/>
                  <a:pt x="52" y="22"/>
                </a:cubicBezTo>
                <a:cubicBezTo>
                  <a:pt x="52" y="21"/>
                  <a:pt x="52" y="20"/>
                  <a:pt x="52" y="19"/>
                </a:cubicBezTo>
                <a:cubicBezTo>
                  <a:pt x="53" y="19"/>
                  <a:pt x="52" y="19"/>
                  <a:pt x="52" y="19"/>
                </a:cubicBezTo>
                <a:cubicBezTo>
                  <a:pt x="52" y="18"/>
                  <a:pt x="52" y="18"/>
                  <a:pt x="52" y="18"/>
                </a:cubicBezTo>
                <a:cubicBezTo>
                  <a:pt x="52" y="18"/>
                  <a:pt x="52" y="18"/>
                  <a:pt x="52" y="18"/>
                </a:cubicBezTo>
                <a:cubicBezTo>
                  <a:pt x="51" y="17"/>
                  <a:pt x="51" y="16"/>
                  <a:pt x="51" y="15"/>
                </a:cubicBezTo>
                <a:cubicBezTo>
                  <a:pt x="51" y="15"/>
                  <a:pt x="50" y="15"/>
                  <a:pt x="50" y="15"/>
                </a:cubicBezTo>
                <a:cubicBezTo>
                  <a:pt x="50" y="15"/>
                  <a:pt x="49" y="14"/>
                  <a:pt x="49" y="14"/>
                </a:cubicBezTo>
                <a:cubicBezTo>
                  <a:pt x="49" y="13"/>
                  <a:pt x="49" y="12"/>
                  <a:pt x="48" y="12"/>
                </a:cubicBezTo>
                <a:cubicBezTo>
                  <a:pt x="48" y="11"/>
                  <a:pt x="48" y="11"/>
                  <a:pt x="47" y="10"/>
                </a:cubicBezTo>
                <a:cubicBezTo>
                  <a:pt x="47" y="9"/>
                  <a:pt x="47" y="8"/>
                  <a:pt x="48" y="8"/>
                </a:cubicBezTo>
                <a:cubicBezTo>
                  <a:pt x="48" y="7"/>
                  <a:pt x="48" y="6"/>
                  <a:pt x="47" y="6"/>
                </a:cubicBezTo>
                <a:cubicBezTo>
                  <a:pt x="47" y="6"/>
                  <a:pt x="47" y="5"/>
                  <a:pt x="47" y="5"/>
                </a:cubicBezTo>
                <a:cubicBezTo>
                  <a:pt x="47" y="5"/>
                  <a:pt x="46" y="6"/>
                  <a:pt x="46" y="5"/>
                </a:cubicBezTo>
                <a:cubicBezTo>
                  <a:pt x="46" y="5"/>
                  <a:pt x="45" y="4"/>
                  <a:pt x="45" y="5"/>
                </a:cubicBezTo>
                <a:cubicBezTo>
                  <a:pt x="45" y="5"/>
                  <a:pt x="45" y="4"/>
                  <a:pt x="45" y="4"/>
                </a:cubicBezTo>
                <a:cubicBezTo>
                  <a:pt x="45" y="4"/>
                  <a:pt x="46" y="4"/>
                  <a:pt x="45" y="4"/>
                </a:cubicBezTo>
                <a:cubicBezTo>
                  <a:pt x="45" y="4"/>
                  <a:pt x="44" y="4"/>
                  <a:pt x="44" y="3"/>
                </a:cubicBezTo>
                <a:cubicBezTo>
                  <a:pt x="44" y="3"/>
                  <a:pt x="44" y="2"/>
                  <a:pt x="44" y="2"/>
                </a:cubicBezTo>
                <a:cubicBezTo>
                  <a:pt x="44" y="1"/>
                  <a:pt x="44" y="0"/>
                  <a:pt x="43" y="0"/>
                </a:cubicBezTo>
                <a:cubicBezTo>
                  <a:pt x="42" y="1"/>
                  <a:pt x="41" y="2"/>
                  <a:pt x="41" y="3"/>
                </a:cubicBezTo>
                <a:cubicBezTo>
                  <a:pt x="40" y="3"/>
                  <a:pt x="39" y="4"/>
                  <a:pt x="39" y="5"/>
                </a:cubicBezTo>
                <a:cubicBezTo>
                  <a:pt x="38" y="5"/>
                  <a:pt x="37" y="5"/>
                  <a:pt x="37" y="5"/>
                </a:cubicBezTo>
                <a:cubicBezTo>
                  <a:pt x="36" y="5"/>
                  <a:pt x="35" y="5"/>
                  <a:pt x="34" y="4"/>
                </a:cubicBezTo>
                <a:cubicBezTo>
                  <a:pt x="34" y="3"/>
                  <a:pt x="33" y="4"/>
                  <a:pt x="32" y="4"/>
                </a:cubicBezTo>
                <a:cubicBezTo>
                  <a:pt x="31" y="5"/>
                  <a:pt x="30" y="5"/>
                  <a:pt x="29" y="5"/>
                </a:cubicBezTo>
                <a:cubicBezTo>
                  <a:pt x="28" y="5"/>
                  <a:pt x="26" y="6"/>
                  <a:pt x="26" y="7"/>
                </a:cubicBezTo>
                <a:cubicBezTo>
                  <a:pt x="26" y="8"/>
                  <a:pt x="25" y="7"/>
                  <a:pt x="25" y="7"/>
                </a:cubicBezTo>
                <a:cubicBezTo>
                  <a:pt x="24" y="6"/>
                  <a:pt x="23" y="7"/>
                  <a:pt x="23" y="6"/>
                </a:cubicBezTo>
                <a:cubicBezTo>
                  <a:pt x="23" y="6"/>
                  <a:pt x="23" y="5"/>
                  <a:pt x="22" y="4"/>
                </a:cubicBezTo>
                <a:cubicBezTo>
                  <a:pt x="22" y="4"/>
                  <a:pt x="21" y="5"/>
                  <a:pt x="21" y="5"/>
                </a:cubicBezTo>
                <a:cubicBezTo>
                  <a:pt x="20" y="6"/>
                  <a:pt x="20" y="6"/>
                  <a:pt x="19" y="6"/>
                </a:cubicBezTo>
                <a:cubicBezTo>
                  <a:pt x="18" y="5"/>
                  <a:pt x="17" y="5"/>
                  <a:pt x="17" y="5"/>
                </a:cubicBezTo>
                <a:cubicBezTo>
                  <a:pt x="15" y="4"/>
                  <a:pt x="13" y="6"/>
                  <a:pt x="13" y="8"/>
                </a:cubicBezTo>
                <a:cubicBezTo>
                  <a:pt x="13" y="8"/>
                  <a:pt x="13" y="8"/>
                  <a:pt x="13" y="8"/>
                </a:cubicBezTo>
                <a:cubicBezTo>
                  <a:pt x="14" y="8"/>
                  <a:pt x="13" y="10"/>
                  <a:pt x="13" y="10"/>
                </a:cubicBezTo>
                <a:cubicBezTo>
                  <a:pt x="12" y="11"/>
                  <a:pt x="12" y="12"/>
                  <a:pt x="12" y="13"/>
                </a:cubicBezTo>
                <a:cubicBezTo>
                  <a:pt x="12" y="13"/>
                  <a:pt x="13" y="14"/>
                  <a:pt x="13" y="14"/>
                </a:cubicBezTo>
                <a:cubicBezTo>
                  <a:pt x="13" y="15"/>
                  <a:pt x="13" y="16"/>
                  <a:pt x="12" y="17"/>
                </a:cubicBezTo>
                <a:cubicBezTo>
                  <a:pt x="12" y="17"/>
                  <a:pt x="12" y="18"/>
                  <a:pt x="12" y="19"/>
                </a:cubicBezTo>
                <a:cubicBezTo>
                  <a:pt x="11" y="20"/>
                  <a:pt x="12" y="19"/>
                  <a:pt x="13" y="20"/>
                </a:cubicBezTo>
                <a:cubicBezTo>
                  <a:pt x="13" y="20"/>
                  <a:pt x="13" y="21"/>
                  <a:pt x="13" y="21"/>
                </a:cubicBezTo>
                <a:cubicBezTo>
                  <a:pt x="14" y="20"/>
                  <a:pt x="14" y="20"/>
                  <a:pt x="14" y="20"/>
                </a:cubicBezTo>
                <a:cubicBezTo>
                  <a:pt x="15" y="20"/>
                  <a:pt x="15" y="21"/>
                  <a:pt x="16" y="21"/>
                </a:cubicBezTo>
                <a:cubicBezTo>
                  <a:pt x="16" y="21"/>
                  <a:pt x="16" y="22"/>
                  <a:pt x="17" y="22"/>
                </a:cubicBezTo>
                <a:cubicBezTo>
                  <a:pt x="17" y="22"/>
                  <a:pt x="17" y="22"/>
                  <a:pt x="17" y="23"/>
                </a:cubicBezTo>
                <a:cubicBezTo>
                  <a:pt x="17" y="24"/>
                  <a:pt x="16" y="25"/>
                  <a:pt x="15" y="26"/>
                </a:cubicBezTo>
                <a:cubicBezTo>
                  <a:pt x="14" y="28"/>
                  <a:pt x="12" y="29"/>
                  <a:pt x="11" y="30"/>
                </a:cubicBezTo>
                <a:cubicBezTo>
                  <a:pt x="10" y="31"/>
                  <a:pt x="10" y="33"/>
                  <a:pt x="8" y="33"/>
                </a:cubicBezTo>
                <a:cubicBezTo>
                  <a:pt x="8" y="33"/>
                  <a:pt x="8" y="33"/>
                  <a:pt x="8" y="34"/>
                </a:cubicBezTo>
                <a:cubicBezTo>
                  <a:pt x="8" y="34"/>
                  <a:pt x="7" y="33"/>
                  <a:pt x="7" y="33"/>
                </a:cubicBezTo>
                <a:cubicBezTo>
                  <a:pt x="7" y="34"/>
                  <a:pt x="7" y="35"/>
                  <a:pt x="7" y="35"/>
                </a:cubicBezTo>
                <a:cubicBezTo>
                  <a:pt x="7" y="37"/>
                  <a:pt x="5" y="36"/>
                  <a:pt x="4" y="37"/>
                </a:cubicBezTo>
                <a:cubicBezTo>
                  <a:pt x="4" y="39"/>
                  <a:pt x="5" y="40"/>
                  <a:pt x="4" y="42"/>
                </a:cubicBezTo>
                <a:cubicBezTo>
                  <a:pt x="3" y="42"/>
                  <a:pt x="3" y="43"/>
                  <a:pt x="3" y="43"/>
                </a:cubicBezTo>
                <a:cubicBezTo>
                  <a:pt x="3" y="44"/>
                  <a:pt x="3" y="44"/>
                  <a:pt x="2" y="45"/>
                </a:cubicBezTo>
                <a:cubicBezTo>
                  <a:pt x="2" y="45"/>
                  <a:pt x="2" y="46"/>
                  <a:pt x="2" y="47"/>
                </a:cubicBezTo>
                <a:cubicBezTo>
                  <a:pt x="2" y="48"/>
                  <a:pt x="1" y="49"/>
                  <a:pt x="1" y="50"/>
                </a:cubicBezTo>
                <a:cubicBezTo>
                  <a:pt x="1" y="50"/>
                  <a:pt x="1" y="51"/>
                  <a:pt x="1" y="52"/>
                </a:cubicBezTo>
                <a:cubicBezTo>
                  <a:pt x="1" y="52"/>
                  <a:pt x="1" y="53"/>
                  <a:pt x="1" y="53"/>
                </a:cubicBezTo>
                <a:cubicBezTo>
                  <a:pt x="1" y="54"/>
                  <a:pt x="1" y="55"/>
                  <a:pt x="1" y="55"/>
                </a:cubicBezTo>
                <a:cubicBezTo>
                  <a:pt x="1" y="55"/>
                  <a:pt x="1" y="56"/>
                  <a:pt x="1" y="56"/>
                </a:cubicBezTo>
                <a:cubicBezTo>
                  <a:pt x="1" y="56"/>
                  <a:pt x="1" y="56"/>
                  <a:pt x="0" y="56"/>
                </a:cubicBezTo>
                <a:cubicBezTo>
                  <a:pt x="0" y="58"/>
                  <a:pt x="1" y="60"/>
                  <a:pt x="1" y="61"/>
                </a:cubicBezTo>
                <a:cubicBezTo>
                  <a:pt x="1" y="61"/>
                  <a:pt x="2" y="61"/>
                  <a:pt x="2" y="61"/>
                </a:cubicBezTo>
                <a:cubicBezTo>
                  <a:pt x="3" y="61"/>
                  <a:pt x="3" y="61"/>
                  <a:pt x="3" y="61"/>
                </a:cubicBezTo>
                <a:cubicBezTo>
                  <a:pt x="4" y="61"/>
                  <a:pt x="3" y="62"/>
                  <a:pt x="4" y="62"/>
                </a:cubicBezTo>
                <a:cubicBezTo>
                  <a:pt x="5" y="62"/>
                  <a:pt x="5" y="62"/>
                  <a:pt x="5" y="62"/>
                </a:cubicBezTo>
                <a:cubicBezTo>
                  <a:pt x="6" y="61"/>
                  <a:pt x="6" y="61"/>
                  <a:pt x="6" y="61"/>
                </a:cubicBezTo>
                <a:cubicBezTo>
                  <a:pt x="6" y="61"/>
                  <a:pt x="6" y="60"/>
                  <a:pt x="7" y="60"/>
                </a:cubicBezTo>
                <a:cubicBezTo>
                  <a:pt x="7" y="60"/>
                  <a:pt x="7" y="60"/>
                  <a:pt x="7" y="60"/>
                </a:cubicBezTo>
                <a:cubicBezTo>
                  <a:pt x="7" y="60"/>
                  <a:pt x="8" y="59"/>
                  <a:pt x="8" y="59"/>
                </a:cubicBezTo>
                <a:cubicBezTo>
                  <a:pt x="8" y="59"/>
                  <a:pt x="8" y="58"/>
                  <a:pt x="9" y="58"/>
                </a:cubicBezTo>
                <a:cubicBezTo>
                  <a:pt x="9" y="58"/>
                  <a:pt x="9" y="58"/>
                  <a:pt x="10" y="58"/>
                </a:cubicBezTo>
                <a:cubicBezTo>
                  <a:pt x="11" y="58"/>
                  <a:pt x="11" y="57"/>
                  <a:pt x="13" y="57"/>
                </a:cubicBezTo>
                <a:cubicBezTo>
                  <a:pt x="16" y="57"/>
                  <a:pt x="19" y="57"/>
                  <a:pt x="22" y="57"/>
                </a:cubicBezTo>
                <a:cubicBezTo>
                  <a:pt x="22" y="57"/>
                  <a:pt x="22" y="56"/>
                  <a:pt x="22" y="56"/>
                </a:cubicBezTo>
                <a:cubicBezTo>
                  <a:pt x="21" y="56"/>
                  <a:pt x="21" y="56"/>
                  <a:pt x="21" y="55"/>
                </a:cubicBezTo>
                <a:cubicBezTo>
                  <a:pt x="21" y="55"/>
                  <a:pt x="22" y="54"/>
                  <a:pt x="22" y="53"/>
                </a:cubicBezTo>
                <a:cubicBezTo>
                  <a:pt x="22" y="53"/>
                  <a:pt x="22" y="52"/>
                  <a:pt x="22" y="52"/>
                </a:cubicBezTo>
                <a:cubicBezTo>
                  <a:pt x="23" y="52"/>
                  <a:pt x="23" y="51"/>
                  <a:pt x="23" y="51"/>
                </a:cubicBezTo>
                <a:cubicBezTo>
                  <a:pt x="23" y="51"/>
                  <a:pt x="24" y="49"/>
                  <a:pt x="24" y="50"/>
                </a:cubicBezTo>
                <a:cubicBezTo>
                  <a:pt x="24" y="49"/>
                  <a:pt x="24" y="48"/>
                  <a:pt x="23" y="48"/>
                </a:cubicBezTo>
                <a:cubicBezTo>
                  <a:pt x="24" y="47"/>
                  <a:pt x="24" y="47"/>
                  <a:pt x="25" y="47"/>
                </a:cubicBezTo>
                <a:cubicBezTo>
                  <a:pt x="25" y="47"/>
                  <a:pt x="24" y="47"/>
                  <a:pt x="24" y="47"/>
                </a:cubicBezTo>
                <a:cubicBezTo>
                  <a:pt x="25" y="46"/>
                  <a:pt x="25" y="47"/>
                  <a:pt x="26" y="47"/>
                </a:cubicBezTo>
                <a:cubicBezTo>
                  <a:pt x="26" y="47"/>
                  <a:pt x="26" y="46"/>
                  <a:pt x="26" y="46"/>
                </a:cubicBezTo>
                <a:cubicBezTo>
                  <a:pt x="26" y="46"/>
                  <a:pt x="26" y="47"/>
                  <a:pt x="27" y="47"/>
                </a:cubicBezTo>
                <a:cubicBezTo>
                  <a:pt x="27" y="47"/>
                  <a:pt x="27" y="46"/>
                  <a:pt x="27" y="46"/>
                </a:cubicBezTo>
                <a:cubicBezTo>
                  <a:pt x="27" y="46"/>
                  <a:pt x="27" y="46"/>
                  <a:pt x="27" y="46"/>
                </a:cubicBezTo>
                <a:cubicBezTo>
                  <a:pt x="27" y="46"/>
                  <a:pt x="28" y="46"/>
                  <a:pt x="28" y="47"/>
                </a:cubicBezTo>
                <a:cubicBezTo>
                  <a:pt x="28" y="46"/>
                  <a:pt x="28" y="46"/>
                  <a:pt x="28" y="46"/>
                </a:cubicBezTo>
                <a:cubicBezTo>
                  <a:pt x="28" y="45"/>
                  <a:pt x="28" y="45"/>
                  <a:pt x="28" y="45"/>
                </a:cubicBezTo>
                <a:cubicBezTo>
                  <a:pt x="29" y="45"/>
                  <a:pt x="28" y="46"/>
                  <a:pt x="28" y="46"/>
                </a:cubicBezTo>
                <a:cubicBezTo>
                  <a:pt x="29" y="46"/>
                  <a:pt x="29" y="45"/>
                  <a:pt x="29" y="45"/>
                </a:cubicBezTo>
                <a:cubicBezTo>
                  <a:pt x="29" y="45"/>
                  <a:pt x="29" y="46"/>
                  <a:pt x="29" y="46"/>
                </a:cubicBezTo>
                <a:cubicBezTo>
                  <a:pt x="29" y="45"/>
                  <a:pt x="30" y="46"/>
                  <a:pt x="30" y="46"/>
                </a:cubicBezTo>
                <a:cubicBezTo>
                  <a:pt x="30" y="45"/>
                  <a:pt x="29" y="45"/>
                  <a:pt x="29" y="45"/>
                </a:cubicBezTo>
                <a:cubicBezTo>
                  <a:pt x="29" y="45"/>
                  <a:pt x="30" y="45"/>
                  <a:pt x="30" y="45"/>
                </a:cubicBezTo>
                <a:cubicBezTo>
                  <a:pt x="30" y="45"/>
                  <a:pt x="29" y="44"/>
                  <a:pt x="30" y="44"/>
                </a:cubicBezTo>
                <a:cubicBezTo>
                  <a:pt x="30" y="44"/>
                  <a:pt x="30" y="43"/>
                  <a:pt x="30" y="43"/>
                </a:cubicBezTo>
                <a:cubicBezTo>
                  <a:pt x="31" y="43"/>
                  <a:pt x="30" y="44"/>
                  <a:pt x="30" y="44"/>
                </a:cubicBezTo>
                <a:cubicBezTo>
                  <a:pt x="30" y="44"/>
                  <a:pt x="30" y="44"/>
                  <a:pt x="31" y="44"/>
                </a:cubicBezTo>
                <a:cubicBezTo>
                  <a:pt x="31" y="44"/>
                  <a:pt x="31" y="45"/>
                  <a:pt x="31" y="44"/>
                </a:cubicBezTo>
                <a:cubicBezTo>
                  <a:pt x="32" y="45"/>
                  <a:pt x="31" y="45"/>
                  <a:pt x="31" y="45"/>
                </a:cubicBezTo>
                <a:cubicBezTo>
                  <a:pt x="30" y="46"/>
                  <a:pt x="31" y="45"/>
                  <a:pt x="31" y="45"/>
                </a:cubicBezTo>
                <a:cubicBezTo>
                  <a:pt x="31" y="45"/>
                  <a:pt x="32" y="45"/>
                  <a:pt x="32" y="45"/>
                </a:cubicBezTo>
                <a:cubicBezTo>
                  <a:pt x="32" y="45"/>
                  <a:pt x="32" y="45"/>
                  <a:pt x="32" y="45"/>
                </a:cubicBezTo>
                <a:cubicBezTo>
                  <a:pt x="32" y="45"/>
                  <a:pt x="33" y="45"/>
                  <a:pt x="33" y="44"/>
                </a:cubicBezTo>
                <a:cubicBezTo>
                  <a:pt x="33" y="45"/>
                  <a:pt x="32" y="45"/>
                  <a:pt x="33" y="45"/>
                </a:cubicBezTo>
                <a:cubicBezTo>
                  <a:pt x="34" y="45"/>
                  <a:pt x="34" y="45"/>
                  <a:pt x="34" y="45"/>
                </a:cubicBezTo>
                <a:cubicBezTo>
                  <a:pt x="35" y="44"/>
                  <a:pt x="34" y="44"/>
                  <a:pt x="34" y="44"/>
                </a:cubicBezTo>
                <a:cubicBezTo>
                  <a:pt x="35" y="43"/>
                  <a:pt x="35" y="44"/>
                  <a:pt x="35" y="44"/>
                </a:cubicBezTo>
                <a:cubicBezTo>
                  <a:pt x="35" y="44"/>
                  <a:pt x="35" y="43"/>
                  <a:pt x="35" y="43"/>
                </a:cubicBezTo>
                <a:cubicBezTo>
                  <a:pt x="35" y="43"/>
                  <a:pt x="36" y="43"/>
                  <a:pt x="36" y="42"/>
                </a:cubicBezTo>
                <a:cubicBezTo>
                  <a:pt x="37" y="42"/>
                  <a:pt x="36" y="42"/>
                  <a:pt x="36" y="42"/>
                </a:cubicBezTo>
                <a:cubicBezTo>
                  <a:pt x="36" y="42"/>
                  <a:pt x="36" y="41"/>
                  <a:pt x="36" y="41"/>
                </a:cubicBezTo>
                <a:cubicBezTo>
                  <a:pt x="37" y="41"/>
                  <a:pt x="37" y="42"/>
                  <a:pt x="37" y="41"/>
                </a:cubicBezTo>
                <a:cubicBezTo>
                  <a:pt x="37" y="41"/>
                  <a:pt x="37" y="41"/>
                  <a:pt x="37" y="41"/>
                </a:cubicBezTo>
                <a:cubicBezTo>
                  <a:pt x="37" y="41"/>
                  <a:pt x="37" y="42"/>
                  <a:pt x="37" y="42"/>
                </a:cubicBezTo>
                <a:cubicBezTo>
                  <a:pt x="37" y="42"/>
                  <a:pt x="37" y="42"/>
                  <a:pt x="37" y="42"/>
                </a:cubicBezTo>
                <a:cubicBezTo>
                  <a:pt x="37" y="42"/>
                  <a:pt x="38" y="43"/>
                  <a:pt x="38" y="43"/>
                </a:cubicBezTo>
                <a:cubicBezTo>
                  <a:pt x="38" y="42"/>
                  <a:pt x="39" y="43"/>
                  <a:pt x="39" y="43"/>
                </a:cubicBezTo>
                <a:cubicBezTo>
                  <a:pt x="39" y="43"/>
                  <a:pt x="38" y="43"/>
                  <a:pt x="38" y="43"/>
                </a:cubicBezTo>
                <a:cubicBezTo>
                  <a:pt x="38" y="43"/>
                  <a:pt x="38" y="43"/>
                  <a:pt x="38" y="44"/>
                </a:cubicBezTo>
                <a:cubicBezTo>
                  <a:pt x="38" y="44"/>
                  <a:pt x="38" y="44"/>
                  <a:pt x="39" y="44"/>
                </a:cubicBezTo>
                <a:cubicBezTo>
                  <a:pt x="38" y="44"/>
                  <a:pt x="38" y="44"/>
                  <a:pt x="39" y="44"/>
                </a:cubicBezTo>
                <a:cubicBezTo>
                  <a:pt x="39" y="44"/>
                  <a:pt x="39" y="44"/>
                  <a:pt x="39" y="44"/>
                </a:cubicBezTo>
                <a:cubicBezTo>
                  <a:pt x="39" y="44"/>
                  <a:pt x="39" y="44"/>
                  <a:pt x="39" y="44"/>
                </a:cubicBezTo>
                <a:cubicBezTo>
                  <a:pt x="39" y="45"/>
                  <a:pt x="40" y="44"/>
                  <a:pt x="40" y="43"/>
                </a:cubicBezTo>
                <a:cubicBezTo>
                  <a:pt x="40" y="43"/>
                  <a:pt x="40" y="43"/>
                  <a:pt x="41" y="43"/>
                </a:cubicBezTo>
                <a:cubicBezTo>
                  <a:pt x="41" y="43"/>
                  <a:pt x="40" y="43"/>
                  <a:pt x="41" y="43"/>
                </a:cubicBezTo>
                <a:cubicBezTo>
                  <a:pt x="41" y="44"/>
                  <a:pt x="41" y="44"/>
                  <a:pt x="41" y="44"/>
                </a:cubicBezTo>
                <a:cubicBezTo>
                  <a:pt x="41" y="44"/>
                  <a:pt x="41" y="44"/>
                  <a:pt x="41" y="44"/>
                </a:cubicBezTo>
                <a:cubicBezTo>
                  <a:pt x="42" y="44"/>
                  <a:pt x="41" y="44"/>
                  <a:pt x="42" y="45"/>
                </a:cubicBezTo>
                <a:cubicBezTo>
                  <a:pt x="42" y="45"/>
                  <a:pt x="42" y="44"/>
                  <a:pt x="42" y="44"/>
                </a:cubicBezTo>
                <a:cubicBezTo>
                  <a:pt x="42" y="44"/>
                  <a:pt x="42" y="45"/>
                  <a:pt x="43" y="44"/>
                </a:cubicBezTo>
                <a:cubicBezTo>
                  <a:pt x="43" y="44"/>
                  <a:pt x="43" y="43"/>
                  <a:pt x="43" y="44"/>
                </a:cubicBezTo>
                <a:cubicBezTo>
                  <a:pt x="44" y="43"/>
                  <a:pt x="44" y="42"/>
                  <a:pt x="45" y="41"/>
                </a:cubicBezTo>
                <a:cubicBezTo>
                  <a:pt x="45" y="41"/>
                  <a:pt x="45" y="40"/>
                  <a:pt x="45" y="40"/>
                </a:cubicBezTo>
                <a:cubicBezTo>
                  <a:pt x="45" y="39"/>
                  <a:pt x="46" y="39"/>
                  <a:pt x="46" y="39"/>
                </a:cubicBezTo>
                <a:cubicBezTo>
                  <a:pt x="46" y="39"/>
                  <a:pt x="46" y="38"/>
                  <a:pt x="46" y="38"/>
                </a:cubicBezTo>
                <a:cubicBezTo>
                  <a:pt x="47" y="38"/>
                  <a:pt x="47" y="38"/>
                  <a:pt x="47" y="37"/>
                </a:cubicBezTo>
                <a:cubicBezTo>
                  <a:pt x="48" y="36"/>
                  <a:pt x="48" y="35"/>
                  <a:pt x="49" y="34"/>
                </a:cubicBezTo>
                <a:cubicBezTo>
                  <a:pt x="49" y="35"/>
                  <a:pt x="49" y="34"/>
                  <a:pt x="50" y="33"/>
                </a:cubicBezTo>
                <a:cubicBezTo>
                  <a:pt x="50" y="33"/>
                  <a:pt x="50" y="33"/>
                  <a:pt x="51" y="33"/>
                </a:cubicBezTo>
                <a:cubicBezTo>
                  <a:pt x="51" y="33"/>
                  <a:pt x="52" y="32"/>
                  <a:pt x="51" y="32"/>
                </a:cubicBezTo>
                <a:cubicBezTo>
                  <a:pt x="51" y="31"/>
                  <a:pt x="51" y="31"/>
                  <a:pt x="52" y="31"/>
                </a:cubicBezTo>
                <a:cubicBezTo>
                  <a:pt x="52" y="30"/>
                  <a:pt x="52" y="30"/>
                  <a:pt x="52" y="29"/>
                </a:cubicBezTo>
                <a:cubicBezTo>
                  <a:pt x="52" y="29"/>
                  <a:pt x="53" y="29"/>
                  <a:pt x="53" y="29"/>
                </a:cubicBezTo>
                <a:cubicBezTo>
                  <a:pt x="53" y="28"/>
                  <a:pt x="53" y="28"/>
                  <a:pt x="53" y="27"/>
                </a:cubicBezTo>
                <a:cubicBezTo>
                  <a:pt x="53" y="26"/>
                  <a:pt x="53" y="25"/>
                  <a:pt x="53" y="2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 name="Tuvalu"/>
          <p:cNvSpPr>
            <a:spLocks noEditPoints="1"/>
          </p:cNvSpPr>
          <p:nvPr/>
        </p:nvSpPr>
        <p:spPr bwMode="auto">
          <a:xfrm>
            <a:off x="11574865" y="5086922"/>
            <a:ext cx="39999" cy="42998"/>
          </a:xfrm>
          <a:custGeom>
            <a:avLst/>
            <a:gdLst/>
            <a:ahLst/>
            <a:cxnLst>
              <a:cxn ang="0">
                <a:pos x="3" y="1"/>
              </a:cxn>
              <a:cxn ang="0">
                <a:pos x="2" y="1"/>
              </a:cxn>
              <a:cxn ang="0">
                <a:pos x="1" y="2"/>
              </a:cxn>
              <a:cxn ang="0">
                <a:pos x="1" y="1"/>
              </a:cxn>
              <a:cxn ang="0">
                <a:pos x="1" y="2"/>
              </a:cxn>
              <a:cxn ang="0">
                <a:pos x="2" y="3"/>
              </a:cxn>
              <a:cxn ang="0">
                <a:pos x="2" y="2"/>
              </a:cxn>
              <a:cxn ang="0">
                <a:pos x="3" y="2"/>
              </a:cxn>
              <a:cxn ang="0">
                <a:pos x="4" y="1"/>
              </a:cxn>
              <a:cxn ang="0">
                <a:pos x="4" y="1"/>
              </a:cxn>
              <a:cxn ang="0">
                <a:pos x="3" y="1"/>
              </a:cxn>
              <a:cxn ang="0">
                <a:pos x="7" y="7"/>
              </a:cxn>
              <a:cxn ang="0">
                <a:pos x="7" y="7"/>
              </a:cxn>
              <a:cxn ang="0">
                <a:pos x="7" y="8"/>
              </a:cxn>
              <a:cxn ang="0">
                <a:pos x="7" y="7"/>
              </a:cxn>
              <a:cxn ang="0">
                <a:pos x="10" y="10"/>
              </a:cxn>
              <a:cxn ang="0">
                <a:pos x="9" y="11"/>
              </a:cxn>
              <a:cxn ang="0">
                <a:pos x="10" y="12"/>
              </a:cxn>
              <a:cxn ang="0">
                <a:pos x="10" y="11"/>
              </a:cxn>
              <a:cxn ang="0">
                <a:pos x="10" y="10"/>
              </a:cxn>
            </a:cxnLst>
            <a:rect l="0" t="0" r="r" b="b"/>
            <a:pathLst>
              <a:path w="11" h="12">
                <a:moveTo>
                  <a:pt x="3" y="1"/>
                </a:moveTo>
                <a:cubicBezTo>
                  <a:pt x="3" y="0"/>
                  <a:pt x="2" y="0"/>
                  <a:pt x="2" y="1"/>
                </a:cubicBezTo>
                <a:cubicBezTo>
                  <a:pt x="2" y="1"/>
                  <a:pt x="1" y="2"/>
                  <a:pt x="1" y="2"/>
                </a:cubicBezTo>
                <a:cubicBezTo>
                  <a:pt x="1" y="2"/>
                  <a:pt x="1" y="1"/>
                  <a:pt x="1" y="1"/>
                </a:cubicBezTo>
                <a:cubicBezTo>
                  <a:pt x="0" y="2"/>
                  <a:pt x="1" y="3"/>
                  <a:pt x="1" y="2"/>
                </a:cubicBezTo>
                <a:cubicBezTo>
                  <a:pt x="2" y="2"/>
                  <a:pt x="2" y="3"/>
                  <a:pt x="2" y="3"/>
                </a:cubicBezTo>
                <a:cubicBezTo>
                  <a:pt x="2" y="2"/>
                  <a:pt x="2" y="2"/>
                  <a:pt x="2" y="2"/>
                </a:cubicBezTo>
                <a:cubicBezTo>
                  <a:pt x="3" y="2"/>
                  <a:pt x="3" y="2"/>
                  <a:pt x="3" y="2"/>
                </a:cubicBezTo>
                <a:cubicBezTo>
                  <a:pt x="3" y="2"/>
                  <a:pt x="4" y="2"/>
                  <a:pt x="4" y="1"/>
                </a:cubicBezTo>
                <a:cubicBezTo>
                  <a:pt x="3" y="2"/>
                  <a:pt x="5" y="1"/>
                  <a:pt x="4" y="1"/>
                </a:cubicBezTo>
                <a:cubicBezTo>
                  <a:pt x="4" y="0"/>
                  <a:pt x="3" y="1"/>
                  <a:pt x="3" y="1"/>
                </a:cubicBezTo>
                <a:close/>
                <a:moveTo>
                  <a:pt x="7" y="7"/>
                </a:moveTo>
                <a:cubicBezTo>
                  <a:pt x="7" y="8"/>
                  <a:pt x="7" y="8"/>
                  <a:pt x="7" y="7"/>
                </a:cubicBezTo>
                <a:cubicBezTo>
                  <a:pt x="7" y="8"/>
                  <a:pt x="7" y="8"/>
                  <a:pt x="7" y="8"/>
                </a:cubicBezTo>
                <a:cubicBezTo>
                  <a:pt x="9" y="8"/>
                  <a:pt x="7" y="7"/>
                  <a:pt x="7" y="7"/>
                </a:cubicBezTo>
                <a:close/>
                <a:moveTo>
                  <a:pt x="10" y="10"/>
                </a:moveTo>
                <a:cubicBezTo>
                  <a:pt x="10" y="10"/>
                  <a:pt x="9" y="10"/>
                  <a:pt x="9" y="11"/>
                </a:cubicBezTo>
                <a:cubicBezTo>
                  <a:pt x="9" y="11"/>
                  <a:pt x="9" y="12"/>
                  <a:pt x="10" y="12"/>
                </a:cubicBezTo>
                <a:cubicBezTo>
                  <a:pt x="10" y="12"/>
                  <a:pt x="11" y="11"/>
                  <a:pt x="10" y="11"/>
                </a:cubicBezTo>
                <a:cubicBezTo>
                  <a:pt x="10" y="11"/>
                  <a:pt x="10" y="11"/>
                  <a:pt x="10" y="1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 name="Turks and Caicos Islands (U.K.)"/>
          <p:cNvSpPr>
            <a:spLocks noEditPoints="1"/>
          </p:cNvSpPr>
          <p:nvPr/>
        </p:nvSpPr>
        <p:spPr bwMode="auto">
          <a:xfrm>
            <a:off x="3317176" y="3791970"/>
            <a:ext cx="28999" cy="11000"/>
          </a:xfrm>
          <a:custGeom>
            <a:avLst/>
            <a:gdLst/>
            <a:ahLst/>
            <a:cxnLst>
              <a:cxn ang="0">
                <a:pos x="4" y="1"/>
              </a:cxn>
              <a:cxn ang="0">
                <a:pos x="4" y="1"/>
              </a:cxn>
              <a:cxn ang="0">
                <a:pos x="4" y="1"/>
              </a:cxn>
              <a:cxn ang="0">
                <a:pos x="4" y="0"/>
              </a:cxn>
              <a:cxn ang="0">
                <a:pos x="4" y="0"/>
              </a:cxn>
              <a:cxn ang="0">
                <a:pos x="4" y="1"/>
              </a:cxn>
              <a:cxn ang="0">
                <a:pos x="1" y="1"/>
              </a:cxn>
              <a:cxn ang="0">
                <a:pos x="1" y="2"/>
              </a:cxn>
              <a:cxn ang="0">
                <a:pos x="0" y="1"/>
              </a:cxn>
              <a:cxn ang="0">
                <a:pos x="0" y="1"/>
              </a:cxn>
              <a:cxn ang="0">
                <a:pos x="0" y="2"/>
              </a:cxn>
              <a:cxn ang="0">
                <a:pos x="0" y="2"/>
              </a:cxn>
              <a:cxn ang="0">
                <a:pos x="0" y="2"/>
              </a:cxn>
              <a:cxn ang="0">
                <a:pos x="0" y="2"/>
              </a:cxn>
              <a:cxn ang="0">
                <a:pos x="0" y="2"/>
              </a:cxn>
              <a:cxn ang="0">
                <a:pos x="0" y="2"/>
              </a:cxn>
              <a:cxn ang="0">
                <a:pos x="1" y="2"/>
              </a:cxn>
              <a:cxn ang="0">
                <a:pos x="1" y="1"/>
              </a:cxn>
              <a:cxn ang="0">
                <a:pos x="8" y="2"/>
              </a:cxn>
              <a:cxn ang="0">
                <a:pos x="7" y="2"/>
              </a:cxn>
              <a:cxn ang="0">
                <a:pos x="7" y="3"/>
              </a:cxn>
              <a:cxn ang="0">
                <a:pos x="8" y="3"/>
              </a:cxn>
              <a:cxn ang="0">
                <a:pos x="8" y="2"/>
              </a:cxn>
              <a:cxn ang="0">
                <a:pos x="6" y="2"/>
              </a:cxn>
              <a:cxn ang="0">
                <a:pos x="6" y="2"/>
              </a:cxn>
              <a:cxn ang="0">
                <a:pos x="6" y="2"/>
              </a:cxn>
              <a:cxn ang="0">
                <a:pos x="6" y="2"/>
              </a:cxn>
              <a:cxn ang="0">
                <a:pos x="6" y="2"/>
              </a:cxn>
              <a:cxn ang="0">
                <a:pos x="6" y="2"/>
              </a:cxn>
              <a:cxn ang="0">
                <a:pos x="6" y="2"/>
              </a:cxn>
              <a:cxn ang="0">
                <a:pos x="5" y="1"/>
              </a:cxn>
              <a:cxn ang="0">
                <a:pos x="5" y="2"/>
              </a:cxn>
              <a:cxn ang="0">
                <a:pos x="6" y="2"/>
              </a:cxn>
              <a:cxn ang="0">
                <a:pos x="6" y="2"/>
              </a:cxn>
              <a:cxn ang="0">
                <a:pos x="5" y="1"/>
              </a:cxn>
              <a:cxn ang="0">
                <a:pos x="5" y="1"/>
              </a:cxn>
            </a:cxnLst>
            <a:rect l="0" t="0" r="r" b="b"/>
            <a:pathLst>
              <a:path w="8" h="3">
                <a:moveTo>
                  <a:pt x="4" y="1"/>
                </a:moveTo>
                <a:cubicBezTo>
                  <a:pt x="4" y="1"/>
                  <a:pt x="4" y="1"/>
                  <a:pt x="4" y="1"/>
                </a:cubicBezTo>
                <a:cubicBezTo>
                  <a:pt x="4" y="1"/>
                  <a:pt x="4" y="1"/>
                  <a:pt x="4" y="1"/>
                </a:cubicBezTo>
                <a:cubicBezTo>
                  <a:pt x="4" y="1"/>
                  <a:pt x="4" y="1"/>
                  <a:pt x="4" y="0"/>
                </a:cubicBezTo>
                <a:cubicBezTo>
                  <a:pt x="3" y="1"/>
                  <a:pt x="3" y="0"/>
                  <a:pt x="4" y="0"/>
                </a:cubicBezTo>
                <a:cubicBezTo>
                  <a:pt x="4" y="0"/>
                  <a:pt x="4" y="1"/>
                  <a:pt x="4" y="1"/>
                </a:cubicBezTo>
                <a:close/>
                <a:moveTo>
                  <a:pt x="1" y="1"/>
                </a:moveTo>
                <a:cubicBezTo>
                  <a:pt x="1" y="2"/>
                  <a:pt x="1" y="2"/>
                  <a:pt x="1" y="2"/>
                </a:cubicBezTo>
                <a:cubicBezTo>
                  <a:pt x="1" y="2"/>
                  <a:pt x="0" y="2"/>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1" y="2"/>
                  <a:pt x="1" y="2"/>
                </a:cubicBezTo>
                <a:cubicBezTo>
                  <a:pt x="2" y="2"/>
                  <a:pt x="2" y="1"/>
                  <a:pt x="1" y="1"/>
                </a:cubicBezTo>
                <a:close/>
                <a:moveTo>
                  <a:pt x="8" y="2"/>
                </a:moveTo>
                <a:cubicBezTo>
                  <a:pt x="7" y="2"/>
                  <a:pt x="7" y="2"/>
                  <a:pt x="7" y="2"/>
                </a:cubicBezTo>
                <a:cubicBezTo>
                  <a:pt x="7" y="2"/>
                  <a:pt x="7" y="2"/>
                  <a:pt x="7" y="3"/>
                </a:cubicBezTo>
                <a:cubicBezTo>
                  <a:pt x="8" y="3"/>
                  <a:pt x="8" y="3"/>
                  <a:pt x="8" y="3"/>
                </a:cubicBezTo>
                <a:cubicBezTo>
                  <a:pt x="8" y="3"/>
                  <a:pt x="8" y="3"/>
                  <a:pt x="8" y="2"/>
                </a:cubicBezTo>
                <a:close/>
                <a:moveTo>
                  <a:pt x="6" y="2"/>
                </a:moveTo>
                <a:cubicBezTo>
                  <a:pt x="6" y="2"/>
                  <a:pt x="6" y="2"/>
                  <a:pt x="6" y="2"/>
                </a:cubicBezTo>
                <a:cubicBezTo>
                  <a:pt x="6" y="2"/>
                  <a:pt x="6" y="2"/>
                  <a:pt x="6" y="2"/>
                </a:cubicBezTo>
                <a:cubicBezTo>
                  <a:pt x="6" y="2"/>
                  <a:pt x="6" y="2"/>
                  <a:pt x="6" y="2"/>
                </a:cubicBezTo>
                <a:close/>
                <a:moveTo>
                  <a:pt x="6" y="2"/>
                </a:moveTo>
                <a:cubicBezTo>
                  <a:pt x="6" y="2"/>
                  <a:pt x="6" y="2"/>
                  <a:pt x="6" y="2"/>
                </a:cubicBezTo>
                <a:cubicBezTo>
                  <a:pt x="6" y="2"/>
                  <a:pt x="6" y="2"/>
                  <a:pt x="6" y="2"/>
                </a:cubicBezTo>
                <a:close/>
                <a:moveTo>
                  <a:pt x="5" y="1"/>
                </a:moveTo>
                <a:cubicBezTo>
                  <a:pt x="4" y="1"/>
                  <a:pt x="5" y="2"/>
                  <a:pt x="5" y="2"/>
                </a:cubicBezTo>
                <a:cubicBezTo>
                  <a:pt x="5" y="2"/>
                  <a:pt x="6" y="2"/>
                  <a:pt x="6" y="2"/>
                </a:cubicBezTo>
                <a:cubicBezTo>
                  <a:pt x="6" y="2"/>
                  <a:pt x="6" y="2"/>
                  <a:pt x="6" y="2"/>
                </a:cubicBezTo>
                <a:cubicBezTo>
                  <a:pt x="6" y="1"/>
                  <a:pt x="6" y="1"/>
                  <a:pt x="5" y="1"/>
                </a:cubicBezTo>
                <a:cubicBezTo>
                  <a:pt x="5" y="1"/>
                  <a:pt x="5" y="1"/>
                  <a:pt x="5"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 name="Turkmenistan"/>
          <p:cNvSpPr>
            <a:spLocks noEditPoints="1"/>
          </p:cNvSpPr>
          <p:nvPr/>
        </p:nvSpPr>
        <p:spPr bwMode="auto">
          <a:xfrm>
            <a:off x="7504018" y="2964001"/>
            <a:ext cx="491982" cy="303989"/>
          </a:xfrm>
          <a:custGeom>
            <a:avLst/>
            <a:gdLst/>
            <a:ahLst/>
            <a:cxnLst>
              <a:cxn ang="0">
                <a:pos x="11" y="41"/>
              </a:cxn>
              <a:cxn ang="0">
                <a:pos x="135" y="53"/>
              </a:cxn>
              <a:cxn ang="0">
                <a:pos x="122" y="48"/>
              </a:cxn>
              <a:cxn ang="0">
                <a:pos x="105" y="38"/>
              </a:cxn>
              <a:cxn ang="0">
                <a:pos x="91" y="27"/>
              </a:cxn>
              <a:cxn ang="0">
                <a:pos x="83" y="17"/>
              </a:cxn>
              <a:cxn ang="0">
                <a:pos x="77" y="17"/>
              </a:cxn>
              <a:cxn ang="0">
                <a:pos x="69" y="13"/>
              </a:cxn>
              <a:cxn ang="0">
                <a:pos x="66" y="8"/>
              </a:cxn>
              <a:cxn ang="0">
                <a:pos x="59" y="5"/>
              </a:cxn>
              <a:cxn ang="0">
                <a:pos x="52" y="2"/>
              </a:cxn>
              <a:cxn ang="0">
                <a:pos x="52" y="6"/>
              </a:cxn>
              <a:cxn ang="0">
                <a:pos x="47" y="4"/>
              </a:cxn>
              <a:cxn ang="0">
                <a:pos x="41" y="9"/>
              </a:cxn>
              <a:cxn ang="0">
                <a:pos x="41" y="15"/>
              </a:cxn>
              <a:cxn ang="0">
                <a:pos x="38" y="17"/>
              </a:cxn>
              <a:cxn ang="0">
                <a:pos x="22" y="11"/>
              </a:cxn>
              <a:cxn ang="0">
                <a:pos x="4" y="8"/>
              </a:cxn>
              <a:cxn ang="0">
                <a:pos x="5" y="18"/>
              </a:cxn>
              <a:cxn ang="0">
                <a:pos x="4" y="13"/>
              </a:cxn>
              <a:cxn ang="0">
                <a:pos x="11" y="8"/>
              </a:cxn>
              <a:cxn ang="0">
                <a:pos x="20" y="18"/>
              </a:cxn>
              <a:cxn ang="0">
                <a:pos x="22" y="21"/>
              </a:cxn>
              <a:cxn ang="0">
                <a:pos x="18" y="22"/>
              </a:cxn>
              <a:cxn ang="0">
                <a:pos x="16" y="23"/>
              </a:cxn>
              <a:cxn ang="0">
                <a:pos x="12" y="21"/>
              </a:cxn>
              <a:cxn ang="0">
                <a:pos x="8" y="23"/>
              </a:cxn>
              <a:cxn ang="0">
                <a:pos x="5" y="23"/>
              </a:cxn>
              <a:cxn ang="0">
                <a:pos x="6" y="30"/>
              </a:cxn>
              <a:cxn ang="0">
                <a:pos x="8" y="31"/>
              </a:cxn>
              <a:cxn ang="0">
                <a:pos x="13" y="32"/>
              </a:cxn>
              <a:cxn ang="0">
                <a:pos x="14" y="34"/>
              </a:cxn>
              <a:cxn ang="0">
                <a:pos x="15" y="36"/>
              </a:cxn>
              <a:cxn ang="0">
                <a:pos x="14" y="35"/>
              </a:cxn>
              <a:cxn ang="0">
                <a:pos x="12" y="34"/>
              </a:cxn>
              <a:cxn ang="0">
                <a:pos x="13" y="38"/>
              </a:cxn>
              <a:cxn ang="0">
                <a:pos x="16" y="41"/>
              </a:cxn>
              <a:cxn ang="0">
                <a:pos x="19" y="42"/>
              </a:cxn>
              <a:cxn ang="0">
                <a:pos x="21" y="60"/>
              </a:cxn>
              <a:cxn ang="0">
                <a:pos x="30" y="54"/>
              </a:cxn>
              <a:cxn ang="0">
                <a:pos x="41" y="52"/>
              </a:cxn>
              <a:cxn ang="0">
                <a:pos x="48" y="50"/>
              </a:cxn>
              <a:cxn ang="0">
                <a:pos x="56" y="54"/>
              </a:cxn>
              <a:cxn ang="0">
                <a:pos x="63" y="56"/>
              </a:cxn>
              <a:cxn ang="0">
                <a:pos x="71" y="60"/>
              </a:cxn>
              <a:cxn ang="0">
                <a:pos x="75" y="62"/>
              </a:cxn>
              <a:cxn ang="0">
                <a:pos x="84" y="68"/>
              </a:cxn>
              <a:cxn ang="0">
                <a:pos x="90" y="74"/>
              </a:cxn>
              <a:cxn ang="0">
                <a:pos x="94" y="80"/>
              </a:cxn>
              <a:cxn ang="0">
                <a:pos x="104" y="83"/>
              </a:cxn>
              <a:cxn ang="0">
                <a:pos x="108" y="76"/>
              </a:cxn>
              <a:cxn ang="0">
                <a:pos x="115" y="74"/>
              </a:cxn>
              <a:cxn ang="0">
                <a:pos x="120" y="69"/>
              </a:cxn>
              <a:cxn ang="0">
                <a:pos x="125" y="61"/>
              </a:cxn>
              <a:cxn ang="0">
                <a:pos x="129" y="58"/>
              </a:cxn>
              <a:cxn ang="0">
                <a:pos x="134" y="60"/>
              </a:cxn>
            </a:cxnLst>
            <a:rect l="0" t="0" r="r" b="b"/>
            <a:pathLst>
              <a:path w="136" h="84">
                <a:moveTo>
                  <a:pt x="11" y="44"/>
                </a:moveTo>
                <a:cubicBezTo>
                  <a:pt x="11" y="44"/>
                  <a:pt x="11" y="43"/>
                  <a:pt x="11" y="43"/>
                </a:cubicBezTo>
                <a:cubicBezTo>
                  <a:pt x="11" y="43"/>
                  <a:pt x="11" y="42"/>
                  <a:pt x="10" y="42"/>
                </a:cubicBezTo>
                <a:cubicBezTo>
                  <a:pt x="10" y="42"/>
                  <a:pt x="10" y="42"/>
                  <a:pt x="10" y="41"/>
                </a:cubicBezTo>
                <a:cubicBezTo>
                  <a:pt x="10" y="41"/>
                  <a:pt x="11" y="41"/>
                  <a:pt x="11" y="41"/>
                </a:cubicBezTo>
                <a:cubicBezTo>
                  <a:pt x="10" y="42"/>
                  <a:pt x="11" y="43"/>
                  <a:pt x="11" y="44"/>
                </a:cubicBezTo>
                <a:close/>
                <a:moveTo>
                  <a:pt x="135" y="58"/>
                </a:moveTo>
                <a:cubicBezTo>
                  <a:pt x="135" y="57"/>
                  <a:pt x="135" y="57"/>
                  <a:pt x="135" y="56"/>
                </a:cubicBezTo>
                <a:cubicBezTo>
                  <a:pt x="135" y="55"/>
                  <a:pt x="135" y="55"/>
                  <a:pt x="135" y="54"/>
                </a:cubicBezTo>
                <a:cubicBezTo>
                  <a:pt x="135" y="53"/>
                  <a:pt x="135" y="53"/>
                  <a:pt x="135" y="53"/>
                </a:cubicBezTo>
                <a:cubicBezTo>
                  <a:pt x="134" y="52"/>
                  <a:pt x="133" y="52"/>
                  <a:pt x="133" y="52"/>
                </a:cubicBezTo>
                <a:cubicBezTo>
                  <a:pt x="132" y="52"/>
                  <a:pt x="131" y="51"/>
                  <a:pt x="131" y="51"/>
                </a:cubicBezTo>
                <a:cubicBezTo>
                  <a:pt x="130" y="50"/>
                  <a:pt x="128" y="49"/>
                  <a:pt x="127" y="50"/>
                </a:cubicBezTo>
                <a:cubicBezTo>
                  <a:pt x="126" y="50"/>
                  <a:pt x="126" y="50"/>
                  <a:pt x="125" y="50"/>
                </a:cubicBezTo>
                <a:cubicBezTo>
                  <a:pt x="124" y="49"/>
                  <a:pt x="123" y="48"/>
                  <a:pt x="122" y="48"/>
                </a:cubicBezTo>
                <a:cubicBezTo>
                  <a:pt x="120" y="47"/>
                  <a:pt x="119" y="46"/>
                  <a:pt x="117" y="45"/>
                </a:cubicBezTo>
                <a:cubicBezTo>
                  <a:pt x="116" y="45"/>
                  <a:pt x="114" y="44"/>
                  <a:pt x="113" y="43"/>
                </a:cubicBezTo>
                <a:cubicBezTo>
                  <a:pt x="113" y="42"/>
                  <a:pt x="112" y="42"/>
                  <a:pt x="112" y="42"/>
                </a:cubicBezTo>
                <a:cubicBezTo>
                  <a:pt x="111" y="42"/>
                  <a:pt x="110" y="42"/>
                  <a:pt x="110" y="42"/>
                </a:cubicBezTo>
                <a:cubicBezTo>
                  <a:pt x="108" y="41"/>
                  <a:pt x="106" y="40"/>
                  <a:pt x="105" y="38"/>
                </a:cubicBezTo>
                <a:cubicBezTo>
                  <a:pt x="104" y="37"/>
                  <a:pt x="102" y="37"/>
                  <a:pt x="101" y="36"/>
                </a:cubicBezTo>
                <a:cubicBezTo>
                  <a:pt x="99" y="35"/>
                  <a:pt x="98" y="34"/>
                  <a:pt x="96" y="33"/>
                </a:cubicBezTo>
                <a:cubicBezTo>
                  <a:pt x="95" y="32"/>
                  <a:pt x="93" y="32"/>
                  <a:pt x="93" y="31"/>
                </a:cubicBezTo>
                <a:cubicBezTo>
                  <a:pt x="92" y="30"/>
                  <a:pt x="92" y="29"/>
                  <a:pt x="92" y="29"/>
                </a:cubicBezTo>
                <a:cubicBezTo>
                  <a:pt x="92" y="28"/>
                  <a:pt x="91" y="27"/>
                  <a:pt x="91" y="27"/>
                </a:cubicBezTo>
                <a:cubicBezTo>
                  <a:pt x="91" y="26"/>
                  <a:pt x="90" y="26"/>
                  <a:pt x="90" y="26"/>
                </a:cubicBezTo>
                <a:cubicBezTo>
                  <a:pt x="89" y="25"/>
                  <a:pt x="89" y="25"/>
                  <a:pt x="88" y="24"/>
                </a:cubicBezTo>
                <a:cubicBezTo>
                  <a:pt x="88" y="24"/>
                  <a:pt x="87" y="23"/>
                  <a:pt x="87" y="22"/>
                </a:cubicBezTo>
                <a:cubicBezTo>
                  <a:pt x="86" y="21"/>
                  <a:pt x="86" y="20"/>
                  <a:pt x="86" y="20"/>
                </a:cubicBezTo>
                <a:cubicBezTo>
                  <a:pt x="85" y="19"/>
                  <a:pt x="84" y="18"/>
                  <a:pt x="83" y="17"/>
                </a:cubicBezTo>
                <a:cubicBezTo>
                  <a:pt x="82" y="17"/>
                  <a:pt x="81" y="17"/>
                  <a:pt x="81" y="17"/>
                </a:cubicBezTo>
                <a:cubicBezTo>
                  <a:pt x="80" y="17"/>
                  <a:pt x="80" y="17"/>
                  <a:pt x="80" y="18"/>
                </a:cubicBezTo>
                <a:cubicBezTo>
                  <a:pt x="80" y="18"/>
                  <a:pt x="79" y="18"/>
                  <a:pt x="79" y="18"/>
                </a:cubicBezTo>
                <a:cubicBezTo>
                  <a:pt x="78" y="18"/>
                  <a:pt x="78" y="17"/>
                  <a:pt x="78" y="17"/>
                </a:cubicBezTo>
                <a:cubicBezTo>
                  <a:pt x="77" y="17"/>
                  <a:pt x="77" y="18"/>
                  <a:pt x="77" y="17"/>
                </a:cubicBezTo>
                <a:cubicBezTo>
                  <a:pt x="77" y="17"/>
                  <a:pt x="77" y="18"/>
                  <a:pt x="77" y="18"/>
                </a:cubicBezTo>
                <a:cubicBezTo>
                  <a:pt x="76" y="17"/>
                  <a:pt x="74" y="17"/>
                  <a:pt x="73" y="17"/>
                </a:cubicBezTo>
                <a:cubicBezTo>
                  <a:pt x="72" y="18"/>
                  <a:pt x="71" y="17"/>
                  <a:pt x="69" y="16"/>
                </a:cubicBezTo>
                <a:cubicBezTo>
                  <a:pt x="69" y="16"/>
                  <a:pt x="68" y="15"/>
                  <a:pt x="68" y="15"/>
                </a:cubicBezTo>
                <a:cubicBezTo>
                  <a:pt x="68" y="14"/>
                  <a:pt x="69" y="14"/>
                  <a:pt x="69" y="13"/>
                </a:cubicBezTo>
                <a:cubicBezTo>
                  <a:pt x="69" y="13"/>
                  <a:pt x="66" y="12"/>
                  <a:pt x="68" y="11"/>
                </a:cubicBezTo>
                <a:cubicBezTo>
                  <a:pt x="68" y="11"/>
                  <a:pt x="70" y="12"/>
                  <a:pt x="68" y="11"/>
                </a:cubicBezTo>
                <a:cubicBezTo>
                  <a:pt x="68" y="10"/>
                  <a:pt x="67" y="10"/>
                  <a:pt x="66" y="10"/>
                </a:cubicBezTo>
                <a:cubicBezTo>
                  <a:pt x="65" y="9"/>
                  <a:pt x="66" y="9"/>
                  <a:pt x="66" y="9"/>
                </a:cubicBezTo>
                <a:cubicBezTo>
                  <a:pt x="67" y="9"/>
                  <a:pt x="66" y="8"/>
                  <a:pt x="66" y="8"/>
                </a:cubicBezTo>
                <a:cubicBezTo>
                  <a:pt x="66" y="7"/>
                  <a:pt x="66" y="7"/>
                  <a:pt x="66" y="7"/>
                </a:cubicBezTo>
                <a:cubicBezTo>
                  <a:pt x="66" y="7"/>
                  <a:pt x="65" y="7"/>
                  <a:pt x="65" y="6"/>
                </a:cubicBezTo>
                <a:cubicBezTo>
                  <a:pt x="65" y="6"/>
                  <a:pt x="65" y="6"/>
                  <a:pt x="65" y="6"/>
                </a:cubicBezTo>
                <a:cubicBezTo>
                  <a:pt x="63" y="5"/>
                  <a:pt x="62" y="6"/>
                  <a:pt x="60" y="6"/>
                </a:cubicBezTo>
                <a:cubicBezTo>
                  <a:pt x="60" y="6"/>
                  <a:pt x="59" y="5"/>
                  <a:pt x="59" y="5"/>
                </a:cubicBezTo>
                <a:cubicBezTo>
                  <a:pt x="58" y="4"/>
                  <a:pt x="58" y="4"/>
                  <a:pt x="58" y="3"/>
                </a:cubicBezTo>
                <a:cubicBezTo>
                  <a:pt x="57" y="3"/>
                  <a:pt x="57" y="3"/>
                  <a:pt x="56" y="3"/>
                </a:cubicBezTo>
                <a:cubicBezTo>
                  <a:pt x="55" y="3"/>
                  <a:pt x="54" y="2"/>
                  <a:pt x="54" y="2"/>
                </a:cubicBezTo>
                <a:cubicBezTo>
                  <a:pt x="53" y="2"/>
                  <a:pt x="52" y="0"/>
                  <a:pt x="52" y="0"/>
                </a:cubicBezTo>
                <a:cubicBezTo>
                  <a:pt x="51" y="1"/>
                  <a:pt x="52" y="2"/>
                  <a:pt x="52" y="2"/>
                </a:cubicBezTo>
                <a:cubicBezTo>
                  <a:pt x="51" y="2"/>
                  <a:pt x="50" y="2"/>
                  <a:pt x="50" y="2"/>
                </a:cubicBezTo>
                <a:cubicBezTo>
                  <a:pt x="49" y="1"/>
                  <a:pt x="48" y="1"/>
                  <a:pt x="48" y="2"/>
                </a:cubicBezTo>
                <a:cubicBezTo>
                  <a:pt x="48" y="3"/>
                  <a:pt x="49" y="3"/>
                  <a:pt x="50" y="3"/>
                </a:cubicBezTo>
                <a:cubicBezTo>
                  <a:pt x="50" y="3"/>
                  <a:pt x="51" y="4"/>
                  <a:pt x="51" y="5"/>
                </a:cubicBezTo>
                <a:cubicBezTo>
                  <a:pt x="52" y="5"/>
                  <a:pt x="53" y="6"/>
                  <a:pt x="52" y="6"/>
                </a:cubicBezTo>
                <a:cubicBezTo>
                  <a:pt x="51" y="6"/>
                  <a:pt x="51" y="5"/>
                  <a:pt x="51" y="5"/>
                </a:cubicBezTo>
                <a:cubicBezTo>
                  <a:pt x="51" y="4"/>
                  <a:pt x="50" y="4"/>
                  <a:pt x="50" y="4"/>
                </a:cubicBezTo>
                <a:cubicBezTo>
                  <a:pt x="49" y="4"/>
                  <a:pt x="49" y="4"/>
                  <a:pt x="48" y="4"/>
                </a:cubicBezTo>
                <a:cubicBezTo>
                  <a:pt x="48" y="4"/>
                  <a:pt x="48" y="3"/>
                  <a:pt x="48" y="4"/>
                </a:cubicBezTo>
                <a:cubicBezTo>
                  <a:pt x="47" y="4"/>
                  <a:pt x="47" y="4"/>
                  <a:pt x="47" y="4"/>
                </a:cubicBezTo>
                <a:cubicBezTo>
                  <a:pt x="47" y="5"/>
                  <a:pt x="47" y="5"/>
                  <a:pt x="47" y="6"/>
                </a:cubicBezTo>
                <a:cubicBezTo>
                  <a:pt x="47" y="6"/>
                  <a:pt x="46" y="6"/>
                  <a:pt x="47" y="7"/>
                </a:cubicBezTo>
                <a:cubicBezTo>
                  <a:pt x="47" y="7"/>
                  <a:pt x="45" y="7"/>
                  <a:pt x="45" y="7"/>
                </a:cubicBezTo>
                <a:cubicBezTo>
                  <a:pt x="45" y="7"/>
                  <a:pt x="44" y="7"/>
                  <a:pt x="44" y="7"/>
                </a:cubicBezTo>
                <a:cubicBezTo>
                  <a:pt x="43" y="7"/>
                  <a:pt x="42" y="8"/>
                  <a:pt x="41" y="9"/>
                </a:cubicBezTo>
                <a:cubicBezTo>
                  <a:pt x="41" y="10"/>
                  <a:pt x="40" y="10"/>
                  <a:pt x="40" y="10"/>
                </a:cubicBezTo>
                <a:cubicBezTo>
                  <a:pt x="39" y="11"/>
                  <a:pt x="40" y="11"/>
                  <a:pt x="40" y="11"/>
                </a:cubicBezTo>
                <a:cubicBezTo>
                  <a:pt x="40" y="12"/>
                  <a:pt x="40" y="12"/>
                  <a:pt x="40" y="13"/>
                </a:cubicBezTo>
                <a:cubicBezTo>
                  <a:pt x="40" y="13"/>
                  <a:pt x="41" y="13"/>
                  <a:pt x="41" y="14"/>
                </a:cubicBezTo>
                <a:cubicBezTo>
                  <a:pt x="41" y="14"/>
                  <a:pt x="41" y="15"/>
                  <a:pt x="41" y="15"/>
                </a:cubicBezTo>
                <a:cubicBezTo>
                  <a:pt x="41" y="15"/>
                  <a:pt x="43" y="16"/>
                  <a:pt x="43" y="16"/>
                </a:cubicBezTo>
                <a:cubicBezTo>
                  <a:pt x="43" y="16"/>
                  <a:pt x="42" y="16"/>
                  <a:pt x="42" y="17"/>
                </a:cubicBezTo>
                <a:cubicBezTo>
                  <a:pt x="42" y="17"/>
                  <a:pt x="42" y="17"/>
                  <a:pt x="41" y="17"/>
                </a:cubicBezTo>
                <a:cubicBezTo>
                  <a:pt x="41" y="17"/>
                  <a:pt x="40" y="17"/>
                  <a:pt x="40" y="17"/>
                </a:cubicBezTo>
                <a:cubicBezTo>
                  <a:pt x="39" y="17"/>
                  <a:pt x="39" y="17"/>
                  <a:pt x="38" y="17"/>
                </a:cubicBezTo>
                <a:cubicBezTo>
                  <a:pt x="36" y="17"/>
                  <a:pt x="35" y="15"/>
                  <a:pt x="31" y="16"/>
                </a:cubicBezTo>
                <a:cubicBezTo>
                  <a:pt x="30" y="17"/>
                  <a:pt x="29" y="17"/>
                  <a:pt x="28" y="17"/>
                </a:cubicBezTo>
                <a:cubicBezTo>
                  <a:pt x="27" y="17"/>
                  <a:pt x="27" y="16"/>
                  <a:pt x="26" y="15"/>
                </a:cubicBezTo>
                <a:cubicBezTo>
                  <a:pt x="25" y="15"/>
                  <a:pt x="24" y="14"/>
                  <a:pt x="24" y="13"/>
                </a:cubicBezTo>
                <a:cubicBezTo>
                  <a:pt x="23" y="12"/>
                  <a:pt x="22" y="12"/>
                  <a:pt x="22" y="11"/>
                </a:cubicBezTo>
                <a:cubicBezTo>
                  <a:pt x="21" y="10"/>
                  <a:pt x="21" y="9"/>
                  <a:pt x="20" y="9"/>
                </a:cubicBezTo>
                <a:cubicBezTo>
                  <a:pt x="19" y="8"/>
                  <a:pt x="18" y="8"/>
                  <a:pt x="17" y="7"/>
                </a:cubicBezTo>
                <a:cubicBezTo>
                  <a:pt x="16" y="7"/>
                  <a:pt x="15" y="6"/>
                  <a:pt x="14" y="5"/>
                </a:cubicBezTo>
                <a:cubicBezTo>
                  <a:pt x="13" y="5"/>
                  <a:pt x="12" y="5"/>
                  <a:pt x="11" y="6"/>
                </a:cubicBezTo>
                <a:cubicBezTo>
                  <a:pt x="8" y="6"/>
                  <a:pt x="6" y="6"/>
                  <a:pt x="4" y="8"/>
                </a:cubicBezTo>
                <a:cubicBezTo>
                  <a:pt x="2" y="9"/>
                  <a:pt x="1" y="10"/>
                  <a:pt x="0" y="12"/>
                </a:cubicBezTo>
                <a:cubicBezTo>
                  <a:pt x="0" y="12"/>
                  <a:pt x="1" y="13"/>
                  <a:pt x="1" y="13"/>
                </a:cubicBezTo>
                <a:cubicBezTo>
                  <a:pt x="1" y="14"/>
                  <a:pt x="1" y="14"/>
                  <a:pt x="2" y="15"/>
                </a:cubicBezTo>
                <a:cubicBezTo>
                  <a:pt x="3" y="15"/>
                  <a:pt x="3" y="16"/>
                  <a:pt x="4" y="17"/>
                </a:cubicBezTo>
                <a:cubicBezTo>
                  <a:pt x="4" y="17"/>
                  <a:pt x="4" y="18"/>
                  <a:pt x="5" y="18"/>
                </a:cubicBezTo>
                <a:cubicBezTo>
                  <a:pt x="5" y="19"/>
                  <a:pt x="5" y="19"/>
                  <a:pt x="5" y="19"/>
                </a:cubicBezTo>
                <a:cubicBezTo>
                  <a:pt x="5" y="20"/>
                  <a:pt x="5" y="19"/>
                  <a:pt x="5" y="19"/>
                </a:cubicBezTo>
                <a:cubicBezTo>
                  <a:pt x="5" y="18"/>
                  <a:pt x="5" y="18"/>
                  <a:pt x="4" y="18"/>
                </a:cubicBezTo>
                <a:cubicBezTo>
                  <a:pt x="4" y="17"/>
                  <a:pt x="4" y="16"/>
                  <a:pt x="4" y="15"/>
                </a:cubicBezTo>
                <a:cubicBezTo>
                  <a:pt x="4" y="14"/>
                  <a:pt x="4" y="13"/>
                  <a:pt x="4" y="13"/>
                </a:cubicBezTo>
                <a:cubicBezTo>
                  <a:pt x="4" y="12"/>
                  <a:pt x="3" y="13"/>
                  <a:pt x="3" y="13"/>
                </a:cubicBezTo>
                <a:cubicBezTo>
                  <a:pt x="2" y="12"/>
                  <a:pt x="4" y="9"/>
                  <a:pt x="4" y="9"/>
                </a:cubicBezTo>
                <a:cubicBezTo>
                  <a:pt x="4" y="9"/>
                  <a:pt x="5" y="8"/>
                  <a:pt x="5" y="8"/>
                </a:cubicBezTo>
                <a:cubicBezTo>
                  <a:pt x="5" y="8"/>
                  <a:pt x="6" y="8"/>
                  <a:pt x="7" y="8"/>
                </a:cubicBezTo>
                <a:cubicBezTo>
                  <a:pt x="8" y="8"/>
                  <a:pt x="10" y="7"/>
                  <a:pt x="11" y="8"/>
                </a:cubicBezTo>
                <a:cubicBezTo>
                  <a:pt x="12" y="8"/>
                  <a:pt x="12" y="9"/>
                  <a:pt x="12" y="10"/>
                </a:cubicBezTo>
                <a:cubicBezTo>
                  <a:pt x="13" y="11"/>
                  <a:pt x="13" y="11"/>
                  <a:pt x="14" y="12"/>
                </a:cubicBezTo>
                <a:cubicBezTo>
                  <a:pt x="14" y="12"/>
                  <a:pt x="14" y="13"/>
                  <a:pt x="14" y="14"/>
                </a:cubicBezTo>
                <a:cubicBezTo>
                  <a:pt x="14" y="15"/>
                  <a:pt x="16" y="15"/>
                  <a:pt x="17" y="16"/>
                </a:cubicBezTo>
                <a:cubicBezTo>
                  <a:pt x="18" y="17"/>
                  <a:pt x="20" y="17"/>
                  <a:pt x="20" y="18"/>
                </a:cubicBezTo>
                <a:cubicBezTo>
                  <a:pt x="21" y="19"/>
                  <a:pt x="21" y="19"/>
                  <a:pt x="21" y="19"/>
                </a:cubicBezTo>
                <a:cubicBezTo>
                  <a:pt x="21" y="19"/>
                  <a:pt x="21" y="19"/>
                  <a:pt x="21" y="19"/>
                </a:cubicBezTo>
                <a:cubicBezTo>
                  <a:pt x="21" y="19"/>
                  <a:pt x="22" y="19"/>
                  <a:pt x="22" y="19"/>
                </a:cubicBezTo>
                <a:cubicBezTo>
                  <a:pt x="22" y="19"/>
                  <a:pt x="21" y="19"/>
                  <a:pt x="21" y="19"/>
                </a:cubicBezTo>
                <a:cubicBezTo>
                  <a:pt x="21" y="20"/>
                  <a:pt x="22" y="20"/>
                  <a:pt x="22" y="21"/>
                </a:cubicBezTo>
                <a:cubicBezTo>
                  <a:pt x="21" y="21"/>
                  <a:pt x="21" y="22"/>
                  <a:pt x="21" y="22"/>
                </a:cubicBezTo>
                <a:cubicBezTo>
                  <a:pt x="20" y="22"/>
                  <a:pt x="19" y="22"/>
                  <a:pt x="19" y="22"/>
                </a:cubicBezTo>
                <a:cubicBezTo>
                  <a:pt x="19" y="22"/>
                  <a:pt x="20" y="21"/>
                  <a:pt x="19" y="21"/>
                </a:cubicBezTo>
                <a:cubicBezTo>
                  <a:pt x="19" y="21"/>
                  <a:pt x="18" y="21"/>
                  <a:pt x="18" y="21"/>
                </a:cubicBezTo>
                <a:cubicBezTo>
                  <a:pt x="17" y="21"/>
                  <a:pt x="18" y="22"/>
                  <a:pt x="18" y="22"/>
                </a:cubicBezTo>
                <a:cubicBezTo>
                  <a:pt x="18" y="22"/>
                  <a:pt x="18" y="23"/>
                  <a:pt x="19" y="23"/>
                </a:cubicBezTo>
                <a:cubicBezTo>
                  <a:pt x="19" y="23"/>
                  <a:pt x="20" y="23"/>
                  <a:pt x="19" y="23"/>
                </a:cubicBezTo>
                <a:cubicBezTo>
                  <a:pt x="19" y="23"/>
                  <a:pt x="19" y="23"/>
                  <a:pt x="19" y="23"/>
                </a:cubicBezTo>
                <a:cubicBezTo>
                  <a:pt x="19" y="24"/>
                  <a:pt x="18" y="24"/>
                  <a:pt x="18" y="23"/>
                </a:cubicBezTo>
                <a:cubicBezTo>
                  <a:pt x="18" y="23"/>
                  <a:pt x="16" y="23"/>
                  <a:pt x="16" y="23"/>
                </a:cubicBezTo>
                <a:cubicBezTo>
                  <a:pt x="17" y="23"/>
                  <a:pt x="15" y="24"/>
                  <a:pt x="15" y="24"/>
                </a:cubicBezTo>
                <a:cubicBezTo>
                  <a:pt x="15" y="24"/>
                  <a:pt x="14" y="24"/>
                  <a:pt x="13" y="24"/>
                </a:cubicBezTo>
                <a:cubicBezTo>
                  <a:pt x="13" y="24"/>
                  <a:pt x="13" y="23"/>
                  <a:pt x="13" y="23"/>
                </a:cubicBezTo>
                <a:cubicBezTo>
                  <a:pt x="13" y="23"/>
                  <a:pt x="13" y="23"/>
                  <a:pt x="13" y="23"/>
                </a:cubicBezTo>
                <a:cubicBezTo>
                  <a:pt x="12" y="22"/>
                  <a:pt x="12" y="21"/>
                  <a:pt x="12" y="21"/>
                </a:cubicBezTo>
                <a:cubicBezTo>
                  <a:pt x="11" y="21"/>
                  <a:pt x="12" y="24"/>
                  <a:pt x="10" y="22"/>
                </a:cubicBezTo>
                <a:cubicBezTo>
                  <a:pt x="10" y="22"/>
                  <a:pt x="10" y="21"/>
                  <a:pt x="10" y="22"/>
                </a:cubicBezTo>
                <a:cubicBezTo>
                  <a:pt x="10" y="22"/>
                  <a:pt x="9" y="23"/>
                  <a:pt x="9" y="23"/>
                </a:cubicBezTo>
                <a:cubicBezTo>
                  <a:pt x="9" y="22"/>
                  <a:pt x="9" y="22"/>
                  <a:pt x="9" y="22"/>
                </a:cubicBezTo>
                <a:cubicBezTo>
                  <a:pt x="8" y="22"/>
                  <a:pt x="8" y="23"/>
                  <a:pt x="8" y="23"/>
                </a:cubicBezTo>
                <a:cubicBezTo>
                  <a:pt x="7" y="22"/>
                  <a:pt x="7" y="22"/>
                  <a:pt x="8" y="21"/>
                </a:cubicBezTo>
                <a:cubicBezTo>
                  <a:pt x="6" y="22"/>
                  <a:pt x="6" y="19"/>
                  <a:pt x="5" y="19"/>
                </a:cubicBezTo>
                <a:cubicBezTo>
                  <a:pt x="5" y="20"/>
                  <a:pt x="6" y="21"/>
                  <a:pt x="6" y="21"/>
                </a:cubicBezTo>
                <a:cubicBezTo>
                  <a:pt x="5" y="22"/>
                  <a:pt x="6" y="22"/>
                  <a:pt x="5" y="23"/>
                </a:cubicBezTo>
                <a:cubicBezTo>
                  <a:pt x="5" y="23"/>
                  <a:pt x="5" y="22"/>
                  <a:pt x="5" y="23"/>
                </a:cubicBezTo>
                <a:cubicBezTo>
                  <a:pt x="5" y="23"/>
                  <a:pt x="6" y="23"/>
                  <a:pt x="6" y="24"/>
                </a:cubicBezTo>
                <a:cubicBezTo>
                  <a:pt x="6" y="24"/>
                  <a:pt x="5" y="24"/>
                  <a:pt x="5" y="24"/>
                </a:cubicBezTo>
                <a:cubicBezTo>
                  <a:pt x="5" y="25"/>
                  <a:pt x="5" y="25"/>
                  <a:pt x="5" y="26"/>
                </a:cubicBezTo>
                <a:cubicBezTo>
                  <a:pt x="5" y="27"/>
                  <a:pt x="5" y="28"/>
                  <a:pt x="5" y="28"/>
                </a:cubicBezTo>
                <a:cubicBezTo>
                  <a:pt x="6" y="29"/>
                  <a:pt x="6" y="29"/>
                  <a:pt x="6" y="30"/>
                </a:cubicBezTo>
                <a:cubicBezTo>
                  <a:pt x="6" y="31"/>
                  <a:pt x="6" y="31"/>
                  <a:pt x="7" y="31"/>
                </a:cubicBezTo>
                <a:cubicBezTo>
                  <a:pt x="7" y="31"/>
                  <a:pt x="7" y="32"/>
                  <a:pt x="8" y="32"/>
                </a:cubicBezTo>
                <a:cubicBezTo>
                  <a:pt x="8" y="32"/>
                  <a:pt x="7" y="30"/>
                  <a:pt x="7" y="30"/>
                </a:cubicBezTo>
                <a:cubicBezTo>
                  <a:pt x="7" y="30"/>
                  <a:pt x="7" y="31"/>
                  <a:pt x="7" y="31"/>
                </a:cubicBezTo>
                <a:cubicBezTo>
                  <a:pt x="8" y="31"/>
                  <a:pt x="8" y="31"/>
                  <a:pt x="8" y="31"/>
                </a:cubicBezTo>
                <a:cubicBezTo>
                  <a:pt x="9" y="31"/>
                  <a:pt x="9" y="31"/>
                  <a:pt x="9" y="31"/>
                </a:cubicBezTo>
                <a:cubicBezTo>
                  <a:pt x="10" y="31"/>
                  <a:pt x="10" y="31"/>
                  <a:pt x="11" y="31"/>
                </a:cubicBezTo>
                <a:cubicBezTo>
                  <a:pt x="11" y="31"/>
                  <a:pt x="11" y="31"/>
                  <a:pt x="12" y="31"/>
                </a:cubicBezTo>
                <a:cubicBezTo>
                  <a:pt x="12" y="31"/>
                  <a:pt x="12" y="31"/>
                  <a:pt x="12" y="31"/>
                </a:cubicBezTo>
                <a:cubicBezTo>
                  <a:pt x="12" y="31"/>
                  <a:pt x="13" y="31"/>
                  <a:pt x="13" y="32"/>
                </a:cubicBezTo>
                <a:cubicBezTo>
                  <a:pt x="13" y="32"/>
                  <a:pt x="13" y="33"/>
                  <a:pt x="12" y="33"/>
                </a:cubicBezTo>
                <a:cubicBezTo>
                  <a:pt x="12" y="33"/>
                  <a:pt x="12" y="34"/>
                  <a:pt x="12" y="33"/>
                </a:cubicBezTo>
                <a:cubicBezTo>
                  <a:pt x="13" y="34"/>
                  <a:pt x="13" y="34"/>
                  <a:pt x="14" y="35"/>
                </a:cubicBezTo>
                <a:cubicBezTo>
                  <a:pt x="13" y="34"/>
                  <a:pt x="13" y="34"/>
                  <a:pt x="13" y="34"/>
                </a:cubicBezTo>
                <a:cubicBezTo>
                  <a:pt x="14" y="34"/>
                  <a:pt x="14" y="35"/>
                  <a:pt x="14" y="34"/>
                </a:cubicBezTo>
                <a:cubicBezTo>
                  <a:pt x="14" y="34"/>
                  <a:pt x="14" y="35"/>
                  <a:pt x="14" y="35"/>
                </a:cubicBezTo>
                <a:cubicBezTo>
                  <a:pt x="15" y="35"/>
                  <a:pt x="14" y="35"/>
                  <a:pt x="14" y="35"/>
                </a:cubicBezTo>
                <a:cubicBezTo>
                  <a:pt x="14" y="35"/>
                  <a:pt x="14" y="35"/>
                  <a:pt x="14" y="35"/>
                </a:cubicBezTo>
                <a:cubicBezTo>
                  <a:pt x="14" y="36"/>
                  <a:pt x="15" y="35"/>
                  <a:pt x="15" y="35"/>
                </a:cubicBezTo>
                <a:cubicBezTo>
                  <a:pt x="15" y="35"/>
                  <a:pt x="15" y="35"/>
                  <a:pt x="15" y="36"/>
                </a:cubicBezTo>
                <a:cubicBezTo>
                  <a:pt x="15" y="36"/>
                  <a:pt x="15" y="36"/>
                  <a:pt x="15" y="36"/>
                </a:cubicBezTo>
                <a:cubicBezTo>
                  <a:pt x="15" y="36"/>
                  <a:pt x="15" y="36"/>
                  <a:pt x="15" y="36"/>
                </a:cubicBezTo>
                <a:cubicBezTo>
                  <a:pt x="14" y="35"/>
                  <a:pt x="14" y="36"/>
                  <a:pt x="14" y="36"/>
                </a:cubicBezTo>
                <a:cubicBezTo>
                  <a:pt x="14" y="36"/>
                  <a:pt x="14" y="36"/>
                  <a:pt x="14" y="35"/>
                </a:cubicBezTo>
                <a:cubicBezTo>
                  <a:pt x="14" y="35"/>
                  <a:pt x="14" y="35"/>
                  <a:pt x="14" y="35"/>
                </a:cubicBezTo>
                <a:cubicBezTo>
                  <a:pt x="14" y="35"/>
                  <a:pt x="14" y="35"/>
                  <a:pt x="14" y="35"/>
                </a:cubicBezTo>
                <a:cubicBezTo>
                  <a:pt x="13" y="35"/>
                  <a:pt x="13" y="35"/>
                  <a:pt x="13" y="35"/>
                </a:cubicBezTo>
                <a:cubicBezTo>
                  <a:pt x="13" y="35"/>
                  <a:pt x="14" y="35"/>
                  <a:pt x="13" y="36"/>
                </a:cubicBezTo>
                <a:cubicBezTo>
                  <a:pt x="13" y="35"/>
                  <a:pt x="12" y="36"/>
                  <a:pt x="11" y="36"/>
                </a:cubicBezTo>
                <a:cubicBezTo>
                  <a:pt x="11" y="35"/>
                  <a:pt x="12" y="34"/>
                  <a:pt x="12" y="34"/>
                </a:cubicBezTo>
                <a:cubicBezTo>
                  <a:pt x="11" y="34"/>
                  <a:pt x="11" y="36"/>
                  <a:pt x="10" y="36"/>
                </a:cubicBezTo>
                <a:cubicBezTo>
                  <a:pt x="10" y="37"/>
                  <a:pt x="10" y="37"/>
                  <a:pt x="11" y="38"/>
                </a:cubicBezTo>
                <a:cubicBezTo>
                  <a:pt x="11" y="38"/>
                  <a:pt x="11" y="39"/>
                  <a:pt x="11" y="39"/>
                </a:cubicBezTo>
                <a:cubicBezTo>
                  <a:pt x="11" y="39"/>
                  <a:pt x="11" y="38"/>
                  <a:pt x="11" y="38"/>
                </a:cubicBezTo>
                <a:cubicBezTo>
                  <a:pt x="11" y="37"/>
                  <a:pt x="13" y="38"/>
                  <a:pt x="13" y="38"/>
                </a:cubicBezTo>
                <a:cubicBezTo>
                  <a:pt x="13" y="38"/>
                  <a:pt x="14" y="39"/>
                  <a:pt x="14" y="38"/>
                </a:cubicBezTo>
                <a:cubicBezTo>
                  <a:pt x="14" y="39"/>
                  <a:pt x="15" y="39"/>
                  <a:pt x="15" y="39"/>
                </a:cubicBezTo>
                <a:cubicBezTo>
                  <a:pt x="15" y="39"/>
                  <a:pt x="15" y="39"/>
                  <a:pt x="15" y="40"/>
                </a:cubicBezTo>
                <a:cubicBezTo>
                  <a:pt x="15" y="39"/>
                  <a:pt x="15" y="40"/>
                  <a:pt x="15" y="40"/>
                </a:cubicBezTo>
                <a:cubicBezTo>
                  <a:pt x="15" y="40"/>
                  <a:pt x="16" y="41"/>
                  <a:pt x="16" y="41"/>
                </a:cubicBezTo>
                <a:cubicBezTo>
                  <a:pt x="16" y="41"/>
                  <a:pt x="16" y="39"/>
                  <a:pt x="16" y="40"/>
                </a:cubicBezTo>
                <a:cubicBezTo>
                  <a:pt x="16" y="40"/>
                  <a:pt x="16" y="41"/>
                  <a:pt x="17" y="41"/>
                </a:cubicBezTo>
                <a:cubicBezTo>
                  <a:pt x="17" y="41"/>
                  <a:pt x="18" y="41"/>
                  <a:pt x="18" y="42"/>
                </a:cubicBezTo>
                <a:cubicBezTo>
                  <a:pt x="18" y="42"/>
                  <a:pt x="19" y="42"/>
                  <a:pt x="19" y="43"/>
                </a:cubicBezTo>
                <a:cubicBezTo>
                  <a:pt x="19" y="43"/>
                  <a:pt x="19" y="43"/>
                  <a:pt x="19" y="42"/>
                </a:cubicBezTo>
                <a:cubicBezTo>
                  <a:pt x="19" y="44"/>
                  <a:pt x="19" y="45"/>
                  <a:pt x="18" y="46"/>
                </a:cubicBezTo>
                <a:cubicBezTo>
                  <a:pt x="18" y="47"/>
                  <a:pt x="19" y="48"/>
                  <a:pt x="19" y="49"/>
                </a:cubicBezTo>
                <a:cubicBezTo>
                  <a:pt x="19" y="50"/>
                  <a:pt x="19" y="52"/>
                  <a:pt x="19" y="53"/>
                </a:cubicBezTo>
                <a:cubicBezTo>
                  <a:pt x="19" y="54"/>
                  <a:pt x="20" y="56"/>
                  <a:pt x="20" y="57"/>
                </a:cubicBezTo>
                <a:cubicBezTo>
                  <a:pt x="21" y="58"/>
                  <a:pt x="21" y="59"/>
                  <a:pt x="21" y="60"/>
                </a:cubicBezTo>
                <a:cubicBezTo>
                  <a:pt x="22" y="60"/>
                  <a:pt x="24" y="60"/>
                  <a:pt x="24" y="60"/>
                </a:cubicBezTo>
                <a:cubicBezTo>
                  <a:pt x="25" y="60"/>
                  <a:pt x="26" y="59"/>
                  <a:pt x="27" y="59"/>
                </a:cubicBezTo>
                <a:cubicBezTo>
                  <a:pt x="28" y="59"/>
                  <a:pt x="28" y="59"/>
                  <a:pt x="29" y="58"/>
                </a:cubicBezTo>
                <a:cubicBezTo>
                  <a:pt x="29" y="57"/>
                  <a:pt x="28" y="56"/>
                  <a:pt x="29" y="55"/>
                </a:cubicBezTo>
                <a:cubicBezTo>
                  <a:pt x="29" y="55"/>
                  <a:pt x="30" y="55"/>
                  <a:pt x="30" y="54"/>
                </a:cubicBezTo>
                <a:cubicBezTo>
                  <a:pt x="31" y="54"/>
                  <a:pt x="31" y="54"/>
                  <a:pt x="31" y="53"/>
                </a:cubicBezTo>
                <a:cubicBezTo>
                  <a:pt x="32" y="53"/>
                  <a:pt x="32" y="53"/>
                  <a:pt x="33" y="52"/>
                </a:cubicBezTo>
                <a:cubicBezTo>
                  <a:pt x="33" y="52"/>
                  <a:pt x="34" y="52"/>
                  <a:pt x="34" y="52"/>
                </a:cubicBezTo>
                <a:cubicBezTo>
                  <a:pt x="35" y="51"/>
                  <a:pt x="37" y="51"/>
                  <a:pt x="38" y="52"/>
                </a:cubicBezTo>
                <a:cubicBezTo>
                  <a:pt x="39" y="52"/>
                  <a:pt x="40" y="52"/>
                  <a:pt x="41" y="52"/>
                </a:cubicBezTo>
                <a:cubicBezTo>
                  <a:pt x="41" y="52"/>
                  <a:pt x="42" y="52"/>
                  <a:pt x="42" y="51"/>
                </a:cubicBezTo>
                <a:cubicBezTo>
                  <a:pt x="41" y="50"/>
                  <a:pt x="43" y="50"/>
                  <a:pt x="44" y="50"/>
                </a:cubicBezTo>
                <a:cubicBezTo>
                  <a:pt x="44" y="50"/>
                  <a:pt x="45" y="50"/>
                  <a:pt x="45" y="50"/>
                </a:cubicBezTo>
                <a:cubicBezTo>
                  <a:pt x="45" y="50"/>
                  <a:pt x="46" y="50"/>
                  <a:pt x="46" y="50"/>
                </a:cubicBezTo>
                <a:cubicBezTo>
                  <a:pt x="47" y="50"/>
                  <a:pt x="48" y="51"/>
                  <a:pt x="48" y="50"/>
                </a:cubicBezTo>
                <a:cubicBezTo>
                  <a:pt x="49" y="50"/>
                  <a:pt x="49" y="50"/>
                  <a:pt x="49" y="50"/>
                </a:cubicBezTo>
                <a:cubicBezTo>
                  <a:pt x="50" y="50"/>
                  <a:pt x="50" y="51"/>
                  <a:pt x="50" y="51"/>
                </a:cubicBezTo>
                <a:cubicBezTo>
                  <a:pt x="51" y="51"/>
                  <a:pt x="51" y="51"/>
                  <a:pt x="51" y="52"/>
                </a:cubicBezTo>
                <a:cubicBezTo>
                  <a:pt x="51" y="53"/>
                  <a:pt x="53" y="54"/>
                  <a:pt x="54" y="54"/>
                </a:cubicBezTo>
                <a:cubicBezTo>
                  <a:pt x="55" y="53"/>
                  <a:pt x="56" y="54"/>
                  <a:pt x="56" y="54"/>
                </a:cubicBezTo>
                <a:cubicBezTo>
                  <a:pt x="57" y="54"/>
                  <a:pt x="58" y="55"/>
                  <a:pt x="59" y="55"/>
                </a:cubicBezTo>
                <a:cubicBezTo>
                  <a:pt x="59" y="55"/>
                  <a:pt x="59" y="55"/>
                  <a:pt x="60" y="56"/>
                </a:cubicBezTo>
                <a:cubicBezTo>
                  <a:pt x="60" y="56"/>
                  <a:pt x="60" y="56"/>
                  <a:pt x="61" y="56"/>
                </a:cubicBezTo>
                <a:cubicBezTo>
                  <a:pt x="61" y="57"/>
                  <a:pt x="62" y="57"/>
                  <a:pt x="62" y="57"/>
                </a:cubicBezTo>
                <a:cubicBezTo>
                  <a:pt x="63" y="56"/>
                  <a:pt x="62" y="56"/>
                  <a:pt x="63" y="56"/>
                </a:cubicBezTo>
                <a:cubicBezTo>
                  <a:pt x="64" y="56"/>
                  <a:pt x="64" y="56"/>
                  <a:pt x="65" y="56"/>
                </a:cubicBezTo>
                <a:cubicBezTo>
                  <a:pt x="65" y="56"/>
                  <a:pt x="65" y="56"/>
                  <a:pt x="66" y="56"/>
                </a:cubicBezTo>
                <a:cubicBezTo>
                  <a:pt x="66" y="56"/>
                  <a:pt x="67" y="57"/>
                  <a:pt x="68" y="57"/>
                </a:cubicBezTo>
                <a:cubicBezTo>
                  <a:pt x="68" y="57"/>
                  <a:pt x="69" y="58"/>
                  <a:pt x="70" y="58"/>
                </a:cubicBezTo>
                <a:cubicBezTo>
                  <a:pt x="71" y="58"/>
                  <a:pt x="70" y="60"/>
                  <a:pt x="71" y="60"/>
                </a:cubicBezTo>
                <a:cubicBezTo>
                  <a:pt x="72" y="60"/>
                  <a:pt x="72" y="61"/>
                  <a:pt x="72" y="61"/>
                </a:cubicBezTo>
                <a:cubicBezTo>
                  <a:pt x="72" y="61"/>
                  <a:pt x="72" y="61"/>
                  <a:pt x="72" y="61"/>
                </a:cubicBezTo>
                <a:cubicBezTo>
                  <a:pt x="73" y="62"/>
                  <a:pt x="73" y="61"/>
                  <a:pt x="73" y="62"/>
                </a:cubicBezTo>
                <a:cubicBezTo>
                  <a:pt x="73" y="62"/>
                  <a:pt x="74" y="62"/>
                  <a:pt x="74" y="62"/>
                </a:cubicBezTo>
                <a:cubicBezTo>
                  <a:pt x="75" y="62"/>
                  <a:pt x="75" y="62"/>
                  <a:pt x="75" y="62"/>
                </a:cubicBezTo>
                <a:cubicBezTo>
                  <a:pt x="76" y="63"/>
                  <a:pt x="77" y="63"/>
                  <a:pt x="77" y="63"/>
                </a:cubicBezTo>
                <a:cubicBezTo>
                  <a:pt x="78" y="64"/>
                  <a:pt x="78" y="64"/>
                  <a:pt x="78" y="65"/>
                </a:cubicBezTo>
                <a:cubicBezTo>
                  <a:pt x="79" y="65"/>
                  <a:pt x="80" y="66"/>
                  <a:pt x="80" y="66"/>
                </a:cubicBezTo>
                <a:cubicBezTo>
                  <a:pt x="81" y="67"/>
                  <a:pt x="81" y="67"/>
                  <a:pt x="82" y="68"/>
                </a:cubicBezTo>
                <a:cubicBezTo>
                  <a:pt x="82" y="68"/>
                  <a:pt x="83" y="68"/>
                  <a:pt x="84" y="68"/>
                </a:cubicBezTo>
                <a:cubicBezTo>
                  <a:pt x="85" y="68"/>
                  <a:pt x="86" y="68"/>
                  <a:pt x="87" y="68"/>
                </a:cubicBezTo>
                <a:cubicBezTo>
                  <a:pt x="87" y="67"/>
                  <a:pt x="88" y="67"/>
                  <a:pt x="88" y="67"/>
                </a:cubicBezTo>
                <a:cubicBezTo>
                  <a:pt x="89" y="68"/>
                  <a:pt x="89" y="68"/>
                  <a:pt x="89" y="69"/>
                </a:cubicBezTo>
                <a:cubicBezTo>
                  <a:pt x="89" y="70"/>
                  <a:pt x="89" y="71"/>
                  <a:pt x="89" y="71"/>
                </a:cubicBezTo>
                <a:cubicBezTo>
                  <a:pt x="90" y="72"/>
                  <a:pt x="90" y="73"/>
                  <a:pt x="90" y="74"/>
                </a:cubicBezTo>
                <a:cubicBezTo>
                  <a:pt x="90" y="74"/>
                  <a:pt x="90" y="75"/>
                  <a:pt x="89" y="75"/>
                </a:cubicBezTo>
                <a:cubicBezTo>
                  <a:pt x="90" y="75"/>
                  <a:pt x="90" y="75"/>
                  <a:pt x="91" y="76"/>
                </a:cubicBezTo>
                <a:cubicBezTo>
                  <a:pt x="91" y="76"/>
                  <a:pt x="91" y="77"/>
                  <a:pt x="91" y="77"/>
                </a:cubicBezTo>
                <a:cubicBezTo>
                  <a:pt x="91" y="78"/>
                  <a:pt x="91" y="78"/>
                  <a:pt x="92" y="79"/>
                </a:cubicBezTo>
                <a:cubicBezTo>
                  <a:pt x="92" y="78"/>
                  <a:pt x="94" y="80"/>
                  <a:pt x="94" y="80"/>
                </a:cubicBezTo>
                <a:cubicBezTo>
                  <a:pt x="95" y="81"/>
                  <a:pt x="96" y="81"/>
                  <a:pt x="98" y="81"/>
                </a:cubicBezTo>
                <a:cubicBezTo>
                  <a:pt x="99" y="80"/>
                  <a:pt x="99" y="82"/>
                  <a:pt x="100" y="82"/>
                </a:cubicBezTo>
                <a:cubicBezTo>
                  <a:pt x="101" y="82"/>
                  <a:pt x="101" y="82"/>
                  <a:pt x="101" y="83"/>
                </a:cubicBezTo>
                <a:cubicBezTo>
                  <a:pt x="101" y="83"/>
                  <a:pt x="102" y="84"/>
                  <a:pt x="102" y="84"/>
                </a:cubicBezTo>
                <a:cubicBezTo>
                  <a:pt x="103" y="84"/>
                  <a:pt x="102" y="82"/>
                  <a:pt x="104" y="83"/>
                </a:cubicBezTo>
                <a:cubicBezTo>
                  <a:pt x="105" y="84"/>
                  <a:pt x="106" y="82"/>
                  <a:pt x="107" y="82"/>
                </a:cubicBezTo>
                <a:cubicBezTo>
                  <a:pt x="108" y="81"/>
                  <a:pt x="109" y="81"/>
                  <a:pt x="109" y="80"/>
                </a:cubicBezTo>
                <a:cubicBezTo>
                  <a:pt x="108" y="79"/>
                  <a:pt x="108" y="79"/>
                  <a:pt x="108" y="79"/>
                </a:cubicBezTo>
                <a:cubicBezTo>
                  <a:pt x="108" y="79"/>
                  <a:pt x="109" y="78"/>
                  <a:pt x="109" y="78"/>
                </a:cubicBezTo>
                <a:cubicBezTo>
                  <a:pt x="109" y="78"/>
                  <a:pt x="108" y="76"/>
                  <a:pt x="108" y="76"/>
                </a:cubicBezTo>
                <a:cubicBezTo>
                  <a:pt x="108" y="76"/>
                  <a:pt x="109" y="76"/>
                  <a:pt x="109" y="76"/>
                </a:cubicBezTo>
                <a:cubicBezTo>
                  <a:pt x="110" y="76"/>
                  <a:pt x="110" y="76"/>
                  <a:pt x="111" y="76"/>
                </a:cubicBezTo>
                <a:cubicBezTo>
                  <a:pt x="111" y="76"/>
                  <a:pt x="112" y="76"/>
                  <a:pt x="112" y="75"/>
                </a:cubicBezTo>
                <a:cubicBezTo>
                  <a:pt x="112" y="75"/>
                  <a:pt x="113" y="75"/>
                  <a:pt x="113" y="75"/>
                </a:cubicBezTo>
                <a:cubicBezTo>
                  <a:pt x="114" y="75"/>
                  <a:pt x="114" y="74"/>
                  <a:pt x="115" y="74"/>
                </a:cubicBezTo>
                <a:cubicBezTo>
                  <a:pt x="115" y="74"/>
                  <a:pt x="116" y="74"/>
                  <a:pt x="116" y="75"/>
                </a:cubicBezTo>
                <a:cubicBezTo>
                  <a:pt x="116" y="73"/>
                  <a:pt x="117" y="73"/>
                  <a:pt x="118" y="73"/>
                </a:cubicBezTo>
                <a:cubicBezTo>
                  <a:pt x="118" y="73"/>
                  <a:pt x="118" y="72"/>
                  <a:pt x="119" y="72"/>
                </a:cubicBezTo>
                <a:cubicBezTo>
                  <a:pt x="119" y="72"/>
                  <a:pt x="120" y="72"/>
                  <a:pt x="120" y="71"/>
                </a:cubicBezTo>
                <a:cubicBezTo>
                  <a:pt x="120" y="70"/>
                  <a:pt x="120" y="70"/>
                  <a:pt x="120" y="69"/>
                </a:cubicBezTo>
                <a:cubicBezTo>
                  <a:pt x="120" y="68"/>
                  <a:pt x="120" y="68"/>
                  <a:pt x="120" y="67"/>
                </a:cubicBezTo>
                <a:cubicBezTo>
                  <a:pt x="120" y="66"/>
                  <a:pt x="121" y="65"/>
                  <a:pt x="121" y="64"/>
                </a:cubicBezTo>
                <a:cubicBezTo>
                  <a:pt x="120" y="63"/>
                  <a:pt x="120" y="62"/>
                  <a:pt x="121" y="62"/>
                </a:cubicBezTo>
                <a:cubicBezTo>
                  <a:pt x="121" y="62"/>
                  <a:pt x="122" y="61"/>
                  <a:pt x="122" y="61"/>
                </a:cubicBezTo>
                <a:cubicBezTo>
                  <a:pt x="123" y="61"/>
                  <a:pt x="124" y="61"/>
                  <a:pt x="125" y="61"/>
                </a:cubicBezTo>
                <a:cubicBezTo>
                  <a:pt x="125" y="61"/>
                  <a:pt x="125" y="61"/>
                  <a:pt x="126" y="61"/>
                </a:cubicBezTo>
                <a:cubicBezTo>
                  <a:pt x="127" y="61"/>
                  <a:pt x="128" y="61"/>
                  <a:pt x="128" y="60"/>
                </a:cubicBezTo>
                <a:cubicBezTo>
                  <a:pt x="128" y="59"/>
                  <a:pt x="127" y="58"/>
                  <a:pt x="128" y="58"/>
                </a:cubicBezTo>
                <a:cubicBezTo>
                  <a:pt x="128" y="58"/>
                  <a:pt x="128" y="58"/>
                  <a:pt x="128" y="58"/>
                </a:cubicBezTo>
                <a:cubicBezTo>
                  <a:pt x="129" y="57"/>
                  <a:pt x="129" y="58"/>
                  <a:pt x="129" y="58"/>
                </a:cubicBezTo>
                <a:cubicBezTo>
                  <a:pt x="129" y="58"/>
                  <a:pt x="130" y="58"/>
                  <a:pt x="130" y="58"/>
                </a:cubicBezTo>
                <a:cubicBezTo>
                  <a:pt x="131" y="59"/>
                  <a:pt x="131" y="59"/>
                  <a:pt x="131" y="59"/>
                </a:cubicBezTo>
                <a:cubicBezTo>
                  <a:pt x="132" y="59"/>
                  <a:pt x="132" y="59"/>
                  <a:pt x="132" y="59"/>
                </a:cubicBezTo>
                <a:cubicBezTo>
                  <a:pt x="133" y="60"/>
                  <a:pt x="133" y="60"/>
                  <a:pt x="133" y="60"/>
                </a:cubicBezTo>
                <a:cubicBezTo>
                  <a:pt x="133" y="60"/>
                  <a:pt x="134" y="60"/>
                  <a:pt x="134" y="60"/>
                </a:cubicBezTo>
                <a:cubicBezTo>
                  <a:pt x="134" y="60"/>
                  <a:pt x="135" y="60"/>
                  <a:pt x="135" y="60"/>
                </a:cubicBezTo>
                <a:cubicBezTo>
                  <a:pt x="135" y="60"/>
                  <a:pt x="135" y="60"/>
                  <a:pt x="136" y="60"/>
                </a:cubicBezTo>
                <a:cubicBezTo>
                  <a:pt x="135" y="59"/>
                  <a:pt x="136" y="59"/>
                  <a:pt x="135" y="5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 name="Turkey"/>
          <p:cNvSpPr>
            <a:spLocks noEditPoints="1"/>
          </p:cNvSpPr>
          <p:nvPr/>
        </p:nvSpPr>
        <p:spPr bwMode="auto">
          <a:xfrm>
            <a:off x="6648051" y="2993000"/>
            <a:ext cx="635977" cy="248991"/>
          </a:xfrm>
          <a:custGeom>
            <a:avLst/>
            <a:gdLst/>
            <a:ahLst/>
            <a:cxnLst>
              <a:cxn ang="0">
                <a:pos x="6" y="9"/>
              </a:cxn>
              <a:cxn ang="0">
                <a:pos x="9" y="1"/>
              </a:cxn>
              <a:cxn ang="0">
                <a:pos x="18" y="1"/>
              </a:cxn>
              <a:cxn ang="0">
                <a:pos x="29" y="9"/>
              </a:cxn>
              <a:cxn ang="0">
                <a:pos x="24" y="11"/>
              </a:cxn>
              <a:cxn ang="0">
                <a:pos x="9" y="18"/>
              </a:cxn>
              <a:cxn ang="0">
                <a:pos x="5" y="19"/>
              </a:cxn>
              <a:cxn ang="0">
                <a:pos x="2" y="20"/>
              </a:cxn>
              <a:cxn ang="0">
                <a:pos x="174" y="50"/>
              </a:cxn>
              <a:cxn ang="0">
                <a:pos x="170" y="44"/>
              </a:cxn>
              <a:cxn ang="0">
                <a:pos x="167" y="32"/>
              </a:cxn>
              <a:cxn ang="0">
                <a:pos x="170" y="24"/>
              </a:cxn>
              <a:cxn ang="0">
                <a:pos x="161" y="17"/>
              </a:cxn>
              <a:cxn ang="0">
                <a:pos x="152" y="7"/>
              </a:cxn>
              <a:cxn ang="0">
                <a:pos x="140" y="7"/>
              </a:cxn>
              <a:cxn ang="0">
                <a:pos x="125" y="12"/>
              </a:cxn>
              <a:cxn ang="0">
                <a:pos x="113" y="13"/>
              </a:cxn>
              <a:cxn ang="0">
                <a:pos x="101" y="10"/>
              </a:cxn>
              <a:cxn ang="0">
                <a:pos x="92" y="5"/>
              </a:cxn>
              <a:cxn ang="0">
                <a:pos x="82" y="0"/>
              </a:cxn>
              <a:cxn ang="0">
                <a:pos x="62" y="3"/>
              </a:cxn>
              <a:cxn ang="0">
                <a:pos x="51" y="9"/>
              </a:cxn>
              <a:cxn ang="0">
                <a:pos x="30" y="10"/>
              </a:cxn>
              <a:cxn ang="0">
                <a:pos x="36" y="15"/>
              </a:cxn>
              <a:cxn ang="0">
                <a:pos x="31" y="19"/>
              </a:cxn>
              <a:cxn ang="0">
                <a:pos x="20" y="18"/>
              </a:cxn>
              <a:cxn ang="0">
                <a:pos x="14" y="18"/>
              </a:cxn>
              <a:cxn ang="0">
                <a:pos x="5" y="27"/>
              </a:cxn>
              <a:cxn ang="0">
                <a:pos x="10" y="31"/>
              </a:cxn>
              <a:cxn ang="0">
                <a:pos x="13" y="36"/>
              </a:cxn>
              <a:cxn ang="0">
                <a:pos x="15" y="40"/>
              </a:cxn>
              <a:cxn ang="0">
                <a:pos x="8" y="38"/>
              </a:cxn>
              <a:cxn ang="0">
                <a:pos x="7" y="42"/>
              </a:cxn>
              <a:cxn ang="0">
                <a:pos x="13" y="44"/>
              </a:cxn>
              <a:cxn ang="0">
                <a:pos x="16" y="51"/>
              </a:cxn>
              <a:cxn ang="0">
                <a:pos x="20" y="54"/>
              </a:cxn>
              <a:cxn ang="0">
                <a:pos x="20" y="56"/>
              </a:cxn>
              <a:cxn ang="0">
                <a:pos x="24" y="57"/>
              </a:cxn>
              <a:cxn ang="0">
                <a:pos x="21" y="59"/>
              </a:cxn>
              <a:cxn ang="0">
                <a:pos x="24" y="60"/>
              </a:cxn>
              <a:cxn ang="0">
                <a:pos x="27" y="57"/>
              </a:cxn>
              <a:cxn ang="0">
                <a:pos x="32" y="59"/>
              </a:cxn>
              <a:cxn ang="0">
                <a:pos x="36" y="63"/>
              </a:cxn>
              <a:cxn ang="0">
                <a:pos x="42" y="64"/>
              </a:cxn>
              <a:cxn ang="0">
                <a:pos x="47" y="61"/>
              </a:cxn>
              <a:cxn ang="0">
                <a:pos x="63" y="64"/>
              </a:cxn>
              <a:cxn ang="0">
                <a:pos x="76" y="65"/>
              </a:cxn>
              <a:cxn ang="0">
                <a:pos x="82" y="60"/>
              </a:cxn>
              <a:cxn ang="0">
                <a:pos x="94" y="59"/>
              </a:cxn>
              <a:cxn ang="0">
                <a:pos x="99" y="59"/>
              </a:cxn>
              <a:cxn ang="0">
                <a:pos x="99" y="69"/>
              </a:cxn>
              <a:cxn ang="0">
                <a:pos x="103" y="63"/>
              </a:cxn>
              <a:cxn ang="0">
                <a:pos x="107" y="59"/>
              </a:cxn>
              <a:cxn ang="0">
                <a:pos x="135" y="57"/>
              </a:cxn>
              <a:cxn ang="0">
                <a:pos x="154" y="54"/>
              </a:cxn>
              <a:cxn ang="0">
                <a:pos x="165" y="53"/>
              </a:cxn>
              <a:cxn ang="0">
                <a:pos x="176" y="54"/>
              </a:cxn>
            </a:cxnLst>
            <a:rect l="0" t="0" r="r" b="b"/>
            <a:pathLst>
              <a:path w="176" h="69">
                <a:moveTo>
                  <a:pt x="5" y="16"/>
                </a:moveTo>
                <a:cubicBezTo>
                  <a:pt x="5" y="16"/>
                  <a:pt x="4" y="16"/>
                  <a:pt x="4" y="16"/>
                </a:cubicBezTo>
                <a:cubicBezTo>
                  <a:pt x="4" y="16"/>
                  <a:pt x="4" y="15"/>
                  <a:pt x="3" y="15"/>
                </a:cubicBezTo>
                <a:cubicBezTo>
                  <a:pt x="4" y="15"/>
                  <a:pt x="5" y="14"/>
                  <a:pt x="5" y="13"/>
                </a:cubicBezTo>
                <a:cubicBezTo>
                  <a:pt x="5" y="13"/>
                  <a:pt x="6" y="13"/>
                  <a:pt x="6" y="12"/>
                </a:cubicBezTo>
                <a:cubicBezTo>
                  <a:pt x="6" y="12"/>
                  <a:pt x="6" y="12"/>
                  <a:pt x="6" y="12"/>
                </a:cubicBezTo>
                <a:cubicBezTo>
                  <a:pt x="6" y="12"/>
                  <a:pt x="6" y="12"/>
                  <a:pt x="6" y="12"/>
                </a:cubicBezTo>
                <a:cubicBezTo>
                  <a:pt x="6" y="11"/>
                  <a:pt x="5" y="10"/>
                  <a:pt x="6" y="9"/>
                </a:cubicBezTo>
                <a:cubicBezTo>
                  <a:pt x="6" y="9"/>
                  <a:pt x="6" y="9"/>
                  <a:pt x="7" y="9"/>
                </a:cubicBezTo>
                <a:cubicBezTo>
                  <a:pt x="7" y="8"/>
                  <a:pt x="7" y="8"/>
                  <a:pt x="8" y="8"/>
                </a:cubicBezTo>
                <a:cubicBezTo>
                  <a:pt x="9" y="9"/>
                  <a:pt x="8" y="6"/>
                  <a:pt x="8" y="6"/>
                </a:cubicBezTo>
                <a:cubicBezTo>
                  <a:pt x="8" y="5"/>
                  <a:pt x="7" y="5"/>
                  <a:pt x="6" y="4"/>
                </a:cubicBezTo>
                <a:cubicBezTo>
                  <a:pt x="5" y="4"/>
                  <a:pt x="5" y="4"/>
                  <a:pt x="5" y="3"/>
                </a:cubicBezTo>
                <a:cubicBezTo>
                  <a:pt x="6" y="3"/>
                  <a:pt x="6" y="3"/>
                  <a:pt x="7" y="3"/>
                </a:cubicBezTo>
                <a:cubicBezTo>
                  <a:pt x="8" y="3"/>
                  <a:pt x="7" y="1"/>
                  <a:pt x="8" y="1"/>
                </a:cubicBezTo>
                <a:cubicBezTo>
                  <a:pt x="8" y="1"/>
                  <a:pt x="9" y="1"/>
                  <a:pt x="9" y="1"/>
                </a:cubicBezTo>
                <a:cubicBezTo>
                  <a:pt x="10" y="1"/>
                  <a:pt x="10" y="1"/>
                  <a:pt x="11" y="1"/>
                </a:cubicBezTo>
                <a:cubicBezTo>
                  <a:pt x="11" y="0"/>
                  <a:pt x="11" y="0"/>
                  <a:pt x="12" y="0"/>
                </a:cubicBezTo>
                <a:cubicBezTo>
                  <a:pt x="12" y="0"/>
                  <a:pt x="13" y="0"/>
                  <a:pt x="13" y="0"/>
                </a:cubicBezTo>
                <a:cubicBezTo>
                  <a:pt x="14" y="0"/>
                  <a:pt x="14" y="1"/>
                  <a:pt x="15" y="1"/>
                </a:cubicBezTo>
                <a:cubicBezTo>
                  <a:pt x="15" y="1"/>
                  <a:pt x="16" y="2"/>
                  <a:pt x="16" y="2"/>
                </a:cubicBezTo>
                <a:cubicBezTo>
                  <a:pt x="16" y="2"/>
                  <a:pt x="17" y="1"/>
                  <a:pt x="18" y="1"/>
                </a:cubicBezTo>
                <a:cubicBezTo>
                  <a:pt x="18" y="1"/>
                  <a:pt x="18" y="2"/>
                  <a:pt x="18" y="2"/>
                </a:cubicBezTo>
                <a:cubicBezTo>
                  <a:pt x="19" y="1"/>
                  <a:pt x="18" y="1"/>
                  <a:pt x="18" y="1"/>
                </a:cubicBezTo>
                <a:cubicBezTo>
                  <a:pt x="19" y="1"/>
                  <a:pt x="21" y="1"/>
                  <a:pt x="20" y="2"/>
                </a:cubicBezTo>
                <a:cubicBezTo>
                  <a:pt x="20" y="3"/>
                  <a:pt x="20" y="2"/>
                  <a:pt x="20" y="2"/>
                </a:cubicBezTo>
                <a:cubicBezTo>
                  <a:pt x="20" y="3"/>
                  <a:pt x="20" y="3"/>
                  <a:pt x="20" y="4"/>
                </a:cubicBezTo>
                <a:cubicBezTo>
                  <a:pt x="21" y="4"/>
                  <a:pt x="21" y="5"/>
                  <a:pt x="22" y="6"/>
                </a:cubicBezTo>
                <a:cubicBezTo>
                  <a:pt x="22" y="6"/>
                  <a:pt x="23" y="7"/>
                  <a:pt x="24" y="7"/>
                </a:cubicBezTo>
                <a:cubicBezTo>
                  <a:pt x="24" y="7"/>
                  <a:pt x="25" y="7"/>
                  <a:pt x="25" y="8"/>
                </a:cubicBezTo>
                <a:cubicBezTo>
                  <a:pt x="26" y="8"/>
                  <a:pt x="27" y="9"/>
                  <a:pt x="28" y="9"/>
                </a:cubicBezTo>
                <a:cubicBezTo>
                  <a:pt x="28" y="9"/>
                  <a:pt x="29" y="9"/>
                  <a:pt x="29" y="9"/>
                </a:cubicBezTo>
                <a:cubicBezTo>
                  <a:pt x="29" y="9"/>
                  <a:pt x="30" y="9"/>
                  <a:pt x="30" y="9"/>
                </a:cubicBezTo>
                <a:cubicBezTo>
                  <a:pt x="31" y="9"/>
                  <a:pt x="30" y="10"/>
                  <a:pt x="30" y="10"/>
                </a:cubicBezTo>
                <a:cubicBezTo>
                  <a:pt x="30" y="10"/>
                  <a:pt x="30" y="11"/>
                  <a:pt x="30" y="11"/>
                </a:cubicBezTo>
                <a:cubicBezTo>
                  <a:pt x="30" y="12"/>
                  <a:pt x="28" y="12"/>
                  <a:pt x="27" y="12"/>
                </a:cubicBezTo>
                <a:cubicBezTo>
                  <a:pt x="27" y="12"/>
                  <a:pt x="26" y="12"/>
                  <a:pt x="26" y="12"/>
                </a:cubicBezTo>
                <a:cubicBezTo>
                  <a:pt x="26" y="12"/>
                  <a:pt x="26" y="11"/>
                  <a:pt x="25" y="11"/>
                </a:cubicBezTo>
                <a:cubicBezTo>
                  <a:pt x="26" y="11"/>
                  <a:pt x="26" y="12"/>
                  <a:pt x="26" y="12"/>
                </a:cubicBezTo>
                <a:cubicBezTo>
                  <a:pt x="25" y="12"/>
                  <a:pt x="25" y="12"/>
                  <a:pt x="24" y="11"/>
                </a:cubicBezTo>
                <a:cubicBezTo>
                  <a:pt x="23" y="11"/>
                  <a:pt x="22" y="11"/>
                  <a:pt x="21" y="12"/>
                </a:cubicBezTo>
                <a:cubicBezTo>
                  <a:pt x="21" y="12"/>
                  <a:pt x="20" y="12"/>
                  <a:pt x="20" y="12"/>
                </a:cubicBezTo>
                <a:cubicBezTo>
                  <a:pt x="19" y="12"/>
                  <a:pt x="19" y="12"/>
                  <a:pt x="19" y="12"/>
                </a:cubicBezTo>
                <a:cubicBezTo>
                  <a:pt x="18" y="12"/>
                  <a:pt x="17" y="12"/>
                  <a:pt x="16" y="12"/>
                </a:cubicBezTo>
                <a:cubicBezTo>
                  <a:pt x="16" y="13"/>
                  <a:pt x="16" y="13"/>
                  <a:pt x="16" y="14"/>
                </a:cubicBezTo>
                <a:cubicBezTo>
                  <a:pt x="16" y="14"/>
                  <a:pt x="15" y="14"/>
                  <a:pt x="15" y="15"/>
                </a:cubicBezTo>
                <a:cubicBezTo>
                  <a:pt x="14" y="16"/>
                  <a:pt x="13" y="16"/>
                  <a:pt x="12" y="17"/>
                </a:cubicBezTo>
                <a:cubicBezTo>
                  <a:pt x="11" y="17"/>
                  <a:pt x="10" y="17"/>
                  <a:pt x="9" y="18"/>
                </a:cubicBezTo>
                <a:cubicBezTo>
                  <a:pt x="9" y="18"/>
                  <a:pt x="9" y="19"/>
                  <a:pt x="9" y="19"/>
                </a:cubicBezTo>
                <a:cubicBezTo>
                  <a:pt x="8" y="19"/>
                  <a:pt x="8" y="20"/>
                  <a:pt x="7" y="20"/>
                </a:cubicBezTo>
                <a:cubicBezTo>
                  <a:pt x="7" y="20"/>
                  <a:pt x="7" y="21"/>
                  <a:pt x="7" y="21"/>
                </a:cubicBezTo>
                <a:cubicBezTo>
                  <a:pt x="7" y="21"/>
                  <a:pt x="7" y="21"/>
                  <a:pt x="7" y="21"/>
                </a:cubicBezTo>
                <a:cubicBezTo>
                  <a:pt x="7" y="21"/>
                  <a:pt x="6" y="22"/>
                  <a:pt x="6" y="22"/>
                </a:cubicBezTo>
                <a:cubicBezTo>
                  <a:pt x="6" y="22"/>
                  <a:pt x="4" y="23"/>
                  <a:pt x="5" y="22"/>
                </a:cubicBezTo>
                <a:cubicBezTo>
                  <a:pt x="5" y="21"/>
                  <a:pt x="6" y="21"/>
                  <a:pt x="6" y="20"/>
                </a:cubicBezTo>
                <a:cubicBezTo>
                  <a:pt x="6" y="20"/>
                  <a:pt x="5" y="20"/>
                  <a:pt x="5" y="19"/>
                </a:cubicBezTo>
                <a:cubicBezTo>
                  <a:pt x="5" y="19"/>
                  <a:pt x="8" y="18"/>
                  <a:pt x="8" y="18"/>
                </a:cubicBezTo>
                <a:cubicBezTo>
                  <a:pt x="9" y="17"/>
                  <a:pt x="10" y="17"/>
                  <a:pt x="10" y="17"/>
                </a:cubicBezTo>
                <a:cubicBezTo>
                  <a:pt x="11" y="15"/>
                  <a:pt x="9" y="16"/>
                  <a:pt x="8" y="16"/>
                </a:cubicBezTo>
                <a:cubicBezTo>
                  <a:pt x="8" y="16"/>
                  <a:pt x="7" y="16"/>
                  <a:pt x="7" y="16"/>
                </a:cubicBezTo>
                <a:cubicBezTo>
                  <a:pt x="6" y="16"/>
                  <a:pt x="6" y="16"/>
                  <a:pt x="5" y="16"/>
                </a:cubicBezTo>
                <a:close/>
                <a:moveTo>
                  <a:pt x="3" y="21"/>
                </a:moveTo>
                <a:cubicBezTo>
                  <a:pt x="3" y="21"/>
                  <a:pt x="3" y="21"/>
                  <a:pt x="3" y="20"/>
                </a:cubicBezTo>
                <a:cubicBezTo>
                  <a:pt x="3" y="20"/>
                  <a:pt x="2" y="20"/>
                  <a:pt x="2" y="20"/>
                </a:cubicBezTo>
                <a:cubicBezTo>
                  <a:pt x="1" y="21"/>
                  <a:pt x="1" y="21"/>
                  <a:pt x="1" y="21"/>
                </a:cubicBezTo>
                <a:cubicBezTo>
                  <a:pt x="0" y="22"/>
                  <a:pt x="1" y="22"/>
                  <a:pt x="2" y="22"/>
                </a:cubicBezTo>
                <a:cubicBezTo>
                  <a:pt x="2" y="22"/>
                  <a:pt x="3" y="22"/>
                  <a:pt x="4" y="21"/>
                </a:cubicBezTo>
                <a:cubicBezTo>
                  <a:pt x="3" y="21"/>
                  <a:pt x="3" y="21"/>
                  <a:pt x="3" y="21"/>
                </a:cubicBezTo>
                <a:close/>
                <a:moveTo>
                  <a:pt x="176" y="53"/>
                </a:moveTo>
                <a:cubicBezTo>
                  <a:pt x="176" y="52"/>
                  <a:pt x="176" y="52"/>
                  <a:pt x="175" y="52"/>
                </a:cubicBezTo>
                <a:cubicBezTo>
                  <a:pt x="175" y="52"/>
                  <a:pt x="174" y="51"/>
                  <a:pt x="174" y="51"/>
                </a:cubicBezTo>
                <a:cubicBezTo>
                  <a:pt x="174" y="51"/>
                  <a:pt x="174" y="50"/>
                  <a:pt x="174" y="50"/>
                </a:cubicBezTo>
                <a:cubicBezTo>
                  <a:pt x="174" y="49"/>
                  <a:pt x="174" y="49"/>
                  <a:pt x="174" y="49"/>
                </a:cubicBezTo>
                <a:cubicBezTo>
                  <a:pt x="173" y="49"/>
                  <a:pt x="173" y="49"/>
                  <a:pt x="173" y="48"/>
                </a:cubicBezTo>
                <a:cubicBezTo>
                  <a:pt x="173" y="48"/>
                  <a:pt x="174" y="48"/>
                  <a:pt x="173" y="48"/>
                </a:cubicBezTo>
                <a:cubicBezTo>
                  <a:pt x="173" y="47"/>
                  <a:pt x="173" y="47"/>
                  <a:pt x="172" y="47"/>
                </a:cubicBezTo>
                <a:cubicBezTo>
                  <a:pt x="172" y="47"/>
                  <a:pt x="172" y="47"/>
                  <a:pt x="172" y="47"/>
                </a:cubicBezTo>
                <a:cubicBezTo>
                  <a:pt x="171" y="46"/>
                  <a:pt x="171" y="46"/>
                  <a:pt x="171" y="46"/>
                </a:cubicBezTo>
                <a:cubicBezTo>
                  <a:pt x="170" y="46"/>
                  <a:pt x="170" y="46"/>
                  <a:pt x="170" y="46"/>
                </a:cubicBezTo>
                <a:cubicBezTo>
                  <a:pt x="170" y="45"/>
                  <a:pt x="170" y="45"/>
                  <a:pt x="170" y="44"/>
                </a:cubicBezTo>
                <a:cubicBezTo>
                  <a:pt x="170" y="44"/>
                  <a:pt x="171" y="43"/>
                  <a:pt x="171" y="43"/>
                </a:cubicBezTo>
                <a:cubicBezTo>
                  <a:pt x="171" y="42"/>
                  <a:pt x="171" y="42"/>
                  <a:pt x="171" y="41"/>
                </a:cubicBezTo>
                <a:cubicBezTo>
                  <a:pt x="172" y="41"/>
                  <a:pt x="171" y="40"/>
                  <a:pt x="171" y="41"/>
                </a:cubicBezTo>
                <a:cubicBezTo>
                  <a:pt x="169" y="41"/>
                  <a:pt x="170" y="40"/>
                  <a:pt x="170" y="39"/>
                </a:cubicBezTo>
                <a:cubicBezTo>
                  <a:pt x="170" y="38"/>
                  <a:pt x="169" y="37"/>
                  <a:pt x="169" y="36"/>
                </a:cubicBezTo>
                <a:cubicBezTo>
                  <a:pt x="169" y="35"/>
                  <a:pt x="168" y="35"/>
                  <a:pt x="168" y="34"/>
                </a:cubicBezTo>
                <a:cubicBezTo>
                  <a:pt x="168" y="34"/>
                  <a:pt x="168" y="33"/>
                  <a:pt x="168" y="33"/>
                </a:cubicBezTo>
                <a:cubicBezTo>
                  <a:pt x="168" y="32"/>
                  <a:pt x="168" y="32"/>
                  <a:pt x="167" y="32"/>
                </a:cubicBezTo>
                <a:cubicBezTo>
                  <a:pt x="167" y="31"/>
                  <a:pt x="167" y="31"/>
                  <a:pt x="166" y="30"/>
                </a:cubicBezTo>
                <a:cubicBezTo>
                  <a:pt x="165" y="29"/>
                  <a:pt x="168" y="29"/>
                  <a:pt x="168" y="29"/>
                </a:cubicBezTo>
                <a:cubicBezTo>
                  <a:pt x="170" y="30"/>
                  <a:pt x="169" y="29"/>
                  <a:pt x="169" y="28"/>
                </a:cubicBezTo>
                <a:cubicBezTo>
                  <a:pt x="169" y="27"/>
                  <a:pt x="169" y="27"/>
                  <a:pt x="169" y="27"/>
                </a:cubicBezTo>
                <a:cubicBezTo>
                  <a:pt x="170" y="26"/>
                  <a:pt x="169" y="26"/>
                  <a:pt x="169" y="26"/>
                </a:cubicBezTo>
                <a:cubicBezTo>
                  <a:pt x="170" y="26"/>
                  <a:pt x="170" y="25"/>
                  <a:pt x="170" y="25"/>
                </a:cubicBezTo>
                <a:cubicBezTo>
                  <a:pt x="171" y="25"/>
                  <a:pt x="172" y="26"/>
                  <a:pt x="173" y="27"/>
                </a:cubicBezTo>
                <a:cubicBezTo>
                  <a:pt x="172" y="25"/>
                  <a:pt x="171" y="25"/>
                  <a:pt x="170" y="24"/>
                </a:cubicBezTo>
                <a:cubicBezTo>
                  <a:pt x="169" y="23"/>
                  <a:pt x="167" y="22"/>
                  <a:pt x="166" y="23"/>
                </a:cubicBezTo>
                <a:cubicBezTo>
                  <a:pt x="164" y="23"/>
                  <a:pt x="162" y="22"/>
                  <a:pt x="161" y="22"/>
                </a:cubicBezTo>
                <a:cubicBezTo>
                  <a:pt x="161" y="21"/>
                  <a:pt x="161" y="21"/>
                  <a:pt x="162" y="21"/>
                </a:cubicBezTo>
                <a:cubicBezTo>
                  <a:pt x="162" y="21"/>
                  <a:pt x="162" y="21"/>
                  <a:pt x="162" y="21"/>
                </a:cubicBezTo>
                <a:cubicBezTo>
                  <a:pt x="161" y="20"/>
                  <a:pt x="161" y="20"/>
                  <a:pt x="161" y="19"/>
                </a:cubicBezTo>
                <a:cubicBezTo>
                  <a:pt x="161" y="19"/>
                  <a:pt x="161" y="18"/>
                  <a:pt x="161" y="18"/>
                </a:cubicBezTo>
                <a:cubicBezTo>
                  <a:pt x="160" y="18"/>
                  <a:pt x="160" y="18"/>
                  <a:pt x="160" y="18"/>
                </a:cubicBezTo>
                <a:cubicBezTo>
                  <a:pt x="160" y="18"/>
                  <a:pt x="161" y="17"/>
                  <a:pt x="161" y="17"/>
                </a:cubicBezTo>
                <a:cubicBezTo>
                  <a:pt x="162" y="15"/>
                  <a:pt x="161" y="14"/>
                  <a:pt x="160" y="13"/>
                </a:cubicBezTo>
                <a:cubicBezTo>
                  <a:pt x="160" y="12"/>
                  <a:pt x="159" y="12"/>
                  <a:pt x="158" y="11"/>
                </a:cubicBezTo>
                <a:cubicBezTo>
                  <a:pt x="158" y="11"/>
                  <a:pt x="158" y="10"/>
                  <a:pt x="158" y="10"/>
                </a:cubicBezTo>
                <a:cubicBezTo>
                  <a:pt x="157" y="10"/>
                  <a:pt x="156" y="10"/>
                  <a:pt x="156" y="10"/>
                </a:cubicBezTo>
                <a:cubicBezTo>
                  <a:pt x="156" y="10"/>
                  <a:pt x="155" y="9"/>
                  <a:pt x="155" y="9"/>
                </a:cubicBezTo>
                <a:cubicBezTo>
                  <a:pt x="155" y="9"/>
                  <a:pt x="155" y="9"/>
                  <a:pt x="155" y="9"/>
                </a:cubicBezTo>
                <a:cubicBezTo>
                  <a:pt x="155" y="9"/>
                  <a:pt x="153" y="7"/>
                  <a:pt x="153" y="7"/>
                </a:cubicBezTo>
                <a:cubicBezTo>
                  <a:pt x="152" y="6"/>
                  <a:pt x="152" y="7"/>
                  <a:pt x="152" y="7"/>
                </a:cubicBezTo>
                <a:cubicBezTo>
                  <a:pt x="151" y="7"/>
                  <a:pt x="152" y="6"/>
                  <a:pt x="152" y="6"/>
                </a:cubicBezTo>
                <a:cubicBezTo>
                  <a:pt x="152" y="5"/>
                  <a:pt x="151" y="5"/>
                  <a:pt x="150" y="5"/>
                </a:cubicBezTo>
                <a:cubicBezTo>
                  <a:pt x="149" y="6"/>
                  <a:pt x="150" y="6"/>
                  <a:pt x="149" y="7"/>
                </a:cubicBezTo>
                <a:cubicBezTo>
                  <a:pt x="149" y="8"/>
                  <a:pt x="147" y="7"/>
                  <a:pt x="146" y="6"/>
                </a:cubicBezTo>
                <a:cubicBezTo>
                  <a:pt x="145" y="6"/>
                  <a:pt x="144" y="6"/>
                  <a:pt x="143" y="7"/>
                </a:cubicBezTo>
                <a:cubicBezTo>
                  <a:pt x="143" y="7"/>
                  <a:pt x="142" y="7"/>
                  <a:pt x="142" y="7"/>
                </a:cubicBezTo>
                <a:cubicBezTo>
                  <a:pt x="141" y="6"/>
                  <a:pt x="141" y="6"/>
                  <a:pt x="140" y="6"/>
                </a:cubicBezTo>
                <a:cubicBezTo>
                  <a:pt x="140" y="6"/>
                  <a:pt x="140" y="7"/>
                  <a:pt x="140" y="7"/>
                </a:cubicBezTo>
                <a:cubicBezTo>
                  <a:pt x="139" y="8"/>
                  <a:pt x="139" y="8"/>
                  <a:pt x="139" y="8"/>
                </a:cubicBezTo>
                <a:cubicBezTo>
                  <a:pt x="138" y="8"/>
                  <a:pt x="137" y="9"/>
                  <a:pt x="137" y="9"/>
                </a:cubicBezTo>
                <a:cubicBezTo>
                  <a:pt x="136" y="9"/>
                  <a:pt x="135" y="10"/>
                  <a:pt x="135" y="10"/>
                </a:cubicBezTo>
                <a:cubicBezTo>
                  <a:pt x="134" y="10"/>
                  <a:pt x="134" y="11"/>
                  <a:pt x="133" y="11"/>
                </a:cubicBezTo>
                <a:cubicBezTo>
                  <a:pt x="133" y="11"/>
                  <a:pt x="132" y="11"/>
                  <a:pt x="132" y="12"/>
                </a:cubicBezTo>
                <a:cubicBezTo>
                  <a:pt x="130" y="12"/>
                  <a:pt x="129" y="13"/>
                  <a:pt x="128" y="12"/>
                </a:cubicBezTo>
                <a:cubicBezTo>
                  <a:pt x="127" y="12"/>
                  <a:pt x="127" y="12"/>
                  <a:pt x="126" y="12"/>
                </a:cubicBezTo>
                <a:cubicBezTo>
                  <a:pt x="126" y="12"/>
                  <a:pt x="126" y="12"/>
                  <a:pt x="125" y="12"/>
                </a:cubicBezTo>
                <a:cubicBezTo>
                  <a:pt x="125" y="12"/>
                  <a:pt x="125" y="12"/>
                  <a:pt x="124" y="12"/>
                </a:cubicBezTo>
                <a:cubicBezTo>
                  <a:pt x="124" y="12"/>
                  <a:pt x="123" y="11"/>
                  <a:pt x="122" y="11"/>
                </a:cubicBezTo>
                <a:cubicBezTo>
                  <a:pt x="122" y="11"/>
                  <a:pt x="121" y="12"/>
                  <a:pt x="121" y="11"/>
                </a:cubicBezTo>
                <a:cubicBezTo>
                  <a:pt x="120" y="11"/>
                  <a:pt x="120" y="11"/>
                  <a:pt x="119" y="11"/>
                </a:cubicBezTo>
                <a:cubicBezTo>
                  <a:pt x="118" y="12"/>
                  <a:pt x="118" y="12"/>
                  <a:pt x="117" y="12"/>
                </a:cubicBezTo>
                <a:cubicBezTo>
                  <a:pt x="117" y="12"/>
                  <a:pt x="116" y="13"/>
                  <a:pt x="116" y="12"/>
                </a:cubicBezTo>
                <a:cubicBezTo>
                  <a:pt x="116" y="12"/>
                  <a:pt x="116" y="12"/>
                  <a:pt x="115" y="12"/>
                </a:cubicBezTo>
                <a:cubicBezTo>
                  <a:pt x="115" y="12"/>
                  <a:pt x="114" y="13"/>
                  <a:pt x="113" y="13"/>
                </a:cubicBezTo>
                <a:cubicBezTo>
                  <a:pt x="113" y="13"/>
                  <a:pt x="112" y="12"/>
                  <a:pt x="112" y="12"/>
                </a:cubicBezTo>
                <a:cubicBezTo>
                  <a:pt x="111" y="13"/>
                  <a:pt x="110" y="12"/>
                  <a:pt x="109" y="12"/>
                </a:cubicBezTo>
                <a:cubicBezTo>
                  <a:pt x="109" y="12"/>
                  <a:pt x="108" y="12"/>
                  <a:pt x="108" y="12"/>
                </a:cubicBezTo>
                <a:cubicBezTo>
                  <a:pt x="108" y="11"/>
                  <a:pt x="108" y="11"/>
                  <a:pt x="108" y="11"/>
                </a:cubicBezTo>
                <a:cubicBezTo>
                  <a:pt x="107" y="11"/>
                  <a:pt x="107" y="10"/>
                  <a:pt x="107" y="11"/>
                </a:cubicBezTo>
                <a:cubicBezTo>
                  <a:pt x="106" y="11"/>
                  <a:pt x="106" y="12"/>
                  <a:pt x="105" y="11"/>
                </a:cubicBezTo>
                <a:cubicBezTo>
                  <a:pt x="105" y="11"/>
                  <a:pt x="104" y="11"/>
                  <a:pt x="103" y="10"/>
                </a:cubicBezTo>
                <a:cubicBezTo>
                  <a:pt x="102" y="10"/>
                  <a:pt x="101" y="10"/>
                  <a:pt x="101" y="10"/>
                </a:cubicBezTo>
                <a:cubicBezTo>
                  <a:pt x="101" y="9"/>
                  <a:pt x="101" y="9"/>
                  <a:pt x="100" y="9"/>
                </a:cubicBezTo>
                <a:cubicBezTo>
                  <a:pt x="100" y="8"/>
                  <a:pt x="99" y="8"/>
                  <a:pt x="99" y="8"/>
                </a:cubicBezTo>
                <a:cubicBezTo>
                  <a:pt x="98" y="8"/>
                  <a:pt x="98" y="8"/>
                  <a:pt x="97" y="8"/>
                </a:cubicBezTo>
                <a:cubicBezTo>
                  <a:pt x="97" y="8"/>
                  <a:pt x="97" y="8"/>
                  <a:pt x="97" y="8"/>
                </a:cubicBezTo>
                <a:cubicBezTo>
                  <a:pt x="96" y="9"/>
                  <a:pt x="96" y="9"/>
                  <a:pt x="95" y="9"/>
                </a:cubicBezTo>
                <a:cubicBezTo>
                  <a:pt x="95" y="9"/>
                  <a:pt x="95" y="9"/>
                  <a:pt x="94" y="8"/>
                </a:cubicBezTo>
                <a:cubicBezTo>
                  <a:pt x="94" y="8"/>
                  <a:pt x="93" y="7"/>
                  <a:pt x="92" y="7"/>
                </a:cubicBezTo>
                <a:cubicBezTo>
                  <a:pt x="92" y="6"/>
                  <a:pt x="92" y="6"/>
                  <a:pt x="92" y="5"/>
                </a:cubicBezTo>
                <a:cubicBezTo>
                  <a:pt x="92" y="4"/>
                  <a:pt x="90" y="4"/>
                  <a:pt x="90" y="5"/>
                </a:cubicBezTo>
                <a:cubicBezTo>
                  <a:pt x="90" y="5"/>
                  <a:pt x="90" y="4"/>
                  <a:pt x="91" y="4"/>
                </a:cubicBezTo>
                <a:cubicBezTo>
                  <a:pt x="89" y="4"/>
                  <a:pt x="88" y="5"/>
                  <a:pt x="87" y="5"/>
                </a:cubicBezTo>
                <a:cubicBezTo>
                  <a:pt x="86" y="5"/>
                  <a:pt x="86" y="4"/>
                  <a:pt x="85" y="4"/>
                </a:cubicBezTo>
                <a:cubicBezTo>
                  <a:pt x="85" y="4"/>
                  <a:pt x="84" y="4"/>
                  <a:pt x="84" y="4"/>
                </a:cubicBezTo>
                <a:cubicBezTo>
                  <a:pt x="84" y="3"/>
                  <a:pt x="82" y="1"/>
                  <a:pt x="84" y="1"/>
                </a:cubicBezTo>
                <a:cubicBezTo>
                  <a:pt x="83" y="0"/>
                  <a:pt x="83" y="1"/>
                  <a:pt x="83" y="1"/>
                </a:cubicBezTo>
                <a:cubicBezTo>
                  <a:pt x="82" y="1"/>
                  <a:pt x="82" y="1"/>
                  <a:pt x="82" y="0"/>
                </a:cubicBezTo>
                <a:cubicBezTo>
                  <a:pt x="81" y="0"/>
                  <a:pt x="81" y="1"/>
                  <a:pt x="81" y="1"/>
                </a:cubicBezTo>
                <a:cubicBezTo>
                  <a:pt x="80" y="1"/>
                  <a:pt x="80" y="2"/>
                  <a:pt x="79" y="2"/>
                </a:cubicBezTo>
                <a:cubicBezTo>
                  <a:pt x="78" y="2"/>
                  <a:pt x="78" y="1"/>
                  <a:pt x="77" y="1"/>
                </a:cubicBezTo>
                <a:cubicBezTo>
                  <a:pt x="77" y="1"/>
                  <a:pt x="76" y="2"/>
                  <a:pt x="75" y="2"/>
                </a:cubicBezTo>
                <a:cubicBezTo>
                  <a:pt x="75" y="1"/>
                  <a:pt x="74" y="1"/>
                  <a:pt x="73" y="1"/>
                </a:cubicBezTo>
                <a:cubicBezTo>
                  <a:pt x="71" y="1"/>
                  <a:pt x="70" y="1"/>
                  <a:pt x="68" y="1"/>
                </a:cubicBezTo>
                <a:cubicBezTo>
                  <a:pt x="67" y="0"/>
                  <a:pt x="66" y="1"/>
                  <a:pt x="65" y="2"/>
                </a:cubicBezTo>
                <a:cubicBezTo>
                  <a:pt x="64" y="2"/>
                  <a:pt x="63" y="2"/>
                  <a:pt x="62" y="3"/>
                </a:cubicBezTo>
                <a:cubicBezTo>
                  <a:pt x="61" y="3"/>
                  <a:pt x="61" y="3"/>
                  <a:pt x="60" y="3"/>
                </a:cubicBezTo>
                <a:cubicBezTo>
                  <a:pt x="59" y="4"/>
                  <a:pt x="59" y="4"/>
                  <a:pt x="58" y="4"/>
                </a:cubicBezTo>
                <a:cubicBezTo>
                  <a:pt x="58" y="4"/>
                  <a:pt x="58" y="5"/>
                  <a:pt x="57" y="5"/>
                </a:cubicBezTo>
                <a:cubicBezTo>
                  <a:pt x="57" y="6"/>
                  <a:pt x="56" y="6"/>
                  <a:pt x="56" y="6"/>
                </a:cubicBezTo>
                <a:cubicBezTo>
                  <a:pt x="55" y="6"/>
                  <a:pt x="55" y="6"/>
                  <a:pt x="54" y="7"/>
                </a:cubicBezTo>
                <a:cubicBezTo>
                  <a:pt x="54" y="7"/>
                  <a:pt x="53" y="8"/>
                  <a:pt x="52" y="8"/>
                </a:cubicBezTo>
                <a:cubicBezTo>
                  <a:pt x="52" y="8"/>
                  <a:pt x="51" y="8"/>
                  <a:pt x="51" y="8"/>
                </a:cubicBezTo>
                <a:cubicBezTo>
                  <a:pt x="50" y="9"/>
                  <a:pt x="51" y="9"/>
                  <a:pt x="51" y="9"/>
                </a:cubicBezTo>
                <a:cubicBezTo>
                  <a:pt x="51" y="10"/>
                  <a:pt x="50" y="11"/>
                  <a:pt x="50" y="11"/>
                </a:cubicBezTo>
                <a:cubicBezTo>
                  <a:pt x="49" y="11"/>
                  <a:pt x="47" y="11"/>
                  <a:pt x="46" y="11"/>
                </a:cubicBezTo>
                <a:cubicBezTo>
                  <a:pt x="45" y="11"/>
                  <a:pt x="44" y="11"/>
                  <a:pt x="44" y="10"/>
                </a:cubicBezTo>
                <a:cubicBezTo>
                  <a:pt x="43" y="10"/>
                  <a:pt x="42" y="10"/>
                  <a:pt x="41" y="10"/>
                </a:cubicBezTo>
                <a:cubicBezTo>
                  <a:pt x="41" y="10"/>
                  <a:pt x="40" y="10"/>
                  <a:pt x="40" y="10"/>
                </a:cubicBezTo>
                <a:cubicBezTo>
                  <a:pt x="39" y="10"/>
                  <a:pt x="39" y="10"/>
                  <a:pt x="38" y="10"/>
                </a:cubicBezTo>
                <a:cubicBezTo>
                  <a:pt x="36" y="10"/>
                  <a:pt x="35" y="10"/>
                  <a:pt x="33" y="10"/>
                </a:cubicBezTo>
                <a:cubicBezTo>
                  <a:pt x="33" y="9"/>
                  <a:pt x="30" y="9"/>
                  <a:pt x="30" y="10"/>
                </a:cubicBezTo>
                <a:cubicBezTo>
                  <a:pt x="30" y="11"/>
                  <a:pt x="29" y="12"/>
                  <a:pt x="30" y="12"/>
                </a:cubicBezTo>
                <a:cubicBezTo>
                  <a:pt x="31" y="13"/>
                  <a:pt x="33" y="14"/>
                  <a:pt x="32" y="14"/>
                </a:cubicBezTo>
                <a:cubicBezTo>
                  <a:pt x="32" y="14"/>
                  <a:pt x="33" y="14"/>
                  <a:pt x="33" y="14"/>
                </a:cubicBezTo>
                <a:cubicBezTo>
                  <a:pt x="33" y="14"/>
                  <a:pt x="33" y="15"/>
                  <a:pt x="33" y="15"/>
                </a:cubicBezTo>
                <a:cubicBezTo>
                  <a:pt x="34" y="15"/>
                  <a:pt x="34" y="14"/>
                  <a:pt x="35" y="14"/>
                </a:cubicBezTo>
                <a:cubicBezTo>
                  <a:pt x="36" y="14"/>
                  <a:pt x="36" y="15"/>
                  <a:pt x="37" y="15"/>
                </a:cubicBezTo>
                <a:cubicBezTo>
                  <a:pt x="37" y="15"/>
                  <a:pt x="38" y="14"/>
                  <a:pt x="38" y="15"/>
                </a:cubicBezTo>
                <a:cubicBezTo>
                  <a:pt x="38" y="15"/>
                  <a:pt x="37" y="15"/>
                  <a:pt x="36" y="15"/>
                </a:cubicBezTo>
                <a:cubicBezTo>
                  <a:pt x="36" y="15"/>
                  <a:pt x="35" y="16"/>
                  <a:pt x="35" y="15"/>
                </a:cubicBezTo>
                <a:cubicBezTo>
                  <a:pt x="34" y="15"/>
                  <a:pt x="33" y="15"/>
                  <a:pt x="33" y="15"/>
                </a:cubicBezTo>
                <a:cubicBezTo>
                  <a:pt x="32" y="16"/>
                  <a:pt x="32" y="16"/>
                  <a:pt x="31" y="16"/>
                </a:cubicBezTo>
                <a:cubicBezTo>
                  <a:pt x="30" y="16"/>
                  <a:pt x="30" y="16"/>
                  <a:pt x="29" y="16"/>
                </a:cubicBezTo>
                <a:cubicBezTo>
                  <a:pt x="28" y="17"/>
                  <a:pt x="28" y="17"/>
                  <a:pt x="28" y="17"/>
                </a:cubicBezTo>
                <a:cubicBezTo>
                  <a:pt x="29" y="18"/>
                  <a:pt x="29" y="18"/>
                  <a:pt x="30" y="18"/>
                </a:cubicBezTo>
                <a:cubicBezTo>
                  <a:pt x="30" y="18"/>
                  <a:pt x="31" y="18"/>
                  <a:pt x="31" y="18"/>
                </a:cubicBezTo>
                <a:cubicBezTo>
                  <a:pt x="32" y="18"/>
                  <a:pt x="31" y="18"/>
                  <a:pt x="31" y="19"/>
                </a:cubicBezTo>
                <a:cubicBezTo>
                  <a:pt x="30" y="19"/>
                  <a:pt x="31" y="19"/>
                  <a:pt x="30" y="19"/>
                </a:cubicBezTo>
                <a:cubicBezTo>
                  <a:pt x="30" y="19"/>
                  <a:pt x="30" y="19"/>
                  <a:pt x="29" y="19"/>
                </a:cubicBezTo>
                <a:cubicBezTo>
                  <a:pt x="29" y="19"/>
                  <a:pt x="28" y="19"/>
                  <a:pt x="27" y="19"/>
                </a:cubicBezTo>
                <a:cubicBezTo>
                  <a:pt x="27" y="19"/>
                  <a:pt x="26" y="18"/>
                  <a:pt x="25" y="19"/>
                </a:cubicBezTo>
                <a:cubicBezTo>
                  <a:pt x="26" y="18"/>
                  <a:pt x="24" y="18"/>
                  <a:pt x="24" y="18"/>
                </a:cubicBezTo>
                <a:cubicBezTo>
                  <a:pt x="24" y="18"/>
                  <a:pt x="23" y="18"/>
                  <a:pt x="23" y="19"/>
                </a:cubicBezTo>
                <a:cubicBezTo>
                  <a:pt x="22" y="19"/>
                  <a:pt x="22" y="19"/>
                  <a:pt x="21" y="19"/>
                </a:cubicBezTo>
                <a:cubicBezTo>
                  <a:pt x="21" y="19"/>
                  <a:pt x="20" y="19"/>
                  <a:pt x="20" y="18"/>
                </a:cubicBezTo>
                <a:cubicBezTo>
                  <a:pt x="21" y="18"/>
                  <a:pt x="22" y="18"/>
                  <a:pt x="21" y="18"/>
                </a:cubicBezTo>
                <a:cubicBezTo>
                  <a:pt x="21" y="17"/>
                  <a:pt x="19" y="17"/>
                  <a:pt x="19" y="17"/>
                </a:cubicBezTo>
                <a:cubicBezTo>
                  <a:pt x="19" y="17"/>
                  <a:pt x="18" y="17"/>
                  <a:pt x="18" y="18"/>
                </a:cubicBezTo>
                <a:cubicBezTo>
                  <a:pt x="18" y="18"/>
                  <a:pt x="19" y="18"/>
                  <a:pt x="19" y="18"/>
                </a:cubicBezTo>
                <a:cubicBezTo>
                  <a:pt x="19" y="18"/>
                  <a:pt x="19" y="18"/>
                  <a:pt x="19" y="19"/>
                </a:cubicBezTo>
                <a:cubicBezTo>
                  <a:pt x="20" y="19"/>
                  <a:pt x="20" y="19"/>
                  <a:pt x="20" y="19"/>
                </a:cubicBezTo>
                <a:cubicBezTo>
                  <a:pt x="19" y="20"/>
                  <a:pt x="15" y="20"/>
                  <a:pt x="15" y="18"/>
                </a:cubicBezTo>
                <a:cubicBezTo>
                  <a:pt x="15" y="18"/>
                  <a:pt x="15" y="18"/>
                  <a:pt x="14" y="18"/>
                </a:cubicBezTo>
                <a:cubicBezTo>
                  <a:pt x="14" y="18"/>
                  <a:pt x="13" y="18"/>
                  <a:pt x="13" y="18"/>
                </a:cubicBezTo>
                <a:cubicBezTo>
                  <a:pt x="12" y="19"/>
                  <a:pt x="11" y="18"/>
                  <a:pt x="10" y="18"/>
                </a:cubicBezTo>
                <a:cubicBezTo>
                  <a:pt x="10" y="18"/>
                  <a:pt x="9" y="19"/>
                  <a:pt x="9" y="20"/>
                </a:cubicBezTo>
                <a:cubicBezTo>
                  <a:pt x="8" y="20"/>
                  <a:pt x="8" y="20"/>
                  <a:pt x="7" y="21"/>
                </a:cubicBezTo>
                <a:cubicBezTo>
                  <a:pt x="7" y="21"/>
                  <a:pt x="7" y="22"/>
                  <a:pt x="7" y="23"/>
                </a:cubicBezTo>
                <a:cubicBezTo>
                  <a:pt x="6" y="23"/>
                  <a:pt x="5" y="23"/>
                  <a:pt x="5" y="23"/>
                </a:cubicBezTo>
                <a:cubicBezTo>
                  <a:pt x="5" y="24"/>
                  <a:pt x="5" y="24"/>
                  <a:pt x="5" y="25"/>
                </a:cubicBezTo>
                <a:cubicBezTo>
                  <a:pt x="5" y="26"/>
                  <a:pt x="5" y="27"/>
                  <a:pt x="5" y="27"/>
                </a:cubicBezTo>
                <a:cubicBezTo>
                  <a:pt x="5" y="28"/>
                  <a:pt x="4" y="29"/>
                  <a:pt x="5" y="29"/>
                </a:cubicBezTo>
                <a:cubicBezTo>
                  <a:pt x="7" y="29"/>
                  <a:pt x="8" y="28"/>
                  <a:pt x="10" y="28"/>
                </a:cubicBezTo>
                <a:cubicBezTo>
                  <a:pt x="11" y="28"/>
                  <a:pt x="13" y="27"/>
                  <a:pt x="12" y="29"/>
                </a:cubicBezTo>
                <a:cubicBezTo>
                  <a:pt x="12" y="29"/>
                  <a:pt x="11" y="29"/>
                  <a:pt x="11" y="29"/>
                </a:cubicBezTo>
                <a:cubicBezTo>
                  <a:pt x="11" y="30"/>
                  <a:pt x="10" y="30"/>
                  <a:pt x="10" y="31"/>
                </a:cubicBezTo>
                <a:cubicBezTo>
                  <a:pt x="10" y="31"/>
                  <a:pt x="10" y="31"/>
                  <a:pt x="10" y="30"/>
                </a:cubicBezTo>
                <a:cubicBezTo>
                  <a:pt x="10" y="30"/>
                  <a:pt x="10" y="31"/>
                  <a:pt x="10" y="31"/>
                </a:cubicBezTo>
                <a:cubicBezTo>
                  <a:pt x="10" y="31"/>
                  <a:pt x="10" y="31"/>
                  <a:pt x="10" y="31"/>
                </a:cubicBezTo>
                <a:cubicBezTo>
                  <a:pt x="11" y="31"/>
                  <a:pt x="11" y="32"/>
                  <a:pt x="11" y="32"/>
                </a:cubicBezTo>
                <a:cubicBezTo>
                  <a:pt x="12" y="32"/>
                  <a:pt x="12" y="33"/>
                  <a:pt x="12" y="33"/>
                </a:cubicBezTo>
                <a:cubicBezTo>
                  <a:pt x="12" y="34"/>
                  <a:pt x="11" y="33"/>
                  <a:pt x="12" y="34"/>
                </a:cubicBezTo>
                <a:cubicBezTo>
                  <a:pt x="12" y="35"/>
                  <a:pt x="12" y="35"/>
                  <a:pt x="13" y="35"/>
                </a:cubicBezTo>
                <a:cubicBezTo>
                  <a:pt x="13" y="35"/>
                  <a:pt x="14" y="35"/>
                  <a:pt x="14" y="35"/>
                </a:cubicBezTo>
                <a:cubicBezTo>
                  <a:pt x="14" y="35"/>
                  <a:pt x="13" y="35"/>
                  <a:pt x="13" y="35"/>
                </a:cubicBezTo>
                <a:cubicBezTo>
                  <a:pt x="13" y="36"/>
                  <a:pt x="13" y="36"/>
                  <a:pt x="13" y="36"/>
                </a:cubicBezTo>
                <a:cubicBezTo>
                  <a:pt x="13" y="36"/>
                  <a:pt x="13" y="36"/>
                  <a:pt x="13" y="36"/>
                </a:cubicBezTo>
                <a:cubicBezTo>
                  <a:pt x="12" y="36"/>
                  <a:pt x="13" y="37"/>
                  <a:pt x="12" y="37"/>
                </a:cubicBezTo>
                <a:cubicBezTo>
                  <a:pt x="12" y="37"/>
                  <a:pt x="11" y="36"/>
                  <a:pt x="11" y="37"/>
                </a:cubicBezTo>
                <a:cubicBezTo>
                  <a:pt x="11" y="37"/>
                  <a:pt x="12" y="39"/>
                  <a:pt x="12" y="38"/>
                </a:cubicBezTo>
                <a:cubicBezTo>
                  <a:pt x="12" y="38"/>
                  <a:pt x="12" y="38"/>
                  <a:pt x="12" y="38"/>
                </a:cubicBezTo>
                <a:cubicBezTo>
                  <a:pt x="12" y="39"/>
                  <a:pt x="13" y="39"/>
                  <a:pt x="13" y="39"/>
                </a:cubicBezTo>
                <a:cubicBezTo>
                  <a:pt x="12" y="39"/>
                  <a:pt x="12" y="39"/>
                  <a:pt x="12" y="39"/>
                </a:cubicBezTo>
                <a:cubicBezTo>
                  <a:pt x="12" y="39"/>
                  <a:pt x="13" y="40"/>
                  <a:pt x="14" y="40"/>
                </a:cubicBezTo>
                <a:cubicBezTo>
                  <a:pt x="14" y="40"/>
                  <a:pt x="15" y="40"/>
                  <a:pt x="15" y="40"/>
                </a:cubicBezTo>
                <a:cubicBezTo>
                  <a:pt x="15" y="40"/>
                  <a:pt x="15" y="40"/>
                  <a:pt x="15" y="40"/>
                </a:cubicBezTo>
                <a:cubicBezTo>
                  <a:pt x="14" y="40"/>
                  <a:pt x="14" y="40"/>
                  <a:pt x="14" y="40"/>
                </a:cubicBezTo>
                <a:cubicBezTo>
                  <a:pt x="13" y="40"/>
                  <a:pt x="12" y="41"/>
                  <a:pt x="12" y="41"/>
                </a:cubicBezTo>
                <a:cubicBezTo>
                  <a:pt x="11" y="39"/>
                  <a:pt x="11" y="41"/>
                  <a:pt x="11" y="41"/>
                </a:cubicBezTo>
                <a:cubicBezTo>
                  <a:pt x="10" y="41"/>
                  <a:pt x="10" y="40"/>
                  <a:pt x="10" y="40"/>
                </a:cubicBezTo>
                <a:cubicBezTo>
                  <a:pt x="10" y="39"/>
                  <a:pt x="10" y="40"/>
                  <a:pt x="10" y="39"/>
                </a:cubicBezTo>
                <a:cubicBezTo>
                  <a:pt x="11" y="39"/>
                  <a:pt x="10" y="39"/>
                  <a:pt x="10" y="38"/>
                </a:cubicBezTo>
                <a:cubicBezTo>
                  <a:pt x="9" y="38"/>
                  <a:pt x="8" y="37"/>
                  <a:pt x="8" y="38"/>
                </a:cubicBezTo>
                <a:cubicBezTo>
                  <a:pt x="8" y="38"/>
                  <a:pt x="8" y="39"/>
                  <a:pt x="8" y="40"/>
                </a:cubicBezTo>
                <a:cubicBezTo>
                  <a:pt x="8" y="40"/>
                  <a:pt x="9" y="40"/>
                  <a:pt x="9" y="40"/>
                </a:cubicBezTo>
                <a:cubicBezTo>
                  <a:pt x="9" y="40"/>
                  <a:pt x="9" y="40"/>
                  <a:pt x="9" y="40"/>
                </a:cubicBezTo>
                <a:cubicBezTo>
                  <a:pt x="9" y="40"/>
                  <a:pt x="9" y="41"/>
                  <a:pt x="8" y="41"/>
                </a:cubicBezTo>
                <a:cubicBezTo>
                  <a:pt x="8" y="42"/>
                  <a:pt x="8" y="41"/>
                  <a:pt x="8" y="41"/>
                </a:cubicBezTo>
                <a:cubicBezTo>
                  <a:pt x="8" y="41"/>
                  <a:pt x="7" y="41"/>
                  <a:pt x="7" y="41"/>
                </a:cubicBezTo>
                <a:cubicBezTo>
                  <a:pt x="7" y="41"/>
                  <a:pt x="8" y="41"/>
                  <a:pt x="7" y="42"/>
                </a:cubicBezTo>
                <a:cubicBezTo>
                  <a:pt x="7" y="42"/>
                  <a:pt x="7" y="42"/>
                  <a:pt x="7" y="42"/>
                </a:cubicBezTo>
                <a:cubicBezTo>
                  <a:pt x="8" y="42"/>
                  <a:pt x="8" y="43"/>
                  <a:pt x="8" y="42"/>
                </a:cubicBezTo>
                <a:cubicBezTo>
                  <a:pt x="8" y="43"/>
                  <a:pt x="9" y="42"/>
                  <a:pt x="10" y="43"/>
                </a:cubicBezTo>
                <a:cubicBezTo>
                  <a:pt x="10" y="43"/>
                  <a:pt x="10" y="44"/>
                  <a:pt x="10" y="43"/>
                </a:cubicBezTo>
                <a:cubicBezTo>
                  <a:pt x="10" y="43"/>
                  <a:pt x="10" y="44"/>
                  <a:pt x="10" y="44"/>
                </a:cubicBezTo>
                <a:cubicBezTo>
                  <a:pt x="11" y="44"/>
                  <a:pt x="11" y="43"/>
                  <a:pt x="11" y="43"/>
                </a:cubicBezTo>
                <a:cubicBezTo>
                  <a:pt x="11" y="42"/>
                  <a:pt x="11" y="43"/>
                  <a:pt x="12" y="42"/>
                </a:cubicBezTo>
                <a:cubicBezTo>
                  <a:pt x="12" y="42"/>
                  <a:pt x="13" y="44"/>
                  <a:pt x="13" y="44"/>
                </a:cubicBezTo>
                <a:cubicBezTo>
                  <a:pt x="13" y="44"/>
                  <a:pt x="13" y="44"/>
                  <a:pt x="13" y="44"/>
                </a:cubicBezTo>
                <a:cubicBezTo>
                  <a:pt x="14" y="44"/>
                  <a:pt x="14" y="44"/>
                  <a:pt x="14" y="44"/>
                </a:cubicBezTo>
                <a:cubicBezTo>
                  <a:pt x="15" y="45"/>
                  <a:pt x="16" y="45"/>
                  <a:pt x="16" y="45"/>
                </a:cubicBezTo>
                <a:cubicBezTo>
                  <a:pt x="17" y="46"/>
                  <a:pt x="16" y="46"/>
                  <a:pt x="16" y="47"/>
                </a:cubicBezTo>
                <a:cubicBezTo>
                  <a:pt x="16" y="47"/>
                  <a:pt x="17" y="47"/>
                  <a:pt x="16" y="48"/>
                </a:cubicBezTo>
                <a:cubicBezTo>
                  <a:pt x="16" y="48"/>
                  <a:pt x="15" y="48"/>
                  <a:pt x="15" y="48"/>
                </a:cubicBezTo>
                <a:cubicBezTo>
                  <a:pt x="14" y="49"/>
                  <a:pt x="16" y="49"/>
                  <a:pt x="16" y="49"/>
                </a:cubicBezTo>
                <a:cubicBezTo>
                  <a:pt x="16" y="49"/>
                  <a:pt x="16" y="50"/>
                  <a:pt x="16" y="50"/>
                </a:cubicBezTo>
                <a:cubicBezTo>
                  <a:pt x="16" y="50"/>
                  <a:pt x="16" y="50"/>
                  <a:pt x="16" y="51"/>
                </a:cubicBezTo>
                <a:cubicBezTo>
                  <a:pt x="17" y="50"/>
                  <a:pt x="16" y="51"/>
                  <a:pt x="16" y="52"/>
                </a:cubicBezTo>
                <a:cubicBezTo>
                  <a:pt x="16" y="52"/>
                  <a:pt x="17" y="52"/>
                  <a:pt x="18" y="52"/>
                </a:cubicBezTo>
                <a:cubicBezTo>
                  <a:pt x="18" y="51"/>
                  <a:pt x="19" y="51"/>
                  <a:pt x="18" y="52"/>
                </a:cubicBezTo>
                <a:cubicBezTo>
                  <a:pt x="18" y="52"/>
                  <a:pt x="19" y="52"/>
                  <a:pt x="19" y="52"/>
                </a:cubicBezTo>
                <a:cubicBezTo>
                  <a:pt x="19" y="52"/>
                  <a:pt x="19" y="52"/>
                  <a:pt x="19" y="53"/>
                </a:cubicBezTo>
                <a:cubicBezTo>
                  <a:pt x="19" y="53"/>
                  <a:pt x="20" y="52"/>
                  <a:pt x="19" y="53"/>
                </a:cubicBezTo>
                <a:cubicBezTo>
                  <a:pt x="19" y="53"/>
                  <a:pt x="20" y="52"/>
                  <a:pt x="20" y="53"/>
                </a:cubicBezTo>
                <a:cubicBezTo>
                  <a:pt x="20" y="53"/>
                  <a:pt x="20" y="54"/>
                  <a:pt x="20" y="54"/>
                </a:cubicBezTo>
                <a:cubicBezTo>
                  <a:pt x="20" y="53"/>
                  <a:pt x="19" y="54"/>
                  <a:pt x="20" y="54"/>
                </a:cubicBezTo>
                <a:cubicBezTo>
                  <a:pt x="19" y="54"/>
                  <a:pt x="19" y="55"/>
                  <a:pt x="18" y="54"/>
                </a:cubicBezTo>
                <a:cubicBezTo>
                  <a:pt x="18" y="54"/>
                  <a:pt x="18" y="54"/>
                  <a:pt x="18" y="54"/>
                </a:cubicBezTo>
                <a:cubicBezTo>
                  <a:pt x="18" y="55"/>
                  <a:pt x="17" y="54"/>
                  <a:pt x="17" y="54"/>
                </a:cubicBezTo>
                <a:cubicBezTo>
                  <a:pt x="17" y="54"/>
                  <a:pt x="17" y="55"/>
                  <a:pt x="17" y="55"/>
                </a:cubicBezTo>
                <a:cubicBezTo>
                  <a:pt x="17" y="55"/>
                  <a:pt x="17" y="56"/>
                  <a:pt x="17" y="56"/>
                </a:cubicBezTo>
                <a:cubicBezTo>
                  <a:pt x="18" y="57"/>
                  <a:pt x="18" y="55"/>
                  <a:pt x="18" y="56"/>
                </a:cubicBezTo>
                <a:cubicBezTo>
                  <a:pt x="18" y="55"/>
                  <a:pt x="19" y="56"/>
                  <a:pt x="20" y="56"/>
                </a:cubicBezTo>
                <a:cubicBezTo>
                  <a:pt x="20" y="56"/>
                  <a:pt x="21" y="56"/>
                  <a:pt x="21" y="56"/>
                </a:cubicBezTo>
                <a:cubicBezTo>
                  <a:pt x="22" y="56"/>
                  <a:pt x="24" y="55"/>
                  <a:pt x="25" y="56"/>
                </a:cubicBezTo>
                <a:cubicBezTo>
                  <a:pt x="25" y="55"/>
                  <a:pt x="27" y="55"/>
                  <a:pt x="27" y="55"/>
                </a:cubicBezTo>
                <a:cubicBezTo>
                  <a:pt x="27" y="56"/>
                  <a:pt x="25" y="56"/>
                  <a:pt x="25" y="57"/>
                </a:cubicBezTo>
                <a:cubicBezTo>
                  <a:pt x="25" y="56"/>
                  <a:pt x="25" y="56"/>
                  <a:pt x="24" y="56"/>
                </a:cubicBezTo>
                <a:cubicBezTo>
                  <a:pt x="24" y="56"/>
                  <a:pt x="24" y="56"/>
                  <a:pt x="24" y="56"/>
                </a:cubicBezTo>
                <a:cubicBezTo>
                  <a:pt x="24" y="57"/>
                  <a:pt x="24" y="57"/>
                  <a:pt x="24" y="57"/>
                </a:cubicBezTo>
                <a:cubicBezTo>
                  <a:pt x="24" y="57"/>
                  <a:pt x="24" y="57"/>
                  <a:pt x="24" y="57"/>
                </a:cubicBezTo>
                <a:cubicBezTo>
                  <a:pt x="25" y="58"/>
                  <a:pt x="23" y="58"/>
                  <a:pt x="22" y="58"/>
                </a:cubicBezTo>
                <a:cubicBezTo>
                  <a:pt x="22" y="58"/>
                  <a:pt x="22" y="58"/>
                  <a:pt x="21" y="58"/>
                </a:cubicBezTo>
                <a:cubicBezTo>
                  <a:pt x="21" y="58"/>
                  <a:pt x="20" y="58"/>
                  <a:pt x="20" y="58"/>
                </a:cubicBezTo>
                <a:cubicBezTo>
                  <a:pt x="20" y="59"/>
                  <a:pt x="19" y="58"/>
                  <a:pt x="19" y="59"/>
                </a:cubicBezTo>
                <a:cubicBezTo>
                  <a:pt x="18" y="59"/>
                  <a:pt x="19" y="59"/>
                  <a:pt x="18" y="59"/>
                </a:cubicBezTo>
                <a:cubicBezTo>
                  <a:pt x="18" y="60"/>
                  <a:pt x="20" y="59"/>
                  <a:pt x="20" y="59"/>
                </a:cubicBezTo>
                <a:cubicBezTo>
                  <a:pt x="20" y="59"/>
                  <a:pt x="21" y="60"/>
                  <a:pt x="21" y="59"/>
                </a:cubicBezTo>
                <a:cubicBezTo>
                  <a:pt x="21" y="59"/>
                  <a:pt x="21" y="59"/>
                  <a:pt x="21" y="59"/>
                </a:cubicBezTo>
                <a:cubicBezTo>
                  <a:pt x="22" y="58"/>
                  <a:pt x="24" y="58"/>
                  <a:pt x="24" y="58"/>
                </a:cubicBezTo>
                <a:cubicBezTo>
                  <a:pt x="25" y="58"/>
                  <a:pt x="25" y="58"/>
                  <a:pt x="25" y="58"/>
                </a:cubicBezTo>
                <a:cubicBezTo>
                  <a:pt x="25" y="58"/>
                  <a:pt x="25" y="58"/>
                  <a:pt x="25" y="58"/>
                </a:cubicBezTo>
                <a:cubicBezTo>
                  <a:pt x="25" y="58"/>
                  <a:pt x="25" y="59"/>
                  <a:pt x="25" y="59"/>
                </a:cubicBezTo>
                <a:cubicBezTo>
                  <a:pt x="25" y="59"/>
                  <a:pt x="24" y="59"/>
                  <a:pt x="24" y="59"/>
                </a:cubicBezTo>
                <a:cubicBezTo>
                  <a:pt x="24" y="60"/>
                  <a:pt x="25" y="59"/>
                  <a:pt x="25" y="60"/>
                </a:cubicBezTo>
                <a:cubicBezTo>
                  <a:pt x="25" y="59"/>
                  <a:pt x="25" y="60"/>
                  <a:pt x="24" y="60"/>
                </a:cubicBezTo>
                <a:cubicBezTo>
                  <a:pt x="24" y="60"/>
                  <a:pt x="24" y="60"/>
                  <a:pt x="24" y="60"/>
                </a:cubicBezTo>
                <a:cubicBezTo>
                  <a:pt x="24" y="60"/>
                  <a:pt x="24" y="60"/>
                  <a:pt x="24" y="60"/>
                </a:cubicBezTo>
                <a:cubicBezTo>
                  <a:pt x="25" y="60"/>
                  <a:pt x="25" y="60"/>
                  <a:pt x="25" y="60"/>
                </a:cubicBezTo>
                <a:cubicBezTo>
                  <a:pt x="25" y="59"/>
                  <a:pt x="26" y="58"/>
                  <a:pt x="27" y="59"/>
                </a:cubicBezTo>
                <a:cubicBezTo>
                  <a:pt x="27" y="58"/>
                  <a:pt x="26" y="58"/>
                  <a:pt x="26" y="58"/>
                </a:cubicBezTo>
                <a:cubicBezTo>
                  <a:pt x="26" y="58"/>
                  <a:pt x="26" y="57"/>
                  <a:pt x="27" y="58"/>
                </a:cubicBezTo>
                <a:cubicBezTo>
                  <a:pt x="26" y="58"/>
                  <a:pt x="27" y="58"/>
                  <a:pt x="27" y="58"/>
                </a:cubicBezTo>
                <a:cubicBezTo>
                  <a:pt x="27" y="58"/>
                  <a:pt x="27" y="58"/>
                  <a:pt x="28" y="58"/>
                </a:cubicBezTo>
                <a:cubicBezTo>
                  <a:pt x="28" y="58"/>
                  <a:pt x="27" y="57"/>
                  <a:pt x="27" y="57"/>
                </a:cubicBezTo>
                <a:cubicBezTo>
                  <a:pt x="27" y="57"/>
                  <a:pt x="28" y="57"/>
                  <a:pt x="28" y="57"/>
                </a:cubicBezTo>
                <a:cubicBezTo>
                  <a:pt x="28" y="57"/>
                  <a:pt x="28" y="58"/>
                  <a:pt x="29" y="58"/>
                </a:cubicBezTo>
                <a:cubicBezTo>
                  <a:pt x="28" y="57"/>
                  <a:pt x="29" y="58"/>
                  <a:pt x="29" y="58"/>
                </a:cubicBezTo>
                <a:cubicBezTo>
                  <a:pt x="30" y="58"/>
                  <a:pt x="29" y="59"/>
                  <a:pt x="30" y="59"/>
                </a:cubicBezTo>
                <a:cubicBezTo>
                  <a:pt x="30" y="58"/>
                  <a:pt x="31" y="59"/>
                  <a:pt x="32" y="60"/>
                </a:cubicBezTo>
                <a:cubicBezTo>
                  <a:pt x="31" y="60"/>
                  <a:pt x="32" y="60"/>
                  <a:pt x="32" y="60"/>
                </a:cubicBezTo>
                <a:cubicBezTo>
                  <a:pt x="32" y="60"/>
                  <a:pt x="32" y="59"/>
                  <a:pt x="32" y="59"/>
                </a:cubicBezTo>
                <a:cubicBezTo>
                  <a:pt x="32" y="60"/>
                  <a:pt x="32" y="59"/>
                  <a:pt x="32" y="59"/>
                </a:cubicBezTo>
                <a:cubicBezTo>
                  <a:pt x="32" y="59"/>
                  <a:pt x="32" y="59"/>
                  <a:pt x="32" y="58"/>
                </a:cubicBezTo>
                <a:cubicBezTo>
                  <a:pt x="33" y="59"/>
                  <a:pt x="34" y="59"/>
                  <a:pt x="34" y="60"/>
                </a:cubicBezTo>
                <a:cubicBezTo>
                  <a:pt x="34" y="60"/>
                  <a:pt x="34" y="60"/>
                  <a:pt x="34" y="60"/>
                </a:cubicBezTo>
                <a:cubicBezTo>
                  <a:pt x="33" y="60"/>
                  <a:pt x="34" y="60"/>
                  <a:pt x="33" y="61"/>
                </a:cubicBezTo>
                <a:cubicBezTo>
                  <a:pt x="34" y="61"/>
                  <a:pt x="34" y="60"/>
                  <a:pt x="34" y="61"/>
                </a:cubicBezTo>
                <a:cubicBezTo>
                  <a:pt x="34" y="61"/>
                  <a:pt x="34" y="61"/>
                  <a:pt x="34" y="62"/>
                </a:cubicBezTo>
                <a:cubicBezTo>
                  <a:pt x="35" y="62"/>
                  <a:pt x="34" y="62"/>
                  <a:pt x="34" y="62"/>
                </a:cubicBezTo>
                <a:cubicBezTo>
                  <a:pt x="35" y="63"/>
                  <a:pt x="35" y="63"/>
                  <a:pt x="36" y="63"/>
                </a:cubicBezTo>
                <a:cubicBezTo>
                  <a:pt x="36" y="63"/>
                  <a:pt x="36" y="64"/>
                  <a:pt x="37" y="64"/>
                </a:cubicBezTo>
                <a:cubicBezTo>
                  <a:pt x="37" y="64"/>
                  <a:pt x="37" y="63"/>
                  <a:pt x="37" y="64"/>
                </a:cubicBezTo>
                <a:cubicBezTo>
                  <a:pt x="38" y="64"/>
                  <a:pt x="38" y="64"/>
                  <a:pt x="38" y="64"/>
                </a:cubicBezTo>
                <a:cubicBezTo>
                  <a:pt x="39" y="64"/>
                  <a:pt x="40" y="64"/>
                  <a:pt x="39" y="65"/>
                </a:cubicBezTo>
                <a:cubicBezTo>
                  <a:pt x="39" y="65"/>
                  <a:pt x="39" y="65"/>
                  <a:pt x="39" y="65"/>
                </a:cubicBezTo>
                <a:cubicBezTo>
                  <a:pt x="39" y="65"/>
                  <a:pt x="40" y="65"/>
                  <a:pt x="40" y="65"/>
                </a:cubicBezTo>
                <a:cubicBezTo>
                  <a:pt x="40" y="65"/>
                  <a:pt x="41" y="65"/>
                  <a:pt x="40" y="65"/>
                </a:cubicBezTo>
                <a:cubicBezTo>
                  <a:pt x="41" y="65"/>
                  <a:pt x="41" y="64"/>
                  <a:pt x="42" y="64"/>
                </a:cubicBezTo>
                <a:cubicBezTo>
                  <a:pt x="42" y="64"/>
                  <a:pt x="43" y="64"/>
                  <a:pt x="43" y="64"/>
                </a:cubicBezTo>
                <a:cubicBezTo>
                  <a:pt x="43" y="64"/>
                  <a:pt x="44" y="64"/>
                  <a:pt x="44" y="64"/>
                </a:cubicBezTo>
                <a:cubicBezTo>
                  <a:pt x="44" y="63"/>
                  <a:pt x="45" y="63"/>
                  <a:pt x="45" y="63"/>
                </a:cubicBezTo>
                <a:cubicBezTo>
                  <a:pt x="46" y="64"/>
                  <a:pt x="46" y="64"/>
                  <a:pt x="46" y="64"/>
                </a:cubicBezTo>
                <a:cubicBezTo>
                  <a:pt x="46" y="64"/>
                  <a:pt x="46" y="64"/>
                  <a:pt x="46" y="64"/>
                </a:cubicBezTo>
                <a:cubicBezTo>
                  <a:pt x="46" y="64"/>
                  <a:pt x="47" y="63"/>
                  <a:pt x="47" y="63"/>
                </a:cubicBezTo>
                <a:cubicBezTo>
                  <a:pt x="47" y="63"/>
                  <a:pt x="47" y="62"/>
                  <a:pt x="47" y="62"/>
                </a:cubicBezTo>
                <a:cubicBezTo>
                  <a:pt x="47" y="62"/>
                  <a:pt x="47" y="61"/>
                  <a:pt x="47" y="61"/>
                </a:cubicBezTo>
                <a:cubicBezTo>
                  <a:pt x="48" y="60"/>
                  <a:pt x="47" y="56"/>
                  <a:pt x="48" y="57"/>
                </a:cubicBezTo>
                <a:cubicBezTo>
                  <a:pt x="49" y="58"/>
                  <a:pt x="50" y="57"/>
                  <a:pt x="51" y="57"/>
                </a:cubicBezTo>
                <a:cubicBezTo>
                  <a:pt x="52" y="57"/>
                  <a:pt x="52" y="57"/>
                  <a:pt x="53" y="58"/>
                </a:cubicBezTo>
                <a:cubicBezTo>
                  <a:pt x="53" y="58"/>
                  <a:pt x="54" y="58"/>
                  <a:pt x="54" y="58"/>
                </a:cubicBezTo>
                <a:cubicBezTo>
                  <a:pt x="55" y="58"/>
                  <a:pt x="56" y="59"/>
                  <a:pt x="57" y="59"/>
                </a:cubicBezTo>
                <a:cubicBezTo>
                  <a:pt x="57" y="59"/>
                  <a:pt x="58" y="60"/>
                  <a:pt x="59" y="60"/>
                </a:cubicBezTo>
                <a:cubicBezTo>
                  <a:pt x="60" y="61"/>
                  <a:pt x="61" y="61"/>
                  <a:pt x="62" y="62"/>
                </a:cubicBezTo>
                <a:cubicBezTo>
                  <a:pt x="62" y="62"/>
                  <a:pt x="63" y="63"/>
                  <a:pt x="63" y="64"/>
                </a:cubicBezTo>
                <a:cubicBezTo>
                  <a:pt x="65" y="65"/>
                  <a:pt x="67" y="67"/>
                  <a:pt x="69" y="66"/>
                </a:cubicBezTo>
                <a:cubicBezTo>
                  <a:pt x="69" y="66"/>
                  <a:pt x="69" y="66"/>
                  <a:pt x="70" y="66"/>
                </a:cubicBezTo>
                <a:cubicBezTo>
                  <a:pt x="70" y="66"/>
                  <a:pt x="71" y="66"/>
                  <a:pt x="71" y="66"/>
                </a:cubicBezTo>
                <a:cubicBezTo>
                  <a:pt x="71" y="66"/>
                  <a:pt x="71" y="65"/>
                  <a:pt x="71" y="65"/>
                </a:cubicBezTo>
                <a:cubicBezTo>
                  <a:pt x="72" y="65"/>
                  <a:pt x="72" y="65"/>
                  <a:pt x="72" y="65"/>
                </a:cubicBezTo>
                <a:cubicBezTo>
                  <a:pt x="72" y="65"/>
                  <a:pt x="75" y="65"/>
                  <a:pt x="75" y="65"/>
                </a:cubicBezTo>
                <a:cubicBezTo>
                  <a:pt x="75" y="65"/>
                  <a:pt x="75" y="65"/>
                  <a:pt x="76" y="65"/>
                </a:cubicBezTo>
                <a:cubicBezTo>
                  <a:pt x="76" y="64"/>
                  <a:pt x="76" y="65"/>
                  <a:pt x="76" y="65"/>
                </a:cubicBezTo>
                <a:cubicBezTo>
                  <a:pt x="76" y="65"/>
                  <a:pt x="77" y="64"/>
                  <a:pt x="77" y="64"/>
                </a:cubicBezTo>
                <a:cubicBezTo>
                  <a:pt x="77" y="64"/>
                  <a:pt x="77" y="64"/>
                  <a:pt x="77" y="64"/>
                </a:cubicBezTo>
                <a:cubicBezTo>
                  <a:pt x="78" y="63"/>
                  <a:pt x="79" y="64"/>
                  <a:pt x="78" y="64"/>
                </a:cubicBezTo>
                <a:cubicBezTo>
                  <a:pt x="79" y="64"/>
                  <a:pt x="79" y="64"/>
                  <a:pt x="79" y="63"/>
                </a:cubicBezTo>
                <a:cubicBezTo>
                  <a:pt x="79" y="64"/>
                  <a:pt x="79" y="64"/>
                  <a:pt x="79" y="64"/>
                </a:cubicBezTo>
                <a:cubicBezTo>
                  <a:pt x="79" y="63"/>
                  <a:pt x="79" y="63"/>
                  <a:pt x="79" y="63"/>
                </a:cubicBezTo>
                <a:cubicBezTo>
                  <a:pt x="80" y="63"/>
                  <a:pt x="80" y="62"/>
                  <a:pt x="80" y="62"/>
                </a:cubicBezTo>
                <a:cubicBezTo>
                  <a:pt x="81" y="61"/>
                  <a:pt x="81" y="60"/>
                  <a:pt x="82" y="60"/>
                </a:cubicBezTo>
                <a:cubicBezTo>
                  <a:pt x="83" y="59"/>
                  <a:pt x="84" y="58"/>
                  <a:pt x="85" y="58"/>
                </a:cubicBezTo>
                <a:cubicBezTo>
                  <a:pt x="86" y="58"/>
                  <a:pt x="87" y="58"/>
                  <a:pt x="87" y="59"/>
                </a:cubicBezTo>
                <a:cubicBezTo>
                  <a:pt x="88" y="58"/>
                  <a:pt x="90" y="60"/>
                  <a:pt x="91" y="60"/>
                </a:cubicBezTo>
                <a:cubicBezTo>
                  <a:pt x="91" y="61"/>
                  <a:pt x="91" y="60"/>
                  <a:pt x="92" y="60"/>
                </a:cubicBezTo>
                <a:cubicBezTo>
                  <a:pt x="92" y="60"/>
                  <a:pt x="92" y="60"/>
                  <a:pt x="93" y="60"/>
                </a:cubicBezTo>
                <a:cubicBezTo>
                  <a:pt x="94" y="60"/>
                  <a:pt x="93" y="59"/>
                  <a:pt x="94" y="59"/>
                </a:cubicBezTo>
                <a:cubicBezTo>
                  <a:pt x="94" y="59"/>
                  <a:pt x="94" y="59"/>
                  <a:pt x="93" y="60"/>
                </a:cubicBezTo>
                <a:cubicBezTo>
                  <a:pt x="93" y="59"/>
                  <a:pt x="94" y="59"/>
                  <a:pt x="94" y="59"/>
                </a:cubicBezTo>
                <a:cubicBezTo>
                  <a:pt x="94" y="59"/>
                  <a:pt x="94" y="59"/>
                  <a:pt x="93" y="59"/>
                </a:cubicBezTo>
                <a:cubicBezTo>
                  <a:pt x="93" y="59"/>
                  <a:pt x="93" y="59"/>
                  <a:pt x="93" y="59"/>
                </a:cubicBezTo>
                <a:cubicBezTo>
                  <a:pt x="93" y="59"/>
                  <a:pt x="93" y="58"/>
                  <a:pt x="93" y="59"/>
                </a:cubicBezTo>
                <a:cubicBezTo>
                  <a:pt x="93" y="58"/>
                  <a:pt x="95" y="58"/>
                  <a:pt x="95" y="58"/>
                </a:cubicBezTo>
                <a:cubicBezTo>
                  <a:pt x="96" y="58"/>
                  <a:pt x="96" y="57"/>
                  <a:pt x="96" y="57"/>
                </a:cubicBezTo>
                <a:cubicBezTo>
                  <a:pt x="97" y="56"/>
                  <a:pt x="98" y="57"/>
                  <a:pt x="98" y="58"/>
                </a:cubicBezTo>
                <a:cubicBezTo>
                  <a:pt x="98" y="58"/>
                  <a:pt x="99" y="58"/>
                  <a:pt x="99" y="59"/>
                </a:cubicBezTo>
                <a:cubicBezTo>
                  <a:pt x="98" y="59"/>
                  <a:pt x="99" y="59"/>
                  <a:pt x="99" y="59"/>
                </a:cubicBezTo>
                <a:cubicBezTo>
                  <a:pt x="99" y="60"/>
                  <a:pt x="97" y="61"/>
                  <a:pt x="97" y="61"/>
                </a:cubicBezTo>
                <a:cubicBezTo>
                  <a:pt x="96" y="62"/>
                  <a:pt x="95" y="63"/>
                  <a:pt x="95" y="63"/>
                </a:cubicBezTo>
                <a:cubicBezTo>
                  <a:pt x="95" y="64"/>
                  <a:pt x="96" y="65"/>
                  <a:pt x="97" y="65"/>
                </a:cubicBezTo>
                <a:cubicBezTo>
                  <a:pt x="97" y="66"/>
                  <a:pt x="97" y="67"/>
                  <a:pt x="97" y="67"/>
                </a:cubicBezTo>
                <a:cubicBezTo>
                  <a:pt x="97" y="67"/>
                  <a:pt x="97" y="67"/>
                  <a:pt x="97" y="67"/>
                </a:cubicBezTo>
                <a:cubicBezTo>
                  <a:pt x="98" y="68"/>
                  <a:pt x="98" y="68"/>
                  <a:pt x="98" y="68"/>
                </a:cubicBezTo>
                <a:cubicBezTo>
                  <a:pt x="98" y="68"/>
                  <a:pt x="98" y="68"/>
                  <a:pt x="99" y="68"/>
                </a:cubicBezTo>
                <a:cubicBezTo>
                  <a:pt x="99" y="68"/>
                  <a:pt x="99" y="68"/>
                  <a:pt x="99" y="69"/>
                </a:cubicBezTo>
                <a:cubicBezTo>
                  <a:pt x="99" y="69"/>
                  <a:pt x="99" y="68"/>
                  <a:pt x="99" y="67"/>
                </a:cubicBezTo>
                <a:cubicBezTo>
                  <a:pt x="100" y="67"/>
                  <a:pt x="100" y="67"/>
                  <a:pt x="100" y="67"/>
                </a:cubicBezTo>
                <a:cubicBezTo>
                  <a:pt x="100" y="67"/>
                  <a:pt x="100" y="67"/>
                  <a:pt x="100" y="67"/>
                </a:cubicBezTo>
                <a:cubicBezTo>
                  <a:pt x="101" y="67"/>
                  <a:pt x="101" y="67"/>
                  <a:pt x="101" y="66"/>
                </a:cubicBezTo>
                <a:cubicBezTo>
                  <a:pt x="101" y="66"/>
                  <a:pt x="101" y="64"/>
                  <a:pt x="101" y="64"/>
                </a:cubicBezTo>
                <a:cubicBezTo>
                  <a:pt x="101" y="64"/>
                  <a:pt x="101" y="64"/>
                  <a:pt x="102" y="64"/>
                </a:cubicBezTo>
                <a:cubicBezTo>
                  <a:pt x="102" y="64"/>
                  <a:pt x="103" y="64"/>
                  <a:pt x="103" y="64"/>
                </a:cubicBezTo>
                <a:cubicBezTo>
                  <a:pt x="104" y="63"/>
                  <a:pt x="103" y="63"/>
                  <a:pt x="103" y="63"/>
                </a:cubicBezTo>
                <a:cubicBezTo>
                  <a:pt x="103" y="62"/>
                  <a:pt x="102" y="62"/>
                  <a:pt x="102" y="62"/>
                </a:cubicBezTo>
                <a:cubicBezTo>
                  <a:pt x="102" y="61"/>
                  <a:pt x="102" y="61"/>
                  <a:pt x="102" y="60"/>
                </a:cubicBezTo>
                <a:cubicBezTo>
                  <a:pt x="102" y="60"/>
                  <a:pt x="102" y="60"/>
                  <a:pt x="102" y="60"/>
                </a:cubicBezTo>
                <a:cubicBezTo>
                  <a:pt x="102" y="59"/>
                  <a:pt x="102" y="59"/>
                  <a:pt x="102" y="59"/>
                </a:cubicBezTo>
                <a:cubicBezTo>
                  <a:pt x="102" y="58"/>
                  <a:pt x="103" y="58"/>
                  <a:pt x="103" y="57"/>
                </a:cubicBezTo>
                <a:cubicBezTo>
                  <a:pt x="103" y="58"/>
                  <a:pt x="104" y="58"/>
                  <a:pt x="105" y="58"/>
                </a:cubicBezTo>
                <a:cubicBezTo>
                  <a:pt x="105" y="58"/>
                  <a:pt x="106" y="58"/>
                  <a:pt x="106" y="59"/>
                </a:cubicBezTo>
                <a:cubicBezTo>
                  <a:pt x="106" y="59"/>
                  <a:pt x="106" y="60"/>
                  <a:pt x="107" y="59"/>
                </a:cubicBezTo>
                <a:cubicBezTo>
                  <a:pt x="108" y="59"/>
                  <a:pt x="109" y="60"/>
                  <a:pt x="110" y="60"/>
                </a:cubicBezTo>
                <a:cubicBezTo>
                  <a:pt x="111" y="59"/>
                  <a:pt x="111" y="59"/>
                  <a:pt x="112" y="59"/>
                </a:cubicBezTo>
                <a:cubicBezTo>
                  <a:pt x="112" y="58"/>
                  <a:pt x="113" y="58"/>
                  <a:pt x="114" y="58"/>
                </a:cubicBezTo>
                <a:cubicBezTo>
                  <a:pt x="115" y="58"/>
                  <a:pt x="116" y="57"/>
                  <a:pt x="117" y="57"/>
                </a:cubicBezTo>
                <a:cubicBezTo>
                  <a:pt x="118" y="57"/>
                  <a:pt x="119" y="57"/>
                  <a:pt x="120" y="58"/>
                </a:cubicBezTo>
                <a:cubicBezTo>
                  <a:pt x="121" y="59"/>
                  <a:pt x="122" y="59"/>
                  <a:pt x="123" y="59"/>
                </a:cubicBezTo>
                <a:cubicBezTo>
                  <a:pt x="124" y="59"/>
                  <a:pt x="126" y="59"/>
                  <a:pt x="127" y="59"/>
                </a:cubicBezTo>
                <a:cubicBezTo>
                  <a:pt x="130" y="59"/>
                  <a:pt x="133" y="58"/>
                  <a:pt x="135" y="57"/>
                </a:cubicBezTo>
                <a:cubicBezTo>
                  <a:pt x="137" y="55"/>
                  <a:pt x="140" y="54"/>
                  <a:pt x="143" y="55"/>
                </a:cubicBezTo>
                <a:cubicBezTo>
                  <a:pt x="144" y="55"/>
                  <a:pt x="145" y="55"/>
                  <a:pt x="147" y="55"/>
                </a:cubicBezTo>
                <a:cubicBezTo>
                  <a:pt x="148" y="54"/>
                  <a:pt x="149" y="54"/>
                  <a:pt x="150" y="54"/>
                </a:cubicBezTo>
                <a:cubicBezTo>
                  <a:pt x="151" y="54"/>
                  <a:pt x="152" y="53"/>
                  <a:pt x="152" y="53"/>
                </a:cubicBezTo>
                <a:cubicBezTo>
                  <a:pt x="153" y="52"/>
                  <a:pt x="153" y="52"/>
                  <a:pt x="153" y="52"/>
                </a:cubicBezTo>
                <a:cubicBezTo>
                  <a:pt x="153" y="53"/>
                  <a:pt x="153" y="53"/>
                  <a:pt x="154" y="53"/>
                </a:cubicBezTo>
                <a:cubicBezTo>
                  <a:pt x="154" y="53"/>
                  <a:pt x="154" y="54"/>
                  <a:pt x="154" y="54"/>
                </a:cubicBezTo>
                <a:cubicBezTo>
                  <a:pt x="154" y="54"/>
                  <a:pt x="154" y="54"/>
                  <a:pt x="154" y="54"/>
                </a:cubicBezTo>
                <a:cubicBezTo>
                  <a:pt x="155" y="54"/>
                  <a:pt x="156" y="54"/>
                  <a:pt x="156" y="54"/>
                </a:cubicBezTo>
                <a:cubicBezTo>
                  <a:pt x="156" y="53"/>
                  <a:pt x="157" y="52"/>
                  <a:pt x="157" y="52"/>
                </a:cubicBezTo>
                <a:cubicBezTo>
                  <a:pt x="157" y="51"/>
                  <a:pt x="158" y="52"/>
                  <a:pt x="158" y="52"/>
                </a:cubicBezTo>
                <a:cubicBezTo>
                  <a:pt x="159" y="52"/>
                  <a:pt x="159" y="52"/>
                  <a:pt x="160" y="52"/>
                </a:cubicBezTo>
                <a:cubicBezTo>
                  <a:pt x="161" y="51"/>
                  <a:pt x="161" y="52"/>
                  <a:pt x="162" y="52"/>
                </a:cubicBezTo>
                <a:cubicBezTo>
                  <a:pt x="163" y="53"/>
                  <a:pt x="162" y="52"/>
                  <a:pt x="163" y="52"/>
                </a:cubicBezTo>
                <a:cubicBezTo>
                  <a:pt x="163" y="52"/>
                  <a:pt x="163" y="52"/>
                  <a:pt x="163" y="53"/>
                </a:cubicBezTo>
                <a:cubicBezTo>
                  <a:pt x="164" y="53"/>
                  <a:pt x="165" y="53"/>
                  <a:pt x="165" y="53"/>
                </a:cubicBezTo>
                <a:cubicBezTo>
                  <a:pt x="166" y="53"/>
                  <a:pt x="167" y="53"/>
                  <a:pt x="167" y="53"/>
                </a:cubicBezTo>
                <a:cubicBezTo>
                  <a:pt x="168" y="53"/>
                  <a:pt x="168" y="52"/>
                  <a:pt x="169" y="52"/>
                </a:cubicBezTo>
                <a:cubicBezTo>
                  <a:pt x="169" y="52"/>
                  <a:pt x="170" y="52"/>
                  <a:pt x="170" y="52"/>
                </a:cubicBezTo>
                <a:cubicBezTo>
                  <a:pt x="172" y="53"/>
                  <a:pt x="170" y="54"/>
                  <a:pt x="171" y="55"/>
                </a:cubicBezTo>
                <a:cubicBezTo>
                  <a:pt x="171" y="56"/>
                  <a:pt x="172" y="56"/>
                  <a:pt x="172" y="56"/>
                </a:cubicBezTo>
                <a:cubicBezTo>
                  <a:pt x="172" y="55"/>
                  <a:pt x="173" y="55"/>
                  <a:pt x="173" y="55"/>
                </a:cubicBezTo>
                <a:cubicBezTo>
                  <a:pt x="173" y="55"/>
                  <a:pt x="174" y="54"/>
                  <a:pt x="175" y="54"/>
                </a:cubicBezTo>
                <a:cubicBezTo>
                  <a:pt x="175" y="54"/>
                  <a:pt x="176" y="54"/>
                  <a:pt x="176" y="54"/>
                </a:cubicBezTo>
                <a:cubicBezTo>
                  <a:pt x="176" y="54"/>
                  <a:pt x="176" y="53"/>
                  <a:pt x="176" y="53"/>
                </a:cubicBezTo>
                <a:cubicBezTo>
                  <a:pt x="176" y="53"/>
                  <a:pt x="176" y="53"/>
                  <a:pt x="176" y="5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3" name="Tunisia"/>
          <p:cNvSpPr>
            <a:spLocks noEditPoints="1"/>
          </p:cNvSpPr>
          <p:nvPr/>
        </p:nvSpPr>
        <p:spPr bwMode="auto">
          <a:xfrm>
            <a:off x="6059073" y="3169994"/>
            <a:ext cx="137994" cy="292990"/>
          </a:xfrm>
          <a:custGeom>
            <a:avLst/>
            <a:gdLst/>
            <a:ahLst/>
            <a:cxnLst>
              <a:cxn ang="0">
                <a:pos x="35" y="31"/>
              </a:cxn>
              <a:cxn ang="0">
                <a:pos x="34" y="32"/>
              </a:cxn>
              <a:cxn ang="0">
                <a:pos x="14" y="1"/>
              </a:cxn>
              <a:cxn ang="0">
                <a:pos x="38" y="55"/>
              </a:cxn>
              <a:cxn ang="0">
                <a:pos x="38" y="49"/>
              </a:cxn>
              <a:cxn ang="0">
                <a:pos x="37" y="48"/>
              </a:cxn>
              <a:cxn ang="0">
                <a:pos x="34" y="47"/>
              </a:cxn>
              <a:cxn ang="0">
                <a:pos x="34" y="47"/>
              </a:cxn>
              <a:cxn ang="0">
                <a:pos x="33" y="44"/>
              </a:cxn>
              <a:cxn ang="0">
                <a:pos x="32" y="44"/>
              </a:cxn>
              <a:cxn ang="0">
                <a:pos x="30" y="43"/>
              </a:cxn>
              <a:cxn ang="0">
                <a:pos x="25" y="42"/>
              </a:cxn>
              <a:cxn ang="0">
                <a:pos x="27" y="35"/>
              </a:cxn>
              <a:cxn ang="0">
                <a:pos x="29" y="33"/>
              </a:cxn>
              <a:cxn ang="0">
                <a:pos x="32" y="30"/>
              </a:cxn>
              <a:cxn ang="0">
                <a:pos x="33" y="28"/>
              </a:cxn>
              <a:cxn ang="0">
                <a:pos x="33" y="24"/>
              </a:cxn>
              <a:cxn ang="0">
                <a:pos x="33" y="22"/>
              </a:cxn>
              <a:cxn ang="0">
                <a:pos x="31" y="20"/>
              </a:cxn>
              <a:cxn ang="0">
                <a:pos x="28" y="17"/>
              </a:cxn>
              <a:cxn ang="0">
                <a:pos x="31" y="11"/>
              </a:cxn>
              <a:cxn ang="0">
                <a:pos x="33" y="7"/>
              </a:cxn>
              <a:cxn ang="0">
                <a:pos x="32" y="6"/>
              </a:cxn>
              <a:cxn ang="0">
                <a:pos x="31" y="7"/>
              </a:cxn>
              <a:cxn ang="0">
                <a:pos x="29" y="8"/>
              </a:cxn>
              <a:cxn ang="0">
                <a:pos x="26" y="9"/>
              </a:cxn>
              <a:cxn ang="0">
                <a:pos x="25" y="9"/>
              </a:cxn>
              <a:cxn ang="0">
                <a:pos x="26" y="9"/>
              </a:cxn>
              <a:cxn ang="0">
                <a:pos x="26" y="7"/>
              </a:cxn>
              <a:cxn ang="0">
                <a:pos x="25" y="5"/>
              </a:cxn>
              <a:cxn ang="0">
                <a:pos x="26" y="5"/>
              </a:cxn>
              <a:cxn ang="0">
                <a:pos x="22" y="4"/>
              </a:cxn>
              <a:cxn ang="0">
                <a:pos x="22" y="5"/>
              </a:cxn>
              <a:cxn ang="0">
                <a:pos x="21" y="3"/>
              </a:cxn>
              <a:cxn ang="0">
                <a:pos x="17" y="4"/>
              </a:cxn>
              <a:cxn ang="0">
                <a:pos x="13" y="7"/>
              </a:cxn>
              <a:cxn ang="0">
                <a:pos x="10" y="9"/>
              </a:cxn>
              <a:cxn ang="0">
                <a:pos x="7" y="12"/>
              </a:cxn>
              <a:cxn ang="0">
                <a:pos x="8" y="14"/>
              </a:cxn>
              <a:cxn ang="0">
                <a:pos x="8" y="20"/>
              </a:cxn>
              <a:cxn ang="0">
                <a:pos x="8" y="24"/>
              </a:cxn>
              <a:cxn ang="0">
                <a:pos x="9" y="26"/>
              </a:cxn>
              <a:cxn ang="0">
                <a:pos x="7" y="33"/>
              </a:cxn>
              <a:cxn ang="0">
                <a:pos x="4" y="35"/>
              </a:cxn>
              <a:cxn ang="0">
                <a:pos x="1" y="38"/>
              </a:cxn>
              <a:cxn ang="0">
                <a:pos x="2" y="45"/>
              </a:cxn>
              <a:cxn ang="0">
                <a:pos x="3" y="48"/>
              </a:cxn>
              <a:cxn ang="0">
                <a:pos x="8" y="52"/>
              </a:cxn>
              <a:cxn ang="0">
                <a:pos x="13" y="59"/>
              </a:cxn>
              <a:cxn ang="0">
                <a:pos x="17" y="69"/>
              </a:cxn>
              <a:cxn ang="0">
                <a:pos x="22" y="80"/>
              </a:cxn>
              <a:cxn ang="0">
                <a:pos x="26" y="72"/>
              </a:cxn>
              <a:cxn ang="0">
                <a:pos x="27" y="65"/>
              </a:cxn>
              <a:cxn ang="0">
                <a:pos x="30" y="62"/>
              </a:cxn>
              <a:cxn ang="0">
                <a:pos x="34" y="59"/>
              </a:cxn>
              <a:cxn ang="0">
                <a:pos x="38" y="55"/>
              </a:cxn>
              <a:cxn ang="0">
                <a:pos x="30" y="43"/>
              </a:cxn>
              <a:cxn ang="0">
                <a:pos x="32" y="43"/>
              </a:cxn>
              <a:cxn ang="0">
                <a:pos x="32" y="41"/>
              </a:cxn>
            </a:cxnLst>
            <a:rect l="0" t="0" r="r" b="b"/>
            <a:pathLst>
              <a:path w="38" h="81">
                <a:moveTo>
                  <a:pt x="34" y="31"/>
                </a:moveTo>
                <a:cubicBezTo>
                  <a:pt x="35" y="31"/>
                  <a:pt x="35" y="30"/>
                  <a:pt x="35" y="31"/>
                </a:cubicBezTo>
                <a:cubicBezTo>
                  <a:pt x="35" y="31"/>
                  <a:pt x="35" y="31"/>
                  <a:pt x="35" y="31"/>
                </a:cubicBezTo>
                <a:cubicBezTo>
                  <a:pt x="35" y="32"/>
                  <a:pt x="34" y="32"/>
                  <a:pt x="34" y="32"/>
                </a:cubicBezTo>
                <a:cubicBezTo>
                  <a:pt x="33" y="32"/>
                  <a:pt x="34" y="32"/>
                  <a:pt x="34" y="31"/>
                </a:cubicBezTo>
                <a:close/>
                <a:moveTo>
                  <a:pt x="14" y="1"/>
                </a:moveTo>
                <a:cubicBezTo>
                  <a:pt x="14" y="1"/>
                  <a:pt x="13" y="0"/>
                  <a:pt x="14" y="1"/>
                </a:cubicBezTo>
                <a:close/>
                <a:moveTo>
                  <a:pt x="38" y="55"/>
                </a:moveTo>
                <a:cubicBezTo>
                  <a:pt x="37" y="54"/>
                  <a:pt x="37" y="54"/>
                  <a:pt x="37" y="53"/>
                </a:cubicBezTo>
                <a:cubicBezTo>
                  <a:pt x="37" y="51"/>
                  <a:pt x="37" y="50"/>
                  <a:pt x="38" y="49"/>
                </a:cubicBezTo>
                <a:cubicBezTo>
                  <a:pt x="38" y="49"/>
                  <a:pt x="37" y="48"/>
                  <a:pt x="36" y="48"/>
                </a:cubicBezTo>
                <a:cubicBezTo>
                  <a:pt x="36" y="48"/>
                  <a:pt x="36" y="48"/>
                  <a:pt x="37" y="48"/>
                </a:cubicBezTo>
                <a:cubicBezTo>
                  <a:pt x="36" y="49"/>
                  <a:pt x="35" y="48"/>
                  <a:pt x="34" y="48"/>
                </a:cubicBezTo>
                <a:cubicBezTo>
                  <a:pt x="34" y="48"/>
                  <a:pt x="34" y="48"/>
                  <a:pt x="34" y="47"/>
                </a:cubicBezTo>
                <a:cubicBezTo>
                  <a:pt x="34" y="47"/>
                  <a:pt x="35" y="48"/>
                  <a:pt x="35" y="47"/>
                </a:cubicBezTo>
                <a:cubicBezTo>
                  <a:pt x="35" y="47"/>
                  <a:pt x="34" y="47"/>
                  <a:pt x="34" y="47"/>
                </a:cubicBezTo>
                <a:cubicBezTo>
                  <a:pt x="34" y="46"/>
                  <a:pt x="34" y="47"/>
                  <a:pt x="34" y="46"/>
                </a:cubicBezTo>
                <a:cubicBezTo>
                  <a:pt x="34" y="45"/>
                  <a:pt x="34" y="44"/>
                  <a:pt x="33" y="44"/>
                </a:cubicBezTo>
                <a:cubicBezTo>
                  <a:pt x="33" y="44"/>
                  <a:pt x="32" y="44"/>
                  <a:pt x="32" y="44"/>
                </a:cubicBezTo>
                <a:cubicBezTo>
                  <a:pt x="32" y="44"/>
                  <a:pt x="32" y="44"/>
                  <a:pt x="32" y="44"/>
                </a:cubicBezTo>
                <a:cubicBezTo>
                  <a:pt x="32" y="45"/>
                  <a:pt x="31" y="45"/>
                  <a:pt x="30" y="45"/>
                </a:cubicBezTo>
                <a:cubicBezTo>
                  <a:pt x="29" y="45"/>
                  <a:pt x="31" y="43"/>
                  <a:pt x="30" y="43"/>
                </a:cubicBezTo>
                <a:cubicBezTo>
                  <a:pt x="29" y="43"/>
                  <a:pt x="29" y="44"/>
                  <a:pt x="28" y="43"/>
                </a:cubicBezTo>
                <a:cubicBezTo>
                  <a:pt x="27" y="43"/>
                  <a:pt x="26" y="42"/>
                  <a:pt x="25" y="42"/>
                </a:cubicBezTo>
                <a:cubicBezTo>
                  <a:pt x="24" y="40"/>
                  <a:pt x="23" y="38"/>
                  <a:pt x="24" y="36"/>
                </a:cubicBezTo>
                <a:cubicBezTo>
                  <a:pt x="25" y="36"/>
                  <a:pt x="26" y="36"/>
                  <a:pt x="27" y="35"/>
                </a:cubicBezTo>
                <a:cubicBezTo>
                  <a:pt x="27" y="35"/>
                  <a:pt x="27" y="34"/>
                  <a:pt x="28" y="34"/>
                </a:cubicBezTo>
                <a:cubicBezTo>
                  <a:pt x="28" y="34"/>
                  <a:pt x="29" y="34"/>
                  <a:pt x="29" y="33"/>
                </a:cubicBezTo>
                <a:cubicBezTo>
                  <a:pt x="29" y="33"/>
                  <a:pt x="30" y="32"/>
                  <a:pt x="30" y="32"/>
                </a:cubicBezTo>
                <a:cubicBezTo>
                  <a:pt x="31" y="31"/>
                  <a:pt x="31" y="31"/>
                  <a:pt x="32" y="30"/>
                </a:cubicBezTo>
                <a:cubicBezTo>
                  <a:pt x="32" y="29"/>
                  <a:pt x="32" y="29"/>
                  <a:pt x="32" y="29"/>
                </a:cubicBezTo>
                <a:cubicBezTo>
                  <a:pt x="32" y="28"/>
                  <a:pt x="33" y="28"/>
                  <a:pt x="33" y="28"/>
                </a:cubicBezTo>
                <a:cubicBezTo>
                  <a:pt x="33" y="27"/>
                  <a:pt x="33" y="26"/>
                  <a:pt x="34" y="26"/>
                </a:cubicBezTo>
                <a:cubicBezTo>
                  <a:pt x="33" y="25"/>
                  <a:pt x="33" y="25"/>
                  <a:pt x="33" y="24"/>
                </a:cubicBezTo>
                <a:cubicBezTo>
                  <a:pt x="33" y="23"/>
                  <a:pt x="33" y="23"/>
                  <a:pt x="33" y="23"/>
                </a:cubicBezTo>
                <a:cubicBezTo>
                  <a:pt x="33" y="22"/>
                  <a:pt x="33" y="22"/>
                  <a:pt x="33" y="22"/>
                </a:cubicBezTo>
                <a:cubicBezTo>
                  <a:pt x="33" y="21"/>
                  <a:pt x="31" y="21"/>
                  <a:pt x="31" y="21"/>
                </a:cubicBezTo>
                <a:cubicBezTo>
                  <a:pt x="31" y="21"/>
                  <a:pt x="31" y="20"/>
                  <a:pt x="31" y="20"/>
                </a:cubicBezTo>
                <a:cubicBezTo>
                  <a:pt x="30" y="20"/>
                  <a:pt x="30" y="20"/>
                  <a:pt x="30" y="20"/>
                </a:cubicBezTo>
                <a:cubicBezTo>
                  <a:pt x="29" y="19"/>
                  <a:pt x="28" y="18"/>
                  <a:pt x="28" y="17"/>
                </a:cubicBezTo>
                <a:cubicBezTo>
                  <a:pt x="28" y="17"/>
                  <a:pt x="28" y="16"/>
                  <a:pt x="28" y="15"/>
                </a:cubicBezTo>
                <a:cubicBezTo>
                  <a:pt x="28" y="13"/>
                  <a:pt x="31" y="13"/>
                  <a:pt x="31" y="11"/>
                </a:cubicBezTo>
                <a:cubicBezTo>
                  <a:pt x="32" y="11"/>
                  <a:pt x="32" y="9"/>
                  <a:pt x="33" y="8"/>
                </a:cubicBezTo>
                <a:cubicBezTo>
                  <a:pt x="34" y="8"/>
                  <a:pt x="34" y="8"/>
                  <a:pt x="33" y="7"/>
                </a:cubicBezTo>
                <a:cubicBezTo>
                  <a:pt x="33" y="7"/>
                  <a:pt x="33" y="6"/>
                  <a:pt x="33" y="6"/>
                </a:cubicBezTo>
                <a:cubicBezTo>
                  <a:pt x="33" y="6"/>
                  <a:pt x="32" y="6"/>
                  <a:pt x="32" y="6"/>
                </a:cubicBezTo>
                <a:cubicBezTo>
                  <a:pt x="31" y="6"/>
                  <a:pt x="31" y="7"/>
                  <a:pt x="31" y="7"/>
                </a:cubicBezTo>
                <a:cubicBezTo>
                  <a:pt x="31" y="7"/>
                  <a:pt x="31" y="7"/>
                  <a:pt x="31" y="7"/>
                </a:cubicBezTo>
                <a:cubicBezTo>
                  <a:pt x="30" y="8"/>
                  <a:pt x="30" y="8"/>
                  <a:pt x="30" y="8"/>
                </a:cubicBezTo>
                <a:cubicBezTo>
                  <a:pt x="29" y="8"/>
                  <a:pt x="29" y="8"/>
                  <a:pt x="29" y="8"/>
                </a:cubicBezTo>
                <a:cubicBezTo>
                  <a:pt x="28" y="9"/>
                  <a:pt x="28" y="9"/>
                  <a:pt x="28" y="9"/>
                </a:cubicBezTo>
                <a:cubicBezTo>
                  <a:pt x="27" y="10"/>
                  <a:pt x="27" y="10"/>
                  <a:pt x="26" y="9"/>
                </a:cubicBezTo>
                <a:cubicBezTo>
                  <a:pt x="26" y="9"/>
                  <a:pt x="26" y="9"/>
                  <a:pt x="26" y="9"/>
                </a:cubicBezTo>
                <a:cubicBezTo>
                  <a:pt x="25" y="9"/>
                  <a:pt x="25" y="9"/>
                  <a:pt x="25" y="9"/>
                </a:cubicBezTo>
                <a:cubicBezTo>
                  <a:pt x="26" y="8"/>
                  <a:pt x="26" y="8"/>
                  <a:pt x="26" y="8"/>
                </a:cubicBezTo>
                <a:cubicBezTo>
                  <a:pt x="26" y="9"/>
                  <a:pt x="26" y="9"/>
                  <a:pt x="26" y="9"/>
                </a:cubicBezTo>
                <a:cubicBezTo>
                  <a:pt x="26" y="9"/>
                  <a:pt x="27" y="8"/>
                  <a:pt x="27" y="8"/>
                </a:cubicBezTo>
                <a:cubicBezTo>
                  <a:pt x="26" y="8"/>
                  <a:pt x="26" y="7"/>
                  <a:pt x="26" y="7"/>
                </a:cubicBezTo>
                <a:cubicBezTo>
                  <a:pt x="25" y="7"/>
                  <a:pt x="25" y="6"/>
                  <a:pt x="25" y="6"/>
                </a:cubicBezTo>
                <a:cubicBezTo>
                  <a:pt x="26" y="5"/>
                  <a:pt x="24" y="5"/>
                  <a:pt x="25" y="5"/>
                </a:cubicBezTo>
                <a:cubicBezTo>
                  <a:pt x="25" y="5"/>
                  <a:pt x="25" y="5"/>
                  <a:pt x="25" y="5"/>
                </a:cubicBezTo>
                <a:cubicBezTo>
                  <a:pt x="26" y="5"/>
                  <a:pt x="26" y="5"/>
                  <a:pt x="26" y="5"/>
                </a:cubicBezTo>
                <a:cubicBezTo>
                  <a:pt x="25" y="5"/>
                  <a:pt x="24" y="3"/>
                  <a:pt x="24" y="4"/>
                </a:cubicBezTo>
                <a:cubicBezTo>
                  <a:pt x="23" y="4"/>
                  <a:pt x="22" y="4"/>
                  <a:pt x="22" y="4"/>
                </a:cubicBezTo>
                <a:cubicBezTo>
                  <a:pt x="22" y="4"/>
                  <a:pt x="23" y="4"/>
                  <a:pt x="23" y="4"/>
                </a:cubicBezTo>
                <a:cubicBezTo>
                  <a:pt x="23" y="5"/>
                  <a:pt x="23" y="5"/>
                  <a:pt x="22" y="5"/>
                </a:cubicBezTo>
                <a:cubicBezTo>
                  <a:pt x="21" y="5"/>
                  <a:pt x="22" y="4"/>
                  <a:pt x="22" y="4"/>
                </a:cubicBezTo>
                <a:cubicBezTo>
                  <a:pt x="23" y="3"/>
                  <a:pt x="22" y="3"/>
                  <a:pt x="21" y="3"/>
                </a:cubicBezTo>
                <a:cubicBezTo>
                  <a:pt x="21" y="3"/>
                  <a:pt x="20" y="3"/>
                  <a:pt x="19" y="3"/>
                </a:cubicBezTo>
                <a:cubicBezTo>
                  <a:pt x="19" y="4"/>
                  <a:pt x="18" y="4"/>
                  <a:pt x="17" y="4"/>
                </a:cubicBezTo>
                <a:cubicBezTo>
                  <a:pt x="16" y="4"/>
                  <a:pt x="16" y="5"/>
                  <a:pt x="15" y="5"/>
                </a:cubicBezTo>
                <a:cubicBezTo>
                  <a:pt x="14" y="5"/>
                  <a:pt x="14" y="6"/>
                  <a:pt x="13" y="7"/>
                </a:cubicBezTo>
                <a:cubicBezTo>
                  <a:pt x="12" y="7"/>
                  <a:pt x="10" y="7"/>
                  <a:pt x="11" y="8"/>
                </a:cubicBezTo>
                <a:cubicBezTo>
                  <a:pt x="12" y="9"/>
                  <a:pt x="10" y="9"/>
                  <a:pt x="10" y="9"/>
                </a:cubicBezTo>
                <a:cubicBezTo>
                  <a:pt x="9" y="9"/>
                  <a:pt x="10" y="9"/>
                  <a:pt x="10" y="10"/>
                </a:cubicBezTo>
                <a:cubicBezTo>
                  <a:pt x="9" y="11"/>
                  <a:pt x="8" y="11"/>
                  <a:pt x="7" y="12"/>
                </a:cubicBezTo>
                <a:cubicBezTo>
                  <a:pt x="6" y="12"/>
                  <a:pt x="8" y="12"/>
                  <a:pt x="8" y="13"/>
                </a:cubicBezTo>
                <a:cubicBezTo>
                  <a:pt x="9" y="13"/>
                  <a:pt x="9" y="14"/>
                  <a:pt x="8" y="14"/>
                </a:cubicBezTo>
                <a:cubicBezTo>
                  <a:pt x="8" y="15"/>
                  <a:pt x="8" y="15"/>
                  <a:pt x="8" y="16"/>
                </a:cubicBezTo>
                <a:cubicBezTo>
                  <a:pt x="8" y="17"/>
                  <a:pt x="7" y="19"/>
                  <a:pt x="8" y="20"/>
                </a:cubicBezTo>
                <a:cubicBezTo>
                  <a:pt x="8" y="21"/>
                  <a:pt x="8" y="21"/>
                  <a:pt x="8" y="22"/>
                </a:cubicBezTo>
                <a:cubicBezTo>
                  <a:pt x="9" y="23"/>
                  <a:pt x="8" y="23"/>
                  <a:pt x="8" y="24"/>
                </a:cubicBezTo>
                <a:cubicBezTo>
                  <a:pt x="8" y="25"/>
                  <a:pt x="8" y="25"/>
                  <a:pt x="9" y="26"/>
                </a:cubicBezTo>
                <a:cubicBezTo>
                  <a:pt x="9" y="26"/>
                  <a:pt x="9" y="26"/>
                  <a:pt x="9" y="26"/>
                </a:cubicBezTo>
                <a:cubicBezTo>
                  <a:pt x="8" y="27"/>
                  <a:pt x="7" y="29"/>
                  <a:pt x="8" y="30"/>
                </a:cubicBezTo>
                <a:cubicBezTo>
                  <a:pt x="8" y="31"/>
                  <a:pt x="8" y="32"/>
                  <a:pt x="7" y="33"/>
                </a:cubicBezTo>
                <a:cubicBezTo>
                  <a:pt x="6" y="33"/>
                  <a:pt x="6" y="34"/>
                  <a:pt x="5" y="34"/>
                </a:cubicBezTo>
                <a:cubicBezTo>
                  <a:pt x="5" y="34"/>
                  <a:pt x="4" y="35"/>
                  <a:pt x="4" y="35"/>
                </a:cubicBezTo>
                <a:cubicBezTo>
                  <a:pt x="3" y="36"/>
                  <a:pt x="4" y="37"/>
                  <a:pt x="3" y="37"/>
                </a:cubicBezTo>
                <a:cubicBezTo>
                  <a:pt x="2" y="37"/>
                  <a:pt x="2" y="38"/>
                  <a:pt x="1" y="38"/>
                </a:cubicBezTo>
                <a:cubicBezTo>
                  <a:pt x="0" y="39"/>
                  <a:pt x="0" y="41"/>
                  <a:pt x="1" y="43"/>
                </a:cubicBezTo>
                <a:cubicBezTo>
                  <a:pt x="1" y="44"/>
                  <a:pt x="2" y="44"/>
                  <a:pt x="2" y="45"/>
                </a:cubicBezTo>
                <a:cubicBezTo>
                  <a:pt x="2" y="46"/>
                  <a:pt x="3" y="46"/>
                  <a:pt x="3" y="47"/>
                </a:cubicBezTo>
                <a:cubicBezTo>
                  <a:pt x="2" y="48"/>
                  <a:pt x="3" y="48"/>
                  <a:pt x="3" y="48"/>
                </a:cubicBezTo>
                <a:cubicBezTo>
                  <a:pt x="4" y="49"/>
                  <a:pt x="5" y="49"/>
                  <a:pt x="5" y="49"/>
                </a:cubicBezTo>
                <a:cubicBezTo>
                  <a:pt x="6" y="50"/>
                  <a:pt x="7" y="51"/>
                  <a:pt x="8" y="52"/>
                </a:cubicBezTo>
                <a:cubicBezTo>
                  <a:pt x="8" y="53"/>
                  <a:pt x="8" y="55"/>
                  <a:pt x="9" y="56"/>
                </a:cubicBezTo>
                <a:cubicBezTo>
                  <a:pt x="10" y="57"/>
                  <a:pt x="12" y="58"/>
                  <a:pt x="13" y="59"/>
                </a:cubicBezTo>
                <a:cubicBezTo>
                  <a:pt x="15" y="60"/>
                  <a:pt x="15" y="61"/>
                  <a:pt x="15" y="63"/>
                </a:cubicBezTo>
                <a:cubicBezTo>
                  <a:pt x="16" y="65"/>
                  <a:pt x="16" y="67"/>
                  <a:pt x="17" y="69"/>
                </a:cubicBezTo>
                <a:cubicBezTo>
                  <a:pt x="17" y="73"/>
                  <a:pt x="18" y="77"/>
                  <a:pt x="19" y="81"/>
                </a:cubicBezTo>
                <a:cubicBezTo>
                  <a:pt x="20" y="80"/>
                  <a:pt x="21" y="80"/>
                  <a:pt x="22" y="80"/>
                </a:cubicBezTo>
                <a:cubicBezTo>
                  <a:pt x="23" y="79"/>
                  <a:pt x="23" y="78"/>
                  <a:pt x="24" y="78"/>
                </a:cubicBezTo>
                <a:cubicBezTo>
                  <a:pt x="25" y="76"/>
                  <a:pt x="26" y="74"/>
                  <a:pt x="26" y="72"/>
                </a:cubicBezTo>
                <a:cubicBezTo>
                  <a:pt x="25" y="70"/>
                  <a:pt x="24" y="68"/>
                  <a:pt x="25" y="66"/>
                </a:cubicBezTo>
                <a:cubicBezTo>
                  <a:pt x="26" y="65"/>
                  <a:pt x="26" y="65"/>
                  <a:pt x="27" y="65"/>
                </a:cubicBezTo>
                <a:cubicBezTo>
                  <a:pt x="28" y="65"/>
                  <a:pt x="29" y="64"/>
                  <a:pt x="29" y="63"/>
                </a:cubicBezTo>
                <a:cubicBezTo>
                  <a:pt x="29" y="62"/>
                  <a:pt x="29" y="62"/>
                  <a:pt x="30" y="62"/>
                </a:cubicBezTo>
                <a:cubicBezTo>
                  <a:pt x="31" y="62"/>
                  <a:pt x="31" y="61"/>
                  <a:pt x="32" y="60"/>
                </a:cubicBezTo>
                <a:cubicBezTo>
                  <a:pt x="32" y="60"/>
                  <a:pt x="33" y="59"/>
                  <a:pt x="34" y="59"/>
                </a:cubicBezTo>
                <a:cubicBezTo>
                  <a:pt x="35" y="58"/>
                  <a:pt x="36" y="58"/>
                  <a:pt x="37" y="57"/>
                </a:cubicBezTo>
                <a:cubicBezTo>
                  <a:pt x="38" y="57"/>
                  <a:pt x="38" y="56"/>
                  <a:pt x="38" y="55"/>
                </a:cubicBezTo>
                <a:close/>
                <a:moveTo>
                  <a:pt x="30" y="41"/>
                </a:moveTo>
                <a:cubicBezTo>
                  <a:pt x="30" y="41"/>
                  <a:pt x="30" y="43"/>
                  <a:pt x="30" y="43"/>
                </a:cubicBezTo>
                <a:cubicBezTo>
                  <a:pt x="31" y="42"/>
                  <a:pt x="31" y="43"/>
                  <a:pt x="31" y="44"/>
                </a:cubicBezTo>
                <a:cubicBezTo>
                  <a:pt x="31" y="43"/>
                  <a:pt x="32" y="42"/>
                  <a:pt x="32" y="43"/>
                </a:cubicBezTo>
                <a:cubicBezTo>
                  <a:pt x="32" y="43"/>
                  <a:pt x="33" y="42"/>
                  <a:pt x="33" y="42"/>
                </a:cubicBezTo>
                <a:cubicBezTo>
                  <a:pt x="33" y="42"/>
                  <a:pt x="33" y="41"/>
                  <a:pt x="32" y="41"/>
                </a:cubicBezTo>
                <a:cubicBezTo>
                  <a:pt x="32" y="41"/>
                  <a:pt x="31" y="41"/>
                  <a:pt x="30" y="4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4" name="Trinidad and Tobago"/>
          <p:cNvSpPr>
            <a:spLocks noEditPoints="1"/>
          </p:cNvSpPr>
          <p:nvPr/>
        </p:nvSpPr>
        <p:spPr bwMode="auto">
          <a:xfrm>
            <a:off x="3632163" y="4214954"/>
            <a:ext cx="53998" cy="50998"/>
          </a:xfrm>
          <a:custGeom>
            <a:avLst/>
            <a:gdLst/>
            <a:ahLst/>
            <a:cxnLst>
              <a:cxn ang="0">
                <a:pos x="10" y="6"/>
              </a:cxn>
              <a:cxn ang="0">
                <a:pos x="9" y="7"/>
              </a:cxn>
              <a:cxn ang="0">
                <a:pos x="9" y="8"/>
              </a:cxn>
              <a:cxn ang="0">
                <a:pos x="9" y="9"/>
              </a:cxn>
              <a:cxn ang="0">
                <a:pos x="10" y="11"/>
              </a:cxn>
              <a:cxn ang="0">
                <a:pos x="10" y="11"/>
              </a:cxn>
              <a:cxn ang="0">
                <a:pos x="10" y="12"/>
              </a:cxn>
              <a:cxn ang="0">
                <a:pos x="9" y="13"/>
              </a:cxn>
              <a:cxn ang="0">
                <a:pos x="8" y="14"/>
              </a:cxn>
              <a:cxn ang="0">
                <a:pos x="6" y="14"/>
              </a:cxn>
              <a:cxn ang="0">
                <a:pos x="5" y="14"/>
              </a:cxn>
              <a:cxn ang="0">
                <a:pos x="3" y="14"/>
              </a:cxn>
              <a:cxn ang="0">
                <a:pos x="2" y="14"/>
              </a:cxn>
              <a:cxn ang="0">
                <a:pos x="1" y="14"/>
              </a:cxn>
              <a:cxn ang="0">
                <a:pos x="1" y="13"/>
              </a:cxn>
              <a:cxn ang="0">
                <a:pos x="1" y="13"/>
              </a:cxn>
              <a:cxn ang="0">
                <a:pos x="2" y="13"/>
              </a:cxn>
              <a:cxn ang="0">
                <a:pos x="3" y="12"/>
              </a:cxn>
              <a:cxn ang="0">
                <a:pos x="4" y="12"/>
              </a:cxn>
              <a:cxn ang="0">
                <a:pos x="5" y="12"/>
              </a:cxn>
              <a:cxn ang="0">
                <a:pos x="5" y="10"/>
              </a:cxn>
              <a:cxn ang="0">
                <a:pos x="5" y="9"/>
              </a:cxn>
              <a:cxn ang="0">
                <a:pos x="4" y="7"/>
              </a:cxn>
              <a:cxn ang="0">
                <a:pos x="3" y="7"/>
              </a:cxn>
              <a:cxn ang="0">
                <a:pos x="4" y="6"/>
              </a:cxn>
              <a:cxn ang="0">
                <a:pos x="6" y="6"/>
              </a:cxn>
              <a:cxn ang="0">
                <a:pos x="7" y="6"/>
              </a:cxn>
              <a:cxn ang="0">
                <a:pos x="8" y="6"/>
              </a:cxn>
              <a:cxn ang="0">
                <a:pos x="9" y="5"/>
              </a:cxn>
              <a:cxn ang="0">
                <a:pos x="10" y="5"/>
              </a:cxn>
              <a:cxn ang="0">
                <a:pos x="11" y="6"/>
              </a:cxn>
              <a:cxn ang="0">
                <a:pos x="10" y="6"/>
              </a:cxn>
              <a:cxn ang="0">
                <a:pos x="15" y="0"/>
              </a:cxn>
              <a:cxn ang="0">
                <a:pos x="13" y="0"/>
              </a:cxn>
              <a:cxn ang="0">
                <a:pos x="12" y="1"/>
              </a:cxn>
              <a:cxn ang="0">
                <a:pos x="12" y="2"/>
              </a:cxn>
              <a:cxn ang="0">
                <a:pos x="13" y="1"/>
              </a:cxn>
              <a:cxn ang="0">
                <a:pos x="15" y="0"/>
              </a:cxn>
              <a:cxn ang="0">
                <a:pos x="15" y="0"/>
              </a:cxn>
            </a:cxnLst>
            <a:rect l="0" t="0" r="r" b="b"/>
            <a:pathLst>
              <a:path w="15" h="14">
                <a:moveTo>
                  <a:pt x="10" y="6"/>
                </a:moveTo>
                <a:cubicBezTo>
                  <a:pt x="10" y="7"/>
                  <a:pt x="9" y="7"/>
                  <a:pt x="9" y="7"/>
                </a:cubicBezTo>
                <a:cubicBezTo>
                  <a:pt x="9" y="8"/>
                  <a:pt x="10" y="8"/>
                  <a:pt x="9" y="8"/>
                </a:cubicBezTo>
                <a:cubicBezTo>
                  <a:pt x="9" y="8"/>
                  <a:pt x="9" y="9"/>
                  <a:pt x="9" y="9"/>
                </a:cubicBezTo>
                <a:cubicBezTo>
                  <a:pt x="9" y="9"/>
                  <a:pt x="9" y="10"/>
                  <a:pt x="10" y="11"/>
                </a:cubicBezTo>
                <a:cubicBezTo>
                  <a:pt x="10" y="11"/>
                  <a:pt x="10" y="11"/>
                  <a:pt x="10" y="11"/>
                </a:cubicBezTo>
                <a:cubicBezTo>
                  <a:pt x="10" y="11"/>
                  <a:pt x="10" y="11"/>
                  <a:pt x="10" y="12"/>
                </a:cubicBezTo>
                <a:cubicBezTo>
                  <a:pt x="9" y="12"/>
                  <a:pt x="10" y="12"/>
                  <a:pt x="9" y="13"/>
                </a:cubicBezTo>
                <a:cubicBezTo>
                  <a:pt x="9" y="13"/>
                  <a:pt x="8" y="13"/>
                  <a:pt x="8" y="14"/>
                </a:cubicBezTo>
                <a:cubicBezTo>
                  <a:pt x="7" y="14"/>
                  <a:pt x="7" y="14"/>
                  <a:pt x="6" y="14"/>
                </a:cubicBezTo>
                <a:cubicBezTo>
                  <a:pt x="6" y="14"/>
                  <a:pt x="6" y="14"/>
                  <a:pt x="5" y="14"/>
                </a:cubicBezTo>
                <a:cubicBezTo>
                  <a:pt x="5" y="14"/>
                  <a:pt x="4" y="14"/>
                  <a:pt x="3" y="14"/>
                </a:cubicBezTo>
                <a:cubicBezTo>
                  <a:pt x="3" y="14"/>
                  <a:pt x="3" y="14"/>
                  <a:pt x="2" y="14"/>
                </a:cubicBezTo>
                <a:cubicBezTo>
                  <a:pt x="2" y="13"/>
                  <a:pt x="2" y="13"/>
                  <a:pt x="1" y="14"/>
                </a:cubicBezTo>
                <a:cubicBezTo>
                  <a:pt x="1" y="14"/>
                  <a:pt x="0" y="14"/>
                  <a:pt x="1" y="13"/>
                </a:cubicBezTo>
                <a:cubicBezTo>
                  <a:pt x="1" y="13"/>
                  <a:pt x="1" y="13"/>
                  <a:pt x="1" y="13"/>
                </a:cubicBezTo>
                <a:cubicBezTo>
                  <a:pt x="2" y="13"/>
                  <a:pt x="2" y="13"/>
                  <a:pt x="2" y="13"/>
                </a:cubicBezTo>
                <a:cubicBezTo>
                  <a:pt x="3" y="12"/>
                  <a:pt x="3" y="12"/>
                  <a:pt x="3" y="12"/>
                </a:cubicBezTo>
                <a:cubicBezTo>
                  <a:pt x="4" y="12"/>
                  <a:pt x="3" y="12"/>
                  <a:pt x="4" y="12"/>
                </a:cubicBezTo>
                <a:cubicBezTo>
                  <a:pt x="4" y="12"/>
                  <a:pt x="5" y="12"/>
                  <a:pt x="5" y="12"/>
                </a:cubicBezTo>
                <a:cubicBezTo>
                  <a:pt x="5" y="11"/>
                  <a:pt x="5" y="11"/>
                  <a:pt x="5" y="10"/>
                </a:cubicBezTo>
                <a:cubicBezTo>
                  <a:pt x="5" y="10"/>
                  <a:pt x="5" y="9"/>
                  <a:pt x="5" y="9"/>
                </a:cubicBezTo>
                <a:cubicBezTo>
                  <a:pt x="5" y="8"/>
                  <a:pt x="5" y="7"/>
                  <a:pt x="4" y="7"/>
                </a:cubicBezTo>
                <a:cubicBezTo>
                  <a:pt x="4" y="7"/>
                  <a:pt x="3" y="7"/>
                  <a:pt x="3" y="7"/>
                </a:cubicBezTo>
                <a:cubicBezTo>
                  <a:pt x="4" y="6"/>
                  <a:pt x="4" y="6"/>
                  <a:pt x="4" y="6"/>
                </a:cubicBezTo>
                <a:cubicBezTo>
                  <a:pt x="5" y="6"/>
                  <a:pt x="6" y="6"/>
                  <a:pt x="6" y="6"/>
                </a:cubicBezTo>
                <a:cubicBezTo>
                  <a:pt x="6" y="6"/>
                  <a:pt x="6" y="6"/>
                  <a:pt x="7" y="6"/>
                </a:cubicBezTo>
                <a:cubicBezTo>
                  <a:pt x="7" y="6"/>
                  <a:pt x="8" y="6"/>
                  <a:pt x="8" y="6"/>
                </a:cubicBezTo>
                <a:cubicBezTo>
                  <a:pt x="9" y="5"/>
                  <a:pt x="9" y="5"/>
                  <a:pt x="9" y="5"/>
                </a:cubicBezTo>
                <a:cubicBezTo>
                  <a:pt x="9" y="5"/>
                  <a:pt x="9" y="5"/>
                  <a:pt x="10" y="5"/>
                </a:cubicBezTo>
                <a:cubicBezTo>
                  <a:pt x="11" y="5"/>
                  <a:pt x="11" y="5"/>
                  <a:pt x="11" y="6"/>
                </a:cubicBezTo>
                <a:cubicBezTo>
                  <a:pt x="11" y="6"/>
                  <a:pt x="10" y="6"/>
                  <a:pt x="10" y="6"/>
                </a:cubicBezTo>
                <a:close/>
                <a:moveTo>
                  <a:pt x="15" y="0"/>
                </a:moveTo>
                <a:cubicBezTo>
                  <a:pt x="14" y="0"/>
                  <a:pt x="14" y="0"/>
                  <a:pt x="13" y="0"/>
                </a:cubicBezTo>
                <a:cubicBezTo>
                  <a:pt x="13" y="0"/>
                  <a:pt x="12" y="1"/>
                  <a:pt x="12" y="1"/>
                </a:cubicBezTo>
                <a:cubicBezTo>
                  <a:pt x="12" y="2"/>
                  <a:pt x="11" y="2"/>
                  <a:pt x="12" y="2"/>
                </a:cubicBezTo>
                <a:cubicBezTo>
                  <a:pt x="12" y="2"/>
                  <a:pt x="13" y="1"/>
                  <a:pt x="13" y="1"/>
                </a:cubicBezTo>
                <a:cubicBezTo>
                  <a:pt x="14" y="1"/>
                  <a:pt x="15" y="1"/>
                  <a:pt x="15" y="0"/>
                </a:cubicBezTo>
                <a:cubicBezTo>
                  <a:pt x="15" y="0"/>
                  <a:pt x="15" y="0"/>
                  <a:pt x="15"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5" name="Togo"/>
          <p:cNvSpPr>
            <a:spLocks/>
          </p:cNvSpPr>
          <p:nvPr/>
        </p:nvSpPr>
        <p:spPr bwMode="auto">
          <a:xfrm>
            <a:off x="5788082" y="4221954"/>
            <a:ext cx="68998" cy="198993"/>
          </a:xfrm>
          <a:custGeom>
            <a:avLst/>
            <a:gdLst/>
            <a:ahLst/>
            <a:cxnLst>
              <a:cxn ang="0">
                <a:pos x="18" y="50"/>
              </a:cxn>
              <a:cxn ang="0">
                <a:pos x="17" y="48"/>
              </a:cxn>
              <a:cxn ang="0">
                <a:pos x="17" y="45"/>
              </a:cxn>
              <a:cxn ang="0">
                <a:pos x="18" y="41"/>
              </a:cxn>
              <a:cxn ang="0">
                <a:pos x="17" y="31"/>
              </a:cxn>
              <a:cxn ang="0">
                <a:pos x="17" y="26"/>
              </a:cxn>
              <a:cxn ang="0">
                <a:pos x="15" y="20"/>
              </a:cxn>
              <a:cxn ang="0">
                <a:pos x="15" y="18"/>
              </a:cxn>
              <a:cxn ang="0">
                <a:pos x="14" y="12"/>
              </a:cxn>
              <a:cxn ang="0">
                <a:pos x="10" y="7"/>
              </a:cxn>
              <a:cxn ang="0">
                <a:pos x="10" y="3"/>
              </a:cxn>
              <a:cxn ang="0">
                <a:pos x="7" y="2"/>
              </a:cxn>
              <a:cxn ang="0">
                <a:pos x="6" y="1"/>
              </a:cxn>
              <a:cxn ang="0">
                <a:pos x="0" y="0"/>
              </a:cxn>
              <a:cxn ang="0">
                <a:pos x="2" y="2"/>
              </a:cxn>
              <a:cxn ang="0">
                <a:pos x="1" y="5"/>
              </a:cxn>
              <a:cxn ang="0">
                <a:pos x="4" y="8"/>
              </a:cxn>
              <a:cxn ang="0">
                <a:pos x="5" y="9"/>
              </a:cxn>
              <a:cxn ang="0">
                <a:pos x="6" y="12"/>
              </a:cxn>
              <a:cxn ang="0">
                <a:pos x="5" y="13"/>
              </a:cxn>
              <a:cxn ang="0">
                <a:pos x="5" y="16"/>
              </a:cxn>
              <a:cxn ang="0">
                <a:pos x="5" y="17"/>
              </a:cxn>
              <a:cxn ang="0">
                <a:pos x="4" y="17"/>
              </a:cxn>
              <a:cxn ang="0">
                <a:pos x="4" y="18"/>
              </a:cxn>
              <a:cxn ang="0">
                <a:pos x="6" y="18"/>
              </a:cxn>
              <a:cxn ang="0">
                <a:pos x="7" y="19"/>
              </a:cxn>
              <a:cxn ang="0">
                <a:pos x="7" y="21"/>
              </a:cxn>
              <a:cxn ang="0">
                <a:pos x="6" y="23"/>
              </a:cxn>
              <a:cxn ang="0">
                <a:pos x="7" y="28"/>
              </a:cxn>
              <a:cxn ang="0">
                <a:pos x="7" y="33"/>
              </a:cxn>
              <a:cxn ang="0">
                <a:pos x="7" y="39"/>
              </a:cxn>
              <a:cxn ang="0">
                <a:pos x="8" y="41"/>
              </a:cxn>
              <a:cxn ang="0">
                <a:pos x="7" y="45"/>
              </a:cxn>
              <a:cxn ang="0">
                <a:pos x="7" y="47"/>
              </a:cxn>
              <a:cxn ang="0">
                <a:pos x="8" y="48"/>
              </a:cxn>
              <a:cxn ang="0">
                <a:pos x="9" y="50"/>
              </a:cxn>
              <a:cxn ang="0">
                <a:pos x="10" y="52"/>
              </a:cxn>
              <a:cxn ang="0">
                <a:pos x="12" y="54"/>
              </a:cxn>
              <a:cxn ang="0">
                <a:pos x="16" y="54"/>
              </a:cxn>
              <a:cxn ang="0">
                <a:pos x="18" y="54"/>
              </a:cxn>
            </a:cxnLst>
            <a:rect l="0" t="0" r="r" b="b"/>
            <a:pathLst>
              <a:path w="19" h="55">
                <a:moveTo>
                  <a:pt x="19" y="52"/>
                </a:moveTo>
                <a:cubicBezTo>
                  <a:pt x="19" y="52"/>
                  <a:pt x="18" y="51"/>
                  <a:pt x="18" y="50"/>
                </a:cubicBezTo>
                <a:cubicBezTo>
                  <a:pt x="18" y="50"/>
                  <a:pt x="17" y="50"/>
                  <a:pt x="17" y="49"/>
                </a:cubicBezTo>
                <a:cubicBezTo>
                  <a:pt x="17" y="49"/>
                  <a:pt x="17" y="49"/>
                  <a:pt x="17" y="48"/>
                </a:cubicBezTo>
                <a:cubicBezTo>
                  <a:pt x="17" y="48"/>
                  <a:pt x="17" y="47"/>
                  <a:pt x="17" y="46"/>
                </a:cubicBezTo>
                <a:cubicBezTo>
                  <a:pt x="17" y="46"/>
                  <a:pt x="17" y="46"/>
                  <a:pt x="17" y="45"/>
                </a:cubicBezTo>
                <a:cubicBezTo>
                  <a:pt x="17" y="45"/>
                  <a:pt x="17" y="45"/>
                  <a:pt x="17" y="45"/>
                </a:cubicBezTo>
                <a:cubicBezTo>
                  <a:pt x="18" y="45"/>
                  <a:pt x="18" y="42"/>
                  <a:pt x="18" y="41"/>
                </a:cubicBezTo>
                <a:cubicBezTo>
                  <a:pt x="18" y="40"/>
                  <a:pt x="18" y="39"/>
                  <a:pt x="17" y="37"/>
                </a:cubicBezTo>
                <a:cubicBezTo>
                  <a:pt x="17" y="35"/>
                  <a:pt x="18" y="31"/>
                  <a:pt x="17" y="31"/>
                </a:cubicBezTo>
                <a:cubicBezTo>
                  <a:pt x="17" y="30"/>
                  <a:pt x="18" y="29"/>
                  <a:pt x="18" y="28"/>
                </a:cubicBezTo>
                <a:cubicBezTo>
                  <a:pt x="18" y="28"/>
                  <a:pt x="17" y="27"/>
                  <a:pt x="17" y="26"/>
                </a:cubicBezTo>
                <a:cubicBezTo>
                  <a:pt x="18" y="25"/>
                  <a:pt x="18" y="23"/>
                  <a:pt x="17" y="22"/>
                </a:cubicBezTo>
                <a:cubicBezTo>
                  <a:pt x="17" y="21"/>
                  <a:pt x="16" y="21"/>
                  <a:pt x="15" y="20"/>
                </a:cubicBezTo>
                <a:cubicBezTo>
                  <a:pt x="15" y="19"/>
                  <a:pt x="15" y="19"/>
                  <a:pt x="15" y="19"/>
                </a:cubicBezTo>
                <a:cubicBezTo>
                  <a:pt x="15" y="18"/>
                  <a:pt x="15" y="18"/>
                  <a:pt x="15" y="18"/>
                </a:cubicBezTo>
                <a:cubicBezTo>
                  <a:pt x="15" y="17"/>
                  <a:pt x="15" y="16"/>
                  <a:pt x="15" y="15"/>
                </a:cubicBezTo>
                <a:cubicBezTo>
                  <a:pt x="15" y="14"/>
                  <a:pt x="15" y="13"/>
                  <a:pt x="14" y="12"/>
                </a:cubicBezTo>
                <a:cubicBezTo>
                  <a:pt x="13" y="11"/>
                  <a:pt x="11" y="10"/>
                  <a:pt x="10" y="9"/>
                </a:cubicBezTo>
                <a:cubicBezTo>
                  <a:pt x="10" y="8"/>
                  <a:pt x="9" y="8"/>
                  <a:pt x="10" y="7"/>
                </a:cubicBezTo>
                <a:cubicBezTo>
                  <a:pt x="10" y="6"/>
                  <a:pt x="10" y="6"/>
                  <a:pt x="10" y="5"/>
                </a:cubicBezTo>
                <a:cubicBezTo>
                  <a:pt x="10" y="4"/>
                  <a:pt x="10" y="4"/>
                  <a:pt x="10" y="3"/>
                </a:cubicBezTo>
                <a:cubicBezTo>
                  <a:pt x="11" y="3"/>
                  <a:pt x="11" y="2"/>
                  <a:pt x="11" y="1"/>
                </a:cubicBezTo>
                <a:cubicBezTo>
                  <a:pt x="10" y="1"/>
                  <a:pt x="8" y="1"/>
                  <a:pt x="7" y="2"/>
                </a:cubicBezTo>
                <a:cubicBezTo>
                  <a:pt x="7" y="2"/>
                  <a:pt x="7" y="2"/>
                  <a:pt x="7" y="2"/>
                </a:cubicBezTo>
                <a:cubicBezTo>
                  <a:pt x="7" y="1"/>
                  <a:pt x="6" y="1"/>
                  <a:pt x="6" y="1"/>
                </a:cubicBezTo>
                <a:cubicBezTo>
                  <a:pt x="5" y="1"/>
                  <a:pt x="5" y="1"/>
                  <a:pt x="4" y="1"/>
                </a:cubicBezTo>
                <a:cubicBezTo>
                  <a:pt x="3" y="0"/>
                  <a:pt x="2" y="0"/>
                  <a:pt x="0" y="0"/>
                </a:cubicBezTo>
                <a:cubicBezTo>
                  <a:pt x="1" y="1"/>
                  <a:pt x="1" y="0"/>
                  <a:pt x="2" y="0"/>
                </a:cubicBezTo>
                <a:cubicBezTo>
                  <a:pt x="2" y="0"/>
                  <a:pt x="2" y="1"/>
                  <a:pt x="2" y="2"/>
                </a:cubicBezTo>
                <a:cubicBezTo>
                  <a:pt x="2" y="2"/>
                  <a:pt x="2" y="3"/>
                  <a:pt x="1" y="4"/>
                </a:cubicBezTo>
                <a:cubicBezTo>
                  <a:pt x="1" y="4"/>
                  <a:pt x="1" y="5"/>
                  <a:pt x="1" y="5"/>
                </a:cubicBezTo>
                <a:cubicBezTo>
                  <a:pt x="2" y="6"/>
                  <a:pt x="2" y="6"/>
                  <a:pt x="3" y="6"/>
                </a:cubicBezTo>
                <a:cubicBezTo>
                  <a:pt x="3" y="7"/>
                  <a:pt x="3" y="7"/>
                  <a:pt x="4" y="8"/>
                </a:cubicBezTo>
                <a:cubicBezTo>
                  <a:pt x="4" y="8"/>
                  <a:pt x="5" y="8"/>
                  <a:pt x="5" y="8"/>
                </a:cubicBezTo>
                <a:cubicBezTo>
                  <a:pt x="5" y="8"/>
                  <a:pt x="5" y="9"/>
                  <a:pt x="5" y="9"/>
                </a:cubicBezTo>
                <a:cubicBezTo>
                  <a:pt x="5" y="9"/>
                  <a:pt x="6" y="9"/>
                  <a:pt x="5" y="10"/>
                </a:cubicBezTo>
                <a:cubicBezTo>
                  <a:pt x="5" y="10"/>
                  <a:pt x="5" y="11"/>
                  <a:pt x="6" y="12"/>
                </a:cubicBezTo>
                <a:cubicBezTo>
                  <a:pt x="6" y="12"/>
                  <a:pt x="5" y="12"/>
                  <a:pt x="5" y="13"/>
                </a:cubicBezTo>
                <a:cubicBezTo>
                  <a:pt x="5" y="13"/>
                  <a:pt x="5" y="13"/>
                  <a:pt x="5" y="13"/>
                </a:cubicBezTo>
                <a:cubicBezTo>
                  <a:pt x="5" y="14"/>
                  <a:pt x="5" y="14"/>
                  <a:pt x="5" y="15"/>
                </a:cubicBezTo>
                <a:cubicBezTo>
                  <a:pt x="5" y="15"/>
                  <a:pt x="5" y="16"/>
                  <a:pt x="5" y="16"/>
                </a:cubicBezTo>
                <a:cubicBezTo>
                  <a:pt x="5" y="16"/>
                  <a:pt x="4" y="16"/>
                  <a:pt x="4" y="16"/>
                </a:cubicBezTo>
                <a:cubicBezTo>
                  <a:pt x="4" y="17"/>
                  <a:pt x="5" y="17"/>
                  <a:pt x="5" y="17"/>
                </a:cubicBezTo>
                <a:cubicBezTo>
                  <a:pt x="6" y="17"/>
                  <a:pt x="5" y="17"/>
                  <a:pt x="5" y="17"/>
                </a:cubicBezTo>
                <a:cubicBezTo>
                  <a:pt x="5" y="17"/>
                  <a:pt x="5" y="17"/>
                  <a:pt x="4" y="17"/>
                </a:cubicBezTo>
                <a:cubicBezTo>
                  <a:pt x="4" y="17"/>
                  <a:pt x="4" y="18"/>
                  <a:pt x="4" y="18"/>
                </a:cubicBezTo>
                <a:cubicBezTo>
                  <a:pt x="5" y="18"/>
                  <a:pt x="4" y="18"/>
                  <a:pt x="4" y="18"/>
                </a:cubicBezTo>
                <a:cubicBezTo>
                  <a:pt x="4" y="19"/>
                  <a:pt x="4" y="19"/>
                  <a:pt x="5" y="19"/>
                </a:cubicBezTo>
                <a:cubicBezTo>
                  <a:pt x="5" y="18"/>
                  <a:pt x="5" y="18"/>
                  <a:pt x="6" y="18"/>
                </a:cubicBezTo>
                <a:cubicBezTo>
                  <a:pt x="6" y="18"/>
                  <a:pt x="7" y="18"/>
                  <a:pt x="7" y="18"/>
                </a:cubicBezTo>
                <a:cubicBezTo>
                  <a:pt x="7" y="18"/>
                  <a:pt x="7" y="19"/>
                  <a:pt x="7" y="19"/>
                </a:cubicBezTo>
                <a:cubicBezTo>
                  <a:pt x="7" y="19"/>
                  <a:pt x="7" y="20"/>
                  <a:pt x="7" y="20"/>
                </a:cubicBezTo>
                <a:cubicBezTo>
                  <a:pt x="7" y="20"/>
                  <a:pt x="7" y="21"/>
                  <a:pt x="7" y="21"/>
                </a:cubicBezTo>
                <a:cubicBezTo>
                  <a:pt x="7" y="21"/>
                  <a:pt x="7" y="21"/>
                  <a:pt x="7" y="22"/>
                </a:cubicBezTo>
                <a:cubicBezTo>
                  <a:pt x="6" y="22"/>
                  <a:pt x="6" y="23"/>
                  <a:pt x="6" y="23"/>
                </a:cubicBezTo>
                <a:cubicBezTo>
                  <a:pt x="6" y="24"/>
                  <a:pt x="7" y="26"/>
                  <a:pt x="6" y="26"/>
                </a:cubicBezTo>
                <a:cubicBezTo>
                  <a:pt x="5" y="26"/>
                  <a:pt x="7" y="28"/>
                  <a:pt x="7" y="28"/>
                </a:cubicBezTo>
                <a:cubicBezTo>
                  <a:pt x="7" y="29"/>
                  <a:pt x="10" y="31"/>
                  <a:pt x="8" y="31"/>
                </a:cubicBezTo>
                <a:cubicBezTo>
                  <a:pt x="8" y="32"/>
                  <a:pt x="7" y="32"/>
                  <a:pt x="7" y="33"/>
                </a:cubicBezTo>
                <a:cubicBezTo>
                  <a:pt x="7" y="33"/>
                  <a:pt x="8" y="34"/>
                  <a:pt x="8" y="35"/>
                </a:cubicBezTo>
                <a:cubicBezTo>
                  <a:pt x="8" y="36"/>
                  <a:pt x="8" y="37"/>
                  <a:pt x="7" y="39"/>
                </a:cubicBezTo>
                <a:cubicBezTo>
                  <a:pt x="7" y="39"/>
                  <a:pt x="7" y="39"/>
                  <a:pt x="7" y="40"/>
                </a:cubicBezTo>
                <a:cubicBezTo>
                  <a:pt x="7" y="41"/>
                  <a:pt x="7" y="41"/>
                  <a:pt x="8" y="41"/>
                </a:cubicBezTo>
                <a:cubicBezTo>
                  <a:pt x="9" y="41"/>
                  <a:pt x="8" y="44"/>
                  <a:pt x="8" y="44"/>
                </a:cubicBezTo>
                <a:cubicBezTo>
                  <a:pt x="8" y="45"/>
                  <a:pt x="8" y="45"/>
                  <a:pt x="7" y="45"/>
                </a:cubicBezTo>
                <a:cubicBezTo>
                  <a:pt x="6" y="46"/>
                  <a:pt x="7" y="46"/>
                  <a:pt x="7" y="46"/>
                </a:cubicBezTo>
                <a:cubicBezTo>
                  <a:pt x="7" y="47"/>
                  <a:pt x="7" y="47"/>
                  <a:pt x="7" y="47"/>
                </a:cubicBezTo>
                <a:cubicBezTo>
                  <a:pt x="7" y="47"/>
                  <a:pt x="7" y="47"/>
                  <a:pt x="7" y="48"/>
                </a:cubicBezTo>
                <a:cubicBezTo>
                  <a:pt x="7" y="48"/>
                  <a:pt x="8" y="48"/>
                  <a:pt x="8" y="48"/>
                </a:cubicBezTo>
                <a:cubicBezTo>
                  <a:pt x="8" y="48"/>
                  <a:pt x="8" y="49"/>
                  <a:pt x="8" y="49"/>
                </a:cubicBezTo>
                <a:cubicBezTo>
                  <a:pt x="8" y="50"/>
                  <a:pt x="8" y="50"/>
                  <a:pt x="9" y="50"/>
                </a:cubicBezTo>
                <a:cubicBezTo>
                  <a:pt x="9" y="50"/>
                  <a:pt x="9" y="51"/>
                  <a:pt x="9" y="51"/>
                </a:cubicBezTo>
                <a:cubicBezTo>
                  <a:pt x="9" y="52"/>
                  <a:pt x="10" y="52"/>
                  <a:pt x="10" y="52"/>
                </a:cubicBezTo>
                <a:cubicBezTo>
                  <a:pt x="11" y="53"/>
                  <a:pt x="11" y="53"/>
                  <a:pt x="11" y="53"/>
                </a:cubicBezTo>
                <a:cubicBezTo>
                  <a:pt x="12" y="54"/>
                  <a:pt x="12" y="54"/>
                  <a:pt x="12" y="54"/>
                </a:cubicBezTo>
                <a:cubicBezTo>
                  <a:pt x="13" y="55"/>
                  <a:pt x="13" y="54"/>
                  <a:pt x="13" y="55"/>
                </a:cubicBezTo>
                <a:cubicBezTo>
                  <a:pt x="14" y="55"/>
                  <a:pt x="15" y="55"/>
                  <a:pt x="16" y="54"/>
                </a:cubicBezTo>
                <a:cubicBezTo>
                  <a:pt x="16" y="54"/>
                  <a:pt x="17" y="54"/>
                  <a:pt x="17" y="54"/>
                </a:cubicBezTo>
                <a:cubicBezTo>
                  <a:pt x="18" y="54"/>
                  <a:pt x="17" y="54"/>
                  <a:pt x="18" y="54"/>
                </a:cubicBezTo>
                <a:cubicBezTo>
                  <a:pt x="18" y="53"/>
                  <a:pt x="19" y="54"/>
                  <a:pt x="19" y="5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6" name="Tonga"/>
          <p:cNvSpPr>
            <a:spLocks noEditPoints="1"/>
          </p:cNvSpPr>
          <p:nvPr/>
        </p:nvSpPr>
        <p:spPr bwMode="auto">
          <a:xfrm>
            <a:off x="1273252" y="5722898"/>
            <a:ext cx="96996" cy="122996"/>
          </a:xfrm>
          <a:custGeom>
            <a:avLst/>
            <a:gdLst/>
            <a:ahLst/>
            <a:cxnLst>
              <a:cxn ang="0">
                <a:pos x="0" y="0"/>
              </a:cxn>
              <a:cxn ang="0">
                <a:pos x="0" y="0"/>
              </a:cxn>
              <a:cxn ang="0">
                <a:pos x="26" y="33"/>
              </a:cxn>
              <a:cxn ang="0">
                <a:pos x="26" y="34"/>
              </a:cxn>
              <a:cxn ang="0">
                <a:pos x="26" y="33"/>
              </a:cxn>
              <a:cxn ang="0">
                <a:pos x="9" y="4"/>
              </a:cxn>
              <a:cxn ang="0">
                <a:pos x="9" y="4"/>
              </a:cxn>
              <a:cxn ang="0">
                <a:pos x="9" y="4"/>
              </a:cxn>
              <a:cxn ang="0">
                <a:pos x="17" y="11"/>
              </a:cxn>
              <a:cxn ang="0">
                <a:pos x="17" y="11"/>
              </a:cxn>
              <a:cxn ang="0">
                <a:pos x="17" y="11"/>
              </a:cxn>
              <a:cxn ang="0">
                <a:pos x="23" y="11"/>
              </a:cxn>
              <a:cxn ang="0">
                <a:pos x="22" y="10"/>
              </a:cxn>
              <a:cxn ang="0">
                <a:pos x="23" y="11"/>
              </a:cxn>
              <a:cxn ang="0">
                <a:pos x="19" y="13"/>
              </a:cxn>
              <a:cxn ang="0">
                <a:pos x="19" y="13"/>
              </a:cxn>
              <a:cxn ang="0">
                <a:pos x="6" y="26"/>
              </a:cxn>
              <a:cxn ang="0">
                <a:pos x="7" y="26"/>
              </a:cxn>
              <a:cxn ang="0">
                <a:pos x="6" y="26"/>
              </a:cxn>
              <a:cxn ang="0">
                <a:pos x="27" y="15"/>
              </a:cxn>
              <a:cxn ang="0">
                <a:pos x="27" y="15"/>
              </a:cxn>
            </a:cxnLst>
            <a:rect l="0" t="0" r="r" b="b"/>
            <a:pathLst>
              <a:path w="27" h="34">
                <a:moveTo>
                  <a:pt x="0" y="0"/>
                </a:moveTo>
                <a:cubicBezTo>
                  <a:pt x="0" y="0"/>
                  <a:pt x="0" y="0"/>
                  <a:pt x="0" y="0"/>
                </a:cubicBezTo>
                <a:close/>
                <a:moveTo>
                  <a:pt x="26" y="33"/>
                </a:moveTo>
                <a:cubicBezTo>
                  <a:pt x="26" y="33"/>
                  <a:pt x="26" y="34"/>
                  <a:pt x="26" y="34"/>
                </a:cubicBezTo>
                <a:cubicBezTo>
                  <a:pt x="27" y="34"/>
                  <a:pt x="27" y="33"/>
                  <a:pt x="26" y="33"/>
                </a:cubicBezTo>
                <a:close/>
                <a:moveTo>
                  <a:pt x="9" y="4"/>
                </a:moveTo>
                <a:cubicBezTo>
                  <a:pt x="9" y="4"/>
                  <a:pt x="9" y="4"/>
                  <a:pt x="9" y="4"/>
                </a:cubicBezTo>
                <a:cubicBezTo>
                  <a:pt x="9" y="4"/>
                  <a:pt x="9" y="4"/>
                  <a:pt x="9" y="4"/>
                </a:cubicBezTo>
                <a:close/>
                <a:moveTo>
                  <a:pt x="17" y="11"/>
                </a:moveTo>
                <a:cubicBezTo>
                  <a:pt x="17" y="11"/>
                  <a:pt x="17" y="11"/>
                  <a:pt x="17" y="11"/>
                </a:cubicBezTo>
                <a:cubicBezTo>
                  <a:pt x="17" y="11"/>
                  <a:pt x="17" y="11"/>
                  <a:pt x="17" y="11"/>
                </a:cubicBezTo>
                <a:close/>
                <a:moveTo>
                  <a:pt x="23" y="11"/>
                </a:moveTo>
                <a:cubicBezTo>
                  <a:pt x="23" y="11"/>
                  <a:pt x="22" y="10"/>
                  <a:pt x="22" y="10"/>
                </a:cubicBezTo>
                <a:cubicBezTo>
                  <a:pt x="22" y="10"/>
                  <a:pt x="22" y="11"/>
                  <a:pt x="23" y="11"/>
                </a:cubicBezTo>
                <a:close/>
                <a:moveTo>
                  <a:pt x="19" y="13"/>
                </a:moveTo>
                <a:cubicBezTo>
                  <a:pt x="20" y="13"/>
                  <a:pt x="18" y="12"/>
                  <a:pt x="19" y="13"/>
                </a:cubicBezTo>
                <a:close/>
                <a:moveTo>
                  <a:pt x="6" y="26"/>
                </a:moveTo>
                <a:cubicBezTo>
                  <a:pt x="6" y="26"/>
                  <a:pt x="7" y="26"/>
                  <a:pt x="7" y="26"/>
                </a:cubicBezTo>
                <a:cubicBezTo>
                  <a:pt x="7" y="26"/>
                  <a:pt x="6" y="25"/>
                  <a:pt x="6" y="26"/>
                </a:cubicBezTo>
                <a:close/>
                <a:moveTo>
                  <a:pt x="27" y="15"/>
                </a:moveTo>
                <a:cubicBezTo>
                  <a:pt x="27" y="14"/>
                  <a:pt x="26" y="14"/>
                  <a:pt x="27" y="1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7" name="Thailand"/>
          <p:cNvSpPr>
            <a:spLocks noEditPoints="1"/>
          </p:cNvSpPr>
          <p:nvPr/>
        </p:nvSpPr>
        <p:spPr bwMode="auto">
          <a:xfrm>
            <a:off x="9158957" y="3849967"/>
            <a:ext cx="306989" cy="588978"/>
          </a:xfrm>
          <a:custGeom>
            <a:avLst/>
            <a:gdLst/>
            <a:ahLst/>
            <a:cxnLst>
              <a:cxn ang="0">
                <a:pos x="21" y="139"/>
              </a:cxn>
              <a:cxn ang="0">
                <a:pos x="23" y="135"/>
              </a:cxn>
              <a:cxn ang="0">
                <a:pos x="83" y="59"/>
              </a:cxn>
              <a:cxn ang="0">
                <a:pos x="81" y="49"/>
              </a:cxn>
              <a:cxn ang="0">
                <a:pos x="74" y="36"/>
              </a:cxn>
              <a:cxn ang="0">
                <a:pos x="65" y="25"/>
              </a:cxn>
              <a:cxn ang="0">
                <a:pos x="56" y="26"/>
              </a:cxn>
              <a:cxn ang="0">
                <a:pos x="47" y="26"/>
              </a:cxn>
              <a:cxn ang="0">
                <a:pos x="40" y="31"/>
              </a:cxn>
              <a:cxn ang="0">
                <a:pos x="37" y="27"/>
              </a:cxn>
              <a:cxn ang="0">
                <a:pos x="37" y="17"/>
              </a:cxn>
              <a:cxn ang="0">
                <a:pos x="33" y="10"/>
              </a:cxn>
              <a:cxn ang="0">
                <a:pos x="29" y="4"/>
              </a:cxn>
              <a:cxn ang="0">
                <a:pos x="24" y="1"/>
              </a:cxn>
              <a:cxn ang="0">
                <a:pos x="15" y="6"/>
              </a:cxn>
              <a:cxn ang="0">
                <a:pos x="6" y="8"/>
              </a:cxn>
              <a:cxn ang="0">
                <a:pos x="3" y="17"/>
              </a:cxn>
              <a:cxn ang="0">
                <a:pos x="3" y="24"/>
              </a:cxn>
              <a:cxn ang="0">
                <a:pos x="6" y="31"/>
              </a:cxn>
              <a:cxn ang="0">
                <a:pos x="14" y="42"/>
              </a:cxn>
              <a:cxn ang="0">
                <a:pos x="17" y="48"/>
              </a:cxn>
              <a:cxn ang="0">
                <a:pos x="15" y="57"/>
              </a:cxn>
              <a:cxn ang="0">
                <a:pos x="19" y="68"/>
              </a:cxn>
              <a:cxn ang="0">
                <a:pos x="25" y="80"/>
              </a:cxn>
              <a:cxn ang="0">
                <a:pos x="28" y="91"/>
              </a:cxn>
              <a:cxn ang="0">
                <a:pos x="28" y="99"/>
              </a:cxn>
              <a:cxn ang="0">
                <a:pos x="23" y="109"/>
              </a:cxn>
              <a:cxn ang="0">
                <a:pos x="21" y="119"/>
              </a:cxn>
              <a:cxn ang="0">
                <a:pos x="20" y="126"/>
              </a:cxn>
              <a:cxn ang="0">
                <a:pos x="21" y="136"/>
              </a:cxn>
              <a:cxn ang="0">
                <a:pos x="25" y="137"/>
              </a:cxn>
              <a:cxn ang="0">
                <a:pos x="30" y="144"/>
              </a:cxn>
              <a:cxn ang="0">
                <a:pos x="34" y="149"/>
              </a:cxn>
              <a:cxn ang="0">
                <a:pos x="39" y="152"/>
              </a:cxn>
              <a:cxn ang="0">
                <a:pos x="48" y="156"/>
              </a:cxn>
              <a:cxn ang="0">
                <a:pos x="52" y="161"/>
              </a:cxn>
              <a:cxn ang="0">
                <a:pos x="55" y="154"/>
              </a:cxn>
              <a:cxn ang="0">
                <a:pos x="41" y="147"/>
              </a:cxn>
              <a:cxn ang="0">
                <a:pos x="40" y="142"/>
              </a:cxn>
              <a:cxn ang="0">
                <a:pos x="35" y="129"/>
              </a:cxn>
              <a:cxn ang="0">
                <a:pos x="28" y="121"/>
              </a:cxn>
              <a:cxn ang="0">
                <a:pos x="28" y="110"/>
              </a:cxn>
              <a:cxn ang="0">
                <a:pos x="30" y="101"/>
              </a:cxn>
              <a:cxn ang="0">
                <a:pos x="33" y="89"/>
              </a:cxn>
              <a:cxn ang="0">
                <a:pos x="38" y="76"/>
              </a:cxn>
              <a:cxn ang="0">
                <a:pos x="41" y="85"/>
              </a:cxn>
              <a:cxn ang="0">
                <a:pos x="49" y="86"/>
              </a:cxn>
              <a:cxn ang="0">
                <a:pos x="54" y="89"/>
              </a:cxn>
              <a:cxn ang="0">
                <a:pos x="55" y="91"/>
              </a:cxn>
              <a:cxn ang="0">
                <a:pos x="62" y="96"/>
              </a:cxn>
              <a:cxn ang="0">
                <a:pos x="57" y="83"/>
              </a:cxn>
              <a:cxn ang="0">
                <a:pos x="59" y="72"/>
              </a:cxn>
              <a:cxn ang="0">
                <a:pos x="67" y="67"/>
              </a:cxn>
              <a:cxn ang="0">
                <a:pos x="75" y="67"/>
              </a:cxn>
              <a:cxn ang="0">
                <a:pos x="84" y="63"/>
              </a:cxn>
              <a:cxn ang="0">
                <a:pos x="55" y="92"/>
              </a:cxn>
              <a:cxn ang="0">
                <a:pos x="22" y="136"/>
              </a:cxn>
              <a:cxn ang="0">
                <a:pos x="36" y="118"/>
              </a:cxn>
              <a:cxn ang="0">
                <a:pos x="31" y="146"/>
              </a:cxn>
              <a:cxn ang="0">
                <a:pos x="58" y="96"/>
              </a:cxn>
              <a:cxn ang="0">
                <a:pos x="34" y="151"/>
              </a:cxn>
            </a:cxnLst>
            <a:rect l="0" t="0" r="r" b="b"/>
            <a:pathLst>
              <a:path w="85" h="163">
                <a:moveTo>
                  <a:pt x="15" y="122"/>
                </a:moveTo>
                <a:cubicBezTo>
                  <a:pt x="14" y="122"/>
                  <a:pt x="15" y="121"/>
                  <a:pt x="15" y="122"/>
                </a:cubicBezTo>
                <a:close/>
                <a:moveTo>
                  <a:pt x="20" y="136"/>
                </a:moveTo>
                <a:cubicBezTo>
                  <a:pt x="20" y="135"/>
                  <a:pt x="20" y="136"/>
                  <a:pt x="20" y="136"/>
                </a:cubicBezTo>
                <a:cubicBezTo>
                  <a:pt x="20" y="137"/>
                  <a:pt x="20" y="137"/>
                  <a:pt x="20" y="138"/>
                </a:cubicBezTo>
                <a:cubicBezTo>
                  <a:pt x="20" y="138"/>
                  <a:pt x="20" y="139"/>
                  <a:pt x="20" y="139"/>
                </a:cubicBezTo>
                <a:cubicBezTo>
                  <a:pt x="20" y="140"/>
                  <a:pt x="20" y="140"/>
                  <a:pt x="21" y="139"/>
                </a:cubicBezTo>
                <a:cubicBezTo>
                  <a:pt x="21" y="139"/>
                  <a:pt x="21" y="139"/>
                  <a:pt x="21" y="139"/>
                </a:cubicBezTo>
                <a:cubicBezTo>
                  <a:pt x="22" y="139"/>
                  <a:pt x="21" y="138"/>
                  <a:pt x="21" y="137"/>
                </a:cubicBezTo>
                <a:cubicBezTo>
                  <a:pt x="22" y="136"/>
                  <a:pt x="20" y="136"/>
                  <a:pt x="20" y="136"/>
                </a:cubicBezTo>
                <a:close/>
                <a:moveTo>
                  <a:pt x="29" y="153"/>
                </a:moveTo>
                <a:cubicBezTo>
                  <a:pt x="30" y="154"/>
                  <a:pt x="30" y="153"/>
                  <a:pt x="30" y="153"/>
                </a:cubicBezTo>
                <a:cubicBezTo>
                  <a:pt x="29" y="153"/>
                  <a:pt x="29" y="153"/>
                  <a:pt x="29" y="153"/>
                </a:cubicBezTo>
                <a:close/>
                <a:moveTo>
                  <a:pt x="23" y="135"/>
                </a:moveTo>
                <a:cubicBezTo>
                  <a:pt x="23" y="135"/>
                  <a:pt x="23" y="136"/>
                  <a:pt x="23" y="136"/>
                </a:cubicBezTo>
                <a:cubicBezTo>
                  <a:pt x="23" y="136"/>
                  <a:pt x="23" y="135"/>
                  <a:pt x="23" y="135"/>
                </a:cubicBezTo>
                <a:close/>
                <a:moveTo>
                  <a:pt x="32" y="120"/>
                </a:moveTo>
                <a:cubicBezTo>
                  <a:pt x="32" y="120"/>
                  <a:pt x="32" y="120"/>
                  <a:pt x="32" y="120"/>
                </a:cubicBezTo>
                <a:cubicBezTo>
                  <a:pt x="32" y="120"/>
                  <a:pt x="32" y="119"/>
                  <a:pt x="32" y="120"/>
                </a:cubicBezTo>
                <a:close/>
                <a:moveTo>
                  <a:pt x="42" y="146"/>
                </a:moveTo>
                <a:cubicBezTo>
                  <a:pt x="42" y="146"/>
                  <a:pt x="42" y="147"/>
                  <a:pt x="42" y="147"/>
                </a:cubicBezTo>
                <a:cubicBezTo>
                  <a:pt x="42" y="147"/>
                  <a:pt x="42" y="147"/>
                  <a:pt x="42" y="146"/>
                </a:cubicBezTo>
                <a:close/>
                <a:moveTo>
                  <a:pt x="84" y="60"/>
                </a:moveTo>
                <a:cubicBezTo>
                  <a:pt x="83" y="60"/>
                  <a:pt x="83" y="59"/>
                  <a:pt x="83" y="59"/>
                </a:cubicBezTo>
                <a:cubicBezTo>
                  <a:pt x="83" y="58"/>
                  <a:pt x="83" y="58"/>
                  <a:pt x="83" y="58"/>
                </a:cubicBezTo>
                <a:cubicBezTo>
                  <a:pt x="84" y="57"/>
                  <a:pt x="84" y="57"/>
                  <a:pt x="83" y="57"/>
                </a:cubicBezTo>
                <a:cubicBezTo>
                  <a:pt x="82" y="57"/>
                  <a:pt x="83" y="56"/>
                  <a:pt x="84" y="56"/>
                </a:cubicBezTo>
                <a:cubicBezTo>
                  <a:pt x="84" y="55"/>
                  <a:pt x="84" y="55"/>
                  <a:pt x="84" y="54"/>
                </a:cubicBezTo>
                <a:cubicBezTo>
                  <a:pt x="84" y="54"/>
                  <a:pt x="84" y="53"/>
                  <a:pt x="83" y="53"/>
                </a:cubicBezTo>
                <a:cubicBezTo>
                  <a:pt x="83" y="52"/>
                  <a:pt x="82" y="52"/>
                  <a:pt x="81" y="51"/>
                </a:cubicBezTo>
                <a:cubicBezTo>
                  <a:pt x="81" y="51"/>
                  <a:pt x="81" y="50"/>
                  <a:pt x="81" y="50"/>
                </a:cubicBezTo>
                <a:cubicBezTo>
                  <a:pt x="81" y="50"/>
                  <a:pt x="81" y="49"/>
                  <a:pt x="81" y="49"/>
                </a:cubicBezTo>
                <a:cubicBezTo>
                  <a:pt x="81" y="49"/>
                  <a:pt x="80" y="49"/>
                  <a:pt x="80" y="49"/>
                </a:cubicBezTo>
                <a:cubicBezTo>
                  <a:pt x="79" y="49"/>
                  <a:pt x="78" y="49"/>
                  <a:pt x="78" y="48"/>
                </a:cubicBezTo>
                <a:cubicBezTo>
                  <a:pt x="78" y="48"/>
                  <a:pt x="77" y="48"/>
                  <a:pt x="77" y="47"/>
                </a:cubicBezTo>
                <a:cubicBezTo>
                  <a:pt x="77" y="47"/>
                  <a:pt x="77" y="46"/>
                  <a:pt x="76" y="46"/>
                </a:cubicBezTo>
                <a:cubicBezTo>
                  <a:pt x="76" y="45"/>
                  <a:pt x="75" y="45"/>
                  <a:pt x="75" y="44"/>
                </a:cubicBezTo>
                <a:cubicBezTo>
                  <a:pt x="75" y="44"/>
                  <a:pt x="74" y="44"/>
                  <a:pt x="74" y="43"/>
                </a:cubicBezTo>
                <a:cubicBezTo>
                  <a:pt x="74" y="42"/>
                  <a:pt x="74" y="41"/>
                  <a:pt x="74" y="40"/>
                </a:cubicBezTo>
                <a:cubicBezTo>
                  <a:pt x="73" y="38"/>
                  <a:pt x="74" y="37"/>
                  <a:pt x="74" y="36"/>
                </a:cubicBezTo>
                <a:cubicBezTo>
                  <a:pt x="74" y="35"/>
                  <a:pt x="73" y="34"/>
                  <a:pt x="73" y="34"/>
                </a:cubicBezTo>
                <a:cubicBezTo>
                  <a:pt x="73" y="33"/>
                  <a:pt x="72" y="33"/>
                  <a:pt x="72" y="33"/>
                </a:cubicBezTo>
                <a:cubicBezTo>
                  <a:pt x="71" y="32"/>
                  <a:pt x="71" y="32"/>
                  <a:pt x="70" y="31"/>
                </a:cubicBezTo>
                <a:cubicBezTo>
                  <a:pt x="70" y="31"/>
                  <a:pt x="69" y="31"/>
                  <a:pt x="69" y="30"/>
                </a:cubicBezTo>
                <a:cubicBezTo>
                  <a:pt x="68" y="30"/>
                  <a:pt x="68" y="29"/>
                  <a:pt x="67" y="29"/>
                </a:cubicBezTo>
                <a:cubicBezTo>
                  <a:pt x="67" y="28"/>
                  <a:pt x="67" y="28"/>
                  <a:pt x="67" y="28"/>
                </a:cubicBezTo>
                <a:cubicBezTo>
                  <a:pt x="67" y="27"/>
                  <a:pt x="66" y="27"/>
                  <a:pt x="66" y="26"/>
                </a:cubicBezTo>
                <a:cubicBezTo>
                  <a:pt x="65" y="26"/>
                  <a:pt x="65" y="25"/>
                  <a:pt x="65" y="25"/>
                </a:cubicBezTo>
                <a:cubicBezTo>
                  <a:pt x="65" y="24"/>
                  <a:pt x="64" y="24"/>
                  <a:pt x="64" y="24"/>
                </a:cubicBezTo>
                <a:cubicBezTo>
                  <a:pt x="63" y="24"/>
                  <a:pt x="63" y="24"/>
                  <a:pt x="63" y="24"/>
                </a:cubicBezTo>
                <a:cubicBezTo>
                  <a:pt x="62" y="24"/>
                  <a:pt x="62" y="24"/>
                  <a:pt x="61" y="24"/>
                </a:cubicBezTo>
                <a:cubicBezTo>
                  <a:pt x="61" y="24"/>
                  <a:pt x="60" y="23"/>
                  <a:pt x="60" y="23"/>
                </a:cubicBezTo>
                <a:cubicBezTo>
                  <a:pt x="59" y="23"/>
                  <a:pt x="58" y="22"/>
                  <a:pt x="57" y="23"/>
                </a:cubicBezTo>
                <a:cubicBezTo>
                  <a:pt x="57" y="24"/>
                  <a:pt x="57" y="24"/>
                  <a:pt x="57" y="24"/>
                </a:cubicBezTo>
                <a:cubicBezTo>
                  <a:pt x="58" y="24"/>
                  <a:pt x="57" y="24"/>
                  <a:pt x="57" y="25"/>
                </a:cubicBezTo>
                <a:cubicBezTo>
                  <a:pt x="56" y="25"/>
                  <a:pt x="57" y="26"/>
                  <a:pt x="56" y="26"/>
                </a:cubicBezTo>
                <a:cubicBezTo>
                  <a:pt x="55" y="26"/>
                  <a:pt x="56" y="27"/>
                  <a:pt x="56" y="27"/>
                </a:cubicBezTo>
                <a:cubicBezTo>
                  <a:pt x="56" y="28"/>
                  <a:pt x="55" y="27"/>
                  <a:pt x="55" y="27"/>
                </a:cubicBezTo>
                <a:cubicBezTo>
                  <a:pt x="54" y="27"/>
                  <a:pt x="54" y="28"/>
                  <a:pt x="54" y="28"/>
                </a:cubicBezTo>
                <a:cubicBezTo>
                  <a:pt x="53" y="28"/>
                  <a:pt x="53" y="29"/>
                  <a:pt x="52" y="29"/>
                </a:cubicBezTo>
                <a:cubicBezTo>
                  <a:pt x="52" y="29"/>
                  <a:pt x="53" y="29"/>
                  <a:pt x="52" y="30"/>
                </a:cubicBezTo>
                <a:cubicBezTo>
                  <a:pt x="52" y="30"/>
                  <a:pt x="52" y="29"/>
                  <a:pt x="52" y="29"/>
                </a:cubicBezTo>
                <a:cubicBezTo>
                  <a:pt x="52" y="27"/>
                  <a:pt x="50" y="28"/>
                  <a:pt x="50" y="28"/>
                </a:cubicBezTo>
                <a:cubicBezTo>
                  <a:pt x="49" y="27"/>
                  <a:pt x="48" y="27"/>
                  <a:pt x="47" y="26"/>
                </a:cubicBezTo>
                <a:cubicBezTo>
                  <a:pt x="47" y="25"/>
                  <a:pt x="46" y="25"/>
                  <a:pt x="46" y="26"/>
                </a:cubicBezTo>
                <a:cubicBezTo>
                  <a:pt x="45" y="27"/>
                  <a:pt x="45" y="27"/>
                  <a:pt x="44" y="27"/>
                </a:cubicBezTo>
                <a:cubicBezTo>
                  <a:pt x="43" y="27"/>
                  <a:pt x="43" y="28"/>
                  <a:pt x="43" y="28"/>
                </a:cubicBezTo>
                <a:cubicBezTo>
                  <a:pt x="43" y="28"/>
                  <a:pt x="42" y="29"/>
                  <a:pt x="42" y="29"/>
                </a:cubicBezTo>
                <a:cubicBezTo>
                  <a:pt x="42" y="29"/>
                  <a:pt x="42" y="29"/>
                  <a:pt x="42" y="30"/>
                </a:cubicBezTo>
                <a:cubicBezTo>
                  <a:pt x="42" y="30"/>
                  <a:pt x="41" y="30"/>
                  <a:pt x="41" y="30"/>
                </a:cubicBezTo>
                <a:cubicBezTo>
                  <a:pt x="41" y="30"/>
                  <a:pt x="41" y="30"/>
                  <a:pt x="40" y="30"/>
                </a:cubicBezTo>
                <a:cubicBezTo>
                  <a:pt x="40" y="30"/>
                  <a:pt x="41" y="31"/>
                  <a:pt x="40" y="31"/>
                </a:cubicBezTo>
                <a:cubicBezTo>
                  <a:pt x="40" y="31"/>
                  <a:pt x="40" y="31"/>
                  <a:pt x="40" y="31"/>
                </a:cubicBezTo>
                <a:cubicBezTo>
                  <a:pt x="39" y="32"/>
                  <a:pt x="39" y="33"/>
                  <a:pt x="38" y="33"/>
                </a:cubicBezTo>
                <a:cubicBezTo>
                  <a:pt x="38" y="33"/>
                  <a:pt x="37" y="32"/>
                  <a:pt x="37" y="32"/>
                </a:cubicBezTo>
                <a:cubicBezTo>
                  <a:pt x="35" y="32"/>
                  <a:pt x="36" y="32"/>
                  <a:pt x="36" y="31"/>
                </a:cubicBezTo>
                <a:cubicBezTo>
                  <a:pt x="36" y="30"/>
                  <a:pt x="36" y="30"/>
                  <a:pt x="36" y="29"/>
                </a:cubicBezTo>
                <a:cubicBezTo>
                  <a:pt x="36" y="29"/>
                  <a:pt x="37" y="29"/>
                  <a:pt x="36" y="29"/>
                </a:cubicBezTo>
                <a:cubicBezTo>
                  <a:pt x="36" y="29"/>
                  <a:pt x="37" y="28"/>
                  <a:pt x="37" y="28"/>
                </a:cubicBezTo>
                <a:cubicBezTo>
                  <a:pt x="37" y="28"/>
                  <a:pt x="37" y="28"/>
                  <a:pt x="37" y="27"/>
                </a:cubicBezTo>
                <a:cubicBezTo>
                  <a:pt x="38" y="27"/>
                  <a:pt x="38" y="27"/>
                  <a:pt x="38" y="26"/>
                </a:cubicBezTo>
                <a:cubicBezTo>
                  <a:pt x="37" y="26"/>
                  <a:pt x="38" y="26"/>
                  <a:pt x="38" y="25"/>
                </a:cubicBezTo>
                <a:cubicBezTo>
                  <a:pt x="38" y="25"/>
                  <a:pt x="37" y="25"/>
                  <a:pt x="37" y="25"/>
                </a:cubicBezTo>
                <a:cubicBezTo>
                  <a:pt x="37" y="24"/>
                  <a:pt x="37" y="24"/>
                  <a:pt x="37" y="23"/>
                </a:cubicBezTo>
                <a:cubicBezTo>
                  <a:pt x="36" y="23"/>
                  <a:pt x="36" y="23"/>
                  <a:pt x="36" y="22"/>
                </a:cubicBezTo>
                <a:cubicBezTo>
                  <a:pt x="36" y="22"/>
                  <a:pt x="37" y="21"/>
                  <a:pt x="37" y="21"/>
                </a:cubicBezTo>
                <a:cubicBezTo>
                  <a:pt x="37" y="20"/>
                  <a:pt x="38" y="20"/>
                  <a:pt x="37" y="20"/>
                </a:cubicBezTo>
                <a:cubicBezTo>
                  <a:pt x="37" y="19"/>
                  <a:pt x="37" y="18"/>
                  <a:pt x="37" y="17"/>
                </a:cubicBezTo>
                <a:cubicBezTo>
                  <a:pt x="38" y="17"/>
                  <a:pt x="38" y="16"/>
                  <a:pt x="38" y="16"/>
                </a:cubicBezTo>
                <a:cubicBezTo>
                  <a:pt x="37" y="15"/>
                  <a:pt x="37" y="15"/>
                  <a:pt x="37" y="14"/>
                </a:cubicBezTo>
                <a:cubicBezTo>
                  <a:pt x="37" y="14"/>
                  <a:pt x="37" y="13"/>
                  <a:pt x="36" y="13"/>
                </a:cubicBezTo>
                <a:cubicBezTo>
                  <a:pt x="36" y="12"/>
                  <a:pt x="36" y="12"/>
                  <a:pt x="36" y="12"/>
                </a:cubicBezTo>
                <a:cubicBezTo>
                  <a:pt x="36" y="11"/>
                  <a:pt x="36" y="11"/>
                  <a:pt x="36" y="11"/>
                </a:cubicBezTo>
                <a:cubicBezTo>
                  <a:pt x="37" y="11"/>
                  <a:pt x="37" y="10"/>
                  <a:pt x="36" y="10"/>
                </a:cubicBezTo>
                <a:cubicBezTo>
                  <a:pt x="36" y="10"/>
                  <a:pt x="35" y="10"/>
                  <a:pt x="35" y="10"/>
                </a:cubicBezTo>
                <a:cubicBezTo>
                  <a:pt x="34" y="10"/>
                  <a:pt x="34" y="10"/>
                  <a:pt x="33" y="10"/>
                </a:cubicBezTo>
                <a:cubicBezTo>
                  <a:pt x="32" y="10"/>
                  <a:pt x="32" y="11"/>
                  <a:pt x="32" y="11"/>
                </a:cubicBezTo>
                <a:cubicBezTo>
                  <a:pt x="31" y="11"/>
                  <a:pt x="31" y="10"/>
                  <a:pt x="30" y="10"/>
                </a:cubicBezTo>
                <a:cubicBezTo>
                  <a:pt x="30" y="10"/>
                  <a:pt x="30" y="11"/>
                  <a:pt x="30" y="11"/>
                </a:cubicBezTo>
                <a:cubicBezTo>
                  <a:pt x="30" y="11"/>
                  <a:pt x="30" y="11"/>
                  <a:pt x="30" y="11"/>
                </a:cubicBezTo>
                <a:cubicBezTo>
                  <a:pt x="29" y="11"/>
                  <a:pt x="29" y="10"/>
                  <a:pt x="28" y="10"/>
                </a:cubicBezTo>
                <a:cubicBezTo>
                  <a:pt x="28" y="9"/>
                  <a:pt x="28" y="8"/>
                  <a:pt x="28" y="7"/>
                </a:cubicBezTo>
                <a:cubicBezTo>
                  <a:pt x="29" y="7"/>
                  <a:pt x="29" y="6"/>
                  <a:pt x="29" y="6"/>
                </a:cubicBezTo>
                <a:cubicBezTo>
                  <a:pt x="29" y="5"/>
                  <a:pt x="29" y="4"/>
                  <a:pt x="29" y="4"/>
                </a:cubicBezTo>
                <a:cubicBezTo>
                  <a:pt x="29" y="4"/>
                  <a:pt x="28" y="4"/>
                  <a:pt x="28" y="3"/>
                </a:cubicBezTo>
                <a:cubicBezTo>
                  <a:pt x="28" y="3"/>
                  <a:pt x="27" y="3"/>
                  <a:pt x="27" y="2"/>
                </a:cubicBezTo>
                <a:cubicBezTo>
                  <a:pt x="26" y="1"/>
                  <a:pt x="26" y="1"/>
                  <a:pt x="26" y="1"/>
                </a:cubicBezTo>
                <a:cubicBezTo>
                  <a:pt x="25" y="1"/>
                  <a:pt x="25" y="2"/>
                  <a:pt x="25" y="2"/>
                </a:cubicBezTo>
                <a:cubicBezTo>
                  <a:pt x="25" y="2"/>
                  <a:pt x="25" y="2"/>
                  <a:pt x="25" y="2"/>
                </a:cubicBezTo>
                <a:cubicBezTo>
                  <a:pt x="25" y="3"/>
                  <a:pt x="25" y="3"/>
                  <a:pt x="25" y="3"/>
                </a:cubicBezTo>
                <a:cubicBezTo>
                  <a:pt x="25" y="3"/>
                  <a:pt x="24" y="3"/>
                  <a:pt x="24" y="3"/>
                </a:cubicBezTo>
                <a:cubicBezTo>
                  <a:pt x="24" y="2"/>
                  <a:pt x="24" y="2"/>
                  <a:pt x="24" y="1"/>
                </a:cubicBezTo>
                <a:cubicBezTo>
                  <a:pt x="23" y="1"/>
                  <a:pt x="23" y="1"/>
                  <a:pt x="23" y="1"/>
                </a:cubicBezTo>
                <a:cubicBezTo>
                  <a:pt x="23" y="1"/>
                  <a:pt x="23" y="0"/>
                  <a:pt x="22" y="0"/>
                </a:cubicBezTo>
                <a:cubicBezTo>
                  <a:pt x="21" y="1"/>
                  <a:pt x="21" y="3"/>
                  <a:pt x="20" y="2"/>
                </a:cubicBezTo>
                <a:cubicBezTo>
                  <a:pt x="20" y="2"/>
                  <a:pt x="18" y="2"/>
                  <a:pt x="18" y="1"/>
                </a:cubicBezTo>
                <a:cubicBezTo>
                  <a:pt x="18" y="2"/>
                  <a:pt x="20" y="3"/>
                  <a:pt x="19" y="4"/>
                </a:cubicBezTo>
                <a:cubicBezTo>
                  <a:pt x="18" y="4"/>
                  <a:pt x="18" y="5"/>
                  <a:pt x="17" y="5"/>
                </a:cubicBezTo>
                <a:cubicBezTo>
                  <a:pt x="17" y="5"/>
                  <a:pt x="16" y="4"/>
                  <a:pt x="16" y="4"/>
                </a:cubicBezTo>
                <a:cubicBezTo>
                  <a:pt x="15" y="4"/>
                  <a:pt x="14" y="5"/>
                  <a:pt x="15" y="6"/>
                </a:cubicBezTo>
                <a:cubicBezTo>
                  <a:pt x="15" y="6"/>
                  <a:pt x="15" y="8"/>
                  <a:pt x="14" y="8"/>
                </a:cubicBezTo>
                <a:cubicBezTo>
                  <a:pt x="14" y="8"/>
                  <a:pt x="14" y="8"/>
                  <a:pt x="13" y="8"/>
                </a:cubicBezTo>
                <a:cubicBezTo>
                  <a:pt x="13" y="7"/>
                  <a:pt x="12" y="8"/>
                  <a:pt x="12" y="8"/>
                </a:cubicBezTo>
                <a:cubicBezTo>
                  <a:pt x="11" y="8"/>
                  <a:pt x="11" y="8"/>
                  <a:pt x="11" y="9"/>
                </a:cubicBezTo>
                <a:cubicBezTo>
                  <a:pt x="10" y="9"/>
                  <a:pt x="10" y="9"/>
                  <a:pt x="10" y="9"/>
                </a:cubicBezTo>
                <a:cubicBezTo>
                  <a:pt x="9" y="9"/>
                  <a:pt x="9" y="9"/>
                  <a:pt x="8" y="9"/>
                </a:cubicBezTo>
                <a:cubicBezTo>
                  <a:pt x="8" y="9"/>
                  <a:pt x="8" y="9"/>
                  <a:pt x="7" y="9"/>
                </a:cubicBezTo>
                <a:cubicBezTo>
                  <a:pt x="7" y="8"/>
                  <a:pt x="6" y="8"/>
                  <a:pt x="6" y="8"/>
                </a:cubicBezTo>
                <a:cubicBezTo>
                  <a:pt x="5" y="7"/>
                  <a:pt x="5" y="9"/>
                  <a:pt x="5" y="9"/>
                </a:cubicBezTo>
                <a:cubicBezTo>
                  <a:pt x="5" y="10"/>
                  <a:pt x="4" y="10"/>
                  <a:pt x="4" y="10"/>
                </a:cubicBezTo>
                <a:cubicBezTo>
                  <a:pt x="4" y="10"/>
                  <a:pt x="4" y="11"/>
                  <a:pt x="4" y="11"/>
                </a:cubicBezTo>
                <a:cubicBezTo>
                  <a:pt x="4" y="12"/>
                  <a:pt x="3" y="12"/>
                  <a:pt x="4" y="13"/>
                </a:cubicBezTo>
                <a:cubicBezTo>
                  <a:pt x="4" y="13"/>
                  <a:pt x="4" y="13"/>
                  <a:pt x="4" y="13"/>
                </a:cubicBezTo>
                <a:cubicBezTo>
                  <a:pt x="4" y="13"/>
                  <a:pt x="4" y="13"/>
                  <a:pt x="4" y="14"/>
                </a:cubicBezTo>
                <a:cubicBezTo>
                  <a:pt x="4" y="15"/>
                  <a:pt x="4" y="15"/>
                  <a:pt x="4" y="16"/>
                </a:cubicBezTo>
                <a:cubicBezTo>
                  <a:pt x="4" y="16"/>
                  <a:pt x="3" y="17"/>
                  <a:pt x="3" y="17"/>
                </a:cubicBezTo>
                <a:cubicBezTo>
                  <a:pt x="3" y="17"/>
                  <a:pt x="4" y="18"/>
                  <a:pt x="4" y="18"/>
                </a:cubicBezTo>
                <a:cubicBezTo>
                  <a:pt x="4" y="18"/>
                  <a:pt x="4" y="19"/>
                  <a:pt x="4" y="20"/>
                </a:cubicBezTo>
                <a:cubicBezTo>
                  <a:pt x="4" y="20"/>
                  <a:pt x="4" y="20"/>
                  <a:pt x="4" y="21"/>
                </a:cubicBezTo>
                <a:cubicBezTo>
                  <a:pt x="5" y="21"/>
                  <a:pt x="4" y="21"/>
                  <a:pt x="4" y="21"/>
                </a:cubicBezTo>
                <a:cubicBezTo>
                  <a:pt x="3" y="21"/>
                  <a:pt x="3" y="22"/>
                  <a:pt x="2" y="22"/>
                </a:cubicBezTo>
                <a:cubicBezTo>
                  <a:pt x="2" y="22"/>
                  <a:pt x="1" y="22"/>
                  <a:pt x="0" y="21"/>
                </a:cubicBezTo>
                <a:cubicBezTo>
                  <a:pt x="0" y="22"/>
                  <a:pt x="1" y="23"/>
                  <a:pt x="2" y="23"/>
                </a:cubicBezTo>
                <a:cubicBezTo>
                  <a:pt x="2" y="24"/>
                  <a:pt x="2" y="25"/>
                  <a:pt x="3" y="24"/>
                </a:cubicBezTo>
                <a:cubicBezTo>
                  <a:pt x="3" y="24"/>
                  <a:pt x="3" y="24"/>
                  <a:pt x="3" y="24"/>
                </a:cubicBezTo>
                <a:cubicBezTo>
                  <a:pt x="4" y="24"/>
                  <a:pt x="3" y="25"/>
                  <a:pt x="3" y="25"/>
                </a:cubicBezTo>
                <a:cubicBezTo>
                  <a:pt x="4" y="25"/>
                  <a:pt x="4" y="26"/>
                  <a:pt x="4" y="26"/>
                </a:cubicBezTo>
                <a:cubicBezTo>
                  <a:pt x="4" y="26"/>
                  <a:pt x="4" y="27"/>
                  <a:pt x="5" y="27"/>
                </a:cubicBezTo>
                <a:cubicBezTo>
                  <a:pt x="5" y="27"/>
                  <a:pt x="5" y="28"/>
                  <a:pt x="5" y="28"/>
                </a:cubicBezTo>
                <a:cubicBezTo>
                  <a:pt x="5" y="28"/>
                  <a:pt x="4" y="29"/>
                  <a:pt x="5" y="29"/>
                </a:cubicBezTo>
                <a:cubicBezTo>
                  <a:pt x="5" y="29"/>
                  <a:pt x="5" y="30"/>
                  <a:pt x="5" y="30"/>
                </a:cubicBezTo>
                <a:cubicBezTo>
                  <a:pt x="6" y="31"/>
                  <a:pt x="6" y="31"/>
                  <a:pt x="6" y="31"/>
                </a:cubicBezTo>
                <a:cubicBezTo>
                  <a:pt x="7" y="32"/>
                  <a:pt x="8" y="32"/>
                  <a:pt x="8" y="33"/>
                </a:cubicBezTo>
                <a:cubicBezTo>
                  <a:pt x="9" y="34"/>
                  <a:pt x="9" y="35"/>
                  <a:pt x="10" y="35"/>
                </a:cubicBezTo>
                <a:cubicBezTo>
                  <a:pt x="11" y="36"/>
                  <a:pt x="11" y="36"/>
                  <a:pt x="12" y="37"/>
                </a:cubicBezTo>
                <a:cubicBezTo>
                  <a:pt x="12" y="38"/>
                  <a:pt x="13" y="38"/>
                  <a:pt x="13" y="38"/>
                </a:cubicBezTo>
                <a:cubicBezTo>
                  <a:pt x="13" y="39"/>
                  <a:pt x="14" y="39"/>
                  <a:pt x="14" y="40"/>
                </a:cubicBezTo>
                <a:cubicBezTo>
                  <a:pt x="14" y="40"/>
                  <a:pt x="14" y="40"/>
                  <a:pt x="14" y="40"/>
                </a:cubicBezTo>
                <a:cubicBezTo>
                  <a:pt x="14" y="41"/>
                  <a:pt x="13" y="41"/>
                  <a:pt x="14" y="42"/>
                </a:cubicBezTo>
                <a:cubicBezTo>
                  <a:pt x="14" y="42"/>
                  <a:pt x="14" y="42"/>
                  <a:pt x="14" y="42"/>
                </a:cubicBezTo>
                <a:cubicBezTo>
                  <a:pt x="15" y="43"/>
                  <a:pt x="15" y="43"/>
                  <a:pt x="15" y="44"/>
                </a:cubicBezTo>
                <a:cubicBezTo>
                  <a:pt x="15" y="44"/>
                  <a:pt x="16" y="45"/>
                  <a:pt x="16" y="46"/>
                </a:cubicBezTo>
                <a:cubicBezTo>
                  <a:pt x="17" y="48"/>
                  <a:pt x="17" y="44"/>
                  <a:pt x="18" y="44"/>
                </a:cubicBezTo>
                <a:cubicBezTo>
                  <a:pt x="18" y="45"/>
                  <a:pt x="18" y="45"/>
                  <a:pt x="18" y="45"/>
                </a:cubicBezTo>
                <a:cubicBezTo>
                  <a:pt x="18" y="46"/>
                  <a:pt x="19" y="46"/>
                  <a:pt x="18" y="47"/>
                </a:cubicBezTo>
                <a:cubicBezTo>
                  <a:pt x="18" y="47"/>
                  <a:pt x="18" y="47"/>
                  <a:pt x="18" y="47"/>
                </a:cubicBezTo>
                <a:cubicBezTo>
                  <a:pt x="18" y="47"/>
                  <a:pt x="18" y="48"/>
                  <a:pt x="18" y="48"/>
                </a:cubicBezTo>
                <a:cubicBezTo>
                  <a:pt x="18" y="48"/>
                  <a:pt x="18" y="48"/>
                  <a:pt x="17" y="48"/>
                </a:cubicBezTo>
                <a:cubicBezTo>
                  <a:pt x="16" y="48"/>
                  <a:pt x="17" y="49"/>
                  <a:pt x="16" y="49"/>
                </a:cubicBezTo>
                <a:cubicBezTo>
                  <a:pt x="15" y="49"/>
                  <a:pt x="16" y="49"/>
                  <a:pt x="16" y="50"/>
                </a:cubicBezTo>
                <a:cubicBezTo>
                  <a:pt x="16" y="50"/>
                  <a:pt x="16" y="51"/>
                  <a:pt x="16" y="51"/>
                </a:cubicBezTo>
                <a:cubicBezTo>
                  <a:pt x="16" y="52"/>
                  <a:pt x="16" y="52"/>
                  <a:pt x="16" y="53"/>
                </a:cubicBezTo>
                <a:cubicBezTo>
                  <a:pt x="16" y="54"/>
                  <a:pt x="16" y="55"/>
                  <a:pt x="16" y="56"/>
                </a:cubicBezTo>
                <a:cubicBezTo>
                  <a:pt x="16" y="56"/>
                  <a:pt x="16" y="57"/>
                  <a:pt x="16" y="57"/>
                </a:cubicBezTo>
                <a:cubicBezTo>
                  <a:pt x="16" y="57"/>
                  <a:pt x="16" y="56"/>
                  <a:pt x="16" y="56"/>
                </a:cubicBezTo>
                <a:cubicBezTo>
                  <a:pt x="15" y="56"/>
                  <a:pt x="15" y="57"/>
                  <a:pt x="15" y="57"/>
                </a:cubicBezTo>
                <a:cubicBezTo>
                  <a:pt x="15" y="57"/>
                  <a:pt x="14" y="57"/>
                  <a:pt x="14" y="57"/>
                </a:cubicBezTo>
                <a:cubicBezTo>
                  <a:pt x="14" y="58"/>
                  <a:pt x="13" y="58"/>
                  <a:pt x="13" y="58"/>
                </a:cubicBezTo>
                <a:cubicBezTo>
                  <a:pt x="13" y="58"/>
                  <a:pt x="13" y="59"/>
                  <a:pt x="13" y="59"/>
                </a:cubicBezTo>
                <a:cubicBezTo>
                  <a:pt x="13" y="59"/>
                  <a:pt x="13" y="60"/>
                  <a:pt x="13" y="60"/>
                </a:cubicBezTo>
                <a:cubicBezTo>
                  <a:pt x="13" y="60"/>
                  <a:pt x="13" y="60"/>
                  <a:pt x="13" y="61"/>
                </a:cubicBezTo>
                <a:cubicBezTo>
                  <a:pt x="14" y="62"/>
                  <a:pt x="14" y="62"/>
                  <a:pt x="14" y="63"/>
                </a:cubicBezTo>
                <a:cubicBezTo>
                  <a:pt x="15" y="64"/>
                  <a:pt x="16" y="65"/>
                  <a:pt x="17" y="66"/>
                </a:cubicBezTo>
                <a:cubicBezTo>
                  <a:pt x="17" y="67"/>
                  <a:pt x="18" y="68"/>
                  <a:pt x="19" y="68"/>
                </a:cubicBezTo>
                <a:cubicBezTo>
                  <a:pt x="19" y="69"/>
                  <a:pt x="19" y="69"/>
                  <a:pt x="20" y="69"/>
                </a:cubicBezTo>
                <a:cubicBezTo>
                  <a:pt x="20" y="70"/>
                  <a:pt x="21" y="70"/>
                  <a:pt x="21" y="70"/>
                </a:cubicBezTo>
                <a:cubicBezTo>
                  <a:pt x="22" y="71"/>
                  <a:pt x="22" y="72"/>
                  <a:pt x="22" y="72"/>
                </a:cubicBezTo>
                <a:cubicBezTo>
                  <a:pt x="23" y="72"/>
                  <a:pt x="23" y="72"/>
                  <a:pt x="23" y="73"/>
                </a:cubicBezTo>
                <a:cubicBezTo>
                  <a:pt x="23" y="73"/>
                  <a:pt x="23" y="73"/>
                  <a:pt x="23" y="73"/>
                </a:cubicBezTo>
                <a:cubicBezTo>
                  <a:pt x="24" y="74"/>
                  <a:pt x="24" y="75"/>
                  <a:pt x="24" y="76"/>
                </a:cubicBezTo>
                <a:cubicBezTo>
                  <a:pt x="24" y="76"/>
                  <a:pt x="24" y="77"/>
                  <a:pt x="25" y="78"/>
                </a:cubicBezTo>
                <a:cubicBezTo>
                  <a:pt x="25" y="78"/>
                  <a:pt x="24" y="79"/>
                  <a:pt x="25" y="80"/>
                </a:cubicBezTo>
                <a:cubicBezTo>
                  <a:pt x="25" y="80"/>
                  <a:pt x="24" y="80"/>
                  <a:pt x="24" y="81"/>
                </a:cubicBezTo>
                <a:cubicBezTo>
                  <a:pt x="24" y="81"/>
                  <a:pt x="24" y="81"/>
                  <a:pt x="24" y="82"/>
                </a:cubicBezTo>
                <a:cubicBezTo>
                  <a:pt x="24" y="82"/>
                  <a:pt x="24" y="82"/>
                  <a:pt x="25" y="82"/>
                </a:cubicBezTo>
                <a:cubicBezTo>
                  <a:pt x="25" y="83"/>
                  <a:pt x="25" y="84"/>
                  <a:pt x="25" y="84"/>
                </a:cubicBezTo>
                <a:cubicBezTo>
                  <a:pt x="25" y="85"/>
                  <a:pt x="26" y="85"/>
                  <a:pt x="26" y="86"/>
                </a:cubicBezTo>
                <a:cubicBezTo>
                  <a:pt x="26" y="86"/>
                  <a:pt x="28" y="87"/>
                  <a:pt x="28" y="87"/>
                </a:cubicBezTo>
                <a:cubicBezTo>
                  <a:pt x="27" y="88"/>
                  <a:pt x="28" y="89"/>
                  <a:pt x="28" y="90"/>
                </a:cubicBezTo>
                <a:cubicBezTo>
                  <a:pt x="28" y="90"/>
                  <a:pt x="28" y="91"/>
                  <a:pt x="28" y="91"/>
                </a:cubicBezTo>
                <a:cubicBezTo>
                  <a:pt x="28" y="92"/>
                  <a:pt x="28" y="92"/>
                  <a:pt x="29" y="92"/>
                </a:cubicBezTo>
                <a:cubicBezTo>
                  <a:pt x="29" y="92"/>
                  <a:pt x="29" y="92"/>
                  <a:pt x="29" y="92"/>
                </a:cubicBezTo>
                <a:cubicBezTo>
                  <a:pt x="29" y="93"/>
                  <a:pt x="29" y="93"/>
                  <a:pt x="29" y="93"/>
                </a:cubicBezTo>
                <a:cubicBezTo>
                  <a:pt x="30" y="94"/>
                  <a:pt x="29" y="95"/>
                  <a:pt x="30" y="95"/>
                </a:cubicBezTo>
                <a:cubicBezTo>
                  <a:pt x="31" y="95"/>
                  <a:pt x="30" y="96"/>
                  <a:pt x="30" y="97"/>
                </a:cubicBezTo>
                <a:cubicBezTo>
                  <a:pt x="30" y="97"/>
                  <a:pt x="29" y="97"/>
                  <a:pt x="29" y="97"/>
                </a:cubicBezTo>
                <a:cubicBezTo>
                  <a:pt x="29" y="98"/>
                  <a:pt x="29" y="98"/>
                  <a:pt x="29" y="98"/>
                </a:cubicBezTo>
                <a:cubicBezTo>
                  <a:pt x="29" y="99"/>
                  <a:pt x="29" y="99"/>
                  <a:pt x="28" y="99"/>
                </a:cubicBezTo>
                <a:cubicBezTo>
                  <a:pt x="28" y="100"/>
                  <a:pt x="28" y="100"/>
                  <a:pt x="28" y="101"/>
                </a:cubicBezTo>
                <a:cubicBezTo>
                  <a:pt x="28" y="101"/>
                  <a:pt x="27" y="102"/>
                  <a:pt x="27" y="103"/>
                </a:cubicBezTo>
                <a:cubicBezTo>
                  <a:pt x="27" y="103"/>
                  <a:pt x="26" y="104"/>
                  <a:pt x="26" y="104"/>
                </a:cubicBezTo>
                <a:cubicBezTo>
                  <a:pt x="26" y="104"/>
                  <a:pt x="26" y="105"/>
                  <a:pt x="25" y="105"/>
                </a:cubicBezTo>
                <a:cubicBezTo>
                  <a:pt x="25" y="105"/>
                  <a:pt x="25" y="105"/>
                  <a:pt x="25" y="105"/>
                </a:cubicBezTo>
                <a:cubicBezTo>
                  <a:pt x="25" y="105"/>
                  <a:pt x="25" y="106"/>
                  <a:pt x="25" y="106"/>
                </a:cubicBezTo>
                <a:cubicBezTo>
                  <a:pt x="24" y="106"/>
                  <a:pt x="24" y="106"/>
                  <a:pt x="24" y="107"/>
                </a:cubicBezTo>
                <a:cubicBezTo>
                  <a:pt x="23" y="107"/>
                  <a:pt x="23" y="108"/>
                  <a:pt x="23" y="109"/>
                </a:cubicBezTo>
                <a:cubicBezTo>
                  <a:pt x="23" y="109"/>
                  <a:pt x="23" y="110"/>
                  <a:pt x="23" y="110"/>
                </a:cubicBezTo>
                <a:cubicBezTo>
                  <a:pt x="23" y="111"/>
                  <a:pt x="23" y="112"/>
                  <a:pt x="23" y="113"/>
                </a:cubicBezTo>
                <a:cubicBezTo>
                  <a:pt x="22" y="114"/>
                  <a:pt x="22" y="114"/>
                  <a:pt x="22" y="115"/>
                </a:cubicBezTo>
                <a:cubicBezTo>
                  <a:pt x="22" y="115"/>
                  <a:pt x="22" y="116"/>
                  <a:pt x="22" y="116"/>
                </a:cubicBezTo>
                <a:cubicBezTo>
                  <a:pt x="22" y="116"/>
                  <a:pt x="21" y="117"/>
                  <a:pt x="21" y="117"/>
                </a:cubicBezTo>
                <a:cubicBezTo>
                  <a:pt x="21" y="117"/>
                  <a:pt x="21" y="118"/>
                  <a:pt x="22" y="117"/>
                </a:cubicBezTo>
                <a:cubicBezTo>
                  <a:pt x="21" y="118"/>
                  <a:pt x="21" y="118"/>
                  <a:pt x="21" y="118"/>
                </a:cubicBezTo>
                <a:cubicBezTo>
                  <a:pt x="22" y="118"/>
                  <a:pt x="21" y="119"/>
                  <a:pt x="21" y="119"/>
                </a:cubicBezTo>
                <a:cubicBezTo>
                  <a:pt x="21" y="119"/>
                  <a:pt x="20" y="119"/>
                  <a:pt x="21" y="120"/>
                </a:cubicBezTo>
                <a:cubicBezTo>
                  <a:pt x="21" y="120"/>
                  <a:pt x="21" y="120"/>
                  <a:pt x="21" y="120"/>
                </a:cubicBezTo>
                <a:cubicBezTo>
                  <a:pt x="21" y="121"/>
                  <a:pt x="21" y="121"/>
                  <a:pt x="21" y="120"/>
                </a:cubicBezTo>
                <a:cubicBezTo>
                  <a:pt x="20" y="121"/>
                  <a:pt x="20" y="122"/>
                  <a:pt x="20" y="123"/>
                </a:cubicBezTo>
                <a:cubicBezTo>
                  <a:pt x="20" y="123"/>
                  <a:pt x="20" y="124"/>
                  <a:pt x="19" y="124"/>
                </a:cubicBezTo>
                <a:cubicBezTo>
                  <a:pt x="20" y="125"/>
                  <a:pt x="20" y="125"/>
                  <a:pt x="20" y="126"/>
                </a:cubicBezTo>
                <a:cubicBezTo>
                  <a:pt x="20" y="126"/>
                  <a:pt x="20" y="126"/>
                  <a:pt x="20" y="126"/>
                </a:cubicBezTo>
                <a:cubicBezTo>
                  <a:pt x="20" y="126"/>
                  <a:pt x="20" y="126"/>
                  <a:pt x="20" y="126"/>
                </a:cubicBezTo>
                <a:cubicBezTo>
                  <a:pt x="20" y="126"/>
                  <a:pt x="20" y="127"/>
                  <a:pt x="19" y="127"/>
                </a:cubicBezTo>
                <a:cubicBezTo>
                  <a:pt x="19" y="128"/>
                  <a:pt x="19" y="128"/>
                  <a:pt x="19" y="129"/>
                </a:cubicBezTo>
                <a:cubicBezTo>
                  <a:pt x="19" y="129"/>
                  <a:pt x="19" y="130"/>
                  <a:pt x="19" y="130"/>
                </a:cubicBezTo>
                <a:cubicBezTo>
                  <a:pt x="19" y="131"/>
                  <a:pt x="19" y="131"/>
                  <a:pt x="19" y="132"/>
                </a:cubicBezTo>
                <a:cubicBezTo>
                  <a:pt x="19" y="131"/>
                  <a:pt x="19" y="131"/>
                  <a:pt x="19" y="131"/>
                </a:cubicBezTo>
                <a:cubicBezTo>
                  <a:pt x="18" y="132"/>
                  <a:pt x="19" y="133"/>
                  <a:pt x="19" y="133"/>
                </a:cubicBezTo>
                <a:cubicBezTo>
                  <a:pt x="19" y="134"/>
                  <a:pt x="19" y="135"/>
                  <a:pt x="20" y="135"/>
                </a:cubicBezTo>
                <a:cubicBezTo>
                  <a:pt x="20" y="135"/>
                  <a:pt x="20" y="136"/>
                  <a:pt x="21" y="136"/>
                </a:cubicBezTo>
                <a:cubicBezTo>
                  <a:pt x="21" y="136"/>
                  <a:pt x="21" y="136"/>
                  <a:pt x="21" y="136"/>
                </a:cubicBezTo>
                <a:cubicBezTo>
                  <a:pt x="21" y="135"/>
                  <a:pt x="21" y="135"/>
                  <a:pt x="21" y="134"/>
                </a:cubicBezTo>
                <a:cubicBezTo>
                  <a:pt x="21" y="134"/>
                  <a:pt x="21" y="134"/>
                  <a:pt x="21" y="134"/>
                </a:cubicBezTo>
                <a:cubicBezTo>
                  <a:pt x="21" y="134"/>
                  <a:pt x="24" y="133"/>
                  <a:pt x="23" y="134"/>
                </a:cubicBezTo>
                <a:cubicBezTo>
                  <a:pt x="23" y="134"/>
                  <a:pt x="23" y="135"/>
                  <a:pt x="23" y="134"/>
                </a:cubicBezTo>
                <a:cubicBezTo>
                  <a:pt x="24" y="134"/>
                  <a:pt x="24" y="135"/>
                  <a:pt x="24" y="135"/>
                </a:cubicBezTo>
                <a:cubicBezTo>
                  <a:pt x="24" y="134"/>
                  <a:pt x="24" y="137"/>
                  <a:pt x="24" y="137"/>
                </a:cubicBezTo>
                <a:cubicBezTo>
                  <a:pt x="25" y="137"/>
                  <a:pt x="25" y="137"/>
                  <a:pt x="25" y="137"/>
                </a:cubicBezTo>
                <a:cubicBezTo>
                  <a:pt x="25" y="137"/>
                  <a:pt x="25" y="137"/>
                  <a:pt x="25" y="137"/>
                </a:cubicBezTo>
                <a:cubicBezTo>
                  <a:pt x="26" y="137"/>
                  <a:pt x="26" y="137"/>
                  <a:pt x="26" y="137"/>
                </a:cubicBezTo>
                <a:cubicBezTo>
                  <a:pt x="27" y="138"/>
                  <a:pt x="27" y="139"/>
                  <a:pt x="27" y="138"/>
                </a:cubicBezTo>
                <a:cubicBezTo>
                  <a:pt x="28" y="139"/>
                  <a:pt x="27" y="140"/>
                  <a:pt x="27" y="141"/>
                </a:cubicBezTo>
                <a:cubicBezTo>
                  <a:pt x="28" y="141"/>
                  <a:pt x="28" y="140"/>
                  <a:pt x="28" y="140"/>
                </a:cubicBezTo>
                <a:cubicBezTo>
                  <a:pt x="28" y="140"/>
                  <a:pt x="30" y="141"/>
                  <a:pt x="29" y="141"/>
                </a:cubicBezTo>
                <a:cubicBezTo>
                  <a:pt x="29" y="141"/>
                  <a:pt x="30" y="142"/>
                  <a:pt x="30" y="142"/>
                </a:cubicBezTo>
                <a:cubicBezTo>
                  <a:pt x="30" y="143"/>
                  <a:pt x="30" y="143"/>
                  <a:pt x="30" y="144"/>
                </a:cubicBezTo>
                <a:cubicBezTo>
                  <a:pt x="30" y="144"/>
                  <a:pt x="31" y="145"/>
                  <a:pt x="31" y="145"/>
                </a:cubicBezTo>
                <a:cubicBezTo>
                  <a:pt x="32" y="145"/>
                  <a:pt x="32" y="145"/>
                  <a:pt x="32" y="145"/>
                </a:cubicBezTo>
                <a:cubicBezTo>
                  <a:pt x="32" y="145"/>
                  <a:pt x="32" y="144"/>
                  <a:pt x="32" y="144"/>
                </a:cubicBezTo>
                <a:cubicBezTo>
                  <a:pt x="32" y="146"/>
                  <a:pt x="32" y="145"/>
                  <a:pt x="33" y="144"/>
                </a:cubicBezTo>
                <a:cubicBezTo>
                  <a:pt x="33" y="145"/>
                  <a:pt x="32" y="145"/>
                  <a:pt x="33" y="146"/>
                </a:cubicBezTo>
                <a:cubicBezTo>
                  <a:pt x="33" y="147"/>
                  <a:pt x="33" y="147"/>
                  <a:pt x="34" y="147"/>
                </a:cubicBezTo>
                <a:cubicBezTo>
                  <a:pt x="34" y="147"/>
                  <a:pt x="35" y="146"/>
                  <a:pt x="34" y="148"/>
                </a:cubicBezTo>
                <a:cubicBezTo>
                  <a:pt x="34" y="148"/>
                  <a:pt x="34" y="149"/>
                  <a:pt x="34" y="149"/>
                </a:cubicBezTo>
                <a:cubicBezTo>
                  <a:pt x="34" y="149"/>
                  <a:pt x="34" y="150"/>
                  <a:pt x="34" y="150"/>
                </a:cubicBezTo>
                <a:cubicBezTo>
                  <a:pt x="35" y="150"/>
                  <a:pt x="35" y="150"/>
                  <a:pt x="35" y="150"/>
                </a:cubicBezTo>
                <a:cubicBezTo>
                  <a:pt x="35" y="150"/>
                  <a:pt x="35" y="151"/>
                  <a:pt x="36" y="151"/>
                </a:cubicBezTo>
                <a:cubicBezTo>
                  <a:pt x="36" y="151"/>
                  <a:pt x="36" y="152"/>
                  <a:pt x="37" y="152"/>
                </a:cubicBezTo>
                <a:cubicBezTo>
                  <a:pt x="37" y="153"/>
                  <a:pt x="37" y="153"/>
                  <a:pt x="38" y="154"/>
                </a:cubicBezTo>
                <a:cubicBezTo>
                  <a:pt x="38" y="153"/>
                  <a:pt x="38" y="154"/>
                  <a:pt x="39" y="155"/>
                </a:cubicBezTo>
                <a:cubicBezTo>
                  <a:pt x="39" y="154"/>
                  <a:pt x="39" y="154"/>
                  <a:pt x="39" y="153"/>
                </a:cubicBezTo>
                <a:cubicBezTo>
                  <a:pt x="39" y="152"/>
                  <a:pt x="39" y="152"/>
                  <a:pt x="39" y="152"/>
                </a:cubicBezTo>
                <a:cubicBezTo>
                  <a:pt x="40" y="151"/>
                  <a:pt x="40" y="153"/>
                  <a:pt x="41" y="153"/>
                </a:cubicBezTo>
                <a:cubicBezTo>
                  <a:pt x="42" y="154"/>
                  <a:pt x="43" y="154"/>
                  <a:pt x="43" y="154"/>
                </a:cubicBezTo>
                <a:cubicBezTo>
                  <a:pt x="43" y="154"/>
                  <a:pt x="44" y="154"/>
                  <a:pt x="44" y="154"/>
                </a:cubicBezTo>
                <a:cubicBezTo>
                  <a:pt x="44" y="154"/>
                  <a:pt x="45" y="155"/>
                  <a:pt x="45" y="155"/>
                </a:cubicBezTo>
                <a:cubicBezTo>
                  <a:pt x="45" y="156"/>
                  <a:pt x="45" y="156"/>
                  <a:pt x="46" y="157"/>
                </a:cubicBezTo>
                <a:cubicBezTo>
                  <a:pt x="46" y="157"/>
                  <a:pt x="47" y="156"/>
                  <a:pt x="47" y="156"/>
                </a:cubicBezTo>
                <a:cubicBezTo>
                  <a:pt x="47" y="156"/>
                  <a:pt x="47" y="156"/>
                  <a:pt x="47" y="156"/>
                </a:cubicBezTo>
                <a:cubicBezTo>
                  <a:pt x="47" y="157"/>
                  <a:pt x="48" y="156"/>
                  <a:pt x="48" y="156"/>
                </a:cubicBezTo>
                <a:cubicBezTo>
                  <a:pt x="48" y="157"/>
                  <a:pt x="49" y="157"/>
                  <a:pt x="48" y="157"/>
                </a:cubicBezTo>
                <a:cubicBezTo>
                  <a:pt x="48" y="158"/>
                  <a:pt x="48" y="158"/>
                  <a:pt x="48" y="158"/>
                </a:cubicBezTo>
                <a:cubicBezTo>
                  <a:pt x="48" y="159"/>
                  <a:pt x="48" y="160"/>
                  <a:pt x="48" y="160"/>
                </a:cubicBezTo>
                <a:cubicBezTo>
                  <a:pt x="48" y="160"/>
                  <a:pt x="48" y="161"/>
                  <a:pt x="47" y="161"/>
                </a:cubicBezTo>
                <a:cubicBezTo>
                  <a:pt x="47" y="162"/>
                  <a:pt x="48" y="162"/>
                  <a:pt x="48" y="163"/>
                </a:cubicBezTo>
                <a:cubicBezTo>
                  <a:pt x="49" y="163"/>
                  <a:pt x="49" y="163"/>
                  <a:pt x="50" y="163"/>
                </a:cubicBezTo>
                <a:cubicBezTo>
                  <a:pt x="50" y="162"/>
                  <a:pt x="50" y="161"/>
                  <a:pt x="50" y="161"/>
                </a:cubicBezTo>
                <a:cubicBezTo>
                  <a:pt x="51" y="161"/>
                  <a:pt x="51" y="161"/>
                  <a:pt x="52" y="161"/>
                </a:cubicBezTo>
                <a:cubicBezTo>
                  <a:pt x="52" y="161"/>
                  <a:pt x="53" y="160"/>
                  <a:pt x="53" y="161"/>
                </a:cubicBezTo>
                <a:cubicBezTo>
                  <a:pt x="54" y="161"/>
                  <a:pt x="54" y="162"/>
                  <a:pt x="54" y="162"/>
                </a:cubicBezTo>
                <a:cubicBezTo>
                  <a:pt x="55" y="161"/>
                  <a:pt x="55" y="162"/>
                  <a:pt x="55" y="162"/>
                </a:cubicBezTo>
                <a:cubicBezTo>
                  <a:pt x="56" y="162"/>
                  <a:pt x="56" y="161"/>
                  <a:pt x="56" y="161"/>
                </a:cubicBezTo>
                <a:cubicBezTo>
                  <a:pt x="57" y="161"/>
                  <a:pt x="56" y="160"/>
                  <a:pt x="57" y="159"/>
                </a:cubicBezTo>
                <a:cubicBezTo>
                  <a:pt x="57" y="159"/>
                  <a:pt x="57" y="159"/>
                  <a:pt x="57" y="158"/>
                </a:cubicBezTo>
                <a:cubicBezTo>
                  <a:pt x="58" y="157"/>
                  <a:pt x="57" y="156"/>
                  <a:pt x="56" y="155"/>
                </a:cubicBezTo>
                <a:cubicBezTo>
                  <a:pt x="56" y="155"/>
                  <a:pt x="55" y="154"/>
                  <a:pt x="55" y="154"/>
                </a:cubicBezTo>
                <a:cubicBezTo>
                  <a:pt x="54" y="154"/>
                  <a:pt x="54" y="153"/>
                  <a:pt x="54" y="152"/>
                </a:cubicBezTo>
                <a:cubicBezTo>
                  <a:pt x="53" y="151"/>
                  <a:pt x="53" y="150"/>
                  <a:pt x="52" y="150"/>
                </a:cubicBezTo>
                <a:cubicBezTo>
                  <a:pt x="51" y="150"/>
                  <a:pt x="50" y="149"/>
                  <a:pt x="49" y="149"/>
                </a:cubicBezTo>
                <a:cubicBezTo>
                  <a:pt x="50" y="149"/>
                  <a:pt x="50" y="150"/>
                  <a:pt x="50" y="150"/>
                </a:cubicBezTo>
                <a:cubicBezTo>
                  <a:pt x="49" y="149"/>
                  <a:pt x="48" y="150"/>
                  <a:pt x="47" y="150"/>
                </a:cubicBezTo>
                <a:cubicBezTo>
                  <a:pt x="46" y="150"/>
                  <a:pt x="46" y="149"/>
                  <a:pt x="45" y="149"/>
                </a:cubicBezTo>
                <a:cubicBezTo>
                  <a:pt x="44" y="148"/>
                  <a:pt x="43" y="147"/>
                  <a:pt x="43" y="146"/>
                </a:cubicBezTo>
                <a:cubicBezTo>
                  <a:pt x="43" y="147"/>
                  <a:pt x="42" y="147"/>
                  <a:pt x="41" y="147"/>
                </a:cubicBezTo>
                <a:cubicBezTo>
                  <a:pt x="41" y="146"/>
                  <a:pt x="41" y="146"/>
                  <a:pt x="41" y="145"/>
                </a:cubicBezTo>
                <a:cubicBezTo>
                  <a:pt x="40" y="145"/>
                  <a:pt x="40" y="145"/>
                  <a:pt x="40" y="144"/>
                </a:cubicBezTo>
                <a:cubicBezTo>
                  <a:pt x="39" y="144"/>
                  <a:pt x="38" y="142"/>
                  <a:pt x="38" y="141"/>
                </a:cubicBezTo>
                <a:cubicBezTo>
                  <a:pt x="38" y="141"/>
                  <a:pt x="38" y="140"/>
                  <a:pt x="38" y="140"/>
                </a:cubicBezTo>
                <a:cubicBezTo>
                  <a:pt x="39" y="140"/>
                  <a:pt x="39" y="139"/>
                  <a:pt x="40" y="140"/>
                </a:cubicBezTo>
                <a:cubicBezTo>
                  <a:pt x="40" y="141"/>
                  <a:pt x="40" y="141"/>
                  <a:pt x="39" y="142"/>
                </a:cubicBezTo>
                <a:cubicBezTo>
                  <a:pt x="39" y="142"/>
                  <a:pt x="39" y="143"/>
                  <a:pt x="40" y="142"/>
                </a:cubicBezTo>
                <a:cubicBezTo>
                  <a:pt x="40" y="142"/>
                  <a:pt x="40" y="142"/>
                  <a:pt x="40" y="142"/>
                </a:cubicBezTo>
                <a:cubicBezTo>
                  <a:pt x="41" y="143"/>
                  <a:pt x="41" y="144"/>
                  <a:pt x="41" y="145"/>
                </a:cubicBezTo>
                <a:cubicBezTo>
                  <a:pt x="41" y="145"/>
                  <a:pt x="42" y="146"/>
                  <a:pt x="42" y="146"/>
                </a:cubicBezTo>
                <a:cubicBezTo>
                  <a:pt x="43" y="146"/>
                  <a:pt x="41" y="144"/>
                  <a:pt x="41" y="143"/>
                </a:cubicBezTo>
                <a:cubicBezTo>
                  <a:pt x="41" y="142"/>
                  <a:pt x="40" y="141"/>
                  <a:pt x="40" y="139"/>
                </a:cubicBezTo>
                <a:cubicBezTo>
                  <a:pt x="40" y="138"/>
                  <a:pt x="39" y="136"/>
                  <a:pt x="39" y="135"/>
                </a:cubicBezTo>
                <a:cubicBezTo>
                  <a:pt x="39" y="134"/>
                  <a:pt x="38" y="132"/>
                  <a:pt x="38" y="132"/>
                </a:cubicBezTo>
                <a:cubicBezTo>
                  <a:pt x="38" y="132"/>
                  <a:pt x="38" y="134"/>
                  <a:pt x="37" y="133"/>
                </a:cubicBezTo>
                <a:cubicBezTo>
                  <a:pt x="37" y="132"/>
                  <a:pt x="36" y="131"/>
                  <a:pt x="35" y="129"/>
                </a:cubicBezTo>
                <a:cubicBezTo>
                  <a:pt x="35" y="129"/>
                  <a:pt x="35" y="128"/>
                  <a:pt x="35" y="127"/>
                </a:cubicBezTo>
                <a:cubicBezTo>
                  <a:pt x="35" y="126"/>
                  <a:pt x="35" y="125"/>
                  <a:pt x="35" y="124"/>
                </a:cubicBezTo>
                <a:cubicBezTo>
                  <a:pt x="34" y="123"/>
                  <a:pt x="33" y="123"/>
                  <a:pt x="32" y="123"/>
                </a:cubicBezTo>
                <a:cubicBezTo>
                  <a:pt x="32" y="123"/>
                  <a:pt x="31" y="123"/>
                  <a:pt x="31" y="123"/>
                </a:cubicBezTo>
                <a:cubicBezTo>
                  <a:pt x="31" y="124"/>
                  <a:pt x="31" y="124"/>
                  <a:pt x="31" y="124"/>
                </a:cubicBezTo>
                <a:cubicBezTo>
                  <a:pt x="30" y="124"/>
                  <a:pt x="30" y="124"/>
                  <a:pt x="29" y="124"/>
                </a:cubicBezTo>
                <a:cubicBezTo>
                  <a:pt x="28" y="124"/>
                  <a:pt x="28" y="123"/>
                  <a:pt x="28" y="123"/>
                </a:cubicBezTo>
                <a:cubicBezTo>
                  <a:pt x="29" y="122"/>
                  <a:pt x="29" y="122"/>
                  <a:pt x="28" y="121"/>
                </a:cubicBezTo>
                <a:cubicBezTo>
                  <a:pt x="28" y="120"/>
                  <a:pt x="27" y="119"/>
                  <a:pt x="27" y="118"/>
                </a:cubicBezTo>
                <a:cubicBezTo>
                  <a:pt x="27" y="118"/>
                  <a:pt x="27" y="117"/>
                  <a:pt x="27" y="117"/>
                </a:cubicBezTo>
                <a:cubicBezTo>
                  <a:pt x="27" y="116"/>
                  <a:pt x="27" y="116"/>
                  <a:pt x="27" y="116"/>
                </a:cubicBezTo>
                <a:cubicBezTo>
                  <a:pt x="27" y="115"/>
                  <a:pt x="27" y="115"/>
                  <a:pt x="27" y="114"/>
                </a:cubicBezTo>
                <a:cubicBezTo>
                  <a:pt x="27" y="114"/>
                  <a:pt x="27" y="113"/>
                  <a:pt x="27" y="113"/>
                </a:cubicBezTo>
                <a:cubicBezTo>
                  <a:pt x="27" y="113"/>
                  <a:pt x="28" y="113"/>
                  <a:pt x="28" y="113"/>
                </a:cubicBezTo>
                <a:cubicBezTo>
                  <a:pt x="28" y="113"/>
                  <a:pt x="26" y="111"/>
                  <a:pt x="27" y="111"/>
                </a:cubicBezTo>
                <a:cubicBezTo>
                  <a:pt x="29" y="112"/>
                  <a:pt x="27" y="111"/>
                  <a:pt x="28" y="110"/>
                </a:cubicBezTo>
                <a:cubicBezTo>
                  <a:pt x="28" y="110"/>
                  <a:pt x="27" y="110"/>
                  <a:pt x="27" y="110"/>
                </a:cubicBezTo>
                <a:cubicBezTo>
                  <a:pt x="28" y="109"/>
                  <a:pt x="28" y="109"/>
                  <a:pt x="28" y="109"/>
                </a:cubicBezTo>
                <a:cubicBezTo>
                  <a:pt x="28" y="108"/>
                  <a:pt x="28" y="108"/>
                  <a:pt x="29" y="108"/>
                </a:cubicBezTo>
                <a:cubicBezTo>
                  <a:pt x="29" y="107"/>
                  <a:pt x="29" y="105"/>
                  <a:pt x="30" y="106"/>
                </a:cubicBezTo>
                <a:cubicBezTo>
                  <a:pt x="30" y="106"/>
                  <a:pt x="30" y="104"/>
                  <a:pt x="30" y="104"/>
                </a:cubicBezTo>
                <a:cubicBezTo>
                  <a:pt x="29" y="103"/>
                  <a:pt x="29" y="103"/>
                  <a:pt x="30" y="102"/>
                </a:cubicBezTo>
                <a:cubicBezTo>
                  <a:pt x="30" y="102"/>
                  <a:pt x="30" y="102"/>
                  <a:pt x="30" y="102"/>
                </a:cubicBezTo>
                <a:cubicBezTo>
                  <a:pt x="30" y="102"/>
                  <a:pt x="30" y="102"/>
                  <a:pt x="30" y="101"/>
                </a:cubicBezTo>
                <a:cubicBezTo>
                  <a:pt x="30" y="101"/>
                  <a:pt x="30" y="101"/>
                  <a:pt x="30" y="100"/>
                </a:cubicBezTo>
                <a:cubicBezTo>
                  <a:pt x="31" y="99"/>
                  <a:pt x="31" y="98"/>
                  <a:pt x="31" y="97"/>
                </a:cubicBezTo>
                <a:cubicBezTo>
                  <a:pt x="31" y="97"/>
                  <a:pt x="32" y="97"/>
                  <a:pt x="32" y="96"/>
                </a:cubicBezTo>
                <a:cubicBezTo>
                  <a:pt x="32" y="96"/>
                  <a:pt x="32" y="95"/>
                  <a:pt x="32" y="95"/>
                </a:cubicBezTo>
                <a:cubicBezTo>
                  <a:pt x="32" y="94"/>
                  <a:pt x="32" y="94"/>
                  <a:pt x="33" y="93"/>
                </a:cubicBezTo>
                <a:cubicBezTo>
                  <a:pt x="33" y="92"/>
                  <a:pt x="34" y="92"/>
                  <a:pt x="34" y="91"/>
                </a:cubicBezTo>
                <a:cubicBezTo>
                  <a:pt x="34" y="91"/>
                  <a:pt x="33" y="91"/>
                  <a:pt x="33" y="90"/>
                </a:cubicBezTo>
                <a:cubicBezTo>
                  <a:pt x="33" y="90"/>
                  <a:pt x="33" y="89"/>
                  <a:pt x="33" y="89"/>
                </a:cubicBezTo>
                <a:cubicBezTo>
                  <a:pt x="33" y="88"/>
                  <a:pt x="33" y="87"/>
                  <a:pt x="33" y="86"/>
                </a:cubicBezTo>
                <a:cubicBezTo>
                  <a:pt x="32" y="85"/>
                  <a:pt x="33" y="84"/>
                  <a:pt x="33" y="83"/>
                </a:cubicBezTo>
                <a:cubicBezTo>
                  <a:pt x="33" y="82"/>
                  <a:pt x="34" y="81"/>
                  <a:pt x="33" y="81"/>
                </a:cubicBezTo>
                <a:cubicBezTo>
                  <a:pt x="33" y="80"/>
                  <a:pt x="32" y="80"/>
                  <a:pt x="32" y="79"/>
                </a:cubicBezTo>
                <a:cubicBezTo>
                  <a:pt x="32" y="78"/>
                  <a:pt x="33" y="78"/>
                  <a:pt x="34" y="77"/>
                </a:cubicBezTo>
                <a:cubicBezTo>
                  <a:pt x="34" y="77"/>
                  <a:pt x="35" y="77"/>
                  <a:pt x="35" y="77"/>
                </a:cubicBezTo>
                <a:cubicBezTo>
                  <a:pt x="35" y="77"/>
                  <a:pt x="36" y="77"/>
                  <a:pt x="37" y="77"/>
                </a:cubicBezTo>
                <a:cubicBezTo>
                  <a:pt x="38" y="77"/>
                  <a:pt x="37" y="76"/>
                  <a:pt x="38" y="76"/>
                </a:cubicBezTo>
                <a:cubicBezTo>
                  <a:pt x="38" y="77"/>
                  <a:pt x="41" y="78"/>
                  <a:pt x="42" y="77"/>
                </a:cubicBezTo>
                <a:cubicBezTo>
                  <a:pt x="41" y="77"/>
                  <a:pt x="42" y="78"/>
                  <a:pt x="42" y="79"/>
                </a:cubicBezTo>
                <a:cubicBezTo>
                  <a:pt x="41" y="79"/>
                  <a:pt x="41" y="79"/>
                  <a:pt x="41" y="79"/>
                </a:cubicBezTo>
                <a:cubicBezTo>
                  <a:pt x="41" y="80"/>
                  <a:pt x="41" y="80"/>
                  <a:pt x="41" y="81"/>
                </a:cubicBezTo>
                <a:cubicBezTo>
                  <a:pt x="41" y="81"/>
                  <a:pt x="41" y="82"/>
                  <a:pt x="41" y="82"/>
                </a:cubicBezTo>
                <a:cubicBezTo>
                  <a:pt x="42" y="83"/>
                  <a:pt x="41" y="83"/>
                  <a:pt x="41" y="83"/>
                </a:cubicBezTo>
                <a:cubicBezTo>
                  <a:pt x="41" y="84"/>
                  <a:pt x="42" y="84"/>
                  <a:pt x="42" y="84"/>
                </a:cubicBezTo>
                <a:cubicBezTo>
                  <a:pt x="42" y="85"/>
                  <a:pt x="41" y="85"/>
                  <a:pt x="41" y="85"/>
                </a:cubicBezTo>
                <a:cubicBezTo>
                  <a:pt x="41" y="85"/>
                  <a:pt x="41" y="86"/>
                  <a:pt x="41" y="86"/>
                </a:cubicBezTo>
                <a:cubicBezTo>
                  <a:pt x="42" y="86"/>
                  <a:pt x="42" y="87"/>
                  <a:pt x="42" y="87"/>
                </a:cubicBezTo>
                <a:cubicBezTo>
                  <a:pt x="42" y="87"/>
                  <a:pt x="43" y="86"/>
                  <a:pt x="43" y="86"/>
                </a:cubicBezTo>
                <a:cubicBezTo>
                  <a:pt x="44" y="86"/>
                  <a:pt x="44" y="86"/>
                  <a:pt x="45" y="86"/>
                </a:cubicBezTo>
                <a:cubicBezTo>
                  <a:pt x="45" y="86"/>
                  <a:pt x="46" y="87"/>
                  <a:pt x="47" y="87"/>
                </a:cubicBezTo>
                <a:cubicBezTo>
                  <a:pt x="47" y="87"/>
                  <a:pt x="47" y="87"/>
                  <a:pt x="47" y="86"/>
                </a:cubicBezTo>
                <a:cubicBezTo>
                  <a:pt x="48" y="86"/>
                  <a:pt x="48" y="86"/>
                  <a:pt x="48" y="86"/>
                </a:cubicBezTo>
                <a:cubicBezTo>
                  <a:pt x="49" y="86"/>
                  <a:pt x="49" y="86"/>
                  <a:pt x="49" y="86"/>
                </a:cubicBezTo>
                <a:cubicBezTo>
                  <a:pt x="50" y="85"/>
                  <a:pt x="51" y="87"/>
                  <a:pt x="52" y="88"/>
                </a:cubicBezTo>
                <a:cubicBezTo>
                  <a:pt x="52" y="87"/>
                  <a:pt x="51" y="87"/>
                  <a:pt x="52" y="87"/>
                </a:cubicBezTo>
                <a:cubicBezTo>
                  <a:pt x="52" y="87"/>
                  <a:pt x="53" y="88"/>
                  <a:pt x="53" y="88"/>
                </a:cubicBezTo>
                <a:cubicBezTo>
                  <a:pt x="53" y="88"/>
                  <a:pt x="52" y="87"/>
                  <a:pt x="52" y="87"/>
                </a:cubicBezTo>
                <a:cubicBezTo>
                  <a:pt x="53" y="87"/>
                  <a:pt x="53" y="87"/>
                  <a:pt x="53" y="87"/>
                </a:cubicBezTo>
                <a:cubicBezTo>
                  <a:pt x="52" y="87"/>
                  <a:pt x="53" y="88"/>
                  <a:pt x="53" y="88"/>
                </a:cubicBezTo>
                <a:cubicBezTo>
                  <a:pt x="53" y="88"/>
                  <a:pt x="53" y="88"/>
                  <a:pt x="53" y="88"/>
                </a:cubicBezTo>
                <a:cubicBezTo>
                  <a:pt x="53" y="88"/>
                  <a:pt x="54" y="89"/>
                  <a:pt x="54" y="89"/>
                </a:cubicBezTo>
                <a:cubicBezTo>
                  <a:pt x="54" y="89"/>
                  <a:pt x="54" y="90"/>
                  <a:pt x="55" y="90"/>
                </a:cubicBezTo>
                <a:cubicBezTo>
                  <a:pt x="56" y="90"/>
                  <a:pt x="55" y="89"/>
                  <a:pt x="55" y="89"/>
                </a:cubicBezTo>
                <a:cubicBezTo>
                  <a:pt x="54" y="88"/>
                  <a:pt x="55" y="89"/>
                  <a:pt x="55" y="89"/>
                </a:cubicBezTo>
                <a:cubicBezTo>
                  <a:pt x="55" y="89"/>
                  <a:pt x="55" y="89"/>
                  <a:pt x="55" y="89"/>
                </a:cubicBezTo>
                <a:cubicBezTo>
                  <a:pt x="55" y="89"/>
                  <a:pt x="55" y="90"/>
                  <a:pt x="55" y="90"/>
                </a:cubicBezTo>
                <a:cubicBezTo>
                  <a:pt x="56" y="90"/>
                  <a:pt x="56" y="89"/>
                  <a:pt x="56" y="89"/>
                </a:cubicBezTo>
                <a:cubicBezTo>
                  <a:pt x="57" y="89"/>
                  <a:pt x="55" y="90"/>
                  <a:pt x="55" y="90"/>
                </a:cubicBezTo>
                <a:cubicBezTo>
                  <a:pt x="55" y="91"/>
                  <a:pt x="55" y="91"/>
                  <a:pt x="55" y="91"/>
                </a:cubicBezTo>
                <a:cubicBezTo>
                  <a:pt x="56" y="91"/>
                  <a:pt x="56" y="91"/>
                  <a:pt x="56" y="91"/>
                </a:cubicBezTo>
                <a:cubicBezTo>
                  <a:pt x="57" y="91"/>
                  <a:pt x="57" y="92"/>
                  <a:pt x="58" y="92"/>
                </a:cubicBezTo>
                <a:cubicBezTo>
                  <a:pt x="58" y="92"/>
                  <a:pt x="58" y="93"/>
                  <a:pt x="58" y="93"/>
                </a:cubicBezTo>
                <a:cubicBezTo>
                  <a:pt x="58" y="93"/>
                  <a:pt x="58" y="91"/>
                  <a:pt x="58" y="91"/>
                </a:cubicBezTo>
                <a:cubicBezTo>
                  <a:pt x="59" y="91"/>
                  <a:pt x="59" y="91"/>
                  <a:pt x="59" y="92"/>
                </a:cubicBezTo>
                <a:cubicBezTo>
                  <a:pt x="59" y="92"/>
                  <a:pt x="59" y="92"/>
                  <a:pt x="59" y="92"/>
                </a:cubicBezTo>
                <a:cubicBezTo>
                  <a:pt x="60" y="93"/>
                  <a:pt x="60" y="94"/>
                  <a:pt x="61" y="95"/>
                </a:cubicBezTo>
                <a:cubicBezTo>
                  <a:pt x="61" y="95"/>
                  <a:pt x="61" y="96"/>
                  <a:pt x="62" y="96"/>
                </a:cubicBezTo>
                <a:cubicBezTo>
                  <a:pt x="62" y="97"/>
                  <a:pt x="62" y="97"/>
                  <a:pt x="62" y="97"/>
                </a:cubicBezTo>
                <a:cubicBezTo>
                  <a:pt x="62" y="96"/>
                  <a:pt x="61" y="95"/>
                  <a:pt x="61" y="94"/>
                </a:cubicBezTo>
                <a:cubicBezTo>
                  <a:pt x="60" y="93"/>
                  <a:pt x="60" y="92"/>
                  <a:pt x="60" y="90"/>
                </a:cubicBezTo>
                <a:cubicBezTo>
                  <a:pt x="60" y="90"/>
                  <a:pt x="60" y="89"/>
                  <a:pt x="60" y="88"/>
                </a:cubicBezTo>
                <a:cubicBezTo>
                  <a:pt x="59" y="88"/>
                  <a:pt x="59" y="88"/>
                  <a:pt x="59" y="87"/>
                </a:cubicBezTo>
                <a:cubicBezTo>
                  <a:pt x="59" y="87"/>
                  <a:pt x="57" y="86"/>
                  <a:pt x="57" y="85"/>
                </a:cubicBezTo>
                <a:cubicBezTo>
                  <a:pt x="57" y="85"/>
                  <a:pt x="57" y="85"/>
                  <a:pt x="57" y="84"/>
                </a:cubicBezTo>
                <a:cubicBezTo>
                  <a:pt x="57" y="83"/>
                  <a:pt x="57" y="83"/>
                  <a:pt x="57" y="83"/>
                </a:cubicBezTo>
                <a:cubicBezTo>
                  <a:pt x="57" y="82"/>
                  <a:pt x="57" y="83"/>
                  <a:pt x="57" y="82"/>
                </a:cubicBezTo>
                <a:cubicBezTo>
                  <a:pt x="57" y="82"/>
                  <a:pt x="56" y="82"/>
                  <a:pt x="56" y="82"/>
                </a:cubicBezTo>
                <a:cubicBezTo>
                  <a:pt x="56" y="81"/>
                  <a:pt x="56" y="81"/>
                  <a:pt x="55" y="80"/>
                </a:cubicBezTo>
                <a:cubicBezTo>
                  <a:pt x="55" y="79"/>
                  <a:pt x="55" y="78"/>
                  <a:pt x="55" y="77"/>
                </a:cubicBezTo>
                <a:cubicBezTo>
                  <a:pt x="55" y="76"/>
                  <a:pt x="55" y="76"/>
                  <a:pt x="56" y="76"/>
                </a:cubicBezTo>
                <a:cubicBezTo>
                  <a:pt x="56" y="76"/>
                  <a:pt x="57" y="76"/>
                  <a:pt x="57" y="76"/>
                </a:cubicBezTo>
                <a:cubicBezTo>
                  <a:pt x="56" y="75"/>
                  <a:pt x="58" y="75"/>
                  <a:pt x="58" y="74"/>
                </a:cubicBezTo>
                <a:cubicBezTo>
                  <a:pt x="58" y="73"/>
                  <a:pt x="58" y="73"/>
                  <a:pt x="59" y="72"/>
                </a:cubicBezTo>
                <a:cubicBezTo>
                  <a:pt x="59" y="72"/>
                  <a:pt x="59" y="71"/>
                  <a:pt x="60" y="71"/>
                </a:cubicBezTo>
                <a:cubicBezTo>
                  <a:pt x="60" y="70"/>
                  <a:pt x="59" y="69"/>
                  <a:pt x="60" y="69"/>
                </a:cubicBezTo>
                <a:cubicBezTo>
                  <a:pt x="60" y="69"/>
                  <a:pt x="61" y="69"/>
                  <a:pt x="61" y="68"/>
                </a:cubicBezTo>
                <a:cubicBezTo>
                  <a:pt x="62" y="68"/>
                  <a:pt x="62" y="68"/>
                  <a:pt x="63" y="68"/>
                </a:cubicBezTo>
                <a:cubicBezTo>
                  <a:pt x="63" y="68"/>
                  <a:pt x="64" y="67"/>
                  <a:pt x="64" y="67"/>
                </a:cubicBezTo>
                <a:cubicBezTo>
                  <a:pt x="65" y="67"/>
                  <a:pt x="65" y="67"/>
                  <a:pt x="66" y="67"/>
                </a:cubicBezTo>
                <a:cubicBezTo>
                  <a:pt x="66" y="67"/>
                  <a:pt x="66" y="67"/>
                  <a:pt x="66" y="67"/>
                </a:cubicBezTo>
                <a:cubicBezTo>
                  <a:pt x="67" y="67"/>
                  <a:pt x="66" y="67"/>
                  <a:pt x="67" y="67"/>
                </a:cubicBezTo>
                <a:cubicBezTo>
                  <a:pt x="67" y="67"/>
                  <a:pt x="68" y="67"/>
                  <a:pt x="68" y="67"/>
                </a:cubicBezTo>
                <a:cubicBezTo>
                  <a:pt x="68" y="67"/>
                  <a:pt x="69" y="68"/>
                  <a:pt x="69" y="68"/>
                </a:cubicBezTo>
                <a:cubicBezTo>
                  <a:pt x="69" y="67"/>
                  <a:pt x="69" y="67"/>
                  <a:pt x="70" y="67"/>
                </a:cubicBezTo>
                <a:cubicBezTo>
                  <a:pt x="70" y="68"/>
                  <a:pt x="71" y="67"/>
                  <a:pt x="72" y="67"/>
                </a:cubicBezTo>
                <a:cubicBezTo>
                  <a:pt x="72" y="67"/>
                  <a:pt x="72" y="67"/>
                  <a:pt x="73" y="67"/>
                </a:cubicBezTo>
                <a:cubicBezTo>
                  <a:pt x="73" y="67"/>
                  <a:pt x="74" y="67"/>
                  <a:pt x="74" y="67"/>
                </a:cubicBezTo>
                <a:cubicBezTo>
                  <a:pt x="75" y="67"/>
                  <a:pt x="74" y="67"/>
                  <a:pt x="75" y="67"/>
                </a:cubicBezTo>
                <a:cubicBezTo>
                  <a:pt x="75" y="67"/>
                  <a:pt x="75" y="67"/>
                  <a:pt x="75" y="67"/>
                </a:cubicBezTo>
                <a:cubicBezTo>
                  <a:pt x="75" y="67"/>
                  <a:pt x="76" y="67"/>
                  <a:pt x="76" y="67"/>
                </a:cubicBezTo>
                <a:cubicBezTo>
                  <a:pt x="76" y="67"/>
                  <a:pt x="77" y="67"/>
                  <a:pt x="77" y="67"/>
                </a:cubicBezTo>
                <a:cubicBezTo>
                  <a:pt x="78" y="67"/>
                  <a:pt x="79" y="67"/>
                  <a:pt x="79" y="67"/>
                </a:cubicBezTo>
                <a:cubicBezTo>
                  <a:pt x="79" y="68"/>
                  <a:pt x="79" y="69"/>
                  <a:pt x="80" y="69"/>
                </a:cubicBezTo>
                <a:cubicBezTo>
                  <a:pt x="81" y="69"/>
                  <a:pt x="81" y="69"/>
                  <a:pt x="81" y="68"/>
                </a:cubicBezTo>
                <a:cubicBezTo>
                  <a:pt x="81" y="68"/>
                  <a:pt x="81" y="68"/>
                  <a:pt x="82" y="67"/>
                </a:cubicBezTo>
                <a:cubicBezTo>
                  <a:pt x="83" y="67"/>
                  <a:pt x="83" y="67"/>
                  <a:pt x="84" y="66"/>
                </a:cubicBezTo>
                <a:cubicBezTo>
                  <a:pt x="84" y="65"/>
                  <a:pt x="84" y="65"/>
                  <a:pt x="84" y="63"/>
                </a:cubicBezTo>
                <a:cubicBezTo>
                  <a:pt x="84" y="63"/>
                  <a:pt x="84" y="63"/>
                  <a:pt x="84" y="62"/>
                </a:cubicBezTo>
                <a:cubicBezTo>
                  <a:pt x="84" y="62"/>
                  <a:pt x="84" y="62"/>
                  <a:pt x="84" y="62"/>
                </a:cubicBezTo>
                <a:cubicBezTo>
                  <a:pt x="84" y="62"/>
                  <a:pt x="84" y="62"/>
                  <a:pt x="84" y="62"/>
                </a:cubicBezTo>
                <a:cubicBezTo>
                  <a:pt x="84" y="61"/>
                  <a:pt x="84" y="61"/>
                  <a:pt x="84" y="61"/>
                </a:cubicBezTo>
                <a:cubicBezTo>
                  <a:pt x="85" y="61"/>
                  <a:pt x="84" y="60"/>
                  <a:pt x="84" y="60"/>
                </a:cubicBezTo>
                <a:close/>
                <a:moveTo>
                  <a:pt x="57" y="94"/>
                </a:moveTo>
                <a:cubicBezTo>
                  <a:pt x="57" y="94"/>
                  <a:pt x="57" y="93"/>
                  <a:pt x="57" y="93"/>
                </a:cubicBezTo>
                <a:cubicBezTo>
                  <a:pt x="56" y="93"/>
                  <a:pt x="56" y="92"/>
                  <a:pt x="55" y="92"/>
                </a:cubicBezTo>
                <a:cubicBezTo>
                  <a:pt x="55" y="92"/>
                  <a:pt x="56" y="93"/>
                  <a:pt x="56" y="93"/>
                </a:cubicBezTo>
                <a:cubicBezTo>
                  <a:pt x="56" y="93"/>
                  <a:pt x="56" y="94"/>
                  <a:pt x="56" y="94"/>
                </a:cubicBezTo>
                <a:cubicBezTo>
                  <a:pt x="56" y="93"/>
                  <a:pt x="56" y="94"/>
                  <a:pt x="57" y="94"/>
                </a:cubicBezTo>
                <a:cubicBezTo>
                  <a:pt x="57" y="94"/>
                  <a:pt x="56" y="93"/>
                  <a:pt x="57" y="94"/>
                </a:cubicBezTo>
                <a:cubicBezTo>
                  <a:pt x="57" y="94"/>
                  <a:pt x="57" y="94"/>
                  <a:pt x="57" y="94"/>
                </a:cubicBezTo>
                <a:close/>
                <a:moveTo>
                  <a:pt x="23" y="137"/>
                </a:moveTo>
                <a:cubicBezTo>
                  <a:pt x="23" y="137"/>
                  <a:pt x="22" y="139"/>
                  <a:pt x="23" y="138"/>
                </a:cubicBezTo>
                <a:cubicBezTo>
                  <a:pt x="24" y="138"/>
                  <a:pt x="22" y="136"/>
                  <a:pt x="22" y="136"/>
                </a:cubicBezTo>
                <a:cubicBezTo>
                  <a:pt x="22" y="136"/>
                  <a:pt x="23" y="137"/>
                  <a:pt x="23" y="137"/>
                </a:cubicBezTo>
                <a:close/>
                <a:moveTo>
                  <a:pt x="28" y="143"/>
                </a:moveTo>
                <a:cubicBezTo>
                  <a:pt x="28" y="143"/>
                  <a:pt x="28" y="142"/>
                  <a:pt x="27" y="141"/>
                </a:cubicBezTo>
                <a:cubicBezTo>
                  <a:pt x="27" y="141"/>
                  <a:pt x="27" y="143"/>
                  <a:pt x="28" y="143"/>
                </a:cubicBezTo>
                <a:close/>
                <a:moveTo>
                  <a:pt x="36" y="118"/>
                </a:moveTo>
                <a:cubicBezTo>
                  <a:pt x="36" y="118"/>
                  <a:pt x="35" y="117"/>
                  <a:pt x="35" y="118"/>
                </a:cubicBezTo>
                <a:cubicBezTo>
                  <a:pt x="35" y="118"/>
                  <a:pt x="36" y="119"/>
                  <a:pt x="36" y="119"/>
                </a:cubicBezTo>
                <a:cubicBezTo>
                  <a:pt x="36" y="119"/>
                  <a:pt x="36" y="118"/>
                  <a:pt x="36" y="118"/>
                </a:cubicBezTo>
                <a:close/>
                <a:moveTo>
                  <a:pt x="33" y="120"/>
                </a:moveTo>
                <a:cubicBezTo>
                  <a:pt x="32" y="121"/>
                  <a:pt x="33" y="121"/>
                  <a:pt x="33" y="120"/>
                </a:cubicBezTo>
                <a:close/>
                <a:moveTo>
                  <a:pt x="35" y="121"/>
                </a:moveTo>
                <a:cubicBezTo>
                  <a:pt x="35" y="121"/>
                  <a:pt x="35" y="122"/>
                  <a:pt x="35" y="122"/>
                </a:cubicBezTo>
                <a:cubicBezTo>
                  <a:pt x="36" y="122"/>
                  <a:pt x="36" y="121"/>
                  <a:pt x="36" y="120"/>
                </a:cubicBezTo>
                <a:cubicBezTo>
                  <a:pt x="36" y="120"/>
                  <a:pt x="36" y="120"/>
                  <a:pt x="36" y="120"/>
                </a:cubicBezTo>
                <a:cubicBezTo>
                  <a:pt x="35" y="120"/>
                  <a:pt x="35" y="120"/>
                  <a:pt x="35" y="121"/>
                </a:cubicBezTo>
                <a:close/>
                <a:moveTo>
                  <a:pt x="31" y="146"/>
                </a:moveTo>
                <a:cubicBezTo>
                  <a:pt x="31" y="146"/>
                  <a:pt x="31" y="146"/>
                  <a:pt x="32" y="146"/>
                </a:cubicBezTo>
                <a:cubicBezTo>
                  <a:pt x="31" y="146"/>
                  <a:pt x="31" y="146"/>
                  <a:pt x="31" y="145"/>
                </a:cubicBezTo>
                <a:cubicBezTo>
                  <a:pt x="31" y="145"/>
                  <a:pt x="31" y="146"/>
                  <a:pt x="31" y="146"/>
                </a:cubicBezTo>
                <a:close/>
                <a:moveTo>
                  <a:pt x="58" y="96"/>
                </a:moveTo>
                <a:cubicBezTo>
                  <a:pt x="58" y="96"/>
                  <a:pt x="58" y="98"/>
                  <a:pt x="59" y="98"/>
                </a:cubicBezTo>
                <a:cubicBezTo>
                  <a:pt x="59" y="98"/>
                  <a:pt x="59" y="97"/>
                  <a:pt x="59" y="97"/>
                </a:cubicBezTo>
                <a:cubicBezTo>
                  <a:pt x="59" y="97"/>
                  <a:pt x="59" y="97"/>
                  <a:pt x="59" y="97"/>
                </a:cubicBezTo>
                <a:cubicBezTo>
                  <a:pt x="59" y="97"/>
                  <a:pt x="59" y="96"/>
                  <a:pt x="58" y="96"/>
                </a:cubicBezTo>
                <a:close/>
                <a:moveTo>
                  <a:pt x="15" y="122"/>
                </a:moveTo>
                <a:cubicBezTo>
                  <a:pt x="15" y="121"/>
                  <a:pt x="15" y="121"/>
                  <a:pt x="15" y="122"/>
                </a:cubicBezTo>
                <a:cubicBezTo>
                  <a:pt x="15" y="121"/>
                  <a:pt x="14" y="121"/>
                  <a:pt x="15" y="122"/>
                </a:cubicBezTo>
                <a:close/>
                <a:moveTo>
                  <a:pt x="34" y="151"/>
                </a:moveTo>
                <a:cubicBezTo>
                  <a:pt x="34" y="152"/>
                  <a:pt x="33" y="153"/>
                  <a:pt x="34" y="154"/>
                </a:cubicBezTo>
                <a:cubicBezTo>
                  <a:pt x="34" y="154"/>
                  <a:pt x="34" y="154"/>
                  <a:pt x="34" y="154"/>
                </a:cubicBezTo>
                <a:cubicBezTo>
                  <a:pt x="35" y="154"/>
                  <a:pt x="34" y="152"/>
                  <a:pt x="34" y="152"/>
                </a:cubicBezTo>
                <a:cubicBezTo>
                  <a:pt x="34" y="151"/>
                  <a:pt x="34" y="151"/>
                  <a:pt x="34" y="151"/>
                </a:cubicBezTo>
                <a:close/>
                <a:moveTo>
                  <a:pt x="20" y="126"/>
                </a:moveTo>
                <a:cubicBezTo>
                  <a:pt x="20" y="125"/>
                  <a:pt x="19" y="124"/>
                  <a:pt x="19" y="125"/>
                </a:cubicBezTo>
                <a:cubicBezTo>
                  <a:pt x="19" y="126"/>
                  <a:pt x="19" y="126"/>
                  <a:pt x="20" y="12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8" name="Territories Near Israel"/>
          <p:cNvSpPr>
            <a:spLocks noEditPoints="1"/>
          </p:cNvSpPr>
          <p:nvPr/>
        </p:nvSpPr>
        <p:spPr bwMode="auto">
          <a:xfrm>
            <a:off x="6955039" y="3350986"/>
            <a:ext cx="46998" cy="71997"/>
          </a:xfrm>
          <a:custGeom>
            <a:avLst/>
            <a:gdLst/>
            <a:ahLst/>
            <a:cxnLst>
              <a:cxn ang="0">
                <a:pos x="12" y="13"/>
              </a:cxn>
              <a:cxn ang="0">
                <a:pos x="12" y="11"/>
              </a:cxn>
              <a:cxn ang="0">
                <a:pos x="12" y="9"/>
              </a:cxn>
              <a:cxn ang="0">
                <a:pos x="12" y="8"/>
              </a:cxn>
              <a:cxn ang="0">
                <a:pos x="12" y="8"/>
              </a:cxn>
              <a:cxn ang="0">
                <a:pos x="11" y="7"/>
              </a:cxn>
              <a:cxn ang="0">
                <a:pos x="10" y="6"/>
              </a:cxn>
              <a:cxn ang="0">
                <a:pos x="10" y="6"/>
              </a:cxn>
              <a:cxn ang="0">
                <a:pos x="9" y="6"/>
              </a:cxn>
              <a:cxn ang="0">
                <a:pos x="8" y="6"/>
              </a:cxn>
              <a:cxn ang="0">
                <a:pos x="7" y="7"/>
              </a:cxn>
              <a:cxn ang="0">
                <a:pos x="7" y="8"/>
              </a:cxn>
              <a:cxn ang="0">
                <a:pos x="6" y="9"/>
              </a:cxn>
              <a:cxn ang="0">
                <a:pos x="7" y="11"/>
              </a:cxn>
              <a:cxn ang="0">
                <a:pos x="7" y="12"/>
              </a:cxn>
              <a:cxn ang="0">
                <a:pos x="7" y="13"/>
              </a:cxn>
              <a:cxn ang="0">
                <a:pos x="7" y="13"/>
              </a:cxn>
              <a:cxn ang="0">
                <a:pos x="7" y="14"/>
              </a:cxn>
              <a:cxn ang="0">
                <a:pos x="8" y="13"/>
              </a:cxn>
              <a:cxn ang="0">
                <a:pos x="7" y="13"/>
              </a:cxn>
              <a:cxn ang="0">
                <a:pos x="8" y="13"/>
              </a:cxn>
              <a:cxn ang="0">
                <a:pos x="9" y="14"/>
              </a:cxn>
              <a:cxn ang="0">
                <a:pos x="9" y="14"/>
              </a:cxn>
              <a:cxn ang="0">
                <a:pos x="7" y="15"/>
              </a:cxn>
              <a:cxn ang="0">
                <a:pos x="7" y="17"/>
              </a:cxn>
              <a:cxn ang="0">
                <a:pos x="7" y="19"/>
              </a:cxn>
              <a:cxn ang="0">
                <a:pos x="8" y="19"/>
              </a:cxn>
              <a:cxn ang="0">
                <a:pos x="9" y="18"/>
              </a:cxn>
              <a:cxn ang="0">
                <a:pos x="12" y="17"/>
              </a:cxn>
              <a:cxn ang="0">
                <a:pos x="12" y="13"/>
              </a:cxn>
              <a:cxn ang="0">
                <a:pos x="9" y="14"/>
              </a:cxn>
              <a:cxn ang="0">
                <a:pos x="9" y="14"/>
              </a:cxn>
              <a:cxn ang="0">
                <a:pos x="9" y="14"/>
              </a:cxn>
              <a:cxn ang="0">
                <a:pos x="12" y="2"/>
              </a:cxn>
              <a:cxn ang="0">
                <a:pos x="12" y="1"/>
              </a:cxn>
              <a:cxn ang="0">
                <a:pos x="12" y="0"/>
              </a:cxn>
              <a:cxn ang="0">
                <a:pos x="12" y="0"/>
              </a:cxn>
              <a:cxn ang="0">
                <a:pos x="12" y="2"/>
              </a:cxn>
              <a:cxn ang="0">
                <a:pos x="13" y="4"/>
              </a:cxn>
              <a:cxn ang="0">
                <a:pos x="12" y="3"/>
              </a:cxn>
              <a:cxn ang="0">
                <a:pos x="13" y="4"/>
              </a:cxn>
              <a:cxn ang="0">
                <a:pos x="12" y="3"/>
              </a:cxn>
              <a:cxn ang="0">
                <a:pos x="12" y="3"/>
              </a:cxn>
              <a:cxn ang="0">
                <a:pos x="12" y="3"/>
              </a:cxn>
              <a:cxn ang="0">
                <a:pos x="3" y="17"/>
              </a:cxn>
              <a:cxn ang="0">
                <a:pos x="2" y="18"/>
              </a:cxn>
              <a:cxn ang="0">
                <a:pos x="2" y="18"/>
              </a:cxn>
              <a:cxn ang="0">
                <a:pos x="1" y="19"/>
              </a:cxn>
              <a:cxn ang="0">
                <a:pos x="1" y="20"/>
              </a:cxn>
              <a:cxn ang="0">
                <a:pos x="0" y="19"/>
              </a:cxn>
              <a:cxn ang="0">
                <a:pos x="0" y="19"/>
              </a:cxn>
              <a:cxn ang="0">
                <a:pos x="1" y="18"/>
              </a:cxn>
              <a:cxn ang="0">
                <a:pos x="1" y="18"/>
              </a:cxn>
              <a:cxn ang="0">
                <a:pos x="2" y="16"/>
              </a:cxn>
              <a:cxn ang="0">
                <a:pos x="3" y="17"/>
              </a:cxn>
            </a:cxnLst>
            <a:rect l="0" t="0" r="r" b="b"/>
            <a:pathLst>
              <a:path w="13" h="20">
                <a:moveTo>
                  <a:pt x="12" y="13"/>
                </a:moveTo>
                <a:cubicBezTo>
                  <a:pt x="12" y="12"/>
                  <a:pt x="12" y="12"/>
                  <a:pt x="12" y="11"/>
                </a:cubicBezTo>
                <a:cubicBezTo>
                  <a:pt x="12" y="11"/>
                  <a:pt x="12" y="10"/>
                  <a:pt x="12" y="9"/>
                </a:cubicBezTo>
                <a:cubicBezTo>
                  <a:pt x="12" y="9"/>
                  <a:pt x="12" y="8"/>
                  <a:pt x="12" y="8"/>
                </a:cubicBezTo>
                <a:cubicBezTo>
                  <a:pt x="12" y="8"/>
                  <a:pt x="12" y="8"/>
                  <a:pt x="12" y="8"/>
                </a:cubicBezTo>
                <a:cubicBezTo>
                  <a:pt x="12" y="7"/>
                  <a:pt x="11" y="7"/>
                  <a:pt x="11" y="7"/>
                </a:cubicBezTo>
                <a:cubicBezTo>
                  <a:pt x="10" y="7"/>
                  <a:pt x="10" y="7"/>
                  <a:pt x="10" y="6"/>
                </a:cubicBezTo>
                <a:cubicBezTo>
                  <a:pt x="10" y="6"/>
                  <a:pt x="10" y="6"/>
                  <a:pt x="10" y="6"/>
                </a:cubicBezTo>
                <a:cubicBezTo>
                  <a:pt x="10" y="6"/>
                  <a:pt x="10" y="6"/>
                  <a:pt x="9" y="6"/>
                </a:cubicBezTo>
                <a:cubicBezTo>
                  <a:pt x="8" y="6"/>
                  <a:pt x="9" y="6"/>
                  <a:pt x="8" y="6"/>
                </a:cubicBezTo>
                <a:cubicBezTo>
                  <a:pt x="8" y="6"/>
                  <a:pt x="7" y="6"/>
                  <a:pt x="7" y="7"/>
                </a:cubicBezTo>
                <a:cubicBezTo>
                  <a:pt x="7" y="7"/>
                  <a:pt x="7" y="8"/>
                  <a:pt x="7" y="8"/>
                </a:cubicBezTo>
                <a:cubicBezTo>
                  <a:pt x="7" y="9"/>
                  <a:pt x="7" y="9"/>
                  <a:pt x="6" y="9"/>
                </a:cubicBezTo>
                <a:cubicBezTo>
                  <a:pt x="6" y="10"/>
                  <a:pt x="7" y="10"/>
                  <a:pt x="7" y="11"/>
                </a:cubicBezTo>
                <a:cubicBezTo>
                  <a:pt x="7" y="11"/>
                  <a:pt x="7" y="11"/>
                  <a:pt x="7" y="12"/>
                </a:cubicBezTo>
                <a:cubicBezTo>
                  <a:pt x="7" y="12"/>
                  <a:pt x="7" y="13"/>
                  <a:pt x="7" y="13"/>
                </a:cubicBezTo>
                <a:cubicBezTo>
                  <a:pt x="7" y="13"/>
                  <a:pt x="7" y="13"/>
                  <a:pt x="7" y="13"/>
                </a:cubicBezTo>
                <a:cubicBezTo>
                  <a:pt x="7" y="13"/>
                  <a:pt x="7" y="14"/>
                  <a:pt x="7" y="14"/>
                </a:cubicBezTo>
                <a:cubicBezTo>
                  <a:pt x="8" y="14"/>
                  <a:pt x="8" y="13"/>
                  <a:pt x="8" y="13"/>
                </a:cubicBezTo>
                <a:cubicBezTo>
                  <a:pt x="8" y="13"/>
                  <a:pt x="8" y="13"/>
                  <a:pt x="7" y="13"/>
                </a:cubicBezTo>
                <a:cubicBezTo>
                  <a:pt x="7" y="13"/>
                  <a:pt x="7" y="13"/>
                  <a:pt x="8" y="13"/>
                </a:cubicBezTo>
                <a:cubicBezTo>
                  <a:pt x="8" y="13"/>
                  <a:pt x="8" y="14"/>
                  <a:pt x="9" y="14"/>
                </a:cubicBezTo>
                <a:cubicBezTo>
                  <a:pt x="9" y="14"/>
                  <a:pt x="9" y="14"/>
                  <a:pt x="9" y="14"/>
                </a:cubicBezTo>
                <a:cubicBezTo>
                  <a:pt x="9" y="14"/>
                  <a:pt x="8" y="15"/>
                  <a:pt x="7" y="15"/>
                </a:cubicBezTo>
                <a:cubicBezTo>
                  <a:pt x="7" y="16"/>
                  <a:pt x="7" y="16"/>
                  <a:pt x="7" y="17"/>
                </a:cubicBezTo>
                <a:cubicBezTo>
                  <a:pt x="6" y="18"/>
                  <a:pt x="6" y="18"/>
                  <a:pt x="7" y="19"/>
                </a:cubicBezTo>
                <a:cubicBezTo>
                  <a:pt x="7" y="19"/>
                  <a:pt x="8" y="19"/>
                  <a:pt x="8" y="19"/>
                </a:cubicBezTo>
                <a:cubicBezTo>
                  <a:pt x="8" y="19"/>
                  <a:pt x="9" y="19"/>
                  <a:pt x="9" y="18"/>
                </a:cubicBezTo>
                <a:cubicBezTo>
                  <a:pt x="10" y="18"/>
                  <a:pt x="11" y="17"/>
                  <a:pt x="12" y="17"/>
                </a:cubicBezTo>
                <a:cubicBezTo>
                  <a:pt x="12" y="16"/>
                  <a:pt x="12" y="14"/>
                  <a:pt x="12" y="13"/>
                </a:cubicBezTo>
                <a:close/>
                <a:moveTo>
                  <a:pt x="9" y="14"/>
                </a:moveTo>
                <a:cubicBezTo>
                  <a:pt x="9" y="14"/>
                  <a:pt x="10" y="14"/>
                  <a:pt x="9" y="14"/>
                </a:cubicBezTo>
                <a:cubicBezTo>
                  <a:pt x="9" y="14"/>
                  <a:pt x="9" y="14"/>
                  <a:pt x="9" y="14"/>
                </a:cubicBezTo>
                <a:close/>
                <a:moveTo>
                  <a:pt x="12" y="2"/>
                </a:moveTo>
                <a:cubicBezTo>
                  <a:pt x="12" y="1"/>
                  <a:pt x="12" y="1"/>
                  <a:pt x="12" y="1"/>
                </a:cubicBezTo>
                <a:cubicBezTo>
                  <a:pt x="12" y="1"/>
                  <a:pt x="12" y="0"/>
                  <a:pt x="12" y="0"/>
                </a:cubicBezTo>
                <a:cubicBezTo>
                  <a:pt x="12" y="0"/>
                  <a:pt x="12" y="0"/>
                  <a:pt x="12" y="0"/>
                </a:cubicBezTo>
                <a:cubicBezTo>
                  <a:pt x="12" y="0"/>
                  <a:pt x="12" y="1"/>
                  <a:pt x="12" y="2"/>
                </a:cubicBezTo>
                <a:close/>
                <a:moveTo>
                  <a:pt x="13" y="4"/>
                </a:moveTo>
                <a:cubicBezTo>
                  <a:pt x="12" y="4"/>
                  <a:pt x="11" y="3"/>
                  <a:pt x="12" y="3"/>
                </a:cubicBezTo>
                <a:cubicBezTo>
                  <a:pt x="12" y="4"/>
                  <a:pt x="12" y="4"/>
                  <a:pt x="13" y="4"/>
                </a:cubicBezTo>
                <a:close/>
                <a:moveTo>
                  <a:pt x="12" y="3"/>
                </a:moveTo>
                <a:cubicBezTo>
                  <a:pt x="12" y="3"/>
                  <a:pt x="12" y="3"/>
                  <a:pt x="12" y="3"/>
                </a:cubicBezTo>
                <a:cubicBezTo>
                  <a:pt x="12" y="3"/>
                  <a:pt x="13" y="3"/>
                  <a:pt x="12" y="3"/>
                </a:cubicBezTo>
                <a:close/>
                <a:moveTo>
                  <a:pt x="3" y="17"/>
                </a:moveTo>
                <a:cubicBezTo>
                  <a:pt x="3" y="17"/>
                  <a:pt x="2" y="17"/>
                  <a:pt x="2" y="18"/>
                </a:cubicBezTo>
                <a:cubicBezTo>
                  <a:pt x="2" y="18"/>
                  <a:pt x="2" y="18"/>
                  <a:pt x="2" y="18"/>
                </a:cubicBezTo>
                <a:cubicBezTo>
                  <a:pt x="2" y="19"/>
                  <a:pt x="2" y="19"/>
                  <a:pt x="1" y="19"/>
                </a:cubicBezTo>
                <a:cubicBezTo>
                  <a:pt x="1" y="20"/>
                  <a:pt x="1" y="20"/>
                  <a:pt x="1" y="20"/>
                </a:cubicBezTo>
                <a:cubicBezTo>
                  <a:pt x="1" y="20"/>
                  <a:pt x="0" y="20"/>
                  <a:pt x="0" y="19"/>
                </a:cubicBezTo>
                <a:cubicBezTo>
                  <a:pt x="0" y="19"/>
                  <a:pt x="0" y="19"/>
                  <a:pt x="0" y="19"/>
                </a:cubicBezTo>
                <a:cubicBezTo>
                  <a:pt x="0" y="19"/>
                  <a:pt x="1" y="19"/>
                  <a:pt x="1" y="18"/>
                </a:cubicBezTo>
                <a:cubicBezTo>
                  <a:pt x="1" y="18"/>
                  <a:pt x="1" y="18"/>
                  <a:pt x="1" y="18"/>
                </a:cubicBezTo>
                <a:cubicBezTo>
                  <a:pt x="2" y="17"/>
                  <a:pt x="2" y="17"/>
                  <a:pt x="2" y="16"/>
                </a:cubicBezTo>
                <a:cubicBezTo>
                  <a:pt x="3" y="16"/>
                  <a:pt x="3" y="16"/>
                  <a:pt x="3" y="1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9" name="Tanzania"/>
          <p:cNvSpPr>
            <a:spLocks noEditPoints="1"/>
          </p:cNvSpPr>
          <p:nvPr/>
        </p:nvSpPr>
        <p:spPr bwMode="auto">
          <a:xfrm>
            <a:off x="6829044" y="4703935"/>
            <a:ext cx="378986" cy="425984"/>
          </a:xfrm>
          <a:custGeom>
            <a:avLst/>
            <a:gdLst/>
            <a:ahLst/>
            <a:cxnLst>
              <a:cxn ang="0">
                <a:pos x="100" y="73"/>
              </a:cxn>
              <a:cxn ang="0">
                <a:pos x="104" y="103"/>
              </a:cxn>
              <a:cxn ang="0">
                <a:pos x="101" y="101"/>
              </a:cxn>
              <a:cxn ang="0">
                <a:pos x="98" y="98"/>
              </a:cxn>
              <a:cxn ang="0">
                <a:pos x="97" y="89"/>
              </a:cxn>
              <a:cxn ang="0">
                <a:pos x="95" y="85"/>
              </a:cxn>
              <a:cxn ang="0">
                <a:pos x="95" y="77"/>
              </a:cxn>
              <a:cxn ang="0">
                <a:pos x="96" y="68"/>
              </a:cxn>
              <a:cxn ang="0">
                <a:pos x="94" y="63"/>
              </a:cxn>
              <a:cxn ang="0">
                <a:pos x="91" y="51"/>
              </a:cxn>
              <a:cxn ang="0">
                <a:pos x="93" y="43"/>
              </a:cxn>
              <a:cxn ang="0">
                <a:pos x="79" y="28"/>
              </a:cxn>
              <a:cxn ang="0">
                <a:pos x="62" y="12"/>
              </a:cxn>
              <a:cxn ang="0">
                <a:pos x="42" y="5"/>
              </a:cxn>
              <a:cxn ang="0">
                <a:pos x="40" y="6"/>
              </a:cxn>
              <a:cxn ang="0">
                <a:pos x="39" y="9"/>
              </a:cxn>
              <a:cxn ang="0">
                <a:pos x="39" y="12"/>
              </a:cxn>
              <a:cxn ang="0">
                <a:pos x="36" y="13"/>
              </a:cxn>
              <a:cxn ang="0">
                <a:pos x="38" y="16"/>
              </a:cxn>
              <a:cxn ang="0">
                <a:pos x="33" y="17"/>
              </a:cxn>
              <a:cxn ang="0">
                <a:pos x="34" y="21"/>
              </a:cxn>
              <a:cxn ang="0">
                <a:pos x="31" y="21"/>
              </a:cxn>
              <a:cxn ang="0">
                <a:pos x="31" y="17"/>
              </a:cxn>
              <a:cxn ang="0">
                <a:pos x="27" y="15"/>
              </a:cxn>
              <a:cxn ang="0">
                <a:pos x="25" y="17"/>
              </a:cxn>
              <a:cxn ang="0">
                <a:pos x="24" y="19"/>
              </a:cxn>
              <a:cxn ang="0">
                <a:pos x="22" y="18"/>
              </a:cxn>
              <a:cxn ang="0">
                <a:pos x="21" y="13"/>
              </a:cxn>
              <a:cxn ang="0">
                <a:pos x="22" y="4"/>
              </a:cxn>
              <a:cxn ang="0">
                <a:pos x="11" y="0"/>
              </a:cxn>
              <a:cxn ang="0">
                <a:pos x="11" y="5"/>
              </a:cxn>
              <a:cxn ang="0">
                <a:pos x="11" y="16"/>
              </a:cxn>
              <a:cxn ang="0">
                <a:pos x="9" y="22"/>
              </a:cxn>
              <a:cxn ang="0">
                <a:pos x="9" y="28"/>
              </a:cxn>
              <a:cxn ang="0">
                <a:pos x="5" y="35"/>
              </a:cxn>
              <a:cxn ang="0">
                <a:pos x="2" y="44"/>
              </a:cxn>
              <a:cxn ang="0">
                <a:pos x="3" y="55"/>
              </a:cxn>
              <a:cxn ang="0">
                <a:pos x="6" y="61"/>
              </a:cxn>
              <a:cxn ang="0">
                <a:pos x="10" y="69"/>
              </a:cxn>
              <a:cxn ang="0">
                <a:pos x="13" y="80"/>
              </a:cxn>
              <a:cxn ang="0">
                <a:pos x="19" y="86"/>
              </a:cxn>
              <a:cxn ang="0">
                <a:pos x="29" y="91"/>
              </a:cxn>
              <a:cxn ang="0">
                <a:pos x="38" y="95"/>
              </a:cxn>
              <a:cxn ang="0">
                <a:pos x="46" y="98"/>
              </a:cxn>
              <a:cxn ang="0">
                <a:pos x="48" y="110"/>
              </a:cxn>
              <a:cxn ang="0">
                <a:pos x="51" y="116"/>
              </a:cxn>
              <a:cxn ang="0">
                <a:pos x="60" y="115"/>
              </a:cxn>
              <a:cxn ang="0">
                <a:pos x="67" y="118"/>
              </a:cxn>
              <a:cxn ang="0">
                <a:pos x="76" y="117"/>
              </a:cxn>
              <a:cxn ang="0">
                <a:pos x="83" y="113"/>
              </a:cxn>
              <a:cxn ang="0">
                <a:pos x="93" y="112"/>
              </a:cxn>
              <a:cxn ang="0">
                <a:pos x="104" y="103"/>
              </a:cxn>
              <a:cxn ang="0">
                <a:pos x="100" y="43"/>
              </a:cxn>
              <a:cxn ang="0">
                <a:pos x="99" y="46"/>
              </a:cxn>
              <a:cxn ang="0">
                <a:pos x="98" y="47"/>
              </a:cxn>
              <a:cxn ang="0">
                <a:pos x="95" y="59"/>
              </a:cxn>
              <a:cxn ang="0">
                <a:pos x="96" y="56"/>
              </a:cxn>
            </a:cxnLst>
            <a:rect l="0" t="0" r="r" b="b"/>
            <a:pathLst>
              <a:path w="105" h="118">
                <a:moveTo>
                  <a:pt x="98" y="76"/>
                </a:moveTo>
                <a:cubicBezTo>
                  <a:pt x="98" y="76"/>
                  <a:pt x="98" y="76"/>
                  <a:pt x="98" y="75"/>
                </a:cubicBezTo>
                <a:cubicBezTo>
                  <a:pt x="98" y="75"/>
                  <a:pt x="99" y="75"/>
                  <a:pt x="99" y="75"/>
                </a:cubicBezTo>
                <a:cubicBezTo>
                  <a:pt x="99" y="75"/>
                  <a:pt x="99" y="75"/>
                  <a:pt x="99" y="75"/>
                </a:cubicBezTo>
                <a:cubicBezTo>
                  <a:pt x="99" y="75"/>
                  <a:pt x="99" y="75"/>
                  <a:pt x="99" y="74"/>
                </a:cubicBezTo>
                <a:cubicBezTo>
                  <a:pt x="100" y="74"/>
                  <a:pt x="100" y="74"/>
                  <a:pt x="100" y="73"/>
                </a:cubicBezTo>
                <a:cubicBezTo>
                  <a:pt x="100" y="74"/>
                  <a:pt x="100" y="75"/>
                  <a:pt x="99" y="76"/>
                </a:cubicBezTo>
                <a:cubicBezTo>
                  <a:pt x="99" y="76"/>
                  <a:pt x="99" y="76"/>
                  <a:pt x="98" y="76"/>
                </a:cubicBezTo>
                <a:cubicBezTo>
                  <a:pt x="98" y="77"/>
                  <a:pt x="98" y="77"/>
                  <a:pt x="97" y="77"/>
                </a:cubicBezTo>
                <a:cubicBezTo>
                  <a:pt x="97" y="77"/>
                  <a:pt x="97" y="76"/>
                  <a:pt x="98" y="76"/>
                </a:cubicBezTo>
                <a:close/>
                <a:moveTo>
                  <a:pt x="104" y="103"/>
                </a:moveTo>
                <a:cubicBezTo>
                  <a:pt x="104" y="103"/>
                  <a:pt x="104" y="103"/>
                  <a:pt x="104" y="103"/>
                </a:cubicBezTo>
                <a:cubicBezTo>
                  <a:pt x="104" y="103"/>
                  <a:pt x="104" y="103"/>
                  <a:pt x="104" y="103"/>
                </a:cubicBezTo>
                <a:cubicBezTo>
                  <a:pt x="103" y="103"/>
                  <a:pt x="103" y="102"/>
                  <a:pt x="103" y="102"/>
                </a:cubicBezTo>
                <a:cubicBezTo>
                  <a:pt x="103" y="102"/>
                  <a:pt x="102" y="101"/>
                  <a:pt x="103" y="102"/>
                </a:cubicBezTo>
                <a:cubicBezTo>
                  <a:pt x="103" y="102"/>
                  <a:pt x="102" y="102"/>
                  <a:pt x="102" y="102"/>
                </a:cubicBezTo>
                <a:cubicBezTo>
                  <a:pt x="101" y="102"/>
                  <a:pt x="102" y="101"/>
                  <a:pt x="102" y="101"/>
                </a:cubicBezTo>
                <a:cubicBezTo>
                  <a:pt x="102" y="101"/>
                  <a:pt x="101" y="101"/>
                  <a:pt x="101" y="101"/>
                </a:cubicBezTo>
                <a:cubicBezTo>
                  <a:pt x="100" y="100"/>
                  <a:pt x="100" y="101"/>
                  <a:pt x="100" y="102"/>
                </a:cubicBezTo>
                <a:cubicBezTo>
                  <a:pt x="100" y="101"/>
                  <a:pt x="100" y="100"/>
                  <a:pt x="99" y="99"/>
                </a:cubicBezTo>
                <a:cubicBezTo>
                  <a:pt x="99" y="99"/>
                  <a:pt x="98" y="99"/>
                  <a:pt x="98" y="99"/>
                </a:cubicBezTo>
                <a:cubicBezTo>
                  <a:pt x="98" y="99"/>
                  <a:pt x="98" y="100"/>
                  <a:pt x="97" y="100"/>
                </a:cubicBezTo>
                <a:cubicBezTo>
                  <a:pt x="98" y="99"/>
                  <a:pt x="97" y="99"/>
                  <a:pt x="98" y="98"/>
                </a:cubicBezTo>
                <a:cubicBezTo>
                  <a:pt x="98" y="98"/>
                  <a:pt x="98" y="98"/>
                  <a:pt x="98" y="98"/>
                </a:cubicBezTo>
                <a:cubicBezTo>
                  <a:pt x="99" y="98"/>
                  <a:pt x="98" y="96"/>
                  <a:pt x="98" y="96"/>
                </a:cubicBezTo>
                <a:cubicBezTo>
                  <a:pt x="98" y="95"/>
                  <a:pt x="98" y="94"/>
                  <a:pt x="97" y="93"/>
                </a:cubicBezTo>
                <a:cubicBezTo>
                  <a:pt x="97" y="93"/>
                  <a:pt x="97" y="93"/>
                  <a:pt x="97" y="93"/>
                </a:cubicBezTo>
                <a:cubicBezTo>
                  <a:pt x="96" y="93"/>
                  <a:pt x="96" y="93"/>
                  <a:pt x="97" y="93"/>
                </a:cubicBezTo>
                <a:cubicBezTo>
                  <a:pt x="97" y="92"/>
                  <a:pt x="97" y="91"/>
                  <a:pt x="97" y="90"/>
                </a:cubicBezTo>
                <a:cubicBezTo>
                  <a:pt x="97" y="90"/>
                  <a:pt x="97" y="89"/>
                  <a:pt x="97" y="89"/>
                </a:cubicBezTo>
                <a:cubicBezTo>
                  <a:pt x="96" y="89"/>
                  <a:pt x="96" y="90"/>
                  <a:pt x="96" y="89"/>
                </a:cubicBezTo>
                <a:cubicBezTo>
                  <a:pt x="96" y="89"/>
                  <a:pt x="96" y="88"/>
                  <a:pt x="96" y="88"/>
                </a:cubicBezTo>
                <a:cubicBezTo>
                  <a:pt x="96" y="87"/>
                  <a:pt x="95" y="87"/>
                  <a:pt x="95" y="87"/>
                </a:cubicBezTo>
                <a:cubicBezTo>
                  <a:pt x="94" y="87"/>
                  <a:pt x="95" y="86"/>
                  <a:pt x="95" y="87"/>
                </a:cubicBezTo>
                <a:cubicBezTo>
                  <a:pt x="96" y="87"/>
                  <a:pt x="96" y="87"/>
                  <a:pt x="96" y="87"/>
                </a:cubicBezTo>
                <a:cubicBezTo>
                  <a:pt x="96" y="87"/>
                  <a:pt x="96" y="86"/>
                  <a:pt x="95" y="85"/>
                </a:cubicBezTo>
                <a:cubicBezTo>
                  <a:pt x="94" y="85"/>
                  <a:pt x="95" y="85"/>
                  <a:pt x="94" y="84"/>
                </a:cubicBezTo>
                <a:cubicBezTo>
                  <a:pt x="94" y="83"/>
                  <a:pt x="94" y="83"/>
                  <a:pt x="94" y="82"/>
                </a:cubicBezTo>
                <a:cubicBezTo>
                  <a:pt x="94" y="81"/>
                  <a:pt x="94" y="81"/>
                  <a:pt x="94" y="80"/>
                </a:cubicBezTo>
                <a:cubicBezTo>
                  <a:pt x="94" y="81"/>
                  <a:pt x="95" y="79"/>
                  <a:pt x="95" y="79"/>
                </a:cubicBezTo>
                <a:cubicBezTo>
                  <a:pt x="95" y="79"/>
                  <a:pt x="95" y="78"/>
                  <a:pt x="95" y="78"/>
                </a:cubicBezTo>
                <a:cubicBezTo>
                  <a:pt x="96" y="77"/>
                  <a:pt x="95" y="77"/>
                  <a:pt x="95" y="77"/>
                </a:cubicBezTo>
                <a:cubicBezTo>
                  <a:pt x="95" y="76"/>
                  <a:pt x="95" y="76"/>
                  <a:pt x="95" y="75"/>
                </a:cubicBezTo>
                <a:cubicBezTo>
                  <a:pt x="95" y="75"/>
                  <a:pt x="95" y="75"/>
                  <a:pt x="95" y="75"/>
                </a:cubicBezTo>
                <a:cubicBezTo>
                  <a:pt x="95" y="74"/>
                  <a:pt x="94" y="75"/>
                  <a:pt x="94" y="75"/>
                </a:cubicBezTo>
                <a:cubicBezTo>
                  <a:pt x="94" y="74"/>
                  <a:pt x="93" y="72"/>
                  <a:pt x="94" y="71"/>
                </a:cubicBezTo>
                <a:cubicBezTo>
                  <a:pt x="95" y="70"/>
                  <a:pt x="95" y="70"/>
                  <a:pt x="95" y="70"/>
                </a:cubicBezTo>
                <a:cubicBezTo>
                  <a:pt x="95" y="69"/>
                  <a:pt x="95" y="68"/>
                  <a:pt x="96" y="68"/>
                </a:cubicBezTo>
                <a:cubicBezTo>
                  <a:pt x="96" y="68"/>
                  <a:pt x="96" y="68"/>
                  <a:pt x="96" y="68"/>
                </a:cubicBezTo>
                <a:cubicBezTo>
                  <a:pt x="96" y="68"/>
                  <a:pt x="96" y="68"/>
                  <a:pt x="97" y="67"/>
                </a:cubicBezTo>
                <a:cubicBezTo>
                  <a:pt x="97" y="67"/>
                  <a:pt x="97" y="66"/>
                  <a:pt x="96" y="66"/>
                </a:cubicBezTo>
                <a:cubicBezTo>
                  <a:pt x="96" y="65"/>
                  <a:pt x="96" y="65"/>
                  <a:pt x="95" y="64"/>
                </a:cubicBezTo>
                <a:cubicBezTo>
                  <a:pt x="95" y="64"/>
                  <a:pt x="94" y="64"/>
                  <a:pt x="94" y="65"/>
                </a:cubicBezTo>
                <a:cubicBezTo>
                  <a:pt x="94" y="64"/>
                  <a:pt x="94" y="63"/>
                  <a:pt x="94" y="63"/>
                </a:cubicBezTo>
                <a:cubicBezTo>
                  <a:pt x="94" y="63"/>
                  <a:pt x="94" y="63"/>
                  <a:pt x="94" y="63"/>
                </a:cubicBezTo>
                <a:cubicBezTo>
                  <a:pt x="93" y="62"/>
                  <a:pt x="92" y="61"/>
                  <a:pt x="92" y="61"/>
                </a:cubicBezTo>
                <a:cubicBezTo>
                  <a:pt x="91" y="60"/>
                  <a:pt x="90" y="60"/>
                  <a:pt x="90" y="59"/>
                </a:cubicBezTo>
                <a:cubicBezTo>
                  <a:pt x="90" y="58"/>
                  <a:pt x="90" y="57"/>
                  <a:pt x="90" y="57"/>
                </a:cubicBezTo>
                <a:cubicBezTo>
                  <a:pt x="89" y="56"/>
                  <a:pt x="89" y="55"/>
                  <a:pt x="90" y="54"/>
                </a:cubicBezTo>
                <a:cubicBezTo>
                  <a:pt x="90" y="53"/>
                  <a:pt x="90" y="52"/>
                  <a:pt x="91" y="51"/>
                </a:cubicBezTo>
                <a:cubicBezTo>
                  <a:pt x="91" y="50"/>
                  <a:pt x="91" y="49"/>
                  <a:pt x="92" y="49"/>
                </a:cubicBezTo>
                <a:cubicBezTo>
                  <a:pt x="92" y="48"/>
                  <a:pt x="93" y="46"/>
                  <a:pt x="92" y="47"/>
                </a:cubicBezTo>
                <a:cubicBezTo>
                  <a:pt x="92" y="47"/>
                  <a:pt x="93" y="45"/>
                  <a:pt x="93" y="46"/>
                </a:cubicBezTo>
                <a:cubicBezTo>
                  <a:pt x="93" y="45"/>
                  <a:pt x="92" y="45"/>
                  <a:pt x="93" y="44"/>
                </a:cubicBezTo>
                <a:cubicBezTo>
                  <a:pt x="93" y="44"/>
                  <a:pt x="93" y="43"/>
                  <a:pt x="93" y="43"/>
                </a:cubicBezTo>
                <a:cubicBezTo>
                  <a:pt x="93" y="43"/>
                  <a:pt x="93" y="44"/>
                  <a:pt x="93" y="43"/>
                </a:cubicBezTo>
                <a:cubicBezTo>
                  <a:pt x="94" y="43"/>
                  <a:pt x="94" y="42"/>
                  <a:pt x="94" y="42"/>
                </a:cubicBezTo>
                <a:cubicBezTo>
                  <a:pt x="93" y="42"/>
                  <a:pt x="94" y="42"/>
                  <a:pt x="94" y="41"/>
                </a:cubicBezTo>
                <a:cubicBezTo>
                  <a:pt x="94" y="41"/>
                  <a:pt x="92" y="39"/>
                  <a:pt x="91" y="39"/>
                </a:cubicBezTo>
                <a:cubicBezTo>
                  <a:pt x="89" y="37"/>
                  <a:pt x="86" y="34"/>
                  <a:pt x="84" y="32"/>
                </a:cubicBezTo>
                <a:cubicBezTo>
                  <a:pt x="82" y="31"/>
                  <a:pt x="81" y="31"/>
                  <a:pt x="80" y="29"/>
                </a:cubicBezTo>
                <a:cubicBezTo>
                  <a:pt x="80" y="29"/>
                  <a:pt x="80" y="28"/>
                  <a:pt x="79" y="28"/>
                </a:cubicBezTo>
                <a:cubicBezTo>
                  <a:pt x="79" y="28"/>
                  <a:pt x="79" y="28"/>
                  <a:pt x="78" y="28"/>
                </a:cubicBezTo>
                <a:cubicBezTo>
                  <a:pt x="78" y="27"/>
                  <a:pt x="79" y="26"/>
                  <a:pt x="79" y="25"/>
                </a:cubicBezTo>
                <a:cubicBezTo>
                  <a:pt x="79" y="25"/>
                  <a:pt x="79" y="23"/>
                  <a:pt x="79" y="22"/>
                </a:cubicBezTo>
                <a:cubicBezTo>
                  <a:pt x="78" y="21"/>
                  <a:pt x="76" y="21"/>
                  <a:pt x="75" y="20"/>
                </a:cubicBezTo>
                <a:cubicBezTo>
                  <a:pt x="73" y="19"/>
                  <a:pt x="72" y="18"/>
                  <a:pt x="71" y="17"/>
                </a:cubicBezTo>
                <a:cubicBezTo>
                  <a:pt x="68" y="15"/>
                  <a:pt x="65" y="14"/>
                  <a:pt x="62" y="12"/>
                </a:cubicBezTo>
                <a:cubicBezTo>
                  <a:pt x="56" y="8"/>
                  <a:pt x="50" y="4"/>
                  <a:pt x="44" y="1"/>
                </a:cubicBezTo>
                <a:cubicBezTo>
                  <a:pt x="44" y="1"/>
                  <a:pt x="43" y="1"/>
                  <a:pt x="43" y="2"/>
                </a:cubicBezTo>
                <a:cubicBezTo>
                  <a:pt x="43" y="2"/>
                  <a:pt x="43" y="2"/>
                  <a:pt x="42" y="3"/>
                </a:cubicBezTo>
                <a:cubicBezTo>
                  <a:pt x="42" y="3"/>
                  <a:pt x="43" y="3"/>
                  <a:pt x="43" y="4"/>
                </a:cubicBezTo>
                <a:cubicBezTo>
                  <a:pt x="43" y="4"/>
                  <a:pt x="44" y="4"/>
                  <a:pt x="43" y="4"/>
                </a:cubicBezTo>
                <a:cubicBezTo>
                  <a:pt x="43" y="4"/>
                  <a:pt x="41" y="3"/>
                  <a:pt x="42" y="5"/>
                </a:cubicBezTo>
                <a:cubicBezTo>
                  <a:pt x="42" y="5"/>
                  <a:pt x="41" y="5"/>
                  <a:pt x="42" y="5"/>
                </a:cubicBezTo>
                <a:cubicBezTo>
                  <a:pt x="42" y="5"/>
                  <a:pt x="43" y="6"/>
                  <a:pt x="43" y="6"/>
                </a:cubicBezTo>
                <a:cubicBezTo>
                  <a:pt x="42" y="6"/>
                  <a:pt x="42" y="6"/>
                  <a:pt x="41" y="6"/>
                </a:cubicBezTo>
                <a:cubicBezTo>
                  <a:pt x="41" y="5"/>
                  <a:pt x="41" y="6"/>
                  <a:pt x="41" y="6"/>
                </a:cubicBezTo>
                <a:cubicBezTo>
                  <a:pt x="41" y="6"/>
                  <a:pt x="40" y="5"/>
                  <a:pt x="40" y="5"/>
                </a:cubicBezTo>
                <a:cubicBezTo>
                  <a:pt x="40" y="6"/>
                  <a:pt x="41" y="6"/>
                  <a:pt x="40" y="6"/>
                </a:cubicBezTo>
                <a:cubicBezTo>
                  <a:pt x="40" y="7"/>
                  <a:pt x="40" y="6"/>
                  <a:pt x="40" y="7"/>
                </a:cubicBezTo>
                <a:cubicBezTo>
                  <a:pt x="40" y="7"/>
                  <a:pt x="41" y="8"/>
                  <a:pt x="41" y="7"/>
                </a:cubicBezTo>
                <a:cubicBezTo>
                  <a:pt x="40" y="8"/>
                  <a:pt x="40" y="7"/>
                  <a:pt x="39" y="8"/>
                </a:cubicBezTo>
                <a:cubicBezTo>
                  <a:pt x="39" y="8"/>
                  <a:pt x="40" y="9"/>
                  <a:pt x="40" y="9"/>
                </a:cubicBezTo>
                <a:cubicBezTo>
                  <a:pt x="40" y="9"/>
                  <a:pt x="39" y="8"/>
                  <a:pt x="39" y="9"/>
                </a:cubicBezTo>
                <a:cubicBezTo>
                  <a:pt x="39" y="9"/>
                  <a:pt x="39" y="9"/>
                  <a:pt x="39" y="9"/>
                </a:cubicBezTo>
                <a:cubicBezTo>
                  <a:pt x="38" y="10"/>
                  <a:pt x="38" y="10"/>
                  <a:pt x="38" y="9"/>
                </a:cubicBezTo>
                <a:cubicBezTo>
                  <a:pt x="38" y="9"/>
                  <a:pt x="37" y="9"/>
                  <a:pt x="37" y="10"/>
                </a:cubicBezTo>
                <a:cubicBezTo>
                  <a:pt x="37" y="10"/>
                  <a:pt x="36" y="10"/>
                  <a:pt x="37" y="11"/>
                </a:cubicBezTo>
                <a:cubicBezTo>
                  <a:pt x="37" y="11"/>
                  <a:pt x="38" y="10"/>
                  <a:pt x="38" y="10"/>
                </a:cubicBezTo>
                <a:cubicBezTo>
                  <a:pt x="38" y="10"/>
                  <a:pt x="38" y="11"/>
                  <a:pt x="38" y="11"/>
                </a:cubicBezTo>
                <a:cubicBezTo>
                  <a:pt x="38" y="11"/>
                  <a:pt x="40" y="11"/>
                  <a:pt x="39" y="12"/>
                </a:cubicBezTo>
                <a:cubicBezTo>
                  <a:pt x="38" y="12"/>
                  <a:pt x="38" y="11"/>
                  <a:pt x="38" y="11"/>
                </a:cubicBezTo>
                <a:cubicBezTo>
                  <a:pt x="37" y="11"/>
                  <a:pt x="38" y="12"/>
                  <a:pt x="37" y="12"/>
                </a:cubicBezTo>
                <a:cubicBezTo>
                  <a:pt x="37" y="12"/>
                  <a:pt x="37" y="11"/>
                  <a:pt x="37" y="12"/>
                </a:cubicBezTo>
                <a:cubicBezTo>
                  <a:pt x="37" y="11"/>
                  <a:pt x="37" y="11"/>
                  <a:pt x="36" y="11"/>
                </a:cubicBezTo>
                <a:cubicBezTo>
                  <a:pt x="37" y="12"/>
                  <a:pt x="36" y="12"/>
                  <a:pt x="36" y="12"/>
                </a:cubicBezTo>
                <a:cubicBezTo>
                  <a:pt x="36" y="12"/>
                  <a:pt x="35" y="13"/>
                  <a:pt x="36" y="13"/>
                </a:cubicBezTo>
                <a:cubicBezTo>
                  <a:pt x="37" y="12"/>
                  <a:pt x="37" y="13"/>
                  <a:pt x="38" y="13"/>
                </a:cubicBezTo>
                <a:cubicBezTo>
                  <a:pt x="39" y="13"/>
                  <a:pt x="39" y="13"/>
                  <a:pt x="40" y="13"/>
                </a:cubicBezTo>
                <a:cubicBezTo>
                  <a:pt x="40" y="12"/>
                  <a:pt x="41" y="12"/>
                  <a:pt x="42" y="13"/>
                </a:cubicBezTo>
                <a:cubicBezTo>
                  <a:pt x="42" y="14"/>
                  <a:pt x="42" y="14"/>
                  <a:pt x="41" y="14"/>
                </a:cubicBezTo>
                <a:cubicBezTo>
                  <a:pt x="41" y="14"/>
                  <a:pt x="39" y="15"/>
                  <a:pt x="39" y="16"/>
                </a:cubicBezTo>
                <a:cubicBezTo>
                  <a:pt x="39" y="16"/>
                  <a:pt x="38" y="16"/>
                  <a:pt x="38" y="16"/>
                </a:cubicBezTo>
                <a:cubicBezTo>
                  <a:pt x="39" y="17"/>
                  <a:pt x="37" y="18"/>
                  <a:pt x="37" y="17"/>
                </a:cubicBezTo>
                <a:cubicBezTo>
                  <a:pt x="37" y="17"/>
                  <a:pt x="36" y="17"/>
                  <a:pt x="35" y="17"/>
                </a:cubicBezTo>
                <a:cubicBezTo>
                  <a:pt x="35" y="16"/>
                  <a:pt x="35" y="15"/>
                  <a:pt x="34" y="15"/>
                </a:cubicBezTo>
                <a:cubicBezTo>
                  <a:pt x="33" y="15"/>
                  <a:pt x="33" y="16"/>
                  <a:pt x="33" y="16"/>
                </a:cubicBezTo>
                <a:cubicBezTo>
                  <a:pt x="33" y="16"/>
                  <a:pt x="32" y="16"/>
                  <a:pt x="32" y="17"/>
                </a:cubicBezTo>
                <a:cubicBezTo>
                  <a:pt x="33" y="17"/>
                  <a:pt x="33" y="17"/>
                  <a:pt x="33" y="17"/>
                </a:cubicBezTo>
                <a:cubicBezTo>
                  <a:pt x="33" y="18"/>
                  <a:pt x="32" y="18"/>
                  <a:pt x="32" y="18"/>
                </a:cubicBezTo>
                <a:cubicBezTo>
                  <a:pt x="32" y="18"/>
                  <a:pt x="33" y="18"/>
                  <a:pt x="33" y="19"/>
                </a:cubicBezTo>
                <a:cubicBezTo>
                  <a:pt x="33" y="19"/>
                  <a:pt x="32" y="19"/>
                  <a:pt x="33" y="19"/>
                </a:cubicBezTo>
                <a:cubicBezTo>
                  <a:pt x="33" y="19"/>
                  <a:pt x="33" y="20"/>
                  <a:pt x="33" y="20"/>
                </a:cubicBezTo>
                <a:cubicBezTo>
                  <a:pt x="33" y="20"/>
                  <a:pt x="33" y="20"/>
                  <a:pt x="33" y="20"/>
                </a:cubicBezTo>
                <a:cubicBezTo>
                  <a:pt x="33" y="21"/>
                  <a:pt x="34" y="21"/>
                  <a:pt x="34" y="21"/>
                </a:cubicBezTo>
                <a:cubicBezTo>
                  <a:pt x="34" y="21"/>
                  <a:pt x="33" y="21"/>
                  <a:pt x="33" y="20"/>
                </a:cubicBezTo>
                <a:cubicBezTo>
                  <a:pt x="33" y="20"/>
                  <a:pt x="32" y="20"/>
                  <a:pt x="32" y="21"/>
                </a:cubicBezTo>
                <a:cubicBezTo>
                  <a:pt x="32" y="21"/>
                  <a:pt x="32" y="21"/>
                  <a:pt x="32" y="22"/>
                </a:cubicBezTo>
                <a:cubicBezTo>
                  <a:pt x="32" y="22"/>
                  <a:pt x="31" y="23"/>
                  <a:pt x="31" y="22"/>
                </a:cubicBezTo>
                <a:cubicBezTo>
                  <a:pt x="31" y="22"/>
                  <a:pt x="32" y="21"/>
                  <a:pt x="32" y="21"/>
                </a:cubicBezTo>
                <a:cubicBezTo>
                  <a:pt x="32" y="21"/>
                  <a:pt x="31" y="21"/>
                  <a:pt x="31" y="21"/>
                </a:cubicBezTo>
                <a:cubicBezTo>
                  <a:pt x="31" y="20"/>
                  <a:pt x="32" y="20"/>
                  <a:pt x="32" y="20"/>
                </a:cubicBezTo>
                <a:cubicBezTo>
                  <a:pt x="33" y="19"/>
                  <a:pt x="32" y="19"/>
                  <a:pt x="32" y="19"/>
                </a:cubicBezTo>
                <a:cubicBezTo>
                  <a:pt x="32" y="19"/>
                  <a:pt x="32" y="19"/>
                  <a:pt x="32" y="18"/>
                </a:cubicBezTo>
                <a:cubicBezTo>
                  <a:pt x="32" y="18"/>
                  <a:pt x="32" y="18"/>
                  <a:pt x="32" y="17"/>
                </a:cubicBezTo>
                <a:cubicBezTo>
                  <a:pt x="32" y="17"/>
                  <a:pt x="32" y="17"/>
                  <a:pt x="32" y="17"/>
                </a:cubicBezTo>
                <a:cubicBezTo>
                  <a:pt x="31" y="17"/>
                  <a:pt x="31" y="17"/>
                  <a:pt x="31" y="17"/>
                </a:cubicBezTo>
                <a:cubicBezTo>
                  <a:pt x="31" y="17"/>
                  <a:pt x="31" y="17"/>
                  <a:pt x="30" y="17"/>
                </a:cubicBezTo>
                <a:cubicBezTo>
                  <a:pt x="31" y="17"/>
                  <a:pt x="30" y="16"/>
                  <a:pt x="30" y="15"/>
                </a:cubicBezTo>
                <a:cubicBezTo>
                  <a:pt x="30" y="16"/>
                  <a:pt x="30" y="17"/>
                  <a:pt x="29" y="17"/>
                </a:cubicBezTo>
                <a:cubicBezTo>
                  <a:pt x="29" y="18"/>
                  <a:pt x="30" y="16"/>
                  <a:pt x="29" y="16"/>
                </a:cubicBezTo>
                <a:cubicBezTo>
                  <a:pt x="29" y="16"/>
                  <a:pt x="28" y="16"/>
                  <a:pt x="28" y="16"/>
                </a:cubicBezTo>
                <a:cubicBezTo>
                  <a:pt x="27" y="16"/>
                  <a:pt x="27" y="15"/>
                  <a:pt x="27" y="15"/>
                </a:cubicBezTo>
                <a:cubicBezTo>
                  <a:pt x="27" y="15"/>
                  <a:pt x="27" y="14"/>
                  <a:pt x="27" y="14"/>
                </a:cubicBezTo>
                <a:cubicBezTo>
                  <a:pt x="27" y="14"/>
                  <a:pt x="26" y="15"/>
                  <a:pt x="26" y="14"/>
                </a:cubicBezTo>
                <a:cubicBezTo>
                  <a:pt x="26" y="15"/>
                  <a:pt x="26" y="16"/>
                  <a:pt x="25" y="15"/>
                </a:cubicBezTo>
                <a:cubicBezTo>
                  <a:pt x="24" y="15"/>
                  <a:pt x="25" y="16"/>
                  <a:pt x="25" y="16"/>
                </a:cubicBezTo>
                <a:cubicBezTo>
                  <a:pt x="26" y="17"/>
                  <a:pt x="26" y="18"/>
                  <a:pt x="25" y="17"/>
                </a:cubicBezTo>
                <a:cubicBezTo>
                  <a:pt x="25" y="17"/>
                  <a:pt x="25" y="17"/>
                  <a:pt x="25" y="17"/>
                </a:cubicBezTo>
                <a:cubicBezTo>
                  <a:pt x="25" y="17"/>
                  <a:pt x="24" y="17"/>
                  <a:pt x="24" y="17"/>
                </a:cubicBezTo>
                <a:cubicBezTo>
                  <a:pt x="24" y="17"/>
                  <a:pt x="24" y="17"/>
                  <a:pt x="24" y="17"/>
                </a:cubicBezTo>
                <a:cubicBezTo>
                  <a:pt x="24" y="17"/>
                  <a:pt x="24" y="17"/>
                  <a:pt x="24" y="18"/>
                </a:cubicBezTo>
                <a:cubicBezTo>
                  <a:pt x="24" y="18"/>
                  <a:pt x="23" y="18"/>
                  <a:pt x="23" y="18"/>
                </a:cubicBezTo>
                <a:cubicBezTo>
                  <a:pt x="23" y="18"/>
                  <a:pt x="24" y="19"/>
                  <a:pt x="24" y="19"/>
                </a:cubicBezTo>
                <a:cubicBezTo>
                  <a:pt x="24" y="19"/>
                  <a:pt x="24" y="20"/>
                  <a:pt x="24" y="19"/>
                </a:cubicBezTo>
                <a:cubicBezTo>
                  <a:pt x="23" y="19"/>
                  <a:pt x="23" y="18"/>
                  <a:pt x="23" y="18"/>
                </a:cubicBezTo>
                <a:cubicBezTo>
                  <a:pt x="23" y="18"/>
                  <a:pt x="23" y="19"/>
                  <a:pt x="23" y="19"/>
                </a:cubicBezTo>
                <a:cubicBezTo>
                  <a:pt x="23" y="19"/>
                  <a:pt x="23" y="19"/>
                  <a:pt x="22" y="19"/>
                </a:cubicBezTo>
                <a:cubicBezTo>
                  <a:pt x="22" y="19"/>
                  <a:pt x="23" y="20"/>
                  <a:pt x="22" y="20"/>
                </a:cubicBezTo>
                <a:cubicBezTo>
                  <a:pt x="21" y="21"/>
                  <a:pt x="22" y="19"/>
                  <a:pt x="22" y="19"/>
                </a:cubicBezTo>
                <a:cubicBezTo>
                  <a:pt x="22" y="18"/>
                  <a:pt x="22" y="18"/>
                  <a:pt x="22" y="18"/>
                </a:cubicBezTo>
                <a:cubicBezTo>
                  <a:pt x="22" y="18"/>
                  <a:pt x="22" y="18"/>
                  <a:pt x="22" y="18"/>
                </a:cubicBezTo>
                <a:cubicBezTo>
                  <a:pt x="21" y="18"/>
                  <a:pt x="22" y="17"/>
                  <a:pt x="21" y="17"/>
                </a:cubicBezTo>
                <a:cubicBezTo>
                  <a:pt x="21" y="17"/>
                  <a:pt x="22" y="17"/>
                  <a:pt x="22" y="17"/>
                </a:cubicBezTo>
                <a:cubicBezTo>
                  <a:pt x="22" y="16"/>
                  <a:pt x="21" y="16"/>
                  <a:pt x="22" y="15"/>
                </a:cubicBezTo>
                <a:cubicBezTo>
                  <a:pt x="22" y="15"/>
                  <a:pt x="21" y="15"/>
                  <a:pt x="21" y="15"/>
                </a:cubicBezTo>
                <a:cubicBezTo>
                  <a:pt x="20" y="16"/>
                  <a:pt x="21" y="14"/>
                  <a:pt x="21" y="13"/>
                </a:cubicBezTo>
                <a:cubicBezTo>
                  <a:pt x="21" y="13"/>
                  <a:pt x="21" y="11"/>
                  <a:pt x="21" y="11"/>
                </a:cubicBezTo>
                <a:cubicBezTo>
                  <a:pt x="21" y="11"/>
                  <a:pt x="20" y="12"/>
                  <a:pt x="20" y="11"/>
                </a:cubicBezTo>
                <a:cubicBezTo>
                  <a:pt x="20" y="10"/>
                  <a:pt x="21" y="10"/>
                  <a:pt x="21" y="9"/>
                </a:cubicBezTo>
                <a:cubicBezTo>
                  <a:pt x="21" y="9"/>
                  <a:pt x="21" y="8"/>
                  <a:pt x="22" y="7"/>
                </a:cubicBezTo>
                <a:cubicBezTo>
                  <a:pt x="22" y="7"/>
                  <a:pt x="22" y="5"/>
                  <a:pt x="22" y="5"/>
                </a:cubicBezTo>
                <a:cubicBezTo>
                  <a:pt x="22" y="6"/>
                  <a:pt x="22" y="5"/>
                  <a:pt x="22" y="4"/>
                </a:cubicBezTo>
                <a:cubicBezTo>
                  <a:pt x="22" y="4"/>
                  <a:pt x="23" y="3"/>
                  <a:pt x="23" y="2"/>
                </a:cubicBezTo>
                <a:cubicBezTo>
                  <a:pt x="23" y="2"/>
                  <a:pt x="23" y="1"/>
                  <a:pt x="23" y="1"/>
                </a:cubicBezTo>
                <a:cubicBezTo>
                  <a:pt x="22" y="0"/>
                  <a:pt x="22" y="0"/>
                  <a:pt x="22" y="1"/>
                </a:cubicBezTo>
                <a:cubicBezTo>
                  <a:pt x="22" y="1"/>
                  <a:pt x="22" y="1"/>
                  <a:pt x="22" y="0"/>
                </a:cubicBezTo>
                <a:cubicBezTo>
                  <a:pt x="20" y="0"/>
                  <a:pt x="17" y="0"/>
                  <a:pt x="15" y="0"/>
                </a:cubicBezTo>
                <a:cubicBezTo>
                  <a:pt x="14" y="0"/>
                  <a:pt x="12" y="0"/>
                  <a:pt x="11" y="0"/>
                </a:cubicBezTo>
                <a:cubicBezTo>
                  <a:pt x="11" y="1"/>
                  <a:pt x="10" y="1"/>
                  <a:pt x="9" y="1"/>
                </a:cubicBezTo>
                <a:cubicBezTo>
                  <a:pt x="9" y="1"/>
                  <a:pt x="9" y="2"/>
                  <a:pt x="9" y="2"/>
                </a:cubicBezTo>
                <a:cubicBezTo>
                  <a:pt x="9" y="2"/>
                  <a:pt x="9" y="2"/>
                  <a:pt x="10" y="2"/>
                </a:cubicBezTo>
                <a:cubicBezTo>
                  <a:pt x="10" y="2"/>
                  <a:pt x="10" y="2"/>
                  <a:pt x="10" y="3"/>
                </a:cubicBezTo>
                <a:cubicBezTo>
                  <a:pt x="10" y="3"/>
                  <a:pt x="10" y="4"/>
                  <a:pt x="10" y="4"/>
                </a:cubicBezTo>
                <a:cubicBezTo>
                  <a:pt x="11" y="4"/>
                  <a:pt x="11" y="4"/>
                  <a:pt x="11" y="5"/>
                </a:cubicBezTo>
                <a:cubicBezTo>
                  <a:pt x="12" y="5"/>
                  <a:pt x="13" y="7"/>
                  <a:pt x="13" y="8"/>
                </a:cubicBezTo>
                <a:cubicBezTo>
                  <a:pt x="12" y="9"/>
                  <a:pt x="12" y="10"/>
                  <a:pt x="13" y="12"/>
                </a:cubicBezTo>
                <a:cubicBezTo>
                  <a:pt x="13" y="12"/>
                  <a:pt x="13" y="12"/>
                  <a:pt x="13" y="13"/>
                </a:cubicBezTo>
                <a:cubicBezTo>
                  <a:pt x="13" y="14"/>
                  <a:pt x="13" y="14"/>
                  <a:pt x="13" y="15"/>
                </a:cubicBezTo>
                <a:cubicBezTo>
                  <a:pt x="13" y="15"/>
                  <a:pt x="12" y="15"/>
                  <a:pt x="12" y="15"/>
                </a:cubicBezTo>
                <a:cubicBezTo>
                  <a:pt x="11" y="15"/>
                  <a:pt x="11" y="15"/>
                  <a:pt x="11" y="16"/>
                </a:cubicBezTo>
                <a:cubicBezTo>
                  <a:pt x="9" y="16"/>
                  <a:pt x="10" y="17"/>
                  <a:pt x="9" y="18"/>
                </a:cubicBezTo>
                <a:cubicBezTo>
                  <a:pt x="9" y="18"/>
                  <a:pt x="8" y="19"/>
                  <a:pt x="9" y="19"/>
                </a:cubicBezTo>
                <a:cubicBezTo>
                  <a:pt x="9" y="19"/>
                  <a:pt x="9" y="18"/>
                  <a:pt x="10" y="18"/>
                </a:cubicBezTo>
                <a:cubicBezTo>
                  <a:pt x="9" y="19"/>
                  <a:pt x="9" y="19"/>
                  <a:pt x="9" y="19"/>
                </a:cubicBezTo>
                <a:cubicBezTo>
                  <a:pt x="9" y="20"/>
                  <a:pt x="9" y="20"/>
                  <a:pt x="9" y="20"/>
                </a:cubicBezTo>
                <a:cubicBezTo>
                  <a:pt x="8" y="21"/>
                  <a:pt x="9" y="21"/>
                  <a:pt x="9" y="22"/>
                </a:cubicBezTo>
                <a:cubicBezTo>
                  <a:pt x="9" y="22"/>
                  <a:pt x="10" y="21"/>
                  <a:pt x="10" y="21"/>
                </a:cubicBezTo>
                <a:cubicBezTo>
                  <a:pt x="10" y="21"/>
                  <a:pt x="11" y="21"/>
                  <a:pt x="11" y="22"/>
                </a:cubicBezTo>
                <a:cubicBezTo>
                  <a:pt x="11" y="22"/>
                  <a:pt x="12" y="22"/>
                  <a:pt x="13" y="22"/>
                </a:cubicBezTo>
                <a:cubicBezTo>
                  <a:pt x="12" y="23"/>
                  <a:pt x="13" y="24"/>
                  <a:pt x="13" y="25"/>
                </a:cubicBezTo>
                <a:cubicBezTo>
                  <a:pt x="12" y="26"/>
                  <a:pt x="11" y="25"/>
                  <a:pt x="11" y="26"/>
                </a:cubicBezTo>
                <a:cubicBezTo>
                  <a:pt x="12" y="27"/>
                  <a:pt x="9" y="28"/>
                  <a:pt x="9" y="28"/>
                </a:cubicBezTo>
                <a:cubicBezTo>
                  <a:pt x="9" y="28"/>
                  <a:pt x="8" y="30"/>
                  <a:pt x="8" y="30"/>
                </a:cubicBezTo>
                <a:cubicBezTo>
                  <a:pt x="8" y="30"/>
                  <a:pt x="9" y="31"/>
                  <a:pt x="8" y="31"/>
                </a:cubicBezTo>
                <a:cubicBezTo>
                  <a:pt x="8" y="31"/>
                  <a:pt x="8" y="31"/>
                  <a:pt x="7" y="31"/>
                </a:cubicBezTo>
                <a:cubicBezTo>
                  <a:pt x="7" y="32"/>
                  <a:pt x="7" y="32"/>
                  <a:pt x="7" y="33"/>
                </a:cubicBezTo>
                <a:cubicBezTo>
                  <a:pt x="6" y="34"/>
                  <a:pt x="6" y="34"/>
                  <a:pt x="6" y="34"/>
                </a:cubicBezTo>
                <a:cubicBezTo>
                  <a:pt x="6" y="35"/>
                  <a:pt x="5" y="35"/>
                  <a:pt x="5" y="35"/>
                </a:cubicBezTo>
                <a:cubicBezTo>
                  <a:pt x="5" y="36"/>
                  <a:pt x="4" y="37"/>
                  <a:pt x="3" y="37"/>
                </a:cubicBezTo>
                <a:cubicBezTo>
                  <a:pt x="2" y="37"/>
                  <a:pt x="2" y="39"/>
                  <a:pt x="1" y="38"/>
                </a:cubicBezTo>
                <a:cubicBezTo>
                  <a:pt x="1" y="39"/>
                  <a:pt x="1" y="40"/>
                  <a:pt x="1" y="41"/>
                </a:cubicBezTo>
                <a:cubicBezTo>
                  <a:pt x="0" y="42"/>
                  <a:pt x="0" y="43"/>
                  <a:pt x="1" y="43"/>
                </a:cubicBezTo>
                <a:cubicBezTo>
                  <a:pt x="1" y="43"/>
                  <a:pt x="1" y="43"/>
                  <a:pt x="1" y="43"/>
                </a:cubicBezTo>
                <a:cubicBezTo>
                  <a:pt x="1" y="44"/>
                  <a:pt x="2" y="44"/>
                  <a:pt x="2" y="44"/>
                </a:cubicBezTo>
                <a:cubicBezTo>
                  <a:pt x="2" y="45"/>
                  <a:pt x="3" y="46"/>
                  <a:pt x="2" y="46"/>
                </a:cubicBezTo>
                <a:cubicBezTo>
                  <a:pt x="2" y="46"/>
                  <a:pt x="3" y="47"/>
                  <a:pt x="2" y="47"/>
                </a:cubicBezTo>
                <a:cubicBezTo>
                  <a:pt x="2" y="47"/>
                  <a:pt x="2" y="48"/>
                  <a:pt x="2" y="48"/>
                </a:cubicBezTo>
                <a:cubicBezTo>
                  <a:pt x="2" y="49"/>
                  <a:pt x="2" y="49"/>
                  <a:pt x="3" y="50"/>
                </a:cubicBezTo>
                <a:cubicBezTo>
                  <a:pt x="3" y="51"/>
                  <a:pt x="3" y="52"/>
                  <a:pt x="4" y="53"/>
                </a:cubicBezTo>
                <a:cubicBezTo>
                  <a:pt x="4" y="53"/>
                  <a:pt x="4" y="54"/>
                  <a:pt x="3" y="55"/>
                </a:cubicBezTo>
                <a:cubicBezTo>
                  <a:pt x="3" y="55"/>
                  <a:pt x="3" y="55"/>
                  <a:pt x="3" y="55"/>
                </a:cubicBezTo>
                <a:cubicBezTo>
                  <a:pt x="2" y="55"/>
                  <a:pt x="2" y="55"/>
                  <a:pt x="2" y="55"/>
                </a:cubicBezTo>
                <a:cubicBezTo>
                  <a:pt x="2" y="56"/>
                  <a:pt x="1" y="58"/>
                  <a:pt x="2" y="58"/>
                </a:cubicBezTo>
                <a:cubicBezTo>
                  <a:pt x="2" y="59"/>
                  <a:pt x="3" y="60"/>
                  <a:pt x="4" y="60"/>
                </a:cubicBezTo>
                <a:cubicBezTo>
                  <a:pt x="4" y="61"/>
                  <a:pt x="5" y="60"/>
                  <a:pt x="6" y="60"/>
                </a:cubicBezTo>
                <a:cubicBezTo>
                  <a:pt x="6" y="60"/>
                  <a:pt x="6" y="61"/>
                  <a:pt x="6" y="61"/>
                </a:cubicBezTo>
                <a:cubicBezTo>
                  <a:pt x="6" y="61"/>
                  <a:pt x="7" y="62"/>
                  <a:pt x="7" y="62"/>
                </a:cubicBezTo>
                <a:cubicBezTo>
                  <a:pt x="8" y="63"/>
                  <a:pt x="8" y="64"/>
                  <a:pt x="8" y="64"/>
                </a:cubicBezTo>
                <a:cubicBezTo>
                  <a:pt x="9" y="65"/>
                  <a:pt x="10" y="66"/>
                  <a:pt x="10" y="66"/>
                </a:cubicBezTo>
                <a:cubicBezTo>
                  <a:pt x="10" y="67"/>
                  <a:pt x="10" y="67"/>
                  <a:pt x="9" y="67"/>
                </a:cubicBezTo>
                <a:cubicBezTo>
                  <a:pt x="9" y="68"/>
                  <a:pt x="9" y="67"/>
                  <a:pt x="9" y="67"/>
                </a:cubicBezTo>
                <a:cubicBezTo>
                  <a:pt x="9" y="67"/>
                  <a:pt x="10" y="69"/>
                  <a:pt x="10" y="69"/>
                </a:cubicBezTo>
                <a:cubicBezTo>
                  <a:pt x="10" y="70"/>
                  <a:pt x="10" y="70"/>
                  <a:pt x="10" y="72"/>
                </a:cubicBezTo>
                <a:cubicBezTo>
                  <a:pt x="10" y="73"/>
                  <a:pt x="11" y="73"/>
                  <a:pt x="11" y="74"/>
                </a:cubicBezTo>
                <a:cubicBezTo>
                  <a:pt x="12" y="74"/>
                  <a:pt x="12" y="75"/>
                  <a:pt x="12" y="76"/>
                </a:cubicBezTo>
                <a:cubicBezTo>
                  <a:pt x="12" y="77"/>
                  <a:pt x="13" y="78"/>
                  <a:pt x="13" y="78"/>
                </a:cubicBezTo>
                <a:cubicBezTo>
                  <a:pt x="13" y="79"/>
                  <a:pt x="14" y="79"/>
                  <a:pt x="13" y="79"/>
                </a:cubicBezTo>
                <a:cubicBezTo>
                  <a:pt x="13" y="79"/>
                  <a:pt x="13" y="80"/>
                  <a:pt x="13" y="80"/>
                </a:cubicBezTo>
                <a:cubicBezTo>
                  <a:pt x="14" y="81"/>
                  <a:pt x="15" y="81"/>
                  <a:pt x="15" y="82"/>
                </a:cubicBezTo>
                <a:cubicBezTo>
                  <a:pt x="15" y="82"/>
                  <a:pt x="15" y="82"/>
                  <a:pt x="15" y="83"/>
                </a:cubicBezTo>
                <a:cubicBezTo>
                  <a:pt x="15" y="83"/>
                  <a:pt x="15" y="83"/>
                  <a:pt x="15" y="84"/>
                </a:cubicBezTo>
                <a:cubicBezTo>
                  <a:pt x="16" y="83"/>
                  <a:pt x="16" y="84"/>
                  <a:pt x="17" y="84"/>
                </a:cubicBezTo>
                <a:cubicBezTo>
                  <a:pt x="17" y="84"/>
                  <a:pt x="17" y="84"/>
                  <a:pt x="18" y="84"/>
                </a:cubicBezTo>
                <a:cubicBezTo>
                  <a:pt x="19" y="84"/>
                  <a:pt x="19" y="85"/>
                  <a:pt x="19" y="86"/>
                </a:cubicBezTo>
                <a:cubicBezTo>
                  <a:pt x="19" y="86"/>
                  <a:pt x="20" y="87"/>
                  <a:pt x="21" y="87"/>
                </a:cubicBezTo>
                <a:cubicBezTo>
                  <a:pt x="21" y="87"/>
                  <a:pt x="23" y="87"/>
                  <a:pt x="23" y="88"/>
                </a:cubicBezTo>
                <a:cubicBezTo>
                  <a:pt x="23" y="88"/>
                  <a:pt x="23" y="89"/>
                  <a:pt x="23" y="89"/>
                </a:cubicBezTo>
                <a:cubicBezTo>
                  <a:pt x="24" y="88"/>
                  <a:pt x="25" y="89"/>
                  <a:pt x="25" y="89"/>
                </a:cubicBezTo>
                <a:cubicBezTo>
                  <a:pt x="26" y="90"/>
                  <a:pt x="27" y="89"/>
                  <a:pt x="28" y="90"/>
                </a:cubicBezTo>
                <a:cubicBezTo>
                  <a:pt x="28" y="91"/>
                  <a:pt x="28" y="91"/>
                  <a:pt x="29" y="91"/>
                </a:cubicBezTo>
                <a:cubicBezTo>
                  <a:pt x="30" y="91"/>
                  <a:pt x="30" y="91"/>
                  <a:pt x="30" y="91"/>
                </a:cubicBezTo>
                <a:cubicBezTo>
                  <a:pt x="31" y="91"/>
                  <a:pt x="31" y="92"/>
                  <a:pt x="31" y="92"/>
                </a:cubicBezTo>
                <a:cubicBezTo>
                  <a:pt x="31" y="92"/>
                  <a:pt x="32" y="93"/>
                  <a:pt x="32" y="93"/>
                </a:cubicBezTo>
                <a:cubicBezTo>
                  <a:pt x="33" y="92"/>
                  <a:pt x="34" y="93"/>
                  <a:pt x="34" y="93"/>
                </a:cubicBezTo>
                <a:cubicBezTo>
                  <a:pt x="35" y="94"/>
                  <a:pt x="36" y="93"/>
                  <a:pt x="36" y="94"/>
                </a:cubicBezTo>
                <a:cubicBezTo>
                  <a:pt x="37" y="94"/>
                  <a:pt x="37" y="95"/>
                  <a:pt x="38" y="95"/>
                </a:cubicBezTo>
                <a:cubicBezTo>
                  <a:pt x="39" y="95"/>
                  <a:pt x="39" y="95"/>
                  <a:pt x="40" y="95"/>
                </a:cubicBezTo>
                <a:cubicBezTo>
                  <a:pt x="40" y="95"/>
                  <a:pt x="42" y="96"/>
                  <a:pt x="42" y="96"/>
                </a:cubicBezTo>
                <a:cubicBezTo>
                  <a:pt x="42" y="95"/>
                  <a:pt x="42" y="95"/>
                  <a:pt x="42" y="94"/>
                </a:cubicBezTo>
                <a:cubicBezTo>
                  <a:pt x="42" y="93"/>
                  <a:pt x="43" y="94"/>
                  <a:pt x="44" y="94"/>
                </a:cubicBezTo>
                <a:cubicBezTo>
                  <a:pt x="44" y="95"/>
                  <a:pt x="45" y="95"/>
                  <a:pt x="45" y="96"/>
                </a:cubicBezTo>
                <a:cubicBezTo>
                  <a:pt x="46" y="96"/>
                  <a:pt x="46" y="97"/>
                  <a:pt x="46" y="98"/>
                </a:cubicBezTo>
                <a:cubicBezTo>
                  <a:pt x="47" y="98"/>
                  <a:pt x="47" y="99"/>
                  <a:pt x="47" y="100"/>
                </a:cubicBezTo>
                <a:cubicBezTo>
                  <a:pt x="47" y="101"/>
                  <a:pt x="48" y="102"/>
                  <a:pt x="48" y="103"/>
                </a:cubicBezTo>
                <a:cubicBezTo>
                  <a:pt x="48" y="104"/>
                  <a:pt x="48" y="105"/>
                  <a:pt x="48" y="106"/>
                </a:cubicBezTo>
                <a:cubicBezTo>
                  <a:pt x="49" y="106"/>
                  <a:pt x="49" y="107"/>
                  <a:pt x="49" y="108"/>
                </a:cubicBezTo>
                <a:cubicBezTo>
                  <a:pt x="49" y="108"/>
                  <a:pt x="49" y="109"/>
                  <a:pt x="48" y="109"/>
                </a:cubicBezTo>
                <a:cubicBezTo>
                  <a:pt x="48" y="110"/>
                  <a:pt x="48" y="110"/>
                  <a:pt x="48" y="110"/>
                </a:cubicBezTo>
                <a:cubicBezTo>
                  <a:pt x="48" y="111"/>
                  <a:pt x="48" y="112"/>
                  <a:pt x="49" y="112"/>
                </a:cubicBezTo>
                <a:cubicBezTo>
                  <a:pt x="49" y="112"/>
                  <a:pt x="49" y="113"/>
                  <a:pt x="49" y="113"/>
                </a:cubicBezTo>
                <a:cubicBezTo>
                  <a:pt x="49" y="114"/>
                  <a:pt x="49" y="114"/>
                  <a:pt x="50" y="114"/>
                </a:cubicBezTo>
                <a:cubicBezTo>
                  <a:pt x="50" y="114"/>
                  <a:pt x="50" y="114"/>
                  <a:pt x="50" y="114"/>
                </a:cubicBezTo>
                <a:cubicBezTo>
                  <a:pt x="50" y="114"/>
                  <a:pt x="51" y="114"/>
                  <a:pt x="51" y="115"/>
                </a:cubicBezTo>
                <a:cubicBezTo>
                  <a:pt x="51" y="115"/>
                  <a:pt x="51" y="115"/>
                  <a:pt x="51" y="116"/>
                </a:cubicBezTo>
                <a:cubicBezTo>
                  <a:pt x="51" y="116"/>
                  <a:pt x="51" y="116"/>
                  <a:pt x="51" y="116"/>
                </a:cubicBezTo>
                <a:cubicBezTo>
                  <a:pt x="52" y="117"/>
                  <a:pt x="53" y="116"/>
                  <a:pt x="54" y="116"/>
                </a:cubicBezTo>
                <a:cubicBezTo>
                  <a:pt x="54" y="116"/>
                  <a:pt x="55" y="116"/>
                  <a:pt x="55" y="117"/>
                </a:cubicBezTo>
                <a:cubicBezTo>
                  <a:pt x="56" y="117"/>
                  <a:pt x="56" y="117"/>
                  <a:pt x="56" y="117"/>
                </a:cubicBezTo>
                <a:cubicBezTo>
                  <a:pt x="56" y="117"/>
                  <a:pt x="57" y="117"/>
                  <a:pt x="57" y="117"/>
                </a:cubicBezTo>
                <a:cubicBezTo>
                  <a:pt x="58" y="117"/>
                  <a:pt x="59" y="115"/>
                  <a:pt x="60" y="115"/>
                </a:cubicBezTo>
                <a:cubicBezTo>
                  <a:pt x="61" y="115"/>
                  <a:pt x="61" y="116"/>
                  <a:pt x="61" y="116"/>
                </a:cubicBezTo>
                <a:cubicBezTo>
                  <a:pt x="62" y="116"/>
                  <a:pt x="63" y="116"/>
                  <a:pt x="63" y="117"/>
                </a:cubicBezTo>
                <a:cubicBezTo>
                  <a:pt x="63" y="117"/>
                  <a:pt x="63" y="118"/>
                  <a:pt x="64" y="118"/>
                </a:cubicBezTo>
                <a:cubicBezTo>
                  <a:pt x="65" y="118"/>
                  <a:pt x="65" y="118"/>
                  <a:pt x="66" y="118"/>
                </a:cubicBezTo>
                <a:cubicBezTo>
                  <a:pt x="66" y="118"/>
                  <a:pt x="66" y="118"/>
                  <a:pt x="66" y="118"/>
                </a:cubicBezTo>
                <a:cubicBezTo>
                  <a:pt x="67" y="118"/>
                  <a:pt x="67" y="118"/>
                  <a:pt x="67" y="118"/>
                </a:cubicBezTo>
                <a:cubicBezTo>
                  <a:pt x="68" y="118"/>
                  <a:pt x="68" y="118"/>
                  <a:pt x="69" y="117"/>
                </a:cubicBezTo>
                <a:cubicBezTo>
                  <a:pt x="69" y="117"/>
                  <a:pt x="69" y="116"/>
                  <a:pt x="70" y="117"/>
                </a:cubicBezTo>
                <a:cubicBezTo>
                  <a:pt x="71" y="117"/>
                  <a:pt x="71" y="116"/>
                  <a:pt x="72" y="117"/>
                </a:cubicBezTo>
                <a:cubicBezTo>
                  <a:pt x="72" y="117"/>
                  <a:pt x="72" y="118"/>
                  <a:pt x="73" y="118"/>
                </a:cubicBezTo>
                <a:cubicBezTo>
                  <a:pt x="73" y="118"/>
                  <a:pt x="74" y="118"/>
                  <a:pt x="75" y="118"/>
                </a:cubicBezTo>
                <a:cubicBezTo>
                  <a:pt x="75" y="118"/>
                  <a:pt x="76" y="118"/>
                  <a:pt x="76" y="117"/>
                </a:cubicBezTo>
                <a:cubicBezTo>
                  <a:pt x="76" y="117"/>
                  <a:pt x="77" y="117"/>
                  <a:pt x="77" y="117"/>
                </a:cubicBezTo>
                <a:cubicBezTo>
                  <a:pt x="78" y="117"/>
                  <a:pt x="77" y="117"/>
                  <a:pt x="78" y="117"/>
                </a:cubicBezTo>
                <a:cubicBezTo>
                  <a:pt x="78" y="116"/>
                  <a:pt x="79" y="116"/>
                  <a:pt x="79" y="116"/>
                </a:cubicBezTo>
                <a:cubicBezTo>
                  <a:pt x="79" y="115"/>
                  <a:pt x="79" y="114"/>
                  <a:pt x="79" y="114"/>
                </a:cubicBezTo>
                <a:cubicBezTo>
                  <a:pt x="80" y="113"/>
                  <a:pt x="81" y="113"/>
                  <a:pt x="82" y="113"/>
                </a:cubicBezTo>
                <a:cubicBezTo>
                  <a:pt x="82" y="113"/>
                  <a:pt x="83" y="113"/>
                  <a:pt x="83" y="113"/>
                </a:cubicBezTo>
                <a:cubicBezTo>
                  <a:pt x="84" y="114"/>
                  <a:pt x="85" y="115"/>
                  <a:pt x="86" y="114"/>
                </a:cubicBezTo>
                <a:cubicBezTo>
                  <a:pt x="86" y="114"/>
                  <a:pt x="87" y="113"/>
                  <a:pt x="87" y="113"/>
                </a:cubicBezTo>
                <a:cubicBezTo>
                  <a:pt x="88" y="113"/>
                  <a:pt x="88" y="113"/>
                  <a:pt x="88" y="113"/>
                </a:cubicBezTo>
                <a:cubicBezTo>
                  <a:pt x="89" y="113"/>
                  <a:pt x="89" y="112"/>
                  <a:pt x="89" y="112"/>
                </a:cubicBezTo>
                <a:cubicBezTo>
                  <a:pt x="90" y="112"/>
                  <a:pt x="90" y="112"/>
                  <a:pt x="91" y="112"/>
                </a:cubicBezTo>
                <a:cubicBezTo>
                  <a:pt x="92" y="112"/>
                  <a:pt x="92" y="112"/>
                  <a:pt x="93" y="112"/>
                </a:cubicBezTo>
                <a:cubicBezTo>
                  <a:pt x="94" y="112"/>
                  <a:pt x="94" y="111"/>
                  <a:pt x="95" y="111"/>
                </a:cubicBezTo>
                <a:cubicBezTo>
                  <a:pt x="96" y="110"/>
                  <a:pt x="96" y="110"/>
                  <a:pt x="97" y="109"/>
                </a:cubicBezTo>
                <a:cubicBezTo>
                  <a:pt x="98" y="109"/>
                  <a:pt x="100" y="108"/>
                  <a:pt x="101" y="107"/>
                </a:cubicBezTo>
                <a:cubicBezTo>
                  <a:pt x="102" y="107"/>
                  <a:pt x="102" y="106"/>
                  <a:pt x="103" y="106"/>
                </a:cubicBezTo>
                <a:cubicBezTo>
                  <a:pt x="103" y="105"/>
                  <a:pt x="104" y="105"/>
                  <a:pt x="104" y="104"/>
                </a:cubicBezTo>
                <a:cubicBezTo>
                  <a:pt x="104" y="104"/>
                  <a:pt x="104" y="103"/>
                  <a:pt x="104" y="103"/>
                </a:cubicBezTo>
                <a:cubicBezTo>
                  <a:pt x="105" y="103"/>
                  <a:pt x="104" y="102"/>
                  <a:pt x="104" y="103"/>
                </a:cubicBezTo>
                <a:close/>
                <a:moveTo>
                  <a:pt x="99" y="49"/>
                </a:moveTo>
                <a:cubicBezTo>
                  <a:pt x="99" y="49"/>
                  <a:pt x="99" y="49"/>
                  <a:pt x="99" y="49"/>
                </a:cubicBezTo>
                <a:cubicBezTo>
                  <a:pt x="99" y="49"/>
                  <a:pt x="100" y="47"/>
                  <a:pt x="100" y="45"/>
                </a:cubicBezTo>
                <a:cubicBezTo>
                  <a:pt x="100" y="46"/>
                  <a:pt x="100" y="45"/>
                  <a:pt x="100" y="44"/>
                </a:cubicBezTo>
                <a:cubicBezTo>
                  <a:pt x="100" y="44"/>
                  <a:pt x="100" y="44"/>
                  <a:pt x="100" y="43"/>
                </a:cubicBezTo>
                <a:cubicBezTo>
                  <a:pt x="100" y="43"/>
                  <a:pt x="100" y="44"/>
                  <a:pt x="100" y="44"/>
                </a:cubicBezTo>
                <a:cubicBezTo>
                  <a:pt x="99" y="44"/>
                  <a:pt x="98" y="44"/>
                  <a:pt x="98" y="43"/>
                </a:cubicBezTo>
                <a:cubicBezTo>
                  <a:pt x="98" y="43"/>
                  <a:pt x="98" y="44"/>
                  <a:pt x="98" y="44"/>
                </a:cubicBezTo>
                <a:cubicBezTo>
                  <a:pt x="98" y="44"/>
                  <a:pt x="99" y="45"/>
                  <a:pt x="99" y="45"/>
                </a:cubicBezTo>
                <a:cubicBezTo>
                  <a:pt x="99" y="45"/>
                  <a:pt x="98" y="45"/>
                  <a:pt x="98" y="46"/>
                </a:cubicBezTo>
                <a:cubicBezTo>
                  <a:pt x="99" y="46"/>
                  <a:pt x="99" y="46"/>
                  <a:pt x="99" y="46"/>
                </a:cubicBezTo>
                <a:cubicBezTo>
                  <a:pt x="99" y="47"/>
                  <a:pt x="98" y="46"/>
                  <a:pt x="98" y="46"/>
                </a:cubicBezTo>
                <a:cubicBezTo>
                  <a:pt x="98" y="47"/>
                  <a:pt x="99" y="47"/>
                  <a:pt x="99" y="47"/>
                </a:cubicBezTo>
                <a:cubicBezTo>
                  <a:pt x="99" y="47"/>
                  <a:pt x="98" y="47"/>
                  <a:pt x="98" y="47"/>
                </a:cubicBezTo>
                <a:cubicBezTo>
                  <a:pt x="98" y="47"/>
                  <a:pt x="99" y="47"/>
                  <a:pt x="99" y="47"/>
                </a:cubicBezTo>
                <a:cubicBezTo>
                  <a:pt x="99" y="47"/>
                  <a:pt x="98" y="47"/>
                  <a:pt x="98" y="47"/>
                </a:cubicBezTo>
                <a:cubicBezTo>
                  <a:pt x="98" y="47"/>
                  <a:pt x="98" y="47"/>
                  <a:pt x="98" y="47"/>
                </a:cubicBezTo>
                <a:cubicBezTo>
                  <a:pt x="98" y="48"/>
                  <a:pt x="98" y="48"/>
                  <a:pt x="98" y="48"/>
                </a:cubicBezTo>
                <a:cubicBezTo>
                  <a:pt x="98" y="48"/>
                  <a:pt x="97" y="49"/>
                  <a:pt x="99" y="49"/>
                </a:cubicBezTo>
                <a:close/>
                <a:moveTo>
                  <a:pt x="93" y="58"/>
                </a:moveTo>
                <a:cubicBezTo>
                  <a:pt x="93" y="58"/>
                  <a:pt x="94" y="59"/>
                  <a:pt x="94" y="59"/>
                </a:cubicBezTo>
                <a:cubicBezTo>
                  <a:pt x="94" y="58"/>
                  <a:pt x="94" y="58"/>
                  <a:pt x="94" y="58"/>
                </a:cubicBezTo>
                <a:cubicBezTo>
                  <a:pt x="95" y="58"/>
                  <a:pt x="95" y="59"/>
                  <a:pt x="95" y="59"/>
                </a:cubicBezTo>
                <a:cubicBezTo>
                  <a:pt x="95" y="59"/>
                  <a:pt x="95" y="58"/>
                  <a:pt x="95" y="59"/>
                </a:cubicBezTo>
                <a:cubicBezTo>
                  <a:pt x="96" y="59"/>
                  <a:pt x="96" y="61"/>
                  <a:pt x="97" y="60"/>
                </a:cubicBezTo>
                <a:cubicBezTo>
                  <a:pt x="97" y="60"/>
                  <a:pt x="97" y="59"/>
                  <a:pt x="97" y="58"/>
                </a:cubicBezTo>
                <a:cubicBezTo>
                  <a:pt x="97" y="58"/>
                  <a:pt x="97" y="57"/>
                  <a:pt x="96" y="57"/>
                </a:cubicBezTo>
                <a:cubicBezTo>
                  <a:pt x="97" y="57"/>
                  <a:pt x="96" y="58"/>
                  <a:pt x="96" y="57"/>
                </a:cubicBezTo>
                <a:cubicBezTo>
                  <a:pt x="95" y="57"/>
                  <a:pt x="96" y="56"/>
                  <a:pt x="96" y="56"/>
                </a:cubicBezTo>
                <a:cubicBezTo>
                  <a:pt x="95" y="55"/>
                  <a:pt x="95" y="55"/>
                  <a:pt x="95" y="55"/>
                </a:cubicBezTo>
                <a:cubicBezTo>
                  <a:pt x="95" y="54"/>
                  <a:pt x="95" y="53"/>
                  <a:pt x="95" y="53"/>
                </a:cubicBezTo>
                <a:cubicBezTo>
                  <a:pt x="95" y="52"/>
                  <a:pt x="94" y="52"/>
                  <a:pt x="94" y="53"/>
                </a:cubicBezTo>
                <a:cubicBezTo>
                  <a:pt x="94" y="54"/>
                  <a:pt x="93" y="54"/>
                  <a:pt x="93" y="55"/>
                </a:cubicBezTo>
                <a:cubicBezTo>
                  <a:pt x="94" y="56"/>
                  <a:pt x="93" y="57"/>
                  <a:pt x="93" y="5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0" name="Taiwan"/>
          <p:cNvSpPr>
            <a:spLocks noEditPoints="1"/>
          </p:cNvSpPr>
          <p:nvPr/>
        </p:nvSpPr>
        <p:spPr bwMode="auto">
          <a:xfrm>
            <a:off x="9891929" y="3657975"/>
            <a:ext cx="82997" cy="133995"/>
          </a:xfrm>
          <a:custGeom>
            <a:avLst/>
            <a:gdLst/>
            <a:ahLst/>
            <a:cxnLst>
              <a:cxn ang="0">
                <a:pos x="22" y="36"/>
              </a:cxn>
              <a:cxn ang="0">
                <a:pos x="22" y="36"/>
              </a:cxn>
              <a:cxn ang="0">
                <a:pos x="22" y="36"/>
              </a:cxn>
              <a:cxn ang="0">
                <a:pos x="10" y="31"/>
              </a:cxn>
              <a:cxn ang="0">
                <a:pos x="9" y="30"/>
              </a:cxn>
              <a:cxn ang="0">
                <a:pos x="9" y="30"/>
              </a:cxn>
              <a:cxn ang="0">
                <a:pos x="10" y="31"/>
              </a:cxn>
              <a:cxn ang="0">
                <a:pos x="19" y="2"/>
              </a:cxn>
              <a:cxn ang="0">
                <a:pos x="17" y="2"/>
              </a:cxn>
              <a:cxn ang="0">
                <a:pos x="15" y="1"/>
              </a:cxn>
              <a:cxn ang="0">
                <a:pos x="14" y="2"/>
              </a:cxn>
              <a:cxn ang="0">
                <a:pos x="15" y="2"/>
              </a:cxn>
              <a:cxn ang="0">
                <a:pos x="12" y="2"/>
              </a:cxn>
              <a:cxn ang="0">
                <a:pos x="11" y="3"/>
              </a:cxn>
              <a:cxn ang="0">
                <a:pos x="11" y="5"/>
              </a:cxn>
              <a:cxn ang="0">
                <a:pos x="10" y="7"/>
              </a:cxn>
              <a:cxn ang="0">
                <a:pos x="10" y="7"/>
              </a:cxn>
              <a:cxn ang="0">
                <a:pos x="9" y="7"/>
              </a:cxn>
              <a:cxn ang="0">
                <a:pos x="8" y="11"/>
              </a:cxn>
              <a:cxn ang="0">
                <a:pos x="7" y="14"/>
              </a:cxn>
              <a:cxn ang="0">
                <a:pos x="7" y="15"/>
              </a:cxn>
              <a:cxn ang="0">
                <a:pos x="6" y="19"/>
              </a:cxn>
              <a:cxn ang="0">
                <a:pos x="6" y="22"/>
              </a:cxn>
              <a:cxn ang="0">
                <a:pos x="6" y="24"/>
              </a:cxn>
              <a:cxn ang="0">
                <a:pos x="6" y="24"/>
              </a:cxn>
              <a:cxn ang="0">
                <a:pos x="6" y="25"/>
              </a:cxn>
              <a:cxn ang="0">
                <a:pos x="7" y="25"/>
              </a:cxn>
              <a:cxn ang="0">
                <a:pos x="7" y="26"/>
              </a:cxn>
              <a:cxn ang="0">
                <a:pos x="8" y="28"/>
              </a:cxn>
              <a:cxn ang="0">
                <a:pos x="9" y="30"/>
              </a:cxn>
              <a:cxn ang="0">
                <a:pos x="9" y="30"/>
              </a:cxn>
              <a:cxn ang="0">
                <a:pos x="13" y="33"/>
              </a:cxn>
              <a:cxn ang="0">
                <a:pos x="14" y="35"/>
              </a:cxn>
              <a:cxn ang="0">
                <a:pos x="15" y="37"/>
              </a:cxn>
              <a:cxn ang="0">
                <a:pos x="15" y="37"/>
              </a:cxn>
              <a:cxn ang="0">
                <a:pos x="16" y="37"/>
              </a:cxn>
              <a:cxn ang="0">
                <a:pos x="16" y="36"/>
              </a:cxn>
              <a:cxn ang="0">
                <a:pos x="15" y="33"/>
              </a:cxn>
              <a:cxn ang="0">
                <a:pos x="16" y="29"/>
              </a:cxn>
              <a:cxn ang="0">
                <a:pos x="17" y="28"/>
              </a:cxn>
              <a:cxn ang="0">
                <a:pos x="18" y="26"/>
              </a:cxn>
              <a:cxn ang="0">
                <a:pos x="19" y="24"/>
              </a:cxn>
              <a:cxn ang="0">
                <a:pos x="19" y="23"/>
              </a:cxn>
              <a:cxn ang="0">
                <a:pos x="19" y="20"/>
              </a:cxn>
              <a:cxn ang="0">
                <a:pos x="19" y="17"/>
              </a:cxn>
              <a:cxn ang="0">
                <a:pos x="19" y="15"/>
              </a:cxn>
              <a:cxn ang="0">
                <a:pos x="19" y="13"/>
              </a:cxn>
              <a:cxn ang="0">
                <a:pos x="20" y="11"/>
              </a:cxn>
              <a:cxn ang="0">
                <a:pos x="20" y="10"/>
              </a:cxn>
              <a:cxn ang="0">
                <a:pos x="20" y="9"/>
              </a:cxn>
              <a:cxn ang="0">
                <a:pos x="20" y="8"/>
              </a:cxn>
              <a:cxn ang="0">
                <a:pos x="19" y="5"/>
              </a:cxn>
              <a:cxn ang="0">
                <a:pos x="20" y="4"/>
              </a:cxn>
              <a:cxn ang="0">
                <a:pos x="20" y="3"/>
              </a:cxn>
              <a:cxn ang="0">
                <a:pos x="19" y="2"/>
              </a:cxn>
              <a:cxn ang="0">
                <a:pos x="0" y="19"/>
              </a:cxn>
              <a:cxn ang="0">
                <a:pos x="0" y="20"/>
              </a:cxn>
              <a:cxn ang="0">
                <a:pos x="1" y="19"/>
              </a:cxn>
              <a:cxn ang="0">
                <a:pos x="0" y="19"/>
              </a:cxn>
            </a:cxnLst>
            <a:rect l="0" t="0" r="r" b="b"/>
            <a:pathLst>
              <a:path w="23" h="37">
                <a:moveTo>
                  <a:pt x="22" y="36"/>
                </a:moveTo>
                <a:cubicBezTo>
                  <a:pt x="23" y="37"/>
                  <a:pt x="22" y="36"/>
                  <a:pt x="22" y="36"/>
                </a:cubicBezTo>
                <a:cubicBezTo>
                  <a:pt x="22" y="35"/>
                  <a:pt x="22" y="36"/>
                  <a:pt x="22" y="36"/>
                </a:cubicBezTo>
                <a:close/>
                <a:moveTo>
                  <a:pt x="10" y="31"/>
                </a:moveTo>
                <a:cubicBezTo>
                  <a:pt x="10" y="30"/>
                  <a:pt x="9" y="30"/>
                  <a:pt x="9" y="30"/>
                </a:cubicBezTo>
                <a:cubicBezTo>
                  <a:pt x="9" y="30"/>
                  <a:pt x="9" y="30"/>
                  <a:pt x="9" y="30"/>
                </a:cubicBezTo>
                <a:cubicBezTo>
                  <a:pt x="9" y="30"/>
                  <a:pt x="10" y="30"/>
                  <a:pt x="10" y="31"/>
                </a:cubicBezTo>
                <a:close/>
                <a:moveTo>
                  <a:pt x="19" y="2"/>
                </a:moveTo>
                <a:cubicBezTo>
                  <a:pt x="18" y="2"/>
                  <a:pt x="18" y="2"/>
                  <a:pt x="17" y="2"/>
                </a:cubicBezTo>
                <a:cubicBezTo>
                  <a:pt x="16" y="1"/>
                  <a:pt x="16" y="0"/>
                  <a:pt x="15" y="1"/>
                </a:cubicBezTo>
                <a:cubicBezTo>
                  <a:pt x="15" y="1"/>
                  <a:pt x="14" y="1"/>
                  <a:pt x="14" y="2"/>
                </a:cubicBezTo>
                <a:cubicBezTo>
                  <a:pt x="14" y="2"/>
                  <a:pt x="15" y="2"/>
                  <a:pt x="15" y="2"/>
                </a:cubicBezTo>
                <a:cubicBezTo>
                  <a:pt x="14" y="1"/>
                  <a:pt x="13" y="2"/>
                  <a:pt x="12" y="2"/>
                </a:cubicBezTo>
                <a:cubicBezTo>
                  <a:pt x="12" y="3"/>
                  <a:pt x="11" y="3"/>
                  <a:pt x="11" y="3"/>
                </a:cubicBezTo>
                <a:cubicBezTo>
                  <a:pt x="11" y="4"/>
                  <a:pt x="11" y="4"/>
                  <a:pt x="11" y="5"/>
                </a:cubicBezTo>
                <a:cubicBezTo>
                  <a:pt x="10" y="5"/>
                  <a:pt x="11" y="6"/>
                  <a:pt x="10" y="7"/>
                </a:cubicBezTo>
                <a:cubicBezTo>
                  <a:pt x="10" y="7"/>
                  <a:pt x="10" y="7"/>
                  <a:pt x="10" y="7"/>
                </a:cubicBezTo>
                <a:cubicBezTo>
                  <a:pt x="10" y="7"/>
                  <a:pt x="9" y="7"/>
                  <a:pt x="9" y="7"/>
                </a:cubicBezTo>
                <a:cubicBezTo>
                  <a:pt x="9" y="8"/>
                  <a:pt x="8" y="10"/>
                  <a:pt x="8" y="11"/>
                </a:cubicBezTo>
                <a:cubicBezTo>
                  <a:pt x="8" y="12"/>
                  <a:pt x="7" y="13"/>
                  <a:pt x="7" y="14"/>
                </a:cubicBezTo>
                <a:cubicBezTo>
                  <a:pt x="7" y="14"/>
                  <a:pt x="7" y="15"/>
                  <a:pt x="7" y="15"/>
                </a:cubicBezTo>
                <a:cubicBezTo>
                  <a:pt x="6" y="17"/>
                  <a:pt x="5" y="18"/>
                  <a:pt x="6" y="19"/>
                </a:cubicBezTo>
                <a:cubicBezTo>
                  <a:pt x="6" y="20"/>
                  <a:pt x="7" y="21"/>
                  <a:pt x="6" y="22"/>
                </a:cubicBezTo>
                <a:cubicBezTo>
                  <a:pt x="6" y="23"/>
                  <a:pt x="6" y="23"/>
                  <a:pt x="6" y="24"/>
                </a:cubicBezTo>
                <a:cubicBezTo>
                  <a:pt x="6" y="24"/>
                  <a:pt x="7" y="24"/>
                  <a:pt x="6" y="24"/>
                </a:cubicBezTo>
                <a:cubicBezTo>
                  <a:pt x="7" y="24"/>
                  <a:pt x="6" y="25"/>
                  <a:pt x="6" y="25"/>
                </a:cubicBezTo>
                <a:cubicBezTo>
                  <a:pt x="6" y="25"/>
                  <a:pt x="7" y="25"/>
                  <a:pt x="7" y="25"/>
                </a:cubicBezTo>
                <a:cubicBezTo>
                  <a:pt x="7" y="25"/>
                  <a:pt x="7" y="26"/>
                  <a:pt x="7" y="26"/>
                </a:cubicBezTo>
                <a:cubicBezTo>
                  <a:pt x="7" y="27"/>
                  <a:pt x="8" y="28"/>
                  <a:pt x="8" y="28"/>
                </a:cubicBezTo>
                <a:cubicBezTo>
                  <a:pt x="9" y="29"/>
                  <a:pt x="9" y="29"/>
                  <a:pt x="9" y="30"/>
                </a:cubicBezTo>
                <a:cubicBezTo>
                  <a:pt x="9" y="30"/>
                  <a:pt x="9" y="30"/>
                  <a:pt x="9" y="30"/>
                </a:cubicBezTo>
                <a:cubicBezTo>
                  <a:pt x="10" y="31"/>
                  <a:pt x="12" y="32"/>
                  <a:pt x="13" y="33"/>
                </a:cubicBezTo>
                <a:cubicBezTo>
                  <a:pt x="13" y="33"/>
                  <a:pt x="14" y="34"/>
                  <a:pt x="14" y="35"/>
                </a:cubicBezTo>
                <a:cubicBezTo>
                  <a:pt x="14" y="36"/>
                  <a:pt x="14" y="37"/>
                  <a:pt x="15" y="37"/>
                </a:cubicBezTo>
                <a:cubicBezTo>
                  <a:pt x="15" y="37"/>
                  <a:pt x="15" y="37"/>
                  <a:pt x="15" y="37"/>
                </a:cubicBezTo>
                <a:cubicBezTo>
                  <a:pt x="15" y="37"/>
                  <a:pt x="16" y="37"/>
                  <a:pt x="16" y="37"/>
                </a:cubicBezTo>
                <a:cubicBezTo>
                  <a:pt x="16" y="37"/>
                  <a:pt x="16" y="36"/>
                  <a:pt x="16" y="36"/>
                </a:cubicBezTo>
                <a:cubicBezTo>
                  <a:pt x="16" y="35"/>
                  <a:pt x="15" y="34"/>
                  <a:pt x="15" y="33"/>
                </a:cubicBezTo>
                <a:cubicBezTo>
                  <a:pt x="15" y="32"/>
                  <a:pt x="16" y="30"/>
                  <a:pt x="16" y="29"/>
                </a:cubicBezTo>
                <a:cubicBezTo>
                  <a:pt x="17" y="29"/>
                  <a:pt x="17" y="28"/>
                  <a:pt x="17" y="28"/>
                </a:cubicBezTo>
                <a:cubicBezTo>
                  <a:pt x="17" y="27"/>
                  <a:pt x="18" y="26"/>
                  <a:pt x="18" y="26"/>
                </a:cubicBezTo>
                <a:cubicBezTo>
                  <a:pt x="18" y="25"/>
                  <a:pt x="18" y="25"/>
                  <a:pt x="19" y="24"/>
                </a:cubicBezTo>
                <a:cubicBezTo>
                  <a:pt x="19" y="24"/>
                  <a:pt x="19" y="23"/>
                  <a:pt x="19" y="23"/>
                </a:cubicBezTo>
                <a:cubicBezTo>
                  <a:pt x="19" y="22"/>
                  <a:pt x="19" y="21"/>
                  <a:pt x="19" y="20"/>
                </a:cubicBezTo>
                <a:cubicBezTo>
                  <a:pt x="19" y="19"/>
                  <a:pt x="19" y="18"/>
                  <a:pt x="19" y="17"/>
                </a:cubicBezTo>
                <a:cubicBezTo>
                  <a:pt x="19" y="17"/>
                  <a:pt x="19" y="16"/>
                  <a:pt x="19" y="15"/>
                </a:cubicBezTo>
                <a:cubicBezTo>
                  <a:pt x="19" y="14"/>
                  <a:pt x="19" y="14"/>
                  <a:pt x="19" y="13"/>
                </a:cubicBezTo>
                <a:cubicBezTo>
                  <a:pt x="19" y="13"/>
                  <a:pt x="19" y="12"/>
                  <a:pt x="20" y="11"/>
                </a:cubicBezTo>
                <a:cubicBezTo>
                  <a:pt x="20" y="11"/>
                  <a:pt x="20" y="10"/>
                  <a:pt x="20" y="10"/>
                </a:cubicBezTo>
                <a:cubicBezTo>
                  <a:pt x="20" y="9"/>
                  <a:pt x="20" y="9"/>
                  <a:pt x="20" y="9"/>
                </a:cubicBezTo>
                <a:cubicBezTo>
                  <a:pt x="20" y="9"/>
                  <a:pt x="20" y="8"/>
                  <a:pt x="20" y="8"/>
                </a:cubicBezTo>
                <a:cubicBezTo>
                  <a:pt x="19" y="8"/>
                  <a:pt x="19" y="6"/>
                  <a:pt x="19" y="5"/>
                </a:cubicBezTo>
                <a:cubicBezTo>
                  <a:pt x="19" y="5"/>
                  <a:pt x="20" y="4"/>
                  <a:pt x="20" y="4"/>
                </a:cubicBezTo>
                <a:cubicBezTo>
                  <a:pt x="21" y="3"/>
                  <a:pt x="20" y="3"/>
                  <a:pt x="20" y="3"/>
                </a:cubicBezTo>
                <a:cubicBezTo>
                  <a:pt x="19" y="3"/>
                  <a:pt x="19" y="2"/>
                  <a:pt x="19" y="2"/>
                </a:cubicBezTo>
                <a:close/>
                <a:moveTo>
                  <a:pt x="0" y="19"/>
                </a:moveTo>
                <a:cubicBezTo>
                  <a:pt x="0" y="19"/>
                  <a:pt x="1" y="20"/>
                  <a:pt x="0" y="20"/>
                </a:cubicBezTo>
                <a:cubicBezTo>
                  <a:pt x="1" y="20"/>
                  <a:pt x="1" y="19"/>
                  <a:pt x="1" y="19"/>
                </a:cubicBezTo>
                <a:cubicBezTo>
                  <a:pt x="1" y="19"/>
                  <a:pt x="0" y="18"/>
                  <a:pt x="0" y="1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1" name="Tahikistan"/>
          <p:cNvSpPr>
            <a:spLocks noEditPoints="1"/>
          </p:cNvSpPr>
          <p:nvPr/>
        </p:nvSpPr>
        <p:spPr bwMode="auto">
          <a:xfrm>
            <a:off x="8002999" y="3032998"/>
            <a:ext cx="273990" cy="176994"/>
          </a:xfrm>
          <a:custGeom>
            <a:avLst/>
            <a:gdLst/>
            <a:ahLst/>
            <a:cxnLst>
              <a:cxn ang="0">
                <a:pos x="73" y="41"/>
              </a:cxn>
              <a:cxn ang="0">
                <a:pos x="65" y="42"/>
              </a:cxn>
              <a:cxn ang="0">
                <a:pos x="63" y="41"/>
              </a:cxn>
              <a:cxn ang="0">
                <a:pos x="57" y="41"/>
              </a:cxn>
              <a:cxn ang="0">
                <a:pos x="52" y="45"/>
              </a:cxn>
              <a:cxn ang="0">
                <a:pos x="43" y="42"/>
              </a:cxn>
              <a:cxn ang="0">
                <a:pos x="41" y="34"/>
              </a:cxn>
              <a:cxn ang="0">
                <a:pos x="36" y="29"/>
              </a:cxn>
              <a:cxn ang="0">
                <a:pos x="33" y="29"/>
              </a:cxn>
              <a:cxn ang="0">
                <a:pos x="31" y="32"/>
              </a:cxn>
              <a:cxn ang="0">
                <a:pos x="31" y="38"/>
              </a:cxn>
              <a:cxn ang="0">
                <a:pos x="28" y="38"/>
              </a:cxn>
              <a:cxn ang="0">
                <a:pos x="24" y="41"/>
              </a:cxn>
              <a:cxn ang="0">
                <a:pos x="19" y="41"/>
              </a:cxn>
              <a:cxn ang="0">
                <a:pos x="17" y="42"/>
              </a:cxn>
              <a:cxn ang="0">
                <a:pos x="14" y="44"/>
              </a:cxn>
              <a:cxn ang="0">
                <a:pos x="10" y="44"/>
              </a:cxn>
              <a:cxn ang="0">
                <a:pos x="11" y="36"/>
              </a:cxn>
              <a:cxn ang="0">
                <a:pos x="9" y="28"/>
              </a:cxn>
              <a:cxn ang="0">
                <a:pos x="8" y="23"/>
              </a:cxn>
              <a:cxn ang="0">
                <a:pos x="3" y="21"/>
              </a:cxn>
              <a:cxn ang="0">
                <a:pos x="2" y="17"/>
              </a:cxn>
              <a:cxn ang="0">
                <a:pos x="11" y="16"/>
              </a:cxn>
              <a:cxn ang="0">
                <a:pos x="11" y="12"/>
              </a:cxn>
              <a:cxn ang="0">
                <a:pos x="13" y="11"/>
              </a:cxn>
              <a:cxn ang="0">
                <a:pos x="14" y="9"/>
              </a:cxn>
              <a:cxn ang="0">
                <a:pos x="14" y="7"/>
              </a:cxn>
              <a:cxn ang="0">
                <a:pos x="17" y="4"/>
              </a:cxn>
              <a:cxn ang="0">
                <a:pos x="23" y="2"/>
              </a:cxn>
              <a:cxn ang="0">
                <a:pos x="27" y="3"/>
              </a:cxn>
              <a:cxn ang="0">
                <a:pos x="24" y="7"/>
              </a:cxn>
              <a:cxn ang="0">
                <a:pos x="30" y="10"/>
              </a:cxn>
              <a:cxn ang="0">
                <a:pos x="27" y="12"/>
              </a:cxn>
              <a:cxn ang="0">
                <a:pos x="25" y="11"/>
              </a:cxn>
              <a:cxn ang="0">
                <a:pos x="18" y="11"/>
              </a:cxn>
              <a:cxn ang="0">
                <a:pos x="16" y="13"/>
              </a:cxn>
              <a:cxn ang="0">
                <a:pos x="19" y="17"/>
              </a:cxn>
              <a:cxn ang="0">
                <a:pos x="25" y="16"/>
              </a:cxn>
              <a:cxn ang="0">
                <a:pos x="31" y="18"/>
              </a:cxn>
              <a:cxn ang="0">
                <a:pos x="36" y="16"/>
              </a:cxn>
              <a:cxn ang="0">
                <a:pos x="42" y="19"/>
              </a:cxn>
              <a:cxn ang="0">
                <a:pos x="45" y="19"/>
              </a:cxn>
              <a:cxn ang="0">
                <a:pos x="52" y="19"/>
              </a:cxn>
              <a:cxn ang="0">
                <a:pos x="57" y="18"/>
              </a:cxn>
              <a:cxn ang="0">
                <a:pos x="59" y="24"/>
              </a:cxn>
              <a:cxn ang="0">
                <a:pos x="63" y="27"/>
              </a:cxn>
              <a:cxn ang="0">
                <a:pos x="70" y="29"/>
              </a:cxn>
              <a:cxn ang="0">
                <a:pos x="72" y="35"/>
              </a:cxn>
              <a:cxn ang="0">
                <a:pos x="26" y="2"/>
              </a:cxn>
            </a:cxnLst>
            <a:rect l="0" t="0" r="r" b="b"/>
            <a:pathLst>
              <a:path w="76" h="49">
                <a:moveTo>
                  <a:pt x="76" y="40"/>
                </a:moveTo>
                <a:cubicBezTo>
                  <a:pt x="76" y="40"/>
                  <a:pt x="75" y="41"/>
                  <a:pt x="75" y="41"/>
                </a:cubicBezTo>
                <a:cubicBezTo>
                  <a:pt x="76" y="41"/>
                  <a:pt x="75" y="41"/>
                  <a:pt x="74" y="42"/>
                </a:cubicBezTo>
                <a:cubicBezTo>
                  <a:pt x="74" y="42"/>
                  <a:pt x="74" y="42"/>
                  <a:pt x="73" y="41"/>
                </a:cubicBezTo>
                <a:cubicBezTo>
                  <a:pt x="73" y="41"/>
                  <a:pt x="72" y="41"/>
                  <a:pt x="71" y="40"/>
                </a:cubicBezTo>
                <a:cubicBezTo>
                  <a:pt x="69" y="40"/>
                  <a:pt x="69" y="40"/>
                  <a:pt x="67" y="40"/>
                </a:cubicBezTo>
                <a:cubicBezTo>
                  <a:pt x="67" y="40"/>
                  <a:pt x="68" y="41"/>
                  <a:pt x="67" y="41"/>
                </a:cubicBezTo>
                <a:cubicBezTo>
                  <a:pt x="66" y="41"/>
                  <a:pt x="65" y="41"/>
                  <a:pt x="65" y="42"/>
                </a:cubicBezTo>
                <a:cubicBezTo>
                  <a:pt x="64" y="42"/>
                  <a:pt x="64" y="42"/>
                  <a:pt x="64" y="42"/>
                </a:cubicBezTo>
                <a:cubicBezTo>
                  <a:pt x="64" y="42"/>
                  <a:pt x="63" y="42"/>
                  <a:pt x="63" y="42"/>
                </a:cubicBezTo>
                <a:cubicBezTo>
                  <a:pt x="63" y="42"/>
                  <a:pt x="62" y="42"/>
                  <a:pt x="62" y="42"/>
                </a:cubicBezTo>
                <a:cubicBezTo>
                  <a:pt x="62" y="41"/>
                  <a:pt x="63" y="41"/>
                  <a:pt x="63" y="41"/>
                </a:cubicBezTo>
                <a:cubicBezTo>
                  <a:pt x="64" y="40"/>
                  <a:pt x="63" y="40"/>
                  <a:pt x="62" y="40"/>
                </a:cubicBezTo>
                <a:cubicBezTo>
                  <a:pt x="61" y="40"/>
                  <a:pt x="59" y="39"/>
                  <a:pt x="58" y="40"/>
                </a:cubicBezTo>
                <a:cubicBezTo>
                  <a:pt x="58" y="40"/>
                  <a:pt x="57" y="40"/>
                  <a:pt x="57" y="41"/>
                </a:cubicBezTo>
                <a:cubicBezTo>
                  <a:pt x="57" y="41"/>
                  <a:pt x="57" y="41"/>
                  <a:pt x="57" y="41"/>
                </a:cubicBezTo>
                <a:cubicBezTo>
                  <a:pt x="56" y="41"/>
                  <a:pt x="56" y="42"/>
                  <a:pt x="56" y="42"/>
                </a:cubicBezTo>
                <a:cubicBezTo>
                  <a:pt x="55" y="42"/>
                  <a:pt x="55" y="42"/>
                  <a:pt x="54" y="43"/>
                </a:cubicBezTo>
                <a:cubicBezTo>
                  <a:pt x="54" y="43"/>
                  <a:pt x="54" y="44"/>
                  <a:pt x="54" y="44"/>
                </a:cubicBezTo>
                <a:cubicBezTo>
                  <a:pt x="54" y="45"/>
                  <a:pt x="53" y="45"/>
                  <a:pt x="52" y="45"/>
                </a:cubicBezTo>
                <a:cubicBezTo>
                  <a:pt x="51" y="45"/>
                  <a:pt x="51" y="45"/>
                  <a:pt x="50" y="46"/>
                </a:cubicBezTo>
                <a:cubicBezTo>
                  <a:pt x="49" y="46"/>
                  <a:pt x="48" y="48"/>
                  <a:pt x="47" y="48"/>
                </a:cubicBezTo>
                <a:cubicBezTo>
                  <a:pt x="45" y="49"/>
                  <a:pt x="44" y="47"/>
                  <a:pt x="44" y="46"/>
                </a:cubicBezTo>
                <a:cubicBezTo>
                  <a:pt x="43" y="45"/>
                  <a:pt x="42" y="43"/>
                  <a:pt x="43" y="42"/>
                </a:cubicBezTo>
                <a:cubicBezTo>
                  <a:pt x="43" y="41"/>
                  <a:pt x="42" y="41"/>
                  <a:pt x="42" y="40"/>
                </a:cubicBezTo>
                <a:cubicBezTo>
                  <a:pt x="43" y="39"/>
                  <a:pt x="42" y="38"/>
                  <a:pt x="42" y="38"/>
                </a:cubicBezTo>
                <a:cubicBezTo>
                  <a:pt x="42" y="37"/>
                  <a:pt x="42" y="36"/>
                  <a:pt x="42" y="36"/>
                </a:cubicBezTo>
                <a:cubicBezTo>
                  <a:pt x="43" y="35"/>
                  <a:pt x="42" y="34"/>
                  <a:pt x="41" y="34"/>
                </a:cubicBezTo>
                <a:cubicBezTo>
                  <a:pt x="41" y="34"/>
                  <a:pt x="39" y="35"/>
                  <a:pt x="39" y="34"/>
                </a:cubicBezTo>
                <a:cubicBezTo>
                  <a:pt x="39" y="33"/>
                  <a:pt x="40" y="31"/>
                  <a:pt x="39" y="31"/>
                </a:cubicBezTo>
                <a:cubicBezTo>
                  <a:pt x="38" y="30"/>
                  <a:pt x="37" y="30"/>
                  <a:pt x="37" y="30"/>
                </a:cubicBezTo>
                <a:cubicBezTo>
                  <a:pt x="36" y="29"/>
                  <a:pt x="36" y="29"/>
                  <a:pt x="36" y="29"/>
                </a:cubicBezTo>
                <a:cubicBezTo>
                  <a:pt x="35" y="29"/>
                  <a:pt x="35" y="28"/>
                  <a:pt x="35" y="29"/>
                </a:cubicBezTo>
                <a:cubicBezTo>
                  <a:pt x="35" y="29"/>
                  <a:pt x="35" y="29"/>
                  <a:pt x="35" y="29"/>
                </a:cubicBezTo>
                <a:cubicBezTo>
                  <a:pt x="35" y="29"/>
                  <a:pt x="34" y="29"/>
                  <a:pt x="34" y="29"/>
                </a:cubicBezTo>
                <a:cubicBezTo>
                  <a:pt x="34" y="29"/>
                  <a:pt x="33" y="29"/>
                  <a:pt x="33" y="29"/>
                </a:cubicBezTo>
                <a:cubicBezTo>
                  <a:pt x="33" y="29"/>
                  <a:pt x="33" y="30"/>
                  <a:pt x="33" y="30"/>
                </a:cubicBezTo>
                <a:cubicBezTo>
                  <a:pt x="33" y="30"/>
                  <a:pt x="32" y="30"/>
                  <a:pt x="32" y="30"/>
                </a:cubicBezTo>
                <a:cubicBezTo>
                  <a:pt x="32" y="30"/>
                  <a:pt x="32" y="30"/>
                  <a:pt x="32" y="30"/>
                </a:cubicBezTo>
                <a:cubicBezTo>
                  <a:pt x="32" y="31"/>
                  <a:pt x="32" y="32"/>
                  <a:pt x="31" y="32"/>
                </a:cubicBezTo>
                <a:cubicBezTo>
                  <a:pt x="31" y="33"/>
                  <a:pt x="30" y="33"/>
                  <a:pt x="30" y="34"/>
                </a:cubicBezTo>
                <a:cubicBezTo>
                  <a:pt x="30" y="35"/>
                  <a:pt x="30" y="34"/>
                  <a:pt x="29" y="35"/>
                </a:cubicBezTo>
                <a:cubicBezTo>
                  <a:pt x="29" y="35"/>
                  <a:pt x="30" y="36"/>
                  <a:pt x="30" y="36"/>
                </a:cubicBezTo>
                <a:cubicBezTo>
                  <a:pt x="31" y="36"/>
                  <a:pt x="31" y="37"/>
                  <a:pt x="31" y="38"/>
                </a:cubicBezTo>
                <a:cubicBezTo>
                  <a:pt x="31" y="38"/>
                  <a:pt x="31" y="38"/>
                  <a:pt x="31" y="38"/>
                </a:cubicBezTo>
                <a:cubicBezTo>
                  <a:pt x="30" y="38"/>
                  <a:pt x="30" y="38"/>
                  <a:pt x="30" y="39"/>
                </a:cubicBezTo>
                <a:cubicBezTo>
                  <a:pt x="30" y="39"/>
                  <a:pt x="29" y="39"/>
                  <a:pt x="28" y="38"/>
                </a:cubicBezTo>
                <a:cubicBezTo>
                  <a:pt x="28" y="38"/>
                  <a:pt x="28" y="38"/>
                  <a:pt x="28" y="38"/>
                </a:cubicBezTo>
                <a:cubicBezTo>
                  <a:pt x="27" y="38"/>
                  <a:pt x="27" y="38"/>
                  <a:pt x="27" y="38"/>
                </a:cubicBezTo>
                <a:cubicBezTo>
                  <a:pt x="26" y="38"/>
                  <a:pt x="25" y="38"/>
                  <a:pt x="25" y="38"/>
                </a:cubicBezTo>
                <a:cubicBezTo>
                  <a:pt x="24" y="38"/>
                  <a:pt x="24" y="39"/>
                  <a:pt x="24" y="39"/>
                </a:cubicBezTo>
                <a:cubicBezTo>
                  <a:pt x="23" y="40"/>
                  <a:pt x="23" y="40"/>
                  <a:pt x="24" y="41"/>
                </a:cubicBezTo>
                <a:cubicBezTo>
                  <a:pt x="24" y="41"/>
                  <a:pt x="24" y="42"/>
                  <a:pt x="24" y="43"/>
                </a:cubicBezTo>
                <a:cubicBezTo>
                  <a:pt x="24" y="43"/>
                  <a:pt x="23" y="44"/>
                  <a:pt x="23" y="43"/>
                </a:cubicBezTo>
                <a:cubicBezTo>
                  <a:pt x="22" y="43"/>
                  <a:pt x="21" y="42"/>
                  <a:pt x="20" y="42"/>
                </a:cubicBezTo>
                <a:cubicBezTo>
                  <a:pt x="20" y="41"/>
                  <a:pt x="20" y="41"/>
                  <a:pt x="19" y="41"/>
                </a:cubicBezTo>
                <a:cubicBezTo>
                  <a:pt x="19" y="41"/>
                  <a:pt x="20" y="41"/>
                  <a:pt x="19" y="42"/>
                </a:cubicBezTo>
                <a:cubicBezTo>
                  <a:pt x="19" y="42"/>
                  <a:pt x="18" y="40"/>
                  <a:pt x="19" y="42"/>
                </a:cubicBezTo>
                <a:cubicBezTo>
                  <a:pt x="19" y="42"/>
                  <a:pt x="18" y="42"/>
                  <a:pt x="18" y="42"/>
                </a:cubicBezTo>
                <a:cubicBezTo>
                  <a:pt x="17" y="42"/>
                  <a:pt x="17" y="42"/>
                  <a:pt x="17" y="42"/>
                </a:cubicBezTo>
                <a:cubicBezTo>
                  <a:pt x="16" y="43"/>
                  <a:pt x="16" y="43"/>
                  <a:pt x="15" y="43"/>
                </a:cubicBezTo>
                <a:cubicBezTo>
                  <a:pt x="15" y="43"/>
                  <a:pt x="15" y="43"/>
                  <a:pt x="15" y="43"/>
                </a:cubicBezTo>
                <a:cubicBezTo>
                  <a:pt x="15" y="44"/>
                  <a:pt x="15" y="43"/>
                  <a:pt x="15" y="43"/>
                </a:cubicBezTo>
                <a:cubicBezTo>
                  <a:pt x="14" y="44"/>
                  <a:pt x="15" y="44"/>
                  <a:pt x="14" y="44"/>
                </a:cubicBezTo>
                <a:cubicBezTo>
                  <a:pt x="14" y="45"/>
                  <a:pt x="14" y="44"/>
                  <a:pt x="14" y="44"/>
                </a:cubicBezTo>
                <a:cubicBezTo>
                  <a:pt x="13" y="45"/>
                  <a:pt x="13" y="45"/>
                  <a:pt x="13" y="45"/>
                </a:cubicBezTo>
                <a:cubicBezTo>
                  <a:pt x="12" y="46"/>
                  <a:pt x="11" y="45"/>
                  <a:pt x="11" y="45"/>
                </a:cubicBezTo>
                <a:cubicBezTo>
                  <a:pt x="11" y="44"/>
                  <a:pt x="11" y="44"/>
                  <a:pt x="10" y="44"/>
                </a:cubicBezTo>
                <a:cubicBezTo>
                  <a:pt x="10" y="44"/>
                  <a:pt x="10" y="44"/>
                  <a:pt x="9" y="44"/>
                </a:cubicBezTo>
                <a:cubicBezTo>
                  <a:pt x="9" y="43"/>
                  <a:pt x="10" y="42"/>
                  <a:pt x="10" y="42"/>
                </a:cubicBezTo>
                <a:cubicBezTo>
                  <a:pt x="10" y="41"/>
                  <a:pt x="9" y="40"/>
                  <a:pt x="9" y="39"/>
                </a:cubicBezTo>
                <a:cubicBezTo>
                  <a:pt x="9" y="38"/>
                  <a:pt x="10" y="37"/>
                  <a:pt x="11" y="36"/>
                </a:cubicBezTo>
                <a:cubicBezTo>
                  <a:pt x="11" y="35"/>
                  <a:pt x="11" y="35"/>
                  <a:pt x="11" y="35"/>
                </a:cubicBezTo>
                <a:cubicBezTo>
                  <a:pt x="12" y="34"/>
                  <a:pt x="12" y="34"/>
                  <a:pt x="12" y="33"/>
                </a:cubicBezTo>
                <a:cubicBezTo>
                  <a:pt x="13" y="31"/>
                  <a:pt x="11" y="31"/>
                  <a:pt x="10" y="30"/>
                </a:cubicBezTo>
                <a:cubicBezTo>
                  <a:pt x="10" y="29"/>
                  <a:pt x="9" y="29"/>
                  <a:pt x="9" y="28"/>
                </a:cubicBezTo>
                <a:cubicBezTo>
                  <a:pt x="9" y="27"/>
                  <a:pt x="9" y="27"/>
                  <a:pt x="9" y="27"/>
                </a:cubicBezTo>
                <a:cubicBezTo>
                  <a:pt x="8" y="26"/>
                  <a:pt x="9" y="26"/>
                  <a:pt x="8" y="25"/>
                </a:cubicBezTo>
                <a:cubicBezTo>
                  <a:pt x="8" y="25"/>
                  <a:pt x="9" y="25"/>
                  <a:pt x="9" y="25"/>
                </a:cubicBezTo>
                <a:cubicBezTo>
                  <a:pt x="9" y="24"/>
                  <a:pt x="9" y="24"/>
                  <a:pt x="8" y="23"/>
                </a:cubicBezTo>
                <a:cubicBezTo>
                  <a:pt x="8" y="23"/>
                  <a:pt x="7" y="23"/>
                  <a:pt x="7" y="23"/>
                </a:cubicBezTo>
                <a:cubicBezTo>
                  <a:pt x="6" y="23"/>
                  <a:pt x="5" y="23"/>
                  <a:pt x="5" y="23"/>
                </a:cubicBezTo>
                <a:cubicBezTo>
                  <a:pt x="4" y="23"/>
                  <a:pt x="4" y="22"/>
                  <a:pt x="4" y="22"/>
                </a:cubicBezTo>
                <a:cubicBezTo>
                  <a:pt x="4" y="21"/>
                  <a:pt x="3" y="21"/>
                  <a:pt x="3" y="21"/>
                </a:cubicBezTo>
                <a:cubicBezTo>
                  <a:pt x="2" y="21"/>
                  <a:pt x="0" y="20"/>
                  <a:pt x="1" y="19"/>
                </a:cubicBezTo>
                <a:cubicBezTo>
                  <a:pt x="1" y="19"/>
                  <a:pt x="1" y="18"/>
                  <a:pt x="1" y="18"/>
                </a:cubicBezTo>
                <a:cubicBezTo>
                  <a:pt x="1" y="17"/>
                  <a:pt x="1" y="17"/>
                  <a:pt x="1" y="17"/>
                </a:cubicBezTo>
                <a:cubicBezTo>
                  <a:pt x="1" y="17"/>
                  <a:pt x="1" y="17"/>
                  <a:pt x="2" y="17"/>
                </a:cubicBezTo>
                <a:cubicBezTo>
                  <a:pt x="3" y="16"/>
                  <a:pt x="3" y="16"/>
                  <a:pt x="4" y="16"/>
                </a:cubicBezTo>
                <a:cubicBezTo>
                  <a:pt x="5" y="16"/>
                  <a:pt x="6" y="16"/>
                  <a:pt x="7" y="17"/>
                </a:cubicBezTo>
                <a:cubicBezTo>
                  <a:pt x="8" y="17"/>
                  <a:pt x="10" y="17"/>
                  <a:pt x="10" y="17"/>
                </a:cubicBezTo>
                <a:cubicBezTo>
                  <a:pt x="10" y="17"/>
                  <a:pt x="11" y="16"/>
                  <a:pt x="11" y="16"/>
                </a:cubicBezTo>
                <a:cubicBezTo>
                  <a:pt x="11" y="15"/>
                  <a:pt x="11" y="14"/>
                  <a:pt x="10" y="13"/>
                </a:cubicBezTo>
                <a:cubicBezTo>
                  <a:pt x="11" y="13"/>
                  <a:pt x="11" y="13"/>
                  <a:pt x="11" y="13"/>
                </a:cubicBezTo>
                <a:cubicBezTo>
                  <a:pt x="12" y="14"/>
                  <a:pt x="12" y="14"/>
                  <a:pt x="12" y="13"/>
                </a:cubicBezTo>
                <a:cubicBezTo>
                  <a:pt x="12" y="13"/>
                  <a:pt x="11" y="12"/>
                  <a:pt x="11" y="12"/>
                </a:cubicBezTo>
                <a:cubicBezTo>
                  <a:pt x="12" y="12"/>
                  <a:pt x="13" y="14"/>
                  <a:pt x="13" y="13"/>
                </a:cubicBezTo>
                <a:cubicBezTo>
                  <a:pt x="13" y="13"/>
                  <a:pt x="11" y="11"/>
                  <a:pt x="11" y="11"/>
                </a:cubicBezTo>
                <a:cubicBezTo>
                  <a:pt x="11" y="11"/>
                  <a:pt x="12" y="11"/>
                  <a:pt x="12" y="11"/>
                </a:cubicBezTo>
                <a:cubicBezTo>
                  <a:pt x="12" y="11"/>
                  <a:pt x="14" y="11"/>
                  <a:pt x="13" y="11"/>
                </a:cubicBezTo>
                <a:cubicBezTo>
                  <a:pt x="13" y="10"/>
                  <a:pt x="12" y="10"/>
                  <a:pt x="11" y="10"/>
                </a:cubicBezTo>
                <a:cubicBezTo>
                  <a:pt x="11" y="10"/>
                  <a:pt x="9" y="11"/>
                  <a:pt x="9" y="10"/>
                </a:cubicBezTo>
                <a:cubicBezTo>
                  <a:pt x="10" y="10"/>
                  <a:pt x="11" y="10"/>
                  <a:pt x="11" y="10"/>
                </a:cubicBezTo>
                <a:cubicBezTo>
                  <a:pt x="12" y="9"/>
                  <a:pt x="13" y="9"/>
                  <a:pt x="14" y="9"/>
                </a:cubicBezTo>
                <a:cubicBezTo>
                  <a:pt x="14" y="9"/>
                  <a:pt x="16" y="10"/>
                  <a:pt x="15" y="9"/>
                </a:cubicBezTo>
                <a:cubicBezTo>
                  <a:pt x="15" y="9"/>
                  <a:pt x="14" y="9"/>
                  <a:pt x="15" y="9"/>
                </a:cubicBezTo>
                <a:cubicBezTo>
                  <a:pt x="15" y="9"/>
                  <a:pt x="15" y="9"/>
                  <a:pt x="15" y="9"/>
                </a:cubicBezTo>
                <a:cubicBezTo>
                  <a:pt x="16" y="8"/>
                  <a:pt x="15" y="7"/>
                  <a:pt x="14" y="7"/>
                </a:cubicBezTo>
                <a:cubicBezTo>
                  <a:pt x="14" y="6"/>
                  <a:pt x="13" y="5"/>
                  <a:pt x="14" y="5"/>
                </a:cubicBezTo>
                <a:cubicBezTo>
                  <a:pt x="15" y="5"/>
                  <a:pt x="14" y="4"/>
                  <a:pt x="14" y="4"/>
                </a:cubicBezTo>
                <a:cubicBezTo>
                  <a:pt x="14" y="3"/>
                  <a:pt x="15" y="3"/>
                  <a:pt x="15" y="3"/>
                </a:cubicBezTo>
                <a:cubicBezTo>
                  <a:pt x="16" y="3"/>
                  <a:pt x="17" y="4"/>
                  <a:pt x="17" y="4"/>
                </a:cubicBezTo>
                <a:cubicBezTo>
                  <a:pt x="18" y="5"/>
                  <a:pt x="18" y="5"/>
                  <a:pt x="19" y="4"/>
                </a:cubicBezTo>
                <a:cubicBezTo>
                  <a:pt x="19" y="4"/>
                  <a:pt x="20" y="4"/>
                  <a:pt x="20" y="4"/>
                </a:cubicBezTo>
                <a:cubicBezTo>
                  <a:pt x="21" y="3"/>
                  <a:pt x="21" y="3"/>
                  <a:pt x="21" y="3"/>
                </a:cubicBezTo>
                <a:cubicBezTo>
                  <a:pt x="22" y="3"/>
                  <a:pt x="22" y="2"/>
                  <a:pt x="23" y="2"/>
                </a:cubicBezTo>
                <a:cubicBezTo>
                  <a:pt x="23" y="2"/>
                  <a:pt x="23" y="0"/>
                  <a:pt x="23" y="0"/>
                </a:cubicBezTo>
                <a:cubicBezTo>
                  <a:pt x="24" y="0"/>
                  <a:pt x="26" y="3"/>
                  <a:pt x="27" y="3"/>
                </a:cubicBezTo>
                <a:cubicBezTo>
                  <a:pt x="26" y="3"/>
                  <a:pt x="26" y="3"/>
                  <a:pt x="26" y="3"/>
                </a:cubicBezTo>
                <a:cubicBezTo>
                  <a:pt x="25" y="3"/>
                  <a:pt x="27" y="3"/>
                  <a:pt x="27" y="3"/>
                </a:cubicBezTo>
                <a:cubicBezTo>
                  <a:pt x="28" y="4"/>
                  <a:pt x="27" y="4"/>
                  <a:pt x="27" y="5"/>
                </a:cubicBezTo>
                <a:cubicBezTo>
                  <a:pt x="26" y="5"/>
                  <a:pt x="26" y="5"/>
                  <a:pt x="26" y="6"/>
                </a:cubicBezTo>
                <a:cubicBezTo>
                  <a:pt x="25" y="6"/>
                  <a:pt x="25" y="6"/>
                  <a:pt x="25" y="6"/>
                </a:cubicBezTo>
                <a:cubicBezTo>
                  <a:pt x="25" y="7"/>
                  <a:pt x="24" y="7"/>
                  <a:pt x="24" y="7"/>
                </a:cubicBezTo>
                <a:cubicBezTo>
                  <a:pt x="24" y="8"/>
                  <a:pt x="25" y="8"/>
                  <a:pt x="26" y="8"/>
                </a:cubicBezTo>
                <a:cubicBezTo>
                  <a:pt x="26" y="8"/>
                  <a:pt x="26" y="8"/>
                  <a:pt x="27" y="9"/>
                </a:cubicBezTo>
                <a:cubicBezTo>
                  <a:pt x="27" y="10"/>
                  <a:pt x="28" y="10"/>
                  <a:pt x="29" y="9"/>
                </a:cubicBezTo>
                <a:cubicBezTo>
                  <a:pt x="29" y="9"/>
                  <a:pt x="31" y="9"/>
                  <a:pt x="30" y="10"/>
                </a:cubicBezTo>
                <a:cubicBezTo>
                  <a:pt x="30" y="10"/>
                  <a:pt x="30" y="10"/>
                  <a:pt x="29" y="10"/>
                </a:cubicBezTo>
                <a:cubicBezTo>
                  <a:pt x="29" y="10"/>
                  <a:pt x="29" y="10"/>
                  <a:pt x="28" y="11"/>
                </a:cubicBezTo>
                <a:cubicBezTo>
                  <a:pt x="28" y="11"/>
                  <a:pt x="28" y="11"/>
                  <a:pt x="28" y="11"/>
                </a:cubicBezTo>
                <a:cubicBezTo>
                  <a:pt x="28" y="12"/>
                  <a:pt x="28" y="12"/>
                  <a:pt x="27" y="12"/>
                </a:cubicBezTo>
                <a:cubicBezTo>
                  <a:pt x="27" y="12"/>
                  <a:pt x="27" y="13"/>
                  <a:pt x="27" y="13"/>
                </a:cubicBezTo>
                <a:cubicBezTo>
                  <a:pt x="27" y="13"/>
                  <a:pt x="27" y="13"/>
                  <a:pt x="27" y="12"/>
                </a:cubicBezTo>
                <a:cubicBezTo>
                  <a:pt x="27" y="12"/>
                  <a:pt x="27" y="12"/>
                  <a:pt x="27" y="11"/>
                </a:cubicBezTo>
                <a:cubicBezTo>
                  <a:pt x="27" y="11"/>
                  <a:pt x="26" y="11"/>
                  <a:pt x="25" y="11"/>
                </a:cubicBezTo>
                <a:cubicBezTo>
                  <a:pt x="24" y="10"/>
                  <a:pt x="24" y="10"/>
                  <a:pt x="23" y="10"/>
                </a:cubicBezTo>
                <a:cubicBezTo>
                  <a:pt x="23" y="10"/>
                  <a:pt x="22" y="9"/>
                  <a:pt x="21" y="9"/>
                </a:cubicBezTo>
                <a:cubicBezTo>
                  <a:pt x="21" y="10"/>
                  <a:pt x="20" y="10"/>
                  <a:pt x="19" y="10"/>
                </a:cubicBezTo>
                <a:cubicBezTo>
                  <a:pt x="19" y="11"/>
                  <a:pt x="18" y="10"/>
                  <a:pt x="18" y="11"/>
                </a:cubicBezTo>
                <a:cubicBezTo>
                  <a:pt x="17" y="11"/>
                  <a:pt x="18" y="12"/>
                  <a:pt x="18" y="12"/>
                </a:cubicBezTo>
                <a:cubicBezTo>
                  <a:pt x="18" y="13"/>
                  <a:pt x="18" y="13"/>
                  <a:pt x="17" y="13"/>
                </a:cubicBezTo>
                <a:cubicBezTo>
                  <a:pt x="17" y="13"/>
                  <a:pt x="17" y="12"/>
                  <a:pt x="16" y="12"/>
                </a:cubicBezTo>
                <a:cubicBezTo>
                  <a:pt x="16" y="12"/>
                  <a:pt x="16" y="13"/>
                  <a:pt x="16" y="13"/>
                </a:cubicBezTo>
                <a:cubicBezTo>
                  <a:pt x="16" y="15"/>
                  <a:pt x="17" y="15"/>
                  <a:pt x="17" y="16"/>
                </a:cubicBezTo>
                <a:cubicBezTo>
                  <a:pt x="17" y="17"/>
                  <a:pt x="17" y="17"/>
                  <a:pt x="17" y="17"/>
                </a:cubicBezTo>
                <a:cubicBezTo>
                  <a:pt x="18" y="17"/>
                  <a:pt x="18" y="17"/>
                  <a:pt x="18" y="17"/>
                </a:cubicBezTo>
                <a:cubicBezTo>
                  <a:pt x="18" y="17"/>
                  <a:pt x="19" y="17"/>
                  <a:pt x="19" y="17"/>
                </a:cubicBezTo>
                <a:cubicBezTo>
                  <a:pt x="19" y="17"/>
                  <a:pt x="20" y="17"/>
                  <a:pt x="20" y="16"/>
                </a:cubicBezTo>
                <a:cubicBezTo>
                  <a:pt x="21" y="16"/>
                  <a:pt x="22" y="17"/>
                  <a:pt x="22" y="17"/>
                </a:cubicBezTo>
                <a:cubicBezTo>
                  <a:pt x="23" y="17"/>
                  <a:pt x="24" y="17"/>
                  <a:pt x="24" y="17"/>
                </a:cubicBezTo>
                <a:cubicBezTo>
                  <a:pt x="24" y="16"/>
                  <a:pt x="25" y="17"/>
                  <a:pt x="25" y="16"/>
                </a:cubicBezTo>
                <a:cubicBezTo>
                  <a:pt x="25" y="16"/>
                  <a:pt x="26" y="16"/>
                  <a:pt x="26" y="17"/>
                </a:cubicBezTo>
                <a:cubicBezTo>
                  <a:pt x="26" y="17"/>
                  <a:pt x="26" y="17"/>
                  <a:pt x="26" y="17"/>
                </a:cubicBezTo>
                <a:cubicBezTo>
                  <a:pt x="27" y="16"/>
                  <a:pt x="28" y="16"/>
                  <a:pt x="28" y="16"/>
                </a:cubicBezTo>
                <a:cubicBezTo>
                  <a:pt x="30" y="16"/>
                  <a:pt x="30" y="18"/>
                  <a:pt x="31" y="18"/>
                </a:cubicBezTo>
                <a:cubicBezTo>
                  <a:pt x="32" y="19"/>
                  <a:pt x="32" y="18"/>
                  <a:pt x="33" y="18"/>
                </a:cubicBezTo>
                <a:cubicBezTo>
                  <a:pt x="33" y="19"/>
                  <a:pt x="33" y="18"/>
                  <a:pt x="33" y="17"/>
                </a:cubicBezTo>
                <a:cubicBezTo>
                  <a:pt x="34" y="17"/>
                  <a:pt x="34" y="17"/>
                  <a:pt x="35" y="17"/>
                </a:cubicBezTo>
                <a:cubicBezTo>
                  <a:pt x="35" y="17"/>
                  <a:pt x="36" y="16"/>
                  <a:pt x="36" y="16"/>
                </a:cubicBezTo>
                <a:cubicBezTo>
                  <a:pt x="38" y="16"/>
                  <a:pt x="37" y="18"/>
                  <a:pt x="38" y="18"/>
                </a:cubicBezTo>
                <a:cubicBezTo>
                  <a:pt x="39" y="18"/>
                  <a:pt x="39" y="17"/>
                  <a:pt x="40" y="18"/>
                </a:cubicBezTo>
                <a:cubicBezTo>
                  <a:pt x="40" y="18"/>
                  <a:pt x="39" y="19"/>
                  <a:pt x="40" y="20"/>
                </a:cubicBezTo>
                <a:cubicBezTo>
                  <a:pt x="41" y="20"/>
                  <a:pt x="42" y="19"/>
                  <a:pt x="42" y="19"/>
                </a:cubicBezTo>
                <a:cubicBezTo>
                  <a:pt x="43" y="19"/>
                  <a:pt x="43" y="19"/>
                  <a:pt x="43" y="20"/>
                </a:cubicBezTo>
                <a:cubicBezTo>
                  <a:pt x="43" y="20"/>
                  <a:pt x="44" y="20"/>
                  <a:pt x="44" y="20"/>
                </a:cubicBezTo>
                <a:cubicBezTo>
                  <a:pt x="44" y="20"/>
                  <a:pt x="44" y="21"/>
                  <a:pt x="45" y="21"/>
                </a:cubicBezTo>
                <a:cubicBezTo>
                  <a:pt x="45" y="20"/>
                  <a:pt x="45" y="20"/>
                  <a:pt x="45" y="19"/>
                </a:cubicBezTo>
                <a:cubicBezTo>
                  <a:pt x="45" y="19"/>
                  <a:pt x="47" y="19"/>
                  <a:pt x="47" y="19"/>
                </a:cubicBezTo>
                <a:cubicBezTo>
                  <a:pt x="47" y="19"/>
                  <a:pt x="48" y="18"/>
                  <a:pt x="48" y="18"/>
                </a:cubicBezTo>
                <a:cubicBezTo>
                  <a:pt x="49" y="18"/>
                  <a:pt x="50" y="19"/>
                  <a:pt x="51" y="19"/>
                </a:cubicBezTo>
                <a:cubicBezTo>
                  <a:pt x="51" y="19"/>
                  <a:pt x="52" y="18"/>
                  <a:pt x="52" y="19"/>
                </a:cubicBezTo>
                <a:cubicBezTo>
                  <a:pt x="53" y="19"/>
                  <a:pt x="53" y="19"/>
                  <a:pt x="54" y="18"/>
                </a:cubicBezTo>
                <a:cubicBezTo>
                  <a:pt x="54" y="18"/>
                  <a:pt x="54" y="18"/>
                  <a:pt x="54" y="18"/>
                </a:cubicBezTo>
                <a:cubicBezTo>
                  <a:pt x="54" y="18"/>
                  <a:pt x="54" y="18"/>
                  <a:pt x="55" y="18"/>
                </a:cubicBezTo>
                <a:cubicBezTo>
                  <a:pt x="55" y="18"/>
                  <a:pt x="56" y="17"/>
                  <a:pt x="57" y="18"/>
                </a:cubicBezTo>
                <a:cubicBezTo>
                  <a:pt x="57" y="19"/>
                  <a:pt x="57" y="19"/>
                  <a:pt x="57" y="20"/>
                </a:cubicBezTo>
                <a:cubicBezTo>
                  <a:pt x="57" y="21"/>
                  <a:pt x="58" y="21"/>
                  <a:pt x="58" y="22"/>
                </a:cubicBezTo>
                <a:cubicBezTo>
                  <a:pt x="59" y="22"/>
                  <a:pt x="59" y="22"/>
                  <a:pt x="60" y="23"/>
                </a:cubicBezTo>
                <a:cubicBezTo>
                  <a:pt x="60" y="24"/>
                  <a:pt x="59" y="23"/>
                  <a:pt x="59" y="24"/>
                </a:cubicBezTo>
                <a:cubicBezTo>
                  <a:pt x="58" y="24"/>
                  <a:pt x="59" y="25"/>
                  <a:pt x="59" y="25"/>
                </a:cubicBezTo>
                <a:cubicBezTo>
                  <a:pt x="60" y="26"/>
                  <a:pt x="60" y="26"/>
                  <a:pt x="60" y="27"/>
                </a:cubicBezTo>
                <a:cubicBezTo>
                  <a:pt x="61" y="27"/>
                  <a:pt x="61" y="28"/>
                  <a:pt x="62" y="28"/>
                </a:cubicBezTo>
                <a:cubicBezTo>
                  <a:pt x="63" y="28"/>
                  <a:pt x="63" y="28"/>
                  <a:pt x="63" y="27"/>
                </a:cubicBezTo>
                <a:cubicBezTo>
                  <a:pt x="63" y="27"/>
                  <a:pt x="63" y="26"/>
                  <a:pt x="63" y="26"/>
                </a:cubicBezTo>
                <a:cubicBezTo>
                  <a:pt x="64" y="26"/>
                  <a:pt x="64" y="26"/>
                  <a:pt x="65" y="26"/>
                </a:cubicBezTo>
                <a:cubicBezTo>
                  <a:pt x="65" y="26"/>
                  <a:pt x="66" y="27"/>
                  <a:pt x="67" y="27"/>
                </a:cubicBezTo>
                <a:cubicBezTo>
                  <a:pt x="68" y="27"/>
                  <a:pt x="69" y="28"/>
                  <a:pt x="70" y="29"/>
                </a:cubicBezTo>
                <a:cubicBezTo>
                  <a:pt x="70" y="29"/>
                  <a:pt x="70" y="30"/>
                  <a:pt x="70" y="30"/>
                </a:cubicBezTo>
                <a:cubicBezTo>
                  <a:pt x="70" y="31"/>
                  <a:pt x="70" y="32"/>
                  <a:pt x="71" y="32"/>
                </a:cubicBezTo>
                <a:cubicBezTo>
                  <a:pt x="71" y="33"/>
                  <a:pt x="72" y="33"/>
                  <a:pt x="72" y="34"/>
                </a:cubicBezTo>
                <a:cubicBezTo>
                  <a:pt x="72" y="34"/>
                  <a:pt x="72" y="35"/>
                  <a:pt x="72" y="35"/>
                </a:cubicBezTo>
                <a:cubicBezTo>
                  <a:pt x="72" y="36"/>
                  <a:pt x="73" y="36"/>
                  <a:pt x="73" y="36"/>
                </a:cubicBezTo>
                <a:cubicBezTo>
                  <a:pt x="73" y="37"/>
                  <a:pt x="72" y="38"/>
                  <a:pt x="74" y="39"/>
                </a:cubicBezTo>
                <a:cubicBezTo>
                  <a:pt x="75" y="39"/>
                  <a:pt x="75" y="39"/>
                  <a:pt x="76" y="40"/>
                </a:cubicBezTo>
                <a:close/>
                <a:moveTo>
                  <a:pt x="26" y="2"/>
                </a:moveTo>
                <a:cubicBezTo>
                  <a:pt x="26" y="1"/>
                  <a:pt x="25" y="1"/>
                  <a:pt x="25" y="1"/>
                </a:cubicBezTo>
                <a:cubicBezTo>
                  <a:pt x="24" y="1"/>
                  <a:pt x="25" y="2"/>
                  <a:pt x="26"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2" name="Syria"/>
          <p:cNvSpPr>
            <a:spLocks/>
          </p:cNvSpPr>
          <p:nvPr/>
        </p:nvSpPr>
        <p:spPr bwMode="auto">
          <a:xfrm>
            <a:off x="6991038" y="3180993"/>
            <a:ext cx="212992" cy="198993"/>
          </a:xfrm>
          <a:custGeom>
            <a:avLst/>
            <a:gdLst/>
            <a:ahLst/>
            <a:cxnLst>
              <a:cxn ang="0">
                <a:pos x="59" y="1"/>
              </a:cxn>
              <a:cxn ang="0">
                <a:pos x="57" y="0"/>
              </a:cxn>
              <a:cxn ang="0">
                <a:pos x="48" y="3"/>
              </a:cxn>
              <a:cxn ang="0">
                <a:pos x="42" y="4"/>
              </a:cxn>
              <a:cxn ang="0">
                <a:pos x="35" y="7"/>
              </a:cxn>
              <a:cxn ang="0">
                <a:pos x="29" y="7"/>
              </a:cxn>
              <a:cxn ang="0">
                <a:pos x="23" y="5"/>
              </a:cxn>
              <a:cxn ang="0">
                <a:pos x="17" y="7"/>
              </a:cxn>
              <a:cxn ang="0">
                <a:pos x="12" y="8"/>
              </a:cxn>
              <a:cxn ang="0">
                <a:pos x="9" y="6"/>
              </a:cxn>
              <a:cxn ang="0">
                <a:pos x="7" y="7"/>
              </a:cxn>
              <a:cxn ang="0">
                <a:pos x="7" y="10"/>
              </a:cxn>
              <a:cxn ang="0">
                <a:pos x="8" y="11"/>
              </a:cxn>
              <a:cxn ang="0">
                <a:pos x="7" y="12"/>
              </a:cxn>
              <a:cxn ang="0">
                <a:pos x="6" y="15"/>
              </a:cxn>
              <a:cxn ang="0">
                <a:pos x="4" y="16"/>
              </a:cxn>
              <a:cxn ang="0">
                <a:pos x="3" y="16"/>
              </a:cxn>
              <a:cxn ang="0">
                <a:pos x="1" y="16"/>
              </a:cxn>
              <a:cxn ang="0">
                <a:pos x="1" y="18"/>
              </a:cxn>
              <a:cxn ang="0">
                <a:pos x="1" y="20"/>
              </a:cxn>
              <a:cxn ang="0">
                <a:pos x="2" y="22"/>
              </a:cxn>
              <a:cxn ang="0">
                <a:pos x="2" y="25"/>
              </a:cxn>
              <a:cxn ang="0">
                <a:pos x="3" y="28"/>
              </a:cxn>
              <a:cxn ang="0">
                <a:pos x="5" y="30"/>
              </a:cxn>
              <a:cxn ang="0">
                <a:pos x="7" y="29"/>
              </a:cxn>
              <a:cxn ang="0">
                <a:pos x="8" y="30"/>
              </a:cxn>
              <a:cxn ang="0">
                <a:pos x="8" y="31"/>
              </a:cxn>
              <a:cxn ang="0">
                <a:pos x="10" y="33"/>
              </a:cxn>
              <a:cxn ang="0">
                <a:pos x="9" y="35"/>
              </a:cxn>
              <a:cxn ang="0">
                <a:pos x="8" y="36"/>
              </a:cxn>
              <a:cxn ang="0">
                <a:pos x="8" y="38"/>
              </a:cxn>
              <a:cxn ang="0">
                <a:pos x="5" y="39"/>
              </a:cxn>
              <a:cxn ang="0">
                <a:pos x="5" y="41"/>
              </a:cxn>
              <a:cxn ang="0">
                <a:pos x="3" y="43"/>
              </a:cxn>
              <a:cxn ang="0">
                <a:pos x="2" y="48"/>
              </a:cxn>
              <a:cxn ang="0">
                <a:pos x="2" y="50"/>
              </a:cxn>
              <a:cxn ang="0">
                <a:pos x="4" y="50"/>
              </a:cxn>
              <a:cxn ang="0">
                <a:pos x="6" y="51"/>
              </a:cxn>
              <a:cxn ang="0">
                <a:pos x="10" y="54"/>
              </a:cxn>
              <a:cxn ang="0">
                <a:pos x="14" y="55"/>
              </a:cxn>
              <a:cxn ang="0">
                <a:pos x="34" y="41"/>
              </a:cxn>
              <a:cxn ang="0">
                <a:pos x="47" y="33"/>
              </a:cxn>
              <a:cxn ang="0">
                <a:pos x="51" y="29"/>
              </a:cxn>
              <a:cxn ang="0">
                <a:pos x="51" y="24"/>
              </a:cxn>
              <a:cxn ang="0">
                <a:pos x="51" y="20"/>
              </a:cxn>
              <a:cxn ang="0">
                <a:pos x="50" y="11"/>
              </a:cxn>
              <a:cxn ang="0">
                <a:pos x="57" y="6"/>
              </a:cxn>
              <a:cxn ang="0">
                <a:pos x="59" y="2"/>
              </a:cxn>
            </a:cxnLst>
            <a:rect l="0" t="0" r="r" b="b"/>
            <a:pathLst>
              <a:path w="59" h="55">
                <a:moveTo>
                  <a:pt x="59" y="2"/>
                </a:moveTo>
                <a:cubicBezTo>
                  <a:pt x="59" y="2"/>
                  <a:pt x="59" y="1"/>
                  <a:pt x="59" y="1"/>
                </a:cubicBezTo>
                <a:cubicBezTo>
                  <a:pt x="59" y="1"/>
                  <a:pt x="58" y="1"/>
                  <a:pt x="58" y="1"/>
                </a:cubicBezTo>
                <a:cubicBezTo>
                  <a:pt x="58" y="0"/>
                  <a:pt x="58" y="0"/>
                  <a:pt x="57" y="0"/>
                </a:cubicBezTo>
                <a:cubicBezTo>
                  <a:pt x="57" y="1"/>
                  <a:pt x="56" y="2"/>
                  <a:pt x="56" y="2"/>
                </a:cubicBezTo>
                <a:cubicBezTo>
                  <a:pt x="53" y="2"/>
                  <a:pt x="49" y="3"/>
                  <a:pt x="48" y="3"/>
                </a:cubicBezTo>
                <a:cubicBezTo>
                  <a:pt x="47" y="2"/>
                  <a:pt x="46" y="2"/>
                  <a:pt x="45" y="2"/>
                </a:cubicBezTo>
                <a:cubicBezTo>
                  <a:pt x="44" y="3"/>
                  <a:pt x="43" y="3"/>
                  <a:pt x="42" y="4"/>
                </a:cubicBezTo>
                <a:cubicBezTo>
                  <a:pt x="40" y="4"/>
                  <a:pt x="39" y="5"/>
                  <a:pt x="38" y="5"/>
                </a:cubicBezTo>
                <a:cubicBezTo>
                  <a:pt x="37" y="6"/>
                  <a:pt x="36" y="6"/>
                  <a:pt x="35" y="7"/>
                </a:cubicBezTo>
                <a:cubicBezTo>
                  <a:pt x="34" y="7"/>
                  <a:pt x="33" y="7"/>
                  <a:pt x="31" y="7"/>
                </a:cubicBezTo>
                <a:cubicBezTo>
                  <a:pt x="30" y="7"/>
                  <a:pt x="30" y="7"/>
                  <a:pt x="29" y="7"/>
                </a:cubicBezTo>
                <a:cubicBezTo>
                  <a:pt x="28" y="7"/>
                  <a:pt x="27" y="7"/>
                  <a:pt x="26" y="6"/>
                </a:cubicBezTo>
                <a:cubicBezTo>
                  <a:pt x="25" y="6"/>
                  <a:pt x="24" y="5"/>
                  <a:pt x="23" y="5"/>
                </a:cubicBezTo>
                <a:cubicBezTo>
                  <a:pt x="22" y="4"/>
                  <a:pt x="21" y="5"/>
                  <a:pt x="20" y="5"/>
                </a:cubicBezTo>
                <a:cubicBezTo>
                  <a:pt x="19" y="6"/>
                  <a:pt x="18" y="6"/>
                  <a:pt x="17" y="7"/>
                </a:cubicBezTo>
                <a:cubicBezTo>
                  <a:pt x="16" y="7"/>
                  <a:pt x="15" y="8"/>
                  <a:pt x="14" y="7"/>
                </a:cubicBezTo>
                <a:cubicBezTo>
                  <a:pt x="14" y="7"/>
                  <a:pt x="12" y="7"/>
                  <a:pt x="12" y="8"/>
                </a:cubicBezTo>
                <a:cubicBezTo>
                  <a:pt x="11" y="8"/>
                  <a:pt x="11" y="7"/>
                  <a:pt x="11" y="6"/>
                </a:cubicBezTo>
                <a:cubicBezTo>
                  <a:pt x="10" y="6"/>
                  <a:pt x="10" y="6"/>
                  <a:pt x="9" y="6"/>
                </a:cubicBezTo>
                <a:cubicBezTo>
                  <a:pt x="9" y="6"/>
                  <a:pt x="8" y="6"/>
                  <a:pt x="8" y="5"/>
                </a:cubicBezTo>
                <a:cubicBezTo>
                  <a:pt x="8" y="6"/>
                  <a:pt x="7" y="7"/>
                  <a:pt x="7" y="7"/>
                </a:cubicBezTo>
                <a:cubicBezTo>
                  <a:pt x="7" y="7"/>
                  <a:pt x="7" y="8"/>
                  <a:pt x="7" y="8"/>
                </a:cubicBezTo>
                <a:cubicBezTo>
                  <a:pt x="7" y="9"/>
                  <a:pt x="7" y="9"/>
                  <a:pt x="7" y="10"/>
                </a:cubicBezTo>
                <a:cubicBezTo>
                  <a:pt x="7" y="10"/>
                  <a:pt x="8" y="10"/>
                  <a:pt x="8" y="11"/>
                </a:cubicBezTo>
                <a:cubicBezTo>
                  <a:pt x="8" y="11"/>
                  <a:pt x="8" y="11"/>
                  <a:pt x="8" y="11"/>
                </a:cubicBezTo>
                <a:cubicBezTo>
                  <a:pt x="8" y="11"/>
                  <a:pt x="9" y="12"/>
                  <a:pt x="8" y="12"/>
                </a:cubicBezTo>
                <a:cubicBezTo>
                  <a:pt x="8" y="12"/>
                  <a:pt x="7" y="12"/>
                  <a:pt x="7" y="12"/>
                </a:cubicBezTo>
                <a:cubicBezTo>
                  <a:pt x="6" y="12"/>
                  <a:pt x="6" y="13"/>
                  <a:pt x="6" y="12"/>
                </a:cubicBezTo>
                <a:cubicBezTo>
                  <a:pt x="6" y="12"/>
                  <a:pt x="6" y="15"/>
                  <a:pt x="6" y="15"/>
                </a:cubicBezTo>
                <a:cubicBezTo>
                  <a:pt x="5" y="15"/>
                  <a:pt x="5" y="15"/>
                  <a:pt x="5" y="15"/>
                </a:cubicBezTo>
                <a:cubicBezTo>
                  <a:pt x="4" y="15"/>
                  <a:pt x="4" y="15"/>
                  <a:pt x="4" y="16"/>
                </a:cubicBezTo>
                <a:cubicBezTo>
                  <a:pt x="4" y="16"/>
                  <a:pt x="4" y="17"/>
                  <a:pt x="4" y="16"/>
                </a:cubicBezTo>
                <a:cubicBezTo>
                  <a:pt x="3" y="16"/>
                  <a:pt x="3" y="16"/>
                  <a:pt x="3" y="16"/>
                </a:cubicBezTo>
                <a:cubicBezTo>
                  <a:pt x="2" y="15"/>
                  <a:pt x="2" y="16"/>
                  <a:pt x="2" y="16"/>
                </a:cubicBezTo>
                <a:cubicBezTo>
                  <a:pt x="1" y="16"/>
                  <a:pt x="1" y="16"/>
                  <a:pt x="1" y="16"/>
                </a:cubicBezTo>
                <a:cubicBezTo>
                  <a:pt x="1" y="17"/>
                  <a:pt x="1" y="17"/>
                  <a:pt x="1" y="18"/>
                </a:cubicBezTo>
                <a:cubicBezTo>
                  <a:pt x="1" y="18"/>
                  <a:pt x="1" y="18"/>
                  <a:pt x="1" y="18"/>
                </a:cubicBezTo>
                <a:cubicBezTo>
                  <a:pt x="1" y="18"/>
                  <a:pt x="1" y="19"/>
                  <a:pt x="1" y="19"/>
                </a:cubicBezTo>
                <a:cubicBezTo>
                  <a:pt x="1" y="19"/>
                  <a:pt x="0" y="19"/>
                  <a:pt x="1" y="20"/>
                </a:cubicBezTo>
                <a:cubicBezTo>
                  <a:pt x="1" y="20"/>
                  <a:pt x="1" y="20"/>
                  <a:pt x="1" y="20"/>
                </a:cubicBezTo>
                <a:cubicBezTo>
                  <a:pt x="2" y="20"/>
                  <a:pt x="2" y="22"/>
                  <a:pt x="2" y="22"/>
                </a:cubicBezTo>
                <a:cubicBezTo>
                  <a:pt x="2" y="23"/>
                  <a:pt x="3" y="23"/>
                  <a:pt x="3" y="23"/>
                </a:cubicBezTo>
                <a:cubicBezTo>
                  <a:pt x="3" y="24"/>
                  <a:pt x="2" y="24"/>
                  <a:pt x="2" y="25"/>
                </a:cubicBezTo>
                <a:cubicBezTo>
                  <a:pt x="2" y="25"/>
                  <a:pt x="2" y="26"/>
                  <a:pt x="2" y="26"/>
                </a:cubicBezTo>
                <a:cubicBezTo>
                  <a:pt x="2" y="27"/>
                  <a:pt x="3" y="27"/>
                  <a:pt x="3" y="28"/>
                </a:cubicBezTo>
                <a:cubicBezTo>
                  <a:pt x="3" y="29"/>
                  <a:pt x="3" y="29"/>
                  <a:pt x="3" y="29"/>
                </a:cubicBezTo>
                <a:cubicBezTo>
                  <a:pt x="4" y="29"/>
                  <a:pt x="4" y="30"/>
                  <a:pt x="5" y="30"/>
                </a:cubicBezTo>
                <a:cubicBezTo>
                  <a:pt x="5" y="30"/>
                  <a:pt x="6" y="30"/>
                  <a:pt x="6" y="30"/>
                </a:cubicBezTo>
                <a:cubicBezTo>
                  <a:pt x="7" y="29"/>
                  <a:pt x="7" y="29"/>
                  <a:pt x="7" y="29"/>
                </a:cubicBezTo>
                <a:cubicBezTo>
                  <a:pt x="7" y="29"/>
                  <a:pt x="7" y="30"/>
                  <a:pt x="8" y="30"/>
                </a:cubicBezTo>
                <a:cubicBezTo>
                  <a:pt x="8" y="30"/>
                  <a:pt x="8" y="30"/>
                  <a:pt x="8" y="30"/>
                </a:cubicBezTo>
                <a:cubicBezTo>
                  <a:pt x="7" y="29"/>
                  <a:pt x="7" y="31"/>
                  <a:pt x="7" y="31"/>
                </a:cubicBezTo>
                <a:cubicBezTo>
                  <a:pt x="8" y="31"/>
                  <a:pt x="8" y="31"/>
                  <a:pt x="8" y="31"/>
                </a:cubicBezTo>
                <a:cubicBezTo>
                  <a:pt x="9" y="32"/>
                  <a:pt x="9" y="32"/>
                  <a:pt x="9" y="33"/>
                </a:cubicBezTo>
                <a:cubicBezTo>
                  <a:pt x="9" y="33"/>
                  <a:pt x="10" y="33"/>
                  <a:pt x="10" y="33"/>
                </a:cubicBezTo>
                <a:cubicBezTo>
                  <a:pt x="9" y="34"/>
                  <a:pt x="10" y="34"/>
                  <a:pt x="10" y="34"/>
                </a:cubicBezTo>
                <a:cubicBezTo>
                  <a:pt x="10" y="35"/>
                  <a:pt x="10" y="34"/>
                  <a:pt x="9" y="35"/>
                </a:cubicBezTo>
                <a:cubicBezTo>
                  <a:pt x="9" y="35"/>
                  <a:pt x="9" y="35"/>
                  <a:pt x="9" y="35"/>
                </a:cubicBezTo>
                <a:cubicBezTo>
                  <a:pt x="9" y="36"/>
                  <a:pt x="9" y="36"/>
                  <a:pt x="8" y="36"/>
                </a:cubicBezTo>
                <a:cubicBezTo>
                  <a:pt x="8" y="36"/>
                  <a:pt x="7" y="37"/>
                  <a:pt x="7" y="37"/>
                </a:cubicBezTo>
                <a:cubicBezTo>
                  <a:pt x="7" y="38"/>
                  <a:pt x="7" y="38"/>
                  <a:pt x="8" y="38"/>
                </a:cubicBezTo>
                <a:cubicBezTo>
                  <a:pt x="8" y="38"/>
                  <a:pt x="8" y="39"/>
                  <a:pt x="7" y="38"/>
                </a:cubicBezTo>
                <a:cubicBezTo>
                  <a:pt x="6" y="38"/>
                  <a:pt x="5" y="38"/>
                  <a:pt x="5" y="39"/>
                </a:cubicBezTo>
                <a:cubicBezTo>
                  <a:pt x="5" y="39"/>
                  <a:pt x="4" y="41"/>
                  <a:pt x="4" y="41"/>
                </a:cubicBezTo>
                <a:cubicBezTo>
                  <a:pt x="5" y="40"/>
                  <a:pt x="5" y="41"/>
                  <a:pt x="5" y="41"/>
                </a:cubicBezTo>
                <a:cubicBezTo>
                  <a:pt x="5" y="42"/>
                  <a:pt x="4" y="42"/>
                  <a:pt x="4" y="42"/>
                </a:cubicBezTo>
                <a:cubicBezTo>
                  <a:pt x="4" y="43"/>
                  <a:pt x="4" y="43"/>
                  <a:pt x="3" y="43"/>
                </a:cubicBezTo>
                <a:cubicBezTo>
                  <a:pt x="3" y="44"/>
                  <a:pt x="1" y="44"/>
                  <a:pt x="2" y="45"/>
                </a:cubicBezTo>
                <a:cubicBezTo>
                  <a:pt x="2" y="44"/>
                  <a:pt x="2" y="48"/>
                  <a:pt x="2" y="48"/>
                </a:cubicBezTo>
                <a:cubicBezTo>
                  <a:pt x="2" y="49"/>
                  <a:pt x="2" y="49"/>
                  <a:pt x="2" y="49"/>
                </a:cubicBezTo>
                <a:cubicBezTo>
                  <a:pt x="2" y="50"/>
                  <a:pt x="2" y="50"/>
                  <a:pt x="2" y="50"/>
                </a:cubicBezTo>
                <a:cubicBezTo>
                  <a:pt x="2" y="50"/>
                  <a:pt x="2" y="51"/>
                  <a:pt x="2" y="51"/>
                </a:cubicBezTo>
                <a:cubicBezTo>
                  <a:pt x="2" y="51"/>
                  <a:pt x="3" y="50"/>
                  <a:pt x="4" y="50"/>
                </a:cubicBezTo>
                <a:cubicBezTo>
                  <a:pt x="4" y="50"/>
                  <a:pt x="5" y="51"/>
                  <a:pt x="5" y="51"/>
                </a:cubicBezTo>
                <a:cubicBezTo>
                  <a:pt x="5" y="51"/>
                  <a:pt x="6" y="51"/>
                  <a:pt x="6" y="51"/>
                </a:cubicBezTo>
                <a:cubicBezTo>
                  <a:pt x="6" y="52"/>
                  <a:pt x="6" y="52"/>
                  <a:pt x="6" y="53"/>
                </a:cubicBezTo>
                <a:cubicBezTo>
                  <a:pt x="8" y="52"/>
                  <a:pt x="9" y="54"/>
                  <a:pt x="10" y="54"/>
                </a:cubicBezTo>
                <a:cubicBezTo>
                  <a:pt x="10" y="55"/>
                  <a:pt x="11" y="55"/>
                  <a:pt x="12" y="55"/>
                </a:cubicBezTo>
                <a:cubicBezTo>
                  <a:pt x="13" y="55"/>
                  <a:pt x="13" y="55"/>
                  <a:pt x="14" y="55"/>
                </a:cubicBezTo>
                <a:cubicBezTo>
                  <a:pt x="20" y="51"/>
                  <a:pt x="25" y="47"/>
                  <a:pt x="31" y="43"/>
                </a:cubicBezTo>
                <a:cubicBezTo>
                  <a:pt x="32" y="43"/>
                  <a:pt x="33" y="42"/>
                  <a:pt x="34" y="41"/>
                </a:cubicBezTo>
                <a:cubicBezTo>
                  <a:pt x="38" y="39"/>
                  <a:pt x="41" y="37"/>
                  <a:pt x="44" y="35"/>
                </a:cubicBezTo>
                <a:cubicBezTo>
                  <a:pt x="45" y="34"/>
                  <a:pt x="46" y="33"/>
                  <a:pt x="47" y="33"/>
                </a:cubicBezTo>
                <a:cubicBezTo>
                  <a:pt x="48" y="33"/>
                  <a:pt x="48" y="33"/>
                  <a:pt x="49" y="32"/>
                </a:cubicBezTo>
                <a:cubicBezTo>
                  <a:pt x="50" y="32"/>
                  <a:pt x="50" y="31"/>
                  <a:pt x="51" y="29"/>
                </a:cubicBezTo>
                <a:cubicBezTo>
                  <a:pt x="51" y="28"/>
                  <a:pt x="52" y="28"/>
                  <a:pt x="51" y="27"/>
                </a:cubicBezTo>
                <a:cubicBezTo>
                  <a:pt x="51" y="26"/>
                  <a:pt x="51" y="25"/>
                  <a:pt x="51" y="24"/>
                </a:cubicBezTo>
                <a:cubicBezTo>
                  <a:pt x="51" y="23"/>
                  <a:pt x="51" y="22"/>
                  <a:pt x="51" y="22"/>
                </a:cubicBezTo>
                <a:cubicBezTo>
                  <a:pt x="51" y="21"/>
                  <a:pt x="51" y="20"/>
                  <a:pt x="51" y="20"/>
                </a:cubicBezTo>
                <a:cubicBezTo>
                  <a:pt x="52" y="18"/>
                  <a:pt x="52" y="16"/>
                  <a:pt x="51" y="15"/>
                </a:cubicBezTo>
                <a:cubicBezTo>
                  <a:pt x="50" y="14"/>
                  <a:pt x="50" y="12"/>
                  <a:pt x="50" y="11"/>
                </a:cubicBezTo>
                <a:cubicBezTo>
                  <a:pt x="51" y="8"/>
                  <a:pt x="52" y="9"/>
                  <a:pt x="53" y="8"/>
                </a:cubicBezTo>
                <a:cubicBezTo>
                  <a:pt x="55" y="8"/>
                  <a:pt x="56" y="7"/>
                  <a:pt x="57" y="6"/>
                </a:cubicBezTo>
                <a:cubicBezTo>
                  <a:pt x="57" y="5"/>
                  <a:pt x="58" y="4"/>
                  <a:pt x="59" y="4"/>
                </a:cubicBezTo>
                <a:cubicBezTo>
                  <a:pt x="59" y="3"/>
                  <a:pt x="59" y="3"/>
                  <a:pt x="59"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3" name="Switzerland"/>
          <p:cNvSpPr>
            <a:spLocks/>
          </p:cNvSpPr>
          <p:nvPr/>
        </p:nvSpPr>
        <p:spPr bwMode="auto">
          <a:xfrm>
            <a:off x="6020074" y="2769009"/>
            <a:ext cx="139995" cy="78997"/>
          </a:xfrm>
          <a:custGeom>
            <a:avLst/>
            <a:gdLst/>
            <a:ahLst/>
            <a:cxnLst>
              <a:cxn ang="0">
                <a:pos x="38" y="12"/>
              </a:cxn>
              <a:cxn ang="0">
                <a:pos x="38" y="11"/>
              </a:cxn>
              <a:cxn ang="0">
                <a:pos x="37" y="10"/>
              </a:cxn>
              <a:cxn ang="0">
                <a:pos x="36" y="10"/>
              </a:cxn>
              <a:cxn ang="0">
                <a:pos x="34" y="10"/>
              </a:cxn>
              <a:cxn ang="0">
                <a:pos x="33" y="9"/>
              </a:cxn>
              <a:cxn ang="0">
                <a:pos x="30" y="8"/>
              </a:cxn>
              <a:cxn ang="0">
                <a:pos x="30" y="7"/>
              </a:cxn>
              <a:cxn ang="0">
                <a:pos x="31" y="4"/>
              </a:cxn>
              <a:cxn ang="0">
                <a:pos x="31" y="3"/>
              </a:cxn>
              <a:cxn ang="0">
                <a:pos x="25" y="2"/>
              </a:cxn>
              <a:cxn ang="0">
                <a:pos x="24" y="2"/>
              </a:cxn>
              <a:cxn ang="0">
                <a:pos x="23" y="1"/>
              </a:cxn>
              <a:cxn ang="0">
                <a:pos x="22" y="1"/>
              </a:cxn>
              <a:cxn ang="0">
                <a:pos x="21" y="2"/>
              </a:cxn>
              <a:cxn ang="0">
                <a:pos x="22" y="3"/>
              </a:cxn>
              <a:cxn ang="0">
                <a:pos x="19" y="2"/>
              </a:cxn>
              <a:cxn ang="0">
                <a:pos x="16" y="3"/>
              </a:cxn>
              <a:cxn ang="0">
                <a:pos x="15" y="2"/>
              </a:cxn>
              <a:cxn ang="0">
                <a:pos x="13" y="4"/>
              </a:cxn>
              <a:cxn ang="0">
                <a:pos x="11" y="4"/>
              </a:cxn>
              <a:cxn ang="0">
                <a:pos x="9" y="4"/>
              </a:cxn>
              <a:cxn ang="0">
                <a:pos x="8" y="5"/>
              </a:cxn>
              <a:cxn ang="0">
                <a:pos x="8" y="6"/>
              </a:cxn>
              <a:cxn ang="0">
                <a:pos x="6" y="8"/>
              </a:cxn>
              <a:cxn ang="0">
                <a:pos x="4" y="11"/>
              </a:cxn>
              <a:cxn ang="0">
                <a:pos x="2" y="12"/>
              </a:cxn>
              <a:cxn ang="0">
                <a:pos x="1" y="14"/>
              </a:cxn>
              <a:cxn ang="0">
                <a:pos x="1" y="16"/>
              </a:cxn>
              <a:cxn ang="0">
                <a:pos x="0" y="17"/>
              </a:cxn>
              <a:cxn ang="0">
                <a:pos x="1" y="18"/>
              </a:cxn>
              <a:cxn ang="0">
                <a:pos x="2" y="17"/>
              </a:cxn>
              <a:cxn ang="0">
                <a:pos x="6" y="15"/>
              </a:cxn>
              <a:cxn ang="0">
                <a:pos x="7" y="16"/>
              </a:cxn>
              <a:cxn ang="0">
                <a:pos x="7" y="18"/>
              </a:cxn>
              <a:cxn ang="0">
                <a:pos x="8" y="19"/>
              </a:cxn>
              <a:cxn ang="0">
                <a:pos x="10" y="21"/>
              </a:cxn>
              <a:cxn ang="0">
                <a:pos x="14" y="20"/>
              </a:cxn>
              <a:cxn ang="0">
                <a:pos x="15" y="20"/>
              </a:cxn>
              <a:cxn ang="0">
                <a:pos x="17" y="20"/>
              </a:cxn>
              <a:cxn ang="0">
                <a:pos x="19" y="18"/>
              </a:cxn>
              <a:cxn ang="0">
                <a:pos x="20" y="16"/>
              </a:cxn>
              <a:cxn ang="0">
                <a:pos x="21" y="15"/>
              </a:cxn>
              <a:cxn ang="0">
                <a:pos x="22" y="18"/>
              </a:cxn>
              <a:cxn ang="0">
                <a:pos x="24" y="20"/>
              </a:cxn>
              <a:cxn ang="0">
                <a:pos x="26" y="21"/>
              </a:cxn>
              <a:cxn ang="0">
                <a:pos x="27" y="18"/>
              </a:cxn>
              <a:cxn ang="0">
                <a:pos x="28" y="15"/>
              </a:cxn>
              <a:cxn ang="0">
                <a:pos x="30" y="14"/>
              </a:cxn>
              <a:cxn ang="0">
                <a:pos x="30" y="16"/>
              </a:cxn>
              <a:cxn ang="0">
                <a:pos x="34" y="16"/>
              </a:cxn>
              <a:cxn ang="0">
                <a:pos x="35" y="17"/>
              </a:cxn>
              <a:cxn ang="0">
                <a:pos x="35" y="16"/>
              </a:cxn>
              <a:cxn ang="0">
                <a:pos x="35" y="15"/>
              </a:cxn>
              <a:cxn ang="0">
                <a:pos x="37" y="14"/>
              </a:cxn>
            </a:cxnLst>
            <a:rect l="0" t="0" r="r" b="b"/>
            <a:pathLst>
              <a:path w="39" h="22">
                <a:moveTo>
                  <a:pt x="39" y="13"/>
                </a:moveTo>
                <a:cubicBezTo>
                  <a:pt x="38" y="12"/>
                  <a:pt x="37" y="13"/>
                  <a:pt x="38" y="12"/>
                </a:cubicBezTo>
                <a:cubicBezTo>
                  <a:pt x="38" y="12"/>
                  <a:pt x="38" y="11"/>
                  <a:pt x="38" y="11"/>
                </a:cubicBezTo>
                <a:cubicBezTo>
                  <a:pt x="38" y="11"/>
                  <a:pt x="38" y="11"/>
                  <a:pt x="38" y="11"/>
                </a:cubicBezTo>
                <a:cubicBezTo>
                  <a:pt x="39" y="10"/>
                  <a:pt x="39" y="10"/>
                  <a:pt x="38" y="9"/>
                </a:cubicBezTo>
                <a:cubicBezTo>
                  <a:pt x="38" y="9"/>
                  <a:pt x="38" y="9"/>
                  <a:pt x="37" y="10"/>
                </a:cubicBezTo>
                <a:cubicBezTo>
                  <a:pt x="37" y="10"/>
                  <a:pt x="36" y="10"/>
                  <a:pt x="36" y="10"/>
                </a:cubicBezTo>
                <a:cubicBezTo>
                  <a:pt x="37" y="10"/>
                  <a:pt x="36" y="10"/>
                  <a:pt x="36" y="10"/>
                </a:cubicBezTo>
                <a:cubicBezTo>
                  <a:pt x="36" y="11"/>
                  <a:pt x="36" y="11"/>
                  <a:pt x="35" y="10"/>
                </a:cubicBezTo>
                <a:cubicBezTo>
                  <a:pt x="35" y="10"/>
                  <a:pt x="35" y="10"/>
                  <a:pt x="34" y="10"/>
                </a:cubicBezTo>
                <a:cubicBezTo>
                  <a:pt x="34" y="10"/>
                  <a:pt x="34" y="10"/>
                  <a:pt x="33" y="10"/>
                </a:cubicBezTo>
                <a:cubicBezTo>
                  <a:pt x="33" y="9"/>
                  <a:pt x="34" y="9"/>
                  <a:pt x="33" y="9"/>
                </a:cubicBezTo>
                <a:cubicBezTo>
                  <a:pt x="33" y="9"/>
                  <a:pt x="33" y="8"/>
                  <a:pt x="32" y="8"/>
                </a:cubicBezTo>
                <a:cubicBezTo>
                  <a:pt x="32" y="8"/>
                  <a:pt x="31" y="8"/>
                  <a:pt x="30" y="8"/>
                </a:cubicBezTo>
                <a:cubicBezTo>
                  <a:pt x="30" y="8"/>
                  <a:pt x="30" y="8"/>
                  <a:pt x="30" y="7"/>
                </a:cubicBezTo>
                <a:cubicBezTo>
                  <a:pt x="30" y="7"/>
                  <a:pt x="30" y="7"/>
                  <a:pt x="30" y="7"/>
                </a:cubicBezTo>
                <a:cubicBezTo>
                  <a:pt x="30" y="6"/>
                  <a:pt x="31" y="6"/>
                  <a:pt x="31" y="5"/>
                </a:cubicBezTo>
                <a:cubicBezTo>
                  <a:pt x="31" y="5"/>
                  <a:pt x="32" y="4"/>
                  <a:pt x="31" y="4"/>
                </a:cubicBezTo>
                <a:cubicBezTo>
                  <a:pt x="31" y="4"/>
                  <a:pt x="31" y="4"/>
                  <a:pt x="31" y="4"/>
                </a:cubicBezTo>
                <a:cubicBezTo>
                  <a:pt x="31" y="4"/>
                  <a:pt x="31" y="3"/>
                  <a:pt x="31" y="3"/>
                </a:cubicBezTo>
                <a:cubicBezTo>
                  <a:pt x="30" y="2"/>
                  <a:pt x="28" y="2"/>
                  <a:pt x="27" y="2"/>
                </a:cubicBezTo>
                <a:cubicBezTo>
                  <a:pt x="27" y="2"/>
                  <a:pt x="26" y="2"/>
                  <a:pt x="25" y="2"/>
                </a:cubicBezTo>
                <a:cubicBezTo>
                  <a:pt x="25" y="2"/>
                  <a:pt x="24" y="2"/>
                  <a:pt x="25" y="1"/>
                </a:cubicBezTo>
                <a:cubicBezTo>
                  <a:pt x="24" y="1"/>
                  <a:pt x="24" y="1"/>
                  <a:pt x="24" y="2"/>
                </a:cubicBezTo>
                <a:cubicBezTo>
                  <a:pt x="24" y="2"/>
                  <a:pt x="24" y="2"/>
                  <a:pt x="24" y="1"/>
                </a:cubicBezTo>
                <a:cubicBezTo>
                  <a:pt x="24" y="1"/>
                  <a:pt x="24" y="1"/>
                  <a:pt x="23" y="1"/>
                </a:cubicBezTo>
                <a:cubicBezTo>
                  <a:pt x="23" y="0"/>
                  <a:pt x="23" y="0"/>
                  <a:pt x="23" y="1"/>
                </a:cubicBezTo>
                <a:cubicBezTo>
                  <a:pt x="23" y="0"/>
                  <a:pt x="22" y="0"/>
                  <a:pt x="22" y="1"/>
                </a:cubicBezTo>
                <a:cubicBezTo>
                  <a:pt x="22" y="1"/>
                  <a:pt x="21" y="1"/>
                  <a:pt x="21" y="1"/>
                </a:cubicBezTo>
                <a:cubicBezTo>
                  <a:pt x="21" y="2"/>
                  <a:pt x="21" y="2"/>
                  <a:pt x="21" y="2"/>
                </a:cubicBezTo>
                <a:cubicBezTo>
                  <a:pt x="22" y="2"/>
                  <a:pt x="22" y="2"/>
                  <a:pt x="23" y="2"/>
                </a:cubicBezTo>
                <a:cubicBezTo>
                  <a:pt x="23" y="2"/>
                  <a:pt x="22" y="3"/>
                  <a:pt x="22" y="3"/>
                </a:cubicBezTo>
                <a:cubicBezTo>
                  <a:pt x="22" y="2"/>
                  <a:pt x="21" y="2"/>
                  <a:pt x="22" y="3"/>
                </a:cubicBezTo>
                <a:cubicBezTo>
                  <a:pt x="21" y="3"/>
                  <a:pt x="20" y="3"/>
                  <a:pt x="19" y="2"/>
                </a:cubicBezTo>
                <a:cubicBezTo>
                  <a:pt x="19" y="2"/>
                  <a:pt x="18" y="3"/>
                  <a:pt x="17" y="3"/>
                </a:cubicBezTo>
                <a:cubicBezTo>
                  <a:pt x="17" y="3"/>
                  <a:pt x="16" y="3"/>
                  <a:pt x="16" y="3"/>
                </a:cubicBezTo>
                <a:cubicBezTo>
                  <a:pt x="15" y="3"/>
                  <a:pt x="15" y="3"/>
                  <a:pt x="14" y="3"/>
                </a:cubicBezTo>
                <a:cubicBezTo>
                  <a:pt x="14" y="3"/>
                  <a:pt x="15" y="3"/>
                  <a:pt x="15" y="2"/>
                </a:cubicBezTo>
                <a:cubicBezTo>
                  <a:pt x="14" y="2"/>
                  <a:pt x="13" y="3"/>
                  <a:pt x="13" y="3"/>
                </a:cubicBezTo>
                <a:cubicBezTo>
                  <a:pt x="13" y="4"/>
                  <a:pt x="13" y="3"/>
                  <a:pt x="13" y="4"/>
                </a:cubicBezTo>
                <a:cubicBezTo>
                  <a:pt x="12" y="4"/>
                  <a:pt x="13" y="4"/>
                  <a:pt x="13" y="4"/>
                </a:cubicBezTo>
                <a:cubicBezTo>
                  <a:pt x="12" y="4"/>
                  <a:pt x="11" y="4"/>
                  <a:pt x="11" y="4"/>
                </a:cubicBezTo>
                <a:cubicBezTo>
                  <a:pt x="10" y="4"/>
                  <a:pt x="11" y="3"/>
                  <a:pt x="10" y="4"/>
                </a:cubicBezTo>
                <a:cubicBezTo>
                  <a:pt x="10" y="4"/>
                  <a:pt x="9" y="3"/>
                  <a:pt x="9" y="4"/>
                </a:cubicBezTo>
                <a:cubicBezTo>
                  <a:pt x="9" y="4"/>
                  <a:pt x="9" y="4"/>
                  <a:pt x="9" y="4"/>
                </a:cubicBezTo>
                <a:cubicBezTo>
                  <a:pt x="9" y="4"/>
                  <a:pt x="8" y="5"/>
                  <a:pt x="8" y="5"/>
                </a:cubicBezTo>
                <a:cubicBezTo>
                  <a:pt x="8" y="5"/>
                  <a:pt x="9" y="5"/>
                  <a:pt x="9" y="5"/>
                </a:cubicBezTo>
                <a:cubicBezTo>
                  <a:pt x="9" y="6"/>
                  <a:pt x="8" y="6"/>
                  <a:pt x="8" y="6"/>
                </a:cubicBezTo>
                <a:cubicBezTo>
                  <a:pt x="8" y="6"/>
                  <a:pt x="8" y="7"/>
                  <a:pt x="7" y="7"/>
                </a:cubicBezTo>
                <a:cubicBezTo>
                  <a:pt x="7" y="8"/>
                  <a:pt x="6" y="8"/>
                  <a:pt x="6" y="8"/>
                </a:cubicBezTo>
                <a:cubicBezTo>
                  <a:pt x="6" y="9"/>
                  <a:pt x="5" y="9"/>
                  <a:pt x="4" y="9"/>
                </a:cubicBezTo>
                <a:cubicBezTo>
                  <a:pt x="4" y="10"/>
                  <a:pt x="4" y="10"/>
                  <a:pt x="4" y="11"/>
                </a:cubicBezTo>
                <a:cubicBezTo>
                  <a:pt x="4" y="11"/>
                  <a:pt x="4" y="11"/>
                  <a:pt x="4" y="11"/>
                </a:cubicBezTo>
                <a:cubicBezTo>
                  <a:pt x="3" y="12"/>
                  <a:pt x="3" y="12"/>
                  <a:pt x="2" y="12"/>
                </a:cubicBezTo>
                <a:cubicBezTo>
                  <a:pt x="2" y="12"/>
                  <a:pt x="2" y="13"/>
                  <a:pt x="1" y="13"/>
                </a:cubicBezTo>
                <a:cubicBezTo>
                  <a:pt x="1" y="13"/>
                  <a:pt x="1" y="14"/>
                  <a:pt x="1" y="14"/>
                </a:cubicBezTo>
                <a:cubicBezTo>
                  <a:pt x="1" y="14"/>
                  <a:pt x="1" y="14"/>
                  <a:pt x="1" y="15"/>
                </a:cubicBezTo>
                <a:cubicBezTo>
                  <a:pt x="1" y="15"/>
                  <a:pt x="1" y="15"/>
                  <a:pt x="1" y="16"/>
                </a:cubicBezTo>
                <a:cubicBezTo>
                  <a:pt x="1" y="16"/>
                  <a:pt x="1" y="17"/>
                  <a:pt x="1" y="17"/>
                </a:cubicBezTo>
                <a:cubicBezTo>
                  <a:pt x="1" y="17"/>
                  <a:pt x="0" y="17"/>
                  <a:pt x="0" y="17"/>
                </a:cubicBezTo>
                <a:cubicBezTo>
                  <a:pt x="0" y="18"/>
                  <a:pt x="0" y="18"/>
                  <a:pt x="0" y="18"/>
                </a:cubicBezTo>
                <a:cubicBezTo>
                  <a:pt x="0" y="18"/>
                  <a:pt x="0" y="18"/>
                  <a:pt x="1" y="18"/>
                </a:cubicBezTo>
                <a:cubicBezTo>
                  <a:pt x="1" y="18"/>
                  <a:pt x="1" y="18"/>
                  <a:pt x="2" y="18"/>
                </a:cubicBezTo>
                <a:cubicBezTo>
                  <a:pt x="2" y="18"/>
                  <a:pt x="3" y="17"/>
                  <a:pt x="2" y="17"/>
                </a:cubicBezTo>
                <a:cubicBezTo>
                  <a:pt x="1" y="16"/>
                  <a:pt x="2" y="16"/>
                  <a:pt x="3" y="15"/>
                </a:cubicBezTo>
                <a:cubicBezTo>
                  <a:pt x="4" y="15"/>
                  <a:pt x="5" y="15"/>
                  <a:pt x="6" y="15"/>
                </a:cubicBezTo>
                <a:cubicBezTo>
                  <a:pt x="7" y="15"/>
                  <a:pt x="7" y="15"/>
                  <a:pt x="7" y="16"/>
                </a:cubicBezTo>
                <a:cubicBezTo>
                  <a:pt x="7" y="16"/>
                  <a:pt x="7" y="16"/>
                  <a:pt x="7" y="16"/>
                </a:cubicBezTo>
                <a:cubicBezTo>
                  <a:pt x="7" y="17"/>
                  <a:pt x="7" y="17"/>
                  <a:pt x="7" y="18"/>
                </a:cubicBezTo>
                <a:cubicBezTo>
                  <a:pt x="7" y="18"/>
                  <a:pt x="7" y="18"/>
                  <a:pt x="7" y="18"/>
                </a:cubicBezTo>
                <a:cubicBezTo>
                  <a:pt x="7" y="18"/>
                  <a:pt x="7" y="19"/>
                  <a:pt x="7" y="19"/>
                </a:cubicBezTo>
                <a:cubicBezTo>
                  <a:pt x="7" y="19"/>
                  <a:pt x="8" y="19"/>
                  <a:pt x="8" y="19"/>
                </a:cubicBezTo>
                <a:cubicBezTo>
                  <a:pt x="8" y="19"/>
                  <a:pt x="9" y="20"/>
                  <a:pt x="9" y="20"/>
                </a:cubicBezTo>
                <a:cubicBezTo>
                  <a:pt x="9" y="21"/>
                  <a:pt x="10" y="21"/>
                  <a:pt x="10" y="21"/>
                </a:cubicBezTo>
                <a:cubicBezTo>
                  <a:pt x="11" y="21"/>
                  <a:pt x="12" y="21"/>
                  <a:pt x="12" y="20"/>
                </a:cubicBezTo>
                <a:cubicBezTo>
                  <a:pt x="13" y="20"/>
                  <a:pt x="13" y="20"/>
                  <a:pt x="14" y="20"/>
                </a:cubicBezTo>
                <a:cubicBezTo>
                  <a:pt x="14" y="20"/>
                  <a:pt x="14" y="20"/>
                  <a:pt x="15" y="20"/>
                </a:cubicBezTo>
                <a:cubicBezTo>
                  <a:pt x="15" y="20"/>
                  <a:pt x="15" y="20"/>
                  <a:pt x="15" y="20"/>
                </a:cubicBezTo>
                <a:cubicBezTo>
                  <a:pt x="15" y="21"/>
                  <a:pt x="16" y="21"/>
                  <a:pt x="16" y="20"/>
                </a:cubicBezTo>
                <a:cubicBezTo>
                  <a:pt x="16" y="20"/>
                  <a:pt x="16" y="20"/>
                  <a:pt x="17" y="20"/>
                </a:cubicBezTo>
                <a:cubicBezTo>
                  <a:pt x="18" y="20"/>
                  <a:pt x="17" y="19"/>
                  <a:pt x="18" y="19"/>
                </a:cubicBezTo>
                <a:cubicBezTo>
                  <a:pt x="18" y="18"/>
                  <a:pt x="19" y="18"/>
                  <a:pt x="19" y="18"/>
                </a:cubicBezTo>
                <a:cubicBezTo>
                  <a:pt x="18" y="17"/>
                  <a:pt x="18" y="17"/>
                  <a:pt x="18" y="17"/>
                </a:cubicBezTo>
                <a:cubicBezTo>
                  <a:pt x="19" y="16"/>
                  <a:pt x="19" y="16"/>
                  <a:pt x="20" y="16"/>
                </a:cubicBezTo>
                <a:cubicBezTo>
                  <a:pt x="20" y="15"/>
                  <a:pt x="20" y="15"/>
                  <a:pt x="21" y="15"/>
                </a:cubicBezTo>
                <a:cubicBezTo>
                  <a:pt x="21" y="15"/>
                  <a:pt x="21" y="15"/>
                  <a:pt x="21" y="15"/>
                </a:cubicBezTo>
                <a:cubicBezTo>
                  <a:pt x="21" y="16"/>
                  <a:pt x="21" y="16"/>
                  <a:pt x="21" y="17"/>
                </a:cubicBezTo>
                <a:cubicBezTo>
                  <a:pt x="21" y="17"/>
                  <a:pt x="22" y="17"/>
                  <a:pt x="22" y="18"/>
                </a:cubicBezTo>
                <a:cubicBezTo>
                  <a:pt x="23" y="19"/>
                  <a:pt x="23" y="18"/>
                  <a:pt x="24" y="19"/>
                </a:cubicBezTo>
                <a:cubicBezTo>
                  <a:pt x="25" y="19"/>
                  <a:pt x="24" y="19"/>
                  <a:pt x="24" y="20"/>
                </a:cubicBezTo>
                <a:cubicBezTo>
                  <a:pt x="25" y="20"/>
                  <a:pt x="26" y="21"/>
                  <a:pt x="25" y="21"/>
                </a:cubicBezTo>
                <a:cubicBezTo>
                  <a:pt x="26" y="21"/>
                  <a:pt x="26" y="22"/>
                  <a:pt x="26" y="21"/>
                </a:cubicBezTo>
                <a:cubicBezTo>
                  <a:pt x="27" y="20"/>
                  <a:pt x="26" y="21"/>
                  <a:pt x="26" y="20"/>
                </a:cubicBezTo>
                <a:cubicBezTo>
                  <a:pt x="26" y="19"/>
                  <a:pt x="27" y="18"/>
                  <a:pt x="27" y="18"/>
                </a:cubicBezTo>
                <a:cubicBezTo>
                  <a:pt x="28" y="17"/>
                  <a:pt x="28" y="17"/>
                  <a:pt x="28" y="16"/>
                </a:cubicBezTo>
                <a:cubicBezTo>
                  <a:pt x="28" y="16"/>
                  <a:pt x="28" y="15"/>
                  <a:pt x="28" y="15"/>
                </a:cubicBezTo>
                <a:cubicBezTo>
                  <a:pt x="28" y="14"/>
                  <a:pt x="29" y="15"/>
                  <a:pt x="29" y="15"/>
                </a:cubicBezTo>
                <a:cubicBezTo>
                  <a:pt x="29" y="15"/>
                  <a:pt x="30" y="14"/>
                  <a:pt x="30" y="14"/>
                </a:cubicBezTo>
                <a:cubicBezTo>
                  <a:pt x="30" y="15"/>
                  <a:pt x="30" y="15"/>
                  <a:pt x="30" y="16"/>
                </a:cubicBezTo>
                <a:cubicBezTo>
                  <a:pt x="30" y="16"/>
                  <a:pt x="30" y="16"/>
                  <a:pt x="30" y="16"/>
                </a:cubicBezTo>
                <a:cubicBezTo>
                  <a:pt x="31" y="17"/>
                  <a:pt x="32" y="17"/>
                  <a:pt x="32" y="16"/>
                </a:cubicBezTo>
                <a:cubicBezTo>
                  <a:pt x="32" y="16"/>
                  <a:pt x="34" y="16"/>
                  <a:pt x="34" y="16"/>
                </a:cubicBezTo>
                <a:cubicBezTo>
                  <a:pt x="34" y="16"/>
                  <a:pt x="34" y="16"/>
                  <a:pt x="34" y="16"/>
                </a:cubicBezTo>
                <a:cubicBezTo>
                  <a:pt x="35" y="17"/>
                  <a:pt x="35" y="17"/>
                  <a:pt x="35" y="17"/>
                </a:cubicBezTo>
                <a:cubicBezTo>
                  <a:pt x="35" y="17"/>
                  <a:pt x="36" y="17"/>
                  <a:pt x="36" y="17"/>
                </a:cubicBezTo>
                <a:cubicBezTo>
                  <a:pt x="36" y="16"/>
                  <a:pt x="35" y="16"/>
                  <a:pt x="35" y="16"/>
                </a:cubicBezTo>
                <a:cubicBezTo>
                  <a:pt x="35" y="16"/>
                  <a:pt x="36" y="16"/>
                  <a:pt x="36" y="15"/>
                </a:cubicBezTo>
                <a:cubicBezTo>
                  <a:pt x="36" y="15"/>
                  <a:pt x="35" y="15"/>
                  <a:pt x="35" y="15"/>
                </a:cubicBezTo>
                <a:cubicBezTo>
                  <a:pt x="34" y="15"/>
                  <a:pt x="35" y="13"/>
                  <a:pt x="36" y="13"/>
                </a:cubicBezTo>
                <a:cubicBezTo>
                  <a:pt x="36" y="12"/>
                  <a:pt x="37" y="13"/>
                  <a:pt x="37" y="14"/>
                </a:cubicBezTo>
                <a:cubicBezTo>
                  <a:pt x="38" y="14"/>
                  <a:pt x="39" y="14"/>
                  <a:pt x="39" y="1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4" name="Sweden"/>
          <p:cNvSpPr>
            <a:spLocks noEditPoints="1"/>
          </p:cNvSpPr>
          <p:nvPr/>
        </p:nvSpPr>
        <p:spPr bwMode="auto">
          <a:xfrm>
            <a:off x="6175069" y="1991038"/>
            <a:ext cx="342988" cy="491982"/>
          </a:xfrm>
          <a:custGeom>
            <a:avLst/>
            <a:gdLst/>
            <a:ahLst/>
            <a:cxnLst>
              <a:cxn ang="0">
                <a:pos x="61" y="115"/>
              </a:cxn>
              <a:cxn ang="0">
                <a:pos x="56" y="120"/>
              </a:cxn>
              <a:cxn ang="0">
                <a:pos x="60" y="109"/>
              </a:cxn>
              <a:cxn ang="0">
                <a:pos x="90" y="31"/>
              </a:cxn>
              <a:cxn ang="0">
                <a:pos x="86" y="32"/>
              </a:cxn>
              <a:cxn ang="0">
                <a:pos x="81" y="32"/>
              </a:cxn>
              <a:cxn ang="0">
                <a:pos x="77" y="35"/>
              </a:cxn>
              <a:cxn ang="0">
                <a:pos x="77" y="38"/>
              </a:cxn>
              <a:cxn ang="0">
                <a:pos x="75" y="41"/>
              </a:cxn>
              <a:cxn ang="0">
                <a:pos x="77" y="43"/>
              </a:cxn>
              <a:cxn ang="0">
                <a:pos x="73" y="49"/>
              </a:cxn>
              <a:cxn ang="0">
                <a:pos x="67" y="52"/>
              </a:cxn>
              <a:cxn ang="0">
                <a:pos x="62" y="54"/>
              </a:cxn>
              <a:cxn ang="0">
                <a:pos x="57" y="56"/>
              </a:cxn>
              <a:cxn ang="0">
                <a:pos x="54" y="58"/>
              </a:cxn>
              <a:cxn ang="0">
                <a:pos x="53" y="60"/>
              </a:cxn>
              <a:cxn ang="0">
                <a:pos x="51" y="62"/>
              </a:cxn>
              <a:cxn ang="0">
                <a:pos x="49" y="66"/>
              </a:cxn>
              <a:cxn ang="0">
                <a:pos x="48" y="72"/>
              </a:cxn>
              <a:cxn ang="0">
                <a:pos x="46" y="73"/>
              </a:cxn>
              <a:cxn ang="0">
                <a:pos x="47" y="78"/>
              </a:cxn>
              <a:cxn ang="0">
                <a:pos x="53" y="83"/>
              </a:cxn>
              <a:cxn ang="0">
                <a:pos x="58" y="88"/>
              </a:cxn>
              <a:cxn ang="0">
                <a:pos x="61" y="91"/>
              </a:cxn>
              <a:cxn ang="0">
                <a:pos x="55" y="94"/>
              </a:cxn>
              <a:cxn ang="0">
                <a:pos x="57" y="96"/>
              </a:cxn>
              <a:cxn ang="0">
                <a:pos x="56" y="98"/>
              </a:cxn>
              <a:cxn ang="0">
                <a:pos x="53" y="100"/>
              </a:cxn>
              <a:cxn ang="0">
                <a:pos x="52" y="98"/>
              </a:cxn>
              <a:cxn ang="0">
                <a:pos x="50" y="101"/>
              </a:cxn>
              <a:cxn ang="0">
                <a:pos x="41" y="102"/>
              </a:cxn>
              <a:cxn ang="0">
                <a:pos x="44" y="104"/>
              </a:cxn>
              <a:cxn ang="0">
                <a:pos x="45" y="107"/>
              </a:cxn>
              <a:cxn ang="0">
                <a:pos x="45" y="109"/>
              </a:cxn>
              <a:cxn ang="0">
                <a:pos x="44" y="112"/>
              </a:cxn>
              <a:cxn ang="0">
                <a:pos x="44" y="118"/>
              </a:cxn>
              <a:cxn ang="0">
                <a:pos x="42" y="121"/>
              </a:cxn>
              <a:cxn ang="0">
                <a:pos x="36" y="127"/>
              </a:cxn>
              <a:cxn ang="0">
                <a:pos x="27" y="129"/>
              </a:cxn>
              <a:cxn ang="0">
                <a:pos x="15" y="134"/>
              </a:cxn>
              <a:cxn ang="0">
                <a:pos x="13" y="124"/>
              </a:cxn>
              <a:cxn ang="0">
                <a:pos x="9" y="117"/>
              </a:cxn>
              <a:cxn ang="0">
                <a:pos x="7" y="114"/>
              </a:cxn>
              <a:cxn ang="0">
                <a:pos x="6" y="107"/>
              </a:cxn>
              <a:cxn ang="0">
                <a:pos x="3" y="104"/>
              </a:cxn>
              <a:cxn ang="0">
                <a:pos x="1" y="100"/>
              </a:cxn>
              <a:cxn ang="0">
                <a:pos x="6" y="95"/>
              </a:cxn>
              <a:cxn ang="0">
                <a:pos x="9" y="78"/>
              </a:cxn>
              <a:cxn ang="0">
                <a:pos x="7" y="57"/>
              </a:cxn>
              <a:cxn ang="0">
                <a:pos x="20" y="41"/>
              </a:cxn>
              <a:cxn ang="0">
                <a:pos x="32" y="24"/>
              </a:cxn>
              <a:cxn ang="0">
                <a:pos x="54" y="5"/>
              </a:cxn>
              <a:cxn ang="0">
                <a:pos x="72" y="3"/>
              </a:cxn>
              <a:cxn ang="0">
                <a:pos x="88" y="10"/>
              </a:cxn>
              <a:cxn ang="0">
                <a:pos x="93" y="22"/>
              </a:cxn>
              <a:cxn ang="0">
                <a:pos x="49" y="100"/>
              </a:cxn>
              <a:cxn ang="0">
                <a:pos x="44" y="125"/>
              </a:cxn>
              <a:cxn ang="0">
                <a:pos x="5" y="108"/>
              </a:cxn>
              <a:cxn ang="0">
                <a:pos x="5" y="108"/>
              </a:cxn>
            </a:cxnLst>
            <a:rect l="0" t="0" r="r" b="b"/>
            <a:pathLst>
              <a:path w="95" h="136">
                <a:moveTo>
                  <a:pt x="63" y="110"/>
                </a:moveTo>
                <a:cubicBezTo>
                  <a:pt x="63" y="110"/>
                  <a:pt x="63" y="110"/>
                  <a:pt x="63" y="110"/>
                </a:cubicBezTo>
                <a:cubicBezTo>
                  <a:pt x="63" y="110"/>
                  <a:pt x="63" y="110"/>
                  <a:pt x="63" y="110"/>
                </a:cubicBezTo>
                <a:cubicBezTo>
                  <a:pt x="63" y="111"/>
                  <a:pt x="63" y="111"/>
                  <a:pt x="62" y="111"/>
                </a:cubicBezTo>
                <a:cubicBezTo>
                  <a:pt x="62" y="111"/>
                  <a:pt x="63" y="111"/>
                  <a:pt x="62" y="111"/>
                </a:cubicBezTo>
                <a:cubicBezTo>
                  <a:pt x="62" y="111"/>
                  <a:pt x="61" y="111"/>
                  <a:pt x="61" y="111"/>
                </a:cubicBezTo>
                <a:cubicBezTo>
                  <a:pt x="61" y="111"/>
                  <a:pt x="61" y="112"/>
                  <a:pt x="61" y="112"/>
                </a:cubicBezTo>
                <a:cubicBezTo>
                  <a:pt x="62" y="113"/>
                  <a:pt x="60" y="114"/>
                  <a:pt x="62" y="114"/>
                </a:cubicBezTo>
                <a:cubicBezTo>
                  <a:pt x="62" y="114"/>
                  <a:pt x="62" y="114"/>
                  <a:pt x="62" y="114"/>
                </a:cubicBezTo>
                <a:cubicBezTo>
                  <a:pt x="62" y="115"/>
                  <a:pt x="62" y="115"/>
                  <a:pt x="61" y="115"/>
                </a:cubicBezTo>
                <a:cubicBezTo>
                  <a:pt x="61" y="115"/>
                  <a:pt x="60" y="115"/>
                  <a:pt x="60" y="116"/>
                </a:cubicBezTo>
                <a:cubicBezTo>
                  <a:pt x="60" y="116"/>
                  <a:pt x="61" y="116"/>
                  <a:pt x="61" y="116"/>
                </a:cubicBezTo>
                <a:cubicBezTo>
                  <a:pt x="61" y="116"/>
                  <a:pt x="61" y="116"/>
                  <a:pt x="61" y="116"/>
                </a:cubicBezTo>
                <a:cubicBezTo>
                  <a:pt x="61" y="117"/>
                  <a:pt x="59" y="117"/>
                  <a:pt x="60" y="117"/>
                </a:cubicBezTo>
                <a:cubicBezTo>
                  <a:pt x="60" y="117"/>
                  <a:pt x="58" y="117"/>
                  <a:pt x="58" y="117"/>
                </a:cubicBezTo>
                <a:cubicBezTo>
                  <a:pt x="59" y="118"/>
                  <a:pt x="59" y="117"/>
                  <a:pt x="59" y="117"/>
                </a:cubicBezTo>
                <a:cubicBezTo>
                  <a:pt x="59" y="118"/>
                  <a:pt x="57" y="118"/>
                  <a:pt x="58" y="119"/>
                </a:cubicBezTo>
                <a:cubicBezTo>
                  <a:pt x="58" y="119"/>
                  <a:pt x="58" y="119"/>
                  <a:pt x="58" y="119"/>
                </a:cubicBezTo>
                <a:cubicBezTo>
                  <a:pt x="58" y="118"/>
                  <a:pt x="58" y="119"/>
                  <a:pt x="58" y="119"/>
                </a:cubicBezTo>
                <a:cubicBezTo>
                  <a:pt x="57" y="120"/>
                  <a:pt x="57" y="120"/>
                  <a:pt x="56" y="120"/>
                </a:cubicBezTo>
                <a:cubicBezTo>
                  <a:pt x="56" y="120"/>
                  <a:pt x="57" y="119"/>
                  <a:pt x="57" y="119"/>
                </a:cubicBezTo>
                <a:cubicBezTo>
                  <a:pt x="57" y="118"/>
                  <a:pt x="58" y="118"/>
                  <a:pt x="58" y="118"/>
                </a:cubicBezTo>
                <a:cubicBezTo>
                  <a:pt x="57" y="118"/>
                  <a:pt x="57" y="118"/>
                  <a:pt x="57" y="118"/>
                </a:cubicBezTo>
                <a:cubicBezTo>
                  <a:pt x="57" y="118"/>
                  <a:pt x="56" y="117"/>
                  <a:pt x="56" y="117"/>
                </a:cubicBezTo>
                <a:cubicBezTo>
                  <a:pt x="56" y="116"/>
                  <a:pt x="56" y="116"/>
                  <a:pt x="56" y="116"/>
                </a:cubicBezTo>
                <a:cubicBezTo>
                  <a:pt x="56" y="115"/>
                  <a:pt x="56" y="115"/>
                  <a:pt x="56" y="115"/>
                </a:cubicBezTo>
                <a:cubicBezTo>
                  <a:pt x="56" y="114"/>
                  <a:pt x="55" y="113"/>
                  <a:pt x="56" y="113"/>
                </a:cubicBezTo>
                <a:cubicBezTo>
                  <a:pt x="57" y="112"/>
                  <a:pt x="57" y="112"/>
                  <a:pt x="58" y="112"/>
                </a:cubicBezTo>
                <a:cubicBezTo>
                  <a:pt x="58" y="111"/>
                  <a:pt x="58" y="110"/>
                  <a:pt x="59" y="110"/>
                </a:cubicBezTo>
                <a:cubicBezTo>
                  <a:pt x="60" y="110"/>
                  <a:pt x="60" y="110"/>
                  <a:pt x="60" y="109"/>
                </a:cubicBezTo>
                <a:cubicBezTo>
                  <a:pt x="61" y="109"/>
                  <a:pt x="61" y="110"/>
                  <a:pt x="61" y="110"/>
                </a:cubicBezTo>
                <a:cubicBezTo>
                  <a:pt x="61" y="109"/>
                  <a:pt x="61" y="109"/>
                  <a:pt x="62" y="109"/>
                </a:cubicBezTo>
                <a:cubicBezTo>
                  <a:pt x="62" y="109"/>
                  <a:pt x="63" y="109"/>
                  <a:pt x="63" y="110"/>
                </a:cubicBezTo>
                <a:close/>
                <a:moveTo>
                  <a:pt x="82" y="31"/>
                </a:moveTo>
                <a:cubicBezTo>
                  <a:pt x="82" y="31"/>
                  <a:pt x="82" y="31"/>
                  <a:pt x="82" y="31"/>
                </a:cubicBezTo>
                <a:close/>
                <a:moveTo>
                  <a:pt x="95" y="31"/>
                </a:moveTo>
                <a:cubicBezTo>
                  <a:pt x="94" y="31"/>
                  <a:pt x="94" y="31"/>
                  <a:pt x="93" y="31"/>
                </a:cubicBezTo>
                <a:cubicBezTo>
                  <a:pt x="93" y="31"/>
                  <a:pt x="92" y="31"/>
                  <a:pt x="92" y="31"/>
                </a:cubicBezTo>
                <a:cubicBezTo>
                  <a:pt x="91" y="31"/>
                  <a:pt x="90" y="31"/>
                  <a:pt x="90" y="31"/>
                </a:cubicBezTo>
                <a:cubicBezTo>
                  <a:pt x="90" y="31"/>
                  <a:pt x="90" y="31"/>
                  <a:pt x="90" y="31"/>
                </a:cubicBezTo>
                <a:cubicBezTo>
                  <a:pt x="90" y="32"/>
                  <a:pt x="90" y="32"/>
                  <a:pt x="90" y="32"/>
                </a:cubicBezTo>
                <a:cubicBezTo>
                  <a:pt x="90" y="32"/>
                  <a:pt x="90" y="32"/>
                  <a:pt x="90" y="32"/>
                </a:cubicBezTo>
                <a:cubicBezTo>
                  <a:pt x="89" y="32"/>
                  <a:pt x="89" y="31"/>
                  <a:pt x="89" y="31"/>
                </a:cubicBezTo>
                <a:cubicBezTo>
                  <a:pt x="89" y="31"/>
                  <a:pt x="89" y="31"/>
                  <a:pt x="89" y="31"/>
                </a:cubicBezTo>
                <a:cubicBezTo>
                  <a:pt x="89" y="31"/>
                  <a:pt x="88" y="31"/>
                  <a:pt x="88" y="31"/>
                </a:cubicBezTo>
                <a:cubicBezTo>
                  <a:pt x="88" y="31"/>
                  <a:pt x="88" y="31"/>
                  <a:pt x="88" y="31"/>
                </a:cubicBezTo>
                <a:cubicBezTo>
                  <a:pt x="88" y="31"/>
                  <a:pt x="89" y="32"/>
                  <a:pt x="89" y="32"/>
                </a:cubicBezTo>
                <a:cubicBezTo>
                  <a:pt x="89" y="32"/>
                  <a:pt x="89" y="32"/>
                  <a:pt x="89" y="32"/>
                </a:cubicBezTo>
                <a:cubicBezTo>
                  <a:pt x="89" y="32"/>
                  <a:pt x="88" y="31"/>
                  <a:pt x="88" y="32"/>
                </a:cubicBezTo>
                <a:cubicBezTo>
                  <a:pt x="88" y="32"/>
                  <a:pt x="87" y="32"/>
                  <a:pt x="86" y="32"/>
                </a:cubicBezTo>
                <a:cubicBezTo>
                  <a:pt x="86" y="31"/>
                  <a:pt x="85" y="31"/>
                  <a:pt x="84" y="30"/>
                </a:cubicBezTo>
                <a:cubicBezTo>
                  <a:pt x="84" y="30"/>
                  <a:pt x="85" y="31"/>
                  <a:pt x="84" y="32"/>
                </a:cubicBezTo>
                <a:cubicBezTo>
                  <a:pt x="84" y="32"/>
                  <a:pt x="84" y="31"/>
                  <a:pt x="84" y="31"/>
                </a:cubicBezTo>
                <a:cubicBezTo>
                  <a:pt x="84" y="31"/>
                  <a:pt x="83" y="32"/>
                  <a:pt x="83" y="31"/>
                </a:cubicBezTo>
                <a:cubicBezTo>
                  <a:pt x="84" y="31"/>
                  <a:pt x="82" y="31"/>
                  <a:pt x="82" y="31"/>
                </a:cubicBezTo>
                <a:cubicBezTo>
                  <a:pt x="82" y="31"/>
                  <a:pt x="82" y="31"/>
                  <a:pt x="82" y="31"/>
                </a:cubicBezTo>
                <a:cubicBezTo>
                  <a:pt x="82" y="31"/>
                  <a:pt x="82" y="31"/>
                  <a:pt x="82" y="31"/>
                </a:cubicBezTo>
                <a:cubicBezTo>
                  <a:pt x="82" y="31"/>
                  <a:pt x="82" y="31"/>
                  <a:pt x="82" y="31"/>
                </a:cubicBezTo>
                <a:cubicBezTo>
                  <a:pt x="82" y="31"/>
                  <a:pt x="82" y="32"/>
                  <a:pt x="82" y="32"/>
                </a:cubicBezTo>
                <a:cubicBezTo>
                  <a:pt x="83" y="33"/>
                  <a:pt x="81" y="32"/>
                  <a:pt x="81" y="32"/>
                </a:cubicBezTo>
                <a:cubicBezTo>
                  <a:pt x="81" y="33"/>
                  <a:pt x="82" y="32"/>
                  <a:pt x="82" y="33"/>
                </a:cubicBezTo>
                <a:cubicBezTo>
                  <a:pt x="83" y="33"/>
                  <a:pt x="82" y="33"/>
                  <a:pt x="82" y="33"/>
                </a:cubicBezTo>
                <a:cubicBezTo>
                  <a:pt x="83" y="34"/>
                  <a:pt x="82" y="33"/>
                  <a:pt x="81" y="33"/>
                </a:cubicBezTo>
                <a:cubicBezTo>
                  <a:pt x="82" y="34"/>
                  <a:pt x="80" y="33"/>
                  <a:pt x="80" y="33"/>
                </a:cubicBezTo>
                <a:cubicBezTo>
                  <a:pt x="80" y="33"/>
                  <a:pt x="81" y="34"/>
                  <a:pt x="81" y="34"/>
                </a:cubicBezTo>
                <a:cubicBezTo>
                  <a:pt x="81" y="34"/>
                  <a:pt x="79" y="34"/>
                  <a:pt x="79" y="34"/>
                </a:cubicBezTo>
                <a:cubicBezTo>
                  <a:pt x="79" y="34"/>
                  <a:pt x="79" y="34"/>
                  <a:pt x="79" y="34"/>
                </a:cubicBezTo>
                <a:cubicBezTo>
                  <a:pt x="79" y="34"/>
                  <a:pt x="80" y="34"/>
                  <a:pt x="80" y="34"/>
                </a:cubicBezTo>
                <a:cubicBezTo>
                  <a:pt x="80" y="35"/>
                  <a:pt x="80" y="35"/>
                  <a:pt x="79" y="35"/>
                </a:cubicBezTo>
                <a:cubicBezTo>
                  <a:pt x="79" y="35"/>
                  <a:pt x="77" y="35"/>
                  <a:pt x="77" y="35"/>
                </a:cubicBezTo>
                <a:cubicBezTo>
                  <a:pt x="77" y="35"/>
                  <a:pt x="77" y="35"/>
                  <a:pt x="77" y="35"/>
                </a:cubicBezTo>
                <a:cubicBezTo>
                  <a:pt x="77" y="36"/>
                  <a:pt x="76" y="35"/>
                  <a:pt x="76" y="35"/>
                </a:cubicBezTo>
                <a:cubicBezTo>
                  <a:pt x="76" y="35"/>
                  <a:pt x="76" y="35"/>
                  <a:pt x="76" y="35"/>
                </a:cubicBezTo>
                <a:cubicBezTo>
                  <a:pt x="76" y="35"/>
                  <a:pt x="76" y="35"/>
                  <a:pt x="76" y="35"/>
                </a:cubicBezTo>
                <a:cubicBezTo>
                  <a:pt x="76" y="36"/>
                  <a:pt x="77" y="35"/>
                  <a:pt x="77" y="36"/>
                </a:cubicBezTo>
                <a:cubicBezTo>
                  <a:pt x="77" y="36"/>
                  <a:pt x="77" y="36"/>
                  <a:pt x="78" y="36"/>
                </a:cubicBezTo>
                <a:cubicBezTo>
                  <a:pt x="78" y="36"/>
                  <a:pt x="78" y="36"/>
                  <a:pt x="77" y="36"/>
                </a:cubicBezTo>
                <a:cubicBezTo>
                  <a:pt x="77" y="36"/>
                  <a:pt x="77" y="37"/>
                  <a:pt x="77" y="37"/>
                </a:cubicBezTo>
                <a:cubicBezTo>
                  <a:pt x="77" y="37"/>
                  <a:pt x="77" y="38"/>
                  <a:pt x="77" y="37"/>
                </a:cubicBezTo>
                <a:cubicBezTo>
                  <a:pt x="77" y="38"/>
                  <a:pt x="77" y="38"/>
                  <a:pt x="77" y="38"/>
                </a:cubicBezTo>
                <a:cubicBezTo>
                  <a:pt x="77" y="38"/>
                  <a:pt x="76" y="38"/>
                  <a:pt x="76" y="38"/>
                </a:cubicBezTo>
                <a:cubicBezTo>
                  <a:pt x="76" y="38"/>
                  <a:pt x="76" y="38"/>
                  <a:pt x="76" y="38"/>
                </a:cubicBezTo>
                <a:cubicBezTo>
                  <a:pt x="76" y="39"/>
                  <a:pt x="76" y="39"/>
                  <a:pt x="76" y="39"/>
                </a:cubicBezTo>
                <a:cubicBezTo>
                  <a:pt x="76" y="39"/>
                  <a:pt x="76" y="39"/>
                  <a:pt x="76" y="39"/>
                </a:cubicBezTo>
                <a:cubicBezTo>
                  <a:pt x="75" y="39"/>
                  <a:pt x="75" y="39"/>
                  <a:pt x="76" y="39"/>
                </a:cubicBezTo>
                <a:cubicBezTo>
                  <a:pt x="75" y="39"/>
                  <a:pt x="75" y="39"/>
                  <a:pt x="75" y="39"/>
                </a:cubicBezTo>
                <a:cubicBezTo>
                  <a:pt x="75" y="39"/>
                  <a:pt x="75" y="40"/>
                  <a:pt x="74" y="40"/>
                </a:cubicBezTo>
                <a:cubicBezTo>
                  <a:pt x="75" y="40"/>
                  <a:pt x="73" y="40"/>
                  <a:pt x="73" y="40"/>
                </a:cubicBezTo>
                <a:cubicBezTo>
                  <a:pt x="73" y="40"/>
                  <a:pt x="74" y="41"/>
                  <a:pt x="73" y="41"/>
                </a:cubicBezTo>
                <a:cubicBezTo>
                  <a:pt x="74" y="41"/>
                  <a:pt x="75" y="41"/>
                  <a:pt x="75" y="41"/>
                </a:cubicBezTo>
                <a:cubicBezTo>
                  <a:pt x="75" y="41"/>
                  <a:pt x="75" y="41"/>
                  <a:pt x="75" y="41"/>
                </a:cubicBezTo>
                <a:cubicBezTo>
                  <a:pt x="75" y="42"/>
                  <a:pt x="75" y="42"/>
                  <a:pt x="75" y="42"/>
                </a:cubicBezTo>
                <a:cubicBezTo>
                  <a:pt x="75" y="42"/>
                  <a:pt x="75" y="42"/>
                  <a:pt x="75" y="42"/>
                </a:cubicBezTo>
                <a:cubicBezTo>
                  <a:pt x="75" y="42"/>
                  <a:pt x="75" y="42"/>
                  <a:pt x="75" y="42"/>
                </a:cubicBezTo>
                <a:cubicBezTo>
                  <a:pt x="75" y="42"/>
                  <a:pt x="75" y="42"/>
                  <a:pt x="74" y="42"/>
                </a:cubicBezTo>
                <a:cubicBezTo>
                  <a:pt x="74" y="42"/>
                  <a:pt x="75" y="42"/>
                  <a:pt x="75" y="42"/>
                </a:cubicBezTo>
                <a:cubicBezTo>
                  <a:pt x="74" y="42"/>
                  <a:pt x="74" y="42"/>
                  <a:pt x="74" y="42"/>
                </a:cubicBezTo>
                <a:cubicBezTo>
                  <a:pt x="74" y="42"/>
                  <a:pt x="75" y="43"/>
                  <a:pt x="76" y="43"/>
                </a:cubicBezTo>
                <a:cubicBezTo>
                  <a:pt x="76" y="42"/>
                  <a:pt x="76" y="43"/>
                  <a:pt x="76" y="43"/>
                </a:cubicBezTo>
                <a:cubicBezTo>
                  <a:pt x="77" y="43"/>
                  <a:pt x="77" y="43"/>
                  <a:pt x="77" y="43"/>
                </a:cubicBezTo>
                <a:cubicBezTo>
                  <a:pt x="77" y="43"/>
                  <a:pt x="77" y="43"/>
                  <a:pt x="77" y="43"/>
                </a:cubicBezTo>
                <a:cubicBezTo>
                  <a:pt x="77" y="44"/>
                  <a:pt x="77" y="43"/>
                  <a:pt x="76" y="44"/>
                </a:cubicBezTo>
                <a:cubicBezTo>
                  <a:pt x="77" y="43"/>
                  <a:pt x="77" y="44"/>
                  <a:pt x="77" y="44"/>
                </a:cubicBezTo>
                <a:cubicBezTo>
                  <a:pt x="77" y="44"/>
                  <a:pt x="77" y="44"/>
                  <a:pt x="77" y="44"/>
                </a:cubicBezTo>
                <a:cubicBezTo>
                  <a:pt x="78" y="44"/>
                  <a:pt x="76" y="45"/>
                  <a:pt x="76" y="45"/>
                </a:cubicBezTo>
                <a:cubicBezTo>
                  <a:pt x="76" y="46"/>
                  <a:pt x="75" y="46"/>
                  <a:pt x="75" y="46"/>
                </a:cubicBezTo>
                <a:cubicBezTo>
                  <a:pt x="75" y="46"/>
                  <a:pt x="75" y="46"/>
                  <a:pt x="74" y="47"/>
                </a:cubicBezTo>
                <a:cubicBezTo>
                  <a:pt x="74" y="47"/>
                  <a:pt x="74" y="46"/>
                  <a:pt x="74" y="47"/>
                </a:cubicBezTo>
                <a:cubicBezTo>
                  <a:pt x="74" y="47"/>
                  <a:pt x="73" y="47"/>
                  <a:pt x="73" y="47"/>
                </a:cubicBezTo>
                <a:cubicBezTo>
                  <a:pt x="73" y="48"/>
                  <a:pt x="73" y="48"/>
                  <a:pt x="73" y="49"/>
                </a:cubicBezTo>
                <a:cubicBezTo>
                  <a:pt x="72" y="49"/>
                  <a:pt x="72" y="49"/>
                  <a:pt x="72" y="50"/>
                </a:cubicBezTo>
                <a:cubicBezTo>
                  <a:pt x="72" y="50"/>
                  <a:pt x="71" y="50"/>
                  <a:pt x="71" y="50"/>
                </a:cubicBezTo>
                <a:cubicBezTo>
                  <a:pt x="71" y="50"/>
                  <a:pt x="72" y="50"/>
                  <a:pt x="72" y="50"/>
                </a:cubicBezTo>
                <a:cubicBezTo>
                  <a:pt x="72" y="51"/>
                  <a:pt x="71" y="50"/>
                  <a:pt x="71" y="50"/>
                </a:cubicBezTo>
                <a:cubicBezTo>
                  <a:pt x="71" y="51"/>
                  <a:pt x="71" y="51"/>
                  <a:pt x="71" y="51"/>
                </a:cubicBezTo>
                <a:cubicBezTo>
                  <a:pt x="70" y="51"/>
                  <a:pt x="70" y="50"/>
                  <a:pt x="70" y="50"/>
                </a:cubicBezTo>
                <a:cubicBezTo>
                  <a:pt x="70" y="50"/>
                  <a:pt x="70" y="51"/>
                  <a:pt x="69" y="51"/>
                </a:cubicBezTo>
                <a:cubicBezTo>
                  <a:pt x="69" y="51"/>
                  <a:pt x="70" y="52"/>
                  <a:pt x="69" y="52"/>
                </a:cubicBezTo>
                <a:cubicBezTo>
                  <a:pt x="69" y="51"/>
                  <a:pt x="69" y="50"/>
                  <a:pt x="68" y="51"/>
                </a:cubicBezTo>
                <a:cubicBezTo>
                  <a:pt x="68" y="52"/>
                  <a:pt x="68" y="52"/>
                  <a:pt x="67" y="52"/>
                </a:cubicBezTo>
                <a:cubicBezTo>
                  <a:pt x="67" y="52"/>
                  <a:pt x="66" y="52"/>
                  <a:pt x="67" y="52"/>
                </a:cubicBezTo>
                <a:cubicBezTo>
                  <a:pt x="66" y="52"/>
                  <a:pt x="66" y="52"/>
                  <a:pt x="65" y="53"/>
                </a:cubicBezTo>
                <a:cubicBezTo>
                  <a:pt x="65" y="53"/>
                  <a:pt x="65" y="53"/>
                  <a:pt x="65" y="53"/>
                </a:cubicBezTo>
                <a:cubicBezTo>
                  <a:pt x="64" y="53"/>
                  <a:pt x="65" y="53"/>
                  <a:pt x="65" y="54"/>
                </a:cubicBezTo>
                <a:cubicBezTo>
                  <a:pt x="64" y="54"/>
                  <a:pt x="64" y="54"/>
                  <a:pt x="64" y="54"/>
                </a:cubicBezTo>
                <a:cubicBezTo>
                  <a:pt x="63" y="53"/>
                  <a:pt x="63" y="53"/>
                  <a:pt x="63" y="53"/>
                </a:cubicBezTo>
                <a:cubicBezTo>
                  <a:pt x="62" y="53"/>
                  <a:pt x="63" y="53"/>
                  <a:pt x="62" y="53"/>
                </a:cubicBezTo>
                <a:cubicBezTo>
                  <a:pt x="62" y="53"/>
                  <a:pt x="64" y="54"/>
                  <a:pt x="63" y="54"/>
                </a:cubicBezTo>
                <a:cubicBezTo>
                  <a:pt x="62" y="54"/>
                  <a:pt x="62" y="54"/>
                  <a:pt x="62" y="54"/>
                </a:cubicBezTo>
                <a:cubicBezTo>
                  <a:pt x="62" y="54"/>
                  <a:pt x="62" y="54"/>
                  <a:pt x="62" y="54"/>
                </a:cubicBezTo>
                <a:cubicBezTo>
                  <a:pt x="61" y="53"/>
                  <a:pt x="61" y="55"/>
                  <a:pt x="61" y="55"/>
                </a:cubicBezTo>
                <a:cubicBezTo>
                  <a:pt x="60" y="55"/>
                  <a:pt x="60" y="55"/>
                  <a:pt x="60" y="56"/>
                </a:cubicBezTo>
                <a:cubicBezTo>
                  <a:pt x="60" y="56"/>
                  <a:pt x="60" y="56"/>
                  <a:pt x="59" y="56"/>
                </a:cubicBezTo>
                <a:cubicBezTo>
                  <a:pt x="59" y="56"/>
                  <a:pt x="60" y="56"/>
                  <a:pt x="60" y="56"/>
                </a:cubicBezTo>
                <a:cubicBezTo>
                  <a:pt x="60" y="56"/>
                  <a:pt x="59" y="56"/>
                  <a:pt x="59" y="56"/>
                </a:cubicBezTo>
                <a:cubicBezTo>
                  <a:pt x="59" y="56"/>
                  <a:pt x="58" y="55"/>
                  <a:pt x="58" y="56"/>
                </a:cubicBezTo>
                <a:cubicBezTo>
                  <a:pt x="58" y="56"/>
                  <a:pt x="58" y="56"/>
                  <a:pt x="58" y="56"/>
                </a:cubicBezTo>
                <a:cubicBezTo>
                  <a:pt x="58" y="56"/>
                  <a:pt x="58" y="56"/>
                  <a:pt x="58" y="56"/>
                </a:cubicBezTo>
                <a:cubicBezTo>
                  <a:pt x="58" y="56"/>
                  <a:pt x="59" y="56"/>
                  <a:pt x="58" y="56"/>
                </a:cubicBezTo>
                <a:cubicBezTo>
                  <a:pt x="58" y="56"/>
                  <a:pt x="57" y="56"/>
                  <a:pt x="57" y="56"/>
                </a:cubicBezTo>
                <a:cubicBezTo>
                  <a:pt x="57" y="56"/>
                  <a:pt x="57" y="56"/>
                  <a:pt x="58" y="56"/>
                </a:cubicBezTo>
                <a:cubicBezTo>
                  <a:pt x="57" y="56"/>
                  <a:pt x="57" y="56"/>
                  <a:pt x="57" y="56"/>
                </a:cubicBezTo>
                <a:cubicBezTo>
                  <a:pt x="57" y="56"/>
                  <a:pt x="57" y="56"/>
                  <a:pt x="57" y="57"/>
                </a:cubicBezTo>
                <a:cubicBezTo>
                  <a:pt x="57" y="57"/>
                  <a:pt x="56" y="57"/>
                  <a:pt x="56" y="57"/>
                </a:cubicBezTo>
                <a:cubicBezTo>
                  <a:pt x="56" y="57"/>
                  <a:pt x="56" y="57"/>
                  <a:pt x="56" y="57"/>
                </a:cubicBezTo>
                <a:cubicBezTo>
                  <a:pt x="56" y="57"/>
                  <a:pt x="56" y="57"/>
                  <a:pt x="56" y="57"/>
                </a:cubicBezTo>
                <a:cubicBezTo>
                  <a:pt x="56" y="57"/>
                  <a:pt x="56" y="57"/>
                  <a:pt x="56" y="58"/>
                </a:cubicBezTo>
                <a:cubicBezTo>
                  <a:pt x="55" y="58"/>
                  <a:pt x="55" y="58"/>
                  <a:pt x="55" y="58"/>
                </a:cubicBezTo>
                <a:cubicBezTo>
                  <a:pt x="55" y="58"/>
                  <a:pt x="55" y="58"/>
                  <a:pt x="55" y="58"/>
                </a:cubicBezTo>
                <a:cubicBezTo>
                  <a:pt x="55" y="58"/>
                  <a:pt x="55" y="58"/>
                  <a:pt x="54" y="58"/>
                </a:cubicBezTo>
                <a:cubicBezTo>
                  <a:pt x="54" y="58"/>
                  <a:pt x="54" y="58"/>
                  <a:pt x="54" y="58"/>
                </a:cubicBezTo>
                <a:cubicBezTo>
                  <a:pt x="54" y="58"/>
                  <a:pt x="56" y="58"/>
                  <a:pt x="56" y="59"/>
                </a:cubicBezTo>
                <a:cubicBezTo>
                  <a:pt x="56" y="59"/>
                  <a:pt x="55" y="59"/>
                  <a:pt x="55" y="59"/>
                </a:cubicBezTo>
                <a:cubicBezTo>
                  <a:pt x="55" y="59"/>
                  <a:pt x="55" y="59"/>
                  <a:pt x="56" y="59"/>
                </a:cubicBezTo>
                <a:cubicBezTo>
                  <a:pt x="56" y="59"/>
                  <a:pt x="56" y="59"/>
                  <a:pt x="55" y="59"/>
                </a:cubicBezTo>
                <a:cubicBezTo>
                  <a:pt x="56" y="59"/>
                  <a:pt x="55" y="60"/>
                  <a:pt x="55" y="60"/>
                </a:cubicBezTo>
                <a:cubicBezTo>
                  <a:pt x="55" y="60"/>
                  <a:pt x="55" y="60"/>
                  <a:pt x="54" y="60"/>
                </a:cubicBezTo>
                <a:cubicBezTo>
                  <a:pt x="53" y="59"/>
                  <a:pt x="53" y="60"/>
                  <a:pt x="54" y="60"/>
                </a:cubicBezTo>
                <a:cubicBezTo>
                  <a:pt x="54" y="61"/>
                  <a:pt x="52" y="61"/>
                  <a:pt x="52" y="60"/>
                </a:cubicBezTo>
                <a:cubicBezTo>
                  <a:pt x="52" y="60"/>
                  <a:pt x="53" y="60"/>
                  <a:pt x="53" y="60"/>
                </a:cubicBezTo>
                <a:cubicBezTo>
                  <a:pt x="53" y="60"/>
                  <a:pt x="51" y="60"/>
                  <a:pt x="51" y="60"/>
                </a:cubicBezTo>
                <a:cubicBezTo>
                  <a:pt x="51" y="60"/>
                  <a:pt x="51" y="59"/>
                  <a:pt x="51" y="59"/>
                </a:cubicBezTo>
                <a:cubicBezTo>
                  <a:pt x="51" y="59"/>
                  <a:pt x="50" y="59"/>
                  <a:pt x="51" y="59"/>
                </a:cubicBezTo>
                <a:cubicBezTo>
                  <a:pt x="50" y="59"/>
                  <a:pt x="50" y="58"/>
                  <a:pt x="50" y="58"/>
                </a:cubicBezTo>
                <a:cubicBezTo>
                  <a:pt x="50" y="58"/>
                  <a:pt x="50" y="57"/>
                  <a:pt x="50" y="58"/>
                </a:cubicBezTo>
                <a:cubicBezTo>
                  <a:pt x="50" y="58"/>
                  <a:pt x="50" y="59"/>
                  <a:pt x="49" y="58"/>
                </a:cubicBezTo>
                <a:cubicBezTo>
                  <a:pt x="50" y="59"/>
                  <a:pt x="50" y="59"/>
                  <a:pt x="51" y="59"/>
                </a:cubicBezTo>
                <a:cubicBezTo>
                  <a:pt x="51" y="59"/>
                  <a:pt x="51" y="60"/>
                  <a:pt x="51" y="60"/>
                </a:cubicBezTo>
                <a:cubicBezTo>
                  <a:pt x="52" y="61"/>
                  <a:pt x="52" y="61"/>
                  <a:pt x="52" y="61"/>
                </a:cubicBezTo>
                <a:cubicBezTo>
                  <a:pt x="52" y="62"/>
                  <a:pt x="51" y="61"/>
                  <a:pt x="51" y="62"/>
                </a:cubicBezTo>
                <a:cubicBezTo>
                  <a:pt x="52" y="62"/>
                  <a:pt x="51" y="63"/>
                  <a:pt x="51" y="63"/>
                </a:cubicBezTo>
                <a:cubicBezTo>
                  <a:pt x="51" y="63"/>
                  <a:pt x="49" y="63"/>
                  <a:pt x="50" y="64"/>
                </a:cubicBezTo>
                <a:cubicBezTo>
                  <a:pt x="50" y="64"/>
                  <a:pt x="49" y="64"/>
                  <a:pt x="49" y="64"/>
                </a:cubicBezTo>
                <a:cubicBezTo>
                  <a:pt x="48" y="63"/>
                  <a:pt x="48" y="63"/>
                  <a:pt x="48" y="63"/>
                </a:cubicBezTo>
                <a:cubicBezTo>
                  <a:pt x="47" y="63"/>
                  <a:pt x="48" y="64"/>
                  <a:pt x="47" y="64"/>
                </a:cubicBezTo>
                <a:cubicBezTo>
                  <a:pt x="48" y="64"/>
                  <a:pt x="47" y="65"/>
                  <a:pt x="48" y="65"/>
                </a:cubicBezTo>
                <a:cubicBezTo>
                  <a:pt x="48" y="65"/>
                  <a:pt x="49" y="65"/>
                  <a:pt x="48" y="66"/>
                </a:cubicBezTo>
                <a:cubicBezTo>
                  <a:pt x="48" y="66"/>
                  <a:pt x="50" y="66"/>
                  <a:pt x="50" y="66"/>
                </a:cubicBezTo>
                <a:cubicBezTo>
                  <a:pt x="50" y="66"/>
                  <a:pt x="49" y="66"/>
                  <a:pt x="49" y="66"/>
                </a:cubicBezTo>
                <a:cubicBezTo>
                  <a:pt x="49" y="66"/>
                  <a:pt x="49" y="66"/>
                  <a:pt x="49" y="66"/>
                </a:cubicBezTo>
                <a:cubicBezTo>
                  <a:pt x="49" y="66"/>
                  <a:pt x="48" y="66"/>
                  <a:pt x="49" y="66"/>
                </a:cubicBezTo>
                <a:cubicBezTo>
                  <a:pt x="49" y="67"/>
                  <a:pt x="49" y="67"/>
                  <a:pt x="48" y="67"/>
                </a:cubicBezTo>
                <a:cubicBezTo>
                  <a:pt x="48" y="67"/>
                  <a:pt x="48" y="67"/>
                  <a:pt x="48" y="68"/>
                </a:cubicBezTo>
                <a:cubicBezTo>
                  <a:pt x="48" y="68"/>
                  <a:pt x="48" y="68"/>
                  <a:pt x="48" y="68"/>
                </a:cubicBezTo>
                <a:cubicBezTo>
                  <a:pt x="48" y="68"/>
                  <a:pt x="48" y="68"/>
                  <a:pt x="48" y="68"/>
                </a:cubicBezTo>
                <a:cubicBezTo>
                  <a:pt x="48" y="68"/>
                  <a:pt x="47" y="69"/>
                  <a:pt x="48" y="69"/>
                </a:cubicBezTo>
                <a:cubicBezTo>
                  <a:pt x="48" y="70"/>
                  <a:pt x="47" y="70"/>
                  <a:pt x="48" y="70"/>
                </a:cubicBezTo>
                <a:cubicBezTo>
                  <a:pt x="48" y="70"/>
                  <a:pt x="48" y="71"/>
                  <a:pt x="48" y="71"/>
                </a:cubicBezTo>
                <a:cubicBezTo>
                  <a:pt x="48" y="71"/>
                  <a:pt x="49" y="71"/>
                  <a:pt x="49" y="71"/>
                </a:cubicBezTo>
                <a:cubicBezTo>
                  <a:pt x="49" y="72"/>
                  <a:pt x="48" y="72"/>
                  <a:pt x="48" y="72"/>
                </a:cubicBezTo>
                <a:cubicBezTo>
                  <a:pt x="48" y="71"/>
                  <a:pt x="47" y="71"/>
                  <a:pt x="47" y="71"/>
                </a:cubicBezTo>
                <a:cubicBezTo>
                  <a:pt x="47" y="71"/>
                  <a:pt x="46" y="71"/>
                  <a:pt x="46" y="71"/>
                </a:cubicBezTo>
                <a:cubicBezTo>
                  <a:pt x="46" y="71"/>
                  <a:pt x="47" y="71"/>
                  <a:pt x="47" y="72"/>
                </a:cubicBezTo>
                <a:cubicBezTo>
                  <a:pt x="47" y="72"/>
                  <a:pt x="46" y="72"/>
                  <a:pt x="46" y="72"/>
                </a:cubicBezTo>
                <a:cubicBezTo>
                  <a:pt x="46" y="72"/>
                  <a:pt x="47" y="72"/>
                  <a:pt x="47" y="72"/>
                </a:cubicBezTo>
                <a:cubicBezTo>
                  <a:pt x="47" y="72"/>
                  <a:pt x="46" y="72"/>
                  <a:pt x="46" y="72"/>
                </a:cubicBezTo>
                <a:cubicBezTo>
                  <a:pt x="46" y="72"/>
                  <a:pt x="46" y="72"/>
                  <a:pt x="46" y="72"/>
                </a:cubicBezTo>
                <a:cubicBezTo>
                  <a:pt x="46" y="72"/>
                  <a:pt x="46" y="73"/>
                  <a:pt x="47" y="73"/>
                </a:cubicBezTo>
                <a:cubicBezTo>
                  <a:pt x="46" y="73"/>
                  <a:pt x="46" y="73"/>
                  <a:pt x="46" y="73"/>
                </a:cubicBezTo>
                <a:cubicBezTo>
                  <a:pt x="46" y="73"/>
                  <a:pt x="47" y="73"/>
                  <a:pt x="46" y="73"/>
                </a:cubicBezTo>
                <a:cubicBezTo>
                  <a:pt x="47" y="73"/>
                  <a:pt x="46" y="74"/>
                  <a:pt x="47" y="74"/>
                </a:cubicBezTo>
                <a:cubicBezTo>
                  <a:pt x="45" y="74"/>
                  <a:pt x="47" y="75"/>
                  <a:pt x="47" y="75"/>
                </a:cubicBezTo>
                <a:cubicBezTo>
                  <a:pt x="47" y="75"/>
                  <a:pt x="47" y="75"/>
                  <a:pt x="46" y="75"/>
                </a:cubicBezTo>
                <a:cubicBezTo>
                  <a:pt x="47" y="75"/>
                  <a:pt x="47" y="75"/>
                  <a:pt x="47" y="75"/>
                </a:cubicBezTo>
                <a:cubicBezTo>
                  <a:pt x="47" y="75"/>
                  <a:pt x="46" y="75"/>
                  <a:pt x="46" y="75"/>
                </a:cubicBezTo>
                <a:cubicBezTo>
                  <a:pt x="46" y="75"/>
                  <a:pt x="47" y="75"/>
                  <a:pt x="47" y="76"/>
                </a:cubicBezTo>
                <a:cubicBezTo>
                  <a:pt x="47" y="76"/>
                  <a:pt x="47" y="76"/>
                  <a:pt x="47" y="77"/>
                </a:cubicBezTo>
                <a:cubicBezTo>
                  <a:pt x="47" y="77"/>
                  <a:pt x="47" y="77"/>
                  <a:pt x="46" y="77"/>
                </a:cubicBezTo>
                <a:cubicBezTo>
                  <a:pt x="46" y="77"/>
                  <a:pt x="47" y="77"/>
                  <a:pt x="47" y="77"/>
                </a:cubicBezTo>
                <a:cubicBezTo>
                  <a:pt x="47" y="77"/>
                  <a:pt x="46" y="78"/>
                  <a:pt x="47" y="78"/>
                </a:cubicBezTo>
                <a:cubicBezTo>
                  <a:pt x="46" y="78"/>
                  <a:pt x="47" y="79"/>
                  <a:pt x="48" y="79"/>
                </a:cubicBezTo>
                <a:cubicBezTo>
                  <a:pt x="48" y="80"/>
                  <a:pt x="47" y="80"/>
                  <a:pt x="48" y="80"/>
                </a:cubicBezTo>
                <a:cubicBezTo>
                  <a:pt x="48" y="81"/>
                  <a:pt x="47" y="81"/>
                  <a:pt x="47" y="81"/>
                </a:cubicBezTo>
                <a:cubicBezTo>
                  <a:pt x="47" y="81"/>
                  <a:pt x="49" y="82"/>
                  <a:pt x="49" y="82"/>
                </a:cubicBezTo>
                <a:cubicBezTo>
                  <a:pt x="49" y="82"/>
                  <a:pt x="50" y="82"/>
                  <a:pt x="50" y="82"/>
                </a:cubicBezTo>
                <a:cubicBezTo>
                  <a:pt x="51" y="82"/>
                  <a:pt x="50" y="82"/>
                  <a:pt x="50" y="82"/>
                </a:cubicBezTo>
                <a:cubicBezTo>
                  <a:pt x="50" y="82"/>
                  <a:pt x="51" y="83"/>
                  <a:pt x="51" y="83"/>
                </a:cubicBezTo>
                <a:cubicBezTo>
                  <a:pt x="51" y="83"/>
                  <a:pt x="51" y="83"/>
                  <a:pt x="52" y="82"/>
                </a:cubicBezTo>
                <a:cubicBezTo>
                  <a:pt x="52" y="82"/>
                  <a:pt x="52" y="82"/>
                  <a:pt x="53" y="82"/>
                </a:cubicBezTo>
                <a:cubicBezTo>
                  <a:pt x="53" y="82"/>
                  <a:pt x="54" y="83"/>
                  <a:pt x="53" y="83"/>
                </a:cubicBezTo>
                <a:cubicBezTo>
                  <a:pt x="54" y="83"/>
                  <a:pt x="55" y="84"/>
                  <a:pt x="55" y="84"/>
                </a:cubicBezTo>
                <a:cubicBezTo>
                  <a:pt x="55" y="85"/>
                  <a:pt x="55" y="85"/>
                  <a:pt x="55" y="85"/>
                </a:cubicBezTo>
                <a:cubicBezTo>
                  <a:pt x="56" y="85"/>
                  <a:pt x="56" y="85"/>
                  <a:pt x="57" y="85"/>
                </a:cubicBezTo>
                <a:cubicBezTo>
                  <a:pt x="57" y="85"/>
                  <a:pt x="57" y="85"/>
                  <a:pt x="57" y="85"/>
                </a:cubicBezTo>
                <a:cubicBezTo>
                  <a:pt x="57" y="85"/>
                  <a:pt x="57" y="85"/>
                  <a:pt x="57" y="85"/>
                </a:cubicBezTo>
                <a:cubicBezTo>
                  <a:pt x="57" y="85"/>
                  <a:pt x="59" y="86"/>
                  <a:pt x="58" y="86"/>
                </a:cubicBezTo>
                <a:cubicBezTo>
                  <a:pt x="58" y="86"/>
                  <a:pt x="57" y="86"/>
                  <a:pt x="56" y="85"/>
                </a:cubicBezTo>
                <a:cubicBezTo>
                  <a:pt x="57" y="86"/>
                  <a:pt x="57" y="86"/>
                  <a:pt x="57" y="86"/>
                </a:cubicBezTo>
                <a:cubicBezTo>
                  <a:pt x="57" y="86"/>
                  <a:pt x="57" y="86"/>
                  <a:pt x="57" y="86"/>
                </a:cubicBezTo>
                <a:cubicBezTo>
                  <a:pt x="57" y="87"/>
                  <a:pt x="58" y="87"/>
                  <a:pt x="58" y="88"/>
                </a:cubicBezTo>
                <a:cubicBezTo>
                  <a:pt x="58" y="87"/>
                  <a:pt x="58" y="87"/>
                  <a:pt x="58" y="87"/>
                </a:cubicBezTo>
                <a:cubicBezTo>
                  <a:pt x="59" y="87"/>
                  <a:pt x="59" y="87"/>
                  <a:pt x="60" y="87"/>
                </a:cubicBezTo>
                <a:cubicBezTo>
                  <a:pt x="60" y="86"/>
                  <a:pt x="60" y="88"/>
                  <a:pt x="60" y="88"/>
                </a:cubicBezTo>
                <a:cubicBezTo>
                  <a:pt x="60" y="88"/>
                  <a:pt x="61" y="89"/>
                  <a:pt x="61" y="89"/>
                </a:cubicBezTo>
                <a:cubicBezTo>
                  <a:pt x="61" y="89"/>
                  <a:pt x="61" y="89"/>
                  <a:pt x="62" y="89"/>
                </a:cubicBezTo>
                <a:cubicBezTo>
                  <a:pt x="61" y="89"/>
                  <a:pt x="63" y="90"/>
                  <a:pt x="62" y="90"/>
                </a:cubicBezTo>
                <a:cubicBezTo>
                  <a:pt x="61" y="90"/>
                  <a:pt x="61" y="89"/>
                  <a:pt x="60" y="89"/>
                </a:cubicBezTo>
                <a:cubicBezTo>
                  <a:pt x="61" y="89"/>
                  <a:pt x="62" y="90"/>
                  <a:pt x="61" y="90"/>
                </a:cubicBezTo>
                <a:cubicBezTo>
                  <a:pt x="62" y="91"/>
                  <a:pt x="63" y="91"/>
                  <a:pt x="62" y="91"/>
                </a:cubicBezTo>
                <a:cubicBezTo>
                  <a:pt x="61" y="91"/>
                  <a:pt x="61" y="91"/>
                  <a:pt x="61" y="91"/>
                </a:cubicBezTo>
                <a:cubicBezTo>
                  <a:pt x="61" y="91"/>
                  <a:pt x="60" y="91"/>
                  <a:pt x="59" y="91"/>
                </a:cubicBezTo>
                <a:cubicBezTo>
                  <a:pt x="60" y="92"/>
                  <a:pt x="59" y="92"/>
                  <a:pt x="59" y="92"/>
                </a:cubicBezTo>
                <a:cubicBezTo>
                  <a:pt x="59" y="92"/>
                  <a:pt x="60" y="92"/>
                  <a:pt x="60" y="92"/>
                </a:cubicBezTo>
                <a:cubicBezTo>
                  <a:pt x="59" y="92"/>
                  <a:pt x="60" y="92"/>
                  <a:pt x="59" y="92"/>
                </a:cubicBezTo>
                <a:cubicBezTo>
                  <a:pt x="59" y="93"/>
                  <a:pt x="57" y="94"/>
                  <a:pt x="56" y="94"/>
                </a:cubicBezTo>
                <a:cubicBezTo>
                  <a:pt x="56" y="94"/>
                  <a:pt x="56" y="94"/>
                  <a:pt x="56" y="94"/>
                </a:cubicBezTo>
                <a:cubicBezTo>
                  <a:pt x="56" y="94"/>
                  <a:pt x="57" y="94"/>
                  <a:pt x="57" y="94"/>
                </a:cubicBezTo>
                <a:cubicBezTo>
                  <a:pt x="57" y="94"/>
                  <a:pt x="56" y="94"/>
                  <a:pt x="56" y="94"/>
                </a:cubicBezTo>
                <a:cubicBezTo>
                  <a:pt x="55" y="94"/>
                  <a:pt x="55" y="94"/>
                  <a:pt x="56" y="94"/>
                </a:cubicBezTo>
                <a:cubicBezTo>
                  <a:pt x="55" y="93"/>
                  <a:pt x="55" y="94"/>
                  <a:pt x="55" y="94"/>
                </a:cubicBezTo>
                <a:cubicBezTo>
                  <a:pt x="55" y="95"/>
                  <a:pt x="55" y="95"/>
                  <a:pt x="55" y="95"/>
                </a:cubicBezTo>
                <a:cubicBezTo>
                  <a:pt x="55" y="95"/>
                  <a:pt x="56" y="95"/>
                  <a:pt x="56" y="95"/>
                </a:cubicBezTo>
                <a:cubicBezTo>
                  <a:pt x="57" y="95"/>
                  <a:pt x="58" y="95"/>
                  <a:pt x="58" y="95"/>
                </a:cubicBezTo>
                <a:cubicBezTo>
                  <a:pt x="58" y="95"/>
                  <a:pt x="57" y="94"/>
                  <a:pt x="57" y="94"/>
                </a:cubicBezTo>
                <a:cubicBezTo>
                  <a:pt x="58" y="94"/>
                  <a:pt x="59" y="94"/>
                  <a:pt x="59" y="95"/>
                </a:cubicBezTo>
                <a:cubicBezTo>
                  <a:pt x="59" y="95"/>
                  <a:pt x="59" y="95"/>
                  <a:pt x="58" y="95"/>
                </a:cubicBezTo>
                <a:cubicBezTo>
                  <a:pt x="59" y="95"/>
                  <a:pt x="59" y="95"/>
                  <a:pt x="59" y="95"/>
                </a:cubicBezTo>
                <a:cubicBezTo>
                  <a:pt x="60" y="96"/>
                  <a:pt x="57" y="95"/>
                  <a:pt x="57" y="95"/>
                </a:cubicBezTo>
                <a:cubicBezTo>
                  <a:pt x="57" y="95"/>
                  <a:pt x="59" y="96"/>
                  <a:pt x="59" y="96"/>
                </a:cubicBezTo>
                <a:cubicBezTo>
                  <a:pt x="58" y="96"/>
                  <a:pt x="58" y="96"/>
                  <a:pt x="57" y="96"/>
                </a:cubicBezTo>
                <a:cubicBezTo>
                  <a:pt x="57" y="96"/>
                  <a:pt x="57" y="96"/>
                  <a:pt x="57" y="95"/>
                </a:cubicBezTo>
                <a:cubicBezTo>
                  <a:pt x="57" y="95"/>
                  <a:pt x="57" y="95"/>
                  <a:pt x="57" y="95"/>
                </a:cubicBezTo>
                <a:cubicBezTo>
                  <a:pt x="56" y="95"/>
                  <a:pt x="56" y="95"/>
                  <a:pt x="57" y="96"/>
                </a:cubicBezTo>
                <a:cubicBezTo>
                  <a:pt x="56" y="96"/>
                  <a:pt x="56" y="96"/>
                  <a:pt x="56" y="96"/>
                </a:cubicBezTo>
                <a:cubicBezTo>
                  <a:pt x="57" y="96"/>
                  <a:pt x="57" y="96"/>
                  <a:pt x="57" y="96"/>
                </a:cubicBezTo>
                <a:cubicBezTo>
                  <a:pt x="57" y="96"/>
                  <a:pt x="57" y="96"/>
                  <a:pt x="57" y="96"/>
                </a:cubicBezTo>
                <a:cubicBezTo>
                  <a:pt x="57" y="97"/>
                  <a:pt x="57" y="96"/>
                  <a:pt x="58" y="97"/>
                </a:cubicBezTo>
                <a:cubicBezTo>
                  <a:pt x="57" y="97"/>
                  <a:pt x="57" y="97"/>
                  <a:pt x="56" y="97"/>
                </a:cubicBezTo>
                <a:cubicBezTo>
                  <a:pt x="57" y="97"/>
                  <a:pt x="57" y="97"/>
                  <a:pt x="57" y="97"/>
                </a:cubicBezTo>
                <a:cubicBezTo>
                  <a:pt x="57" y="98"/>
                  <a:pt x="56" y="98"/>
                  <a:pt x="56" y="98"/>
                </a:cubicBezTo>
                <a:cubicBezTo>
                  <a:pt x="56" y="98"/>
                  <a:pt x="56" y="97"/>
                  <a:pt x="56" y="97"/>
                </a:cubicBezTo>
                <a:cubicBezTo>
                  <a:pt x="56" y="97"/>
                  <a:pt x="55" y="98"/>
                  <a:pt x="54" y="98"/>
                </a:cubicBezTo>
                <a:cubicBezTo>
                  <a:pt x="54" y="98"/>
                  <a:pt x="54" y="98"/>
                  <a:pt x="54" y="99"/>
                </a:cubicBezTo>
                <a:cubicBezTo>
                  <a:pt x="54" y="99"/>
                  <a:pt x="54" y="98"/>
                  <a:pt x="55" y="98"/>
                </a:cubicBezTo>
                <a:cubicBezTo>
                  <a:pt x="54" y="99"/>
                  <a:pt x="54" y="99"/>
                  <a:pt x="54" y="99"/>
                </a:cubicBezTo>
                <a:cubicBezTo>
                  <a:pt x="54" y="99"/>
                  <a:pt x="54" y="100"/>
                  <a:pt x="54" y="99"/>
                </a:cubicBezTo>
                <a:cubicBezTo>
                  <a:pt x="54" y="99"/>
                  <a:pt x="53" y="100"/>
                  <a:pt x="54" y="100"/>
                </a:cubicBezTo>
                <a:cubicBezTo>
                  <a:pt x="53" y="100"/>
                  <a:pt x="53" y="99"/>
                  <a:pt x="53" y="99"/>
                </a:cubicBezTo>
                <a:cubicBezTo>
                  <a:pt x="53" y="99"/>
                  <a:pt x="53" y="99"/>
                  <a:pt x="53" y="99"/>
                </a:cubicBezTo>
                <a:cubicBezTo>
                  <a:pt x="53" y="100"/>
                  <a:pt x="53" y="100"/>
                  <a:pt x="53" y="100"/>
                </a:cubicBezTo>
                <a:cubicBezTo>
                  <a:pt x="53" y="100"/>
                  <a:pt x="53" y="101"/>
                  <a:pt x="53" y="100"/>
                </a:cubicBezTo>
                <a:cubicBezTo>
                  <a:pt x="53" y="100"/>
                  <a:pt x="53" y="99"/>
                  <a:pt x="52" y="99"/>
                </a:cubicBezTo>
                <a:cubicBezTo>
                  <a:pt x="53" y="99"/>
                  <a:pt x="53" y="99"/>
                  <a:pt x="53" y="100"/>
                </a:cubicBezTo>
                <a:cubicBezTo>
                  <a:pt x="52" y="99"/>
                  <a:pt x="52" y="99"/>
                  <a:pt x="52" y="98"/>
                </a:cubicBezTo>
                <a:cubicBezTo>
                  <a:pt x="52" y="98"/>
                  <a:pt x="53" y="97"/>
                  <a:pt x="52" y="97"/>
                </a:cubicBezTo>
                <a:cubicBezTo>
                  <a:pt x="52" y="97"/>
                  <a:pt x="52" y="98"/>
                  <a:pt x="52" y="98"/>
                </a:cubicBezTo>
                <a:cubicBezTo>
                  <a:pt x="52" y="98"/>
                  <a:pt x="52" y="97"/>
                  <a:pt x="52" y="97"/>
                </a:cubicBezTo>
                <a:cubicBezTo>
                  <a:pt x="52" y="97"/>
                  <a:pt x="52" y="97"/>
                  <a:pt x="52" y="97"/>
                </a:cubicBezTo>
                <a:cubicBezTo>
                  <a:pt x="51" y="98"/>
                  <a:pt x="51" y="98"/>
                  <a:pt x="51" y="98"/>
                </a:cubicBezTo>
                <a:cubicBezTo>
                  <a:pt x="52" y="98"/>
                  <a:pt x="51" y="97"/>
                  <a:pt x="52" y="98"/>
                </a:cubicBezTo>
                <a:cubicBezTo>
                  <a:pt x="52" y="98"/>
                  <a:pt x="52" y="99"/>
                  <a:pt x="52" y="99"/>
                </a:cubicBezTo>
                <a:cubicBezTo>
                  <a:pt x="52" y="99"/>
                  <a:pt x="52" y="99"/>
                  <a:pt x="51" y="99"/>
                </a:cubicBezTo>
                <a:cubicBezTo>
                  <a:pt x="51" y="99"/>
                  <a:pt x="51" y="99"/>
                  <a:pt x="51" y="99"/>
                </a:cubicBezTo>
                <a:cubicBezTo>
                  <a:pt x="51" y="99"/>
                  <a:pt x="51" y="99"/>
                  <a:pt x="51" y="99"/>
                </a:cubicBezTo>
                <a:cubicBezTo>
                  <a:pt x="52" y="99"/>
                  <a:pt x="51" y="100"/>
                  <a:pt x="51" y="99"/>
                </a:cubicBezTo>
                <a:cubicBezTo>
                  <a:pt x="52" y="100"/>
                  <a:pt x="50" y="100"/>
                  <a:pt x="50" y="100"/>
                </a:cubicBezTo>
                <a:cubicBezTo>
                  <a:pt x="50" y="100"/>
                  <a:pt x="51" y="100"/>
                  <a:pt x="51" y="100"/>
                </a:cubicBezTo>
                <a:cubicBezTo>
                  <a:pt x="50" y="100"/>
                  <a:pt x="50" y="100"/>
                  <a:pt x="51" y="101"/>
                </a:cubicBezTo>
                <a:cubicBezTo>
                  <a:pt x="50" y="101"/>
                  <a:pt x="50" y="100"/>
                  <a:pt x="49" y="100"/>
                </a:cubicBezTo>
                <a:cubicBezTo>
                  <a:pt x="49" y="101"/>
                  <a:pt x="50" y="101"/>
                  <a:pt x="50" y="101"/>
                </a:cubicBezTo>
                <a:cubicBezTo>
                  <a:pt x="50" y="101"/>
                  <a:pt x="49" y="101"/>
                  <a:pt x="49" y="101"/>
                </a:cubicBezTo>
                <a:cubicBezTo>
                  <a:pt x="49" y="101"/>
                  <a:pt x="48" y="101"/>
                  <a:pt x="48" y="101"/>
                </a:cubicBezTo>
                <a:cubicBezTo>
                  <a:pt x="47" y="101"/>
                  <a:pt x="48" y="101"/>
                  <a:pt x="47" y="101"/>
                </a:cubicBezTo>
                <a:cubicBezTo>
                  <a:pt x="47" y="101"/>
                  <a:pt x="47" y="101"/>
                  <a:pt x="47" y="101"/>
                </a:cubicBezTo>
                <a:cubicBezTo>
                  <a:pt x="47" y="101"/>
                  <a:pt x="47" y="101"/>
                  <a:pt x="47" y="101"/>
                </a:cubicBezTo>
                <a:cubicBezTo>
                  <a:pt x="47" y="101"/>
                  <a:pt x="47" y="101"/>
                  <a:pt x="47" y="101"/>
                </a:cubicBezTo>
                <a:cubicBezTo>
                  <a:pt x="47" y="101"/>
                  <a:pt x="48" y="101"/>
                  <a:pt x="48" y="101"/>
                </a:cubicBezTo>
                <a:cubicBezTo>
                  <a:pt x="48" y="102"/>
                  <a:pt x="47" y="102"/>
                  <a:pt x="46" y="102"/>
                </a:cubicBezTo>
                <a:cubicBezTo>
                  <a:pt x="48" y="102"/>
                  <a:pt x="45" y="102"/>
                  <a:pt x="45" y="102"/>
                </a:cubicBezTo>
                <a:cubicBezTo>
                  <a:pt x="43" y="102"/>
                  <a:pt x="42" y="102"/>
                  <a:pt x="41" y="102"/>
                </a:cubicBezTo>
                <a:cubicBezTo>
                  <a:pt x="41" y="102"/>
                  <a:pt x="41" y="102"/>
                  <a:pt x="41" y="102"/>
                </a:cubicBezTo>
                <a:cubicBezTo>
                  <a:pt x="41" y="102"/>
                  <a:pt x="41" y="102"/>
                  <a:pt x="41" y="102"/>
                </a:cubicBezTo>
                <a:cubicBezTo>
                  <a:pt x="42" y="102"/>
                  <a:pt x="42" y="103"/>
                  <a:pt x="42" y="102"/>
                </a:cubicBezTo>
                <a:cubicBezTo>
                  <a:pt x="42" y="102"/>
                  <a:pt x="42" y="102"/>
                  <a:pt x="42" y="102"/>
                </a:cubicBezTo>
                <a:cubicBezTo>
                  <a:pt x="43" y="102"/>
                  <a:pt x="43" y="102"/>
                  <a:pt x="43" y="102"/>
                </a:cubicBezTo>
                <a:cubicBezTo>
                  <a:pt x="43" y="102"/>
                  <a:pt x="45" y="103"/>
                  <a:pt x="45" y="103"/>
                </a:cubicBezTo>
                <a:cubicBezTo>
                  <a:pt x="45" y="103"/>
                  <a:pt x="46" y="103"/>
                  <a:pt x="46" y="104"/>
                </a:cubicBezTo>
                <a:cubicBezTo>
                  <a:pt x="46" y="104"/>
                  <a:pt x="46" y="104"/>
                  <a:pt x="46" y="104"/>
                </a:cubicBezTo>
                <a:cubicBezTo>
                  <a:pt x="46" y="104"/>
                  <a:pt x="46" y="104"/>
                  <a:pt x="46" y="104"/>
                </a:cubicBezTo>
                <a:cubicBezTo>
                  <a:pt x="45" y="104"/>
                  <a:pt x="45" y="104"/>
                  <a:pt x="44" y="104"/>
                </a:cubicBezTo>
                <a:cubicBezTo>
                  <a:pt x="44" y="104"/>
                  <a:pt x="43" y="104"/>
                  <a:pt x="42" y="104"/>
                </a:cubicBezTo>
                <a:cubicBezTo>
                  <a:pt x="43" y="104"/>
                  <a:pt x="43" y="104"/>
                  <a:pt x="44" y="104"/>
                </a:cubicBezTo>
                <a:cubicBezTo>
                  <a:pt x="44" y="104"/>
                  <a:pt x="44" y="104"/>
                  <a:pt x="45" y="104"/>
                </a:cubicBezTo>
                <a:cubicBezTo>
                  <a:pt x="45" y="104"/>
                  <a:pt x="45" y="105"/>
                  <a:pt x="45" y="105"/>
                </a:cubicBezTo>
                <a:cubicBezTo>
                  <a:pt x="45" y="105"/>
                  <a:pt x="45" y="105"/>
                  <a:pt x="45" y="105"/>
                </a:cubicBezTo>
                <a:cubicBezTo>
                  <a:pt x="45" y="105"/>
                  <a:pt x="44" y="105"/>
                  <a:pt x="44" y="105"/>
                </a:cubicBezTo>
                <a:cubicBezTo>
                  <a:pt x="44" y="105"/>
                  <a:pt x="45" y="105"/>
                  <a:pt x="45" y="105"/>
                </a:cubicBezTo>
                <a:cubicBezTo>
                  <a:pt x="45" y="106"/>
                  <a:pt x="45" y="106"/>
                  <a:pt x="44" y="106"/>
                </a:cubicBezTo>
                <a:cubicBezTo>
                  <a:pt x="45" y="106"/>
                  <a:pt x="46" y="106"/>
                  <a:pt x="46" y="107"/>
                </a:cubicBezTo>
                <a:cubicBezTo>
                  <a:pt x="46" y="107"/>
                  <a:pt x="45" y="107"/>
                  <a:pt x="45" y="107"/>
                </a:cubicBezTo>
                <a:cubicBezTo>
                  <a:pt x="45" y="107"/>
                  <a:pt x="46" y="107"/>
                  <a:pt x="46" y="107"/>
                </a:cubicBezTo>
                <a:cubicBezTo>
                  <a:pt x="45" y="107"/>
                  <a:pt x="45" y="107"/>
                  <a:pt x="45" y="107"/>
                </a:cubicBezTo>
                <a:cubicBezTo>
                  <a:pt x="45" y="107"/>
                  <a:pt x="45" y="108"/>
                  <a:pt x="45" y="108"/>
                </a:cubicBezTo>
                <a:cubicBezTo>
                  <a:pt x="45" y="108"/>
                  <a:pt x="45" y="108"/>
                  <a:pt x="45" y="108"/>
                </a:cubicBezTo>
                <a:cubicBezTo>
                  <a:pt x="45" y="108"/>
                  <a:pt x="44" y="109"/>
                  <a:pt x="44" y="108"/>
                </a:cubicBezTo>
                <a:cubicBezTo>
                  <a:pt x="44" y="108"/>
                  <a:pt x="44" y="108"/>
                  <a:pt x="44" y="109"/>
                </a:cubicBezTo>
                <a:cubicBezTo>
                  <a:pt x="44" y="109"/>
                  <a:pt x="44" y="109"/>
                  <a:pt x="44" y="109"/>
                </a:cubicBezTo>
                <a:cubicBezTo>
                  <a:pt x="44" y="109"/>
                  <a:pt x="45" y="109"/>
                  <a:pt x="45" y="109"/>
                </a:cubicBezTo>
                <a:cubicBezTo>
                  <a:pt x="45" y="109"/>
                  <a:pt x="45" y="109"/>
                  <a:pt x="45" y="109"/>
                </a:cubicBezTo>
                <a:cubicBezTo>
                  <a:pt x="45" y="109"/>
                  <a:pt x="45" y="109"/>
                  <a:pt x="45" y="109"/>
                </a:cubicBezTo>
                <a:cubicBezTo>
                  <a:pt x="45" y="109"/>
                  <a:pt x="45" y="110"/>
                  <a:pt x="45" y="110"/>
                </a:cubicBezTo>
                <a:cubicBezTo>
                  <a:pt x="45" y="110"/>
                  <a:pt x="44" y="109"/>
                  <a:pt x="44" y="109"/>
                </a:cubicBezTo>
                <a:cubicBezTo>
                  <a:pt x="44" y="110"/>
                  <a:pt x="43" y="109"/>
                  <a:pt x="43" y="109"/>
                </a:cubicBezTo>
                <a:cubicBezTo>
                  <a:pt x="43" y="110"/>
                  <a:pt x="43" y="109"/>
                  <a:pt x="43" y="110"/>
                </a:cubicBezTo>
                <a:cubicBezTo>
                  <a:pt x="43" y="110"/>
                  <a:pt x="45" y="111"/>
                  <a:pt x="45" y="111"/>
                </a:cubicBezTo>
                <a:cubicBezTo>
                  <a:pt x="45" y="111"/>
                  <a:pt x="44" y="111"/>
                  <a:pt x="44" y="111"/>
                </a:cubicBezTo>
                <a:cubicBezTo>
                  <a:pt x="44" y="111"/>
                  <a:pt x="45" y="111"/>
                  <a:pt x="45" y="112"/>
                </a:cubicBezTo>
                <a:cubicBezTo>
                  <a:pt x="44" y="112"/>
                  <a:pt x="44" y="112"/>
                  <a:pt x="44" y="111"/>
                </a:cubicBezTo>
                <a:cubicBezTo>
                  <a:pt x="44" y="111"/>
                  <a:pt x="45" y="112"/>
                  <a:pt x="44" y="112"/>
                </a:cubicBezTo>
                <a:cubicBezTo>
                  <a:pt x="44" y="112"/>
                  <a:pt x="44" y="112"/>
                  <a:pt x="44" y="112"/>
                </a:cubicBezTo>
                <a:cubicBezTo>
                  <a:pt x="44" y="113"/>
                  <a:pt x="44" y="112"/>
                  <a:pt x="43" y="112"/>
                </a:cubicBezTo>
                <a:cubicBezTo>
                  <a:pt x="43" y="113"/>
                  <a:pt x="44" y="113"/>
                  <a:pt x="45" y="113"/>
                </a:cubicBezTo>
                <a:cubicBezTo>
                  <a:pt x="44" y="113"/>
                  <a:pt x="45" y="113"/>
                  <a:pt x="45" y="114"/>
                </a:cubicBezTo>
                <a:cubicBezTo>
                  <a:pt x="45" y="114"/>
                  <a:pt x="44" y="114"/>
                  <a:pt x="45" y="114"/>
                </a:cubicBezTo>
                <a:cubicBezTo>
                  <a:pt x="45" y="114"/>
                  <a:pt x="44" y="114"/>
                  <a:pt x="44" y="114"/>
                </a:cubicBezTo>
                <a:cubicBezTo>
                  <a:pt x="44" y="114"/>
                  <a:pt x="44" y="114"/>
                  <a:pt x="45" y="114"/>
                </a:cubicBezTo>
                <a:cubicBezTo>
                  <a:pt x="45" y="114"/>
                  <a:pt x="44" y="115"/>
                  <a:pt x="44" y="115"/>
                </a:cubicBezTo>
                <a:cubicBezTo>
                  <a:pt x="44" y="116"/>
                  <a:pt x="43" y="116"/>
                  <a:pt x="43" y="116"/>
                </a:cubicBezTo>
                <a:cubicBezTo>
                  <a:pt x="43" y="116"/>
                  <a:pt x="43" y="116"/>
                  <a:pt x="43" y="116"/>
                </a:cubicBezTo>
                <a:cubicBezTo>
                  <a:pt x="43" y="116"/>
                  <a:pt x="44" y="118"/>
                  <a:pt x="44" y="118"/>
                </a:cubicBezTo>
                <a:cubicBezTo>
                  <a:pt x="44" y="118"/>
                  <a:pt x="44" y="118"/>
                  <a:pt x="44" y="118"/>
                </a:cubicBezTo>
                <a:cubicBezTo>
                  <a:pt x="44" y="118"/>
                  <a:pt x="44" y="118"/>
                  <a:pt x="44" y="118"/>
                </a:cubicBezTo>
                <a:cubicBezTo>
                  <a:pt x="44" y="118"/>
                  <a:pt x="44" y="118"/>
                  <a:pt x="44" y="118"/>
                </a:cubicBezTo>
                <a:cubicBezTo>
                  <a:pt x="43" y="118"/>
                  <a:pt x="43" y="119"/>
                  <a:pt x="43" y="118"/>
                </a:cubicBezTo>
                <a:cubicBezTo>
                  <a:pt x="44" y="119"/>
                  <a:pt x="43" y="118"/>
                  <a:pt x="43" y="119"/>
                </a:cubicBezTo>
                <a:cubicBezTo>
                  <a:pt x="43" y="119"/>
                  <a:pt x="43" y="119"/>
                  <a:pt x="43" y="119"/>
                </a:cubicBezTo>
                <a:cubicBezTo>
                  <a:pt x="43" y="119"/>
                  <a:pt x="43" y="120"/>
                  <a:pt x="43" y="120"/>
                </a:cubicBezTo>
                <a:cubicBezTo>
                  <a:pt x="43" y="120"/>
                  <a:pt x="43" y="121"/>
                  <a:pt x="43" y="121"/>
                </a:cubicBezTo>
                <a:cubicBezTo>
                  <a:pt x="43" y="121"/>
                  <a:pt x="43" y="121"/>
                  <a:pt x="43" y="121"/>
                </a:cubicBezTo>
                <a:cubicBezTo>
                  <a:pt x="43" y="121"/>
                  <a:pt x="43" y="121"/>
                  <a:pt x="42" y="121"/>
                </a:cubicBezTo>
                <a:cubicBezTo>
                  <a:pt x="43" y="122"/>
                  <a:pt x="43" y="122"/>
                  <a:pt x="42" y="122"/>
                </a:cubicBezTo>
                <a:cubicBezTo>
                  <a:pt x="42" y="122"/>
                  <a:pt x="42" y="123"/>
                  <a:pt x="42" y="123"/>
                </a:cubicBezTo>
                <a:cubicBezTo>
                  <a:pt x="41" y="124"/>
                  <a:pt x="41" y="124"/>
                  <a:pt x="41" y="125"/>
                </a:cubicBezTo>
                <a:cubicBezTo>
                  <a:pt x="40" y="126"/>
                  <a:pt x="40" y="126"/>
                  <a:pt x="39" y="127"/>
                </a:cubicBezTo>
                <a:cubicBezTo>
                  <a:pt x="39" y="127"/>
                  <a:pt x="39" y="128"/>
                  <a:pt x="39" y="128"/>
                </a:cubicBezTo>
                <a:cubicBezTo>
                  <a:pt x="38" y="128"/>
                  <a:pt x="38" y="127"/>
                  <a:pt x="38" y="127"/>
                </a:cubicBezTo>
                <a:cubicBezTo>
                  <a:pt x="38" y="127"/>
                  <a:pt x="38" y="127"/>
                  <a:pt x="37" y="127"/>
                </a:cubicBezTo>
                <a:cubicBezTo>
                  <a:pt x="37" y="127"/>
                  <a:pt x="36" y="127"/>
                  <a:pt x="36" y="127"/>
                </a:cubicBezTo>
                <a:cubicBezTo>
                  <a:pt x="36" y="127"/>
                  <a:pt x="37" y="127"/>
                  <a:pt x="37" y="127"/>
                </a:cubicBezTo>
                <a:cubicBezTo>
                  <a:pt x="36" y="127"/>
                  <a:pt x="36" y="127"/>
                  <a:pt x="36" y="127"/>
                </a:cubicBezTo>
                <a:cubicBezTo>
                  <a:pt x="35" y="127"/>
                  <a:pt x="35" y="128"/>
                  <a:pt x="34" y="127"/>
                </a:cubicBezTo>
                <a:cubicBezTo>
                  <a:pt x="34" y="127"/>
                  <a:pt x="34" y="127"/>
                  <a:pt x="34" y="127"/>
                </a:cubicBezTo>
                <a:cubicBezTo>
                  <a:pt x="34" y="127"/>
                  <a:pt x="34" y="127"/>
                  <a:pt x="33" y="127"/>
                </a:cubicBezTo>
                <a:cubicBezTo>
                  <a:pt x="33" y="127"/>
                  <a:pt x="33" y="127"/>
                  <a:pt x="32" y="127"/>
                </a:cubicBezTo>
                <a:cubicBezTo>
                  <a:pt x="32" y="127"/>
                  <a:pt x="32" y="127"/>
                  <a:pt x="32" y="127"/>
                </a:cubicBezTo>
                <a:cubicBezTo>
                  <a:pt x="32" y="127"/>
                  <a:pt x="32" y="127"/>
                  <a:pt x="32" y="127"/>
                </a:cubicBezTo>
                <a:cubicBezTo>
                  <a:pt x="32" y="127"/>
                  <a:pt x="29" y="127"/>
                  <a:pt x="30" y="128"/>
                </a:cubicBezTo>
                <a:cubicBezTo>
                  <a:pt x="31" y="129"/>
                  <a:pt x="29" y="129"/>
                  <a:pt x="29" y="128"/>
                </a:cubicBezTo>
                <a:cubicBezTo>
                  <a:pt x="28" y="129"/>
                  <a:pt x="28" y="128"/>
                  <a:pt x="28" y="129"/>
                </a:cubicBezTo>
                <a:cubicBezTo>
                  <a:pt x="27" y="129"/>
                  <a:pt x="27" y="129"/>
                  <a:pt x="27" y="129"/>
                </a:cubicBezTo>
                <a:cubicBezTo>
                  <a:pt x="26" y="130"/>
                  <a:pt x="26" y="130"/>
                  <a:pt x="26" y="131"/>
                </a:cubicBezTo>
                <a:cubicBezTo>
                  <a:pt x="25" y="132"/>
                  <a:pt x="26" y="132"/>
                  <a:pt x="26" y="133"/>
                </a:cubicBezTo>
                <a:cubicBezTo>
                  <a:pt x="27" y="134"/>
                  <a:pt x="27" y="134"/>
                  <a:pt x="26" y="135"/>
                </a:cubicBezTo>
                <a:cubicBezTo>
                  <a:pt x="25" y="136"/>
                  <a:pt x="24" y="135"/>
                  <a:pt x="24" y="135"/>
                </a:cubicBezTo>
                <a:cubicBezTo>
                  <a:pt x="23" y="135"/>
                  <a:pt x="22" y="135"/>
                  <a:pt x="21" y="135"/>
                </a:cubicBezTo>
                <a:cubicBezTo>
                  <a:pt x="19" y="136"/>
                  <a:pt x="19" y="136"/>
                  <a:pt x="17" y="136"/>
                </a:cubicBezTo>
                <a:cubicBezTo>
                  <a:pt x="17" y="135"/>
                  <a:pt x="15" y="135"/>
                  <a:pt x="15" y="135"/>
                </a:cubicBezTo>
                <a:cubicBezTo>
                  <a:pt x="15" y="135"/>
                  <a:pt x="15" y="135"/>
                  <a:pt x="15" y="135"/>
                </a:cubicBezTo>
                <a:cubicBezTo>
                  <a:pt x="15" y="135"/>
                  <a:pt x="16" y="135"/>
                  <a:pt x="16" y="135"/>
                </a:cubicBezTo>
                <a:cubicBezTo>
                  <a:pt x="16" y="134"/>
                  <a:pt x="15" y="134"/>
                  <a:pt x="15" y="134"/>
                </a:cubicBezTo>
                <a:cubicBezTo>
                  <a:pt x="15" y="133"/>
                  <a:pt x="16" y="133"/>
                  <a:pt x="16" y="133"/>
                </a:cubicBezTo>
                <a:cubicBezTo>
                  <a:pt x="17" y="132"/>
                  <a:pt x="15" y="132"/>
                  <a:pt x="15" y="131"/>
                </a:cubicBezTo>
                <a:cubicBezTo>
                  <a:pt x="15" y="132"/>
                  <a:pt x="15" y="131"/>
                  <a:pt x="15" y="131"/>
                </a:cubicBezTo>
                <a:cubicBezTo>
                  <a:pt x="15" y="131"/>
                  <a:pt x="15" y="131"/>
                  <a:pt x="15" y="130"/>
                </a:cubicBezTo>
                <a:cubicBezTo>
                  <a:pt x="14" y="130"/>
                  <a:pt x="14" y="130"/>
                  <a:pt x="14" y="130"/>
                </a:cubicBezTo>
                <a:cubicBezTo>
                  <a:pt x="14" y="129"/>
                  <a:pt x="13" y="128"/>
                  <a:pt x="13" y="128"/>
                </a:cubicBezTo>
                <a:cubicBezTo>
                  <a:pt x="12" y="127"/>
                  <a:pt x="12" y="126"/>
                  <a:pt x="11" y="126"/>
                </a:cubicBezTo>
                <a:cubicBezTo>
                  <a:pt x="12" y="126"/>
                  <a:pt x="13" y="127"/>
                  <a:pt x="14" y="127"/>
                </a:cubicBezTo>
                <a:cubicBezTo>
                  <a:pt x="15" y="127"/>
                  <a:pt x="14" y="126"/>
                  <a:pt x="14" y="125"/>
                </a:cubicBezTo>
                <a:cubicBezTo>
                  <a:pt x="14" y="125"/>
                  <a:pt x="12" y="124"/>
                  <a:pt x="13" y="124"/>
                </a:cubicBezTo>
                <a:cubicBezTo>
                  <a:pt x="14" y="124"/>
                  <a:pt x="14" y="124"/>
                  <a:pt x="14" y="124"/>
                </a:cubicBezTo>
                <a:cubicBezTo>
                  <a:pt x="15" y="125"/>
                  <a:pt x="15" y="124"/>
                  <a:pt x="15" y="123"/>
                </a:cubicBezTo>
                <a:cubicBezTo>
                  <a:pt x="15" y="123"/>
                  <a:pt x="15" y="122"/>
                  <a:pt x="15" y="122"/>
                </a:cubicBezTo>
                <a:cubicBezTo>
                  <a:pt x="14" y="122"/>
                  <a:pt x="14" y="122"/>
                  <a:pt x="14" y="122"/>
                </a:cubicBezTo>
                <a:cubicBezTo>
                  <a:pt x="13" y="122"/>
                  <a:pt x="13" y="121"/>
                  <a:pt x="13" y="121"/>
                </a:cubicBezTo>
                <a:cubicBezTo>
                  <a:pt x="12" y="120"/>
                  <a:pt x="12" y="120"/>
                  <a:pt x="11" y="120"/>
                </a:cubicBezTo>
                <a:cubicBezTo>
                  <a:pt x="11" y="120"/>
                  <a:pt x="11" y="120"/>
                  <a:pt x="10" y="119"/>
                </a:cubicBezTo>
                <a:cubicBezTo>
                  <a:pt x="10" y="119"/>
                  <a:pt x="11" y="119"/>
                  <a:pt x="10" y="118"/>
                </a:cubicBezTo>
                <a:cubicBezTo>
                  <a:pt x="10" y="118"/>
                  <a:pt x="10" y="117"/>
                  <a:pt x="9" y="117"/>
                </a:cubicBezTo>
                <a:cubicBezTo>
                  <a:pt x="9" y="117"/>
                  <a:pt x="9" y="117"/>
                  <a:pt x="9" y="117"/>
                </a:cubicBezTo>
                <a:cubicBezTo>
                  <a:pt x="9" y="117"/>
                  <a:pt x="9" y="117"/>
                  <a:pt x="9" y="117"/>
                </a:cubicBezTo>
                <a:cubicBezTo>
                  <a:pt x="9" y="117"/>
                  <a:pt x="9" y="117"/>
                  <a:pt x="9" y="117"/>
                </a:cubicBezTo>
                <a:cubicBezTo>
                  <a:pt x="9" y="117"/>
                  <a:pt x="9" y="117"/>
                  <a:pt x="9" y="116"/>
                </a:cubicBezTo>
                <a:cubicBezTo>
                  <a:pt x="9" y="116"/>
                  <a:pt x="8" y="116"/>
                  <a:pt x="9" y="116"/>
                </a:cubicBezTo>
                <a:cubicBezTo>
                  <a:pt x="8" y="116"/>
                  <a:pt x="10" y="115"/>
                  <a:pt x="9" y="115"/>
                </a:cubicBezTo>
                <a:cubicBezTo>
                  <a:pt x="8" y="115"/>
                  <a:pt x="9" y="115"/>
                  <a:pt x="8" y="115"/>
                </a:cubicBezTo>
                <a:cubicBezTo>
                  <a:pt x="9" y="114"/>
                  <a:pt x="8" y="114"/>
                  <a:pt x="8" y="114"/>
                </a:cubicBezTo>
                <a:cubicBezTo>
                  <a:pt x="8" y="114"/>
                  <a:pt x="8" y="115"/>
                  <a:pt x="8" y="115"/>
                </a:cubicBezTo>
                <a:cubicBezTo>
                  <a:pt x="7" y="115"/>
                  <a:pt x="7" y="115"/>
                  <a:pt x="7" y="115"/>
                </a:cubicBezTo>
                <a:cubicBezTo>
                  <a:pt x="7" y="114"/>
                  <a:pt x="7" y="114"/>
                  <a:pt x="7" y="114"/>
                </a:cubicBezTo>
                <a:cubicBezTo>
                  <a:pt x="7" y="113"/>
                  <a:pt x="7" y="113"/>
                  <a:pt x="7" y="112"/>
                </a:cubicBezTo>
                <a:cubicBezTo>
                  <a:pt x="7" y="113"/>
                  <a:pt x="6" y="112"/>
                  <a:pt x="7" y="112"/>
                </a:cubicBezTo>
                <a:cubicBezTo>
                  <a:pt x="7" y="111"/>
                  <a:pt x="6" y="111"/>
                  <a:pt x="6" y="111"/>
                </a:cubicBezTo>
                <a:cubicBezTo>
                  <a:pt x="6" y="111"/>
                  <a:pt x="6" y="112"/>
                  <a:pt x="5" y="111"/>
                </a:cubicBezTo>
                <a:cubicBezTo>
                  <a:pt x="5" y="111"/>
                  <a:pt x="6" y="111"/>
                  <a:pt x="6" y="110"/>
                </a:cubicBezTo>
                <a:cubicBezTo>
                  <a:pt x="6" y="110"/>
                  <a:pt x="6" y="111"/>
                  <a:pt x="5" y="110"/>
                </a:cubicBezTo>
                <a:cubicBezTo>
                  <a:pt x="5" y="110"/>
                  <a:pt x="5" y="110"/>
                  <a:pt x="5" y="110"/>
                </a:cubicBezTo>
                <a:cubicBezTo>
                  <a:pt x="5" y="110"/>
                  <a:pt x="5" y="109"/>
                  <a:pt x="6" y="109"/>
                </a:cubicBezTo>
                <a:cubicBezTo>
                  <a:pt x="6" y="109"/>
                  <a:pt x="6" y="109"/>
                  <a:pt x="6" y="109"/>
                </a:cubicBezTo>
                <a:cubicBezTo>
                  <a:pt x="5" y="109"/>
                  <a:pt x="6" y="108"/>
                  <a:pt x="6" y="107"/>
                </a:cubicBezTo>
                <a:cubicBezTo>
                  <a:pt x="6" y="106"/>
                  <a:pt x="7" y="106"/>
                  <a:pt x="6" y="106"/>
                </a:cubicBezTo>
                <a:cubicBezTo>
                  <a:pt x="6" y="105"/>
                  <a:pt x="6" y="105"/>
                  <a:pt x="7" y="105"/>
                </a:cubicBezTo>
                <a:cubicBezTo>
                  <a:pt x="6" y="105"/>
                  <a:pt x="6" y="105"/>
                  <a:pt x="5" y="105"/>
                </a:cubicBezTo>
                <a:cubicBezTo>
                  <a:pt x="5" y="105"/>
                  <a:pt x="4" y="106"/>
                  <a:pt x="4" y="106"/>
                </a:cubicBezTo>
                <a:cubicBezTo>
                  <a:pt x="3" y="106"/>
                  <a:pt x="5" y="104"/>
                  <a:pt x="5" y="104"/>
                </a:cubicBezTo>
                <a:cubicBezTo>
                  <a:pt x="5" y="104"/>
                  <a:pt x="5" y="104"/>
                  <a:pt x="4" y="104"/>
                </a:cubicBezTo>
                <a:cubicBezTo>
                  <a:pt x="4" y="104"/>
                  <a:pt x="4" y="104"/>
                  <a:pt x="4" y="104"/>
                </a:cubicBezTo>
                <a:cubicBezTo>
                  <a:pt x="4" y="104"/>
                  <a:pt x="4" y="106"/>
                  <a:pt x="3" y="106"/>
                </a:cubicBezTo>
                <a:cubicBezTo>
                  <a:pt x="3" y="105"/>
                  <a:pt x="3" y="105"/>
                  <a:pt x="3" y="105"/>
                </a:cubicBezTo>
                <a:cubicBezTo>
                  <a:pt x="3" y="105"/>
                  <a:pt x="3" y="105"/>
                  <a:pt x="3" y="104"/>
                </a:cubicBezTo>
                <a:cubicBezTo>
                  <a:pt x="3" y="105"/>
                  <a:pt x="3" y="105"/>
                  <a:pt x="2" y="105"/>
                </a:cubicBezTo>
                <a:cubicBezTo>
                  <a:pt x="3" y="105"/>
                  <a:pt x="3" y="104"/>
                  <a:pt x="3" y="104"/>
                </a:cubicBezTo>
                <a:cubicBezTo>
                  <a:pt x="3" y="104"/>
                  <a:pt x="2" y="105"/>
                  <a:pt x="2" y="105"/>
                </a:cubicBezTo>
                <a:cubicBezTo>
                  <a:pt x="1" y="105"/>
                  <a:pt x="2" y="104"/>
                  <a:pt x="2" y="104"/>
                </a:cubicBezTo>
                <a:cubicBezTo>
                  <a:pt x="2" y="104"/>
                  <a:pt x="2" y="103"/>
                  <a:pt x="2" y="103"/>
                </a:cubicBezTo>
                <a:cubicBezTo>
                  <a:pt x="2" y="103"/>
                  <a:pt x="2" y="103"/>
                  <a:pt x="2" y="102"/>
                </a:cubicBezTo>
                <a:cubicBezTo>
                  <a:pt x="2" y="102"/>
                  <a:pt x="2" y="102"/>
                  <a:pt x="2" y="102"/>
                </a:cubicBezTo>
                <a:cubicBezTo>
                  <a:pt x="1" y="101"/>
                  <a:pt x="1" y="101"/>
                  <a:pt x="1" y="101"/>
                </a:cubicBezTo>
                <a:cubicBezTo>
                  <a:pt x="1" y="101"/>
                  <a:pt x="2" y="101"/>
                  <a:pt x="2" y="101"/>
                </a:cubicBezTo>
                <a:cubicBezTo>
                  <a:pt x="2" y="101"/>
                  <a:pt x="1" y="101"/>
                  <a:pt x="1" y="100"/>
                </a:cubicBezTo>
                <a:cubicBezTo>
                  <a:pt x="1" y="100"/>
                  <a:pt x="1" y="101"/>
                  <a:pt x="1" y="101"/>
                </a:cubicBezTo>
                <a:cubicBezTo>
                  <a:pt x="2" y="100"/>
                  <a:pt x="1" y="100"/>
                  <a:pt x="1" y="99"/>
                </a:cubicBezTo>
                <a:cubicBezTo>
                  <a:pt x="1" y="99"/>
                  <a:pt x="0" y="99"/>
                  <a:pt x="1" y="98"/>
                </a:cubicBezTo>
                <a:cubicBezTo>
                  <a:pt x="0" y="99"/>
                  <a:pt x="1" y="97"/>
                  <a:pt x="1" y="97"/>
                </a:cubicBezTo>
                <a:cubicBezTo>
                  <a:pt x="2" y="97"/>
                  <a:pt x="2" y="97"/>
                  <a:pt x="2" y="98"/>
                </a:cubicBezTo>
                <a:cubicBezTo>
                  <a:pt x="3" y="98"/>
                  <a:pt x="3" y="98"/>
                  <a:pt x="3" y="99"/>
                </a:cubicBezTo>
                <a:cubicBezTo>
                  <a:pt x="3" y="99"/>
                  <a:pt x="3" y="99"/>
                  <a:pt x="3" y="99"/>
                </a:cubicBezTo>
                <a:cubicBezTo>
                  <a:pt x="3" y="100"/>
                  <a:pt x="4" y="99"/>
                  <a:pt x="4" y="99"/>
                </a:cubicBezTo>
                <a:cubicBezTo>
                  <a:pt x="5" y="99"/>
                  <a:pt x="5" y="97"/>
                  <a:pt x="5" y="97"/>
                </a:cubicBezTo>
                <a:cubicBezTo>
                  <a:pt x="5" y="96"/>
                  <a:pt x="6" y="96"/>
                  <a:pt x="6" y="95"/>
                </a:cubicBezTo>
                <a:cubicBezTo>
                  <a:pt x="6" y="94"/>
                  <a:pt x="5" y="94"/>
                  <a:pt x="5" y="93"/>
                </a:cubicBezTo>
                <a:cubicBezTo>
                  <a:pt x="4" y="91"/>
                  <a:pt x="6" y="92"/>
                  <a:pt x="6" y="91"/>
                </a:cubicBezTo>
                <a:cubicBezTo>
                  <a:pt x="6" y="90"/>
                  <a:pt x="5" y="89"/>
                  <a:pt x="7" y="89"/>
                </a:cubicBezTo>
                <a:cubicBezTo>
                  <a:pt x="8" y="89"/>
                  <a:pt x="8" y="89"/>
                  <a:pt x="9" y="89"/>
                </a:cubicBezTo>
                <a:cubicBezTo>
                  <a:pt x="10" y="88"/>
                  <a:pt x="11" y="88"/>
                  <a:pt x="11" y="87"/>
                </a:cubicBezTo>
                <a:cubicBezTo>
                  <a:pt x="11" y="86"/>
                  <a:pt x="11" y="86"/>
                  <a:pt x="11" y="85"/>
                </a:cubicBezTo>
                <a:cubicBezTo>
                  <a:pt x="11" y="85"/>
                  <a:pt x="12" y="84"/>
                  <a:pt x="12" y="84"/>
                </a:cubicBezTo>
                <a:cubicBezTo>
                  <a:pt x="12" y="83"/>
                  <a:pt x="11" y="82"/>
                  <a:pt x="11" y="82"/>
                </a:cubicBezTo>
                <a:cubicBezTo>
                  <a:pt x="10" y="81"/>
                  <a:pt x="10" y="80"/>
                  <a:pt x="10" y="80"/>
                </a:cubicBezTo>
                <a:cubicBezTo>
                  <a:pt x="10" y="79"/>
                  <a:pt x="9" y="78"/>
                  <a:pt x="9" y="78"/>
                </a:cubicBezTo>
                <a:cubicBezTo>
                  <a:pt x="9" y="78"/>
                  <a:pt x="11" y="78"/>
                  <a:pt x="11" y="78"/>
                </a:cubicBezTo>
                <a:cubicBezTo>
                  <a:pt x="12" y="78"/>
                  <a:pt x="12" y="78"/>
                  <a:pt x="13" y="77"/>
                </a:cubicBezTo>
                <a:cubicBezTo>
                  <a:pt x="13" y="76"/>
                  <a:pt x="13" y="76"/>
                  <a:pt x="13" y="75"/>
                </a:cubicBezTo>
                <a:cubicBezTo>
                  <a:pt x="14" y="72"/>
                  <a:pt x="8" y="73"/>
                  <a:pt x="8" y="70"/>
                </a:cubicBezTo>
                <a:cubicBezTo>
                  <a:pt x="8" y="69"/>
                  <a:pt x="9" y="68"/>
                  <a:pt x="9" y="68"/>
                </a:cubicBezTo>
                <a:cubicBezTo>
                  <a:pt x="9" y="67"/>
                  <a:pt x="9" y="66"/>
                  <a:pt x="9" y="65"/>
                </a:cubicBezTo>
                <a:cubicBezTo>
                  <a:pt x="9" y="65"/>
                  <a:pt x="8" y="64"/>
                  <a:pt x="8" y="63"/>
                </a:cubicBezTo>
                <a:cubicBezTo>
                  <a:pt x="8" y="62"/>
                  <a:pt x="8" y="62"/>
                  <a:pt x="8" y="61"/>
                </a:cubicBezTo>
                <a:cubicBezTo>
                  <a:pt x="8" y="60"/>
                  <a:pt x="7" y="60"/>
                  <a:pt x="8" y="59"/>
                </a:cubicBezTo>
                <a:cubicBezTo>
                  <a:pt x="8" y="58"/>
                  <a:pt x="8" y="58"/>
                  <a:pt x="7" y="57"/>
                </a:cubicBezTo>
                <a:cubicBezTo>
                  <a:pt x="7" y="56"/>
                  <a:pt x="7" y="56"/>
                  <a:pt x="7" y="55"/>
                </a:cubicBezTo>
                <a:cubicBezTo>
                  <a:pt x="7" y="55"/>
                  <a:pt x="8" y="54"/>
                  <a:pt x="8" y="54"/>
                </a:cubicBezTo>
                <a:cubicBezTo>
                  <a:pt x="8" y="53"/>
                  <a:pt x="8" y="52"/>
                  <a:pt x="8" y="52"/>
                </a:cubicBezTo>
                <a:cubicBezTo>
                  <a:pt x="9" y="52"/>
                  <a:pt x="9" y="51"/>
                  <a:pt x="10" y="50"/>
                </a:cubicBezTo>
                <a:cubicBezTo>
                  <a:pt x="11" y="50"/>
                  <a:pt x="11" y="49"/>
                  <a:pt x="12" y="49"/>
                </a:cubicBezTo>
                <a:cubicBezTo>
                  <a:pt x="12" y="48"/>
                  <a:pt x="13" y="48"/>
                  <a:pt x="14" y="48"/>
                </a:cubicBezTo>
                <a:cubicBezTo>
                  <a:pt x="16" y="47"/>
                  <a:pt x="17" y="48"/>
                  <a:pt x="19" y="48"/>
                </a:cubicBezTo>
                <a:cubicBezTo>
                  <a:pt x="21" y="48"/>
                  <a:pt x="22" y="48"/>
                  <a:pt x="22" y="46"/>
                </a:cubicBezTo>
                <a:cubicBezTo>
                  <a:pt x="22" y="45"/>
                  <a:pt x="22" y="44"/>
                  <a:pt x="21" y="44"/>
                </a:cubicBezTo>
                <a:cubicBezTo>
                  <a:pt x="19" y="43"/>
                  <a:pt x="19" y="43"/>
                  <a:pt x="20" y="41"/>
                </a:cubicBezTo>
                <a:cubicBezTo>
                  <a:pt x="20" y="41"/>
                  <a:pt x="21" y="40"/>
                  <a:pt x="22" y="39"/>
                </a:cubicBezTo>
                <a:cubicBezTo>
                  <a:pt x="22" y="39"/>
                  <a:pt x="23" y="38"/>
                  <a:pt x="24" y="37"/>
                </a:cubicBezTo>
                <a:cubicBezTo>
                  <a:pt x="24" y="37"/>
                  <a:pt x="24" y="36"/>
                  <a:pt x="25" y="36"/>
                </a:cubicBezTo>
                <a:cubicBezTo>
                  <a:pt x="25" y="35"/>
                  <a:pt x="25" y="34"/>
                  <a:pt x="25" y="33"/>
                </a:cubicBezTo>
                <a:cubicBezTo>
                  <a:pt x="25" y="32"/>
                  <a:pt x="25" y="32"/>
                  <a:pt x="25" y="31"/>
                </a:cubicBezTo>
                <a:cubicBezTo>
                  <a:pt x="25" y="30"/>
                  <a:pt x="25" y="29"/>
                  <a:pt x="25" y="28"/>
                </a:cubicBezTo>
                <a:cubicBezTo>
                  <a:pt x="25" y="28"/>
                  <a:pt x="29" y="27"/>
                  <a:pt x="29" y="27"/>
                </a:cubicBezTo>
                <a:cubicBezTo>
                  <a:pt x="30" y="27"/>
                  <a:pt x="31" y="27"/>
                  <a:pt x="31" y="26"/>
                </a:cubicBezTo>
                <a:cubicBezTo>
                  <a:pt x="32" y="26"/>
                  <a:pt x="31" y="25"/>
                  <a:pt x="31" y="25"/>
                </a:cubicBezTo>
                <a:cubicBezTo>
                  <a:pt x="31" y="24"/>
                  <a:pt x="32" y="24"/>
                  <a:pt x="32" y="24"/>
                </a:cubicBezTo>
                <a:cubicBezTo>
                  <a:pt x="33" y="23"/>
                  <a:pt x="34" y="22"/>
                  <a:pt x="34" y="22"/>
                </a:cubicBezTo>
                <a:cubicBezTo>
                  <a:pt x="35" y="21"/>
                  <a:pt x="35" y="21"/>
                  <a:pt x="36" y="20"/>
                </a:cubicBezTo>
                <a:cubicBezTo>
                  <a:pt x="36" y="20"/>
                  <a:pt x="37" y="20"/>
                  <a:pt x="38" y="19"/>
                </a:cubicBezTo>
                <a:cubicBezTo>
                  <a:pt x="39" y="18"/>
                  <a:pt x="37" y="17"/>
                  <a:pt x="36" y="16"/>
                </a:cubicBezTo>
                <a:cubicBezTo>
                  <a:pt x="35" y="15"/>
                  <a:pt x="37" y="15"/>
                  <a:pt x="38" y="15"/>
                </a:cubicBezTo>
                <a:cubicBezTo>
                  <a:pt x="39" y="14"/>
                  <a:pt x="39" y="12"/>
                  <a:pt x="40" y="11"/>
                </a:cubicBezTo>
                <a:cubicBezTo>
                  <a:pt x="41" y="10"/>
                  <a:pt x="42" y="10"/>
                  <a:pt x="43" y="10"/>
                </a:cubicBezTo>
                <a:cubicBezTo>
                  <a:pt x="45" y="9"/>
                  <a:pt x="46" y="10"/>
                  <a:pt x="48" y="10"/>
                </a:cubicBezTo>
                <a:cubicBezTo>
                  <a:pt x="50" y="10"/>
                  <a:pt x="49" y="7"/>
                  <a:pt x="49" y="5"/>
                </a:cubicBezTo>
                <a:cubicBezTo>
                  <a:pt x="50" y="5"/>
                  <a:pt x="52" y="5"/>
                  <a:pt x="54" y="5"/>
                </a:cubicBezTo>
                <a:cubicBezTo>
                  <a:pt x="56" y="5"/>
                  <a:pt x="58" y="6"/>
                  <a:pt x="59" y="6"/>
                </a:cubicBezTo>
                <a:cubicBezTo>
                  <a:pt x="60" y="6"/>
                  <a:pt x="62" y="7"/>
                  <a:pt x="63" y="6"/>
                </a:cubicBezTo>
                <a:cubicBezTo>
                  <a:pt x="65" y="5"/>
                  <a:pt x="63" y="5"/>
                  <a:pt x="62" y="5"/>
                </a:cubicBezTo>
                <a:cubicBezTo>
                  <a:pt x="63" y="5"/>
                  <a:pt x="64" y="4"/>
                  <a:pt x="65" y="3"/>
                </a:cubicBezTo>
                <a:cubicBezTo>
                  <a:pt x="65" y="2"/>
                  <a:pt x="64" y="1"/>
                  <a:pt x="63" y="1"/>
                </a:cubicBezTo>
                <a:cubicBezTo>
                  <a:pt x="64" y="0"/>
                  <a:pt x="65" y="1"/>
                  <a:pt x="67" y="0"/>
                </a:cubicBezTo>
                <a:cubicBezTo>
                  <a:pt x="67" y="1"/>
                  <a:pt x="68" y="1"/>
                  <a:pt x="69" y="1"/>
                </a:cubicBezTo>
                <a:cubicBezTo>
                  <a:pt x="69" y="1"/>
                  <a:pt x="68" y="1"/>
                  <a:pt x="68" y="2"/>
                </a:cubicBezTo>
                <a:cubicBezTo>
                  <a:pt x="69" y="2"/>
                  <a:pt x="70" y="2"/>
                  <a:pt x="70" y="2"/>
                </a:cubicBezTo>
                <a:cubicBezTo>
                  <a:pt x="71" y="3"/>
                  <a:pt x="72" y="3"/>
                  <a:pt x="72" y="3"/>
                </a:cubicBezTo>
                <a:cubicBezTo>
                  <a:pt x="73" y="3"/>
                  <a:pt x="73" y="4"/>
                  <a:pt x="73" y="4"/>
                </a:cubicBezTo>
                <a:cubicBezTo>
                  <a:pt x="73" y="4"/>
                  <a:pt x="74" y="4"/>
                  <a:pt x="74" y="4"/>
                </a:cubicBezTo>
                <a:cubicBezTo>
                  <a:pt x="75" y="4"/>
                  <a:pt x="75" y="5"/>
                  <a:pt x="75" y="5"/>
                </a:cubicBezTo>
                <a:cubicBezTo>
                  <a:pt x="76" y="5"/>
                  <a:pt x="77" y="5"/>
                  <a:pt x="77" y="6"/>
                </a:cubicBezTo>
                <a:cubicBezTo>
                  <a:pt x="78" y="6"/>
                  <a:pt x="79" y="6"/>
                  <a:pt x="79" y="6"/>
                </a:cubicBezTo>
                <a:cubicBezTo>
                  <a:pt x="79" y="6"/>
                  <a:pt x="81" y="6"/>
                  <a:pt x="81" y="6"/>
                </a:cubicBezTo>
                <a:cubicBezTo>
                  <a:pt x="81" y="6"/>
                  <a:pt x="82" y="6"/>
                  <a:pt x="83" y="7"/>
                </a:cubicBezTo>
                <a:cubicBezTo>
                  <a:pt x="84" y="7"/>
                  <a:pt x="85" y="7"/>
                  <a:pt x="85" y="8"/>
                </a:cubicBezTo>
                <a:cubicBezTo>
                  <a:pt x="85" y="9"/>
                  <a:pt x="86" y="9"/>
                  <a:pt x="86" y="9"/>
                </a:cubicBezTo>
                <a:cubicBezTo>
                  <a:pt x="87" y="9"/>
                  <a:pt x="88" y="10"/>
                  <a:pt x="88" y="10"/>
                </a:cubicBezTo>
                <a:cubicBezTo>
                  <a:pt x="88" y="10"/>
                  <a:pt x="90" y="11"/>
                  <a:pt x="89" y="11"/>
                </a:cubicBezTo>
                <a:cubicBezTo>
                  <a:pt x="88" y="11"/>
                  <a:pt x="88" y="11"/>
                  <a:pt x="88" y="12"/>
                </a:cubicBezTo>
                <a:cubicBezTo>
                  <a:pt x="88" y="12"/>
                  <a:pt x="88" y="13"/>
                  <a:pt x="88" y="13"/>
                </a:cubicBezTo>
                <a:cubicBezTo>
                  <a:pt x="88" y="14"/>
                  <a:pt x="89" y="14"/>
                  <a:pt x="89" y="14"/>
                </a:cubicBezTo>
                <a:cubicBezTo>
                  <a:pt x="89" y="14"/>
                  <a:pt x="88" y="14"/>
                  <a:pt x="88" y="14"/>
                </a:cubicBezTo>
                <a:cubicBezTo>
                  <a:pt x="87" y="16"/>
                  <a:pt x="89" y="15"/>
                  <a:pt x="90" y="16"/>
                </a:cubicBezTo>
                <a:cubicBezTo>
                  <a:pt x="91" y="16"/>
                  <a:pt x="91" y="17"/>
                  <a:pt x="90" y="17"/>
                </a:cubicBezTo>
                <a:cubicBezTo>
                  <a:pt x="88" y="17"/>
                  <a:pt x="90" y="19"/>
                  <a:pt x="91" y="19"/>
                </a:cubicBezTo>
                <a:cubicBezTo>
                  <a:pt x="91" y="20"/>
                  <a:pt x="92" y="20"/>
                  <a:pt x="92" y="21"/>
                </a:cubicBezTo>
                <a:cubicBezTo>
                  <a:pt x="92" y="21"/>
                  <a:pt x="93" y="22"/>
                  <a:pt x="93" y="22"/>
                </a:cubicBezTo>
                <a:cubicBezTo>
                  <a:pt x="92" y="22"/>
                  <a:pt x="92" y="23"/>
                  <a:pt x="92" y="23"/>
                </a:cubicBezTo>
                <a:cubicBezTo>
                  <a:pt x="92" y="24"/>
                  <a:pt x="92" y="24"/>
                  <a:pt x="91" y="25"/>
                </a:cubicBezTo>
                <a:cubicBezTo>
                  <a:pt x="90" y="25"/>
                  <a:pt x="91" y="25"/>
                  <a:pt x="91" y="26"/>
                </a:cubicBezTo>
                <a:cubicBezTo>
                  <a:pt x="91" y="26"/>
                  <a:pt x="91" y="27"/>
                  <a:pt x="92" y="27"/>
                </a:cubicBezTo>
                <a:cubicBezTo>
                  <a:pt x="92" y="27"/>
                  <a:pt x="93" y="28"/>
                  <a:pt x="93" y="28"/>
                </a:cubicBezTo>
                <a:cubicBezTo>
                  <a:pt x="94" y="29"/>
                  <a:pt x="94" y="29"/>
                  <a:pt x="95" y="30"/>
                </a:cubicBezTo>
                <a:cubicBezTo>
                  <a:pt x="95" y="30"/>
                  <a:pt x="95" y="31"/>
                  <a:pt x="95" y="31"/>
                </a:cubicBezTo>
                <a:close/>
                <a:moveTo>
                  <a:pt x="49" y="100"/>
                </a:moveTo>
                <a:cubicBezTo>
                  <a:pt x="49" y="100"/>
                  <a:pt x="50" y="100"/>
                  <a:pt x="50" y="100"/>
                </a:cubicBezTo>
                <a:cubicBezTo>
                  <a:pt x="49" y="100"/>
                  <a:pt x="49" y="100"/>
                  <a:pt x="49" y="100"/>
                </a:cubicBezTo>
                <a:close/>
                <a:moveTo>
                  <a:pt x="47" y="115"/>
                </a:moveTo>
                <a:cubicBezTo>
                  <a:pt x="47" y="115"/>
                  <a:pt x="47" y="116"/>
                  <a:pt x="47" y="116"/>
                </a:cubicBezTo>
                <a:cubicBezTo>
                  <a:pt x="46" y="117"/>
                  <a:pt x="47" y="117"/>
                  <a:pt x="47" y="117"/>
                </a:cubicBezTo>
                <a:cubicBezTo>
                  <a:pt x="46" y="118"/>
                  <a:pt x="46" y="118"/>
                  <a:pt x="46" y="119"/>
                </a:cubicBezTo>
                <a:cubicBezTo>
                  <a:pt x="46" y="119"/>
                  <a:pt x="45" y="120"/>
                  <a:pt x="45" y="120"/>
                </a:cubicBezTo>
                <a:cubicBezTo>
                  <a:pt x="45" y="120"/>
                  <a:pt x="44" y="121"/>
                  <a:pt x="44" y="121"/>
                </a:cubicBezTo>
                <a:cubicBezTo>
                  <a:pt x="43" y="122"/>
                  <a:pt x="43" y="123"/>
                  <a:pt x="43" y="124"/>
                </a:cubicBezTo>
                <a:cubicBezTo>
                  <a:pt x="43" y="125"/>
                  <a:pt x="43" y="125"/>
                  <a:pt x="43" y="126"/>
                </a:cubicBezTo>
                <a:cubicBezTo>
                  <a:pt x="43" y="126"/>
                  <a:pt x="43" y="126"/>
                  <a:pt x="43" y="127"/>
                </a:cubicBezTo>
                <a:cubicBezTo>
                  <a:pt x="44" y="126"/>
                  <a:pt x="44" y="126"/>
                  <a:pt x="44" y="125"/>
                </a:cubicBezTo>
                <a:cubicBezTo>
                  <a:pt x="45" y="124"/>
                  <a:pt x="45" y="123"/>
                  <a:pt x="45" y="123"/>
                </a:cubicBezTo>
                <a:cubicBezTo>
                  <a:pt x="45" y="122"/>
                  <a:pt x="45" y="122"/>
                  <a:pt x="46" y="121"/>
                </a:cubicBezTo>
                <a:cubicBezTo>
                  <a:pt x="46" y="120"/>
                  <a:pt x="47" y="120"/>
                  <a:pt x="46" y="119"/>
                </a:cubicBezTo>
                <a:cubicBezTo>
                  <a:pt x="46" y="119"/>
                  <a:pt x="47" y="118"/>
                  <a:pt x="47" y="118"/>
                </a:cubicBezTo>
                <a:cubicBezTo>
                  <a:pt x="48" y="117"/>
                  <a:pt x="48" y="117"/>
                  <a:pt x="48" y="116"/>
                </a:cubicBezTo>
                <a:cubicBezTo>
                  <a:pt x="48" y="116"/>
                  <a:pt x="48" y="115"/>
                  <a:pt x="48" y="116"/>
                </a:cubicBezTo>
                <a:cubicBezTo>
                  <a:pt x="48" y="115"/>
                  <a:pt x="48" y="115"/>
                  <a:pt x="48" y="115"/>
                </a:cubicBezTo>
                <a:cubicBezTo>
                  <a:pt x="48" y="115"/>
                  <a:pt x="48" y="115"/>
                  <a:pt x="47" y="115"/>
                </a:cubicBezTo>
                <a:close/>
                <a:moveTo>
                  <a:pt x="5" y="107"/>
                </a:moveTo>
                <a:cubicBezTo>
                  <a:pt x="5" y="107"/>
                  <a:pt x="5" y="108"/>
                  <a:pt x="5" y="108"/>
                </a:cubicBezTo>
                <a:cubicBezTo>
                  <a:pt x="5" y="108"/>
                  <a:pt x="7" y="107"/>
                  <a:pt x="6" y="106"/>
                </a:cubicBezTo>
                <a:cubicBezTo>
                  <a:pt x="6" y="106"/>
                  <a:pt x="5" y="105"/>
                  <a:pt x="5" y="106"/>
                </a:cubicBezTo>
                <a:cubicBezTo>
                  <a:pt x="5" y="106"/>
                  <a:pt x="5" y="106"/>
                  <a:pt x="5" y="106"/>
                </a:cubicBezTo>
                <a:cubicBezTo>
                  <a:pt x="5" y="106"/>
                  <a:pt x="4" y="106"/>
                  <a:pt x="4" y="106"/>
                </a:cubicBezTo>
                <a:cubicBezTo>
                  <a:pt x="4" y="106"/>
                  <a:pt x="4" y="106"/>
                  <a:pt x="3" y="106"/>
                </a:cubicBezTo>
                <a:cubicBezTo>
                  <a:pt x="3" y="107"/>
                  <a:pt x="3" y="107"/>
                  <a:pt x="3" y="107"/>
                </a:cubicBezTo>
                <a:cubicBezTo>
                  <a:pt x="3" y="107"/>
                  <a:pt x="3" y="107"/>
                  <a:pt x="3" y="108"/>
                </a:cubicBezTo>
                <a:cubicBezTo>
                  <a:pt x="3" y="107"/>
                  <a:pt x="4" y="107"/>
                  <a:pt x="5" y="107"/>
                </a:cubicBezTo>
                <a:cubicBezTo>
                  <a:pt x="5" y="107"/>
                  <a:pt x="5" y="107"/>
                  <a:pt x="5" y="107"/>
                </a:cubicBezTo>
                <a:close/>
                <a:moveTo>
                  <a:pt x="5" y="108"/>
                </a:moveTo>
                <a:cubicBezTo>
                  <a:pt x="6" y="109"/>
                  <a:pt x="6" y="108"/>
                  <a:pt x="5" y="108"/>
                </a:cubicBezTo>
                <a:cubicBezTo>
                  <a:pt x="5" y="108"/>
                  <a:pt x="5" y="108"/>
                  <a:pt x="4" y="108"/>
                </a:cubicBezTo>
                <a:cubicBezTo>
                  <a:pt x="4" y="108"/>
                  <a:pt x="3" y="108"/>
                  <a:pt x="4" y="108"/>
                </a:cubicBezTo>
                <a:cubicBezTo>
                  <a:pt x="4" y="108"/>
                  <a:pt x="4" y="108"/>
                  <a:pt x="4" y="108"/>
                </a:cubicBezTo>
                <a:cubicBezTo>
                  <a:pt x="4" y="108"/>
                  <a:pt x="4" y="109"/>
                  <a:pt x="4" y="109"/>
                </a:cubicBezTo>
                <a:cubicBezTo>
                  <a:pt x="4" y="109"/>
                  <a:pt x="4" y="109"/>
                  <a:pt x="5" y="109"/>
                </a:cubicBezTo>
                <a:cubicBezTo>
                  <a:pt x="5" y="109"/>
                  <a:pt x="5" y="108"/>
                  <a:pt x="5" y="10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5" name="Swaziland"/>
          <p:cNvSpPr>
            <a:spLocks/>
          </p:cNvSpPr>
          <p:nvPr/>
        </p:nvSpPr>
        <p:spPr bwMode="auto">
          <a:xfrm>
            <a:off x="6850043" y="5686899"/>
            <a:ext cx="46998" cy="61998"/>
          </a:xfrm>
          <a:custGeom>
            <a:avLst/>
            <a:gdLst/>
            <a:ahLst/>
            <a:cxnLst>
              <a:cxn ang="0">
                <a:pos x="12" y="8"/>
              </a:cxn>
              <a:cxn ang="0">
                <a:pos x="13" y="3"/>
              </a:cxn>
              <a:cxn ang="0">
                <a:pos x="10" y="3"/>
              </a:cxn>
              <a:cxn ang="0">
                <a:pos x="6" y="0"/>
              </a:cxn>
              <a:cxn ang="0">
                <a:pos x="4" y="2"/>
              </a:cxn>
              <a:cxn ang="0">
                <a:pos x="1" y="7"/>
              </a:cxn>
              <a:cxn ang="0">
                <a:pos x="0" y="10"/>
              </a:cxn>
              <a:cxn ang="0">
                <a:pos x="1" y="11"/>
              </a:cxn>
              <a:cxn ang="0">
                <a:pos x="2" y="13"/>
              </a:cxn>
              <a:cxn ang="0">
                <a:pos x="2" y="14"/>
              </a:cxn>
              <a:cxn ang="0">
                <a:pos x="3" y="15"/>
              </a:cxn>
              <a:cxn ang="0">
                <a:pos x="7" y="17"/>
              </a:cxn>
              <a:cxn ang="0">
                <a:pos x="11" y="17"/>
              </a:cxn>
              <a:cxn ang="0">
                <a:pos x="11" y="16"/>
              </a:cxn>
              <a:cxn ang="0">
                <a:pos x="11" y="13"/>
              </a:cxn>
              <a:cxn ang="0">
                <a:pos x="13" y="12"/>
              </a:cxn>
              <a:cxn ang="0">
                <a:pos x="12" y="8"/>
              </a:cxn>
            </a:cxnLst>
            <a:rect l="0" t="0" r="r" b="b"/>
            <a:pathLst>
              <a:path w="13" h="17">
                <a:moveTo>
                  <a:pt x="12" y="8"/>
                </a:moveTo>
                <a:cubicBezTo>
                  <a:pt x="12" y="6"/>
                  <a:pt x="13" y="5"/>
                  <a:pt x="13" y="3"/>
                </a:cubicBezTo>
                <a:cubicBezTo>
                  <a:pt x="12" y="2"/>
                  <a:pt x="11" y="3"/>
                  <a:pt x="10" y="3"/>
                </a:cubicBezTo>
                <a:cubicBezTo>
                  <a:pt x="9" y="2"/>
                  <a:pt x="8" y="1"/>
                  <a:pt x="6" y="0"/>
                </a:cubicBezTo>
                <a:cubicBezTo>
                  <a:pt x="5" y="0"/>
                  <a:pt x="4" y="1"/>
                  <a:pt x="4" y="2"/>
                </a:cubicBezTo>
                <a:cubicBezTo>
                  <a:pt x="3" y="4"/>
                  <a:pt x="2" y="5"/>
                  <a:pt x="1" y="7"/>
                </a:cubicBezTo>
                <a:cubicBezTo>
                  <a:pt x="0" y="8"/>
                  <a:pt x="0" y="9"/>
                  <a:pt x="0" y="10"/>
                </a:cubicBezTo>
                <a:cubicBezTo>
                  <a:pt x="0" y="10"/>
                  <a:pt x="0" y="13"/>
                  <a:pt x="1" y="11"/>
                </a:cubicBezTo>
                <a:cubicBezTo>
                  <a:pt x="1" y="12"/>
                  <a:pt x="1" y="12"/>
                  <a:pt x="2" y="13"/>
                </a:cubicBezTo>
                <a:cubicBezTo>
                  <a:pt x="2" y="13"/>
                  <a:pt x="2" y="13"/>
                  <a:pt x="2" y="14"/>
                </a:cubicBezTo>
                <a:cubicBezTo>
                  <a:pt x="2" y="14"/>
                  <a:pt x="3" y="15"/>
                  <a:pt x="3" y="15"/>
                </a:cubicBezTo>
                <a:cubicBezTo>
                  <a:pt x="4" y="17"/>
                  <a:pt x="6" y="17"/>
                  <a:pt x="7" y="17"/>
                </a:cubicBezTo>
                <a:cubicBezTo>
                  <a:pt x="8" y="17"/>
                  <a:pt x="9" y="17"/>
                  <a:pt x="11" y="17"/>
                </a:cubicBezTo>
                <a:cubicBezTo>
                  <a:pt x="11" y="17"/>
                  <a:pt x="11" y="16"/>
                  <a:pt x="11" y="16"/>
                </a:cubicBezTo>
                <a:cubicBezTo>
                  <a:pt x="11" y="15"/>
                  <a:pt x="11" y="14"/>
                  <a:pt x="11" y="13"/>
                </a:cubicBezTo>
                <a:cubicBezTo>
                  <a:pt x="12" y="12"/>
                  <a:pt x="12" y="12"/>
                  <a:pt x="13" y="12"/>
                </a:cubicBezTo>
                <a:cubicBezTo>
                  <a:pt x="13" y="11"/>
                  <a:pt x="13" y="9"/>
                  <a:pt x="12" y="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6" name="Suriname"/>
          <p:cNvSpPr>
            <a:spLocks/>
          </p:cNvSpPr>
          <p:nvPr/>
        </p:nvSpPr>
        <p:spPr bwMode="auto">
          <a:xfrm>
            <a:off x="3758159" y="4424946"/>
            <a:ext cx="144995" cy="165994"/>
          </a:xfrm>
          <a:custGeom>
            <a:avLst/>
            <a:gdLst/>
            <a:ahLst/>
            <a:cxnLst>
              <a:cxn ang="0">
                <a:pos x="38" y="8"/>
              </a:cxn>
              <a:cxn ang="0">
                <a:pos x="40" y="4"/>
              </a:cxn>
              <a:cxn ang="0">
                <a:pos x="38" y="1"/>
              </a:cxn>
              <a:cxn ang="0">
                <a:pos x="30" y="0"/>
              </a:cxn>
              <a:cxn ang="0">
                <a:pos x="31" y="2"/>
              </a:cxn>
              <a:cxn ang="0">
                <a:pos x="30" y="2"/>
              </a:cxn>
              <a:cxn ang="0">
                <a:pos x="29" y="1"/>
              </a:cxn>
              <a:cxn ang="0">
                <a:pos x="28" y="1"/>
              </a:cxn>
              <a:cxn ang="0">
                <a:pos x="22" y="2"/>
              </a:cxn>
              <a:cxn ang="0">
                <a:pos x="21" y="2"/>
              </a:cxn>
              <a:cxn ang="0">
                <a:pos x="17" y="1"/>
              </a:cxn>
              <a:cxn ang="0">
                <a:pos x="11" y="0"/>
              </a:cxn>
              <a:cxn ang="0">
                <a:pos x="9" y="5"/>
              </a:cxn>
              <a:cxn ang="0">
                <a:pos x="8" y="8"/>
              </a:cxn>
              <a:cxn ang="0">
                <a:pos x="9" y="9"/>
              </a:cxn>
              <a:cxn ang="0">
                <a:pos x="8" y="10"/>
              </a:cxn>
              <a:cxn ang="0">
                <a:pos x="8" y="11"/>
              </a:cxn>
              <a:cxn ang="0">
                <a:pos x="5" y="11"/>
              </a:cxn>
              <a:cxn ang="0">
                <a:pos x="3" y="12"/>
              </a:cxn>
              <a:cxn ang="0">
                <a:pos x="3" y="15"/>
              </a:cxn>
              <a:cxn ang="0">
                <a:pos x="1" y="19"/>
              </a:cxn>
              <a:cxn ang="0">
                <a:pos x="2" y="25"/>
              </a:cxn>
              <a:cxn ang="0">
                <a:pos x="4" y="29"/>
              </a:cxn>
              <a:cxn ang="0">
                <a:pos x="6" y="30"/>
              </a:cxn>
              <a:cxn ang="0">
                <a:pos x="7" y="29"/>
              </a:cxn>
              <a:cxn ang="0">
                <a:pos x="8" y="31"/>
              </a:cxn>
              <a:cxn ang="0">
                <a:pos x="9" y="35"/>
              </a:cxn>
              <a:cxn ang="0">
                <a:pos x="10" y="38"/>
              </a:cxn>
              <a:cxn ang="0">
                <a:pos x="11" y="39"/>
              </a:cxn>
              <a:cxn ang="0">
                <a:pos x="12" y="41"/>
              </a:cxn>
              <a:cxn ang="0">
                <a:pos x="14" y="44"/>
              </a:cxn>
              <a:cxn ang="0">
                <a:pos x="17" y="45"/>
              </a:cxn>
              <a:cxn ang="0">
                <a:pos x="20" y="46"/>
              </a:cxn>
              <a:cxn ang="0">
                <a:pos x="20" y="43"/>
              </a:cxn>
              <a:cxn ang="0">
                <a:pos x="19" y="41"/>
              </a:cxn>
              <a:cxn ang="0">
                <a:pos x="20" y="40"/>
              </a:cxn>
              <a:cxn ang="0">
                <a:pos x="21" y="38"/>
              </a:cxn>
              <a:cxn ang="0">
                <a:pos x="24" y="40"/>
              </a:cxn>
              <a:cxn ang="0">
                <a:pos x="27" y="39"/>
              </a:cxn>
              <a:cxn ang="0">
                <a:pos x="29" y="38"/>
              </a:cxn>
              <a:cxn ang="0">
                <a:pos x="30" y="38"/>
              </a:cxn>
              <a:cxn ang="0">
                <a:pos x="31" y="39"/>
              </a:cxn>
              <a:cxn ang="0">
                <a:pos x="33" y="41"/>
              </a:cxn>
              <a:cxn ang="0">
                <a:pos x="35" y="40"/>
              </a:cxn>
              <a:cxn ang="0">
                <a:pos x="37" y="36"/>
              </a:cxn>
              <a:cxn ang="0">
                <a:pos x="38" y="32"/>
              </a:cxn>
              <a:cxn ang="0">
                <a:pos x="40" y="27"/>
              </a:cxn>
              <a:cxn ang="0">
                <a:pos x="39" y="25"/>
              </a:cxn>
              <a:cxn ang="0">
                <a:pos x="37" y="23"/>
              </a:cxn>
              <a:cxn ang="0">
                <a:pos x="36" y="20"/>
              </a:cxn>
              <a:cxn ang="0">
                <a:pos x="36" y="18"/>
              </a:cxn>
              <a:cxn ang="0">
                <a:pos x="35" y="13"/>
              </a:cxn>
              <a:cxn ang="0">
                <a:pos x="37" y="10"/>
              </a:cxn>
            </a:cxnLst>
            <a:rect l="0" t="0" r="r" b="b"/>
            <a:pathLst>
              <a:path w="40" h="46">
                <a:moveTo>
                  <a:pt x="37" y="10"/>
                </a:moveTo>
                <a:cubicBezTo>
                  <a:pt x="37" y="9"/>
                  <a:pt x="37" y="9"/>
                  <a:pt x="38" y="8"/>
                </a:cubicBezTo>
                <a:cubicBezTo>
                  <a:pt x="38" y="8"/>
                  <a:pt x="39" y="7"/>
                  <a:pt x="39" y="6"/>
                </a:cubicBezTo>
                <a:cubicBezTo>
                  <a:pt x="40" y="5"/>
                  <a:pt x="40" y="5"/>
                  <a:pt x="40" y="4"/>
                </a:cubicBezTo>
                <a:cubicBezTo>
                  <a:pt x="40" y="4"/>
                  <a:pt x="40" y="3"/>
                  <a:pt x="40" y="3"/>
                </a:cubicBezTo>
                <a:cubicBezTo>
                  <a:pt x="40" y="2"/>
                  <a:pt x="38" y="2"/>
                  <a:pt x="38" y="1"/>
                </a:cubicBezTo>
                <a:cubicBezTo>
                  <a:pt x="36" y="1"/>
                  <a:pt x="35" y="1"/>
                  <a:pt x="33" y="1"/>
                </a:cubicBezTo>
                <a:cubicBezTo>
                  <a:pt x="32" y="0"/>
                  <a:pt x="31" y="0"/>
                  <a:pt x="30" y="0"/>
                </a:cubicBezTo>
                <a:cubicBezTo>
                  <a:pt x="29" y="1"/>
                  <a:pt x="29" y="1"/>
                  <a:pt x="30" y="1"/>
                </a:cubicBezTo>
                <a:cubicBezTo>
                  <a:pt x="30" y="2"/>
                  <a:pt x="31" y="2"/>
                  <a:pt x="31" y="2"/>
                </a:cubicBezTo>
                <a:cubicBezTo>
                  <a:pt x="31" y="2"/>
                  <a:pt x="32" y="1"/>
                  <a:pt x="32" y="2"/>
                </a:cubicBezTo>
                <a:cubicBezTo>
                  <a:pt x="31" y="1"/>
                  <a:pt x="31" y="2"/>
                  <a:pt x="30" y="2"/>
                </a:cubicBezTo>
                <a:cubicBezTo>
                  <a:pt x="30" y="1"/>
                  <a:pt x="30" y="2"/>
                  <a:pt x="29" y="2"/>
                </a:cubicBezTo>
                <a:cubicBezTo>
                  <a:pt x="30" y="2"/>
                  <a:pt x="29" y="1"/>
                  <a:pt x="29" y="1"/>
                </a:cubicBezTo>
                <a:cubicBezTo>
                  <a:pt x="29" y="1"/>
                  <a:pt x="29" y="2"/>
                  <a:pt x="28" y="1"/>
                </a:cubicBezTo>
                <a:cubicBezTo>
                  <a:pt x="28" y="1"/>
                  <a:pt x="28" y="1"/>
                  <a:pt x="28" y="1"/>
                </a:cubicBezTo>
                <a:cubicBezTo>
                  <a:pt x="26" y="0"/>
                  <a:pt x="25" y="0"/>
                  <a:pt x="24" y="1"/>
                </a:cubicBezTo>
                <a:cubicBezTo>
                  <a:pt x="23" y="1"/>
                  <a:pt x="21" y="1"/>
                  <a:pt x="22" y="2"/>
                </a:cubicBezTo>
                <a:cubicBezTo>
                  <a:pt x="22" y="2"/>
                  <a:pt x="22" y="4"/>
                  <a:pt x="22" y="4"/>
                </a:cubicBezTo>
                <a:cubicBezTo>
                  <a:pt x="22" y="3"/>
                  <a:pt x="22" y="3"/>
                  <a:pt x="21" y="2"/>
                </a:cubicBezTo>
                <a:cubicBezTo>
                  <a:pt x="20" y="2"/>
                  <a:pt x="19" y="2"/>
                  <a:pt x="19" y="2"/>
                </a:cubicBezTo>
                <a:cubicBezTo>
                  <a:pt x="18" y="1"/>
                  <a:pt x="18" y="1"/>
                  <a:pt x="17" y="1"/>
                </a:cubicBezTo>
                <a:cubicBezTo>
                  <a:pt x="16" y="1"/>
                  <a:pt x="15" y="1"/>
                  <a:pt x="14" y="1"/>
                </a:cubicBezTo>
                <a:cubicBezTo>
                  <a:pt x="13" y="1"/>
                  <a:pt x="13" y="0"/>
                  <a:pt x="11" y="0"/>
                </a:cubicBezTo>
                <a:cubicBezTo>
                  <a:pt x="11" y="1"/>
                  <a:pt x="11" y="2"/>
                  <a:pt x="10" y="2"/>
                </a:cubicBezTo>
                <a:cubicBezTo>
                  <a:pt x="10" y="3"/>
                  <a:pt x="10" y="5"/>
                  <a:pt x="9" y="5"/>
                </a:cubicBezTo>
                <a:cubicBezTo>
                  <a:pt x="9" y="6"/>
                  <a:pt x="9" y="6"/>
                  <a:pt x="9" y="7"/>
                </a:cubicBezTo>
                <a:cubicBezTo>
                  <a:pt x="9" y="7"/>
                  <a:pt x="8" y="7"/>
                  <a:pt x="8" y="8"/>
                </a:cubicBezTo>
                <a:cubicBezTo>
                  <a:pt x="8" y="8"/>
                  <a:pt x="8" y="9"/>
                  <a:pt x="8" y="9"/>
                </a:cubicBezTo>
                <a:cubicBezTo>
                  <a:pt x="9" y="9"/>
                  <a:pt x="8" y="8"/>
                  <a:pt x="9" y="9"/>
                </a:cubicBezTo>
                <a:cubicBezTo>
                  <a:pt x="9" y="9"/>
                  <a:pt x="9" y="10"/>
                  <a:pt x="9" y="10"/>
                </a:cubicBezTo>
                <a:cubicBezTo>
                  <a:pt x="8" y="9"/>
                  <a:pt x="8" y="10"/>
                  <a:pt x="8" y="10"/>
                </a:cubicBezTo>
                <a:cubicBezTo>
                  <a:pt x="8" y="10"/>
                  <a:pt x="8" y="10"/>
                  <a:pt x="8" y="10"/>
                </a:cubicBezTo>
                <a:cubicBezTo>
                  <a:pt x="8" y="11"/>
                  <a:pt x="8" y="11"/>
                  <a:pt x="8" y="11"/>
                </a:cubicBezTo>
                <a:cubicBezTo>
                  <a:pt x="8" y="11"/>
                  <a:pt x="6" y="11"/>
                  <a:pt x="6" y="11"/>
                </a:cubicBezTo>
                <a:cubicBezTo>
                  <a:pt x="5" y="11"/>
                  <a:pt x="5" y="11"/>
                  <a:pt x="5" y="11"/>
                </a:cubicBezTo>
                <a:cubicBezTo>
                  <a:pt x="4" y="11"/>
                  <a:pt x="4" y="12"/>
                  <a:pt x="4" y="12"/>
                </a:cubicBezTo>
                <a:cubicBezTo>
                  <a:pt x="3" y="12"/>
                  <a:pt x="3" y="12"/>
                  <a:pt x="3" y="12"/>
                </a:cubicBezTo>
                <a:cubicBezTo>
                  <a:pt x="2" y="13"/>
                  <a:pt x="2" y="13"/>
                  <a:pt x="2" y="13"/>
                </a:cubicBezTo>
                <a:cubicBezTo>
                  <a:pt x="2" y="14"/>
                  <a:pt x="3" y="14"/>
                  <a:pt x="3" y="15"/>
                </a:cubicBezTo>
                <a:cubicBezTo>
                  <a:pt x="3" y="16"/>
                  <a:pt x="2" y="17"/>
                  <a:pt x="2" y="18"/>
                </a:cubicBezTo>
                <a:cubicBezTo>
                  <a:pt x="1" y="18"/>
                  <a:pt x="2" y="19"/>
                  <a:pt x="1" y="19"/>
                </a:cubicBezTo>
                <a:cubicBezTo>
                  <a:pt x="1" y="20"/>
                  <a:pt x="1" y="20"/>
                  <a:pt x="1" y="20"/>
                </a:cubicBezTo>
                <a:cubicBezTo>
                  <a:pt x="0" y="22"/>
                  <a:pt x="2" y="23"/>
                  <a:pt x="2" y="25"/>
                </a:cubicBezTo>
                <a:cubicBezTo>
                  <a:pt x="3" y="26"/>
                  <a:pt x="3" y="26"/>
                  <a:pt x="4" y="27"/>
                </a:cubicBezTo>
                <a:cubicBezTo>
                  <a:pt x="4" y="28"/>
                  <a:pt x="4" y="28"/>
                  <a:pt x="4" y="29"/>
                </a:cubicBezTo>
                <a:cubicBezTo>
                  <a:pt x="4" y="29"/>
                  <a:pt x="5" y="29"/>
                  <a:pt x="5" y="30"/>
                </a:cubicBezTo>
                <a:cubicBezTo>
                  <a:pt x="5" y="30"/>
                  <a:pt x="6" y="30"/>
                  <a:pt x="6" y="30"/>
                </a:cubicBezTo>
                <a:cubicBezTo>
                  <a:pt x="6" y="30"/>
                  <a:pt x="6" y="29"/>
                  <a:pt x="6" y="29"/>
                </a:cubicBezTo>
                <a:cubicBezTo>
                  <a:pt x="7" y="29"/>
                  <a:pt x="7" y="29"/>
                  <a:pt x="7" y="29"/>
                </a:cubicBezTo>
                <a:cubicBezTo>
                  <a:pt x="8" y="29"/>
                  <a:pt x="8" y="29"/>
                  <a:pt x="8" y="30"/>
                </a:cubicBezTo>
                <a:cubicBezTo>
                  <a:pt x="8" y="30"/>
                  <a:pt x="8" y="31"/>
                  <a:pt x="8" y="31"/>
                </a:cubicBezTo>
                <a:cubicBezTo>
                  <a:pt x="8" y="32"/>
                  <a:pt x="8" y="32"/>
                  <a:pt x="8" y="33"/>
                </a:cubicBezTo>
                <a:cubicBezTo>
                  <a:pt x="8" y="34"/>
                  <a:pt x="8" y="35"/>
                  <a:pt x="9" y="35"/>
                </a:cubicBezTo>
                <a:cubicBezTo>
                  <a:pt x="10" y="36"/>
                  <a:pt x="9" y="37"/>
                  <a:pt x="10" y="37"/>
                </a:cubicBezTo>
                <a:cubicBezTo>
                  <a:pt x="10" y="37"/>
                  <a:pt x="10" y="38"/>
                  <a:pt x="10" y="38"/>
                </a:cubicBezTo>
                <a:cubicBezTo>
                  <a:pt x="10" y="38"/>
                  <a:pt x="10" y="39"/>
                  <a:pt x="11" y="39"/>
                </a:cubicBezTo>
                <a:cubicBezTo>
                  <a:pt x="11" y="39"/>
                  <a:pt x="11" y="39"/>
                  <a:pt x="11" y="39"/>
                </a:cubicBezTo>
                <a:cubicBezTo>
                  <a:pt x="11" y="40"/>
                  <a:pt x="11" y="40"/>
                  <a:pt x="11" y="40"/>
                </a:cubicBezTo>
                <a:cubicBezTo>
                  <a:pt x="11" y="41"/>
                  <a:pt x="11" y="41"/>
                  <a:pt x="12" y="41"/>
                </a:cubicBezTo>
                <a:cubicBezTo>
                  <a:pt x="12" y="42"/>
                  <a:pt x="12" y="42"/>
                  <a:pt x="13" y="43"/>
                </a:cubicBezTo>
                <a:cubicBezTo>
                  <a:pt x="13" y="44"/>
                  <a:pt x="14" y="44"/>
                  <a:pt x="14" y="44"/>
                </a:cubicBezTo>
                <a:cubicBezTo>
                  <a:pt x="15" y="44"/>
                  <a:pt x="15" y="45"/>
                  <a:pt x="16" y="45"/>
                </a:cubicBezTo>
                <a:cubicBezTo>
                  <a:pt x="16" y="45"/>
                  <a:pt x="16" y="45"/>
                  <a:pt x="17" y="45"/>
                </a:cubicBezTo>
                <a:cubicBezTo>
                  <a:pt x="17" y="45"/>
                  <a:pt x="17" y="45"/>
                  <a:pt x="18" y="46"/>
                </a:cubicBezTo>
                <a:cubicBezTo>
                  <a:pt x="18" y="46"/>
                  <a:pt x="19" y="46"/>
                  <a:pt x="20" y="46"/>
                </a:cubicBezTo>
                <a:cubicBezTo>
                  <a:pt x="21" y="46"/>
                  <a:pt x="21" y="45"/>
                  <a:pt x="21" y="44"/>
                </a:cubicBezTo>
                <a:cubicBezTo>
                  <a:pt x="21" y="44"/>
                  <a:pt x="21" y="43"/>
                  <a:pt x="20" y="43"/>
                </a:cubicBezTo>
                <a:cubicBezTo>
                  <a:pt x="20" y="43"/>
                  <a:pt x="20" y="43"/>
                  <a:pt x="20" y="42"/>
                </a:cubicBezTo>
                <a:cubicBezTo>
                  <a:pt x="20" y="42"/>
                  <a:pt x="19" y="41"/>
                  <a:pt x="19" y="41"/>
                </a:cubicBezTo>
                <a:cubicBezTo>
                  <a:pt x="18" y="42"/>
                  <a:pt x="19" y="41"/>
                  <a:pt x="19" y="41"/>
                </a:cubicBezTo>
                <a:cubicBezTo>
                  <a:pt x="19" y="40"/>
                  <a:pt x="19" y="41"/>
                  <a:pt x="20" y="40"/>
                </a:cubicBezTo>
                <a:cubicBezTo>
                  <a:pt x="20" y="40"/>
                  <a:pt x="20" y="40"/>
                  <a:pt x="20" y="40"/>
                </a:cubicBezTo>
                <a:cubicBezTo>
                  <a:pt x="20" y="39"/>
                  <a:pt x="20" y="38"/>
                  <a:pt x="21" y="38"/>
                </a:cubicBezTo>
                <a:cubicBezTo>
                  <a:pt x="21" y="38"/>
                  <a:pt x="21" y="39"/>
                  <a:pt x="22" y="39"/>
                </a:cubicBezTo>
                <a:cubicBezTo>
                  <a:pt x="22" y="40"/>
                  <a:pt x="23" y="40"/>
                  <a:pt x="24" y="40"/>
                </a:cubicBezTo>
                <a:cubicBezTo>
                  <a:pt x="25" y="39"/>
                  <a:pt x="25" y="40"/>
                  <a:pt x="26" y="40"/>
                </a:cubicBezTo>
                <a:cubicBezTo>
                  <a:pt x="26" y="39"/>
                  <a:pt x="26" y="39"/>
                  <a:pt x="27" y="39"/>
                </a:cubicBezTo>
                <a:cubicBezTo>
                  <a:pt x="27" y="38"/>
                  <a:pt x="27" y="39"/>
                  <a:pt x="28" y="39"/>
                </a:cubicBezTo>
                <a:cubicBezTo>
                  <a:pt x="28" y="38"/>
                  <a:pt x="28" y="38"/>
                  <a:pt x="29" y="38"/>
                </a:cubicBezTo>
                <a:cubicBezTo>
                  <a:pt x="29" y="38"/>
                  <a:pt x="29" y="38"/>
                  <a:pt x="29" y="38"/>
                </a:cubicBezTo>
                <a:cubicBezTo>
                  <a:pt x="29" y="38"/>
                  <a:pt x="30" y="38"/>
                  <a:pt x="30" y="38"/>
                </a:cubicBezTo>
                <a:cubicBezTo>
                  <a:pt x="30" y="37"/>
                  <a:pt x="30" y="38"/>
                  <a:pt x="30" y="39"/>
                </a:cubicBezTo>
                <a:cubicBezTo>
                  <a:pt x="30" y="39"/>
                  <a:pt x="31" y="39"/>
                  <a:pt x="31" y="39"/>
                </a:cubicBezTo>
                <a:cubicBezTo>
                  <a:pt x="32" y="40"/>
                  <a:pt x="32" y="39"/>
                  <a:pt x="33" y="39"/>
                </a:cubicBezTo>
                <a:cubicBezTo>
                  <a:pt x="33" y="40"/>
                  <a:pt x="32" y="40"/>
                  <a:pt x="33" y="41"/>
                </a:cubicBezTo>
                <a:cubicBezTo>
                  <a:pt x="33" y="41"/>
                  <a:pt x="34" y="40"/>
                  <a:pt x="34" y="40"/>
                </a:cubicBezTo>
                <a:cubicBezTo>
                  <a:pt x="35" y="41"/>
                  <a:pt x="34" y="39"/>
                  <a:pt x="35" y="40"/>
                </a:cubicBezTo>
                <a:cubicBezTo>
                  <a:pt x="36" y="40"/>
                  <a:pt x="36" y="39"/>
                  <a:pt x="36" y="38"/>
                </a:cubicBezTo>
                <a:cubicBezTo>
                  <a:pt x="36" y="37"/>
                  <a:pt x="37" y="37"/>
                  <a:pt x="37" y="36"/>
                </a:cubicBezTo>
                <a:cubicBezTo>
                  <a:pt x="38" y="35"/>
                  <a:pt x="38" y="35"/>
                  <a:pt x="38" y="34"/>
                </a:cubicBezTo>
                <a:cubicBezTo>
                  <a:pt x="38" y="34"/>
                  <a:pt x="38" y="32"/>
                  <a:pt x="38" y="32"/>
                </a:cubicBezTo>
                <a:cubicBezTo>
                  <a:pt x="38" y="31"/>
                  <a:pt x="39" y="30"/>
                  <a:pt x="39" y="29"/>
                </a:cubicBezTo>
                <a:cubicBezTo>
                  <a:pt x="40" y="28"/>
                  <a:pt x="40" y="28"/>
                  <a:pt x="40" y="27"/>
                </a:cubicBezTo>
                <a:cubicBezTo>
                  <a:pt x="40" y="26"/>
                  <a:pt x="39" y="26"/>
                  <a:pt x="39" y="26"/>
                </a:cubicBezTo>
                <a:cubicBezTo>
                  <a:pt x="39" y="26"/>
                  <a:pt x="39" y="25"/>
                  <a:pt x="39" y="25"/>
                </a:cubicBezTo>
                <a:cubicBezTo>
                  <a:pt x="38" y="24"/>
                  <a:pt x="38" y="24"/>
                  <a:pt x="38" y="24"/>
                </a:cubicBezTo>
                <a:cubicBezTo>
                  <a:pt x="37" y="23"/>
                  <a:pt x="37" y="23"/>
                  <a:pt x="37" y="23"/>
                </a:cubicBezTo>
                <a:cubicBezTo>
                  <a:pt x="37" y="22"/>
                  <a:pt x="36" y="22"/>
                  <a:pt x="36" y="21"/>
                </a:cubicBezTo>
                <a:cubicBezTo>
                  <a:pt x="37" y="21"/>
                  <a:pt x="37" y="21"/>
                  <a:pt x="36" y="20"/>
                </a:cubicBezTo>
                <a:cubicBezTo>
                  <a:pt x="36" y="20"/>
                  <a:pt x="36" y="20"/>
                  <a:pt x="36" y="19"/>
                </a:cubicBezTo>
                <a:cubicBezTo>
                  <a:pt x="36" y="19"/>
                  <a:pt x="36" y="18"/>
                  <a:pt x="36" y="18"/>
                </a:cubicBezTo>
                <a:cubicBezTo>
                  <a:pt x="35" y="17"/>
                  <a:pt x="36" y="16"/>
                  <a:pt x="36" y="14"/>
                </a:cubicBezTo>
                <a:cubicBezTo>
                  <a:pt x="36" y="14"/>
                  <a:pt x="35" y="14"/>
                  <a:pt x="35" y="13"/>
                </a:cubicBezTo>
                <a:cubicBezTo>
                  <a:pt x="35" y="12"/>
                  <a:pt x="35" y="12"/>
                  <a:pt x="36" y="11"/>
                </a:cubicBezTo>
                <a:cubicBezTo>
                  <a:pt x="36" y="11"/>
                  <a:pt x="36" y="10"/>
                  <a:pt x="37" y="1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7" name="Sudan"/>
          <p:cNvSpPr>
            <a:spLocks/>
          </p:cNvSpPr>
          <p:nvPr/>
        </p:nvSpPr>
        <p:spPr bwMode="auto">
          <a:xfrm>
            <a:off x="6554054" y="3744972"/>
            <a:ext cx="581979" cy="780971"/>
          </a:xfrm>
          <a:custGeom>
            <a:avLst/>
            <a:gdLst/>
            <a:ahLst/>
            <a:cxnLst>
              <a:cxn ang="0">
                <a:pos x="157" y="53"/>
              </a:cxn>
              <a:cxn ang="0">
                <a:pos x="151" y="49"/>
              </a:cxn>
              <a:cxn ang="0">
                <a:pos x="146" y="37"/>
              </a:cxn>
              <a:cxn ang="0">
                <a:pos x="145" y="24"/>
              </a:cxn>
              <a:cxn ang="0">
                <a:pos x="145" y="22"/>
              </a:cxn>
              <a:cxn ang="0">
                <a:pos x="142" y="14"/>
              </a:cxn>
              <a:cxn ang="0">
                <a:pos x="136" y="6"/>
              </a:cxn>
              <a:cxn ang="0">
                <a:pos x="127" y="3"/>
              </a:cxn>
              <a:cxn ang="0">
                <a:pos x="116" y="10"/>
              </a:cxn>
              <a:cxn ang="0">
                <a:pos x="104" y="12"/>
              </a:cxn>
              <a:cxn ang="0">
                <a:pos x="67" y="12"/>
              </a:cxn>
              <a:cxn ang="0">
                <a:pos x="20" y="41"/>
              </a:cxn>
              <a:cxn ang="0">
                <a:pos x="11" y="83"/>
              </a:cxn>
              <a:cxn ang="0">
                <a:pos x="8" y="93"/>
              </a:cxn>
              <a:cxn ang="0">
                <a:pos x="7" y="98"/>
              </a:cxn>
              <a:cxn ang="0">
                <a:pos x="3" y="104"/>
              </a:cxn>
              <a:cxn ang="0">
                <a:pos x="4" y="115"/>
              </a:cxn>
              <a:cxn ang="0">
                <a:pos x="8" y="122"/>
              </a:cxn>
              <a:cxn ang="0">
                <a:pos x="11" y="135"/>
              </a:cxn>
              <a:cxn ang="0">
                <a:pos x="17" y="153"/>
              </a:cxn>
              <a:cxn ang="0">
                <a:pos x="21" y="158"/>
              </a:cxn>
              <a:cxn ang="0">
                <a:pos x="28" y="164"/>
              </a:cxn>
              <a:cxn ang="0">
                <a:pos x="34" y="172"/>
              </a:cxn>
              <a:cxn ang="0">
                <a:pos x="45" y="182"/>
              </a:cxn>
              <a:cxn ang="0">
                <a:pos x="47" y="187"/>
              </a:cxn>
              <a:cxn ang="0">
                <a:pos x="52" y="191"/>
              </a:cxn>
              <a:cxn ang="0">
                <a:pos x="56" y="199"/>
              </a:cxn>
              <a:cxn ang="0">
                <a:pos x="61" y="204"/>
              </a:cxn>
              <a:cxn ang="0">
                <a:pos x="66" y="207"/>
              </a:cxn>
              <a:cxn ang="0">
                <a:pos x="73" y="206"/>
              </a:cxn>
              <a:cxn ang="0">
                <a:pos x="78" y="205"/>
              </a:cxn>
              <a:cxn ang="0">
                <a:pos x="84" y="211"/>
              </a:cxn>
              <a:cxn ang="0">
                <a:pos x="89" y="216"/>
              </a:cxn>
              <a:cxn ang="0">
                <a:pos x="100" y="215"/>
              </a:cxn>
              <a:cxn ang="0">
                <a:pos x="110" y="212"/>
              </a:cxn>
              <a:cxn ang="0">
                <a:pos x="128" y="200"/>
              </a:cxn>
              <a:cxn ang="0">
                <a:pos x="135" y="203"/>
              </a:cxn>
              <a:cxn ang="0">
                <a:pos x="136" y="195"/>
              </a:cxn>
              <a:cxn ang="0">
                <a:pos x="130" y="191"/>
              </a:cxn>
              <a:cxn ang="0">
                <a:pos x="124" y="179"/>
              </a:cxn>
              <a:cxn ang="0">
                <a:pos x="117" y="171"/>
              </a:cxn>
              <a:cxn ang="0">
                <a:pos x="110" y="166"/>
              </a:cxn>
              <a:cxn ang="0">
                <a:pos x="111" y="163"/>
              </a:cxn>
              <a:cxn ang="0">
                <a:pos x="118" y="162"/>
              </a:cxn>
              <a:cxn ang="0">
                <a:pos x="121" y="138"/>
              </a:cxn>
              <a:cxn ang="0">
                <a:pos x="126" y="136"/>
              </a:cxn>
              <a:cxn ang="0">
                <a:pos x="129" y="124"/>
              </a:cxn>
              <a:cxn ang="0">
                <a:pos x="138" y="114"/>
              </a:cxn>
              <a:cxn ang="0">
                <a:pos x="140" y="105"/>
              </a:cxn>
              <a:cxn ang="0">
                <a:pos x="141" y="87"/>
              </a:cxn>
              <a:cxn ang="0">
                <a:pos x="145" y="73"/>
              </a:cxn>
              <a:cxn ang="0">
                <a:pos x="148" y="67"/>
              </a:cxn>
              <a:cxn ang="0">
                <a:pos x="154" y="62"/>
              </a:cxn>
              <a:cxn ang="0">
                <a:pos x="159" y="59"/>
              </a:cxn>
            </a:cxnLst>
            <a:rect l="0" t="0" r="r" b="b"/>
            <a:pathLst>
              <a:path w="161" h="216">
                <a:moveTo>
                  <a:pt x="159" y="55"/>
                </a:moveTo>
                <a:cubicBezTo>
                  <a:pt x="160" y="55"/>
                  <a:pt x="159" y="56"/>
                  <a:pt x="159" y="56"/>
                </a:cubicBezTo>
                <a:cubicBezTo>
                  <a:pt x="159" y="55"/>
                  <a:pt x="159" y="55"/>
                  <a:pt x="159" y="55"/>
                </a:cubicBezTo>
                <a:cubicBezTo>
                  <a:pt x="158" y="55"/>
                  <a:pt x="158" y="54"/>
                  <a:pt x="158" y="54"/>
                </a:cubicBezTo>
                <a:cubicBezTo>
                  <a:pt x="158" y="55"/>
                  <a:pt x="157" y="54"/>
                  <a:pt x="156" y="54"/>
                </a:cubicBezTo>
                <a:cubicBezTo>
                  <a:pt x="157" y="54"/>
                  <a:pt x="157" y="54"/>
                  <a:pt x="157" y="53"/>
                </a:cubicBezTo>
                <a:cubicBezTo>
                  <a:pt x="157" y="53"/>
                  <a:pt x="157" y="54"/>
                  <a:pt x="156" y="54"/>
                </a:cubicBezTo>
                <a:cubicBezTo>
                  <a:pt x="155" y="54"/>
                  <a:pt x="155" y="53"/>
                  <a:pt x="155" y="52"/>
                </a:cubicBezTo>
                <a:cubicBezTo>
                  <a:pt x="155" y="52"/>
                  <a:pt x="154" y="51"/>
                  <a:pt x="154" y="51"/>
                </a:cubicBezTo>
                <a:cubicBezTo>
                  <a:pt x="153" y="50"/>
                  <a:pt x="152" y="50"/>
                  <a:pt x="152" y="49"/>
                </a:cubicBezTo>
                <a:cubicBezTo>
                  <a:pt x="152" y="49"/>
                  <a:pt x="152" y="49"/>
                  <a:pt x="152" y="50"/>
                </a:cubicBezTo>
                <a:cubicBezTo>
                  <a:pt x="152" y="49"/>
                  <a:pt x="152" y="49"/>
                  <a:pt x="151" y="49"/>
                </a:cubicBezTo>
                <a:cubicBezTo>
                  <a:pt x="151" y="48"/>
                  <a:pt x="150" y="49"/>
                  <a:pt x="149" y="48"/>
                </a:cubicBezTo>
                <a:cubicBezTo>
                  <a:pt x="149" y="48"/>
                  <a:pt x="149" y="47"/>
                  <a:pt x="148" y="47"/>
                </a:cubicBezTo>
                <a:cubicBezTo>
                  <a:pt x="148" y="46"/>
                  <a:pt x="148" y="46"/>
                  <a:pt x="148" y="45"/>
                </a:cubicBezTo>
                <a:cubicBezTo>
                  <a:pt x="148" y="45"/>
                  <a:pt x="148" y="45"/>
                  <a:pt x="148" y="44"/>
                </a:cubicBezTo>
                <a:cubicBezTo>
                  <a:pt x="148" y="43"/>
                  <a:pt x="147" y="41"/>
                  <a:pt x="147" y="40"/>
                </a:cubicBezTo>
                <a:cubicBezTo>
                  <a:pt x="146" y="39"/>
                  <a:pt x="147" y="38"/>
                  <a:pt x="146" y="37"/>
                </a:cubicBezTo>
                <a:cubicBezTo>
                  <a:pt x="146" y="36"/>
                  <a:pt x="146" y="35"/>
                  <a:pt x="146" y="34"/>
                </a:cubicBezTo>
                <a:cubicBezTo>
                  <a:pt x="146" y="34"/>
                  <a:pt x="146" y="33"/>
                  <a:pt x="146" y="32"/>
                </a:cubicBezTo>
                <a:cubicBezTo>
                  <a:pt x="145" y="31"/>
                  <a:pt x="145" y="30"/>
                  <a:pt x="145" y="30"/>
                </a:cubicBezTo>
                <a:cubicBezTo>
                  <a:pt x="146" y="29"/>
                  <a:pt x="146" y="29"/>
                  <a:pt x="146" y="28"/>
                </a:cubicBezTo>
                <a:cubicBezTo>
                  <a:pt x="145" y="27"/>
                  <a:pt x="145" y="26"/>
                  <a:pt x="145" y="25"/>
                </a:cubicBezTo>
                <a:cubicBezTo>
                  <a:pt x="145" y="24"/>
                  <a:pt x="145" y="24"/>
                  <a:pt x="145" y="24"/>
                </a:cubicBezTo>
                <a:cubicBezTo>
                  <a:pt x="145" y="23"/>
                  <a:pt x="144" y="23"/>
                  <a:pt x="144" y="23"/>
                </a:cubicBezTo>
                <a:cubicBezTo>
                  <a:pt x="144" y="23"/>
                  <a:pt x="145" y="23"/>
                  <a:pt x="145" y="23"/>
                </a:cubicBezTo>
                <a:cubicBezTo>
                  <a:pt x="145" y="22"/>
                  <a:pt x="144" y="22"/>
                  <a:pt x="144" y="22"/>
                </a:cubicBezTo>
                <a:cubicBezTo>
                  <a:pt x="144" y="21"/>
                  <a:pt x="144" y="21"/>
                  <a:pt x="145" y="21"/>
                </a:cubicBezTo>
                <a:cubicBezTo>
                  <a:pt x="145" y="21"/>
                  <a:pt x="145" y="21"/>
                  <a:pt x="145" y="22"/>
                </a:cubicBezTo>
                <a:cubicBezTo>
                  <a:pt x="145" y="22"/>
                  <a:pt x="145" y="22"/>
                  <a:pt x="145" y="22"/>
                </a:cubicBezTo>
                <a:cubicBezTo>
                  <a:pt x="146" y="22"/>
                  <a:pt x="146" y="23"/>
                  <a:pt x="146" y="23"/>
                </a:cubicBezTo>
                <a:cubicBezTo>
                  <a:pt x="146" y="23"/>
                  <a:pt x="145" y="22"/>
                  <a:pt x="145" y="22"/>
                </a:cubicBezTo>
                <a:cubicBezTo>
                  <a:pt x="145" y="23"/>
                  <a:pt x="146" y="24"/>
                  <a:pt x="146" y="23"/>
                </a:cubicBezTo>
                <a:cubicBezTo>
                  <a:pt x="146" y="22"/>
                  <a:pt x="144" y="21"/>
                  <a:pt x="144" y="20"/>
                </a:cubicBezTo>
                <a:cubicBezTo>
                  <a:pt x="143" y="18"/>
                  <a:pt x="142" y="17"/>
                  <a:pt x="142" y="15"/>
                </a:cubicBezTo>
                <a:cubicBezTo>
                  <a:pt x="142" y="15"/>
                  <a:pt x="142" y="14"/>
                  <a:pt x="142" y="14"/>
                </a:cubicBezTo>
                <a:cubicBezTo>
                  <a:pt x="142" y="13"/>
                  <a:pt x="142" y="13"/>
                  <a:pt x="142" y="12"/>
                </a:cubicBezTo>
                <a:cubicBezTo>
                  <a:pt x="142" y="12"/>
                  <a:pt x="142" y="12"/>
                  <a:pt x="142" y="12"/>
                </a:cubicBezTo>
                <a:cubicBezTo>
                  <a:pt x="143" y="12"/>
                  <a:pt x="140" y="10"/>
                  <a:pt x="140" y="10"/>
                </a:cubicBezTo>
                <a:cubicBezTo>
                  <a:pt x="139" y="10"/>
                  <a:pt x="139" y="9"/>
                  <a:pt x="138" y="9"/>
                </a:cubicBezTo>
                <a:cubicBezTo>
                  <a:pt x="137" y="9"/>
                  <a:pt x="137" y="8"/>
                  <a:pt x="137" y="7"/>
                </a:cubicBezTo>
                <a:cubicBezTo>
                  <a:pt x="136" y="7"/>
                  <a:pt x="136" y="6"/>
                  <a:pt x="136" y="6"/>
                </a:cubicBezTo>
                <a:cubicBezTo>
                  <a:pt x="135" y="5"/>
                  <a:pt x="134" y="5"/>
                  <a:pt x="133" y="5"/>
                </a:cubicBezTo>
                <a:cubicBezTo>
                  <a:pt x="133" y="5"/>
                  <a:pt x="132" y="4"/>
                  <a:pt x="132" y="4"/>
                </a:cubicBezTo>
                <a:cubicBezTo>
                  <a:pt x="131" y="4"/>
                  <a:pt x="131" y="3"/>
                  <a:pt x="131" y="2"/>
                </a:cubicBezTo>
                <a:cubicBezTo>
                  <a:pt x="131" y="2"/>
                  <a:pt x="131" y="3"/>
                  <a:pt x="131" y="3"/>
                </a:cubicBezTo>
                <a:cubicBezTo>
                  <a:pt x="130" y="2"/>
                  <a:pt x="130" y="1"/>
                  <a:pt x="129" y="0"/>
                </a:cubicBezTo>
                <a:cubicBezTo>
                  <a:pt x="129" y="1"/>
                  <a:pt x="128" y="2"/>
                  <a:pt x="127" y="3"/>
                </a:cubicBezTo>
                <a:cubicBezTo>
                  <a:pt x="126" y="3"/>
                  <a:pt x="126" y="4"/>
                  <a:pt x="125" y="4"/>
                </a:cubicBezTo>
                <a:cubicBezTo>
                  <a:pt x="125" y="4"/>
                  <a:pt x="124" y="3"/>
                  <a:pt x="123" y="3"/>
                </a:cubicBezTo>
                <a:cubicBezTo>
                  <a:pt x="123" y="4"/>
                  <a:pt x="123" y="5"/>
                  <a:pt x="122" y="6"/>
                </a:cubicBezTo>
                <a:cubicBezTo>
                  <a:pt x="122" y="7"/>
                  <a:pt x="122" y="8"/>
                  <a:pt x="121" y="9"/>
                </a:cubicBezTo>
                <a:cubicBezTo>
                  <a:pt x="121" y="10"/>
                  <a:pt x="120" y="10"/>
                  <a:pt x="119" y="10"/>
                </a:cubicBezTo>
                <a:cubicBezTo>
                  <a:pt x="119" y="10"/>
                  <a:pt x="117" y="10"/>
                  <a:pt x="116" y="10"/>
                </a:cubicBezTo>
                <a:cubicBezTo>
                  <a:pt x="116" y="11"/>
                  <a:pt x="115" y="12"/>
                  <a:pt x="116" y="12"/>
                </a:cubicBezTo>
                <a:cubicBezTo>
                  <a:pt x="115" y="12"/>
                  <a:pt x="115" y="15"/>
                  <a:pt x="114" y="15"/>
                </a:cubicBezTo>
                <a:cubicBezTo>
                  <a:pt x="114" y="15"/>
                  <a:pt x="112" y="15"/>
                  <a:pt x="111" y="15"/>
                </a:cubicBezTo>
                <a:cubicBezTo>
                  <a:pt x="110" y="16"/>
                  <a:pt x="109" y="15"/>
                  <a:pt x="108" y="14"/>
                </a:cubicBezTo>
                <a:cubicBezTo>
                  <a:pt x="108" y="13"/>
                  <a:pt x="107" y="13"/>
                  <a:pt x="106" y="12"/>
                </a:cubicBezTo>
                <a:cubicBezTo>
                  <a:pt x="105" y="12"/>
                  <a:pt x="105" y="12"/>
                  <a:pt x="104" y="12"/>
                </a:cubicBezTo>
                <a:cubicBezTo>
                  <a:pt x="100" y="12"/>
                  <a:pt x="96" y="12"/>
                  <a:pt x="92" y="12"/>
                </a:cubicBezTo>
                <a:cubicBezTo>
                  <a:pt x="89" y="12"/>
                  <a:pt x="91" y="12"/>
                  <a:pt x="91" y="10"/>
                </a:cubicBezTo>
                <a:cubicBezTo>
                  <a:pt x="90" y="9"/>
                  <a:pt x="89" y="12"/>
                  <a:pt x="89" y="12"/>
                </a:cubicBezTo>
                <a:cubicBezTo>
                  <a:pt x="88" y="13"/>
                  <a:pt x="86" y="12"/>
                  <a:pt x="86" y="12"/>
                </a:cubicBezTo>
                <a:cubicBezTo>
                  <a:pt x="83" y="12"/>
                  <a:pt x="81" y="12"/>
                  <a:pt x="79" y="12"/>
                </a:cubicBezTo>
                <a:cubicBezTo>
                  <a:pt x="75" y="12"/>
                  <a:pt x="71" y="12"/>
                  <a:pt x="67" y="12"/>
                </a:cubicBezTo>
                <a:cubicBezTo>
                  <a:pt x="58" y="12"/>
                  <a:pt x="50" y="12"/>
                  <a:pt x="42" y="12"/>
                </a:cubicBezTo>
                <a:cubicBezTo>
                  <a:pt x="37" y="12"/>
                  <a:pt x="33" y="12"/>
                  <a:pt x="29" y="12"/>
                </a:cubicBezTo>
                <a:cubicBezTo>
                  <a:pt x="29" y="20"/>
                  <a:pt x="29" y="27"/>
                  <a:pt x="30" y="34"/>
                </a:cubicBezTo>
                <a:cubicBezTo>
                  <a:pt x="28" y="34"/>
                  <a:pt x="26" y="34"/>
                  <a:pt x="24" y="34"/>
                </a:cubicBezTo>
                <a:cubicBezTo>
                  <a:pt x="23" y="35"/>
                  <a:pt x="20" y="34"/>
                  <a:pt x="20" y="35"/>
                </a:cubicBezTo>
                <a:cubicBezTo>
                  <a:pt x="20" y="37"/>
                  <a:pt x="20" y="39"/>
                  <a:pt x="20" y="41"/>
                </a:cubicBezTo>
                <a:cubicBezTo>
                  <a:pt x="20" y="43"/>
                  <a:pt x="20" y="45"/>
                  <a:pt x="20" y="47"/>
                </a:cubicBezTo>
                <a:cubicBezTo>
                  <a:pt x="20" y="55"/>
                  <a:pt x="21" y="64"/>
                  <a:pt x="21" y="72"/>
                </a:cubicBezTo>
                <a:cubicBezTo>
                  <a:pt x="21" y="73"/>
                  <a:pt x="21" y="82"/>
                  <a:pt x="21" y="82"/>
                </a:cubicBezTo>
                <a:cubicBezTo>
                  <a:pt x="20" y="82"/>
                  <a:pt x="19" y="81"/>
                  <a:pt x="18" y="81"/>
                </a:cubicBezTo>
                <a:cubicBezTo>
                  <a:pt x="17" y="81"/>
                  <a:pt x="15" y="82"/>
                  <a:pt x="14" y="82"/>
                </a:cubicBezTo>
                <a:cubicBezTo>
                  <a:pt x="12" y="81"/>
                  <a:pt x="12" y="82"/>
                  <a:pt x="11" y="83"/>
                </a:cubicBezTo>
                <a:cubicBezTo>
                  <a:pt x="10" y="84"/>
                  <a:pt x="11" y="85"/>
                  <a:pt x="11" y="85"/>
                </a:cubicBezTo>
                <a:cubicBezTo>
                  <a:pt x="11" y="86"/>
                  <a:pt x="11" y="87"/>
                  <a:pt x="11" y="88"/>
                </a:cubicBezTo>
                <a:cubicBezTo>
                  <a:pt x="11" y="88"/>
                  <a:pt x="10" y="89"/>
                  <a:pt x="9" y="89"/>
                </a:cubicBezTo>
                <a:cubicBezTo>
                  <a:pt x="9" y="90"/>
                  <a:pt x="9" y="90"/>
                  <a:pt x="9" y="90"/>
                </a:cubicBezTo>
                <a:cubicBezTo>
                  <a:pt x="9" y="91"/>
                  <a:pt x="9" y="91"/>
                  <a:pt x="8" y="91"/>
                </a:cubicBezTo>
                <a:cubicBezTo>
                  <a:pt x="8" y="92"/>
                  <a:pt x="9" y="92"/>
                  <a:pt x="8" y="93"/>
                </a:cubicBezTo>
                <a:cubicBezTo>
                  <a:pt x="8" y="93"/>
                  <a:pt x="7" y="93"/>
                  <a:pt x="7" y="93"/>
                </a:cubicBezTo>
                <a:cubicBezTo>
                  <a:pt x="7" y="93"/>
                  <a:pt x="6" y="94"/>
                  <a:pt x="6" y="94"/>
                </a:cubicBezTo>
                <a:cubicBezTo>
                  <a:pt x="6" y="95"/>
                  <a:pt x="6" y="95"/>
                  <a:pt x="6" y="95"/>
                </a:cubicBezTo>
                <a:cubicBezTo>
                  <a:pt x="6" y="95"/>
                  <a:pt x="6" y="96"/>
                  <a:pt x="6" y="96"/>
                </a:cubicBezTo>
                <a:cubicBezTo>
                  <a:pt x="7" y="97"/>
                  <a:pt x="6" y="98"/>
                  <a:pt x="7" y="98"/>
                </a:cubicBezTo>
                <a:cubicBezTo>
                  <a:pt x="7" y="98"/>
                  <a:pt x="7" y="98"/>
                  <a:pt x="7" y="98"/>
                </a:cubicBezTo>
                <a:cubicBezTo>
                  <a:pt x="7" y="99"/>
                  <a:pt x="7" y="99"/>
                  <a:pt x="7" y="99"/>
                </a:cubicBezTo>
                <a:cubicBezTo>
                  <a:pt x="7" y="99"/>
                  <a:pt x="6" y="100"/>
                  <a:pt x="6" y="100"/>
                </a:cubicBezTo>
                <a:cubicBezTo>
                  <a:pt x="6" y="100"/>
                  <a:pt x="5" y="100"/>
                  <a:pt x="5" y="100"/>
                </a:cubicBezTo>
                <a:cubicBezTo>
                  <a:pt x="4" y="101"/>
                  <a:pt x="4" y="101"/>
                  <a:pt x="3" y="102"/>
                </a:cubicBezTo>
                <a:cubicBezTo>
                  <a:pt x="3" y="103"/>
                  <a:pt x="3" y="103"/>
                  <a:pt x="3" y="104"/>
                </a:cubicBezTo>
                <a:cubicBezTo>
                  <a:pt x="3" y="104"/>
                  <a:pt x="3" y="104"/>
                  <a:pt x="3" y="104"/>
                </a:cubicBezTo>
                <a:cubicBezTo>
                  <a:pt x="3" y="104"/>
                  <a:pt x="4" y="105"/>
                  <a:pt x="4" y="105"/>
                </a:cubicBezTo>
                <a:cubicBezTo>
                  <a:pt x="4" y="105"/>
                  <a:pt x="4" y="106"/>
                  <a:pt x="4" y="106"/>
                </a:cubicBezTo>
                <a:cubicBezTo>
                  <a:pt x="4" y="107"/>
                  <a:pt x="5" y="107"/>
                  <a:pt x="5" y="108"/>
                </a:cubicBezTo>
                <a:cubicBezTo>
                  <a:pt x="4" y="109"/>
                  <a:pt x="3" y="109"/>
                  <a:pt x="2" y="110"/>
                </a:cubicBezTo>
                <a:cubicBezTo>
                  <a:pt x="2" y="110"/>
                  <a:pt x="1" y="112"/>
                  <a:pt x="1" y="113"/>
                </a:cubicBezTo>
                <a:cubicBezTo>
                  <a:pt x="0" y="115"/>
                  <a:pt x="3" y="117"/>
                  <a:pt x="4" y="115"/>
                </a:cubicBezTo>
                <a:cubicBezTo>
                  <a:pt x="4" y="114"/>
                  <a:pt x="5" y="115"/>
                  <a:pt x="5" y="115"/>
                </a:cubicBezTo>
                <a:cubicBezTo>
                  <a:pt x="6" y="115"/>
                  <a:pt x="7" y="115"/>
                  <a:pt x="6" y="116"/>
                </a:cubicBezTo>
                <a:cubicBezTo>
                  <a:pt x="6" y="117"/>
                  <a:pt x="6" y="118"/>
                  <a:pt x="6" y="119"/>
                </a:cubicBezTo>
                <a:cubicBezTo>
                  <a:pt x="7" y="119"/>
                  <a:pt x="7" y="120"/>
                  <a:pt x="7" y="120"/>
                </a:cubicBezTo>
                <a:cubicBezTo>
                  <a:pt x="7" y="121"/>
                  <a:pt x="7" y="121"/>
                  <a:pt x="7" y="122"/>
                </a:cubicBezTo>
                <a:cubicBezTo>
                  <a:pt x="7" y="122"/>
                  <a:pt x="8" y="122"/>
                  <a:pt x="8" y="122"/>
                </a:cubicBezTo>
                <a:cubicBezTo>
                  <a:pt x="8" y="122"/>
                  <a:pt x="8" y="123"/>
                  <a:pt x="8" y="123"/>
                </a:cubicBezTo>
                <a:cubicBezTo>
                  <a:pt x="8" y="124"/>
                  <a:pt x="8" y="125"/>
                  <a:pt x="8" y="125"/>
                </a:cubicBezTo>
                <a:cubicBezTo>
                  <a:pt x="7" y="127"/>
                  <a:pt x="9" y="128"/>
                  <a:pt x="10" y="129"/>
                </a:cubicBezTo>
                <a:cubicBezTo>
                  <a:pt x="10" y="129"/>
                  <a:pt x="11" y="129"/>
                  <a:pt x="11" y="129"/>
                </a:cubicBezTo>
                <a:cubicBezTo>
                  <a:pt x="11" y="129"/>
                  <a:pt x="12" y="130"/>
                  <a:pt x="12" y="131"/>
                </a:cubicBezTo>
                <a:cubicBezTo>
                  <a:pt x="12" y="132"/>
                  <a:pt x="10" y="134"/>
                  <a:pt x="11" y="135"/>
                </a:cubicBezTo>
                <a:cubicBezTo>
                  <a:pt x="12" y="137"/>
                  <a:pt x="13" y="137"/>
                  <a:pt x="14" y="139"/>
                </a:cubicBezTo>
                <a:cubicBezTo>
                  <a:pt x="15" y="140"/>
                  <a:pt x="16" y="142"/>
                  <a:pt x="17" y="143"/>
                </a:cubicBezTo>
                <a:cubicBezTo>
                  <a:pt x="18" y="145"/>
                  <a:pt x="19" y="146"/>
                  <a:pt x="19" y="148"/>
                </a:cubicBezTo>
                <a:cubicBezTo>
                  <a:pt x="19" y="149"/>
                  <a:pt x="18" y="149"/>
                  <a:pt x="18" y="150"/>
                </a:cubicBezTo>
                <a:cubicBezTo>
                  <a:pt x="18" y="151"/>
                  <a:pt x="19" y="152"/>
                  <a:pt x="18" y="152"/>
                </a:cubicBezTo>
                <a:cubicBezTo>
                  <a:pt x="18" y="153"/>
                  <a:pt x="18" y="153"/>
                  <a:pt x="17" y="153"/>
                </a:cubicBezTo>
                <a:cubicBezTo>
                  <a:pt x="17" y="154"/>
                  <a:pt x="17" y="154"/>
                  <a:pt x="17" y="155"/>
                </a:cubicBezTo>
                <a:cubicBezTo>
                  <a:pt x="17" y="155"/>
                  <a:pt x="17" y="156"/>
                  <a:pt x="17" y="156"/>
                </a:cubicBezTo>
                <a:cubicBezTo>
                  <a:pt x="18" y="156"/>
                  <a:pt x="18" y="155"/>
                  <a:pt x="18" y="156"/>
                </a:cubicBezTo>
                <a:cubicBezTo>
                  <a:pt x="18" y="157"/>
                  <a:pt x="17" y="158"/>
                  <a:pt x="17" y="158"/>
                </a:cubicBezTo>
                <a:cubicBezTo>
                  <a:pt x="17" y="159"/>
                  <a:pt x="18" y="158"/>
                  <a:pt x="19" y="158"/>
                </a:cubicBezTo>
                <a:cubicBezTo>
                  <a:pt x="19" y="158"/>
                  <a:pt x="20" y="158"/>
                  <a:pt x="21" y="158"/>
                </a:cubicBezTo>
                <a:cubicBezTo>
                  <a:pt x="21" y="158"/>
                  <a:pt x="22" y="159"/>
                  <a:pt x="23" y="159"/>
                </a:cubicBezTo>
                <a:cubicBezTo>
                  <a:pt x="23" y="159"/>
                  <a:pt x="24" y="158"/>
                  <a:pt x="24" y="159"/>
                </a:cubicBezTo>
                <a:cubicBezTo>
                  <a:pt x="25" y="160"/>
                  <a:pt x="24" y="161"/>
                  <a:pt x="23" y="162"/>
                </a:cubicBezTo>
                <a:cubicBezTo>
                  <a:pt x="23" y="163"/>
                  <a:pt x="25" y="163"/>
                  <a:pt x="26" y="163"/>
                </a:cubicBezTo>
                <a:cubicBezTo>
                  <a:pt x="27" y="164"/>
                  <a:pt x="27" y="164"/>
                  <a:pt x="27" y="164"/>
                </a:cubicBezTo>
                <a:cubicBezTo>
                  <a:pt x="27" y="164"/>
                  <a:pt x="28" y="164"/>
                  <a:pt x="28" y="164"/>
                </a:cubicBezTo>
                <a:cubicBezTo>
                  <a:pt x="29" y="164"/>
                  <a:pt x="30" y="164"/>
                  <a:pt x="30" y="165"/>
                </a:cubicBezTo>
                <a:cubicBezTo>
                  <a:pt x="31" y="165"/>
                  <a:pt x="31" y="166"/>
                  <a:pt x="32" y="167"/>
                </a:cubicBezTo>
                <a:cubicBezTo>
                  <a:pt x="32" y="167"/>
                  <a:pt x="32" y="167"/>
                  <a:pt x="33" y="167"/>
                </a:cubicBezTo>
                <a:cubicBezTo>
                  <a:pt x="34" y="167"/>
                  <a:pt x="34" y="169"/>
                  <a:pt x="34" y="169"/>
                </a:cubicBezTo>
                <a:cubicBezTo>
                  <a:pt x="35" y="170"/>
                  <a:pt x="35" y="170"/>
                  <a:pt x="34" y="171"/>
                </a:cubicBezTo>
                <a:cubicBezTo>
                  <a:pt x="33" y="171"/>
                  <a:pt x="34" y="172"/>
                  <a:pt x="34" y="172"/>
                </a:cubicBezTo>
                <a:cubicBezTo>
                  <a:pt x="35" y="172"/>
                  <a:pt x="35" y="173"/>
                  <a:pt x="36" y="174"/>
                </a:cubicBezTo>
                <a:cubicBezTo>
                  <a:pt x="37" y="175"/>
                  <a:pt x="39" y="175"/>
                  <a:pt x="40" y="176"/>
                </a:cubicBezTo>
                <a:cubicBezTo>
                  <a:pt x="40" y="177"/>
                  <a:pt x="41" y="177"/>
                  <a:pt x="42" y="177"/>
                </a:cubicBezTo>
                <a:cubicBezTo>
                  <a:pt x="42" y="178"/>
                  <a:pt x="42" y="178"/>
                  <a:pt x="42" y="179"/>
                </a:cubicBezTo>
                <a:cubicBezTo>
                  <a:pt x="43" y="179"/>
                  <a:pt x="44" y="180"/>
                  <a:pt x="44" y="180"/>
                </a:cubicBezTo>
                <a:cubicBezTo>
                  <a:pt x="44" y="181"/>
                  <a:pt x="45" y="181"/>
                  <a:pt x="45" y="182"/>
                </a:cubicBezTo>
                <a:cubicBezTo>
                  <a:pt x="45" y="182"/>
                  <a:pt x="44" y="183"/>
                  <a:pt x="44" y="184"/>
                </a:cubicBezTo>
                <a:cubicBezTo>
                  <a:pt x="44" y="184"/>
                  <a:pt x="45" y="185"/>
                  <a:pt x="45" y="185"/>
                </a:cubicBezTo>
                <a:cubicBezTo>
                  <a:pt x="46" y="185"/>
                  <a:pt x="46" y="185"/>
                  <a:pt x="46" y="185"/>
                </a:cubicBezTo>
                <a:cubicBezTo>
                  <a:pt x="46" y="185"/>
                  <a:pt x="46" y="186"/>
                  <a:pt x="47" y="186"/>
                </a:cubicBezTo>
                <a:cubicBezTo>
                  <a:pt x="47" y="187"/>
                  <a:pt x="46" y="187"/>
                  <a:pt x="46" y="187"/>
                </a:cubicBezTo>
                <a:cubicBezTo>
                  <a:pt x="46" y="187"/>
                  <a:pt x="46" y="187"/>
                  <a:pt x="47" y="187"/>
                </a:cubicBezTo>
                <a:cubicBezTo>
                  <a:pt x="47" y="188"/>
                  <a:pt x="47" y="188"/>
                  <a:pt x="48" y="188"/>
                </a:cubicBezTo>
                <a:cubicBezTo>
                  <a:pt x="49" y="188"/>
                  <a:pt x="49" y="189"/>
                  <a:pt x="50" y="189"/>
                </a:cubicBezTo>
                <a:cubicBezTo>
                  <a:pt x="50" y="189"/>
                  <a:pt x="50" y="190"/>
                  <a:pt x="50" y="190"/>
                </a:cubicBezTo>
                <a:cubicBezTo>
                  <a:pt x="50" y="189"/>
                  <a:pt x="50" y="190"/>
                  <a:pt x="51" y="190"/>
                </a:cubicBezTo>
                <a:cubicBezTo>
                  <a:pt x="51" y="190"/>
                  <a:pt x="51" y="190"/>
                  <a:pt x="51" y="190"/>
                </a:cubicBezTo>
                <a:cubicBezTo>
                  <a:pt x="52" y="190"/>
                  <a:pt x="52" y="191"/>
                  <a:pt x="52" y="191"/>
                </a:cubicBezTo>
                <a:cubicBezTo>
                  <a:pt x="53" y="191"/>
                  <a:pt x="53" y="191"/>
                  <a:pt x="53" y="192"/>
                </a:cubicBezTo>
                <a:cubicBezTo>
                  <a:pt x="53" y="192"/>
                  <a:pt x="54" y="192"/>
                  <a:pt x="53" y="192"/>
                </a:cubicBezTo>
                <a:cubicBezTo>
                  <a:pt x="53" y="193"/>
                  <a:pt x="54" y="193"/>
                  <a:pt x="54" y="193"/>
                </a:cubicBezTo>
                <a:cubicBezTo>
                  <a:pt x="54" y="193"/>
                  <a:pt x="54" y="194"/>
                  <a:pt x="54" y="195"/>
                </a:cubicBezTo>
                <a:cubicBezTo>
                  <a:pt x="54" y="195"/>
                  <a:pt x="54" y="196"/>
                  <a:pt x="54" y="197"/>
                </a:cubicBezTo>
                <a:cubicBezTo>
                  <a:pt x="55" y="197"/>
                  <a:pt x="55" y="198"/>
                  <a:pt x="56" y="199"/>
                </a:cubicBezTo>
                <a:cubicBezTo>
                  <a:pt x="56" y="199"/>
                  <a:pt x="56" y="200"/>
                  <a:pt x="57" y="200"/>
                </a:cubicBezTo>
                <a:cubicBezTo>
                  <a:pt x="57" y="201"/>
                  <a:pt x="58" y="200"/>
                  <a:pt x="58" y="201"/>
                </a:cubicBezTo>
                <a:cubicBezTo>
                  <a:pt x="58" y="201"/>
                  <a:pt x="58" y="201"/>
                  <a:pt x="58" y="201"/>
                </a:cubicBezTo>
                <a:cubicBezTo>
                  <a:pt x="58" y="202"/>
                  <a:pt x="59" y="202"/>
                  <a:pt x="59" y="202"/>
                </a:cubicBezTo>
                <a:cubicBezTo>
                  <a:pt x="59" y="203"/>
                  <a:pt x="59" y="203"/>
                  <a:pt x="59" y="204"/>
                </a:cubicBezTo>
                <a:cubicBezTo>
                  <a:pt x="60" y="204"/>
                  <a:pt x="61" y="204"/>
                  <a:pt x="61" y="204"/>
                </a:cubicBezTo>
                <a:cubicBezTo>
                  <a:pt x="62" y="204"/>
                  <a:pt x="61" y="205"/>
                  <a:pt x="62" y="206"/>
                </a:cubicBezTo>
                <a:cubicBezTo>
                  <a:pt x="62" y="206"/>
                  <a:pt x="62" y="205"/>
                  <a:pt x="62" y="205"/>
                </a:cubicBezTo>
                <a:cubicBezTo>
                  <a:pt x="62" y="206"/>
                  <a:pt x="62" y="206"/>
                  <a:pt x="62" y="206"/>
                </a:cubicBezTo>
                <a:cubicBezTo>
                  <a:pt x="63" y="206"/>
                  <a:pt x="63" y="206"/>
                  <a:pt x="64" y="206"/>
                </a:cubicBezTo>
                <a:cubicBezTo>
                  <a:pt x="65" y="206"/>
                  <a:pt x="64" y="207"/>
                  <a:pt x="65" y="207"/>
                </a:cubicBezTo>
                <a:cubicBezTo>
                  <a:pt x="65" y="207"/>
                  <a:pt x="65" y="207"/>
                  <a:pt x="66" y="207"/>
                </a:cubicBezTo>
                <a:cubicBezTo>
                  <a:pt x="66" y="206"/>
                  <a:pt x="67" y="206"/>
                  <a:pt x="67" y="205"/>
                </a:cubicBezTo>
                <a:cubicBezTo>
                  <a:pt x="68" y="205"/>
                  <a:pt x="68" y="204"/>
                  <a:pt x="68" y="204"/>
                </a:cubicBezTo>
                <a:cubicBezTo>
                  <a:pt x="69" y="204"/>
                  <a:pt x="69" y="205"/>
                  <a:pt x="69" y="205"/>
                </a:cubicBezTo>
                <a:cubicBezTo>
                  <a:pt x="70" y="205"/>
                  <a:pt x="70" y="205"/>
                  <a:pt x="71" y="205"/>
                </a:cubicBezTo>
                <a:cubicBezTo>
                  <a:pt x="71" y="205"/>
                  <a:pt x="72" y="205"/>
                  <a:pt x="72" y="206"/>
                </a:cubicBezTo>
                <a:cubicBezTo>
                  <a:pt x="72" y="206"/>
                  <a:pt x="73" y="207"/>
                  <a:pt x="73" y="206"/>
                </a:cubicBezTo>
                <a:cubicBezTo>
                  <a:pt x="73" y="206"/>
                  <a:pt x="73" y="206"/>
                  <a:pt x="74" y="206"/>
                </a:cubicBezTo>
                <a:cubicBezTo>
                  <a:pt x="74" y="206"/>
                  <a:pt x="75" y="204"/>
                  <a:pt x="75" y="204"/>
                </a:cubicBezTo>
                <a:cubicBezTo>
                  <a:pt x="75" y="204"/>
                  <a:pt x="75" y="203"/>
                  <a:pt x="75" y="203"/>
                </a:cubicBezTo>
                <a:cubicBezTo>
                  <a:pt x="76" y="203"/>
                  <a:pt x="76" y="203"/>
                  <a:pt x="77" y="203"/>
                </a:cubicBezTo>
                <a:cubicBezTo>
                  <a:pt x="77" y="203"/>
                  <a:pt x="77" y="204"/>
                  <a:pt x="78" y="204"/>
                </a:cubicBezTo>
                <a:cubicBezTo>
                  <a:pt x="78" y="204"/>
                  <a:pt x="79" y="204"/>
                  <a:pt x="78" y="205"/>
                </a:cubicBezTo>
                <a:cubicBezTo>
                  <a:pt x="78" y="206"/>
                  <a:pt x="78" y="206"/>
                  <a:pt x="80" y="207"/>
                </a:cubicBezTo>
                <a:cubicBezTo>
                  <a:pt x="80" y="207"/>
                  <a:pt x="80" y="207"/>
                  <a:pt x="80" y="208"/>
                </a:cubicBezTo>
                <a:cubicBezTo>
                  <a:pt x="80" y="208"/>
                  <a:pt x="81" y="208"/>
                  <a:pt x="81" y="208"/>
                </a:cubicBezTo>
                <a:cubicBezTo>
                  <a:pt x="81" y="209"/>
                  <a:pt x="82" y="209"/>
                  <a:pt x="82" y="209"/>
                </a:cubicBezTo>
                <a:cubicBezTo>
                  <a:pt x="82" y="210"/>
                  <a:pt x="82" y="210"/>
                  <a:pt x="82" y="211"/>
                </a:cubicBezTo>
                <a:cubicBezTo>
                  <a:pt x="83" y="211"/>
                  <a:pt x="84" y="211"/>
                  <a:pt x="84" y="211"/>
                </a:cubicBezTo>
                <a:cubicBezTo>
                  <a:pt x="84" y="211"/>
                  <a:pt x="85" y="212"/>
                  <a:pt x="86" y="212"/>
                </a:cubicBezTo>
                <a:cubicBezTo>
                  <a:pt x="86" y="212"/>
                  <a:pt x="86" y="214"/>
                  <a:pt x="86" y="214"/>
                </a:cubicBezTo>
                <a:cubicBezTo>
                  <a:pt x="86" y="215"/>
                  <a:pt x="88" y="214"/>
                  <a:pt x="88" y="214"/>
                </a:cubicBezTo>
                <a:cubicBezTo>
                  <a:pt x="88" y="213"/>
                  <a:pt x="88" y="214"/>
                  <a:pt x="88" y="214"/>
                </a:cubicBezTo>
                <a:cubicBezTo>
                  <a:pt x="88" y="215"/>
                  <a:pt x="89" y="215"/>
                  <a:pt x="89" y="215"/>
                </a:cubicBezTo>
                <a:cubicBezTo>
                  <a:pt x="89" y="215"/>
                  <a:pt x="89" y="216"/>
                  <a:pt x="89" y="216"/>
                </a:cubicBezTo>
                <a:cubicBezTo>
                  <a:pt x="89" y="214"/>
                  <a:pt x="90" y="213"/>
                  <a:pt x="92" y="213"/>
                </a:cubicBezTo>
                <a:cubicBezTo>
                  <a:pt x="93" y="212"/>
                  <a:pt x="94" y="214"/>
                  <a:pt x="95" y="214"/>
                </a:cubicBezTo>
                <a:cubicBezTo>
                  <a:pt x="95" y="214"/>
                  <a:pt x="97" y="213"/>
                  <a:pt x="97" y="213"/>
                </a:cubicBezTo>
                <a:cubicBezTo>
                  <a:pt x="97" y="213"/>
                  <a:pt x="97" y="213"/>
                  <a:pt x="98" y="212"/>
                </a:cubicBezTo>
                <a:cubicBezTo>
                  <a:pt x="98" y="212"/>
                  <a:pt x="99" y="214"/>
                  <a:pt x="99" y="214"/>
                </a:cubicBezTo>
                <a:cubicBezTo>
                  <a:pt x="99" y="215"/>
                  <a:pt x="100" y="215"/>
                  <a:pt x="100" y="215"/>
                </a:cubicBezTo>
                <a:cubicBezTo>
                  <a:pt x="101" y="215"/>
                  <a:pt x="101" y="215"/>
                  <a:pt x="101" y="216"/>
                </a:cubicBezTo>
                <a:cubicBezTo>
                  <a:pt x="102" y="216"/>
                  <a:pt x="102" y="216"/>
                  <a:pt x="102" y="215"/>
                </a:cubicBezTo>
                <a:cubicBezTo>
                  <a:pt x="102" y="215"/>
                  <a:pt x="102" y="215"/>
                  <a:pt x="102" y="214"/>
                </a:cubicBezTo>
                <a:cubicBezTo>
                  <a:pt x="102" y="214"/>
                  <a:pt x="103" y="214"/>
                  <a:pt x="103" y="214"/>
                </a:cubicBezTo>
                <a:cubicBezTo>
                  <a:pt x="104" y="213"/>
                  <a:pt x="106" y="213"/>
                  <a:pt x="108" y="213"/>
                </a:cubicBezTo>
                <a:cubicBezTo>
                  <a:pt x="108" y="212"/>
                  <a:pt x="109" y="212"/>
                  <a:pt x="110" y="212"/>
                </a:cubicBezTo>
                <a:cubicBezTo>
                  <a:pt x="110" y="212"/>
                  <a:pt x="111" y="213"/>
                  <a:pt x="111" y="213"/>
                </a:cubicBezTo>
                <a:cubicBezTo>
                  <a:pt x="112" y="213"/>
                  <a:pt x="113" y="213"/>
                  <a:pt x="114" y="213"/>
                </a:cubicBezTo>
                <a:cubicBezTo>
                  <a:pt x="115" y="213"/>
                  <a:pt x="115" y="213"/>
                  <a:pt x="116" y="212"/>
                </a:cubicBezTo>
                <a:cubicBezTo>
                  <a:pt x="117" y="210"/>
                  <a:pt x="118" y="209"/>
                  <a:pt x="120" y="207"/>
                </a:cubicBezTo>
                <a:cubicBezTo>
                  <a:pt x="121" y="206"/>
                  <a:pt x="122" y="204"/>
                  <a:pt x="123" y="203"/>
                </a:cubicBezTo>
                <a:cubicBezTo>
                  <a:pt x="125" y="202"/>
                  <a:pt x="126" y="201"/>
                  <a:pt x="128" y="200"/>
                </a:cubicBezTo>
                <a:cubicBezTo>
                  <a:pt x="129" y="200"/>
                  <a:pt x="129" y="200"/>
                  <a:pt x="130" y="199"/>
                </a:cubicBezTo>
                <a:cubicBezTo>
                  <a:pt x="131" y="199"/>
                  <a:pt x="131" y="199"/>
                  <a:pt x="132" y="199"/>
                </a:cubicBezTo>
                <a:cubicBezTo>
                  <a:pt x="133" y="197"/>
                  <a:pt x="132" y="199"/>
                  <a:pt x="132" y="199"/>
                </a:cubicBezTo>
                <a:cubicBezTo>
                  <a:pt x="133" y="200"/>
                  <a:pt x="133" y="200"/>
                  <a:pt x="134" y="200"/>
                </a:cubicBezTo>
                <a:cubicBezTo>
                  <a:pt x="134" y="200"/>
                  <a:pt x="134" y="201"/>
                  <a:pt x="134" y="202"/>
                </a:cubicBezTo>
                <a:cubicBezTo>
                  <a:pt x="134" y="202"/>
                  <a:pt x="135" y="203"/>
                  <a:pt x="135" y="203"/>
                </a:cubicBezTo>
                <a:cubicBezTo>
                  <a:pt x="136" y="204"/>
                  <a:pt x="137" y="204"/>
                  <a:pt x="137" y="203"/>
                </a:cubicBezTo>
                <a:cubicBezTo>
                  <a:pt x="138" y="203"/>
                  <a:pt x="138" y="203"/>
                  <a:pt x="138" y="203"/>
                </a:cubicBezTo>
                <a:cubicBezTo>
                  <a:pt x="137" y="202"/>
                  <a:pt x="136" y="201"/>
                  <a:pt x="136" y="199"/>
                </a:cubicBezTo>
                <a:cubicBezTo>
                  <a:pt x="136" y="199"/>
                  <a:pt x="137" y="198"/>
                  <a:pt x="137" y="197"/>
                </a:cubicBezTo>
                <a:cubicBezTo>
                  <a:pt x="137" y="197"/>
                  <a:pt x="136" y="197"/>
                  <a:pt x="137" y="196"/>
                </a:cubicBezTo>
                <a:cubicBezTo>
                  <a:pt x="137" y="196"/>
                  <a:pt x="136" y="195"/>
                  <a:pt x="136" y="195"/>
                </a:cubicBezTo>
                <a:cubicBezTo>
                  <a:pt x="135" y="195"/>
                  <a:pt x="135" y="195"/>
                  <a:pt x="134" y="195"/>
                </a:cubicBezTo>
                <a:cubicBezTo>
                  <a:pt x="134" y="195"/>
                  <a:pt x="133" y="194"/>
                  <a:pt x="133" y="195"/>
                </a:cubicBezTo>
                <a:cubicBezTo>
                  <a:pt x="133" y="195"/>
                  <a:pt x="132" y="196"/>
                  <a:pt x="132" y="195"/>
                </a:cubicBezTo>
                <a:cubicBezTo>
                  <a:pt x="131" y="195"/>
                  <a:pt x="132" y="194"/>
                  <a:pt x="131" y="194"/>
                </a:cubicBezTo>
                <a:cubicBezTo>
                  <a:pt x="131" y="193"/>
                  <a:pt x="130" y="193"/>
                  <a:pt x="130" y="192"/>
                </a:cubicBezTo>
                <a:cubicBezTo>
                  <a:pt x="130" y="192"/>
                  <a:pt x="130" y="192"/>
                  <a:pt x="130" y="191"/>
                </a:cubicBezTo>
                <a:cubicBezTo>
                  <a:pt x="129" y="191"/>
                  <a:pt x="129" y="191"/>
                  <a:pt x="129" y="190"/>
                </a:cubicBezTo>
                <a:cubicBezTo>
                  <a:pt x="129" y="189"/>
                  <a:pt x="129" y="189"/>
                  <a:pt x="129" y="188"/>
                </a:cubicBezTo>
                <a:cubicBezTo>
                  <a:pt x="128" y="187"/>
                  <a:pt x="128" y="187"/>
                  <a:pt x="128" y="186"/>
                </a:cubicBezTo>
                <a:cubicBezTo>
                  <a:pt x="127" y="185"/>
                  <a:pt x="127" y="185"/>
                  <a:pt x="127" y="184"/>
                </a:cubicBezTo>
                <a:cubicBezTo>
                  <a:pt x="127" y="183"/>
                  <a:pt x="126" y="180"/>
                  <a:pt x="125" y="180"/>
                </a:cubicBezTo>
                <a:cubicBezTo>
                  <a:pt x="124" y="180"/>
                  <a:pt x="124" y="180"/>
                  <a:pt x="124" y="179"/>
                </a:cubicBezTo>
                <a:cubicBezTo>
                  <a:pt x="124" y="179"/>
                  <a:pt x="123" y="178"/>
                  <a:pt x="123" y="178"/>
                </a:cubicBezTo>
                <a:cubicBezTo>
                  <a:pt x="122" y="178"/>
                  <a:pt x="122" y="178"/>
                  <a:pt x="121" y="177"/>
                </a:cubicBezTo>
                <a:cubicBezTo>
                  <a:pt x="121" y="177"/>
                  <a:pt x="121" y="177"/>
                  <a:pt x="121" y="177"/>
                </a:cubicBezTo>
                <a:cubicBezTo>
                  <a:pt x="121" y="176"/>
                  <a:pt x="121" y="176"/>
                  <a:pt x="121" y="176"/>
                </a:cubicBezTo>
                <a:cubicBezTo>
                  <a:pt x="120" y="175"/>
                  <a:pt x="119" y="175"/>
                  <a:pt x="119" y="174"/>
                </a:cubicBezTo>
                <a:cubicBezTo>
                  <a:pt x="119" y="172"/>
                  <a:pt x="118" y="172"/>
                  <a:pt x="117" y="171"/>
                </a:cubicBezTo>
                <a:cubicBezTo>
                  <a:pt x="116" y="170"/>
                  <a:pt x="116" y="170"/>
                  <a:pt x="115" y="170"/>
                </a:cubicBezTo>
                <a:cubicBezTo>
                  <a:pt x="114" y="170"/>
                  <a:pt x="114" y="169"/>
                  <a:pt x="114" y="169"/>
                </a:cubicBezTo>
                <a:cubicBezTo>
                  <a:pt x="113" y="169"/>
                  <a:pt x="112" y="169"/>
                  <a:pt x="112" y="169"/>
                </a:cubicBezTo>
                <a:cubicBezTo>
                  <a:pt x="111" y="169"/>
                  <a:pt x="111" y="169"/>
                  <a:pt x="110" y="169"/>
                </a:cubicBezTo>
                <a:cubicBezTo>
                  <a:pt x="109" y="169"/>
                  <a:pt x="109" y="168"/>
                  <a:pt x="109" y="167"/>
                </a:cubicBezTo>
                <a:cubicBezTo>
                  <a:pt x="109" y="167"/>
                  <a:pt x="110" y="166"/>
                  <a:pt x="110" y="166"/>
                </a:cubicBezTo>
                <a:cubicBezTo>
                  <a:pt x="110" y="165"/>
                  <a:pt x="111" y="165"/>
                  <a:pt x="111" y="165"/>
                </a:cubicBezTo>
                <a:cubicBezTo>
                  <a:pt x="111" y="164"/>
                  <a:pt x="111" y="164"/>
                  <a:pt x="111" y="164"/>
                </a:cubicBezTo>
                <a:cubicBezTo>
                  <a:pt x="111" y="164"/>
                  <a:pt x="111" y="164"/>
                  <a:pt x="111" y="164"/>
                </a:cubicBezTo>
                <a:cubicBezTo>
                  <a:pt x="111" y="164"/>
                  <a:pt x="111" y="164"/>
                  <a:pt x="111" y="163"/>
                </a:cubicBezTo>
                <a:cubicBezTo>
                  <a:pt x="111" y="163"/>
                  <a:pt x="111" y="163"/>
                  <a:pt x="111" y="163"/>
                </a:cubicBezTo>
                <a:cubicBezTo>
                  <a:pt x="111" y="163"/>
                  <a:pt x="111" y="163"/>
                  <a:pt x="111" y="163"/>
                </a:cubicBezTo>
                <a:cubicBezTo>
                  <a:pt x="111" y="162"/>
                  <a:pt x="111" y="162"/>
                  <a:pt x="111" y="162"/>
                </a:cubicBezTo>
                <a:cubicBezTo>
                  <a:pt x="112" y="161"/>
                  <a:pt x="112" y="162"/>
                  <a:pt x="113" y="161"/>
                </a:cubicBezTo>
                <a:cubicBezTo>
                  <a:pt x="114" y="161"/>
                  <a:pt x="114" y="161"/>
                  <a:pt x="114" y="161"/>
                </a:cubicBezTo>
                <a:cubicBezTo>
                  <a:pt x="115" y="161"/>
                  <a:pt x="115" y="161"/>
                  <a:pt x="115" y="161"/>
                </a:cubicBezTo>
                <a:cubicBezTo>
                  <a:pt x="116" y="162"/>
                  <a:pt x="116" y="163"/>
                  <a:pt x="117" y="162"/>
                </a:cubicBezTo>
                <a:cubicBezTo>
                  <a:pt x="117" y="162"/>
                  <a:pt x="117" y="162"/>
                  <a:pt x="118" y="162"/>
                </a:cubicBezTo>
                <a:cubicBezTo>
                  <a:pt x="118" y="161"/>
                  <a:pt x="119" y="161"/>
                  <a:pt x="119" y="161"/>
                </a:cubicBezTo>
                <a:cubicBezTo>
                  <a:pt x="120" y="160"/>
                  <a:pt x="120" y="160"/>
                  <a:pt x="120" y="159"/>
                </a:cubicBezTo>
                <a:cubicBezTo>
                  <a:pt x="120" y="156"/>
                  <a:pt x="120" y="154"/>
                  <a:pt x="119" y="151"/>
                </a:cubicBezTo>
                <a:cubicBezTo>
                  <a:pt x="119" y="149"/>
                  <a:pt x="120" y="146"/>
                  <a:pt x="121" y="144"/>
                </a:cubicBezTo>
                <a:cubicBezTo>
                  <a:pt x="121" y="143"/>
                  <a:pt x="122" y="143"/>
                  <a:pt x="122" y="142"/>
                </a:cubicBezTo>
                <a:cubicBezTo>
                  <a:pt x="122" y="141"/>
                  <a:pt x="121" y="140"/>
                  <a:pt x="121" y="138"/>
                </a:cubicBezTo>
                <a:cubicBezTo>
                  <a:pt x="121" y="138"/>
                  <a:pt x="122" y="137"/>
                  <a:pt x="122" y="137"/>
                </a:cubicBezTo>
                <a:cubicBezTo>
                  <a:pt x="122" y="136"/>
                  <a:pt x="123" y="135"/>
                  <a:pt x="123" y="135"/>
                </a:cubicBezTo>
                <a:cubicBezTo>
                  <a:pt x="124" y="134"/>
                  <a:pt x="125" y="135"/>
                  <a:pt x="125" y="135"/>
                </a:cubicBezTo>
                <a:cubicBezTo>
                  <a:pt x="125" y="136"/>
                  <a:pt x="126" y="136"/>
                  <a:pt x="126" y="136"/>
                </a:cubicBezTo>
                <a:cubicBezTo>
                  <a:pt x="126" y="136"/>
                  <a:pt x="126" y="137"/>
                  <a:pt x="126" y="137"/>
                </a:cubicBezTo>
                <a:cubicBezTo>
                  <a:pt x="126" y="137"/>
                  <a:pt x="126" y="136"/>
                  <a:pt x="126" y="136"/>
                </a:cubicBezTo>
                <a:cubicBezTo>
                  <a:pt x="127" y="136"/>
                  <a:pt x="127" y="135"/>
                  <a:pt x="127" y="135"/>
                </a:cubicBezTo>
                <a:cubicBezTo>
                  <a:pt x="128" y="135"/>
                  <a:pt x="127" y="134"/>
                  <a:pt x="127" y="134"/>
                </a:cubicBezTo>
                <a:cubicBezTo>
                  <a:pt x="127" y="133"/>
                  <a:pt x="128" y="132"/>
                  <a:pt x="128" y="131"/>
                </a:cubicBezTo>
                <a:cubicBezTo>
                  <a:pt x="128" y="131"/>
                  <a:pt x="127" y="130"/>
                  <a:pt x="128" y="130"/>
                </a:cubicBezTo>
                <a:cubicBezTo>
                  <a:pt x="128" y="129"/>
                  <a:pt x="128" y="128"/>
                  <a:pt x="129" y="128"/>
                </a:cubicBezTo>
                <a:cubicBezTo>
                  <a:pt x="129" y="126"/>
                  <a:pt x="127" y="125"/>
                  <a:pt x="129" y="124"/>
                </a:cubicBezTo>
                <a:cubicBezTo>
                  <a:pt x="130" y="123"/>
                  <a:pt x="130" y="123"/>
                  <a:pt x="131" y="122"/>
                </a:cubicBezTo>
                <a:cubicBezTo>
                  <a:pt x="131" y="122"/>
                  <a:pt x="131" y="121"/>
                  <a:pt x="132" y="120"/>
                </a:cubicBezTo>
                <a:cubicBezTo>
                  <a:pt x="133" y="119"/>
                  <a:pt x="133" y="117"/>
                  <a:pt x="134" y="116"/>
                </a:cubicBezTo>
                <a:cubicBezTo>
                  <a:pt x="134" y="116"/>
                  <a:pt x="134" y="115"/>
                  <a:pt x="134" y="115"/>
                </a:cubicBezTo>
                <a:cubicBezTo>
                  <a:pt x="135" y="115"/>
                  <a:pt x="136" y="115"/>
                  <a:pt x="136" y="115"/>
                </a:cubicBezTo>
                <a:cubicBezTo>
                  <a:pt x="137" y="114"/>
                  <a:pt x="137" y="114"/>
                  <a:pt x="138" y="114"/>
                </a:cubicBezTo>
                <a:cubicBezTo>
                  <a:pt x="138" y="114"/>
                  <a:pt x="138" y="115"/>
                  <a:pt x="138" y="115"/>
                </a:cubicBezTo>
                <a:cubicBezTo>
                  <a:pt x="139" y="115"/>
                  <a:pt x="139" y="114"/>
                  <a:pt x="139" y="114"/>
                </a:cubicBezTo>
                <a:cubicBezTo>
                  <a:pt x="139" y="113"/>
                  <a:pt x="139" y="113"/>
                  <a:pt x="138" y="113"/>
                </a:cubicBezTo>
                <a:cubicBezTo>
                  <a:pt x="138" y="112"/>
                  <a:pt x="139" y="111"/>
                  <a:pt x="139" y="111"/>
                </a:cubicBezTo>
                <a:cubicBezTo>
                  <a:pt x="139" y="110"/>
                  <a:pt x="139" y="109"/>
                  <a:pt x="139" y="108"/>
                </a:cubicBezTo>
                <a:cubicBezTo>
                  <a:pt x="139" y="107"/>
                  <a:pt x="140" y="106"/>
                  <a:pt x="140" y="105"/>
                </a:cubicBezTo>
                <a:cubicBezTo>
                  <a:pt x="141" y="105"/>
                  <a:pt x="141" y="104"/>
                  <a:pt x="141" y="103"/>
                </a:cubicBezTo>
                <a:cubicBezTo>
                  <a:pt x="141" y="102"/>
                  <a:pt x="141" y="102"/>
                  <a:pt x="141" y="101"/>
                </a:cubicBezTo>
                <a:cubicBezTo>
                  <a:pt x="141" y="100"/>
                  <a:pt x="141" y="99"/>
                  <a:pt x="142" y="98"/>
                </a:cubicBezTo>
                <a:cubicBezTo>
                  <a:pt x="142" y="97"/>
                  <a:pt x="142" y="96"/>
                  <a:pt x="141" y="95"/>
                </a:cubicBezTo>
                <a:cubicBezTo>
                  <a:pt x="141" y="93"/>
                  <a:pt x="141" y="92"/>
                  <a:pt x="141" y="90"/>
                </a:cubicBezTo>
                <a:cubicBezTo>
                  <a:pt x="141" y="89"/>
                  <a:pt x="141" y="88"/>
                  <a:pt x="141" y="87"/>
                </a:cubicBezTo>
                <a:cubicBezTo>
                  <a:pt x="141" y="87"/>
                  <a:pt x="142" y="86"/>
                  <a:pt x="142" y="85"/>
                </a:cubicBezTo>
                <a:cubicBezTo>
                  <a:pt x="142" y="85"/>
                  <a:pt x="142" y="85"/>
                  <a:pt x="142" y="84"/>
                </a:cubicBezTo>
                <a:cubicBezTo>
                  <a:pt x="142" y="84"/>
                  <a:pt x="142" y="84"/>
                  <a:pt x="142" y="83"/>
                </a:cubicBezTo>
                <a:cubicBezTo>
                  <a:pt x="142" y="82"/>
                  <a:pt x="143" y="82"/>
                  <a:pt x="143" y="81"/>
                </a:cubicBezTo>
                <a:cubicBezTo>
                  <a:pt x="144" y="79"/>
                  <a:pt x="144" y="77"/>
                  <a:pt x="145" y="76"/>
                </a:cubicBezTo>
                <a:cubicBezTo>
                  <a:pt x="145" y="75"/>
                  <a:pt x="145" y="74"/>
                  <a:pt x="145" y="73"/>
                </a:cubicBezTo>
                <a:cubicBezTo>
                  <a:pt x="144" y="73"/>
                  <a:pt x="144" y="72"/>
                  <a:pt x="145" y="71"/>
                </a:cubicBezTo>
                <a:cubicBezTo>
                  <a:pt x="145" y="70"/>
                  <a:pt x="145" y="70"/>
                  <a:pt x="145" y="69"/>
                </a:cubicBezTo>
                <a:cubicBezTo>
                  <a:pt x="145" y="69"/>
                  <a:pt x="145" y="68"/>
                  <a:pt x="145" y="68"/>
                </a:cubicBezTo>
                <a:cubicBezTo>
                  <a:pt x="145" y="68"/>
                  <a:pt x="145" y="67"/>
                  <a:pt x="145" y="67"/>
                </a:cubicBezTo>
                <a:cubicBezTo>
                  <a:pt x="145" y="66"/>
                  <a:pt x="147" y="67"/>
                  <a:pt x="147" y="67"/>
                </a:cubicBezTo>
                <a:cubicBezTo>
                  <a:pt x="147" y="67"/>
                  <a:pt x="148" y="67"/>
                  <a:pt x="148" y="67"/>
                </a:cubicBezTo>
                <a:cubicBezTo>
                  <a:pt x="148" y="67"/>
                  <a:pt x="149" y="67"/>
                  <a:pt x="149" y="67"/>
                </a:cubicBezTo>
                <a:cubicBezTo>
                  <a:pt x="150" y="67"/>
                  <a:pt x="150" y="65"/>
                  <a:pt x="150" y="65"/>
                </a:cubicBezTo>
                <a:cubicBezTo>
                  <a:pt x="150" y="65"/>
                  <a:pt x="150" y="64"/>
                  <a:pt x="150" y="64"/>
                </a:cubicBezTo>
                <a:cubicBezTo>
                  <a:pt x="150" y="64"/>
                  <a:pt x="151" y="64"/>
                  <a:pt x="151" y="63"/>
                </a:cubicBezTo>
                <a:cubicBezTo>
                  <a:pt x="152" y="63"/>
                  <a:pt x="152" y="62"/>
                  <a:pt x="153" y="62"/>
                </a:cubicBezTo>
                <a:cubicBezTo>
                  <a:pt x="153" y="62"/>
                  <a:pt x="154" y="63"/>
                  <a:pt x="154" y="62"/>
                </a:cubicBezTo>
                <a:cubicBezTo>
                  <a:pt x="154" y="62"/>
                  <a:pt x="155" y="61"/>
                  <a:pt x="155" y="62"/>
                </a:cubicBezTo>
                <a:cubicBezTo>
                  <a:pt x="156" y="63"/>
                  <a:pt x="156" y="61"/>
                  <a:pt x="156" y="61"/>
                </a:cubicBezTo>
                <a:cubicBezTo>
                  <a:pt x="157" y="61"/>
                  <a:pt x="157" y="62"/>
                  <a:pt x="157" y="62"/>
                </a:cubicBezTo>
                <a:cubicBezTo>
                  <a:pt x="157" y="61"/>
                  <a:pt x="157" y="61"/>
                  <a:pt x="157" y="61"/>
                </a:cubicBezTo>
                <a:cubicBezTo>
                  <a:pt x="157" y="60"/>
                  <a:pt x="158" y="60"/>
                  <a:pt x="158" y="60"/>
                </a:cubicBezTo>
                <a:cubicBezTo>
                  <a:pt x="158" y="59"/>
                  <a:pt x="158" y="59"/>
                  <a:pt x="159" y="59"/>
                </a:cubicBezTo>
                <a:cubicBezTo>
                  <a:pt x="159" y="58"/>
                  <a:pt x="161" y="56"/>
                  <a:pt x="159" y="5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8" name="St. Vincent and the Grenadines"/>
          <p:cNvSpPr>
            <a:spLocks/>
          </p:cNvSpPr>
          <p:nvPr/>
        </p:nvSpPr>
        <p:spPr bwMode="auto">
          <a:xfrm>
            <a:off x="3664163" y="4131957"/>
            <a:ext cx="7000" cy="11000"/>
          </a:xfrm>
          <a:custGeom>
            <a:avLst/>
            <a:gdLst/>
            <a:ahLst/>
            <a:cxnLst>
              <a:cxn ang="0">
                <a:pos x="1" y="0"/>
              </a:cxn>
              <a:cxn ang="0">
                <a:pos x="0" y="1"/>
              </a:cxn>
              <a:cxn ang="0">
                <a:pos x="1" y="3"/>
              </a:cxn>
              <a:cxn ang="0">
                <a:pos x="1" y="1"/>
              </a:cxn>
              <a:cxn ang="0">
                <a:pos x="1" y="0"/>
              </a:cxn>
            </a:cxnLst>
            <a:rect l="0" t="0" r="r" b="b"/>
            <a:pathLst>
              <a:path w="2" h="3">
                <a:moveTo>
                  <a:pt x="1" y="0"/>
                </a:moveTo>
                <a:cubicBezTo>
                  <a:pt x="1" y="0"/>
                  <a:pt x="0" y="1"/>
                  <a:pt x="0" y="1"/>
                </a:cubicBezTo>
                <a:cubicBezTo>
                  <a:pt x="0" y="2"/>
                  <a:pt x="0" y="3"/>
                  <a:pt x="1" y="3"/>
                </a:cubicBezTo>
                <a:cubicBezTo>
                  <a:pt x="1" y="3"/>
                  <a:pt x="1" y="2"/>
                  <a:pt x="1" y="1"/>
                </a:cubicBezTo>
                <a:cubicBezTo>
                  <a:pt x="2" y="1"/>
                  <a:pt x="1" y="0"/>
                  <a:pt x="1"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39" name="St. Pierre and Miquelon"/>
          <p:cNvSpPr>
            <a:spLocks/>
          </p:cNvSpPr>
          <p:nvPr/>
        </p:nvSpPr>
        <p:spPr bwMode="auto">
          <a:xfrm>
            <a:off x="4080146" y="2794007"/>
            <a:ext cx="7000" cy="13999"/>
          </a:xfrm>
          <a:custGeom>
            <a:avLst/>
            <a:gdLst/>
            <a:ahLst/>
            <a:cxnLst>
              <a:cxn ang="0">
                <a:pos x="2" y="2"/>
              </a:cxn>
              <a:cxn ang="0">
                <a:pos x="2" y="2"/>
              </a:cxn>
              <a:cxn ang="0">
                <a:pos x="2" y="1"/>
              </a:cxn>
              <a:cxn ang="0">
                <a:pos x="2" y="1"/>
              </a:cxn>
              <a:cxn ang="0">
                <a:pos x="1" y="1"/>
              </a:cxn>
              <a:cxn ang="0">
                <a:pos x="1" y="2"/>
              </a:cxn>
              <a:cxn ang="0">
                <a:pos x="1" y="3"/>
              </a:cxn>
              <a:cxn ang="0">
                <a:pos x="0" y="4"/>
              </a:cxn>
              <a:cxn ang="0">
                <a:pos x="1" y="4"/>
              </a:cxn>
              <a:cxn ang="0">
                <a:pos x="1" y="4"/>
              </a:cxn>
              <a:cxn ang="0">
                <a:pos x="2" y="3"/>
              </a:cxn>
              <a:cxn ang="0">
                <a:pos x="1" y="3"/>
              </a:cxn>
              <a:cxn ang="0">
                <a:pos x="1" y="2"/>
              </a:cxn>
              <a:cxn ang="0">
                <a:pos x="2" y="2"/>
              </a:cxn>
            </a:cxnLst>
            <a:rect l="0" t="0" r="r" b="b"/>
            <a:pathLst>
              <a:path w="2" h="4">
                <a:moveTo>
                  <a:pt x="2" y="2"/>
                </a:moveTo>
                <a:cubicBezTo>
                  <a:pt x="2" y="2"/>
                  <a:pt x="2" y="2"/>
                  <a:pt x="2" y="2"/>
                </a:cubicBezTo>
                <a:cubicBezTo>
                  <a:pt x="2" y="2"/>
                  <a:pt x="2" y="1"/>
                  <a:pt x="2" y="1"/>
                </a:cubicBezTo>
                <a:cubicBezTo>
                  <a:pt x="2" y="1"/>
                  <a:pt x="1" y="1"/>
                  <a:pt x="2" y="1"/>
                </a:cubicBezTo>
                <a:cubicBezTo>
                  <a:pt x="1" y="0"/>
                  <a:pt x="1" y="1"/>
                  <a:pt x="1" y="1"/>
                </a:cubicBezTo>
                <a:cubicBezTo>
                  <a:pt x="1" y="2"/>
                  <a:pt x="1" y="2"/>
                  <a:pt x="1" y="2"/>
                </a:cubicBezTo>
                <a:cubicBezTo>
                  <a:pt x="1" y="3"/>
                  <a:pt x="1" y="3"/>
                  <a:pt x="1" y="3"/>
                </a:cubicBezTo>
                <a:cubicBezTo>
                  <a:pt x="1" y="4"/>
                  <a:pt x="0" y="4"/>
                  <a:pt x="0" y="4"/>
                </a:cubicBezTo>
                <a:cubicBezTo>
                  <a:pt x="0" y="4"/>
                  <a:pt x="0" y="4"/>
                  <a:pt x="1" y="4"/>
                </a:cubicBezTo>
                <a:cubicBezTo>
                  <a:pt x="1" y="4"/>
                  <a:pt x="1" y="4"/>
                  <a:pt x="1" y="4"/>
                </a:cubicBezTo>
                <a:cubicBezTo>
                  <a:pt x="1" y="4"/>
                  <a:pt x="2" y="4"/>
                  <a:pt x="2" y="3"/>
                </a:cubicBezTo>
                <a:cubicBezTo>
                  <a:pt x="2" y="3"/>
                  <a:pt x="1" y="3"/>
                  <a:pt x="1" y="3"/>
                </a:cubicBezTo>
                <a:cubicBezTo>
                  <a:pt x="1" y="3"/>
                  <a:pt x="1" y="3"/>
                  <a:pt x="1" y="2"/>
                </a:cubicBezTo>
                <a:cubicBezTo>
                  <a:pt x="1" y="2"/>
                  <a:pt x="1" y="2"/>
                  <a:pt x="2"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0" name="St. Lucia"/>
          <p:cNvSpPr>
            <a:spLocks/>
          </p:cNvSpPr>
          <p:nvPr/>
        </p:nvSpPr>
        <p:spPr bwMode="auto">
          <a:xfrm>
            <a:off x="3671162" y="4102959"/>
            <a:ext cx="8000" cy="17999"/>
          </a:xfrm>
          <a:custGeom>
            <a:avLst/>
            <a:gdLst/>
            <a:ahLst/>
            <a:cxnLst>
              <a:cxn ang="0">
                <a:pos x="2" y="0"/>
              </a:cxn>
              <a:cxn ang="0">
                <a:pos x="1" y="1"/>
              </a:cxn>
              <a:cxn ang="0">
                <a:pos x="0" y="3"/>
              </a:cxn>
              <a:cxn ang="0">
                <a:pos x="1" y="5"/>
              </a:cxn>
              <a:cxn ang="0">
                <a:pos x="2" y="3"/>
              </a:cxn>
              <a:cxn ang="0">
                <a:pos x="2" y="2"/>
              </a:cxn>
              <a:cxn ang="0">
                <a:pos x="2" y="0"/>
              </a:cxn>
            </a:cxnLst>
            <a:rect l="0" t="0" r="r" b="b"/>
            <a:pathLst>
              <a:path w="2" h="5">
                <a:moveTo>
                  <a:pt x="2" y="0"/>
                </a:moveTo>
                <a:cubicBezTo>
                  <a:pt x="2" y="0"/>
                  <a:pt x="1" y="1"/>
                  <a:pt x="1" y="1"/>
                </a:cubicBezTo>
                <a:cubicBezTo>
                  <a:pt x="1" y="2"/>
                  <a:pt x="0" y="2"/>
                  <a:pt x="0" y="3"/>
                </a:cubicBezTo>
                <a:cubicBezTo>
                  <a:pt x="0" y="4"/>
                  <a:pt x="1" y="4"/>
                  <a:pt x="1" y="5"/>
                </a:cubicBezTo>
                <a:cubicBezTo>
                  <a:pt x="2" y="4"/>
                  <a:pt x="2" y="4"/>
                  <a:pt x="2" y="3"/>
                </a:cubicBezTo>
                <a:cubicBezTo>
                  <a:pt x="2" y="3"/>
                  <a:pt x="2" y="2"/>
                  <a:pt x="2" y="2"/>
                </a:cubicBezTo>
                <a:cubicBezTo>
                  <a:pt x="2" y="1"/>
                  <a:pt x="2" y="0"/>
                  <a:pt x="2"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1" name="St. Kitts and Nevis"/>
          <p:cNvSpPr>
            <a:spLocks noEditPoints="1"/>
          </p:cNvSpPr>
          <p:nvPr/>
        </p:nvSpPr>
        <p:spPr bwMode="auto">
          <a:xfrm>
            <a:off x="3625164" y="3972963"/>
            <a:ext cx="9999" cy="11000"/>
          </a:xfrm>
          <a:custGeom>
            <a:avLst/>
            <a:gdLst/>
            <a:ahLst/>
            <a:cxnLst>
              <a:cxn ang="0">
                <a:pos x="2" y="3"/>
              </a:cxn>
              <a:cxn ang="0">
                <a:pos x="2" y="2"/>
              </a:cxn>
              <a:cxn ang="0">
                <a:pos x="2" y="3"/>
              </a:cxn>
              <a:cxn ang="0">
                <a:pos x="1" y="1"/>
              </a:cxn>
              <a:cxn ang="0">
                <a:pos x="0" y="0"/>
              </a:cxn>
              <a:cxn ang="0">
                <a:pos x="1" y="2"/>
              </a:cxn>
              <a:cxn ang="0">
                <a:pos x="1" y="1"/>
              </a:cxn>
            </a:cxnLst>
            <a:rect l="0" t="0" r="r" b="b"/>
            <a:pathLst>
              <a:path w="3" h="3">
                <a:moveTo>
                  <a:pt x="2" y="3"/>
                </a:moveTo>
                <a:cubicBezTo>
                  <a:pt x="1" y="3"/>
                  <a:pt x="2" y="2"/>
                  <a:pt x="2" y="2"/>
                </a:cubicBezTo>
                <a:cubicBezTo>
                  <a:pt x="3" y="2"/>
                  <a:pt x="3" y="3"/>
                  <a:pt x="2" y="3"/>
                </a:cubicBezTo>
                <a:close/>
                <a:moveTo>
                  <a:pt x="1" y="1"/>
                </a:moveTo>
                <a:cubicBezTo>
                  <a:pt x="1" y="0"/>
                  <a:pt x="0" y="0"/>
                  <a:pt x="0" y="0"/>
                </a:cubicBezTo>
                <a:cubicBezTo>
                  <a:pt x="0" y="1"/>
                  <a:pt x="1" y="1"/>
                  <a:pt x="1" y="2"/>
                </a:cubicBezTo>
                <a:cubicBezTo>
                  <a:pt x="2" y="2"/>
                  <a:pt x="2" y="1"/>
                  <a:pt x="1"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2" name="St. Helena"/>
          <p:cNvSpPr>
            <a:spLocks noEditPoints="1"/>
          </p:cNvSpPr>
          <p:nvPr/>
        </p:nvSpPr>
        <p:spPr bwMode="auto">
          <a:xfrm>
            <a:off x="5290101" y="4977925"/>
            <a:ext cx="309989" cy="1291951"/>
          </a:xfrm>
          <a:custGeom>
            <a:avLst/>
            <a:gdLst/>
            <a:ahLst/>
            <a:cxnLst>
              <a:cxn ang="0">
                <a:pos x="86" y="89"/>
              </a:cxn>
              <a:cxn ang="0">
                <a:pos x="86" y="88"/>
              </a:cxn>
              <a:cxn ang="0">
                <a:pos x="86" y="89"/>
              </a:cxn>
              <a:cxn ang="0">
                <a:pos x="34" y="320"/>
              </a:cxn>
              <a:cxn ang="0">
                <a:pos x="35" y="322"/>
              </a:cxn>
              <a:cxn ang="0">
                <a:pos x="34" y="320"/>
              </a:cxn>
              <a:cxn ang="0">
                <a:pos x="58" y="356"/>
              </a:cxn>
              <a:cxn ang="0">
                <a:pos x="59" y="357"/>
              </a:cxn>
              <a:cxn ang="0">
                <a:pos x="58" y="356"/>
              </a:cxn>
              <a:cxn ang="0">
                <a:pos x="0" y="1"/>
              </a:cxn>
              <a:cxn ang="0">
                <a:pos x="1" y="0"/>
              </a:cxn>
              <a:cxn ang="0">
                <a:pos x="0" y="1"/>
              </a:cxn>
            </a:cxnLst>
            <a:rect l="0" t="0" r="r" b="b"/>
            <a:pathLst>
              <a:path w="86" h="357">
                <a:moveTo>
                  <a:pt x="86" y="89"/>
                </a:moveTo>
                <a:cubicBezTo>
                  <a:pt x="85" y="90"/>
                  <a:pt x="85" y="88"/>
                  <a:pt x="86" y="88"/>
                </a:cubicBezTo>
                <a:cubicBezTo>
                  <a:pt x="86" y="88"/>
                  <a:pt x="86" y="89"/>
                  <a:pt x="86" y="89"/>
                </a:cubicBezTo>
                <a:close/>
                <a:moveTo>
                  <a:pt x="34" y="320"/>
                </a:moveTo>
                <a:cubicBezTo>
                  <a:pt x="34" y="320"/>
                  <a:pt x="34" y="321"/>
                  <a:pt x="35" y="322"/>
                </a:cubicBezTo>
                <a:cubicBezTo>
                  <a:pt x="35" y="321"/>
                  <a:pt x="35" y="320"/>
                  <a:pt x="34" y="320"/>
                </a:cubicBezTo>
                <a:close/>
                <a:moveTo>
                  <a:pt x="58" y="356"/>
                </a:moveTo>
                <a:cubicBezTo>
                  <a:pt x="57" y="356"/>
                  <a:pt x="58" y="357"/>
                  <a:pt x="59" y="357"/>
                </a:cubicBezTo>
                <a:cubicBezTo>
                  <a:pt x="59" y="357"/>
                  <a:pt x="58" y="356"/>
                  <a:pt x="58" y="356"/>
                </a:cubicBezTo>
                <a:close/>
                <a:moveTo>
                  <a:pt x="0" y="1"/>
                </a:moveTo>
                <a:cubicBezTo>
                  <a:pt x="1" y="1"/>
                  <a:pt x="2" y="1"/>
                  <a:pt x="1" y="0"/>
                </a:cubicBezTo>
                <a:cubicBezTo>
                  <a:pt x="0" y="0"/>
                  <a:pt x="0" y="1"/>
                  <a:pt x="0"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3" name="Sri Lanka"/>
          <p:cNvSpPr>
            <a:spLocks noEditPoints="1"/>
          </p:cNvSpPr>
          <p:nvPr/>
        </p:nvSpPr>
        <p:spPr bwMode="auto">
          <a:xfrm>
            <a:off x="8576978" y="4272952"/>
            <a:ext cx="82997" cy="155994"/>
          </a:xfrm>
          <a:custGeom>
            <a:avLst/>
            <a:gdLst/>
            <a:ahLst/>
            <a:cxnLst>
              <a:cxn ang="0">
                <a:pos x="22" y="27"/>
              </a:cxn>
              <a:cxn ang="0">
                <a:pos x="21" y="25"/>
              </a:cxn>
              <a:cxn ang="0">
                <a:pos x="20" y="23"/>
              </a:cxn>
              <a:cxn ang="0">
                <a:pos x="21" y="24"/>
              </a:cxn>
              <a:cxn ang="0">
                <a:pos x="19" y="21"/>
              </a:cxn>
              <a:cxn ang="0">
                <a:pos x="18" y="19"/>
              </a:cxn>
              <a:cxn ang="0">
                <a:pos x="17" y="17"/>
              </a:cxn>
              <a:cxn ang="0">
                <a:pos x="17" y="16"/>
              </a:cxn>
              <a:cxn ang="0">
                <a:pos x="15" y="15"/>
              </a:cxn>
              <a:cxn ang="0">
                <a:pos x="15" y="15"/>
              </a:cxn>
              <a:cxn ang="0">
                <a:pos x="16" y="14"/>
              </a:cxn>
              <a:cxn ang="0">
                <a:pos x="15" y="13"/>
              </a:cxn>
              <a:cxn ang="0">
                <a:pos x="15" y="12"/>
              </a:cxn>
              <a:cxn ang="0">
                <a:pos x="13" y="10"/>
              </a:cxn>
              <a:cxn ang="0">
                <a:pos x="12" y="9"/>
              </a:cxn>
              <a:cxn ang="0">
                <a:pos x="12" y="8"/>
              </a:cxn>
              <a:cxn ang="0">
                <a:pos x="11" y="7"/>
              </a:cxn>
              <a:cxn ang="0">
                <a:pos x="11" y="6"/>
              </a:cxn>
              <a:cxn ang="0">
                <a:pos x="8" y="3"/>
              </a:cxn>
              <a:cxn ang="0">
                <a:pos x="5" y="0"/>
              </a:cxn>
              <a:cxn ang="0">
                <a:pos x="7" y="3"/>
              </a:cxn>
              <a:cxn ang="0">
                <a:pos x="4" y="1"/>
              </a:cxn>
              <a:cxn ang="0">
                <a:pos x="4" y="0"/>
              </a:cxn>
              <a:cxn ang="0">
                <a:pos x="4" y="3"/>
              </a:cxn>
              <a:cxn ang="0">
                <a:pos x="5" y="3"/>
              </a:cxn>
              <a:cxn ang="0">
                <a:pos x="6" y="3"/>
              </a:cxn>
              <a:cxn ang="0">
                <a:pos x="7" y="4"/>
              </a:cxn>
              <a:cxn ang="0">
                <a:pos x="6" y="4"/>
              </a:cxn>
              <a:cxn ang="0">
                <a:pos x="4" y="3"/>
              </a:cxn>
              <a:cxn ang="0">
                <a:pos x="4" y="6"/>
              </a:cxn>
              <a:cxn ang="0">
                <a:pos x="3" y="10"/>
              </a:cxn>
              <a:cxn ang="0">
                <a:pos x="3" y="13"/>
              </a:cxn>
              <a:cxn ang="0">
                <a:pos x="2" y="17"/>
              </a:cxn>
              <a:cxn ang="0">
                <a:pos x="2" y="19"/>
              </a:cxn>
              <a:cxn ang="0">
                <a:pos x="1" y="19"/>
              </a:cxn>
              <a:cxn ang="0">
                <a:pos x="1" y="17"/>
              </a:cxn>
              <a:cxn ang="0">
                <a:pos x="2" y="27"/>
              </a:cxn>
              <a:cxn ang="0">
                <a:pos x="3" y="30"/>
              </a:cxn>
              <a:cxn ang="0">
                <a:pos x="3" y="31"/>
              </a:cxn>
              <a:cxn ang="0">
                <a:pos x="4" y="37"/>
              </a:cxn>
              <a:cxn ang="0">
                <a:pos x="7" y="42"/>
              </a:cxn>
              <a:cxn ang="0">
                <a:pos x="9" y="43"/>
              </a:cxn>
              <a:cxn ang="0">
                <a:pos x="10" y="43"/>
              </a:cxn>
              <a:cxn ang="0">
                <a:pos x="12" y="42"/>
              </a:cxn>
              <a:cxn ang="0">
                <a:pos x="15" y="41"/>
              </a:cxn>
              <a:cxn ang="0">
                <a:pos x="16" y="40"/>
              </a:cxn>
              <a:cxn ang="0">
                <a:pos x="18" y="40"/>
              </a:cxn>
              <a:cxn ang="0">
                <a:pos x="22" y="34"/>
              </a:cxn>
              <a:cxn ang="0">
                <a:pos x="17" y="18"/>
              </a:cxn>
              <a:cxn ang="0">
                <a:pos x="17" y="18"/>
              </a:cxn>
              <a:cxn ang="0">
                <a:pos x="21" y="23"/>
              </a:cxn>
              <a:cxn ang="0">
                <a:pos x="21" y="25"/>
              </a:cxn>
              <a:cxn ang="0">
                <a:pos x="2" y="2"/>
              </a:cxn>
              <a:cxn ang="0">
                <a:pos x="2" y="3"/>
              </a:cxn>
              <a:cxn ang="0">
                <a:pos x="1" y="9"/>
              </a:cxn>
              <a:cxn ang="0">
                <a:pos x="1" y="8"/>
              </a:cxn>
              <a:cxn ang="0">
                <a:pos x="2" y="9"/>
              </a:cxn>
              <a:cxn ang="0">
                <a:pos x="1" y="9"/>
              </a:cxn>
              <a:cxn ang="0">
                <a:pos x="2" y="2"/>
              </a:cxn>
              <a:cxn ang="0">
                <a:pos x="0" y="3"/>
              </a:cxn>
              <a:cxn ang="0">
                <a:pos x="0" y="4"/>
              </a:cxn>
            </a:cxnLst>
            <a:rect l="0" t="0" r="r" b="b"/>
            <a:pathLst>
              <a:path w="23" h="43">
                <a:moveTo>
                  <a:pt x="22" y="28"/>
                </a:moveTo>
                <a:cubicBezTo>
                  <a:pt x="22" y="27"/>
                  <a:pt x="22" y="26"/>
                  <a:pt x="22" y="27"/>
                </a:cubicBezTo>
                <a:cubicBezTo>
                  <a:pt x="22" y="26"/>
                  <a:pt x="21" y="26"/>
                  <a:pt x="21" y="26"/>
                </a:cubicBezTo>
                <a:cubicBezTo>
                  <a:pt x="21" y="26"/>
                  <a:pt x="21" y="25"/>
                  <a:pt x="21" y="25"/>
                </a:cubicBezTo>
                <a:cubicBezTo>
                  <a:pt x="21" y="25"/>
                  <a:pt x="21" y="24"/>
                  <a:pt x="21" y="25"/>
                </a:cubicBezTo>
                <a:cubicBezTo>
                  <a:pt x="21" y="24"/>
                  <a:pt x="20" y="23"/>
                  <a:pt x="20" y="23"/>
                </a:cubicBezTo>
                <a:cubicBezTo>
                  <a:pt x="20" y="23"/>
                  <a:pt x="19" y="23"/>
                  <a:pt x="20" y="23"/>
                </a:cubicBezTo>
                <a:cubicBezTo>
                  <a:pt x="20" y="23"/>
                  <a:pt x="20" y="24"/>
                  <a:pt x="21" y="24"/>
                </a:cubicBezTo>
                <a:cubicBezTo>
                  <a:pt x="21" y="23"/>
                  <a:pt x="20" y="23"/>
                  <a:pt x="20" y="23"/>
                </a:cubicBezTo>
                <a:cubicBezTo>
                  <a:pt x="20" y="22"/>
                  <a:pt x="19" y="22"/>
                  <a:pt x="19" y="21"/>
                </a:cubicBezTo>
                <a:cubicBezTo>
                  <a:pt x="19" y="21"/>
                  <a:pt x="19" y="21"/>
                  <a:pt x="18" y="20"/>
                </a:cubicBezTo>
                <a:cubicBezTo>
                  <a:pt x="18" y="20"/>
                  <a:pt x="18" y="19"/>
                  <a:pt x="18" y="19"/>
                </a:cubicBezTo>
                <a:cubicBezTo>
                  <a:pt x="18" y="19"/>
                  <a:pt x="18" y="19"/>
                  <a:pt x="18" y="19"/>
                </a:cubicBezTo>
                <a:cubicBezTo>
                  <a:pt x="18" y="19"/>
                  <a:pt x="18" y="18"/>
                  <a:pt x="17" y="17"/>
                </a:cubicBezTo>
                <a:cubicBezTo>
                  <a:pt x="17" y="17"/>
                  <a:pt x="17" y="16"/>
                  <a:pt x="17" y="16"/>
                </a:cubicBezTo>
                <a:cubicBezTo>
                  <a:pt x="17" y="16"/>
                  <a:pt x="17" y="16"/>
                  <a:pt x="17" y="16"/>
                </a:cubicBezTo>
                <a:cubicBezTo>
                  <a:pt x="17" y="16"/>
                  <a:pt x="17" y="13"/>
                  <a:pt x="16" y="15"/>
                </a:cubicBezTo>
                <a:cubicBezTo>
                  <a:pt x="16" y="16"/>
                  <a:pt x="16" y="15"/>
                  <a:pt x="15" y="15"/>
                </a:cubicBezTo>
                <a:cubicBezTo>
                  <a:pt x="15" y="15"/>
                  <a:pt x="15" y="15"/>
                  <a:pt x="15" y="15"/>
                </a:cubicBezTo>
                <a:cubicBezTo>
                  <a:pt x="14" y="14"/>
                  <a:pt x="15" y="15"/>
                  <a:pt x="15" y="15"/>
                </a:cubicBezTo>
                <a:cubicBezTo>
                  <a:pt x="16" y="15"/>
                  <a:pt x="15" y="14"/>
                  <a:pt x="15" y="14"/>
                </a:cubicBezTo>
                <a:cubicBezTo>
                  <a:pt x="16" y="14"/>
                  <a:pt x="16" y="14"/>
                  <a:pt x="16" y="14"/>
                </a:cubicBezTo>
                <a:cubicBezTo>
                  <a:pt x="16" y="14"/>
                  <a:pt x="16" y="14"/>
                  <a:pt x="15" y="14"/>
                </a:cubicBezTo>
                <a:cubicBezTo>
                  <a:pt x="16" y="13"/>
                  <a:pt x="15" y="13"/>
                  <a:pt x="15" y="13"/>
                </a:cubicBezTo>
                <a:cubicBezTo>
                  <a:pt x="15" y="13"/>
                  <a:pt x="15" y="13"/>
                  <a:pt x="15" y="13"/>
                </a:cubicBezTo>
                <a:cubicBezTo>
                  <a:pt x="15" y="12"/>
                  <a:pt x="15" y="12"/>
                  <a:pt x="15" y="12"/>
                </a:cubicBezTo>
                <a:cubicBezTo>
                  <a:pt x="15" y="12"/>
                  <a:pt x="14" y="11"/>
                  <a:pt x="14" y="11"/>
                </a:cubicBezTo>
                <a:cubicBezTo>
                  <a:pt x="14" y="11"/>
                  <a:pt x="13" y="10"/>
                  <a:pt x="13" y="10"/>
                </a:cubicBezTo>
                <a:cubicBezTo>
                  <a:pt x="13" y="10"/>
                  <a:pt x="13" y="10"/>
                  <a:pt x="13" y="10"/>
                </a:cubicBezTo>
                <a:cubicBezTo>
                  <a:pt x="13" y="10"/>
                  <a:pt x="12" y="9"/>
                  <a:pt x="12" y="9"/>
                </a:cubicBezTo>
                <a:cubicBezTo>
                  <a:pt x="12" y="9"/>
                  <a:pt x="13" y="9"/>
                  <a:pt x="13" y="9"/>
                </a:cubicBezTo>
                <a:cubicBezTo>
                  <a:pt x="13" y="9"/>
                  <a:pt x="12" y="8"/>
                  <a:pt x="12" y="8"/>
                </a:cubicBezTo>
                <a:cubicBezTo>
                  <a:pt x="12" y="8"/>
                  <a:pt x="12" y="8"/>
                  <a:pt x="12" y="8"/>
                </a:cubicBezTo>
                <a:cubicBezTo>
                  <a:pt x="12" y="7"/>
                  <a:pt x="12" y="7"/>
                  <a:pt x="11" y="7"/>
                </a:cubicBezTo>
                <a:cubicBezTo>
                  <a:pt x="11" y="7"/>
                  <a:pt x="11" y="6"/>
                  <a:pt x="11" y="7"/>
                </a:cubicBezTo>
                <a:cubicBezTo>
                  <a:pt x="11" y="7"/>
                  <a:pt x="10" y="6"/>
                  <a:pt x="11" y="6"/>
                </a:cubicBezTo>
                <a:cubicBezTo>
                  <a:pt x="11" y="6"/>
                  <a:pt x="11" y="6"/>
                  <a:pt x="11" y="6"/>
                </a:cubicBezTo>
                <a:cubicBezTo>
                  <a:pt x="10" y="5"/>
                  <a:pt x="9" y="4"/>
                  <a:pt x="8" y="3"/>
                </a:cubicBezTo>
                <a:cubicBezTo>
                  <a:pt x="7" y="2"/>
                  <a:pt x="6" y="2"/>
                  <a:pt x="6" y="1"/>
                </a:cubicBezTo>
                <a:cubicBezTo>
                  <a:pt x="5" y="0"/>
                  <a:pt x="5" y="0"/>
                  <a:pt x="5" y="0"/>
                </a:cubicBezTo>
                <a:cubicBezTo>
                  <a:pt x="5" y="0"/>
                  <a:pt x="4" y="1"/>
                  <a:pt x="5" y="1"/>
                </a:cubicBezTo>
                <a:cubicBezTo>
                  <a:pt x="6" y="1"/>
                  <a:pt x="7" y="2"/>
                  <a:pt x="7" y="3"/>
                </a:cubicBezTo>
                <a:cubicBezTo>
                  <a:pt x="6" y="3"/>
                  <a:pt x="6" y="2"/>
                  <a:pt x="5" y="1"/>
                </a:cubicBezTo>
                <a:cubicBezTo>
                  <a:pt x="5" y="1"/>
                  <a:pt x="5" y="1"/>
                  <a:pt x="4" y="1"/>
                </a:cubicBezTo>
                <a:cubicBezTo>
                  <a:pt x="4" y="1"/>
                  <a:pt x="4" y="0"/>
                  <a:pt x="4" y="0"/>
                </a:cubicBezTo>
                <a:cubicBezTo>
                  <a:pt x="4" y="0"/>
                  <a:pt x="4" y="0"/>
                  <a:pt x="4" y="0"/>
                </a:cubicBezTo>
                <a:cubicBezTo>
                  <a:pt x="3" y="0"/>
                  <a:pt x="2" y="0"/>
                  <a:pt x="2" y="1"/>
                </a:cubicBezTo>
                <a:cubicBezTo>
                  <a:pt x="3" y="2"/>
                  <a:pt x="4" y="3"/>
                  <a:pt x="4" y="3"/>
                </a:cubicBezTo>
                <a:cubicBezTo>
                  <a:pt x="4" y="3"/>
                  <a:pt x="4" y="2"/>
                  <a:pt x="4" y="2"/>
                </a:cubicBezTo>
                <a:cubicBezTo>
                  <a:pt x="4" y="2"/>
                  <a:pt x="5" y="3"/>
                  <a:pt x="5" y="3"/>
                </a:cubicBezTo>
                <a:cubicBezTo>
                  <a:pt x="5" y="3"/>
                  <a:pt x="4" y="2"/>
                  <a:pt x="5" y="2"/>
                </a:cubicBezTo>
                <a:cubicBezTo>
                  <a:pt x="5" y="2"/>
                  <a:pt x="6" y="3"/>
                  <a:pt x="6" y="3"/>
                </a:cubicBezTo>
                <a:cubicBezTo>
                  <a:pt x="7" y="4"/>
                  <a:pt x="8" y="3"/>
                  <a:pt x="9" y="4"/>
                </a:cubicBezTo>
                <a:cubicBezTo>
                  <a:pt x="8" y="5"/>
                  <a:pt x="8" y="4"/>
                  <a:pt x="7" y="4"/>
                </a:cubicBezTo>
                <a:cubicBezTo>
                  <a:pt x="7" y="4"/>
                  <a:pt x="6" y="5"/>
                  <a:pt x="6" y="4"/>
                </a:cubicBezTo>
                <a:cubicBezTo>
                  <a:pt x="6" y="4"/>
                  <a:pt x="6" y="4"/>
                  <a:pt x="6" y="4"/>
                </a:cubicBezTo>
                <a:cubicBezTo>
                  <a:pt x="6" y="4"/>
                  <a:pt x="5" y="4"/>
                  <a:pt x="5" y="3"/>
                </a:cubicBezTo>
                <a:cubicBezTo>
                  <a:pt x="5" y="3"/>
                  <a:pt x="4" y="3"/>
                  <a:pt x="4" y="3"/>
                </a:cubicBezTo>
                <a:cubicBezTo>
                  <a:pt x="4" y="4"/>
                  <a:pt x="6" y="4"/>
                  <a:pt x="4" y="5"/>
                </a:cubicBezTo>
                <a:cubicBezTo>
                  <a:pt x="4" y="5"/>
                  <a:pt x="4" y="5"/>
                  <a:pt x="4" y="6"/>
                </a:cubicBezTo>
                <a:cubicBezTo>
                  <a:pt x="5" y="6"/>
                  <a:pt x="5" y="7"/>
                  <a:pt x="4" y="7"/>
                </a:cubicBezTo>
                <a:cubicBezTo>
                  <a:pt x="4" y="8"/>
                  <a:pt x="4" y="9"/>
                  <a:pt x="3" y="10"/>
                </a:cubicBezTo>
                <a:cubicBezTo>
                  <a:pt x="3" y="10"/>
                  <a:pt x="3" y="11"/>
                  <a:pt x="3" y="12"/>
                </a:cubicBezTo>
                <a:cubicBezTo>
                  <a:pt x="3" y="12"/>
                  <a:pt x="3" y="13"/>
                  <a:pt x="3" y="13"/>
                </a:cubicBezTo>
                <a:cubicBezTo>
                  <a:pt x="3" y="14"/>
                  <a:pt x="3" y="14"/>
                  <a:pt x="3" y="14"/>
                </a:cubicBezTo>
                <a:cubicBezTo>
                  <a:pt x="2" y="14"/>
                  <a:pt x="2" y="16"/>
                  <a:pt x="2" y="17"/>
                </a:cubicBezTo>
                <a:cubicBezTo>
                  <a:pt x="2" y="17"/>
                  <a:pt x="2" y="18"/>
                  <a:pt x="2" y="18"/>
                </a:cubicBezTo>
                <a:cubicBezTo>
                  <a:pt x="2" y="18"/>
                  <a:pt x="2" y="19"/>
                  <a:pt x="2" y="19"/>
                </a:cubicBezTo>
                <a:cubicBezTo>
                  <a:pt x="2" y="19"/>
                  <a:pt x="2" y="21"/>
                  <a:pt x="2" y="21"/>
                </a:cubicBezTo>
                <a:cubicBezTo>
                  <a:pt x="1" y="20"/>
                  <a:pt x="1" y="19"/>
                  <a:pt x="1" y="19"/>
                </a:cubicBezTo>
                <a:cubicBezTo>
                  <a:pt x="1" y="18"/>
                  <a:pt x="2" y="18"/>
                  <a:pt x="2" y="18"/>
                </a:cubicBezTo>
                <a:cubicBezTo>
                  <a:pt x="2" y="18"/>
                  <a:pt x="1" y="17"/>
                  <a:pt x="1" y="17"/>
                </a:cubicBezTo>
                <a:cubicBezTo>
                  <a:pt x="0" y="19"/>
                  <a:pt x="2" y="22"/>
                  <a:pt x="2" y="24"/>
                </a:cubicBezTo>
                <a:cubicBezTo>
                  <a:pt x="2" y="25"/>
                  <a:pt x="2" y="26"/>
                  <a:pt x="2" y="27"/>
                </a:cubicBezTo>
                <a:cubicBezTo>
                  <a:pt x="3" y="28"/>
                  <a:pt x="2" y="29"/>
                  <a:pt x="3" y="29"/>
                </a:cubicBezTo>
                <a:cubicBezTo>
                  <a:pt x="3" y="29"/>
                  <a:pt x="3" y="30"/>
                  <a:pt x="3" y="30"/>
                </a:cubicBezTo>
                <a:cubicBezTo>
                  <a:pt x="3" y="30"/>
                  <a:pt x="3" y="29"/>
                  <a:pt x="2" y="29"/>
                </a:cubicBezTo>
                <a:cubicBezTo>
                  <a:pt x="2" y="30"/>
                  <a:pt x="3" y="31"/>
                  <a:pt x="3" y="31"/>
                </a:cubicBezTo>
                <a:cubicBezTo>
                  <a:pt x="3" y="32"/>
                  <a:pt x="3" y="32"/>
                  <a:pt x="3" y="33"/>
                </a:cubicBezTo>
                <a:cubicBezTo>
                  <a:pt x="3" y="34"/>
                  <a:pt x="4" y="35"/>
                  <a:pt x="4" y="37"/>
                </a:cubicBezTo>
                <a:cubicBezTo>
                  <a:pt x="4" y="37"/>
                  <a:pt x="5" y="38"/>
                  <a:pt x="5" y="39"/>
                </a:cubicBezTo>
                <a:cubicBezTo>
                  <a:pt x="5" y="40"/>
                  <a:pt x="6" y="42"/>
                  <a:pt x="7" y="42"/>
                </a:cubicBezTo>
                <a:cubicBezTo>
                  <a:pt x="7" y="42"/>
                  <a:pt x="8" y="43"/>
                  <a:pt x="8" y="43"/>
                </a:cubicBezTo>
                <a:cubicBezTo>
                  <a:pt x="9" y="43"/>
                  <a:pt x="9" y="43"/>
                  <a:pt x="9" y="43"/>
                </a:cubicBezTo>
                <a:cubicBezTo>
                  <a:pt x="10" y="43"/>
                  <a:pt x="10" y="43"/>
                  <a:pt x="10" y="43"/>
                </a:cubicBezTo>
                <a:cubicBezTo>
                  <a:pt x="10" y="43"/>
                  <a:pt x="10" y="43"/>
                  <a:pt x="10" y="43"/>
                </a:cubicBezTo>
                <a:cubicBezTo>
                  <a:pt x="11" y="43"/>
                  <a:pt x="11" y="43"/>
                  <a:pt x="11" y="43"/>
                </a:cubicBezTo>
                <a:cubicBezTo>
                  <a:pt x="12" y="43"/>
                  <a:pt x="12" y="42"/>
                  <a:pt x="12" y="42"/>
                </a:cubicBezTo>
                <a:cubicBezTo>
                  <a:pt x="13" y="42"/>
                  <a:pt x="13" y="42"/>
                  <a:pt x="14" y="41"/>
                </a:cubicBezTo>
                <a:cubicBezTo>
                  <a:pt x="14" y="41"/>
                  <a:pt x="15" y="41"/>
                  <a:pt x="15" y="41"/>
                </a:cubicBezTo>
                <a:cubicBezTo>
                  <a:pt x="16" y="41"/>
                  <a:pt x="16" y="41"/>
                  <a:pt x="16" y="41"/>
                </a:cubicBezTo>
                <a:cubicBezTo>
                  <a:pt x="16" y="41"/>
                  <a:pt x="16" y="40"/>
                  <a:pt x="16" y="40"/>
                </a:cubicBezTo>
                <a:cubicBezTo>
                  <a:pt x="16" y="40"/>
                  <a:pt x="17" y="40"/>
                  <a:pt x="17" y="40"/>
                </a:cubicBezTo>
                <a:cubicBezTo>
                  <a:pt x="17" y="40"/>
                  <a:pt x="17" y="40"/>
                  <a:pt x="18" y="40"/>
                </a:cubicBezTo>
                <a:cubicBezTo>
                  <a:pt x="18" y="40"/>
                  <a:pt x="19" y="39"/>
                  <a:pt x="20" y="38"/>
                </a:cubicBezTo>
                <a:cubicBezTo>
                  <a:pt x="21" y="37"/>
                  <a:pt x="22" y="35"/>
                  <a:pt x="22" y="34"/>
                </a:cubicBezTo>
                <a:cubicBezTo>
                  <a:pt x="23" y="32"/>
                  <a:pt x="23" y="30"/>
                  <a:pt x="22" y="28"/>
                </a:cubicBezTo>
                <a:close/>
                <a:moveTo>
                  <a:pt x="17" y="18"/>
                </a:moveTo>
                <a:cubicBezTo>
                  <a:pt x="18" y="19"/>
                  <a:pt x="18" y="19"/>
                  <a:pt x="18" y="19"/>
                </a:cubicBezTo>
                <a:cubicBezTo>
                  <a:pt x="17" y="19"/>
                  <a:pt x="17" y="19"/>
                  <a:pt x="17" y="18"/>
                </a:cubicBezTo>
                <a:close/>
                <a:moveTo>
                  <a:pt x="21" y="25"/>
                </a:moveTo>
                <a:cubicBezTo>
                  <a:pt x="21" y="24"/>
                  <a:pt x="21" y="24"/>
                  <a:pt x="21" y="23"/>
                </a:cubicBezTo>
                <a:cubicBezTo>
                  <a:pt x="21" y="24"/>
                  <a:pt x="22" y="26"/>
                  <a:pt x="22" y="26"/>
                </a:cubicBezTo>
                <a:cubicBezTo>
                  <a:pt x="21" y="26"/>
                  <a:pt x="21" y="25"/>
                  <a:pt x="21" y="25"/>
                </a:cubicBezTo>
                <a:close/>
                <a:moveTo>
                  <a:pt x="2" y="2"/>
                </a:moveTo>
                <a:cubicBezTo>
                  <a:pt x="2" y="2"/>
                  <a:pt x="2" y="2"/>
                  <a:pt x="2" y="2"/>
                </a:cubicBezTo>
                <a:cubicBezTo>
                  <a:pt x="2" y="2"/>
                  <a:pt x="3" y="2"/>
                  <a:pt x="3" y="2"/>
                </a:cubicBezTo>
                <a:cubicBezTo>
                  <a:pt x="3" y="3"/>
                  <a:pt x="3" y="3"/>
                  <a:pt x="2" y="3"/>
                </a:cubicBezTo>
                <a:cubicBezTo>
                  <a:pt x="2" y="2"/>
                  <a:pt x="2" y="2"/>
                  <a:pt x="2" y="2"/>
                </a:cubicBezTo>
                <a:close/>
                <a:moveTo>
                  <a:pt x="1" y="9"/>
                </a:moveTo>
                <a:cubicBezTo>
                  <a:pt x="1" y="9"/>
                  <a:pt x="1" y="8"/>
                  <a:pt x="1" y="8"/>
                </a:cubicBezTo>
                <a:cubicBezTo>
                  <a:pt x="1" y="8"/>
                  <a:pt x="1" y="8"/>
                  <a:pt x="1" y="8"/>
                </a:cubicBezTo>
                <a:cubicBezTo>
                  <a:pt x="2" y="8"/>
                  <a:pt x="2" y="9"/>
                  <a:pt x="3" y="9"/>
                </a:cubicBezTo>
                <a:cubicBezTo>
                  <a:pt x="2" y="9"/>
                  <a:pt x="2" y="9"/>
                  <a:pt x="2" y="9"/>
                </a:cubicBezTo>
                <a:cubicBezTo>
                  <a:pt x="2" y="9"/>
                  <a:pt x="3" y="10"/>
                  <a:pt x="2" y="10"/>
                </a:cubicBezTo>
                <a:cubicBezTo>
                  <a:pt x="2" y="10"/>
                  <a:pt x="2" y="9"/>
                  <a:pt x="1" y="9"/>
                </a:cubicBezTo>
                <a:close/>
                <a:moveTo>
                  <a:pt x="2" y="1"/>
                </a:moveTo>
                <a:cubicBezTo>
                  <a:pt x="2" y="1"/>
                  <a:pt x="2" y="1"/>
                  <a:pt x="2" y="2"/>
                </a:cubicBezTo>
                <a:cubicBezTo>
                  <a:pt x="2" y="2"/>
                  <a:pt x="1" y="1"/>
                  <a:pt x="2" y="1"/>
                </a:cubicBezTo>
                <a:close/>
                <a:moveTo>
                  <a:pt x="0" y="3"/>
                </a:moveTo>
                <a:cubicBezTo>
                  <a:pt x="0" y="4"/>
                  <a:pt x="1" y="4"/>
                  <a:pt x="0" y="4"/>
                </a:cubicBezTo>
                <a:cubicBezTo>
                  <a:pt x="0" y="4"/>
                  <a:pt x="0" y="4"/>
                  <a:pt x="0" y="4"/>
                </a:cubicBezTo>
                <a:cubicBezTo>
                  <a:pt x="0" y="4"/>
                  <a:pt x="0" y="3"/>
                  <a:pt x="0" y="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4" name="Spain"/>
          <p:cNvSpPr>
            <a:spLocks noEditPoints="1"/>
          </p:cNvSpPr>
          <p:nvPr/>
        </p:nvSpPr>
        <p:spPr bwMode="auto">
          <a:xfrm>
            <a:off x="5189105" y="2924001"/>
            <a:ext cx="772972" cy="643976"/>
          </a:xfrm>
          <a:custGeom>
            <a:avLst/>
            <a:gdLst/>
            <a:ahLst/>
            <a:cxnLst>
              <a:cxn ang="0">
                <a:pos x="40" y="166"/>
              </a:cxn>
              <a:cxn ang="0">
                <a:pos x="41" y="169"/>
              </a:cxn>
              <a:cxn ang="0">
                <a:pos x="18" y="167"/>
              </a:cxn>
              <a:cxn ang="0">
                <a:pos x="18" y="170"/>
              </a:cxn>
              <a:cxn ang="0">
                <a:pos x="2" y="178"/>
              </a:cxn>
              <a:cxn ang="0">
                <a:pos x="41" y="164"/>
              </a:cxn>
              <a:cxn ang="0">
                <a:pos x="26" y="172"/>
              </a:cxn>
              <a:cxn ang="0">
                <a:pos x="27" y="174"/>
              </a:cxn>
              <a:cxn ang="0">
                <a:pos x="188" y="53"/>
              </a:cxn>
              <a:cxn ang="0">
                <a:pos x="212" y="41"/>
              </a:cxn>
              <a:cxn ang="0">
                <a:pos x="210" y="43"/>
              </a:cxn>
              <a:cxn ang="0">
                <a:pos x="204" y="43"/>
              </a:cxn>
              <a:cxn ang="0">
                <a:pos x="197" y="47"/>
              </a:cxn>
              <a:cxn ang="0">
                <a:pos x="205" y="44"/>
              </a:cxn>
              <a:cxn ang="0">
                <a:pos x="197" y="15"/>
              </a:cxn>
              <a:cxn ang="0">
                <a:pos x="189" y="13"/>
              </a:cxn>
              <a:cxn ang="0">
                <a:pos x="176" y="13"/>
              </a:cxn>
              <a:cxn ang="0">
                <a:pos x="168" y="10"/>
              </a:cxn>
              <a:cxn ang="0">
                <a:pos x="160" y="5"/>
              </a:cxn>
              <a:cxn ang="0">
                <a:pos x="148" y="5"/>
              </a:cxn>
              <a:cxn ang="0">
                <a:pos x="144" y="4"/>
              </a:cxn>
              <a:cxn ang="0">
                <a:pos x="130" y="3"/>
              </a:cxn>
              <a:cxn ang="0">
                <a:pos x="119" y="3"/>
              </a:cxn>
              <a:cxn ang="0">
                <a:pos x="108" y="2"/>
              </a:cxn>
              <a:cxn ang="0">
                <a:pos x="104" y="4"/>
              </a:cxn>
              <a:cxn ang="0">
                <a:pos x="100" y="6"/>
              </a:cxn>
              <a:cxn ang="0">
                <a:pos x="95" y="9"/>
              </a:cxn>
              <a:cxn ang="0">
                <a:pos x="97" y="11"/>
              </a:cxn>
              <a:cxn ang="0">
                <a:pos x="98" y="13"/>
              </a:cxn>
              <a:cxn ang="0">
                <a:pos x="98" y="16"/>
              </a:cxn>
              <a:cxn ang="0">
                <a:pos x="99" y="17"/>
              </a:cxn>
              <a:cxn ang="0">
                <a:pos x="97" y="21"/>
              </a:cxn>
              <a:cxn ang="0">
                <a:pos x="103" y="21"/>
              </a:cxn>
              <a:cxn ang="0">
                <a:pos x="110" y="22"/>
              </a:cxn>
              <a:cxn ang="0">
                <a:pos x="117" y="21"/>
              </a:cxn>
              <a:cxn ang="0">
                <a:pos x="119" y="27"/>
              </a:cxn>
              <a:cxn ang="0">
                <a:pos x="114" y="35"/>
              </a:cxn>
              <a:cxn ang="0">
                <a:pos x="112" y="45"/>
              </a:cxn>
              <a:cxn ang="0">
                <a:pos x="111" y="51"/>
              </a:cxn>
              <a:cxn ang="0">
                <a:pos x="109" y="60"/>
              </a:cxn>
              <a:cxn ang="0">
                <a:pos x="107" y="66"/>
              </a:cxn>
              <a:cxn ang="0">
                <a:pos x="111" y="73"/>
              </a:cxn>
              <a:cxn ang="0">
                <a:pos x="117" y="76"/>
              </a:cxn>
              <a:cxn ang="0">
                <a:pos x="117" y="82"/>
              </a:cxn>
              <a:cxn ang="0">
                <a:pos x="123" y="85"/>
              </a:cxn>
              <a:cxn ang="0">
                <a:pos x="136" y="78"/>
              </a:cxn>
              <a:cxn ang="0">
                <a:pos x="148" y="78"/>
              </a:cxn>
              <a:cxn ang="0">
                <a:pos x="157" y="75"/>
              </a:cxn>
              <a:cxn ang="0">
                <a:pos x="164" y="69"/>
              </a:cxn>
              <a:cxn ang="0">
                <a:pos x="167" y="66"/>
              </a:cxn>
              <a:cxn ang="0">
                <a:pos x="172" y="58"/>
              </a:cxn>
              <a:cxn ang="0">
                <a:pos x="175" y="43"/>
              </a:cxn>
              <a:cxn ang="0">
                <a:pos x="183" y="34"/>
              </a:cxn>
              <a:cxn ang="0">
                <a:pos x="192" y="28"/>
              </a:cxn>
              <a:cxn ang="0">
                <a:pos x="204" y="19"/>
              </a:cxn>
            </a:cxnLst>
            <a:rect l="0" t="0" r="r" b="b"/>
            <a:pathLst>
              <a:path w="214" h="178">
                <a:moveTo>
                  <a:pt x="5" y="165"/>
                </a:moveTo>
                <a:cubicBezTo>
                  <a:pt x="5" y="166"/>
                  <a:pt x="5" y="167"/>
                  <a:pt x="4" y="168"/>
                </a:cubicBezTo>
                <a:cubicBezTo>
                  <a:pt x="4" y="168"/>
                  <a:pt x="4" y="169"/>
                  <a:pt x="4" y="168"/>
                </a:cubicBezTo>
                <a:cubicBezTo>
                  <a:pt x="3" y="168"/>
                  <a:pt x="4" y="168"/>
                  <a:pt x="3" y="167"/>
                </a:cubicBezTo>
                <a:cubicBezTo>
                  <a:pt x="3" y="166"/>
                  <a:pt x="2" y="165"/>
                  <a:pt x="3" y="164"/>
                </a:cubicBezTo>
                <a:cubicBezTo>
                  <a:pt x="4" y="164"/>
                  <a:pt x="5" y="164"/>
                  <a:pt x="5" y="165"/>
                </a:cubicBezTo>
                <a:close/>
                <a:moveTo>
                  <a:pt x="40" y="166"/>
                </a:moveTo>
                <a:cubicBezTo>
                  <a:pt x="39" y="167"/>
                  <a:pt x="39" y="168"/>
                  <a:pt x="38" y="169"/>
                </a:cubicBezTo>
                <a:cubicBezTo>
                  <a:pt x="38" y="170"/>
                  <a:pt x="38" y="171"/>
                  <a:pt x="37" y="172"/>
                </a:cubicBezTo>
                <a:cubicBezTo>
                  <a:pt x="37" y="172"/>
                  <a:pt x="36" y="172"/>
                  <a:pt x="36" y="172"/>
                </a:cubicBezTo>
                <a:cubicBezTo>
                  <a:pt x="35" y="172"/>
                  <a:pt x="35" y="172"/>
                  <a:pt x="35" y="173"/>
                </a:cubicBezTo>
                <a:cubicBezTo>
                  <a:pt x="35" y="173"/>
                  <a:pt x="36" y="173"/>
                  <a:pt x="36" y="173"/>
                </a:cubicBezTo>
                <a:cubicBezTo>
                  <a:pt x="37" y="172"/>
                  <a:pt x="38" y="172"/>
                  <a:pt x="39" y="171"/>
                </a:cubicBezTo>
                <a:cubicBezTo>
                  <a:pt x="40" y="171"/>
                  <a:pt x="41" y="170"/>
                  <a:pt x="41" y="169"/>
                </a:cubicBezTo>
                <a:cubicBezTo>
                  <a:pt x="41" y="169"/>
                  <a:pt x="42" y="167"/>
                  <a:pt x="41" y="166"/>
                </a:cubicBezTo>
                <a:cubicBezTo>
                  <a:pt x="41" y="165"/>
                  <a:pt x="40" y="165"/>
                  <a:pt x="40" y="166"/>
                </a:cubicBezTo>
                <a:close/>
                <a:moveTo>
                  <a:pt x="9" y="171"/>
                </a:moveTo>
                <a:cubicBezTo>
                  <a:pt x="8" y="171"/>
                  <a:pt x="8" y="173"/>
                  <a:pt x="9" y="173"/>
                </a:cubicBezTo>
                <a:cubicBezTo>
                  <a:pt x="10" y="173"/>
                  <a:pt x="11" y="173"/>
                  <a:pt x="11" y="172"/>
                </a:cubicBezTo>
                <a:cubicBezTo>
                  <a:pt x="10" y="172"/>
                  <a:pt x="10" y="171"/>
                  <a:pt x="9" y="171"/>
                </a:cubicBezTo>
                <a:close/>
                <a:moveTo>
                  <a:pt x="18" y="167"/>
                </a:moveTo>
                <a:cubicBezTo>
                  <a:pt x="17" y="167"/>
                  <a:pt x="17" y="169"/>
                  <a:pt x="16" y="169"/>
                </a:cubicBezTo>
                <a:cubicBezTo>
                  <a:pt x="15" y="169"/>
                  <a:pt x="14" y="169"/>
                  <a:pt x="13" y="169"/>
                </a:cubicBezTo>
                <a:cubicBezTo>
                  <a:pt x="12" y="170"/>
                  <a:pt x="13" y="171"/>
                  <a:pt x="13" y="171"/>
                </a:cubicBezTo>
                <a:cubicBezTo>
                  <a:pt x="13" y="172"/>
                  <a:pt x="14" y="172"/>
                  <a:pt x="14" y="173"/>
                </a:cubicBezTo>
                <a:cubicBezTo>
                  <a:pt x="14" y="173"/>
                  <a:pt x="14" y="174"/>
                  <a:pt x="14" y="174"/>
                </a:cubicBezTo>
                <a:cubicBezTo>
                  <a:pt x="15" y="173"/>
                  <a:pt x="16" y="173"/>
                  <a:pt x="17" y="172"/>
                </a:cubicBezTo>
                <a:cubicBezTo>
                  <a:pt x="17" y="171"/>
                  <a:pt x="17" y="170"/>
                  <a:pt x="18" y="170"/>
                </a:cubicBezTo>
                <a:cubicBezTo>
                  <a:pt x="18" y="169"/>
                  <a:pt x="20" y="168"/>
                  <a:pt x="20" y="168"/>
                </a:cubicBezTo>
                <a:cubicBezTo>
                  <a:pt x="20" y="167"/>
                  <a:pt x="19" y="167"/>
                  <a:pt x="18" y="167"/>
                </a:cubicBezTo>
                <a:close/>
                <a:moveTo>
                  <a:pt x="2" y="176"/>
                </a:moveTo>
                <a:cubicBezTo>
                  <a:pt x="1" y="176"/>
                  <a:pt x="1" y="176"/>
                  <a:pt x="1" y="176"/>
                </a:cubicBezTo>
                <a:cubicBezTo>
                  <a:pt x="1" y="176"/>
                  <a:pt x="0" y="176"/>
                  <a:pt x="0" y="176"/>
                </a:cubicBezTo>
                <a:cubicBezTo>
                  <a:pt x="0" y="177"/>
                  <a:pt x="1" y="177"/>
                  <a:pt x="1" y="177"/>
                </a:cubicBezTo>
                <a:cubicBezTo>
                  <a:pt x="1" y="177"/>
                  <a:pt x="1" y="177"/>
                  <a:pt x="2" y="178"/>
                </a:cubicBezTo>
                <a:cubicBezTo>
                  <a:pt x="2" y="177"/>
                  <a:pt x="3" y="176"/>
                  <a:pt x="3" y="176"/>
                </a:cubicBezTo>
                <a:cubicBezTo>
                  <a:pt x="3" y="175"/>
                  <a:pt x="2" y="176"/>
                  <a:pt x="2" y="176"/>
                </a:cubicBezTo>
                <a:close/>
                <a:moveTo>
                  <a:pt x="45" y="160"/>
                </a:moveTo>
                <a:cubicBezTo>
                  <a:pt x="45" y="160"/>
                  <a:pt x="45" y="161"/>
                  <a:pt x="44" y="161"/>
                </a:cubicBezTo>
                <a:cubicBezTo>
                  <a:pt x="44" y="161"/>
                  <a:pt x="44" y="161"/>
                  <a:pt x="44" y="161"/>
                </a:cubicBezTo>
                <a:cubicBezTo>
                  <a:pt x="43" y="161"/>
                  <a:pt x="42" y="162"/>
                  <a:pt x="42" y="162"/>
                </a:cubicBezTo>
                <a:cubicBezTo>
                  <a:pt x="42" y="163"/>
                  <a:pt x="42" y="163"/>
                  <a:pt x="41" y="164"/>
                </a:cubicBezTo>
                <a:cubicBezTo>
                  <a:pt x="41" y="164"/>
                  <a:pt x="42" y="164"/>
                  <a:pt x="42" y="164"/>
                </a:cubicBezTo>
                <a:cubicBezTo>
                  <a:pt x="43" y="164"/>
                  <a:pt x="43" y="164"/>
                  <a:pt x="44" y="163"/>
                </a:cubicBezTo>
                <a:cubicBezTo>
                  <a:pt x="44" y="163"/>
                  <a:pt x="45" y="163"/>
                  <a:pt x="45" y="162"/>
                </a:cubicBezTo>
                <a:cubicBezTo>
                  <a:pt x="45" y="162"/>
                  <a:pt x="46" y="161"/>
                  <a:pt x="46" y="161"/>
                </a:cubicBezTo>
                <a:cubicBezTo>
                  <a:pt x="46" y="160"/>
                  <a:pt x="45" y="160"/>
                  <a:pt x="45" y="160"/>
                </a:cubicBezTo>
                <a:close/>
                <a:moveTo>
                  <a:pt x="26" y="173"/>
                </a:moveTo>
                <a:cubicBezTo>
                  <a:pt x="26" y="173"/>
                  <a:pt x="26" y="172"/>
                  <a:pt x="26" y="172"/>
                </a:cubicBezTo>
                <a:cubicBezTo>
                  <a:pt x="26" y="172"/>
                  <a:pt x="26" y="172"/>
                  <a:pt x="26" y="172"/>
                </a:cubicBezTo>
                <a:cubicBezTo>
                  <a:pt x="25" y="172"/>
                  <a:pt x="25" y="172"/>
                  <a:pt x="24" y="172"/>
                </a:cubicBezTo>
                <a:cubicBezTo>
                  <a:pt x="23" y="172"/>
                  <a:pt x="24" y="173"/>
                  <a:pt x="23" y="173"/>
                </a:cubicBezTo>
                <a:cubicBezTo>
                  <a:pt x="22" y="174"/>
                  <a:pt x="22" y="174"/>
                  <a:pt x="22" y="175"/>
                </a:cubicBezTo>
                <a:cubicBezTo>
                  <a:pt x="23" y="176"/>
                  <a:pt x="24" y="176"/>
                  <a:pt x="24" y="176"/>
                </a:cubicBezTo>
                <a:cubicBezTo>
                  <a:pt x="25" y="176"/>
                  <a:pt x="26" y="176"/>
                  <a:pt x="26" y="176"/>
                </a:cubicBezTo>
                <a:cubicBezTo>
                  <a:pt x="26" y="175"/>
                  <a:pt x="26" y="175"/>
                  <a:pt x="27" y="174"/>
                </a:cubicBezTo>
                <a:cubicBezTo>
                  <a:pt x="27" y="174"/>
                  <a:pt x="26" y="173"/>
                  <a:pt x="26" y="173"/>
                </a:cubicBezTo>
                <a:close/>
                <a:moveTo>
                  <a:pt x="186" y="53"/>
                </a:moveTo>
                <a:cubicBezTo>
                  <a:pt x="186" y="53"/>
                  <a:pt x="186" y="53"/>
                  <a:pt x="185" y="53"/>
                </a:cubicBezTo>
                <a:cubicBezTo>
                  <a:pt x="185" y="53"/>
                  <a:pt x="185" y="54"/>
                  <a:pt x="186" y="54"/>
                </a:cubicBezTo>
                <a:cubicBezTo>
                  <a:pt x="186" y="54"/>
                  <a:pt x="187" y="53"/>
                  <a:pt x="187" y="54"/>
                </a:cubicBezTo>
                <a:cubicBezTo>
                  <a:pt x="187" y="54"/>
                  <a:pt x="187" y="54"/>
                  <a:pt x="187" y="53"/>
                </a:cubicBezTo>
                <a:cubicBezTo>
                  <a:pt x="188" y="53"/>
                  <a:pt x="188" y="53"/>
                  <a:pt x="188" y="53"/>
                </a:cubicBezTo>
                <a:cubicBezTo>
                  <a:pt x="189" y="52"/>
                  <a:pt x="189" y="52"/>
                  <a:pt x="189" y="52"/>
                </a:cubicBezTo>
                <a:cubicBezTo>
                  <a:pt x="189" y="50"/>
                  <a:pt x="186" y="52"/>
                  <a:pt x="186" y="53"/>
                </a:cubicBezTo>
                <a:close/>
                <a:moveTo>
                  <a:pt x="214" y="43"/>
                </a:moveTo>
                <a:cubicBezTo>
                  <a:pt x="213" y="43"/>
                  <a:pt x="213" y="43"/>
                  <a:pt x="213" y="42"/>
                </a:cubicBezTo>
                <a:cubicBezTo>
                  <a:pt x="213" y="42"/>
                  <a:pt x="213" y="42"/>
                  <a:pt x="213" y="42"/>
                </a:cubicBezTo>
                <a:cubicBezTo>
                  <a:pt x="213" y="42"/>
                  <a:pt x="213" y="42"/>
                  <a:pt x="213" y="42"/>
                </a:cubicBezTo>
                <a:cubicBezTo>
                  <a:pt x="213" y="41"/>
                  <a:pt x="212" y="41"/>
                  <a:pt x="212" y="41"/>
                </a:cubicBezTo>
                <a:cubicBezTo>
                  <a:pt x="212" y="41"/>
                  <a:pt x="212" y="41"/>
                  <a:pt x="212" y="41"/>
                </a:cubicBezTo>
                <a:cubicBezTo>
                  <a:pt x="212" y="41"/>
                  <a:pt x="212" y="41"/>
                  <a:pt x="212" y="41"/>
                </a:cubicBezTo>
                <a:cubicBezTo>
                  <a:pt x="212" y="41"/>
                  <a:pt x="211" y="41"/>
                  <a:pt x="211" y="41"/>
                </a:cubicBezTo>
                <a:cubicBezTo>
                  <a:pt x="211" y="41"/>
                  <a:pt x="210" y="41"/>
                  <a:pt x="210" y="41"/>
                </a:cubicBezTo>
                <a:cubicBezTo>
                  <a:pt x="210" y="41"/>
                  <a:pt x="209" y="41"/>
                  <a:pt x="209" y="42"/>
                </a:cubicBezTo>
                <a:cubicBezTo>
                  <a:pt x="209" y="42"/>
                  <a:pt x="209" y="42"/>
                  <a:pt x="209" y="42"/>
                </a:cubicBezTo>
                <a:cubicBezTo>
                  <a:pt x="209" y="43"/>
                  <a:pt x="209" y="43"/>
                  <a:pt x="210" y="43"/>
                </a:cubicBezTo>
                <a:cubicBezTo>
                  <a:pt x="211" y="43"/>
                  <a:pt x="212" y="44"/>
                  <a:pt x="213" y="44"/>
                </a:cubicBezTo>
                <a:cubicBezTo>
                  <a:pt x="214" y="44"/>
                  <a:pt x="214" y="43"/>
                  <a:pt x="213" y="43"/>
                </a:cubicBezTo>
                <a:cubicBezTo>
                  <a:pt x="213" y="43"/>
                  <a:pt x="214" y="43"/>
                  <a:pt x="214" y="43"/>
                </a:cubicBezTo>
                <a:close/>
                <a:moveTo>
                  <a:pt x="205" y="44"/>
                </a:moveTo>
                <a:cubicBezTo>
                  <a:pt x="205" y="44"/>
                  <a:pt x="204" y="45"/>
                  <a:pt x="203" y="44"/>
                </a:cubicBezTo>
                <a:cubicBezTo>
                  <a:pt x="203" y="44"/>
                  <a:pt x="203" y="44"/>
                  <a:pt x="203" y="44"/>
                </a:cubicBezTo>
                <a:cubicBezTo>
                  <a:pt x="204" y="44"/>
                  <a:pt x="204" y="43"/>
                  <a:pt x="204" y="43"/>
                </a:cubicBezTo>
                <a:cubicBezTo>
                  <a:pt x="204" y="43"/>
                  <a:pt x="203" y="43"/>
                  <a:pt x="203" y="43"/>
                </a:cubicBezTo>
                <a:cubicBezTo>
                  <a:pt x="203" y="43"/>
                  <a:pt x="204" y="43"/>
                  <a:pt x="204" y="42"/>
                </a:cubicBezTo>
                <a:cubicBezTo>
                  <a:pt x="203" y="42"/>
                  <a:pt x="203" y="43"/>
                  <a:pt x="202" y="43"/>
                </a:cubicBezTo>
                <a:cubicBezTo>
                  <a:pt x="202" y="43"/>
                  <a:pt x="202" y="43"/>
                  <a:pt x="201" y="43"/>
                </a:cubicBezTo>
                <a:cubicBezTo>
                  <a:pt x="200" y="43"/>
                  <a:pt x="199" y="44"/>
                  <a:pt x="198" y="45"/>
                </a:cubicBezTo>
                <a:cubicBezTo>
                  <a:pt x="198" y="45"/>
                  <a:pt x="195" y="46"/>
                  <a:pt x="196" y="47"/>
                </a:cubicBezTo>
                <a:cubicBezTo>
                  <a:pt x="196" y="47"/>
                  <a:pt x="197" y="47"/>
                  <a:pt x="197" y="47"/>
                </a:cubicBezTo>
                <a:cubicBezTo>
                  <a:pt x="197" y="47"/>
                  <a:pt x="197" y="48"/>
                  <a:pt x="197" y="48"/>
                </a:cubicBezTo>
                <a:cubicBezTo>
                  <a:pt x="198" y="47"/>
                  <a:pt x="199" y="46"/>
                  <a:pt x="199" y="47"/>
                </a:cubicBezTo>
                <a:cubicBezTo>
                  <a:pt x="200" y="48"/>
                  <a:pt x="199" y="49"/>
                  <a:pt x="200" y="49"/>
                </a:cubicBezTo>
                <a:cubicBezTo>
                  <a:pt x="201" y="49"/>
                  <a:pt x="201" y="49"/>
                  <a:pt x="202" y="49"/>
                </a:cubicBezTo>
                <a:cubicBezTo>
                  <a:pt x="202" y="49"/>
                  <a:pt x="202" y="50"/>
                  <a:pt x="202" y="50"/>
                </a:cubicBezTo>
                <a:cubicBezTo>
                  <a:pt x="203" y="50"/>
                  <a:pt x="204" y="49"/>
                  <a:pt x="204" y="48"/>
                </a:cubicBezTo>
                <a:cubicBezTo>
                  <a:pt x="204" y="47"/>
                  <a:pt x="207" y="45"/>
                  <a:pt x="205" y="44"/>
                </a:cubicBezTo>
                <a:close/>
                <a:moveTo>
                  <a:pt x="204" y="15"/>
                </a:moveTo>
                <a:cubicBezTo>
                  <a:pt x="204" y="15"/>
                  <a:pt x="203" y="15"/>
                  <a:pt x="203" y="15"/>
                </a:cubicBezTo>
                <a:cubicBezTo>
                  <a:pt x="203" y="15"/>
                  <a:pt x="202" y="15"/>
                  <a:pt x="202" y="15"/>
                </a:cubicBezTo>
                <a:cubicBezTo>
                  <a:pt x="201" y="15"/>
                  <a:pt x="201" y="15"/>
                  <a:pt x="200" y="15"/>
                </a:cubicBezTo>
                <a:cubicBezTo>
                  <a:pt x="200" y="16"/>
                  <a:pt x="199" y="16"/>
                  <a:pt x="200" y="16"/>
                </a:cubicBezTo>
                <a:cubicBezTo>
                  <a:pt x="200" y="16"/>
                  <a:pt x="199" y="16"/>
                  <a:pt x="198" y="16"/>
                </a:cubicBezTo>
                <a:cubicBezTo>
                  <a:pt x="198" y="16"/>
                  <a:pt x="197" y="16"/>
                  <a:pt x="197" y="15"/>
                </a:cubicBezTo>
                <a:cubicBezTo>
                  <a:pt x="196" y="15"/>
                  <a:pt x="195" y="15"/>
                  <a:pt x="195" y="16"/>
                </a:cubicBezTo>
                <a:cubicBezTo>
                  <a:pt x="195" y="16"/>
                  <a:pt x="194" y="16"/>
                  <a:pt x="194" y="16"/>
                </a:cubicBezTo>
                <a:cubicBezTo>
                  <a:pt x="194" y="16"/>
                  <a:pt x="193" y="15"/>
                  <a:pt x="193" y="15"/>
                </a:cubicBezTo>
                <a:cubicBezTo>
                  <a:pt x="193" y="15"/>
                  <a:pt x="192" y="15"/>
                  <a:pt x="192" y="15"/>
                </a:cubicBezTo>
                <a:cubicBezTo>
                  <a:pt x="191" y="14"/>
                  <a:pt x="190" y="16"/>
                  <a:pt x="189" y="15"/>
                </a:cubicBezTo>
                <a:cubicBezTo>
                  <a:pt x="189" y="15"/>
                  <a:pt x="189" y="14"/>
                  <a:pt x="189" y="14"/>
                </a:cubicBezTo>
                <a:cubicBezTo>
                  <a:pt x="189" y="14"/>
                  <a:pt x="189" y="13"/>
                  <a:pt x="189" y="13"/>
                </a:cubicBezTo>
                <a:cubicBezTo>
                  <a:pt x="188" y="12"/>
                  <a:pt x="187" y="13"/>
                  <a:pt x="186" y="12"/>
                </a:cubicBezTo>
                <a:cubicBezTo>
                  <a:pt x="186" y="11"/>
                  <a:pt x="185" y="12"/>
                  <a:pt x="185" y="11"/>
                </a:cubicBezTo>
                <a:cubicBezTo>
                  <a:pt x="184" y="11"/>
                  <a:pt x="184" y="11"/>
                  <a:pt x="183" y="11"/>
                </a:cubicBezTo>
                <a:cubicBezTo>
                  <a:pt x="182" y="10"/>
                  <a:pt x="182" y="12"/>
                  <a:pt x="182" y="13"/>
                </a:cubicBezTo>
                <a:cubicBezTo>
                  <a:pt x="181" y="12"/>
                  <a:pt x="180" y="13"/>
                  <a:pt x="180" y="12"/>
                </a:cubicBezTo>
                <a:cubicBezTo>
                  <a:pt x="179" y="12"/>
                  <a:pt x="179" y="13"/>
                  <a:pt x="178" y="12"/>
                </a:cubicBezTo>
                <a:cubicBezTo>
                  <a:pt x="178" y="12"/>
                  <a:pt x="177" y="13"/>
                  <a:pt x="176" y="13"/>
                </a:cubicBezTo>
                <a:cubicBezTo>
                  <a:pt x="176" y="13"/>
                  <a:pt x="175" y="12"/>
                  <a:pt x="175" y="11"/>
                </a:cubicBezTo>
                <a:cubicBezTo>
                  <a:pt x="174" y="12"/>
                  <a:pt x="174" y="11"/>
                  <a:pt x="173" y="11"/>
                </a:cubicBezTo>
                <a:cubicBezTo>
                  <a:pt x="173" y="11"/>
                  <a:pt x="172" y="11"/>
                  <a:pt x="172" y="11"/>
                </a:cubicBezTo>
                <a:cubicBezTo>
                  <a:pt x="171" y="12"/>
                  <a:pt x="171" y="11"/>
                  <a:pt x="171" y="11"/>
                </a:cubicBezTo>
                <a:cubicBezTo>
                  <a:pt x="171" y="11"/>
                  <a:pt x="170" y="11"/>
                  <a:pt x="170" y="10"/>
                </a:cubicBezTo>
                <a:cubicBezTo>
                  <a:pt x="170" y="10"/>
                  <a:pt x="170" y="10"/>
                  <a:pt x="170" y="10"/>
                </a:cubicBezTo>
                <a:cubicBezTo>
                  <a:pt x="170" y="9"/>
                  <a:pt x="169" y="10"/>
                  <a:pt x="168" y="10"/>
                </a:cubicBezTo>
                <a:cubicBezTo>
                  <a:pt x="168" y="10"/>
                  <a:pt x="167" y="9"/>
                  <a:pt x="167" y="9"/>
                </a:cubicBezTo>
                <a:cubicBezTo>
                  <a:pt x="167" y="9"/>
                  <a:pt x="165" y="8"/>
                  <a:pt x="165" y="8"/>
                </a:cubicBezTo>
                <a:cubicBezTo>
                  <a:pt x="165" y="8"/>
                  <a:pt x="165" y="9"/>
                  <a:pt x="164" y="9"/>
                </a:cubicBezTo>
                <a:cubicBezTo>
                  <a:pt x="163" y="9"/>
                  <a:pt x="164" y="8"/>
                  <a:pt x="164" y="7"/>
                </a:cubicBezTo>
                <a:cubicBezTo>
                  <a:pt x="165" y="6"/>
                  <a:pt x="164" y="6"/>
                  <a:pt x="163" y="6"/>
                </a:cubicBezTo>
                <a:cubicBezTo>
                  <a:pt x="162" y="6"/>
                  <a:pt x="162" y="6"/>
                  <a:pt x="161" y="6"/>
                </a:cubicBezTo>
                <a:cubicBezTo>
                  <a:pt x="161" y="5"/>
                  <a:pt x="161" y="5"/>
                  <a:pt x="160" y="5"/>
                </a:cubicBezTo>
                <a:cubicBezTo>
                  <a:pt x="160" y="6"/>
                  <a:pt x="159" y="6"/>
                  <a:pt x="158" y="6"/>
                </a:cubicBezTo>
                <a:cubicBezTo>
                  <a:pt x="157" y="6"/>
                  <a:pt x="156" y="6"/>
                  <a:pt x="155" y="5"/>
                </a:cubicBezTo>
                <a:cubicBezTo>
                  <a:pt x="155" y="5"/>
                  <a:pt x="153" y="4"/>
                  <a:pt x="153" y="5"/>
                </a:cubicBezTo>
                <a:cubicBezTo>
                  <a:pt x="153" y="4"/>
                  <a:pt x="152" y="4"/>
                  <a:pt x="151" y="4"/>
                </a:cubicBezTo>
                <a:cubicBezTo>
                  <a:pt x="151" y="5"/>
                  <a:pt x="151" y="5"/>
                  <a:pt x="150" y="5"/>
                </a:cubicBezTo>
                <a:cubicBezTo>
                  <a:pt x="150" y="5"/>
                  <a:pt x="150" y="6"/>
                  <a:pt x="150" y="6"/>
                </a:cubicBezTo>
                <a:cubicBezTo>
                  <a:pt x="150" y="6"/>
                  <a:pt x="149" y="5"/>
                  <a:pt x="148" y="5"/>
                </a:cubicBezTo>
                <a:cubicBezTo>
                  <a:pt x="148" y="5"/>
                  <a:pt x="147" y="5"/>
                  <a:pt x="146" y="4"/>
                </a:cubicBezTo>
                <a:cubicBezTo>
                  <a:pt x="146" y="5"/>
                  <a:pt x="146" y="5"/>
                  <a:pt x="146" y="5"/>
                </a:cubicBezTo>
                <a:cubicBezTo>
                  <a:pt x="146" y="4"/>
                  <a:pt x="146" y="5"/>
                  <a:pt x="147" y="4"/>
                </a:cubicBezTo>
                <a:cubicBezTo>
                  <a:pt x="147" y="4"/>
                  <a:pt x="146" y="4"/>
                  <a:pt x="145" y="4"/>
                </a:cubicBezTo>
                <a:cubicBezTo>
                  <a:pt x="145" y="4"/>
                  <a:pt x="145" y="4"/>
                  <a:pt x="144" y="4"/>
                </a:cubicBezTo>
                <a:cubicBezTo>
                  <a:pt x="144" y="4"/>
                  <a:pt x="144" y="5"/>
                  <a:pt x="143" y="5"/>
                </a:cubicBezTo>
                <a:cubicBezTo>
                  <a:pt x="143" y="4"/>
                  <a:pt x="143" y="4"/>
                  <a:pt x="144" y="4"/>
                </a:cubicBezTo>
                <a:cubicBezTo>
                  <a:pt x="143" y="3"/>
                  <a:pt x="142" y="4"/>
                  <a:pt x="142" y="4"/>
                </a:cubicBezTo>
                <a:cubicBezTo>
                  <a:pt x="142" y="4"/>
                  <a:pt x="141" y="4"/>
                  <a:pt x="141" y="5"/>
                </a:cubicBezTo>
                <a:cubicBezTo>
                  <a:pt x="141" y="4"/>
                  <a:pt x="138" y="5"/>
                  <a:pt x="138" y="5"/>
                </a:cubicBezTo>
                <a:cubicBezTo>
                  <a:pt x="138" y="5"/>
                  <a:pt x="137" y="5"/>
                  <a:pt x="136" y="5"/>
                </a:cubicBezTo>
                <a:cubicBezTo>
                  <a:pt x="135" y="5"/>
                  <a:pt x="134" y="4"/>
                  <a:pt x="133" y="4"/>
                </a:cubicBezTo>
                <a:cubicBezTo>
                  <a:pt x="133" y="4"/>
                  <a:pt x="132" y="4"/>
                  <a:pt x="131" y="4"/>
                </a:cubicBezTo>
                <a:cubicBezTo>
                  <a:pt x="130" y="4"/>
                  <a:pt x="130" y="3"/>
                  <a:pt x="130" y="3"/>
                </a:cubicBezTo>
                <a:cubicBezTo>
                  <a:pt x="129" y="3"/>
                  <a:pt x="129" y="4"/>
                  <a:pt x="129" y="4"/>
                </a:cubicBezTo>
                <a:cubicBezTo>
                  <a:pt x="130" y="3"/>
                  <a:pt x="128" y="3"/>
                  <a:pt x="128" y="3"/>
                </a:cubicBezTo>
                <a:cubicBezTo>
                  <a:pt x="127" y="3"/>
                  <a:pt x="127" y="3"/>
                  <a:pt x="126" y="2"/>
                </a:cubicBezTo>
                <a:cubicBezTo>
                  <a:pt x="126" y="2"/>
                  <a:pt x="125" y="3"/>
                  <a:pt x="124" y="3"/>
                </a:cubicBezTo>
                <a:cubicBezTo>
                  <a:pt x="124" y="3"/>
                  <a:pt x="123" y="3"/>
                  <a:pt x="123" y="3"/>
                </a:cubicBezTo>
                <a:cubicBezTo>
                  <a:pt x="123" y="3"/>
                  <a:pt x="122" y="3"/>
                  <a:pt x="122" y="3"/>
                </a:cubicBezTo>
                <a:cubicBezTo>
                  <a:pt x="121" y="3"/>
                  <a:pt x="120" y="3"/>
                  <a:pt x="119" y="3"/>
                </a:cubicBezTo>
                <a:cubicBezTo>
                  <a:pt x="118" y="3"/>
                  <a:pt x="115" y="2"/>
                  <a:pt x="115" y="4"/>
                </a:cubicBezTo>
                <a:cubicBezTo>
                  <a:pt x="115" y="4"/>
                  <a:pt x="115" y="3"/>
                  <a:pt x="115" y="3"/>
                </a:cubicBezTo>
                <a:cubicBezTo>
                  <a:pt x="114" y="3"/>
                  <a:pt x="113" y="3"/>
                  <a:pt x="113" y="3"/>
                </a:cubicBezTo>
                <a:cubicBezTo>
                  <a:pt x="114" y="2"/>
                  <a:pt x="110" y="0"/>
                  <a:pt x="110" y="2"/>
                </a:cubicBezTo>
                <a:cubicBezTo>
                  <a:pt x="110" y="1"/>
                  <a:pt x="110" y="1"/>
                  <a:pt x="109" y="1"/>
                </a:cubicBezTo>
                <a:cubicBezTo>
                  <a:pt x="109" y="1"/>
                  <a:pt x="110" y="1"/>
                  <a:pt x="110" y="1"/>
                </a:cubicBezTo>
                <a:cubicBezTo>
                  <a:pt x="109" y="1"/>
                  <a:pt x="108" y="2"/>
                  <a:pt x="108" y="2"/>
                </a:cubicBezTo>
                <a:cubicBezTo>
                  <a:pt x="108" y="2"/>
                  <a:pt x="108" y="1"/>
                  <a:pt x="108" y="1"/>
                </a:cubicBezTo>
                <a:cubicBezTo>
                  <a:pt x="107" y="1"/>
                  <a:pt x="106" y="2"/>
                  <a:pt x="106" y="2"/>
                </a:cubicBezTo>
                <a:cubicBezTo>
                  <a:pt x="106" y="2"/>
                  <a:pt x="105" y="2"/>
                  <a:pt x="105" y="3"/>
                </a:cubicBezTo>
                <a:cubicBezTo>
                  <a:pt x="105" y="3"/>
                  <a:pt x="104" y="3"/>
                  <a:pt x="104" y="3"/>
                </a:cubicBezTo>
                <a:cubicBezTo>
                  <a:pt x="104" y="3"/>
                  <a:pt x="104" y="4"/>
                  <a:pt x="103" y="4"/>
                </a:cubicBezTo>
                <a:cubicBezTo>
                  <a:pt x="104" y="4"/>
                  <a:pt x="105" y="4"/>
                  <a:pt x="105" y="4"/>
                </a:cubicBezTo>
                <a:cubicBezTo>
                  <a:pt x="105" y="4"/>
                  <a:pt x="104" y="4"/>
                  <a:pt x="104" y="4"/>
                </a:cubicBezTo>
                <a:cubicBezTo>
                  <a:pt x="104" y="5"/>
                  <a:pt x="105" y="5"/>
                  <a:pt x="105" y="5"/>
                </a:cubicBezTo>
                <a:cubicBezTo>
                  <a:pt x="105" y="5"/>
                  <a:pt x="104" y="5"/>
                  <a:pt x="104" y="6"/>
                </a:cubicBezTo>
                <a:cubicBezTo>
                  <a:pt x="104" y="5"/>
                  <a:pt x="104" y="5"/>
                  <a:pt x="104" y="5"/>
                </a:cubicBezTo>
                <a:cubicBezTo>
                  <a:pt x="103" y="5"/>
                  <a:pt x="103" y="5"/>
                  <a:pt x="103" y="5"/>
                </a:cubicBezTo>
                <a:cubicBezTo>
                  <a:pt x="103" y="5"/>
                  <a:pt x="103" y="5"/>
                  <a:pt x="103" y="5"/>
                </a:cubicBezTo>
                <a:cubicBezTo>
                  <a:pt x="102" y="5"/>
                  <a:pt x="102" y="6"/>
                  <a:pt x="101" y="6"/>
                </a:cubicBezTo>
                <a:cubicBezTo>
                  <a:pt x="101" y="6"/>
                  <a:pt x="100" y="6"/>
                  <a:pt x="100" y="6"/>
                </a:cubicBezTo>
                <a:cubicBezTo>
                  <a:pt x="100" y="6"/>
                  <a:pt x="99" y="5"/>
                  <a:pt x="99" y="6"/>
                </a:cubicBezTo>
                <a:cubicBezTo>
                  <a:pt x="99" y="6"/>
                  <a:pt x="98" y="6"/>
                  <a:pt x="98" y="6"/>
                </a:cubicBezTo>
                <a:cubicBezTo>
                  <a:pt x="98" y="6"/>
                  <a:pt x="98" y="7"/>
                  <a:pt x="98" y="7"/>
                </a:cubicBezTo>
                <a:cubicBezTo>
                  <a:pt x="98" y="7"/>
                  <a:pt x="98" y="7"/>
                  <a:pt x="97" y="7"/>
                </a:cubicBezTo>
                <a:cubicBezTo>
                  <a:pt x="97" y="7"/>
                  <a:pt x="97" y="7"/>
                  <a:pt x="96" y="7"/>
                </a:cubicBezTo>
                <a:cubicBezTo>
                  <a:pt x="96" y="7"/>
                  <a:pt x="95" y="8"/>
                  <a:pt x="96" y="8"/>
                </a:cubicBezTo>
                <a:cubicBezTo>
                  <a:pt x="96" y="8"/>
                  <a:pt x="95" y="8"/>
                  <a:pt x="95" y="9"/>
                </a:cubicBezTo>
                <a:cubicBezTo>
                  <a:pt x="95" y="9"/>
                  <a:pt x="95" y="9"/>
                  <a:pt x="95" y="10"/>
                </a:cubicBezTo>
                <a:cubicBezTo>
                  <a:pt x="95" y="10"/>
                  <a:pt x="95" y="10"/>
                  <a:pt x="95" y="10"/>
                </a:cubicBezTo>
                <a:cubicBezTo>
                  <a:pt x="95" y="10"/>
                  <a:pt x="96" y="10"/>
                  <a:pt x="96" y="10"/>
                </a:cubicBezTo>
                <a:cubicBezTo>
                  <a:pt x="96" y="10"/>
                  <a:pt x="96" y="10"/>
                  <a:pt x="96" y="11"/>
                </a:cubicBezTo>
                <a:cubicBezTo>
                  <a:pt x="96" y="11"/>
                  <a:pt x="96" y="11"/>
                  <a:pt x="96" y="11"/>
                </a:cubicBezTo>
                <a:cubicBezTo>
                  <a:pt x="96" y="11"/>
                  <a:pt x="95" y="12"/>
                  <a:pt x="96" y="12"/>
                </a:cubicBezTo>
                <a:cubicBezTo>
                  <a:pt x="96" y="12"/>
                  <a:pt x="97" y="11"/>
                  <a:pt x="97" y="11"/>
                </a:cubicBezTo>
                <a:cubicBezTo>
                  <a:pt x="97" y="12"/>
                  <a:pt x="98" y="11"/>
                  <a:pt x="98" y="11"/>
                </a:cubicBezTo>
                <a:cubicBezTo>
                  <a:pt x="98" y="11"/>
                  <a:pt x="98" y="11"/>
                  <a:pt x="98" y="12"/>
                </a:cubicBezTo>
                <a:cubicBezTo>
                  <a:pt x="98" y="12"/>
                  <a:pt x="97" y="12"/>
                  <a:pt x="97" y="12"/>
                </a:cubicBezTo>
                <a:cubicBezTo>
                  <a:pt x="97" y="12"/>
                  <a:pt x="97" y="13"/>
                  <a:pt x="96" y="13"/>
                </a:cubicBezTo>
                <a:cubicBezTo>
                  <a:pt x="96" y="14"/>
                  <a:pt x="96" y="13"/>
                  <a:pt x="97" y="14"/>
                </a:cubicBezTo>
                <a:cubicBezTo>
                  <a:pt x="97" y="14"/>
                  <a:pt x="96" y="14"/>
                  <a:pt x="97" y="14"/>
                </a:cubicBezTo>
                <a:cubicBezTo>
                  <a:pt x="97" y="14"/>
                  <a:pt x="97" y="13"/>
                  <a:pt x="98" y="13"/>
                </a:cubicBezTo>
                <a:cubicBezTo>
                  <a:pt x="98" y="13"/>
                  <a:pt x="98" y="13"/>
                  <a:pt x="98" y="13"/>
                </a:cubicBezTo>
                <a:cubicBezTo>
                  <a:pt x="98" y="13"/>
                  <a:pt x="98" y="13"/>
                  <a:pt x="98" y="13"/>
                </a:cubicBezTo>
                <a:cubicBezTo>
                  <a:pt x="99" y="13"/>
                  <a:pt x="99" y="13"/>
                  <a:pt x="99" y="12"/>
                </a:cubicBezTo>
                <a:cubicBezTo>
                  <a:pt x="99" y="13"/>
                  <a:pt x="98" y="14"/>
                  <a:pt x="99" y="15"/>
                </a:cubicBezTo>
                <a:cubicBezTo>
                  <a:pt x="98" y="15"/>
                  <a:pt x="98" y="15"/>
                  <a:pt x="98" y="15"/>
                </a:cubicBezTo>
                <a:cubicBezTo>
                  <a:pt x="98" y="14"/>
                  <a:pt x="97" y="15"/>
                  <a:pt x="97" y="15"/>
                </a:cubicBezTo>
                <a:cubicBezTo>
                  <a:pt x="97" y="15"/>
                  <a:pt x="98" y="16"/>
                  <a:pt x="98" y="16"/>
                </a:cubicBezTo>
                <a:cubicBezTo>
                  <a:pt x="99" y="16"/>
                  <a:pt x="99" y="15"/>
                  <a:pt x="100" y="15"/>
                </a:cubicBezTo>
                <a:cubicBezTo>
                  <a:pt x="99" y="16"/>
                  <a:pt x="99" y="16"/>
                  <a:pt x="98" y="16"/>
                </a:cubicBezTo>
                <a:cubicBezTo>
                  <a:pt x="98" y="16"/>
                  <a:pt x="98" y="17"/>
                  <a:pt x="98" y="17"/>
                </a:cubicBezTo>
                <a:cubicBezTo>
                  <a:pt x="98" y="17"/>
                  <a:pt x="98" y="17"/>
                  <a:pt x="98" y="17"/>
                </a:cubicBezTo>
                <a:cubicBezTo>
                  <a:pt x="98" y="17"/>
                  <a:pt x="98" y="17"/>
                  <a:pt x="98" y="17"/>
                </a:cubicBezTo>
                <a:cubicBezTo>
                  <a:pt x="98" y="17"/>
                  <a:pt x="98" y="17"/>
                  <a:pt x="99" y="17"/>
                </a:cubicBezTo>
                <a:cubicBezTo>
                  <a:pt x="99" y="17"/>
                  <a:pt x="99" y="17"/>
                  <a:pt x="99" y="17"/>
                </a:cubicBezTo>
                <a:cubicBezTo>
                  <a:pt x="100" y="17"/>
                  <a:pt x="100" y="16"/>
                  <a:pt x="100" y="16"/>
                </a:cubicBezTo>
                <a:cubicBezTo>
                  <a:pt x="100" y="16"/>
                  <a:pt x="100" y="17"/>
                  <a:pt x="100" y="17"/>
                </a:cubicBezTo>
                <a:cubicBezTo>
                  <a:pt x="100" y="17"/>
                  <a:pt x="99" y="17"/>
                  <a:pt x="99" y="17"/>
                </a:cubicBezTo>
                <a:cubicBezTo>
                  <a:pt x="99" y="18"/>
                  <a:pt x="98" y="18"/>
                  <a:pt x="98" y="18"/>
                </a:cubicBezTo>
                <a:cubicBezTo>
                  <a:pt x="98" y="19"/>
                  <a:pt x="98" y="19"/>
                  <a:pt x="97" y="19"/>
                </a:cubicBezTo>
                <a:cubicBezTo>
                  <a:pt x="97" y="19"/>
                  <a:pt x="97" y="20"/>
                  <a:pt x="97" y="20"/>
                </a:cubicBezTo>
                <a:cubicBezTo>
                  <a:pt x="97" y="20"/>
                  <a:pt x="97" y="21"/>
                  <a:pt x="97" y="21"/>
                </a:cubicBezTo>
                <a:cubicBezTo>
                  <a:pt x="98" y="21"/>
                  <a:pt x="98" y="21"/>
                  <a:pt x="98" y="21"/>
                </a:cubicBezTo>
                <a:cubicBezTo>
                  <a:pt x="99" y="20"/>
                  <a:pt x="100" y="19"/>
                  <a:pt x="101" y="19"/>
                </a:cubicBezTo>
                <a:cubicBezTo>
                  <a:pt x="101" y="19"/>
                  <a:pt x="102" y="19"/>
                  <a:pt x="102" y="19"/>
                </a:cubicBezTo>
                <a:cubicBezTo>
                  <a:pt x="103" y="19"/>
                  <a:pt x="103" y="19"/>
                  <a:pt x="103" y="18"/>
                </a:cubicBezTo>
                <a:cubicBezTo>
                  <a:pt x="104" y="19"/>
                  <a:pt x="103" y="19"/>
                  <a:pt x="104" y="19"/>
                </a:cubicBezTo>
                <a:cubicBezTo>
                  <a:pt x="104" y="19"/>
                  <a:pt x="104" y="20"/>
                  <a:pt x="104" y="20"/>
                </a:cubicBezTo>
                <a:cubicBezTo>
                  <a:pt x="104" y="20"/>
                  <a:pt x="103" y="21"/>
                  <a:pt x="103" y="21"/>
                </a:cubicBezTo>
                <a:cubicBezTo>
                  <a:pt x="103" y="22"/>
                  <a:pt x="104" y="22"/>
                  <a:pt x="104" y="22"/>
                </a:cubicBezTo>
                <a:cubicBezTo>
                  <a:pt x="104" y="22"/>
                  <a:pt x="105" y="22"/>
                  <a:pt x="105" y="21"/>
                </a:cubicBezTo>
                <a:cubicBezTo>
                  <a:pt x="105" y="21"/>
                  <a:pt x="106" y="21"/>
                  <a:pt x="106" y="21"/>
                </a:cubicBezTo>
                <a:cubicBezTo>
                  <a:pt x="106" y="21"/>
                  <a:pt x="106" y="21"/>
                  <a:pt x="106" y="22"/>
                </a:cubicBezTo>
                <a:cubicBezTo>
                  <a:pt x="106" y="22"/>
                  <a:pt x="107" y="21"/>
                  <a:pt x="107" y="21"/>
                </a:cubicBezTo>
                <a:cubicBezTo>
                  <a:pt x="107" y="21"/>
                  <a:pt x="109" y="21"/>
                  <a:pt x="108" y="22"/>
                </a:cubicBezTo>
                <a:cubicBezTo>
                  <a:pt x="109" y="22"/>
                  <a:pt x="110" y="21"/>
                  <a:pt x="110" y="22"/>
                </a:cubicBezTo>
                <a:cubicBezTo>
                  <a:pt x="110" y="22"/>
                  <a:pt x="110" y="22"/>
                  <a:pt x="111" y="22"/>
                </a:cubicBezTo>
                <a:cubicBezTo>
                  <a:pt x="111" y="22"/>
                  <a:pt x="112" y="22"/>
                  <a:pt x="112" y="21"/>
                </a:cubicBezTo>
                <a:cubicBezTo>
                  <a:pt x="113" y="21"/>
                  <a:pt x="112" y="20"/>
                  <a:pt x="113" y="20"/>
                </a:cubicBezTo>
                <a:cubicBezTo>
                  <a:pt x="113" y="20"/>
                  <a:pt x="113" y="21"/>
                  <a:pt x="113" y="21"/>
                </a:cubicBezTo>
                <a:cubicBezTo>
                  <a:pt x="114" y="21"/>
                  <a:pt x="114" y="20"/>
                  <a:pt x="114" y="20"/>
                </a:cubicBezTo>
                <a:cubicBezTo>
                  <a:pt x="115" y="20"/>
                  <a:pt x="115" y="21"/>
                  <a:pt x="116" y="20"/>
                </a:cubicBezTo>
                <a:cubicBezTo>
                  <a:pt x="116" y="20"/>
                  <a:pt x="116" y="21"/>
                  <a:pt x="117" y="21"/>
                </a:cubicBezTo>
                <a:cubicBezTo>
                  <a:pt x="117" y="21"/>
                  <a:pt x="117" y="21"/>
                  <a:pt x="118" y="21"/>
                </a:cubicBezTo>
                <a:cubicBezTo>
                  <a:pt x="118" y="20"/>
                  <a:pt x="118" y="21"/>
                  <a:pt x="118" y="21"/>
                </a:cubicBezTo>
                <a:cubicBezTo>
                  <a:pt x="118" y="21"/>
                  <a:pt x="118" y="22"/>
                  <a:pt x="118" y="22"/>
                </a:cubicBezTo>
                <a:cubicBezTo>
                  <a:pt x="117" y="24"/>
                  <a:pt x="119" y="23"/>
                  <a:pt x="120" y="24"/>
                </a:cubicBezTo>
                <a:cubicBezTo>
                  <a:pt x="120" y="24"/>
                  <a:pt x="121" y="24"/>
                  <a:pt x="121" y="25"/>
                </a:cubicBezTo>
                <a:cubicBezTo>
                  <a:pt x="120" y="26"/>
                  <a:pt x="120" y="26"/>
                  <a:pt x="119" y="27"/>
                </a:cubicBezTo>
                <a:cubicBezTo>
                  <a:pt x="119" y="27"/>
                  <a:pt x="119" y="26"/>
                  <a:pt x="119" y="27"/>
                </a:cubicBezTo>
                <a:cubicBezTo>
                  <a:pt x="119" y="27"/>
                  <a:pt x="119" y="27"/>
                  <a:pt x="118" y="28"/>
                </a:cubicBezTo>
                <a:cubicBezTo>
                  <a:pt x="118" y="28"/>
                  <a:pt x="118" y="28"/>
                  <a:pt x="117" y="28"/>
                </a:cubicBezTo>
                <a:cubicBezTo>
                  <a:pt x="116" y="28"/>
                  <a:pt x="116" y="30"/>
                  <a:pt x="115" y="30"/>
                </a:cubicBezTo>
                <a:cubicBezTo>
                  <a:pt x="115" y="31"/>
                  <a:pt x="114" y="31"/>
                  <a:pt x="114" y="31"/>
                </a:cubicBezTo>
                <a:cubicBezTo>
                  <a:pt x="114" y="31"/>
                  <a:pt x="114" y="32"/>
                  <a:pt x="115" y="32"/>
                </a:cubicBezTo>
                <a:cubicBezTo>
                  <a:pt x="115" y="32"/>
                  <a:pt x="115" y="33"/>
                  <a:pt x="115" y="33"/>
                </a:cubicBezTo>
                <a:cubicBezTo>
                  <a:pt x="114" y="34"/>
                  <a:pt x="115" y="35"/>
                  <a:pt x="114" y="35"/>
                </a:cubicBezTo>
                <a:cubicBezTo>
                  <a:pt x="114" y="36"/>
                  <a:pt x="115" y="36"/>
                  <a:pt x="114" y="37"/>
                </a:cubicBezTo>
                <a:cubicBezTo>
                  <a:pt x="114" y="37"/>
                  <a:pt x="114" y="37"/>
                  <a:pt x="114" y="38"/>
                </a:cubicBezTo>
                <a:cubicBezTo>
                  <a:pt x="115" y="39"/>
                  <a:pt x="113" y="39"/>
                  <a:pt x="112" y="39"/>
                </a:cubicBezTo>
                <a:cubicBezTo>
                  <a:pt x="112" y="40"/>
                  <a:pt x="113" y="40"/>
                  <a:pt x="113" y="41"/>
                </a:cubicBezTo>
                <a:cubicBezTo>
                  <a:pt x="113" y="41"/>
                  <a:pt x="114" y="42"/>
                  <a:pt x="113" y="42"/>
                </a:cubicBezTo>
                <a:cubicBezTo>
                  <a:pt x="113" y="43"/>
                  <a:pt x="113" y="43"/>
                  <a:pt x="112" y="44"/>
                </a:cubicBezTo>
                <a:cubicBezTo>
                  <a:pt x="112" y="44"/>
                  <a:pt x="112" y="45"/>
                  <a:pt x="112" y="45"/>
                </a:cubicBezTo>
                <a:cubicBezTo>
                  <a:pt x="111" y="46"/>
                  <a:pt x="110" y="45"/>
                  <a:pt x="110" y="46"/>
                </a:cubicBezTo>
                <a:cubicBezTo>
                  <a:pt x="109" y="46"/>
                  <a:pt x="108" y="46"/>
                  <a:pt x="107" y="45"/>
                </a:cubicBezTo>
                <a:cubicBezTo>
                  <a:pt x="107" y="46"/>
                  <a:pt x="108" y="47"/>
                  <a:pt x="109" y="48"/>
                </a:cubicBezTo>
                <a:cubicBezTo>
                  <a:pt x="110" y="48"/>
                  <a:pt x="109" y="48"/>
                  <a:pt x="109" y="49"/>
                </a:cubicBezTo>
                <a:cubicBezTo>
                  <a:pt x="109" y="49"/>
                  <a:pt x="110" y="49"/>
                  <a:pt x="110" y="50"/>
                </a:cubicBezTo>
                <a:cubicBezTo>
                  <a:pt x="110" y="50"/>
                  <a:pt x="109" y="50"/>
                  <a:pt x="110" y="51"/>
                </a:cubicBezTo>
                <a:cubicBezTo>
                  <a:pt x="110" y="51"/>
                  <a:pt x="111" y="51"/>
                  <a:pt x="111" y="51"/>
                </a:cubicBezTo>
                <a:cubicBezTo>
                  <a:pt x="111" y="52"/>
                  <a:pt x="112" y="51"/>
                  <a:pt x="112" y="52"/>
                </a:cubicBezTo>
                <a:cubicBezTo>
                  <a:pt x="112" y="53"/>
                  <a:pt x="112" y="53"/>
                  <a:pt x="111" y="53"/>
                </a:cubicBezTo>
                <a:cubicBezTo>
                  <a:pt x="111" y="54"/>
                  <a:pt x="111" y="54"/>
                  <a:pt x="111" y="54"/>
                </a:cubicBezTo>
                <a:cubicBezTo>
                  <a:pt x="110" y="55"/>
                  <a:pt x="109" y="55"/>
                  <a:pt x="109" y="56"/>
                </a:cubicBezTo>
                <a:cubicBezTo>
                  <a:pt x="109" y="57"/>
                  <a:pt x="109" y="57"/>
                  <a:pt x="109" y="58"/>
                </a:cubicBezTo>
                <a:cubicBezTo>
                  <a:pt x="108" y="58"/>
                  <a:pt x="108" y="59"/>
                  <a:pt x="109" y="59"/>
                </a:cubicBezTo>
                <a:cubicBezTo>
                  <a:pt x="109" y="59"/>
                  <a:pt x="109" y="60"/>
                  <a:pt x="109" y="60"/>
                </a:cubicBezTo>
                <a:cubicBezTo>
                  <a:pt x="110" y="61"/>
                  <a:pt x="110" y="61"/>
                  <a:pt x="110" y="62"/>
                </a:cubicBezTo>
                <a:cubicBezTo>
                  <a:pt x="110" y="62"/>
                  <a:pt x="112" y="61"/>
                  <a:pt x="112" y="62"/>
                </a:cubicBezTo>
                <a:cubicBezTo>
                  <a:pt x="111" y="62"/>
                  <a:pt x="111" y="63"/>
                  <a:pt x="111" y="63"/>
                </a:cubicBezTo>
                <a:cubicBezTo>
                  <a:pt x="111" y="64"/>
                  <a:pt x="110" y="63"/>
                  <a:pt x="110" y="63"/>
                </a:cubicBezTo>
                <a:cubicBezTo>
                  <a:pt x="110" y="63"/>
                  <a:pt x="110" y="64"/>
                  <a:pt x="109" y="64"/>
                </a:cubicBezTo>
                <a:cubicBezTo>
                  <a:pt x="109" y="64"/>
                  <a:pt x="109" y="64"/>
                  <a:pt x="109" y="64"/>
                </a:cubicBezTo>
                <a:cubicBezTo>
                  <a:pt x="109" y="65"/>
                  <a:pt x="108" y="66"/>
                  <a:pt x="107" y="66"/>
                </a:cubicBezTo>
                <a:cubicBezTo>
                  <a:pt x="107" y="67"/>
                  <a:pt x="107" y="67"/>
                  <a:pt x="106" y="68"/>
                </a:cubicBezTo>
                <a:cubicBezTo>
                  <a:pt x="106" y="68"/>
                  <a:pt x="106" y="68"/>
                  <a:pt x="106" y="69"/>
                </a:cubicBezTo>
                <a:cubicBezTo>
                  <a:pt x="106" y="69"/>
                  <a:pt x="106" y="69"/>
                  <a:pt x="106" y="70"/>
                </a:cubicBezTo>
                <a:cubicBezTo>
                  <a:pt x="106" y="70"/>
                  <a:pt x="107" y="71"/>
                  <a:pt x="106" y="71"/>
                </a:cubicBezTo>
                <a:cubicBezTo>
                  <a:pt x="106" y="72"/>
                  <a:pt x="107" y="73"/>
                  <a:pt x="107" y="72"/>
                </a:cubicBezTo>
                <a:cubicBezTo>
                  <a:pt x="107" y="72"/>
                  <a:pt x="109" y="73"/>
                  <a:pt x="109" y="72"/>
                </a:cubicBezTo>
                <a:cubicBezTo>
                  <a:pt x="109" y="72"/>
                  <a:pt x="110" y="73"/>
                  <a:pt x="111" y="73"/>
                </a:cubicBezTo>
                <a:cubicBezTo>
                  <a:pt x="111" y="72"/>
                  <a:pt x="111" y="72"/>
                  <a:pt x="111" y="72"/>
                </a:cubicBezTo>
                <a:cubicBezTo>
                  <a:pt x="111" y="72"/>
                  <a:pt x="111" y="72"/>
                  <a:pt x="111" y="72"/>
                </a:cubicBezTo>
                <a:cubicBezTo>
                  <a:pt x="111" y="72"/>
                  <a:pt x="111" y="72"/>
                  <a:pt x="111" y="73"/>
                </a:cubicBezTo>
                <a:cubicBezTo>
                  <a:pt x="111" y="73"/>
                  <a:pt x="112" y="73"/>
                  <a:pt x="112" y="73"/>
                </a:cubicBezTo>
                <a:cubicBezTo>
                  <a:pt x="113" y="74"/>
                  <a:pt x="114" y="74"/>
                  <a:pt x="115" y="75"/>
                </a:cubicBezTo>
                <a:cubicBezTo>
                  <a:pt x="115" y="75"/>
                  <a:pt x="116" y="77"/>
                  <a:pt x="116" y="77"/>
                </a:cubicBezTo>
                <a:cubicBezTo>
                  <a:pt x="116" y="76"/>
                  <a:pt x="116" y="75"/>
                  <a:pt x="117" y="76"/>
                </a:cubicBezTo>
                <a:cubicBezTo>
                  <a:pt x="116" y="75"/>
                  <a:pt x="116" y="77"/>
                  <a:pt x="116" y="77"/>
                </a:cubicBezTo>
                <a:cubicBezTo>
                  <a:pt x="115" y="78"/>
                  <a:pt x="115" y="78"/>
                  <a:pt x="115" y="79"/>
                </a:cubicBezTo>
                <a:cubicBezTo>
                  <a:pt x="116" y="79"/>
                  <a:pt x="117" y="79"/>
                  <a:pt x="117" y="80"/>
                </a:cubicBezTo>
                <a:cubicBezTo>
                  <a:pt x="117" y="80"/>
                  <a:pt x="117" y="80"/>
                  <a:pt x="117" y="80"/>
                </a:cubicBezTo>
                <a:cubicBezTo>
                  <a:pt x="117" y="80"/>
                  <a:pt x="117" y="81"/>
                  <a:pt x="117" y="80"/>
                </a:cubicBezTo>
                <a:cubicBezTo>
                  <a:pt x="116" y="80"/>
                  <a:pt x="117" y="80"/>
                  <a:pt x="116" y="80"/>
                </a:cubicBezTo>
                <a:cubicBezTo>
                  <a:pt x="117" y="80"/>
                  <a:pt x="117" y="81"/>
                  <a:pt x="117" y="82"/>
                </a:cubicBezTo>
                <a:cubicBezTo>
                  <a:pt x="117" y="82"/>
                  <a:pt x="117" y="82"/>
                  <a:pt x="117" y="82"/>
                </a:cubicBezTo>
                <a:cubicBezTo>
                  <a:pt x="118" y="82"/>
                  <a:pt x="118" y="83"/>
                  <a:pt x="118" y="83"/>
                </a:cubicBezTo>
                <a:cubicBezTo>
                  <a:pt x="118" y="84"/>
                  <a:pt x="119" y="84"/>
                  <a:pt x="119" y="84"/>
                </a:cubicBezTo>
                <a:cubicBezTo>
                  <a:pt x="120" y="84"/>
                  <a:pt x="120" y="84"/>
                  <a:pt x="120" y="85"/>
                </a:cubicBezTo>
                <a:cubicBezTo>
                  <a:pt x="121" y="85"/>
                  <a:pt x="121" y="85"/>
                  <a:pt x="122" y="85"/>
                </a:cubicBezTo>
                <a:cubicBezTo>
                  <a:pt x="122" y="85"/>
                  <a:pt x="122" y="86"/>
                  <a:pt x="123" y="86"/>
                </a:cubicBezTo>
                <a:cubicBezTo>
                  <a:pt x="123" y="85"/>
                  <a:pt x="123" y="85"/>
                  <a:pt x="123" y="85"/>
                </a:cubicBezTo>
                <a:cubicBezTo>
                  <a:pt x="124" y="85"/>
                  <a:pt x="124" y="83"/>
                  <a:pt x="125" y="84"/>
                </a:cubicBezTo>
                <a:cubicBezTo>
                  <a:pt x="125" y="82"/>
                  <a:pt x="127" y="80"/>
                  <a:pt x="129" y="80"/>
                </a:cubicBezTo>
                <a:cubicBezTo>
                  <a:pt x="130" y="80"/>
                  <a:pt x="130" y="80"/>
                  <a:pt x="131" y="80"/>
                </a:cubicBezTo>
                <a:cubicBezTo>
                  <a:pt x="131" y="80"/>
                  <a:pt x="132" y="80"/>
                  <a:pt x="132" y="79"/>
                </a:cubicBezTo>
                <a:cubicBezTo>
                  <a:pt x="132" y="79"/>
                  <a:pt x="133" y="79"/>
                  <a:pt x="133" y="79"/>
                </a:cubicBezTo>
                <a:cubicBezTo>
                  <a:pt x="133" y="78"/>
                  <a:pt x="133" y="78"/>
                  <a:pt x="133" y="78"/>
                </a:cubicBezTo>
                <a:cubicBezTo>
                  <a:pt x="134" y="77"/>
                  <a:pt x="136" y="78"/>
                  <a:pt x="136" y="78"/>
                </a:cubicBezTo>
                <a:cubicBezTo>
                  <a:pt x="137" y="78"/>
                  <a:pt x="137" y="78"/>
                  <a:pt x="138" y="78"/>
                </a:cubicBezTo>
                <a:cubicBezTo>
                  <a:pt x="138" y="78"/>
                  <a:pt x="139" y="77"/>
                  <a:pt x="139" y="77"/>
                </a:cubicBezTo>
                <a:cubicBezTo>
                  <a:pt x="140" y="78"/>
                  <a:pt x="140" y="77"/>
                  <a:pt x="141" y="78"/>
                </a:cubicBezTo>
                <a:cubicBezTo>
                  <a:pt x="142" y="78"/>
                  <a:pt x="143" y="78"/>
                  <a:pt x="144" y="78"/>
                </a:cubicBezTo>
                <a:cubicBezTo>
                  <a:pt x="145" y="77"/>
                  <a:pt x="146" y="77"/>
                  <a:pt x="147" y="78"/>
                </a:cubicBezTo>
                <a:cubicBezTo>
                  <a:pt x="147" y="78"/>
                  <a:pt x="148" y="78"/>
                  <a:pt x="148" y="78"/>
                </a:cubicBezTo>
                <a:cubicBezTo>
                  <a:pt x="148" y="78"/>
                  <a:pt x="148" y="78"/>
                  <a:pt x="148" y="78"/>
                </a:cubicBezTo>
                <a:cubicBezTo>
                  <a:pt x="148" y="78"/>
                  <a:pt x="149" y="78"/>
                  <a:pt x="149" y="78"/>
                </a:cubicBezTo>
                <a:cubicBezTo>
                  <a:pt x="150" y="78"/>
                  <a:pt x="150" y="77"/>
                  <a:pt x="150" y="77"/>
                </a:cubicBezTo>
                <a:cubicBezTo>
                  <a:pt x="151" y="77"/>
                  <a:pt x="151" y="77"/>
                  <a:pt x="151" y="77"/>
                </a:cubicBezTo>
                <a:cubicBezTo>
                  <a:pt x="152" y="77"/>
                  <a:pt x="152" y="76"/>
                  <a:pt x="152" y="76"/>
                </a:cubicBezTo>
                <a:cubicBezTo>
                  <a:pt x="153" y="77"/>
                  <a:pt x="153" y="78"/>
                  <a:pt x="154" y="77"/>
                </a:cubicBezTo>
                <a:cubicBezTo>
                  <a:pt x="155" y="77"/>
                  <a:pt x="155" y="76"/>
                  <a:pt x="156" y="76"/>
                </a:cubicBezTo>
                <a:cubicBezTo>
                  <a:pt x="156" y="75"/>
                  <a:pt x="156" y="75"/>
                  <a:pt x="157" y="75"/>
                </a:cubicBezTo>
                <a:cubicBezTo>
                  <a:pt x="157" y="75"/>
                  <a:pt x="157" y="74"/>
                  <a:pt x="157" y="74"/>
                </a:cubicBezTo>
                <a:cubicBezTo>
                  <a:pt x="157" y="73"/>
                  <a:pt x="158" y="72"/>
                  <a:pt x="157" y="72"/>
                </a:cubicBezTo>
                <a:cubicBezTo>
                  <a:pt x="158" y="72"/>
                  <a:pt x="159" y="71"/>
                  <a:pt x="159" y="71"/>
                </a:cubicBezTo>
                <a:cubicBezTo>
                  <a:pt x="159" y="70"/>
                  <a:pt x="160" y="70"/>
                  <a:pt x="160" y="70"/>
                </a:cubicBezTo>
                <a:cubicBezTo>
                  <a:pt x="161" y="69"/>
                  <a:pt x="161" y="69"/>
                  <a:pt x="162" y="69"/>
                </a:cubicBezTo>
                <a:cubicBezTo>
                  <a:pt x="163" y="69"/>
                  <a:pt x="163" y="68"/>
                  <a:pt x="163" y="69"/>
                </a:cubicBezTo>
                <a:cubicBezTo>
                  <a:pt x="164" y="69"/>
                  <a:pt x="164" y="69"/>
                  <a:pt x="164" y="69"/>
                </a:cubicBezTo>
                <a:cubicBezTo>
                  <a:pt x="164" y="68"/>
                  <a:pt x="165" y="68"/>
                  <a:pt x="165" y="68"/>
                </a:cubicBezTo>
                <a:cubicBezTo>
                  <a:pt x="165" y="68"/>
                  <a:pt x="165" y="69"/>
                  <a:pt x="166" y="69"/>
                </a:cubicBezTo>
                <a:cubicBezTo>
                  <a:pt x="166" y="69"/>
                  <a:pt x="166" y="68"/>
                  <a:pt x="166" y="68"/>
                </a:cubicBezTo>
                <a:cubicBezTo>
                  <a:pt x="167" y="68"/>
                  <a:pt x="168" y="68"/>
                  <a:pt x="168" y="68"/>
                </a:cubicBezTo>
                <a:cubicBezTo>
                  <a:pt x="168" y="68"/>
                  <a:pt x="167" y="66"/>
                  <a:pt x="167" y="66"/>
                </a:cubicBezTo>
                <a:cubicBezTo>
                  <a:pt x="167" y="67"/>
                  <a:pt x="168" y="68"/>
                  <a:pt x="167" y="67"/>
                </a:cubicBezTo>
                <a:cubicBezTo>
                  <a:pt x="166" y="67"/>
                  <a:pt x="167" y="66"/>
                  <a:pt x="167" y="66"/>
                </a:cubicBezTo>
                <a:cubicBezTo>
                  <a:pt x="167" y="65"/>
                  <a:pt x="167" y="65"/>
                  <a:pt x="168" y="64"/>
                </a:cubicBezTo>
                <a:cubicBezTo>
                  <a:pt x="168" y="64"/>
                  <a:pt x="168" y="64"/>
                  <a:pt x="168" y="63"/>
                </a:cubicBezTo>
                <a:cubicBezTo>
                  <a:pt x="168" y="63"/>
                  <a:pt x="168" y="63"/>
                  <a:pt x="168" y="62"/>
                </a:cubicBezTo>
                <a:cubicBezTo>
                  <a:pt x="169" y="62"/>
                  <a:pt x="169" y="62"/>
                  <a:pt x="169" y="62"/>
                </a:cubicBezTo>
                <a:cubicBezTo>
                  <a:pt x="170" y="61"/>
                  <a:pt x="169" y="60"/>
                  <a:pt x="170" y="60"/>
                </a:cubicBezTo>
                <a:cubicBezTo>
                  <a:pt x="171" y="60"/>
                  <a:pt x="171" y="59"/>
                  <a:pt x="171" y="59"/>
                </a:cubicBezTo>
                <a:cubicBezTo>
                  <a:pt x="171" y="59"/>
                  <a:pt x="171" y="59"/>
                  <a:pt x="172" y="58"/>
                </a:cubicBezTo>
                <a:cubicBezTo>
                  <a:pt x="173" y="58"/>
                  <a:pt x="173" y="58"/>
                  <a:pt x="174" y="57"/>
                </a:cubicBezTo>
                <a:cubicBezTo>
                  <a:pt x="175" y="57"/>
                  <a:pt x="175" y="57"/>
                  <a:pt x="176" y="56"/>
                </a:cubicBezTo>
                <a:cubicBezTo>
                  <a:pt x="177" y="55"/>
                  <a:pt x="175" y="54"/>
                  <a:pt x="174" y="54"/>
                </a:cubicBezTo>
                <a:cubicBezTo>
                  <a:pt x="173" y="53"/>
                  <a:pt x="173" y="52"/>
                  <a:pt x="173" y="51"/>
                </a:cubicBezTo>
                <a:cubicBezTo>
                  <a:pt x="172" y="50"/>
                  <a:pt x="172" y="49"/>
                  <a:pt x="172" y="48"/>
                </a:cubicBezTo>
                <a:cubicBezTo>
                  <a:pt x="172" y="47"/>
                  <a:pt x="173" y="46"/>
                  <a:pt x="173" y="45"/>
                </a:cubicBezTo>
                <a:cubicBezTo>
                  <a:pt x="174" y="45"/>
                  <a:pt x="174" y="44"/>
                  <a:pt x="175" y="43"/>
                </a:cubicBezTo>
                <a:cubicBezTo>
                  <a:pt x="175" y="42"/>
                  <a:pt x="175" y="42"/>
                  <a:pt x="175" y="42"/>
                </a:cubicBezTo>
                <a:cubicBezTo>
                  <a:pt x="176" y="41"/>
                  <a:pt x="176" y="41"/>
                  <a:pt x="176" y="41"/>
                </a:cubicBezTo>
                <a:cubicBezTo>
                  <a:pt x="177" y="40"/>
                  <a:pt x="177" y="39"/>
                  <a:pt x="178" y="39"/>
                </a:cubicBezTo>
                <a:cubicBezTo>
                  <a:pt x="179" y="37"/>
                  <a:pt x="180" y="35"/>
                  <a:pt x="182" y="35"/>
                </a:cubicBezTo>
                <a:cubicBezTo>
                  <a:pt x="182" y="35"/>
                  <a:pt x="180" y="36"/>
                  <a:pt x="181" y="36"/>
                </a:cubicBezTo>
                <a:cubicBezTo>
                  <a:pt x="182" y="36"/>
                  <a:pt x="182" y="35"/>
                  <a:pt x="182" y="35"/>
                </a:cubicBezTo>
                <a:cubicBezTo>
                  <a:pt x="182" y="35"/>
                  <a:pt x="183" y="34"/>
                  <a:pt x="183" y="34"/>
                </a:cubicBezTo>
                <a:cubicBezTo>
                  <a:pt x="183" y="34"/>
                  <a:pt x="183" y="34"/>
                  <a:pt x="182" y="33"/>
                </a:cubicBezTo>
                <a:cubicBezTo>
                  <a:pt x="182" y="33"/>
                  <a:pt x="182" y="33"/>
                  <a:pt x="182" y="33"/>
                </a:cubicBezTo>
                <a:cubicBezTo>
                  <a:pt x="182" y="34"/>
                  <a:pt x="181" y="33"/>
                  <a:pt x="182" y="33"/>
                </a:cubicBezTo>
                <a:cubicBezTo>
                  <a:pt x="183" y="32"/>
                  <a:pt x="183" y="32"/>
                  <a:pt x="184" y="31"/>
                </a:cubicBezTo>
                <a:cubicBezTo>
                  <a:pt x="184" y="30"/>
                  <a:pt x="185" y="30"/>
                  <a:pt x="186" y="30"/>
                </a:cubicBezTo>
                <a:cubicBezTo>
                  <a:pt x="186" y="30"/>
                  <a:pt x="187" y="30"/>
                  <a:pt x="187" y="30"/>
                </a:cubicBezTo>
                <a:cubicBezTo>
                  <a:pt x="189" y="29"/>
                  <a:pt x="190" y="29"/>
                  <a:pt x="192" y="28"/>
                </a:cubicBezTo>
                <a:cubicBezTo>
                  <a:pt x="193" y="28"/>
                  <a:pt x="194" y="28"/>
                  <a:pt x="195" y="28"/>
                </a:cubicBezTo>
                <a:cubicBezTo>
                  <a:pt x="195" y="27"/>
                  <a:pt x="195" y="26"/>
                  <a:pt x="196" y="26"/>
                </a:cubicBezTo>
                <a:cubicBezTo>
                  <a:pt x="197" y="25"/>
                  <a:pt x="199" y="25"/>
                  <a:pt x="201" y="24"/>
                </a:cubicBezTo>
                <a:cubicBezTo>
                  <a:pt x="201" y="23"/>
                  <a:pt x="201" y="23"/>
                  <a:pt x="202" y="23"/>
                </a:cubicBezTo>
                <a:cubicBezTo>
                  <a:pt x="202" y="23"/>
                  <a:pt x="202" y="23"/>
                  <a:pt x="203" y="22"/>
                </a:cubicBezTo>
                <a:cubicBezTo>
                  <a:pt x="203" y="22"/>
                  <a:pt x="204" y="22"/>
                  <a:pt x="204" y="21"/>
                </a:cubicBezTo>
                <a:cubicBezTo>
                  <a:pt x="204" y="21"/>
                  <a:pt x="204" y="20"/>
                  <a:pt x="204" y="19"/>
                </a:cubicBezTo>
                <a:cubicBezTo>
                  <a:pt x="204" y="19"/>
                  <a:pt x="204" y="19"/>
                  <a:pt x="204" y="18"/>
                </a:cubicBezTo>
                <a:cubicBezTo>
                  <a:pt x="203" y="18"/>
                  <a:pt x="204" y="17"/>
                  <a:pt x="204" y="17"/>
                </a:cubicBezTo>
                <a:cubicBezTo>
                  <a:pt x="205" y="18"/>
                  <a:pt x="205" y="17"/>
                  <a:pt x="205" y="17"/>
                </a:cubicBezTo>
                <a:cubicBezTo>
                  <a:pt x="205" y="16"/>
                  <a:pt x="203" y="16"/>
                  <a:pt x="204" y="1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5" name="South Korea"/>
          <p:cNvSpPr>
            <a:spLocks noEditPoints="1"/>
          </p:cNvSpPr>
          <p:nvPr/>
        </p:nvSpPr>
        <p:spPr bwMode="auto">
          <a:xfrm>
            <a:off x="9945926" y="3129995"/>
            <a:ext cx="187993" cy="216992"/>
          </a:xfrm>
          <a:custGeom>
            <a:avLst/>
            <a:gdLst/>
            <a:ahLst/>
            <a:cxnLst>
              <a:cxn ang="0">
                <a:pos x="38" y="36"/>
              </a:cxn>
              <a:cxn ang="0">
                <a:pos x="36" y="39"/>
              </a:cxn>
              <a:cxn ang="0">
                <a:pos x="33" y="38"/>
              </a:cxn>
              <a:cxn ang="0">
                <a:pos x="31" y="39"/>
              </a:cxn>
              <a:cxn ang="0">
                <a:pos x="32" y="41"/>
              </a:cxn>
              <a:cxn ang="0">
                <a:pos x="31" y="40"/>
              </a:cxn>
              <a:cxn ang="0">
                <a:pos x="28" y="40"/>
              </a:cxn>
              <a:cxn ang="0">
                <a:pos x="24" y="40"/>
              </a:cxn>
              <a:cxn ang="0">
                <a:pos x="26" y="44"/>
              </a:cxn>
              <a:cxn ang="0">
                <a:pos x="23" y="42"/>
              </a:cxn>
              <a:cxn ang="0">
                <a:pos x="24" y="44"/>
              </a:cxn>
              <a:cxn ang="0">
                <a:pos x="22" y="45"/>
              </a:cxn>
              <a:cxn ang="0">
                <a:pos x="22" y="43"/>
              </a:cxn>
              <a:cxn ang="0">
                <a:pos x="20" y="43"/>
              </a:cxn>
              <a:cxn ang="0">
                <a:pos x="20" y="46"/>
              </a:cxn>
              <a:cxn ang="0">
                <a:pos x="18" y="46"/>
              </a:cxn>
              <a:cxn ang="0">
                <a:pos x="16" y="46"/>
              </a:cxn>
              <a:cxn ang="0">
                <a:pos x="14" y="44"/>
              </a:cxn>
              <a:cxn ang="0">
                <a:pos x="14" y="43"/>
              </a:cxn>
              <a:cxn ang="0">
                <a:pos x="14" y="42"/>
              </a:cxn>
              <a:cxn ang="0">
                <a:pos x="15" y="41"/>
              </a:cxn>
              <a:cxn ang="0">
                <a:pos x="13" y="41"/>
              </a:cxn>
              <a:cxn ang="0">
                <a:pos x="11" y="39"/>
              </a:cxn>
              <a:cxn ang="0">
                <a:pos x="13" y="39"/>
              </a:cxn>
              <a:cxn ang="0">
                <a:pos x="12" y="36"/>
              </a:cxn>
              <a:cxn ang="0">
                <a:pos x="12" y="32"/>
              </a:cxn>
              <a:cxn ang="0">
                <a:pos x="11" y="29"/>
              </a:cxn>
              <a:cxn ang="0">
                <a:pos x="9" y="27"/>
              </a:cxn>
              <a:cxn ang="0">
                <a:pos x="8" y="24"/>
              </a:cxn>
              <a:cxn ang="0">
                <a:pos x="6" y="22"/>
              </a:cxn>
              <a:cxn ang="0">
                <a:pos x="4" y="21"/>
              </a:cxn>
              <a:cxn ang="0">
                <a:pos x="3" y="20"/>
              </a:cxn>
              <a:cxn ang="0">
                <a:pos x="3" y="20"/>
              </a:cxn>
              <a:cxn ang="0">
                <a:pos x="4" y="20"/>
              </a:cxn>
              <a:cxn ang="0">
                <a:pos x="3" y="18"/>
              </a:cxn>
              <a:cxn ang="0">
                <a:pos x="5" y="19"/>
              </a:cxn>
              <a:cxn ang="0">
                <a:pos x="5" y="18"/>
              </a:cxn>
              <a:cxn ang="0">
                <a:pos x="7" y="18"/>
              </a:cxn>
              <a:cxn ang="0">
                <a:pos x="9" y="18"/>
              </a:cxn>
              <a:cxn ang="0">
                <a:pos x="8" y="17"/>
              </a:cxn>
              <a:cxn ang="0">
                <a:pos x="6" y="16"/>
              </a:cxn>
              <a:cxn ang="0">
                <a:pos x="5" y="15"/>
              </a:cxn>
              <a:cxn ang="0">
                <a:pos x="5" y="14"/>
              </a:cxn>
              <a:cxn ang="0">
                <a:pos x="2" y="11"/>
              </a:cxn>
              <a:cxn ang="0">
                <a:pos x="3" y="9"/>
              </a:cxn>
              <a:cxn ang="0">
                <a:pos x="6" y="3"/>
              </a:cxn>
              <a:cxn ang="0">
                <a:pos x="11" y="3"/>
              </a:cxn>
              <a:cxn ang="0">
                <a:pos x="16" y="3"/>
              </a:cxn>
              <a:cxn ang="0">
                <a:pos x="31" y="17"/>
              </a:cxn>
              <a:cxn ang="0">
                <a:pos x="34" y="25"/>
              </a:cxn>
              <a:cxn ang="0">
                <a:pos x="37" y="28"/>
              </a:cxn>
              <a:cxn ang="0">
                <a:pos x="34" y="40"/>
              </a:cxn>
              <a:cxn ang="0">
                <a:pos x="33" y="41"/>
              </a:cxn>
              <a:cxn ang="0">
                <a:pos x="0" y="9"/>
              </a:cxn>
              <a:cxn ang="0">
                <a:pos x="1" y="11"/>
              </a:cxn>
              <a:cxn ang="0">
                <a:pos x="52" y="15"/>
              </a:cxn>
              <a:cxn ang="0">
                <a:pos x="42" y="13"/>
              </a:cxn>
              <a:cxn ang="0">
                <a:pos x="14" y="46"/>
              </a:cxn>
              <a:cxn ang="0">
                <a:pos x="27" y="41"/>
              </a:cxn>
              <a:cxn ang="0">
                <a:pos x="28" y="42"/>
              </a:cxn>
              <a:cxn ang="0">
                <a:pos x="20" y="56"/>
              </a:cxn>
              <a:cxn ang="0">
                <a:pos x="24" y="58"/>
              </a:cxn>
            </a:cxnLst>
            <a:rect l="0" t="0" r="r" b="b"/>
            <a:pathLst>
              <a:path w="52" h="60">
                <a:moveTo>
                  <a:pt x="38" y="33"/>
                </a:moveTo>
                <a:cubicBezTo>
                  <a:pt x="38" y="34"/>
                  <a:pt x="39" y="34"/>
                  <a:pt x="38" y="34"/>
                </a:cubicBezTo>
                <a:cubicBezTo>
                  <a:pt x="38" y="34"/>
                  <a:pt x="38" y="34"/>
                  <a:pt x="37" y="34"/>
                </a:cubicBezTo>
                <a:cubicBezTo>
                  <a:pt x="38" y="35"/>
                  <a:pt x="38" y="35"/>
                  <a:pt x="38" y="36"/>
                </a:cubicBezTo>
                <a:cubicBezTo>
                  <a:pt x="38" y="37"/>
                  <a:pt x="38" y="37"/>
                  <a:pt x="38" y="38"/>
                </a:cubicBezTo>
                <a:cubicBezTo>
                  <a:pt x="38" y="38"/>
                  <a:pt x="37" y="38"/>
                  <a:pt x="37" y="38"/>
                </a:cubicBezTo>
                <a:cubicBezTo>
                  <a:pt x="37" y="38"/>
                  <a:pt x="37" y="38"/>
                  <a:pt x="36" y="39"/>
                </a:cubicBezTo>
                <a:cubicBezTo>
                  <a:pt x="36" y="39"/>
                  <a:pt x="36" y="39"/>
                  <a:pt x="36" y="39"/>
                </a:cubicBezTo>
                <a:cubicBezTo>
                  <a:pt x="36" y="39"/>
                  <a:pt x="36" y="38"/>
                  <a:pt x="36" y="38"/>
                </a:cubicBezTo>
                <a:cubicBezTo>
                  <a:pt x="36" y="38"/>
                  <a:pt x="35" y="39"/>
                  <a:pt x="35" y="38"/>
                </a:cubicBezTo>
                <a:cubicBezTo>
                  <a:pt x="35" y="39"/>
                  <a:pt x="34" y="38"/>
                  <a:pt x="34" y="38"/>
                </a:cubicBezTo>
                <a:cubicBezTo>
                  <a:pt x="34" y="39"/>
                  <a:pt x="34" y="39"/>
                  <a:pt x="33" y="38"/>
                </a:cubicBezTo>
                <a:cubicBezTo>
                  <a:pt x="33" y="38"/>
                  <a:pt x="33" y="38"/>
                  <a:pt x="33" y="38"/>
                </a:cubicBezTo>
                <a:cubicBezTo>
                  <a:pt x="33" y="38"/>
                  <a:pt x="32" y="37"/>
                  <a:pt x="32" y="37"/>
                </a:cubicBezTo>
                <a:cubicBezTo>
                  <a:pt x="31" y="37"/>
                  <a:pt x="33" y="39"/>
                  <a:pt x="33" y="39"/>
                </a:cubicBezTo>
                <a:cubicBezTo>
                  <a:pt x="32" y="39"/>
                  <a:pt x="32" y="38"/>
                  <a:pt x="31" y="39"/>
                </a:cubicBezTo>
                <a:cubicBezTo>
                  <a:pt x="31" y="39"/>
                  <a:pt x="31" y="39"/>
                  <a:pt x="31" y="40"/>
                </a:cubicBezTo>
                <a:cubicBezTo>
                  <a:pt x="31" y="39"/>
                  <a:pt x="31" y="39"/>
                  <a:pt x="32" y="39"/>
                </a:cubicBezTo>
                <a:cubicBezTo>
                  <a:pt x="32" y="40"/>
                  <a:pt x="31" y="40"/>
                  <a:pt x="31" y="40"/>
                </a:cubicBezTo>
                <a:cubicBezTo>
                  <a:pt x="31" y="40"/>
                  <a:pt x="32" y="41"/>
                  <a:pt x="32" y="41"/>
                </a:cubicBezTo>
                <a:cubicBezTo>
                  <a:pt x="32" y="41"/>
                  <a:pt x="32" y="41"/>
                  <a:pt x="32" y="41"/>
                </a:cubicBezTo>
                <a:cubicBezTo>
                  <a:pt x="32" y="42"/>
                  <a:pt x="31" y="41"/>
                  <a:pt x="32" y="41"/>
                </a:cubicBezTo>
                <a:cubicBezTo>
                  <a:pt x="32" y="41"/>
                  <a:pt x="31" y="41"/>
                  <a:pt x="31" y="41"/>
                </a:cubicBezTo>
                <a:cubicBezTo>
                  <a:pt x="31" y="41"/>
                  <a:pt x="31" y="40"/>
                  <a:pt x="31" y="40"/>
                </a:cubicBezTo>
                <a:cubicBezTo>
                  <a:pt x="31" y="40"/>
                  <a:pt x="30" y="41"/>
                  <a:pt x="30" y="41"/>
                </a:cubicBezTo>
                <a:cubicBezTo>
                  <a:pt x="30" y="41"/>
                  <a:pt x="30" y="40"/>
                  <a:pt x="30" y="41"/>
                </a:cubicBezTo>
                <a:cubicBezTo>
                  <a:pt x="29" y="41"/>
                  <a:pt x="27" y="39"/>
                  <a:pt x="28" y="39"/>
                </a:cubicBezTo>
                <a:cubicBezTo>
                  <a:pt x="27" y="39"/>
                  <a:pt x="27" y="40"/>
                  <a:pt x="28" y="40"/>
                </a:cubicBezTo>
                <a:cubicBezTo>
                  <a:pt x="27" y="40"/>
                  <a:pt x="27" y="40"/>
                  <a:pt x="27" y="39"/>
                </a:cubicBezTo>
                <a:cubicBezTo>
                  <a:pt x="27" y="41"/>
                  <a:pt x="25" y="40"/>
                  <a:pt x="25" y="40"/>
                </a:cubicBezTo>
                <a:cubicBezTo>
                  <a:pt x="25" y="40"/>
                  <a:pt x="25" y="41"/>
                  <a:pt x="24" y="41"/>
                </a:cubicBezTo>
                <a:cubicBezTo>
                  <a:pt x="24" y="41"/>
                  <a:pt x="24" y="40"/>
                  <a:pt x="24" y="40"/>
                </a:cubicBezTo>
                <a:cubicBezTo>
                  <a:pt x="23" y="41"/>
                  <a:pt x="25" y="42"/>
                  <a:pt x="25" y="42"/>
                </a:cubicBezTo>
                <a:cubicBezTo>
                  <a:pt x="26" y="42"/>
                  <a:pt x="26" y="41"/>
                  <a:pt x="26" y="42"/>
                </a:cubicBezTo>
                <a:cubicBezTo>
                  <a:pt x="26" y="42"/>
                  <a:pt x="26" y="43"/>
                  <a:pt x="26" y="43"/>
                </a:cubicBezTo>
                <a:cubicBezTo>
                  <a:pt x="25" y="42"/>
                  <a:pt x="26" y="44"/>
                  <a:pt x="26" y="44"/>
                </a:cubicBezTo>
                <a:cubicBezTo>
                  <a:pt x="25" y="44"/>
                  <a:pt x="24" y="43"/>
                  <a:pt x="25" y="43"/>
                </a:cubicBezTo>
                <a:cubicBezTo>
                  <a:pt x="25" y="42"/>
                  <a:pt x="23" y="41"/>
                  <a:pt x="24" y="41"/>
                </a:cubicBezTo>
                <a:cubicBezTo>
                  <a:pt x="23" y="41"/>
                  <a:pt x="23" y="42"/>
                  <a:pt x="22" y="42"/>
                </a:cubicBezTo>
                <a:cubicBezTo>
                  <a:pt x="22" y="42"/>
                  <a:pt x="23" y="42"/>
                  <a:pt x="23" y="42"/>
                </a:cubicBezTo>
                <a:cubicBezTo>
                  <a:pt x="23" y="42"/>
                  <a:pt x="22" y="42"/>
                  <a:pt x="22" y="42"/>
                </a:cubicBezTo>
                <a:cubicBezTo>
                  <a:pt x="23" y="42"/>
                  <a:pt x="23" y="42"/>
                  <a:pt x="23" y="43"/>
                </a:cubicBezTo>
                <a:cubicBezTo>
                  <a:pt x="23" y="43"/>
                  <a:pt x="24" y="44"/>
                  <a:pt x="24" y="44"/>
                </a:cubicBezTo>
                <a:cubicBezTo>
                  <a:pt x="24" y="44"/>
                  <a:pt x="25" y="44"/>
                  <a:pt x="24" y="44"/>
                </a:cubicBezTo>
                <a:cubicBezTo>
                  <a:pt x="24" y="44"/>
                  <a:pt x="23" y="44"/>
                  <a:pt x="23" y="44"/>
                </a:cubicBezTo>
                <a:cubicBezTo>
                  <a:pt x="23" y="45"/>
                  <a:pt x="24" y="44"/>
                  <a:pt x="24" y="45"/>
                </a:cubicBezTo>
                <a:cubicBezTo>
                  <a:pt x="24" y="45"/>
                  <a:pt x="24" y="45"/>
                  <a:pt x="24" y="46"/>
                </a:cubicBezTo>
                <a:cubicBezTo>
                  <a:pt x="23" y="46"/>
                  <a:pt x="22" y="44"/>
                  <a:pt x="22" y="45"/>
                </a:cubicBezTo>
                <a:cubicBezTo>
                  <a:pt x="21" y="46"/>
                  <a:pt x="21" y="44"/>
                  <a:pt x="22" y="44"/>
                </a:cubicBezTo>
                <a:cubicBezTo>
                  <a:pt x="22" y="44"/>
                  <a:pt x="22" y="45"/>
                  <a:pt x="22" y="44"/>
                </a:cubicBezTo>
                <a:cubicBezTo>
                  <a:pt x="22" y="44"/>
                  <a:pt x="22" y="43"/>
                  <a:pt x="22" y="43"/>
                </a:cubicBezTo>
                <a:cubicBezTo>
                  <a:pt x="22" y="43"/>
                  <a:pt x="22" y="43"/>
                  <a:pt x="22" y="43"/>
                </a:cubicBezTo>
                <a:cubicBezTo>
                  <a:pt x="23" y="44"/>
                  <a:pt x="23" y="43"/>
                  <a:pt x="22" y="43"/>
                </a:cubicBezTo>
                <a:cubicBezTo>
                  <a:pt x="22" y="42"/>
                  <a:pt x="22" y="43"/>
                  <a:pt x="22" y="43"/>
                </a:cubicBezTo>
                <a:cubicBezTo>
                  <a:pt x="22" y="42"/>
                  <a:pt x="21" y="42"/>
                  <a:pt x="21" y="42"/>
                </a:cubicBezTo>
                <a:cubicBezTo>
                  <a:pt x="21" y="43"/>
                  <a:pt x="21" y="43"/>
                  <a:pt x="20" y="43"/>
                </a:cubicBezTo>
                <a:cubicBezTo>
                  <a:pt x="20" y="44"/>
                  <a:pt x="20" y="44"/>
                  <a:pt x="20" y="44"/>
                </a:cubicBezTo>
                <a:cubicBezTo>
                  <a:pt x="20" y="45"/>
                  <a:pt x="20" y="45"/>
                  <a:pt x="20" y="45"/>
                </a:cubicBezTo>
                <a:cubicBezTo>
                  <a:pt x="20" y="45"/>
                  <a:pt x="20" y="46"/>
                  <a:pt x="20" y="46"/>
                </a:cubicBezTo>
                <a:cubicBezTo>
                  <a:pt x="20" y="46"/>
                  <a:pt x="19" y="46"/>
                  <a:pt x="20" y="46"/>
                </a:cubicBezTo>
                <a:cubicBezTo>
                  <a:pt x="19" y="46"/>
                  <a:pt x="19" y="45"/>
                  <a:pt x="18" y="45"/>
                </a:cubicBezTo>
                <a:cubicBezTo>
                  <a:pt x="18" y="44"/>
                  <a:pt x="18" y="44"/>
                  <a:pt x="18" y="44"/>
                </a:cubicBezTo>
                <a:cubicBezTo>
                  <a:pt x="18" y="45"/>
                  <a:pt x="18" y="45"/>
                  <a:pt x="18" y="45"/>
                </a:cubicBezTo>
                <a:cubicBezTo>
                  <a:pt x="18" y="45"/>
                  <a:pt x="18" y="46"/>
                  <a:pt x="18" y="46"/>
                </a:cubicBezTo>
                <a:cubicBezTo>
                  <a:pt x="17" y="46"/>
                  <a:pt x="18" y="49"/>
                  <a:pt x="16" y="47"/>
                </a:cubicBezTo>
                <a:cubicBezTo>
                  <a:pt x="16" y="47"/>
                  <a:pt x="16" y="47"/>
                  <a:pt x="16" y="46"/>
                </a:cubicBezTo>
                <a:cubicBezTo>
                  <a:pt x="16" y="46"/>
                  <a:pt x="16" y="46"/>
                  <a:pt x="16" y="46"/>
                </a:cubicBezTo>
                <a:cubicBezTo>
                  <a:pt x="16" y="46"/>
                  <a:pt x="16" y="46"/>
                  <a:pt x="16" y="46"/>
                </a:cubicBezTo>
                <a:cubicBezTo>
                  <a:pt x="16" y="46"/>
                  <a:pt x="15" y="45"/>
                  <a:pt x="16" y="45"/>
                </a:cubicBezTo>
                <a:cubicBezTo>
                  <a:pt x="16" y="45"/>
                  <a:pt x="16" y="45"/>
                  <a:pt x="15" y="44"/>
                </a:cubicBezTo>
                <a:cubicBezTo>
                  <a:pt x="15" y="44"/>
                  <a:pt x="15" y="45"/>
                  <a:pt x="15" y="45"/>
                </a:cubicBezTo>
                <a:cubicBezTo>
                  <a:pt x="15" y="45"/>
                  <a:pt x="13" y="44"/>
                  <a:pt x="14" y="44"/>
                </a:cubicBezTo>
                <a:cubicBezTo>
                  <a:pt x="13" y="44"/>
                  <a:pt x="13" y="44"/>
                  <a:pt x="13" y="43"/>
                </a:cubicBezTo>
                <a:cubicBezTo>
                  <a:pt x="13" y="43"/>
                  <a:pt x="13" y="42"/>
                  <a:pt x="13" y="43"/>
                </a:cubicBezTo>
                <a:cubicBezTo>
                  <a:pt x="13" y="43"/>
                  <a:pt x="15" y="45"/>
                  <a:pt x="15" y="44"/>
                </a:cubicBezTo>
                <a:cubicBezTo>
                  <a:pt x="15" y="44"/>
                  <a:pt x="14" y="43"/>
                  <a:pt x="14" y="43"/>
                </a:cubicBezTo>
                <a:cubicBezTo>
                  <a:pt x="14" y="43"/>
                  <a:pt x="16" y="44"/>
                  <a:pt x="16" y="44"/>
                </a:cubicBezTo>
                <a:cubicBezTo>
                  <a:pt x="16" y="44"/>
                  <a:pt x="16" y="44"/>
                  <a:pt x="16" y="44"/>
                </a:cubicBezTo>
                <a:cubicBezTo>
                  <a:pt x="16" y="44"/>
                  <a:pt x="15" y="43"/>
                  <a:pt x="15" y="43"/>
                </a:cubicBezTo>
                <a:cubicBezTo>
                  <a:pt x="15" y="43"/>
                  <a:pt x="14" y="42"/>
                  <a:pt x="14" y="42"/>
                </a:cubicBezTo>
                <a:cubicBezTo>
                  <a:pt x="14" y="42"/>
                  <a:pt x="15" y="42"/>
                  <a:pt x="15" y="42"/>
                </a:cubicBezTo>
                <a:cubicBezTo>
                  <a:pt x="14" y="42"/>
                  <a:pt x="16" y="42"/>
                  <a:pt x="16" y="42"/>
                </a:cubicBezTo>
                <a:cubicBezTo>
                  <a:pt x="16" y="42"/>
                  <a:pt x="16" y="42"/>
                  <a:pt x="15" y="42"/>
                </a:cubicBezTo>
                <a:cubicBezTo>
                  <a:pt x="15" y="42"/>
                  <a:pt x="15" y="41"/>
                  <a:pt x="15" y="41"/>
                </a:cubicBezTo>
                <a:cubicBezTo>
                  <a:pt x="15" y="41"/>
                  <a:pt x="15" y="42"/>
                  <a:pt x="15" y="42"/>
                </a:cubicBezTo>
                <a:cubicBezTo>
                  <a:pt x="14" y="42"/>
                  <a:pt x="14" y="42"/>
                  <a:pt x="14" y="42"/>
                </a:cubicBezTo>
                <a:cubicBezTo>
                  <a:pt x="14" y="42"/>
                  <a:pt x="13" y="42"/>
                  <a:pt x="13" y="42"/>
                </a:cubicBezTo>
                <a:cubicBezTo>
                  <a:pt x="14" y="41"/>
                  <a:pt x="13" y="41"/>
                  <a:pt x="13" y="41"/>
                </a:cubicBezTo>
                <a:cubicBezTo>
                  <a:pt x="13" y="40"/>
                  <a:pt x="13" y="40"/>
                  <a:pt x="13" y="40"/>
                </a:cubicBezTo>
                <a:cubicBezTo>
                  <a:pt x="12" y="40"/>
                  <a:pt x="13" y="40"/>
                  <a:pt x="13" y="40"/>
                </a:cubicBezTo>
                <a:cubicBezTo>
                  <a:pt x="12" y="41"/>
                  <a:pt x="12" y="40"/>
                  <a:pt x="12" y="40"/>
                </a:cubicBezTo>
                <a:cubicBezTo>
                  <a:pt x="13" y="40"/>
                  <a:pt x="12" y="39"/>
                  <a:pt x="11" y="39"/>
                </a:cubicBezTo>
                <a:cubicBezTo>
                  <a:pt x="12" y="39"/>
                  <a:pt x="12" y="39"/>
                  <a:pt x="12" y="39"/>
                </a:cubicBezTo>
                <a:cubicBezTo>
                  <a:pt x="11" y="39"/>
                  <a:pt x="11" y="38"/>
                  <a:pt x="11" y="38"/>
                </a:cubicBezTo>
                <a:cubicBezTo>
                  <a:pt x="11" y="38"/>
                  <a:pt x="12" y="39"/>
                  <a:pt x="12" y="38"/>
                </a:cubicBezTo>
                <a:cubicBezTo>
                  <a:pt x="12" y="39"/>
                  <a:pt x="12" y="39"/>
                  <a:pt x="13" y="39"/>
                </a:cubicBezTo>
                <a:cubicBezTo>
                  <a:pt x="13" y="39"/>
                  <a:pt x="12" y="38"/>
                  <a:pt x="12" y="38"/>
                </a:cubicBezTo>
                <a:cubicBezTo>
                  <a:pt x="12" y="38"/>
                  <a:pt x="12" y="37"/>
                  <a:pt x="11" y="37"/>
                </a:cubicBezTo>
                <a:cubicBezTo>
                  <a:pt x="11" y="37"/>
                  <a:pt x="11" y="37"/>
                  <a:pt x="11" y="36"/>
                </a:cubicBezTo>
                <a:cubicBezTo>
                  <a:pt x="11" y="36"/>
                  <a:pt x="11" y="35"/>
                  <a:pt x="12" y="36"/>
                </a:cubicBezTo>
                <a:cubicBezTo>
                  <a:pt x="11" y="35"/>
                  <a:pt x="11" y="35"/>
                  <a:pt x="11" y="34"/>
                </a:cubicBezTo>
                <a:cubicBezTo>
                  <a:pt x="11" y="34"/>
                  <a:pt x="12" y="33"/>
                  <a:pt x="13" y="34"/>
                </a:cubicBezTo>
                <a:cubicBezTo>
                  <a:pt x="13" y="33"/>
                  <a:pt x="11" y="34"/>
                  <a:pt x="11" y="33"/>
                </a:cubicBezTo>
                <a:cubicBezTo>
                  <a:pt x="10" y="33"/>
                  <a:pt x="12" y="31"/>
                  <a:pt x="12" y="32"/>
                </a:cubicBezTo>
                <a:cubicBezTo>
                  <a:pt x="12" y="31"/>
                  <a:pt x="13" y="31"/>
                  <a:pt x="13" y="31"/>
                </a:cubicBezTo>
                <a:cubicBezTo>
                  <a:pt x="13" y="31"/>
                  <a:pt x="12" y="31"/>
                  <a:pt x="12" y="30"/>
                </a:cubicBezTo>
                <a:cubicBezTo>
                  <a:pt x="12" y="30"/>
                  <a:pt x="13" y="30"/>
                  <a:pt x="13" y="30"/>
                </a:cubicBezTo>
                <a:cubicBezTo>
                  <a:pt x="13" y="30"/>
                  <a:pt x="10" y="30"/>
                  <a:pt x="11" y="29"/>
                </a:cubicBezTo>
                <a:cubicBezTo>
                  <a:pt x="11" y="29"/>
                  <a:pt x="13" y="29"/>
                  <a:pt x="12" y="28"/>
                </a:cubicBezTo>
                <a:cubicBezTo>
                  <a:pt x="12" y="28"/>
                  <a:pt x="11" y="29"/>
                  <a:pt x="11" y="28"/>
                </a:cubicBezTo>
                <a:cubicBezTo>
                  <a:pt x="10" y="28"/>
                  <a:pt x="9" y="27"/>
                  <a:pt x="9" y="27"/>
                </a:cubicBezTo>
                <a:cubicBezTo>
                  <a:pt x="9" y="27"/>
                  <a:pt x="9" y="27"/>
                  <a:pt x="9" y="27"/>
                </a:cubicBezTo>
                <a:cubicBezTo>
                  <a:pt x="9" y="26"/>
                  <a:pt x="9" y="27"/>
                  <a:pt x="9" y="26"/>
                </a:cubicBezTo>
                <a:cubicBezTo>
                  <a:pt x="8" y="26"/>
                  <a:pt x="9" y="26"/>
                  <a:pt x="9" y="26"/>
                </a:cubicBezTo>
                <a:cubicBezTo>
                  <a:pt x="8" y="25"/>
                  <a:pt x="8" y="25"/>
                  <a:pt x="8" y="25"/>
                </a:cubicBezTo>
                <a:cubicBezTo>
                  <a:pt x="9" y="25"/>
                  <a:pt x="8" y="24"/>
                  <a:pt x="8" y="24"/>
                </a:cubicBezTo>
                <a:cubicBezTo>
                  <a:pt x="7" y="24"/>
                  <a:pt x="8" y="24"/>
                  <a:pt x="8" y="24"/>
                </a:cubicBezTo>
                <a:cubicBezTo>
                  <a:pt x="9" y="23"/>
                  <a:pt x="7" y="24"/>
                  <a:pt x="7" y="24"/>
                </a:cubicBezTo>
                <a:cubicBezTo>
                  <a:pt x="7" y="24"/>
                  <a:pt x="7" y="23"/>
                  <a:pt x="7" y="23"/>
                </a:cubicBezTo>
                <a:cubicBezTo>
                  <a:pt x="7" y="23"/>
                  <a:pt x="6" y="23"/>
                  <a:pt x="6" y="22"/>
                </a:cubicBezTo>
                <a:cubicBezTo>
                  <a:pt x="7" y="22"/>
                  <a:pt x="6" y="21"/>
                  <a:pt x="6" y="21"/>
                </a:cubicBezTo>
                <a:cubicBezTo>
                  <a:pt x="6" y="21"/>
                  <a:pt x="6" y="20"/>
                  <a:pt x="6" y="21"/>
                </a:cubicBezTo>
                <a:cubicBezTo>
                  <a:pt x="5" y="21"/>
                  <a:pt x="5" y="21"/>
                  <a:pt x="5" y="21"/>
                </a:cubicBezTo>
                <a:cubicBezTo>
                  <a:pt x="5" y="22"/>
                  <a:pt x="5" y="20"/>
                  <a:pt x="4" y="21"/>
                </a:cubicBezTo>
                <a:cubicBezTo>
                  <a:pt x="4" y="21"/>
                  <a:pt x="5" y="22"/>
                  <a:pt x="5" y="22"/>
                </a:cubicBezTo>
                <a:cubicBezTo>
                  <a:pt x="5" y="23"/>
                  <a:pt x="4" y="21"/>
                  <a:pt x="4" y="21"/>
                </a:cubicBezTo>
                <a:cubicBezTo>
                  <a:pt x="3" y="22"/>
                  <a:pt x="3" y="21"/>
                  <a:pt x="3" y="21"/>
                </a:cubicBezTo>
                <a:cubicBezTo>
                  <a:pt x="3" y="21"/>
                  <a:pt x="3" y="20"/>
                  <a:pt x="3" y="20"/>
                </a:cubicBezTo>
                <a:cubicBezTo>
                  <a:pt x="3" y="20"/>
                  <a:pt x="3" y="21"/>
                  <a:pt x="3" y="21"/>
                </a:cubicBezTo>
                <a:cubicBezTo>
                  <a:pt x="2" y="21"/>
                  <a:pt x="2" y="20"/>
                  <a:pt x="2" y="19"/>
                </a:cubicBezTo>
                <a:cubicBezTo>
                  <a:pt x="3" y="20"/>
                  <a:pt x="3" y="20"/>
                  <a:pt x="3" y="20"/>
                </a:cubicBezTo>
                <a:cubicBezTo>
                  <a:pt x="3" y="20"/>
                  <a:pt x="3" y="20"/>
                  <a:pt x="3" y="20"/>
                </a:cubicBezTo>
                <a:cubicBezTo>
                  <a:pt x="2" y="20"/>
                  <a:pt x="3" y="19"/>
                  <a:pt x="3" y="19"/>
                </a:cubicBezTo>
                <a:cubicBezTo>
                  <a:pt x="3" y="20"/>
                  <a:pt x="3" y="18"/>
                  <a:pt x="3" y="18"/>
                </a:cubicBezTo>
                <a:cubicBezTo>
                  <a:pt x="3" y="18"/>
                  <a:pt x="3" y="19"/>
                  <a:pt x="4" y="19"/>
                </a:cubicBezTo>
                <a:cubicBezTo>
                  <a:pt x="4" y="20"/>
                  <a:pt x="4" y="20"/>
                  <a:pt x="4" y="20"/>
                </a:cubicBezTo>
                <a:cubicBezTo>
                  <a:pt x="4" y="20"/>
                  <a:pt x="4" y="19"/>
                  <a:pt x="4" y="19"/>
                </a:cubicBezTo>
                <a:cubicBezTo>
                  <a:pt x="4" y="19"/>
                  <a:pt x="5" y="19"/>
                  <a:pt x="4" y="19"/>
                </a:cubicBezTo>
                <a:cubicBezTo>
                  <a:pt x="5" y="19"/>
                  <a:pt x="4" y="18"/>
                  <a:pt x="3" y="18"/>
                </a:cubicBezTo>
                <a:cubicBezTo>
                  <a:pt x="4" y="18"/>
                  <a:pt x="3" y="18"/>
                  <a:pt x="3" y="18"/>
                </a:cubicBezTo>
                <a:cubicBezTo>
                  <a:pt x="4" y="18"/>
                  <a:pt x="4" y="18"/>
                  <a:pt x="4" y="18"/>
                </a:cubicBezTo>
                <a:cubicBezTo>
                  <a:pt x="4" y="18"/>
                  <a:pt x="4" y="18"/>
                  <a:pt x="5" y="18"/>
                </a:cubicBezTo>
                <a:cubicBezTo>
                  <a:pt x="5" y="18"/>
                  <a:pt x="5" y="19"/>
                  <a:pt x="5" y="19"/>
                </a:cubicBezTo>
                <a:cubicBezTo>
                  <a:pt x="5" y="19"/>
                  <a:pt x="5" y="19"/>
                  <a:pt x="5" y="19"/>
                </a:cubicBezTo>
                <a:cubicBezTo>
                  <a:pt x="5" y="19"/>
                  <a:pt x="5" y="19"/>
                  <a:pt x="5" y="19"/>
                </a:cubicBezTo>
                <a:cubicBezTo>
                  <a:pt x="5" y="18"/>
                  <a:pt x="6" y="19"/>
                  <a:pt x="6" y="19"/>
                </a:cubicBezTo>
                <a:cubicBezTo>
                  <a:pt x="6" y="18"/>
                  <a:pt x="5" y="18"/>
                  <a:pt x="5" y="18"/>
                </a:cubicBezTo>
                <a:cubicBezTo>
                  <a:pt x="5" y="18"/>
                  <a:pt x="5" y="18"/>
                  <a:pt x="5" y="18"/>
                </a:cubicBezTo>
                <a:cubicBezTo>
                  <a:pt x="5" y="18"/>
                  <a:pt x="5" y="17"/>
                  <a:pt x="4" y="17"/>
                </a:cubicBezTo>
                <a:cubicBezTo>
                  <a:pt x="5" y="17"/>
                  <a:pt x="6" y="18"/>
                  <a:pt x="6" y="19"/>
                </a:cubicBezTo>
                <a:cubicBezTo>
                  <a:pt x="6" y="18"/>
                  <a:pt x="6" y="18"/>
                  <a:pt x="6" y="18"/>
                </a:cubicBezTo>
                <a:cubicBezTo>
                  <a:pt x="7" y="18"/>
                  <a:pt x="7" y="18"/>
                  <a:pt x="7" y="18"/>
                </a:cubicBezTo>
                <a:cubicBezTo>
                  <a:pt x="7" y="18"/>
                  <a:pt x="8" y="19"/>
                  <a:pt x="8" y="19"/>
                </a:cubicBezTo>
                <a:cubicBezTo>
                  <a:pt x="8" y="18"/>
                  <a:pt x="9" y="20"/>
                  <a:pt x="9" y="20"/>
                </a:cubicBezTo>
                <a:cubicBezTo>
                  <a:pt x="9" y="20"/>
                  <a:pt x="8" y="19"/>
                  <a:pt x="9" y="20"/>
                </a:cubicBezTo>
                <a:cubicBezTo>
                  <a:pt x="8" y="19"/>
                  <a:pt x="10" y="19"/>
                  <a:pt x="9" y="18"/>
                </a:cubicBezTo>
                <a:cubicBezTo>
                  <a:pt x="10" y="18"/>
                  <a:pt x="10" y="18"/>
                  <a:pt x="10" y="18"/>
                </a:cubicBezTo>
                <a:cubicBezTo>
                  <a:pt x="9" y="17"/>
                  <a:pt x="9" y="19"/>
                  <a:pt x="9" y="19"/>
                </a:cubicBezTo>
                <a:cubicBezTo>
                  <a:pt x="8" y="19"/>
                  <a:pt x="7" y="18"/>
                  <a:pt x="8" y="17"/>
                </a:cubicBezTo>
                <a:cubicBezTo>
                  <a:pt x="8" y="17"/>
                  <a:pt x="8" y="17"/>
                  <a:pt x="8" y="17"/>
                </a:cubicBezTo>
                <a:cubicBezTo>
                  <a:pt x="8" y="17"/>
                  <a:pt x="8" y="17"/>
                  <a:pt x="8" y="17"/>
                </a:cubicBezTo>
                <a:cubicBezTo>
                  <a:pt x="7" y="17"/>
                  <a:pt x="7" y="17"/>
                  <a:pt x="7" y="16"/>
                </a:cubicBezTo>
                <a:cubicBezTo>
                  <a:pt x="7" y="16"/>
                  <a:pt x="8" y="16"/>
                  <a:pt x="7" y="16"/>
                </a:cubicBezTo>
                <a:cubicBezTo>
                  <a:pt x="7" y="16"/>
                  <a:pt x="6" y="16"/>
                  <a:pt x="6" y="16"/>
                </a:cubicBezTo>
                <a:cubicBezTo>
                  <a:pt x="6" y="16"/>
                  <a:pt x="6" y="16"/>
                  <a:pt x="6" y="16"/>
                </a:cubicBezTo>
                <a:cubicBezTo>
                  <a:pt x="6" y="16"/>
                  <a:pt x="6" y="16"/>
                  <a:pt x="6" y="16"/>
                </a:cubicBezTo>
                <a:cubicBezTo>
                  <a:pt x="6" y="16"/>
                  <a:pt x="5" y="16"/>
                  <a:pt x="6" y="16"/>
                </a:cubicBezTo>
                <a:cubicBezTo>
                  <a:pt x="6" y="15"/>
                  <a:pt x="5" y="15"/>
                  <a:pt x="5" y="15"/>
                </a:cubicBezTo>
                <a:cubicBezTo>
                  <a:pt x="5" y="15"/>
                  <a:pt x="6" y="15"/>
                  <a:pt x="6" y="15"/>
                </a:cubicBezTo>
                <a:cubicBezTo>
                  <a:pt x="6" y="15"/>
                  <a:pt x="6" y="14"/>
                  <a:pt x="7" y="15"/>
                </a:cubicBezTo>
                <a:cubicBezTo>
                  <a:pt x="6" y="14"/>
                  <a:pt x="5" y="15"/>
                  <a:pt x="5" y="14"/>
                </a:cubicBezTo>
                <a:cubicBezTo>
                  <a:pt x="5" y="14"/>
                  <a:pt x="5" y="14"/>
                  <a:pt x="5" y="14"/>
                </a:cubicBezTo>
                <a:cubicBezTo>
                  <a:pt x="5" y="13"/>
                  <a:pt x="4" y="13"/>
                  <a:pt x="4" y="13"/>
                </a:cubicBezTo>
                <a:cubicBezTo>
                  <a:pt x="4" y="13"/>
                  <a:pt x="3" y="12"/>
                  <a:pt x="4" y="12"/>
                </a:cubicBezTo>
                <a:cubicBezTo>
                  <a:pt x="4" y="12"/>
                  <a:pt x="4" y="12"/>
                  <a:pt x="3" y="12"/>
                </a:cubicBezTo>
                <a:cubicBezTo>
                  <a:pt x="3" y="11"/>
                  <a:pt x="3" y="11"/>
                  <a:pt x="2" y="11"/>
                </a:cubicBezTo>
                <a:cubicBezTo>
                  <a:pt x="2" y="11"/>
                  <a:pt x="1" y="10"/>
                  <a:pt x="1" y="9"/>
                </a:cubicBezTo>
                <a:cubicBezTo>
                  <a:pt x="2" y="9"/>
                  <a:pt x="3" y="9"/>
                  <a:pt x="3" y="10"/>
                </a:cubicBezTo>
                <a:cubicBezTo>
                  <a:pt x="3" y="10"/>
                  <a:pt x="3" y="11"/>
                  <a:pt x="4" y="11"/>
                </a:cubicBezTo>
                <a:cubicBezTo>
                  <a:pt x="4" y="11"/>
                  <a:pt x="3" y="9"/>
                  <a:pt x="3" y="9"/>
                </a:cubicBezTo>
                <a:cubicBezTo>
                  <a:pt x="2" y="8"/>
                  <a:pt x="2" y="8"/>
                  <a:pt x="2" y="7"/>
                </a:cubicBezTo>
                <a:cubicBezTo>
                  <a:pt x="3" y="7"/>
                  <a:pt x="3" y="6"/>
                  <a:pt x="3" y="6"/>
                </a:cubicBezTo>
                <a:cubicBezTo>
                  <a:pt x="3" y="5"/>
                  <a:pt x="3" y="5"/>
                  <a:pt x="3" y="4"/>
                </a:cubicBezTo>
                <a:cubicBezTo>
                  <a:pt x="3" y="3"/>
                  <a:pt x="5" y="3"/>
                  <a:pt x="6" y="3"/>
                </a:cubicBezTo>
                <a:cubicBezTo>
                  <a:pt x="6" y="3"/>
                  <a:pt x="7" y="3"/>
                  <a:pt x="7" y="3"/>
                </a:cubicBezTo>
                <a:cubicBezTo>
                  <a:pt x="8" y="3"/>
                  <a:pt x="8" y="3"/>
                  <a:pt x="9" y="3"/>
                </a:cubicBezTo>
                <a:cubicBezTo>
                  <a:pt x="9" y="3"/>
                  <a:pt x="9" y="3"/>
                  <a:pt x="10" y="3"/>
                </a:cubicBezTo>
                <a:cubicBezTo>
                  <a:pt x="10" y="3"/>
                  <a:pt x="10" y="3"/>
                  <a:pt x="11" y="3"/>
                </a:cubicBezTo>
                <a:cubicBezTo>
                  <a:pt x="12" y="3"/>
                  <a:pt x="13" y="4"/>
                  <a:pt x="14" y="3"/>
                </a:cubicBezTo>
                <a:cubicBezTo>
                  <a:pt x="14" y="2"/>
                  <a:pt x="14" y="2"/>
                  <a:pt x="14" y="1"/>
                </a:cubicBezTo>
                <a:cubicBezTo>
                  <a:pt x="13" y="1"/>
                  <a:pt x="13" y="0"/>
                  <a:pt x="14" y="0"/>
                </a:cubicBezTo>
                <a:cubicBezTo>
                  <a:pt x="15" y="1"/>
                  <a:pt x="15" y="2"/>
                  <a:pt x="16" y="3"/>
                </a:cubicBezTo>
                <a:cubicBezTo>
                  <a:pt x="17" y="4"/>
                  <a:pt x="18" y="4"/>
                  <a:pt x="19" y="5"/>
                </a:cubicBezTo>
                <a:cubicBezTo>
                  <a:pt x="20" y="7"/>
                  <a:pt x="22" y="8"/>
                  <a:pt x="24" y="10"/>
                </a:cubicBezTo>
                <a:cubicBezTo>
                  <a:pt x="26" y="11"/>
                  <a:pt x="28" y="13"/>
                  <a:pt x="29" y="15"/>
                </a:cubicBezTo>
                <a:cubicBezTo>
                  <a:pt x="30" y="15"/>
                  <a:pt x="30" y="16"/>
                  <a:pt x="31" y="17"/>
                </a:cubicBezTo>
                <a:cubicBezTo>
                  <a:pt x="31" y="18"/>
                  <a:pt x="32" y="19"/>
                  <a:pt x="32" y="20"/>
                </a:cubicBezTo>
                <a:cubicBezTo>
                  <a:pt x="33" y="20"/>
                  <a:pt x="33" y="21"/>
                  <a:pt x="33" y="21"/>
                </a:cubicBezTo>
                <a:cubicBezTo>
                  <a:pt x="33" y="22"/>
                  <a:pt x="33" y="22"/>
                  <a:pt x="33" y="22"/>
                </a:cubicBezTo>
                <a:cubicBezTo>
                  <a:pt x="34" y="23"/>
                  <a:pt x="34" y="24"/>
                  <a:pt x="34" y="25"/>
                </a:cubicBezTo>
                <a:cubicBezTo>
                  <a:pt x="34" y="26"/>
                  <a:pt x="35" y="27"/>
                  <a:pt x="35" y="27"/>
                </a:cubicBezTo>
                <a:cubicBezTo>
                  <a:pt x="35" y="28"/>
                  <a:pt x="36" y="28"/>
                  <a:pt x="35" y="28"/>
                </a:cubicBezTo>
                <a:cubicBezTo>
                  <a:pt x="35" y="28"/>
                  <a:pt x="36" y="29"/>
                  <a:pt x="36" y="29"/>
                </a:cubicBezTo>
                <a:cubicBezTo>
                  <a:pt x="36" y="28"/>
                  <a:pt x="37" y="27"/>
                  <a:pt x="37" y="28"/>
                </a:cubicBezTo>
                <a:cubicBezTo>
                  <a:pt x="37" y="29"/>
                  <a:pt x="38" y="30"/>
                  <a:pt x="38" y="31"/>
                </a:cubicBezTo>
                <a:cubicBezTo>
                  <a:pt x="38" y="32"/>
                  <a:pt x="38" y="33"/>
                  <a:pt x="38" y="33"/>
                </a:cubicBezTo>
                <a:close/>
                <a:moveTo>
                  <a:pt x="35" y="42"/>
                </a:moveTo>
                <a:cubicBezTo>
                  <a:pt x="35" y="41"/>
                  <a:pt x="35" y="41"/>
                  <a:pt x="34" y="40"/>
                </a:cubicBezTo>
                <a:cubicBezTo>
                  <a:pt x="34" y="40"/>
                  <a:pt x="34" y="39"/>
                  <a:pt x="34" y="39"/>
                </a:cubicBezTo>
                <a:cubicBezTo>
                  <a:pt x="33" y="40"/>
                  <a:pt x="34" y="40"/>
                  <a:pt x="33" y="40"/>
                </a:cubicBezTo>
                <a:cubicBezTo>
                  <a:pt x="33" y="40"/>
                  <a:pt x="34" y="41"/>
                  <a:pt x="34" y="41"/>
                </a:cubicBezTo>
                <a:cubicBezTo>
                  <a:pt x="33" y="41"/>
                  <a:pt x="32" y="40"/>
                  <a:pt x="33" y="41"/>
                </a:cubicBezTo>
                <a:cubicBezTo>
                  <a:pt x="33" y="42"/>
                  <a:pt x="34" y="41"/>
                  <a:pt x="34" y="42"/>
                </a:cubicBezTo>
                <a:cubicBezTo>
                  <a:pt x="33" y="42"/>
                  <a:pt x="34" y="43"/>
                  <a:pt x="35" y="43"/>
                </a:cubicBezTo>
                <a:cubicBezTo>
                  <a:pt x="35" y="43"/>
                  <a:pt x="34" y="41"/>
                  <a:pt x="35" y="42"/>
                </a:cubicBezTo>
                <a:close/>
                <a:moveTo>
                  <a:pt x="0" y="9"/>
                </a:moveTo>
                <a:cubicBezTo>
                  <a:pt x="0" y="8"/>
                  <a:pt x="0" y="10"/>
                  <a:pt x="0" y="10"/>
                </a:cubicBezTo>
                <a:cubicBezTo>
                  <a:pt x="0" y="10"/>
                  <a:pt x="1" y="10"/>
                  <a:pt x="1" y="11"/>
                </a:cubicBezTo>
                <a:cubicBezTo>
                  <a:pt x="1" y="11"/>
                  <a:pt x="1" y="11"/>
                  <a:pt x="1" y="11"/>
                </a:cubicBezTo>
                <a:cubicBezTo>
                  <a:pt x="1" y="11"/>
                  <a:pt x="1" y="11"/>
                  <a:pt x="1" y="11"/>
                </a:cubicBezTo>
                <a:cubicBezTo>
                  <a:pt x="2" y="11"/>
                  <a:pt x="2" y="11"/>
                  <a:pt x="2" y="11"/>
                </a:cubicBezTo>
                <a:cubicBezTo>
                  <a:pt x="2" y="10"/>
                  <a:pt x="1" y="9"/>
                  <a:pt x="0" y="9"/>
                </a:cubicBezTo>
                <a:close/>
                <a:moveTo>
                  <a:pt x="52" y="15"/>
                </a:moveTo>
                <a:cubicBezTo>
                  <a:pt x="52" y="15"/>
                  <a:pt x="52" y="15"/>
                  <a:pt x="52" y="15"/>
                </a:cubicBezTo>
                <a:cubicBezTo>
                  <a:pt x="52" y="15"/>
                  <a:pt x="52" y="15"/>
                  <a:pt x="52" y="15"/>
                </a:cubicBezTo>
                <a:close/>
                <a:moveTo>
                  <a:pt x="42" y="13"/>
                </a:moveTo>
                <a:cubicBezTo>
                  <a:pt x="42" y="13"/>
                  <a:pt x="43" y="13"/>
                  <a:pt x="42" y="12"/>
                </a:cubicBezTo>
                <a:cubicBezTo>
                  <a:pt x="42" y="11"/>
                  <a:pt x="41" y="12"/>
                  <a:pt x="42" y="13"/>
                </a:cubicBezTo>
                <a:close/>
                <a:moveTo>
                  <a:pt x="13" y="44"/>
                </a:moveTo>
                <a:cubicBezTo>
                  <a:pt x="14" y="45"/>
                  <a:pt x="12" y="46"/>
                  <a:pt x="13" y="46"/>
                </a:cubicBezTo>
                <a:cubicBezTo>
                  <a:pt x="13" y="46"/>
                  <a:pt x="13" y="47"/>
                  <a:pt x="13" y="47"/>
                </a:cubicBezTo>
                <a:cubicBezTo>
                  <a:pt x="14" y="47"/>
                  <a:pt x="14" y="46"/>
                  <a:pt x="14" y="46"/>
                </a:cubicBezTo>
                <a:cubicBezTo>
                  <a:pt x="15" y="46"/>
                  <a:pt x="15" y="45"/>
                  <a:pt x="15" y="45"/>
                </a:cubicBezTo>
                <a:cubicBezTo>
                  <a:pt x="14" y="45"/>
                  <a:pt x="14" y="44"/>
                  <a:pt x="13" y="44"/>
                </a:cubicBezTo>
                <a:close/>
                <a:moveTo>
                  <a:pt x="28" y="42"/>
                </a:moveTo>
                <a:cubicBezTo>
                  <a:pt x="28" y="42"/>
                  <a:pt x="27" y="41"/>
                  <a:pt x="27" y="41"/>
                </a:cubicBezTo>
                <a:cubicBezTo>
                  <a:pt x="27" y="40"/>
                  <a:pt x="27" y="40"/>
                  <a:pt x="26" y="41"/>
                </a:cubicBezTo>
                <a:cubicBezTo>
                  <a:pt x="26" y="41"/>
                  <a:pt x="27" y="42"/>
                  <a:pt x="27" y="42"/>
                </a:cubicBezTo>
                <a:cubicBezTo>
                  <a:pt x="27" y="42"/>
                  <a:pt x="27" y="43"/>
                  <a:pt x="28" y="43"/>
                </a:cubicBezTo>
                <a:cubicBezTo>
                  <a:pt x="28" y="43"/>
                  <a:pt x="28" y="42"/>
                  <a:pt x="28" y="42"/>
                </a:cubicBezTo>
                <a:cubicBezTo>
                  <a:pt x="28" y="42"/>
                  <a:pt x="29" y="43"/>
                  <a:pt x="29" y="43"/>
                </a:cubicBezTo>
                <a:cubicBezTo>
                  <a:pt x="30" y="43"/>
                  <a:pt x="29" y="42"/>
                  <a:pt x="28" y="42"/>
                </a:cubicBezTo>
                <a:close/>
                <a:moveTo>
                  <a:pt x="23" y="56"/>
                </a:moveTo>
                <a:cubicBezTo>
                  <a:pt x="22" y="55"/>
                  <a:pt x="21" y="56"/>
                  <a:pt x="20" y="56"/>
                </a:cubicBezTo>
                <a:cubicBezTo>
                  <a:pt x="19" y="56"/>
                  <a:pt x="17" y="57"/>
                  <a:pt x="18" y="59"/>
                </a:cubicBezTo>
                <a:cubicBezTo>
                  <a:pt x="18" y="59"/>
                  <a:pt x="19" y="60"/>
                  <a:pt x="19" y="59"/>
                </a:cubicBezTo>
                <a:cubicBezTo>
                  <a:pt x="20" y="59"/>
                  <a:pt x="21" y="59"/>
                  <a:pt x="21" y="59"/>
                </a:cubicBezTo>
                <a:cubicBezTo>
                  <a:pt x="22" y="59"/>
                  <a:pt x="23" y="59"/>
                  <a:pt x="24" y="58"/>
                </a:cubicBezTo>
                <a:cubicBezTo>
                  <a:pt x="24" y="58"/>
                  <a:pt x="24" y="57"/>
                  <a:pt x="24" y="56"/>
                </a:cubicBezTo>
                <a:cubicBezTo>
                  <a:pt x="24" y="56"/>
                  <a:pt x="24" y="56"/>
                  <a:pt x="23" y="5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6" name="South Africa"/>
          <p:cNvSpPr>
            <a:spLocks noEditPoints="1"/>
          </p:cNvSpPr>
          <p:nvPr/>
        </p:nvSpPr>
        <p:spPr bwMode="auto">
          <a:xfrm>
            <a:off x="6363061" y="5542905"/>
            <a:ext cx="649976" cy="982963"/>
          </a:xfrm>
          <a:custGeom>
            <a:avLst/>
            <a:gdLst/>
            <a:ahLst/>
            <a:cxnLst>
              <a:cxn ang="0">
                <a:pos x="149" y="69"/>
              </a:cxn>
              <a:cxn ang="0">
                <a:pos x="143" y="75"/>
              </a:cxn>
              <a:cxn ang="0">
                <a:pos x="136" y="86"/>
              </a:cxn>
              <a:cxn ang="0">
                <a:pos x="122" y="103"/>
              </a:cxn>
              <a:cxn ang="0">
                <a:pos x="107" y="118"/>
              </a:cxn>
              <a:cxn ang="0">
                <a:pos x="82" y="131"/>
              </a:cxn>
              <a:cxn ang="0">
                <a:pos x="70" y="132"/>
              </a:cxn>
              <a:cxn ang="0">
                <a:pos x="59" y="132"/>
              </a:cxn>
              <a:cxn ang="0">
                <a:pos x="51" y="132"/>
              </a:cxn>
              <a:cxn ang="0">
                <a:pos x="41" y="135"/>
              </a:cxn>
              <a:cxn ang="0">
                <a:pos x="30" y="139"/>
              </a:cxn>
              <a:cxn ang="0">
                <a:pos x="23" y="134"/>
              </a:cxn>
              <a:cxn ang="0">
                <a:pos x="17" y="133"/>
              </a:cxn>
              <a:cxn ang="0">
                <a:pos x="17" y="130"/>
              </a:cxn>
              <a:cxn ang="0">
                <a:pos x="13" y="120"/>
              </a:cxn>
              <a:cxn ang="0">
                <a:pos x="16" y="113"/>
              </a:cxn>
              <a:cxn ang="0">
                <a:pos x="6" y="87"/>
              </a:cxn>
              <a:cxn ang="0">
                <a:pos x="1" y="73"/>
              </a:cxn>
              <a:cxn ang="0">
                <a:pos x="3" y="67"/>
              </a:cxn>
              <a:cxn ang="0">
                <a:pos x="7" y="67"/>
              </a:cxn>
              <a:cxn ang="0">
                <a:pos x="10" y="73"/>
              </a:cxn>
              <a:cxn ang="0">
                <a:pos x="22" y="74"/>
              </a:cxn>
              <a:cxn ang="0">
                <a:pos x="28" y="73"/>
              </a:cxn>
              <a:cxn ang="0">
                <a:pos x="33" y="59"/>
              </a:cxn>
              <a:cxn ang="0">
                <a:pos x="40" y="36"/>
              </a:cxn>
              <a:cxn ang="0">
                <a:pos x="41" y="40"/>
              </a:cxn>
              <a:cxn ang="0">
                <a:pos x="39" y="49"/>
              </a:cxn>
              <a:cxn ang="0">
                <a:pos x="50" y="51"/>
              </a:cxn>
              <a:cxn ang="0">
                <a:pos x="57" y="45"/>
              </a:cxn>
              <a:cxn ang="0">
                <a:pos x="60" y="39"/>
              </a:cxn>
              <a:cxn ang="0">
                <a:pos x="66" y="35"/>
              </a:cxn>
              <a:cxn ang="0">
                <a:pos x="72" y="39"/>
              </a:cxn>
              <a:cxn ang="0">
                <a:pos x="80" y="40"/>
              </a:cxn>
              <a:cxn ang="0">
                <a:pos x="92" y="29"/>
              </a:cxn>
              <a:cxn ang="0">
                <a:pos x="100" y="19"/>
              </a:cxn>
              <a:cxn ang="0">
                <a:pos x="102" y="16"/>
              </a:cxn>
              <a:cxn ang="0">
                <a:pos x="106" y="13"/>
              </a:cxn>
              <a:cxn ang="0">
                <a:pos x="110" y="9"/>
              </a:cxn>
              <a:cxn ang="0">
                <a:pos x="119" y="4"/>
              </a:cxn>
              <a:cxn ang="0">
                <a:pos x="131" y="2"/>
              </a:cxn>
              <a:cxn ang="0">
                <a:pos x="142" y="3"/>
              </a:cxn>
              <a:cxn ang="0">
                <a:pos x="146" y="19"/>
              </a:cxn>
              <a:cxn ang="0">
                <a:pos x="147" y="37"/>
              </a:cxn>
              <a:cxn ang="0">
                <a:pos x="137" y="45"/>
              </a:cxn>
              <a:cxn ang="0">
                <a:pos x="138" y="55"/>
              </a:cxn>
              <a:cxn ang="0">
                <a:pos x="147" y="52"/>
              </a:cxn>
              <a:cxn ang="0">
                <a:pos x="120" y="77"/>
              </a:cxn>
              <a:cxn ang="0">
                <a:pos x="115" y="73"/>
              </a:cxn>
              <a:cxn ang="0">
                <a:pos x="110" y="73"/>
              </a:cxn>
              <a:cxn ang="0">
                <a:pos x="104" y="78"/>
              </a:cxn>
              <a:cxn ang="0">
                <a:pos x="98" y="83"/>
              </a:cxn>
              <a:cxn ang="0">
                <a:pos x="101" y="89"/>
              </a:cxn>
              <a:cxn ang="0">
                <a:pos x="108" y="94"/>
              </a:cxn>
              <a:cxn ang="0">
                <a:pos x="112" y="88"/>
              </a:cxn>
              <a:cxn ang="0">
                <a:pos x="119" y="83"/>
              </a:cxn>
            </a:cxnLst>
            <a:rect l="0" t="0" r="r" b="b"/>
            <a:pathLst>
              <a:path w="180" h="272">
                <a:moveTo>
                  <a:pt x="179" y="272"/>
                </a:moveTo>
                <a:cubicBezTo>
                  <a:pt x="179" y="272"/>
                  <a:pt x="178" y="272"/>
                  <a:pt x="177" y="272"/>
                </a:cubicBezTo>
                <a:cubicBezTo>
                  <a:pt x="176" y="272"/>
                  <a:pt x="177" y="270"/>
                  <a:pt x="179" y="271"/>
                </a:cubicBezTo>
                <a:cubicBezTo>
                  <a:pt x="179" y="271"/>
                  <a:pt x="180" y="272"/>
                  <a:pt x="179" y="272"/>
                </a:cubicBezTo>
                <a:close/>
                <a:moveTo>
                  <a:pt x="152" y="61"/>
                </a:moveTo>
                <a:cubicBezTo>
                  <a:pt x="151" y="64"/>
                  <a:pt x="151" y="67"/>
                  <a:pt x="149" y="69"/>
                </a:cubicBezTo>
                <a:cubicBezTo>
                  <a:pt x="150" y="69"/>
                  <a:pt x="148" y="72"/>
                  <a:pt x="148" y="72"/>
                </a:cubicBezTo>
                <a:cubicBezTo>
                  <a:pt x="147" y="73"/>
                  <a:pt x="147" y="74"/>
                  <a:pt x="146" y="74"/>
                </a:cubicBezTo>
                <a:cubicBezTo>
                  <a:pt x="145" y="74"/>
                  <a:pt x="145" y="74"/>
                  <a:pt x="145" y="74"/>
                </a:cubicBezTo>
                <a:cubicBezTo>
                  <a:pt x="145" y="74"/>
                  <a:pt x="146" y="74"/>
                  <a:pt x="146" y="74"/>
                </a:cubicBezTo>
                <a:cubicBezTo>
                  <a:pt x="146" y="74"/>
                  <a:pt x="145" y="75"/>
                  <a:pt x="145" y="75"/>
                </a:cubicBezTo>
                <a:cubicBezTo>
                  <a:pt x="144" y="75"/>
                  <a:pt x="144" y="75"/>
                  <a:pt x="143" y="75"/>
                </a:cubicBezTo>
                <a:cubicBezTo>
                  <a:pt x="142" y="75"/>
                  <a:pt x="141" y="78"/>
                  <a:pt x="141" y="78"/>
                </a:cubicBezTo>
                <a:cubicBezTo>
                  <a:pt x="139" y="79"/>
                  <a:pt x="138" y="81"/>
                  <a:pt x="137" y="82"/>
                </a:cubicBezTo>
                <a:cubicBezTo>
                  <a:pt x="137" y="83"/>
                  <a:pt x="136" y="84"/>
                  <a:pt x="136" y="85"/>
                </a:cubicBezTo>
                <a:cubicBezTo>
                  <a:pt x="136" y="85"/>
                  <a:pt x="136" y="85"/>
                  <a:pt x="136" y="85"/>
                </a:cubicBezTo>
                <a:cubicBezTo>
                  <a:pt x="136" y="86"/>
                  <a:pt x="135" y="85"/>
                  <a:pt x="135" y="86"/>
                </a:cubicBezTo>
                <a:cubicBezTo>
                  <a:pt x="135" y="86"/>
                  <a:pt x="136" y="86"/>
                  <a:pt x="136" y="86"/>
                </a:cubicBezTo>
                <a:cubicBezTo>
                  <a:pt x="136" y="86"/>
                  <a:pt x="135" y="87"/>
                  <a:pt x="134" y="87"/>
                </a:cubicBezTo>
                <a:cubicBezTo>
                  <a:pt x="134" y="88"/>
                  <a:pt x="134" y="88"/>
                  <a:pt x="133" y="89"/>
                </a:cubicBezTo>
                <a:cubicBezTo>
                  <a:pt x="132" y="91"/>
                  <a:pt x="131" y="92"/>
                  <a:pt x="130" y="94"/>
                </a:cubicBezTo>
                <a:cubicBezTo>
                  <a:pt x="130" y="96"/>
                  <a:pt x="129" y="97"/>
                  <a:pt x="128" y="98"/>
                </a:cubicBezTo>
                <a:cubicBezTo>
                  <a:pt x="127" y="100"/>
                  <a:pt x="125" y="101"/>
                  <a:pt x="124" y="102"/>
                </a:cubicBezTo>
                <a:cubicBezTo>
                  <a:pt x="123" y="103"/>
                  <a:pt x="123" y="103"/>
                  <a:pt x="122" y="103"/>
                </a:cubicBezTo>
                <a:cubicBezTo>
                  <a:pt x="122" y="104"/>
                  <a:pt x="121" y="105"/>
                  <a:pt x="121" y="105"/>
                </a:cubicBezTo>
                <a:cubicBezTo>
                  <a:pt x="119" y="106"/>
                  <a:pt x="118" y="107"/>
                  <a:pt x="117" y="108"/>
                </a:cubicBezTo>
                <a:cubicBezTo>
                  <a:pt x="116" y="109"/>
                  <a:pt x="115" y="111"/>
                  <a:pt x="114" y="112"/>
                </a:cubicBezTo>
                <a:cubicBezTo>
                  <a:pt x="113" y="113"/>
                  <a:pt x="112" y="114"/>
                  <a:pt x="110" y="116"/>
                </a:cubicBezTo>
                <a:cubicBezTo>
                  <a:pt x="110" y="116"/>
                  <a:pt x="109" y="117"/>
                  <a:pt x="108" y="117"/>
                </a:cubicBezTo>
                <a:cubicBezTo>
                  <a:pt x="108" y="118"/>
                  <a:pt x="107" y="118"/>
                  <a:pt x="107" y="118"/>
                </a:cubicBezTo>
                <a:cubicBezTo>
                  <a:pt x="106" y="120"/>
                  <a:pt x="104" y="120"/>
                  <a:pt x="103" y="121"/>
                </a:cubicBezTo>
                <a:cubicBezTo>
                  <a:pt x="100" y="123"/>
                  <a:pt x="97" y="126"/>
                  <a:pt x="94" y="127"/>
                </a:cubicBezTo>
                <a:cubicBezTo>
                  <a:pt x="93" y="127"/>
                  <a:pt x="91" y="128"/>
                  <a:pt x="90" y="128"/>
                </a:cubicBezTo>
                <a:cubicBezTo>
                  <a:pt x="88" y="128"/>
                  <a:pt x="86" y="127"/>
                  <a:pt x="85" y="128"/>
                </a:cubicBezTo>
                <a:cubicBezTo>
                  <a:pt x="84" y="128"/>
                  <a:pt x="82" y="130"/>
                  <a:pt x="83" y="131"/>
                </a:cubicBezTo>
                <a:cubicBezTo>
                  <a:pt x="84" y="132"/>
                  <a:pt x="82" y="131"/>
                  <a:pt x="82" y="131"/>
                </a:cubicBezTo>
                <a:cubicBezTo>
                  <a:pt x="81" y="131"/>
                  <a:pt x="77" y="129"/>
                  <a:pt x="77" y="131"/>
                </a:cubicBezTo>
                <a:cubicBezTo>
                  <a:pt x="76" y="131"/>
                  <a:pt x="77" y="132"/>
                  <a:pt x="76" y="132"/>
                </a:cubicBezTo>
                <a:cubicBezTo>
                  <a:pt x="76" y="132"/>
                  <a:pt x="76" y="133"/>
                  <a:pt x="76" y="133"/>
                </a:cubicBezTo>
                <a:cubicBezTo>
                  <a:pt x="76" y="133"/>
                  <a:pt x="73" y="133"/>
                  <a:pt x="73" y="133"/>
                </a:cubicBezTo>
                <a:cubicBezTo>
                  <a:pt x="72" y="133"/>
                  <a:pt x="72" y="132"/>
                  <a:pt x="72" y="132"/>
                </a:cubicBezTo>
                <a:cubicBezTo>
                  <a:pt x="71" y="132"/>
                  <a:pt x="71" y="132"/>
                  <a:pt x="70" y="132"/>
                </a:cubicBezTo>
                <a:cubicBezTo>
                  <a:pt x="69" y="131"/>
                  <a:pt x="68" y="131"/>
                  <a:pt x="67" y="131"/>
                </a:cubicBezTo>
                <a:cubicBezTo>
                  <a:pt x="66" y="131"/>
                  <a:pt x="65" y="131"/>
                  <a:pt x="63" y="131"/>
                </a:cubicBezTo>
                <a:cubicBezTo>
                  <a:pt x="63" y="131"/>
                  <a:pt x="62" y="132"/>
                  <a:pt x="63" y="132"/>
                </a:cubicBezTo>
                <a:cubicBezTo>
                  <a:pt x="62" y="132"/>
                  <a:pt x="61" y="132"/>
                  <a:pt x="60" y="132"/>
                </a:cubicBezTo>
                <a:cubicBezTo>
                  <a:pt x="60" y="132"/>
                  <a:pt x="59" y="131"/>
                  <a:pt x="59" y="131"/>
                </a:cubicBezTo>
                <a:cubicBezTo>
                  <a:pt x="59" y="132"/>
                  <a:pt x="59" y="132"/>
                  <a:pt x="59" y="132"/>
                </a:cubicBezTo>
                <a:cubicBezTo>
                  <a:pt x="59" y="132"/>
                  <a:pt x="58" y="132"/>
                  <a:pt x="57" y="131"/>
                </a:cubicBezTo>
                <a:cubicBezTo>
                  <a:pt x="57" y="131"/>
                  <a:pt x="57" y="131"/>
                  <a:pt x="57" y="131"/>
                </a:cubicBezTo>
                <a:cubicBezTo>
                  <a:pt x="56" y="131"/>
                  <a:pt x="57" y="131"/>
                  <a:pt x="57" y="131"/>
                </a:cubicBezTo>
                <a:cubicBezTo>
                  <a:pt x="56" y="131"/>
                  <a:pt x="55" y="131"/>
                  <a:pt x="55" y="131"/>
                </a:cubicBezTo>
                <a:cubicBezTo>
                  <a:pt x="54" y="131"/>
                  <a:pt x="54" y="132"/>
                  <a:pt x="53" y="132"/>
                </a:cubicBezTo>
                <a:cubicBezTo>
                  <a:pt x="52" y="132"/>
                  <a:pt x="52" y="132"/>
                  <a:pt x="51" y="132"/>
                </a:cubicBezTo>
                <a:cubicBezTo>
                  <a:pt x="51" y="132"/>
                  <a:pt x="50" y="133"/>
                  <a:pt x="51" y="133"/>
                </a:cubicBezTo>
                <a:cubicBezTo>
                  <a:pt x="51" y="133"/>
                  <a:pt x="50" y="133"/>
                  <a:pt x="49" y="133"/>
                </a:cubicBezTo>
                <a:cubicBezTo>
                  <a:pt x="49" y="134"/>
                  <a:pt x="49" y="134"/>
                  <a:pt x="49" y="135"/>
                </a:cubicBezTo>
                <a:cubicBezTo>
                  <a:pt x="48" y="136"/>
                  <a:pt x="47" y="135"/>
                  <a:pt x="46" y="135"/>
                </a:cubicBezTo>
                <a:cubicBezTo>
                  <a:pt x="45" y="135"/>
                  <a:pt x="44" y="136"/>
                  <a:pt x="43" y="136"/>
                </a:cubicBezTo>
                <a:cubicBezTo>
                  <a:pt x="42" y="135"/>
                  <a:pt x="41" y="135"/>
                  <a:pt x="41" y="135"/>
                </a:cubicBezTo>
                <a:cubicBezTo>
                  <a:pt x="40" y="135"/>
                  <a:pt x="39" y="135"/>
                  <a:pt x="39" y="135"/>
                </a:cubicBezTo>
                <a:cubicBezTo>
                  <a:pt x="39" y="135"/>
                  <a:pt x="39" y="136"/>
                  <a:pt x="38" y="136"/>
                </a:cubicBezTo>
                <a:cubicBezTo>
                  <a:pt x="38" y="136"/>
                  <a:pt x="36" y="136"/>
                  <a:pt x="36" y="136"/>
                </a:cubicBezTo>
                <a:cubicBezTo>
                  <a:pt x="35" y="137"/>
                  <a:pt x="34" y="137"/>
                  <a:pt x="34" y="138"/>
                </a:cubicBezTo>
                <a:cubicBezTo>
                  <a:pt x="33" y="138"/>
                  <a:pt x="32" y="139"/>
                  <a:pt x="32" y="140"/>
                </a:cubicBezTo>
                <a:cubicBezTo>
                  <a:pt x="31" y="140"/>
                  <a:pt x="30" y="140"/>
                  <a:pt x="30" y="139"/>
                </a:cubicBezTo>
                <a:cubicBezTo>
                  <a:pt x="30" y="139"/>
                  <a:pt x="28" y="139"/>
                  <a:pt x="28" y="139"/>
                </a:cubicBezTo>
                <a:cubicBezTo>
                  <a:pt x="28" y="140"/>
                  <a:pt x="27" y="139"/>
                  <a:pt x="27" y="138"/>
                </a:cubicBezTo>
                <a:cubicBezTo>
                  <a:pt x="26" y="138"/>
                  <a:pt x="26" y="138"/>
                  <a:pt x="25" y="138"/>
                </a:cubicBezTo>
                <a:cubicBezTo>
                  <a:pt x="25" y="137"/>
                  <a:pt x="26" y="135"/>
                  <a:pt x="24" y="135"/>
                </a:cubicBezTo>
                <a:cubicBezTo>
                  <a:pt x="24" y="135"/>
                  <a:pt x="24" y="136"/>
                  <a:pt x="23" y="135"/>
                </a:cubicBezTo>
                <a:cubicBezTo>
                  <a:pt x="23" y="135"/>
                  <a:pt x="23" y="135"/>
                  <a:pt x="23" y="134"/>
                </a:cubicBezTo>
                <a:cubicBezTo>
                  <a:pt x="23" y="135"/>
                  <a:pt x="23" y="135"/>
                  <a:pt x="22" y="135"/>
                </a:cubicBezTo>
                <a:cubicBezTo>
                  <a:pt x="22" y="135"/>
                  <a:pt x="21" y="135"/>
                  <a:pt x="20" y="135"/>
                </a:cubicBezTo>
                <a:cubicBezTo>
                  <a:pt x="20" y="134"/>
                  <a:pt x="21" y="134"/>
                  <a:pt x="21" y="133"/>
                </a:cubicBezTo>
                <a:cubicBezTo>
                  <a:pt x="20" y="133"/>
                  <a:pt x="21" y="133"/>
                  <a:pt x="20" y="132"/>
                </a:cubicBezTo>
                <a:cubicBezTo>
                  <a:pt x="20" y="131"/>
                  <a:pt x="18" y="132"/>
                  <a:pt x="18" y="132"/>
                </a:cubicBezTo>
                <a:cubicBezTo>
                  <a:pt x="17" y="132"/>
                  <a:pt x="17" y="132"/>
                  <a:pt x="17" y="133"/>
                </a:cubicBezTo>
                <a:cubicBezTo>
                  <a:pt x="17" y="133"/>
                  <a:pt x="17" y="133"/>
                  <a:pt x="17" y="134"/>
                </a:cubicBezTo>
                <a:cubicBezTo>
                  <a:pt x="17" y="134"/>
                  <a:pt x="17" y="134"/>
                  <a:pt x="17" y="135"/>
                </a:cubicBezTo>
                <a:cubicBezTo>
                  <a:pt x="16" y="135"/>
                  <a:pt x="17" y="134"/>
                  <a:pt x="16" y="133"/>
                </a:cubicBezTo>
                <a:cubicBezTo>
                  <a:pt x="16" y="133"/>
                  <a:pt x="16" y="133"/>
                  <a:pt x="16" y="132"/>
                </a:cubicBezTo>
                <a:cubicBezTo>
                  <a:pt x="16" y="132"/>
                  <a:pt x="16" y="132"/>
                  <a:pt x="16" y="132"/>
                </a:cubicBezTo>
                <a:cubicBezTo>
                  <a:pt x="16" y="132"/>
                  <a:pt x="16" y="130"/>
                  <a:pt x="17" y="130"/>
                </a:cubicBezTo>
                <a:cubicBezTo>
                  <a:pt x="18" y="130"/>
                  <a:pt x="17" y="127"/>
                  <a:pt x="17" y="127"/>
                </a:cubicBezTo>
                <a:cubicBezTo>
                  <a:pt x="16" y="126"/>
                  <a:pt x="16" y="126"/>
                  <a:pt x="16" y="125"/>
                </a:cubicBezTo>
                <a:cubicBezTo>
                  <a:pt x="15" y="124"/>
                  <a:pt x="15" y="124"/>
                  <a:pt x="14" y="123"/>
                </a:cubicBezTo>
                <a:cubicBezTo>
                  <a:pt x="14" y="123"/>
                  <a:pt x="12" y="121"/>
                  <a:pt x="13" y="121"/>
                </a:cubicBezTo>
                <a:cubicBezTo>
                  <a:pt x="13" y="121"/>
                  <a:pt x="14" y="122"/>
                  <a:pt x="14" y="122"/>
                </a:cubicBezTo>
                <a:cubicBezTo>
                  <a:pt x="14" y="122"/>
                  <a:pt x="13" y="119"/>
                  <a:pt x="13" y="120"/>
                </a:cubicBezTo>
                <a:cubicBezTo>
                  <a:pt x="12" y="121"/>
                  <a:pt x="12" y="119"/>
                  <a:pt x="12" y="118"/>
                </a:cubicBezTo>
                <a:cubicBezTo>
                  <a:pt x="12" y="118"/>
                  <a:pt x="12" y="118"/>
                  <a:pt x="12" y="118"/>
                </a:cubicBezTo>
                <a:cubicBezTo>
                  <a:pt x="12" y="118"/>
                  <a:pt x="12" y="116"/>
                  <a:pt x="13" y="117"/>
                </a:cubicBezTo>
                <a:cubicBezTo>
                  <a:pt x="14" y="117"/>
                  <a:pt x="14" y="118"/>
                  <a:pt x="14" y="117"/>
                </a:cubicBezTo>
                <a:cubicBezTo>
                  <a:pt x="15" y="117"/>
                  <a:pt x="16" y="116"/>
                  <a:pt x="16" y="116"/>
                </a:cubicBezTo>
                <a:cubicBezTo>
                  <a:pt x="16" y="115"/>
                  <a:pt x="17" y="114"/>
                  <a:pt x="16" y="113"/>
                </a:cubicBezTo>
                <a:cubicBezTo>
                  <a:pt x="16" y="113"/>
                  <a:pt x="17" y="112"/>
                  <a:pt x="17" y="111"/>
                </a:cubicBezTo>
                <a:cubicBezTo>
                  <a:pt x="16" y="109"/>
                  <a:pt x="16" y="108"/>
                  <a:pt x="16" y="106"/>
                </a:cubicBezTo>
                <a:cubicBezTo>
                  <a:pt x="15" y="105"/>
                  <a:pt x="14" y="103"/>
                  <a:pt x="13" y="102"/>
                </a:cubicBezTo>
                <a:cubicBezTo>
                  <a:pt x="12" y="101"/>
                  <a:pt x="11" y="99"/>
                  <a:pt x="10" y="97"/>
                </a:cubicBezTo>
                <a:cubicBezTo>
                  <a:pt x="10" y="96"/>
                  <a:pt x="9" y="94"/>
                  <a:pt x="8" y="93"/>
                </a:cubicBezTo>
                <a:cubicBezTo>
                  <a:pt x="7" y="91"/>
                  <a:pt x="7" y="89"/>
                  <a:pt x="6" y="87"/>
                </a:cubicBezTo>
                <a:cubicBezTo>
                  <a:pt x="6" y="86"/>
                  <a:pt x="5" y="84"/>
                  <a:pt x="5" y="82"/>
                </a:cubicBezTo>
                <a:cubicBezTo>
                  <a:pt x="5" y="81"/>
                  <a:pt x="4" y="80"/>
                  <a:pt x="4" y="80"/>
                </a:cubicBezTo>
                <a:cubicBezTo>
                  <a:pt x="4" y="79"/>
                  <a:pt x="4" y="78"/>
                  <a:pt x="3" y="77"/>
                </a:cubicBezTo>
                <a:cubicBezTo>
                  <a:pt x="3" y="77"/>
                  <a:pt x="2" y="76"/>
                  <a:pt x="2" y="75"/>
                </a:cubicBezTo>
                <a:cubicBezTo>
                  <a:pt x="2" y="75"/>
                  <a:pt x="1" y="75"/>
                  <a:pt x="1" y="74"/>
                </a:cubicBezTo>
                <a:cubicBezTo>
                  <a:pt x="1" y="74"/>
                  <a:pt x="1" y="73"/>
                  <a:pt x="1" y="73"/>
                </a:cubicBezTo>
                <a:cubicBezTo>
                  <a:pt x="0" y="72"/>
                  <a:pt x="0" y="71"/>
                  <a:pt x="1" y="71"/>
                </a:cubicBezTo>
                <a:cubicBezTo>
                  <a:pt x="1" y="71"/>
                  <a:pt x="2" y="70"/>
                  <a:pt x="2" y="70"/>
                </a:cubicBezTo>
                <a:cubicBezTo>
                  <a:pt x="2" y="71"/>
                  <a:pt x="3" y="70"/>
                  <a:pt x="3" y="70"/>
                </a:cubicBezTo>
                <a:cubicBezTo>
                  <a:pt x="3" y="69"/>
                  <a:pt x="3" y="69"/>
                  <a:pt x="3" y="68"/>
                </a:cubicBezTo>
                <a:cubicBezTo>
                  <a:pt x="3" y="68"/>
                  <a:pt x="3" y="68"/>
                  <a:pt x="3" y="68"/>
                </a:cubicBezTo>
                <a:cubicBezTo>
                  <a:pt x="3" y="68"/>
                  <a:pt x="3" y="67"/>
                  <a:pt x="3" y="67"/>
                </a:cubicBezTo>
                <a:cubicBezTo>
                  <a:pt x="3" y="67"/>
                  <a:pt x="4" y="67"/>
                  <a:pt x="4" y="67"/>
                </a:cubicBezTo>
                <a:cubicBezTo>
                  <a:pt x="4" y="67"/>
                  <a:pt x="4" y="67"/>
                  <a:pt x="4" y="67"/>
                </a:cubicBezTo>
                <a:cubicBezTo>
                  <a:pt x="4" y="67"/>
                  <a:pt x="4" y="67"/>
                  <a:pt x="4" y="67"/>
                </a:cubicBezTo>
                <a:cubicBezTo>
                  <a:pt x="4" y="66"/>
                  <a:pt x="4" y="66"/>
                  <a:pt x="5" y="66"/>
                </a:cubicBezTo>
                <a:cubicBezTo>
                  <a:pt x="5" y="66"/>
                  <a:pt x="6" y="65"/>
                  <a:pt x="6" y="65"/>
                </a:cubicBezTo>
                <a:cubicBezTo>
                  <a:pt x="6" y="66"/>
                  <a:pt x="7" y="66"/>
                  <a:pt x="7" y="67"/>
                </a:cubicBezTo>
                <a:cubicBezTo>
                  <a:pt x="7" y="67"/>
                  <a:pt x="7" y="68"/>
                  <a:pt x="8" y="68"/>
                </a:cubicBezTo>
                <a:cubicBezTo>
                  <a:pt x="8" y="67"/>
                  <a:pt x="8" y="68"/>
                  <a:pt x="9" y="68"/>
                </a:cubicBezTo>
                <a:cubicBezTo>
                  <a:pt x="9" y="69"/>
                  <a:pt x="9" y="69"/>
                  <a:pt x="8" y="70"/>
                </a:cubicBezTo>
                <a:cubicBezTo>
                  <a:pt x="8" y="70"/>
                  <a:pt x="9" y="71"/>
                  <a:pt x="9" y="72"/>
                </a:cubicBezTo>
                <a:cubicBezTo>
                  <a:pt x="9" y="72"/>
                  <a:pt x="8" y="73"/>
                  <a:pt x="9" y="73"/>
                </a:cubicBezTo>
                <a:cubicBezTo>
                  <a:pt x="9" y="73"/>
                  <a:pt x="10" y="72"/>
                  <a:pt x="10" y="73"/>
                </a:cubicBezTo>
                <a:cubicBezTo>
                  <a:pt x="11" y="73"/>
                  <a:pt x="11" y="73"/>
                  <a:pt x="11" y="73"/>
                </a:cubicBezTo>
                <a:cubicBezTo>
                  <a:pt x="11" y="74"/>
                  <a:pt x="11" y="73"/>
                  <a:pt x="12" y="73"/>
                </a:cubicBezTo>
                <a:cubicBezTo>
                  <a:pt x="12" y="73"/>
                  <a:pt x="13" y="73"/>
                  <a:pt x="13" y="73"/>
                </a:cubicBezTo>
                <a:cubicBezTo>
                  <a:pt x="14" y="74"/>
                  <a:pt x="15" y="75"/>
                  <a:pt x="17" y="75"/>
                </a:cubicBezTo>
                <a:cubicBezTo>
                  <a:pt x="17" y="75"/>
                  <a:pt x="18" y="75"/>
                  <a:pt x="19" y="75"/>
                </a:cubicBezTo>
                <a:cubicBezTo>
                  <a:pt x="20" y="74"/>
                  <a:pt x="21" y="74"/>
                  <a:pt x="22" y="74"/>
                </a:cubicBezTo>
                <a:cubicBezTo>
                  <a:pt x="22" y="74"/>
                  <a:pt x="23" y="74"/>
                  <a:pt x="23" y="74"/>
                </a:cubicBezTo>
                <a:cubicBezTo>
                  <a:pt x="23" y="75"/>
                  <a:pt x="23" y="75"/>
                  <a:pt x="24" y="75"/>
                </a:cubicBezTo>
                <a:cubicBezTo>
                  <a:pt x="24" y="75"/>
                  <a:pt x="25" y="76"/>
                  <a:pt x="25" y="75"/>
                </a:cubicBezTo>
                <a:cubicBezTo>
                  <a:pt x="25" y="75"/>
                  <a:pt x="26" y="75"/>
                  <a:pt x="26" y="75"/>
                </a:cubicBezTo>
                <a:cubicBezTo>
                  <a:pt x="26" y="74"/>
                  <a:pt x="25" y="73"/>
                  <a:pt x="26" y="73"/>
                </a:cubicBezTo>
                <a:cubicBezTo>
                  <a:pt x="27" y="73"/>
                  <a:pt x="27" y="73"/>
                  <a:pt x="28" y="73"/>
                </a:cubicBezTo>
                <a:cubicBezTo>
                  <a:pt x="28" y="72"/>
                  <a:pt x="28" y="72"/>
                  <a:pt x="29" y="71"/>
                </a:cubicBezTo>
                <a:cubicBezTo>
                  <a:pt x="29" y="71"/>
                  <a:pt x="30" y="71"/>
                  <a:pt x="31" y="70"/>
                </a:cubicBezTo>
                <a:cubicBezTo>
                  <a:pt x="31" y="70"/>
                  <a:pt x="32" y="70"/>
                  <a:pt x="32" y="70"/>
                </a:cubicBezTo>
                <a:cubicBezTo>
                  <a:pt x="33" y="70"/>
                  <a:pt x="33" y="69"/>
                  <a:pt x="33" y="69"/>
                </a:cubicBezTo>
                <a:cubicBezTo>
                  <a:pt x="33" y="68"/>
                  <a:pt x="33" y="67"/>
                  <a:pt x="33" y="66"/>
                </a:cubicBezTo>
                <a:cubicBezTo>
                  <a:pt x="33" y="63"/>
                  <a:pt x="33" y="61"/>
                  <a:pt x="33" y="59"/>
                </a:cubicBezTo>
                <a:cubicBezTo>
                  <a:pt x="33" y="55"/>
                  <a:pt x="34" y="51"/>
                  <a:pt x="34" y="46"/>
                </a:cubicBezTo>
                <a:cubicBezTo>
                  <a:pt x="34" y="41"/>
                  <a:pt x="34" y="35"/>
                  <a:pt x="34" y="29"/>
                </a:cubicBezTo>
                <a:cubicBezTo>
                  <a:pt x="35" y="31"/>
                  <a:pt x="37" y="32"/>
                  <a:pt x="38" y="33"/>
                </a:cubicBezTo>
                <a:cubicBezTo>
                  <a:pt x="38" y="34"/>
                  <a:pt x="38" y="34"/>
                  <a:pt x="38" y="34"/>
                </a:cubicBezTo>
                <a:cubicBezTo>
                  <a:pt x="39" y="35"/>
                  <a:pt x="39" y="35"/>
                  <a:pt x="39" y="36"/>
                </a:cubicBezTo>
                <a:cubicBezTo>
                  <a:pt x="39" y="36"/>
                  <a:pt x="39" y="36"/>
                  <a:pt x="40" y="36"/>
                </a:cubicBezTo>
                <a:cubicBezTo>
                  <a:pt x="40" y="37"/>
                  <a:pt x="40" y="37"/>
                  <a:pt x="40" y="37"/>
                </a:cubicBezTo>
                <a:cubicBezTo>
                  <a:pt x="40" y="37"/>
                  <a:pt x="40" y="37"/>
                  <a:pt x="40" y="37"/>
                </a:cubicBezTo>
                <a:cubicBezTo>
                  <a:pt x="40" y="37"/>
                  <a:pt x="40" y="37"/>
                  <a:pt x="40" y="38"/>
                </a:cubicBezTo>
                <a:cubicBezTo>
                  <a:pt x="40" y="38"/>
                  <a:pt x="40" y="38"/>
                  <a:pt x="40" y="39"/>
                </a:cubicBezTo>
                <a:cubicBezTo>
                  <a:pt x="40" y="39"/>
                  <a:pt x="40" y="39"/>
                  <a:pt x="40" y="40"/>
                </a:cubicBezTo>
                <a:cubicBezTo>
                  <a:pt x="41" y="40"/>
                  <a:pt x="41" y="40"/>
                  <a:pt x="41" y="40"/>
                </a:cubicBezTo>
                <a:cubicBezTo>
                  <a:pt x="41" y="41"/>
                  <a:pt x="41" y="41"/>
                  <a:pt x="41" y="41"/>
                </a:cubicBezTo>
                <a:cubicBezTo>
                  <a:pt x="41" y="41"/>
                  <a:pt x="41" y="41"/>
                  <a:pt x="41" y="41"/>
                </a:cubicBezTo>
                <a:cubicBezTo>
                  <a:pt x="41" y="41"/>
                  <a:pt x="41" y="42"/>
                  <a:pt x="41" y="42"/>
                </a:cubicBezTo>
                <a:cubicBezTo>
                  <a:pt x="41" y="42"/>
                  <a:pt x="41" y="43"/>
                  <a:pt x="42" y="44"/>
                </a:cubicBezTo>
                <a:cubicBezTo>
                  <a:pt x="42" y="45"/>
                  <a:pt x="41" y="46"/>
                  <a:pt x="41" y="47"/>
                </a:cubicBezTo>
                <a:cubicBezTo>
                  <a:pt x="40" y="48"/>
                  <a:pt x="39" y="48"/>
                  <a:pt x="39" y="49"/>
                </a:cubicBezTo>
                <a:cubicBezTo>
                  <a:pt x="40" y="50"/>
                  <a:pt x="39" y="50"/>
                  <a:pt x="39" y="51"/>
                </a:cubicBezTo>
                <a:cubicBezTo>
                  <a:pt x="39" y="52"/>
                  <a:pt x="40" y="52"/>
                  <a:pt x="40" y="53"/>
                </a:cubicBezTo>
                <a:cubicBezTo>
                  <a:pt x="40" y="52"/>
                  <a:pt x="42" y="52"/>
                  <a:pt x="43" y="52"/>
                </a:cubicBezTo>
                <a:cubicBezTo>
                  <a:pt x="44" y="53"/>
                  <a:pt x="45" y="52"/>
                  <a:pt x="46" y="52"/>
                </a:cubicBezTo>
                <a:cubicBezTo>
                  <a:pt x="47" y="52"/>
                  <a:pt x="48" y="53"/>
                  <a:pt x="49" y="52"/>
                </a:cubicBezTo>
                <a:cubicBezTo>
                  <a:pt x="50" y="52"/>
                  <a:pt x="50" y="52"/>
                  <a:pt x="50" y="51"/>
                </a:cubicBezTo>
                <a:cubicBezTo>
                  <a:pt x="50" y="51"/>
                  <a:pt x="50" y="51"/>
                  <a:pt x="50" y="50"/>
                </a:cubicBezTo>
                <a:cubicBezTo>
                  <a:pt x="51" y="50"/>
                  <a:pt x="51" y="50"/>
                  <a:pt x="52" y="50"/>
                </a:cubicBezTo>
                <a:cubicBezTo>
                  <a:pt x="53" y="50"/>
                  <a:pt x="53" y="50"/>
                  <a:pt x="53" y="49"/>
                </a:cubicBezTo>
                <a:cubicBezTo>
                  <a:pt x="54" y="48"/>
                  <a:pt x="54" y="47"/>
                  <a:pt x="55" y="47"/>
                </a:cubicBezTo>
                <a:cubicBezTo>
                  <a:pt x="56" y="47"/>
                  <a:pt x="56" y="46"/>
                  <a:pt x="56" y="46"/>
                </a:cubicBezTo>
                <a:cubicBezTo>
                  <a:pt x="57" y="45"/>
                  <a:pt x="57" y="46"/>
                  <a:pt x="57" y="45"/>
                </a:cubicBezTo>
                <a:cubicBezTo>
                  <a:pt x="58" y="45"/>
                  <a:pt x="58" y="44"/>
                  <a:pt x="59" y="44"/>
                </a:cubicBezTo>
                <a:cubicBezTo>
                  <a:pt x="59" y="44"/>
                  <a:pt x="59" y="43"/>
                  <a:pt x="59" y="43"/>
                </a:cubicBezTo>
                <a:cubicBezTo>
                  <a:pt x="59" y="43"/>
                  <a:pt x="59" y="43"/>
                  <a:pt x="59" y="43"/>
                </a:cubicBezTo>
                <a:cubicBezTo>
                  <a:pt x="60" y="42"/>
                  <a:pt x="59" y="42"/>
                  <a:pt x="59" y="42"/>
                </a:cubicBezTo>
                <a:cubicBezTo>
                  <a:pt x="59" y="41"/>
                  <a:pt x="60" y="41"/>
                  <a:pt x="60" y="41"/>
                </a:cubicBezTo>
                <a:cubicBezTo>
                  <a:pt x="59" y="41"/>
                  <a:pt x="60" y="39"/>
                  <a:pt x="60" y="39"/>
                </a:cubicBezTo>
                <a:cubicBezTo>
                  <a:pt x="60" y="38"/>
                  <a:pt x="60" y="38"/>
                  <a:pt x="61" y="37"/>
                </a:cubicBezTo>
                <a:cubicBezTo>
                  <a:pt x="61" y="37"/>
                  <a:pt x="61" y="37"/>
                  <a:pt x="61" y="37"/>
                </a:cubicBezTo>
                <a:cubicBezTo>
                  <a:pt x="61" y="37"/>
                  <a:pt x="61" y="36"/>
                  <a:pt x="62" y="36"/>
                </a:cubicBezTo>
                <a:cubicBezTo>
                  <a:pt x="62" y="36"/>
                  <a:pt x="62" y="35"/>
                  <a:pt x="63" y="35"/>
                </a:cubicBezTo>
                <a:cubicBezTo>
                  <a:pt x="63" y="36"/>
                  <a:pt x="64" y="35"/>
                  <a:pt x="65" y="35"/>
                </a:cubicBezTo>
                <a:cubicBezTo>
                  <a:pt x="65" y="35"/>
                  <a:pt x="66" y="35"/>
                  <a:pt x="66" y="35"/>
                </a:cubicBezTo>
                <a:cubicBezTo>
                  <a:pt x="66" y="35"/>
                  <a:pt x="66" y="35"/>
                  <a:pt x="66" y="35"/>
                </a:cubicBezTo>
                <a:cubicBezTo>
                  <a:pt x="67" y="35"/>
                  <a:pt x="67" y="35"/>
                  <a:pt x="67" y="35"/>
                </a:cubicBezTo>
                <a:cubicBezTo>
                  <a:pt x="67" y="36"/>
                  <a:pt x="67" y="36"/>
                  <a:pt x="67" y="36"/>
                </a:cubicBezTo>
                <a:cubicBezTo>
                  <a:pt x="68" y="36"/>
                  <a:pt x="69" y="37"/>
                  <a:pt x="70" y="38"/>
                </a:cubicBezTo>
                <a:cubicBezTo>
                  <a:pt x="70" y="38"/>
                  <a:pt x="70" y="39"/>
                  <a:pt x="71" y="39"/>
                </a:cubicBezTo>
                <a:cubicBezTo>
                  <a:pt x="71" y="39"/>
                  <a:pt x="72" y="39"/>
                  <a:pt x="72" y="39"/>
                </a:cubicBezTo>
                <a:cubicBezTo>
                  <a:pt x="72" y="39"/>
                  <a:pt x="73" y="39"/>
                  <a:pt x="73" y="39"/>
                </a:cubicBezTo>
                <a:cubicBezTo>
                  <a:pt x="74" y="39"/>
                  <a:pt x="74" y="40"/>
                  <a:pt x="75" y="40"/>
                </a:cubicBezTo>
                <a:cubicBezTo>
                  <a:pt x="75" y="40"/>
                  <a:pt x="75" y="40"/>
                  <a:pt x="76" y="40"/>
                </a:cubicBezTo>
                <a:cubicBezTo>
                  <a:pt x="76" y="40"/>
                  <a:pt x="76" y="40"/>
                  <a:pt x="76" y="40"/>
                </a:cubicBezTo>
                <a:cubicBezTo>
                  <a:pt x="77" y="41"/>
                  <a:pt x="78" y="41"/>
                  <a:pt x="79" y="41"/>
                </a:cubicBezTo>
                <a:cubicBezTo>
                  <a:pt x="79" y="41"/>
                  <a:pt x="80" y="41"/>
                  <a:pt x="80" y="40"/>
                </a:cubicBezTo>
                <a:cubicBezTo>
                  <a:pt x="81" y="40"/>
                  <a:pt x="81" y="40"/>
                  <a:pt x="82" y="40"/>
                </a:cubicBezTo>
                <a:cubicBezTo>
                  <a:pt x="84" y="41"/>
                  <a:pt x="85" y="40"/>
                  <a:pt x="86" y="39"/>
                </a:cubicBezTo>
                <a:cubicBezTo>
                  <a:pt x="87" y="38"/>
                  <a:pt x="87" y="36"/>
                  <a:pt x="88" y="35"/>
                </a:cubicBezTo>
                <a:cubicBezTo>
                  <a:pt x="89" y="33"/>
                  <a:pt x="90" y="32"/>
                  <a:pt x="89" y="30"/>
                </a:cubicBezTo>
                <a:cubicBezTo>
                  <a:pt x="89" y="30"/>
                  <a:pt x="89" y="29"/>
                  <a:pt x="90" y="29"/>
                </a:cubicBezTo>
                <a:cubicBezTo>
                  <a:pt x="90" y="29"/>
                  <a:pt x="91" y="29"/>
                  <a:pt x="92" y="29"/>
                </a:cubicBezTo>
                <a:cubicBezTo>
                  <a:pt x="92" y="28"/>
                  <a:pt x="93" y="28"/>
                  <a:pt x="94" y="28"/>
                </a:cubicBezTo>
                <a:cubicBezTo>
                  <a:pt x="94" y="28"/>
                  <a:pt x="95" y="28"/>
                  <a:pt x="95" y="27"/>
                </a:cubicBezTo>
                <a:cubicBezTo>
                  <a:pt x="96" y="26"/>
                  <a:pt x="97" y="25"/>
                  <a:pt x="98" y="25"/>
                </a:cubicBezTo>
                <a:cubicBezTo>
                  <a:pt x="98" y="24"/>
                  <a:pt x="99" y="24"/>
                  <a:pt x="99" y="23"/>
                </a:cubicBezTo>
                <a:cubicBezTo>
                  <a:pt x="99" y="23"/>
                  <a:pt x="99" y="22"/>
                  <a:pt x="99" y="21"/>
                </a:cubicBezTo>
                <a:cubicBezTo>
                  <a:pt x="100" y="20"/>
                  <a:pt x="100" y="20"/>
                  <a:pt x="100" y="19"/>
                </a:cubicBezTo>
                <a:cubicBezTo>
                  <a:pt x="100" y="18"/>
                  <a:pt x="100" y="17"/>
                  <a:pt x="101" y="17"/>
                </a:cubicBezTo>
                <a:cubicBezTo>
                  <a:pt x="101" y="17"/>
                  <a:pt x="101" y="18"/>
                  <a:pt x="101" y="17"/>
                </a:cubicBezTo>
                <a:cubicBezTo>
                  <a:pt x="101" y="17"/>
                  <a:pt x="101" y="17"/>
                  <a:pt x="101" y="17"/>
                </a:cubicBezTo>
                <a:cubicBezTo>
                  <a:pt x="101" y="16"/>
                  <a:pt x="102" y="16"/>
                  <a:pt x="102" y="16"/>
                </a:cubicBezTo>
                <a:cubicBezTo>
                  <a:pt x="102" y="16"/>
                  <a:pt x="102" y="16"/>
                  <a:pt x="102" y="16"/>
                </a:cubicBezTo>
                <a:cubicBezTo>
                  <a:pt x="102" y="16"/>
                  <a:pt x="102" y="16"/>
                  <a:pt x="102" y="16"/>
                </a:cubicBezTo>
                <a:cubicBezTo>
                  <a:pt x="102" y="16"/>
                  <a:pt x="102" y="15"/>
                  <a:pt x="103" y="15"/>
                </a:cubicBezTo>
                <a:cubicBezTo>
                  <a:pt x="103" y="15"/>
                  <a:pt x="103" y="15"/>
                  <a:pt x="103" y="15"/>
                </a:cubicBezTo>
                <a:cubicBezTo>
                  <a:pt x="104" y="15"/>
                  <a:pt x="104" y="15"/>
                  <a:pt x="104" y="14"/>
                </a:cubicBezTo>
                <a:cubicBezTo>
                  <a:pt x="104" y="14"/>
                  <a:pt x="105" y="14"/>
                  <a:pt x="104" y="14"/>
                </a:cubicBezTo>
                <a:cubicBezTo>
                  <a:pt x="105" y="15"/>
                  <a:pt x="105" y="14"/>
                  <a:pt x="106" y="14"/>
                </a:cubicBezTo>
                <a:cubicBezTo>
                  <a:pt x="106" y="14"/>
                  <a:pt x="106" y="13"/>
                  <a:pt x="106" y="13"/>
                </a:cubicBezTo>
                <a:cubicBezTo>
                  <a:pt x="106" y="12"/>
                  <a:pt x="107" y="12"/>
                  <a:pt x="107" y="12"/>
                </a:cubicBezTo>
                <a:cubicBezTo>
                  <a:pt x="108" y="12"/>
                  <a:pt x="108" y="13"/>
                  <a:pt x="108" y="12"/>
                </a:cubicBezTo>
                <a:cubicBezTo>
                  <a:pt x="108" y="12"/>
                  <a:pt x="108" y="12"/>
                  <a:pt x="108" y="11"/>
                </a:cubicBezTo>
                <a:cubicBezTo>
                  <a:pt x="109" y="11"/>
                  <a:pt x="109" y="11"/>
                  <a:pt x="109" y="11"/>
                </a:cubicBezTo>
                <a:cubicBezTo>
                  <a:pt x="110" y="10"/>
                  <a:pt x="109" y="10"/>
                  <a:pt x="110" y="10"/>
                </a:cubicBezTo>
                <a:cubicBezTo>
                  <a:pt x="110" y="9"/>
                  <a:pt x="110" y="9"/>
                  <a:pt x="110" y="9"/>
                </a:cubicBezTo>
                <a:cubicBezTo>
                  <a:pt x="111" y="9"/>
                  <a:pt x="111" y="8"/>
                  <a:pt x="111" y="8"/>
                </a:cubicBezTo>
                <a:cubicBezTo>
                  <a:pt x="112" y="8"/>
                  <a:pt x="112" y="7"/>
                  <a:pt x="112" y="6"/>
                </a:cubicBezTo>
                <a:cubicBezTo>
                  <a:pt x="113" y="6"/>
                  <a:pt x="113" y="6"/>
                  <a:pt x="113" y="6"/>
                </a:cubicBezTo>
                <a:cubicBezTo>
                  <a:pt x="114" y="5"/>
                  <a:pt x="115" y="5"/>
                  <a:pt x="115" y="5"/>
                </a:cubicBezTo>
                <a:cubicBezTo>
                  <a:pt x="116" y="5"/>
                  <a:pt x="117" y="5"/>
                  <a:pt x="118" y="4"/>
                </a:cubicBezTo>
                <a:cubicBezTo>
                  <a:pt x="118" y="4"/>
                  <a:pt x="118" y="4"/>
                  <a:pt x="119" y="4"/>
                </a:cubicBezTo>
                <a:cubicBezTo>
                  <a:pt x="119" y="4"/>
                  <a:pt x="119" y="4"/>
                  <a:pt x="120" y="3"/>
                </a:cubicBezTo>
                <a:cubicBezTo>
                  <a:pt x="120" y="2"/>
                  <a:pt x="120" y="2"/>
                  <a:pt x="121" y="2"/>
                </a:cubicBezTo>
                <a:cubicBezTo>
                  <a:pt x="122" y="1"/>
                  <a:pt x="122" y="1"/>
                  <a:pt x="123" y="1"/>
                </a:cubicBezTo>
                <a:cubicBezTo>
                  <a:pt x="124" y="1"/>
                  <a:pt x="125" y="1"/>
                  <a:pt x="125" y="1"/>
                </a:cubicBezTo>
                <a:cubicBezTo>
                  <a:pt x="125" y="0"/>
                  <a:pt x="126" y="1"/>
                  <a:pt x="127" y="1"/>
                </a:cubicBezTo>
                <a:cubicBezTo>
                  <a:pt x="128" y="0"/>
                  <a:pt x="129" y="2"/>
                  <a:pt x="131" y="2"/>
                </a:cubicBezTo>
                <a:cubicBezTo>
                  <a:pt x="132" y="2"/>
                  <a:pt x="132" y="3"/>
                  <a:pt x="133" y="3"/>
                </a:cubicBezTo>
                <a:cubicBezTo>
                  <a:pt x="134" y="3"/>
                  <a:pt x="134" y="3"/>
                  <a:pt x="135" y="3"/>
                </a:cubicBezTo>
                <a:cubicBezTo>
                  <a:pt x="136" y="2"/>
                  <a:pt x="137" y="2"/>
                  <a:pt x="138" y="2"/>
                </a:cubicBezTo>
                <a:cubicBezTo>
                  <a:pt x="138" y="2"/>
                  <a:pt x="139" y="2"/>
                  <a:pt x="139" y="3"/>
                </a:cubicBezTo>
                <a:cubicBezTo>
                  <a:pt x="139" y="3"/>
                  <a:pt x="140" y="3"/>
                  <a:pt x="140" y="3"/>
                </a:cubicBezTo>
                <a:cubicBezTo>
                  <a:pt x="141" y="3"/>
                  <a:pt x="141" y="3"/>
                  <a:pt x="142" y="3"/>
                </a:cubicBezTo>
                <a:cubicBezTo>
                  <a:pt x="142" y="4"/>
                  <a:pt x="142" y="5"/>
                  <a:pt x="142" y="5"/>
                </a:cubicBezTo>
                <a:cubicBezTo>
                  <a:pt x="142" y="7"/>
                  <a:pt x="143" y="9"/>
                  <a:pt x="144" y="11"/>
                </a:cubicBezTo>
                <a:cubicBezTo>
                  <a:pt x="144" y="11"/>
                  <a:pt x="144" y="12"/>
                  <a:pt x="144" y="13"/>
                </a:cubicBezTo>
                <a:cubicBezTo>
                  <a:pt x="144" y="14"/>
                  <a:pt x="143" y="14"/>
                  <a:pt x="144" y="15"/>
                </a:cubicBezTo>
                <a:cubicBezTo>
                  <a:pt x="144" y="16"/>
                  <a:pt x="144" y="16"/>
                  <a:pt x="145" y="17"/>
                </a:cubicBezTo>
                <a:cubicBezTo>
                  <a:pt x="145" y="17"/>
                  <a:pt x="145" y="18"/>
                  <a:pt x="146" y="19"/>
                </a:cubicBezTo>
                <a:cubicBezTo>
                  <a:pt x="146" y="20"/>
                  <a:pt x="146" y="20"/>
                  <a:pt x="147" y="21"/>
                </a:cubicBezTo>
                <a:cubicBezTo>
                  <a:pt x="147" y="22"/>
                  <a:pt x="146" y="22"/>
                  <a:pt x="147" y="23"/>
                </a:cubicBezTo>
                <a:cubicBezTo>
                  <a:pt x="147" y="24"/>
                  <a:pt x="147" y="25"/>
                  <a:pt x="148" y="26"/>
                </a:cubicBezTo>
                <a:cubicBezTo>
                  <a:pt x="148" y="27"/>
                  <a:pt x="147" y="28"/>
                  <a:pt x="147" y="29"/>
                </a:cubicBezTo>
                <a:cubicBezTo>
                  <a:pt x="147" y="31"/>
                  <a:pt x="147" y="32"/>
                  <a:pt x="147" y="34"/>
                </a:cubicBezTo>
                <a:cubicBezTo>
                  <a:pt x="147" y="35"/>
                  <a:pt x="147" y="36"/>
                  <a:pt x="147" y="37"/>
                </a:cubicBezTo>
                <a:cubicBezTo>
                  <a:pt x="147" y="38"/>
                  <a:pt x="147" y="39"/>
                  <a:pt x="147" y="39"/>
                </a:cubicBezTo>
                <a:cubicBezTo>
                  <a:pt x="147" y="40"/>
                  <a:pt x="146" y="40"/>
                  <a:pt x="146" y="41"/>
                </a:cubicBezTo>
                <a:cubicBezTo>
                  <a:pt x="146" y="41"/>
                  <a:pt x="147" y="42"/>
                  <a:pt x="146" y="43"/>
                </a:cubicBezTo>
                <a:cubicBezTo>
                  <a:pt x="146" y="43"/>
                  <a:pt x="143" y="41"/>
                  <a:pt x="143" y="41"/>
                </a:cubicBezTo>
                <a:cubicBezTo>
                  <a:pt x="142" y="40"/>
                  <a:pt x="141" y="40"/>
                  <a:pt x="140" y="41"/>
                </a:cubicBezTo>
                <a:cubicBezTo>
                  <a:pt x="138" y="42"/>
                  <a:pt x="138" y="43"/>
                  <a:pt x="137" y="45"/>
                </a:cubicBezTo>
                <a:cubicBezTo>
                  <a:pt x="137" y="46"/>
                  <a:pt x="135" y="47"/>
                  <a:pt x="135" y="49"/>
                </a:cubicBezTo>
                <a:cubicBezTo>
                  <a:pt x="135" y="50"/>
                  <a:pt x="135" y="50"/>
                  <a:pt x="135" y="51"/>
                </a:cubicBezTo>
                <a:cubicBezTo>
                  <a:pt x="135" y="52"/>
                  <a:pt x="136" y="52"/>
                  <a:pt x="136" y="51"/>
                </a:cubicBezTo>
                <a:cubicBezTo>
                  <a:pt x="136" y="52"/>
                  <a:pt x="136" y="52"/>
                  <a:pt x="137" y="53"/>
                </a:cubicBezTo>
                <a:cubicBezTo>
                  <a:pt x="137" y="53"/>
                  <a:pt x="137" y="54"/>
                  <a:pt x="137" y="54"/>
                </a:cubicBezTo>
                <a:cubicBezTo>
                  <a:pt x="137" y="55"/>
                  <a:pt x="138" y="55"/>
                  <a:pt x="138" y="55"/>
                </a:cubicBezTo>
                <a:cubicBezTo>
                  <a:pt x="138" y="56"/>
                  <a:pt x="139" y="56"/>
                  <a:pt x="139" y="57"/>
                </a:cubicBezTo>
                <a:cubicBezTo>
                  <a:pt x="140" y="57"/>
                  <a:pt x="142" y="58"/>
                  <a:pt x="143" y="57"/>
                </a:cubicBezTo>
                <a:cubicBezTo>
                  <a:pt x="143" y="57"/>
                  <a:pt x="146" y="58"/>
                  <a:pt x="146" y="57"/>
                </a:cubicBezTo>
                <a:cubicBezTo>
                  <a:pt x="146" y="57"/>
                  <a:pt x="146" y="56"/>
                  <a:pt x="146" y="55"/>
                </a:cubicBezTo>
                <a:cubicBezTo>
                  <a:pt x="146" y="55"/>
                  <a:pt x="146" y="54"/>
                  <a:pt x="146" y="53"/>
                </a:cubicBezTo>
                <a:cubicBezTo>
                  <a:pt x="146" y="53"/>
                  <a:pt x="146" y="52"/>
                  <a:pt x="147" y="52"/>
                </a:cubicBezTo>
                <a:cubicBezTo>
                  <a:pt x="147" y="52"/>
                  <a:pt x="147" y="52"/>
                  <a:pt x="148" y="52"/>
                </a:cubicBezTo>
                <a:cubicBezTo>
                  <a:pt x="148" y="52"/>
                  <a:pt x="149" y="52"/>
                  <a:pt x="150" y="52"/>
                </a:cubicBezTo>
                <a:cubicBezTo>
                  <a:pt x="151" y="52"/>
                  <a:pt x="153" y="52"/>
                  <a:pt x="155" y="52"/>
                </a:cubicBezTo>
                <a:cubicBezTo>
                  <a:pt x="154" y="55"/>
                  <a:pt x="153" y="58"/>
                  <a:pt x="152" y="61"/>
                </a:cubicBezTo>
                <a:close/>
                <a:moveTo>
                  <a:pt x="120" y="78"/>
                </a:moveTo>
                <a:cubicBezTo>
                  <a:pt x="120" y="78"/>
                  <a:pt x="120" y="77"/>
                  <a:pt x="120" y="77"/>
                </a:cubicBezTo>
                <a:cubicBezTo>
                  <a:pt x="120" y="77"/>
                  <a:pt x="119" y="77"/>
                  <a:pt x="119" y="76"/>
                </a:cubicBezTo>
                <a:cubicBezTo>
                  <a:pt x="119" y="76"/>
                  <a:pt x="118" y="76"/>
                  <a:pt x="118" y="76"/>
                </a:cubicBezTo>
                <a:cubicBezTo>
                  <a:pt x="118" y="76"/>
                  <a:pt x="118" y="75"/>
                  <a:pt x="118" y="75"/>
                </a:cubicBezTo>
                <a:cubicBezTo>
                  <a:pt x="118" y="75"/>
                  <a:pt x="117" y="75"/>
                  <a:pt x="117" y="75"/>
                </a:cubicBezTo>
                <a:cubicBezTo>
                  <a:pt x="117" y="75"/>
                  <a:pt x="117" y="74"/>
                  <a:pt x="116" y="74"/>
                </a:cubicBezTo>
                <a:cubicBezTo>
                  <a:pt x="116" y="73"/>
                  <a:pt x="116" y="74"/>
                  <a:pt x="115" y="73"/>
                </a:cubicBezTo>
                <a:cubicBezTo>
                  <a:pt x="115" y="73"/>
                  <a:pt x="115" y="73"/>
                  <a:pt x="115" y="73"/>
                </a:cubicBezTo>
                <a:cubicBezTo>
                  <a:pt x="115" y="73"/>
                  <a:pt x="115" y="72"/>
                  <a:pt x="115" y="72"/>
                </a:cubicBezTo>
                <a:cubicBezTo>
                  <a:pt x="114" y="72"/>
                  <a:pt x="115" y="72"/>
                  <a:pt x="114" y="71"/>
                </a:cubicBezTo>
                <a:cubicBezTo>
                  <a:pt x="114" y="71"/>
                  <a:pt x="114" y="72"/>
                  <a:pt x="113" y="72"/>
                </a:cubicBezTo>
                <a:cubicBezTo>
                  <a:pt x="113" y="72"/>
                  <a:pt x="112" y="72"/>
                  <a:pt x="112" y="72"/>
                </a:cubicBezTo>
                <a:cubicBezTo>
                  <a:pt x="111" y="72"/>
                  <a:pt x="111" y="73"/>
                  <a:pt x="110" y="73"/>
                </a:cubicBezTo>
                <a:cubicBezTo>
                  <a:pt x="109" y="73"/>
                  <a:pt x="109" y="74"/>
                  <a:pt x="108" y="74"/>
                </a:cubicBezTo>
                <a:cubicBezTo>
                  <a:pt x="108" y="75"/>
                  <a:pt x="108" y="75"/>
                  <a:pt x="107" y="74"/>
                </a:cubicBezTo>
                <a:cubicBezTo>
                  <a:pt x="107" y="74"/>
                  <a:pt x="107" y="75"/>
                  <a:pt x="107" y="75"/>
                </a:cubicBezTo>
                <a:cubicBezTo>
                  <a:pt x="106" y="75"/>
                  <a:pt x="106" y="75"/>
                  <a:pt x="106" y="75"/>
                </a:cubicBezTo>
                <a:cubicBezTo>
                  <a:pt x="105" y="75"/>
                  <a:pt x="105" y="76"/>
                  <a:pt x="105" y="76"/>
                </a:cubicBezTo>
                <a:cubicBezTo>
                  <a:pt x="104" y="77"/>
                  <a:pt x="104" y="77"/>
                  <a:pt x="104" y="78"/>
                </a:cubicBezTo>
                <a:cubicBezTo>
                  <a:pt x="104" y="78"/>
                  <a:pt x="103" y="78"/>
                  <a:pt x="103" y="78"/>
                </a:cubicBezTo>
                <a:cubicBezTo>
                  <a:pt x="103" y="79"/>
                  <a:pt x="103" y="79"/>
                  <a:pt x="102" y="79"/>
                </a:cubicBezTo>
                <a:cubicBezTo>
                  <a:pt x="102" y="80"/>
                  <a:pt x="102" y="80"/>
                  <a:pt x="102" y="81"/>
                </a:cubicBezTo>
                <a:cubicBezTo>
                  <a:pt x="101" y="81"/>
                  <a:pt x="101" y="82"/>
                  <a:pt x="100" y="82"/>
                </a:cubicBezTo>
                <a:cubicBezTo>
                  <a:pt x="100" y="82"/>
                  <a:pt x="99" y="82"/>
                  <a:pt x="99" y="83"/>
                </a:cubicBezTo>
                <a:cubicBezTo>
                  <a:pt x="98" y="83"/>
                  <a:pt x="98" y="83"/>
                  <a:pt x="98" y="83"/>
                </a:cubicBezTo>
                <a:cubicBezTo>
                  <a:pt x="98" y="83"/>
                  <a:pt x="99" y="83"/>
                  <a:pt x="99" y="84"/>
                </a:cubicBezTo>
                <a:cubicBezTo>
                  <a:pt x="99" y="84"/>
                  <a:pt x="99" y="85"/>
                  <a:pt x="99" y="86"/>
                </a:cubicBezTo>
                <a:cubicBezTo>
                  <a:pt x="100" y="86"/>
                  <a:pt x="100" y="87"/>
                  <a:pt x="101" y="88"/>
                </a:cubicBezTo>
                <a:cubicBezTo>
                  <a:pt x="101" y="88"/>
                  <a:pt x="101" y="88"/>
                  <a:pt x="101" y="88"/>
                </a:cubicBezTo>
                <a:cubicBezTo>
                  <a:pt x="101" y="88"/>
                  <a:pt x="101" y="88"/>
                  <a:pt x="101" y="89"/>
                </a:cubicBezTo>
                <a:cubicBezTo>
                  <a:pt x="101" y="89"/>
                  <a:pt x="101" y="89"/>
                  <a:pt x="101" y="89"/>
                </a:cubicBezTo>
                <a:cubicBezTo>
                  <a:pt x="101" y="90"/>
                  <a:pt x="101" y="90"/>
                  <a:pt x="101" y="90"/>
                </a:cubicBezTo>
                <a:cubicBezTo>
                  <a:pt x="101" y="90"/>
                  <a:pt x="102" y="90"/>
                  <a:pt x="102" y="90"/>
                </a:cubicBezTo>
                <a:cubicBezTo>
                  <a:pt x="102" y="91"/>
                  <a:pt x="103" y="91"/>
                  <a:pt x="103" y="91"/>
                </a:cubicBezTo>
                <a:cubicBezTo>
                  <a:pt x="103" y="92"/>
                  <a:pt x="104" y="93"/>
                  <a:pt x="105" y="94"/>
                </a:cubicBezTo>
                <a:cubicBezTo>
                  <a:pt x="105" y="94"/>
                  <a:pt x="106" y="94"/>
                  <a:pt x="106" y="94"/>
                </a:cubicBezTo>
                <a:cubicBezTo>
                  <a:pt x="106" y="94"/>
                  <a:pt x="107" y="94"/>
                  <a:pt x="108" y="94"/>
                </a:cubicBezTo>
                <a:cubicBezTo>
                  <a:pt x="108" y="94"/>
                  <a:pt x="108" y="93"/>
                  <a:pt x="108" y="92"/>
                </a:cubicBezTo>
                <a:cubicBezTo>
                  <a:pt x="109" y="92"/>
                  <a:pt x="109" y="92"/>
                  <a:pt x="109" y="91"/>
                </a:cubicBezTo>
                <a:cubicBezTo>
                  <a:pt x="109" y="91"/>
                  <a:pt x="110" y="91"/>
                  <a:pt x="109" y="90"/>
                </a:cubicBezTo>
                <a:cubicBezTo>
                  <a:pt x="109" y="90"/>
                  <a:pt x="109" y="90"/>
                  <a:pt x="110" y="90"/>
                </a:cubicBezTo>
                <a:cubicBezTo>
                  <a:pt x="110" y="90"/>
                  <a:pt x="110" y="89"/>
                  <a:pt x="111" y="89"/>
                </a:cubicBezTo>
                <a:cubicBezTo>
                  <a:pt x="111" y="88"/>
                  <a:pt x="112" y="89"/>
                  <a:pt x="112" y="88"/>
                </a:cubicBezTo>
                <a:cubicBezTo>
                  <a:pt x="112" y="88"/>
                  <a:pt x="113" y="88"/>
                  <a:pt x="114" y="88"/>
                </a:cubicBezTo>
                <a:cubicBezTo>
                  <a:pt x="115" y="88"/>
                  <a:pt x="116" y="87"/>
                  <a:pt x="117" y="87"/>
                </a:cubicBezTo>
                <a:cubicBezTo>
                  <a:pt x="118" y="86"/>
                  <a:pt x="118" y="86"/>
                  <a:pt x="118" y="86"/>
                </a:cubicBezTo>
                <a:cubicBezTo>
                  <a:pt x="118" y="85"/>
                  <a:pt x="118" y="85"/>
                  <a:pt x="118" y="85"/>
                </a:cubicBezTo>
                <a:cubicBezTo>
                  <a:pt x="118" y="84"/>
                  <a:pt x="118" y="84"/>
                  <a:pt x="118" y="83"/>
                </a:cubicBezTo>
                <a:cubicBezTo>
                  <a:pt x="119" y="83"/>
                  <a:pt x="119" y="83"/>
                  <a:pt x="119" y="83"/>
                </a:cubicBezTo>
                <a:cubicBezTo>
                  <a:pt x="120" y="82"/>
                  <a:pt x="120" y="82"/>
                  <a:pt x="120" y="82"/>
                </a:cubicBezTo>
                <a:cubicBezTo>
                  <a:pt x="120" y="81"/>
                  <a:pt x="120" y="81"/>
                  <a:pt x="121" y="81"/>
                </a:cubicBezTo>
                <a:cubicBezTo>
                  <a:pt x="122" y="80"/>
                  <a:pt x="121" y="78"/>
                  <a:pt x="120" y="7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7" name="Somalia"/>
          <p:cNvSpPr>
            <a:spLocks/>
          </p:cNvSpPr>
          <p:nvPr/>
        </p:nvSpPr>
        <p:spPr bwMode="auto">
          <a:xfrm>
            <a:off x="7230029" y="4185955"/>
            <a:ext cx="360987" cy="545980"/>
          </a:xfrm>
          <a:custGeom>
            <a:avLst/>
            <a:gdLst/>
            <a:ahLst/>
            <a:cxnLst>
              <a:cxn ang="0">
                <a:pos x="98" y="17"/>
              </a:cxn>
              <a:cxn ang="0">
                <a:pos x="97" y="16"/>
              </a:cxn>
              <a:cxn ang="0">
                <a:pos x="96" y="12"/>
              </a:cxn>
              <a:cxn ang="0">
                <a:pos x="96" y="8"/>
              </a:cxn>
              <a:cxn ang="0">
                <a:pos x="98" y="3"/>
              </a:cxn>
              <a:cxn ang="0">
                <a:pos x="91" y="1"/>
              </a:cxn>
              <a:cxn ang="0">
                <a:pos x="86" y="6"/>
              </a:cxn>
              <a:cxn ang="0">
                <a:pos x="80" y="8"/>
              </a:cxn>
              <a:cxn ang="0">
                <a:pos x="73" y="8"/>
              </a:cxn>
              <a:cxn ang="0">
                <a:pos x="67" y="10"/>
              </a:cxn>
              <a:cxn ang="0">
                <a:pos x="60" y="10"/>
              </a:cxn>
              <a:cxn ang="0">
                <a:pos x="51" y="15"/>
              </a:cxn>
              <a:cxn ang="0">
                <a:pos x="46" y="13"/>
              </a:cxn>
              <a:cxn ang="0">
                <a:pos x="41" y="15"/>
              </a:cxn>
              <a:cxn ang="0">
                <a:pos x="34" y="18"/>
              </a:cxn>
              <a:cxn ang="0">
                <a:pos x="24" y="10"/>
              </a:cxn>
              <a:cxn ang="0">
                <a:pos x="22" y="7"/>
              </a:cxn>
              <a:cxn ang="0">
                <a:pos x="20" y="7"/>
              </a:cxn>
              <a:cxn ang="0">
                <a:pos x="17" y="12"/>
              </a:cxn>
              <a:cxn ang="0">
                <a:pos x="16" y="15"/>
              </a:cxn>
              <a:cxn ang="0">
                <a:pos x="17" y="20"/>
              </a:cxn>
              <a:cxn ang="0">
                <a:pos x="20" y="24"/>
              </a:cxn>
              <a:cxn ang="0">
                <a:pos x="25" y="30"/>
              </a:cxn>
              <a:cxn ang="0">
                <a:pos x="45" y="40"/>
              </a:cxn>
              <a:cxn ang="0">
                <a:pos x="67" y="44"/>
              </a:cxn>
              <a:cxn ang="0">
                <a:pos x="40" y="77"/>
              </a:cxn>
              <a:cxn ang="0">
                <a:pos x="29" y="78"/>
              </a:cxn>
              <a:cxn ang="0">
                <a:pos x="20" y="82"/>
              </a:cxn>
              <a:cxn ang="0">
                <a:pos x="13" y="86"/>
              </a:cxn>
              <a:cxn ang="0">
                <a:pos x="4" y="97"/>
              </a:cxn>
              <a:cxn ang="0">
                <a:pos x="0" y="106"/>
              </a:cxn>
              <a:cxn ang="0">
                <a:pos x="0" y="142"/>
              </a:cxn>
              <a:cxn ang="0">
                <a:pos x="6" y="151"/>
              </a:cxn>
              <a:cxn ang="0">
                <a:pos x="8" y="145"/>
              </a:cxn>
              <a:cxn ang="0">
                <a:pos x="10" y="144"/>
              </a:cxn>
              <a:cxn ang="0">
                <a:pos x="11" y="141"/>
              </a:cxn>
              <a:cxn ang="0">
                <a:pos x="16" y="135"/>
              </a:cxn>
              <a:cxn ang="0">
                <a:pos x="25" y="124"/>
              </a:cxn>
              <a:cxn ang="0">
                <a:pos x="31" y="119"/>
              </a:cxn>
              <a:cxn ang="0">
                <a:pos x="43" y="110"/>
              </a:cxn>
              <a:cxn ang="0">
                <a:pos x="55" y="99"/>
              </a:cxn>
              <a:cxn ang="0">
                <a:pos x="68" y="82"/>
              </a:cxn>
              <a:cxn ang="0">
                <a:pos x="78" y="64"/>
              </a:cxn>
              <a:cxn ang="0">
                <a:pos x="83" y="52"/>
              </a:cxn>
              <a:cxn ang="0">
                <a:pos x="87" y="43"/>
              </a:cxn>
              <a:cxn ang="0">
                <a:pos x="90" y="36"/>
              </a:cxn>
              <a:cxn ang="0">
                <a:pos x="93" y="31"/>
              </a:cxn>
              <a:cxn ang="0">
                <a:pos x="94" y="24"/>
              </a:cxn>
              <a:cxn ang="0">
                <a:pos x="97" y="18"/>
              </a:cxn>
              <a:cxn ang="0">
                <a:pos x="99" y="18"/>
              </a:cxn>
            </a:cxnLst>
            <a:rect l="0" t="0" r="r" b="b"/>
            <a:pathLst>
              <a:path w="100" h="151">
                <a:moveTo>
                  <a:pt x="99" y="17"/>
                </a:moveTo>
                <a:cubicBezTo>
                  <a:pt x="98" y="17"/>
                  <a:pt x="98" y="17"/>
                  <a:pt x="97" y="16"/>
                </a:cubicBezTo>
                <a:cubicBezTo>
                  <a:pt x="97" y="17"/>
                  <a:pt x="97" y="17"/>
                  <a:pt x="98" y="17"/>
                </a:cubicBezTo>
                <a:cubicBezTo>
                  <a:pt x="97" y="18"/>
                  <a:pt x="96" y="18"/>
                  <a:pt x="96" y="18"/>
                </a:cubicBezTo>
                <a:cubicBezTo>
                  <a:pt x="95" y="18"/>
                  <a:pt x="96" y="17"/>
                  <a:pt x="96" y="17"/>
                </a:cubicBezTo>
                <a:cubicBezTo>
                  <a:pt x="97" y="17"/>
                  <a:pt x="96" y="16"/>
                  <a:pt x="97" y="16"/>
                </a:cubicBezTo>
                <a:cubicBezTo>
                  <a:pt x="97" y="16"/>
                  <a:pt x="97" y="16"/>
                  <a:pt x="97" y="15"/>
                </a:cubicBezTo>
                <a:cubicBezTo>
                  <a:pt x="97" y="15"/>
                  <a:pt x="97" y="14"/>
                  <a:pt x="97" y="14"/>
                </a:cubicBezTo>
                <a:cubicBezTo>
                  <a:pt x="97" y="13"/>
                  <a:pt x="96" y="12"/>
                  <a:pt x="96" y="12"/>
                </a:cubicBezTo>
                <a:cubicBezTo>
                  <a:pt x="96" y="11"/>
                  <a:pt x="97" y="11"/>
                  <a:pt x="97" y="10"/>
                </a:cubicBezTo>
                <a:cubicBezTo>
                  <a:pt x="97" y="10"/>
                  <a:pt x="96" y="10"/>
                  <a:pt x="96" y="9"/>
                </a:cubicBezTo>
                <a:cubicBezTo>
                  <a:pt x="96" y="9"/>
                  <a:pt x="96" y="8"/>
                  <a:pt x="96" y="8"/>
                </a:cubicBezTo>
                <a:cubicBezTo>
                  <a:pt x="96" y="7"/>
                  <a:pt x="96" y="6"/>
                  <a:pt x="96" y="5"/>
                </a:cubicBezTo>
                <a:cubicBezTo>
                  <a:pt x="97" y="5"/>
                  <a:pt x="97" y="5"/>
                  <a:pt x="97" y="4"/>
                </a:cubicBezTo>
                <a:cubicBezTo>
                  <a:pt x="97" y="4"/>
                  <a:pt x="97" y="3"/>
                  <a:pt x="98" y="3"/>
                </a:cubicBezTo>
                <a:cubicBezTo>
                  <a:pt x="98" y="2"/>
                  <a:pt x="97" y="2"/>
                  <a:pt x="96" y="2"/>
                </a:cubicBezTo>
                <a:cubicBezTo>
                  <a:pt x="95" y="2"/>
                  <a:pt x="94" y="1"/>
                  <a:pt x="93" y="1"/>
                </a:cubicBezTo>
                <a:cubicBezTo>
                  <a:pt x="93" y="0"/>
                  <a:pt x="92" y="1"/>
                  <a:pt x="91" y="1"/>
                </a:cubicBezTo>
                <a:cubicBezTo>
                  <a:pt x="90" y="1"/>
                  <a:pt x="91" y="3"/>
                  <a:pt x="90" y="4"/>
                </a:cubicBezTo>
                <a:cubicBezTo>
                  <a:pt x="89" y="4"/>
                  <a:pt x="88" y="5"/>
                  <a:pt x="87" y="5"/>
                </a:cubicBezTo>
                <a:cubicBezTo>
                  <a:pt x="87" y="5"/>
                  <a:pt x="86" y="6"/>
                  <a:pt x="86" y="6"/>
                </a:cubicBezTo>
                <a:cubicBezTo>
                  <a:pt x="85" y="6"/>
                  <a:pt x="85" y="6"/>
                  <a:pt x="84" y="6"/>
                </a:cubicBezTo>
                <a:cubicBezTo>
                  <a:pt x="83" y="7"/>
                  <a:pt x="82" y="6"/>
                  <a:pt x="81" y="7"/>
                </a:cubicBezTo>
                <a:cubicBezTo>
                  <a:pt x="81" y="7"/>
                  <a:pt x="80" y="7"/>
                  <a:pt x="80" y="8"/>
                </a:cubicBezTo>
                <a:cubicBezTo>
                  <a:pt x="79" y="8"/>
                  <a:pt x="79" y="8"/>
                  <a:pt x="78" y="8"/>
                </a:cubicBezTo>
                <a:cubicBezTo>
                  <a:pt x="77" y="8"/>
                  <a:pt x="76" y="9"/>
                  <a:pt x="75" y="9"/>
                </a:cubicBezTo>
                <a:cubicBezTo>
                  <a:pt x="74" y="8"/>
                  <a:pt x="73" y="8"/>
                  <a:pt x="73" y="8"/>
                </a:cubicBezTo>
                <a:cubicBezTo>
                  <a:pt x="72" y="8"/>
                  <a:pt x="71" y="8"/>
                  <a:pt x="70" y="8"/>
                </a:cubicBezTo>
                <a:cubicBezTo>
                  <a:pt x="69" y="8"/>
                  <a:pt x="69" y="9"/>
                  <a:pt x="69" y="9"/>
                </a:cubicBezTo>
                <a:cubicBezTo>
                  <a:pt x="68" y="9"/>
                  <a:pt x="68" y="10"/>
                  <a:pt x="67" y="10"/>
                </a:cubicBezTo>
                <a:cubicBezTo>
                  <a:pt x="66" y="10"/>
                  <a:pt x="65" y="10"/>
                  <a:pt x="65" y="10"/>
                </a:cubicBezTo>
                <a:cubicBezTo>
                  <a:pt x="64" y="10"/>
                  <a:pt x="63" y="10"/>
                  <a:pt x="63" y="10"/>
                </a:cubicBezTo>
                <a:cubicBezTo>
                  <a:pt x="62" y="9"/>
                  <a:pt x="61" y="9"/>
                  <a:pt x="60" y="10"/>
                </a:cubicBezTo>
                <a:cubicBezTo>
                  <a:pt x="58" y="10"/>
                  <a:pt x="57" y="11"/>
                  <a:pt x="56" y="12"/>
                </a:cubicBezTo>
                <a:cubicBezTo>
                  <a:pt x="55" y="13"/>
                  <a:pt x="54" y="14"/>
                  <a:pt x="53" y="14"/>
                </a:cubicBezTo>
                <a:cubicBezTo>
                  <a:pt x="52" y="14"/>
                  <a:pt x="52" y="15"/>
                  <a:pt x="51" y="15"/>
                </a:cubicBezTo>
                <a:cubicBezTo>
                  <a:pt x="50" y="15"/>
                  <a:pt x="50" y="14"/>
                  <a:pt x="49" y="14"/>
                </a:cubicBezTo>
                <a:cubicBezTo>
                  <a:pt x="49" y="14"/>
                  <a:pt x="48" y="14"/>
                  <a:pt x="48" y="14"/>
                </a:cubicBezTo>
                <a:cubicBezTo>
                  <a:pt x="47" y="14"/>
                  <a:pt x="47" y="14"/>
                  <a:pt x="46" y="13"/>
                </a:cubicBezTo>
                <a:cubicBezTo>
                  <a:pt x="46" y="13"/>
                  <a:pt x="46" y="13"/>
                  <a:pt x="45" y="13"/>
                </a:cubicBezTo>
                <a:cubicBezTo>
                  <a:pt x="45" y="13"/>
                  <a:pt x="45" y="13"/>
                  <a:pt x="44" y="13"/>
                </a:cubicBezTo>
                <a:cubicBezTo>
                  <a:pt x="43" y="14"/>
                  <a:pt x="42" y="15"/>
                  <a:pt x="41" y="15"/>
                </a:cubicBezTo>
                <a:cubicBezTo>
                  <a:pt x="40" y="15"/>
                  <a:pt x="40" y="16"/>
                  <a:pt x="39" y="16"/>
                </a:cubicBezTo>
                <a:cubicBezTo>
                  <a:pt x="39" y="16"/>
                  <a:pt x="38" y="17"/>
                  <a:pt x="38" y="17"/>
                </a:cubicBezTo>
                <a:cubicBezTo>
                  <a:pt x="37" y="18"/>
                  <a:pt x="35" y="17"/>
                  <a:pt x="34" y="18"/>
                </a:cubicBezTo>
                <a:cubicBezTo>
                  <a:pt x="32" y="18"/>
                  <a:pt x="31" y="18"/>
                  <a:pt x="30" y="17"/>
                </a:cubicBezTo>
                <a:cubicBezTo>
                  <a:pt x="28" y="16"/>
                  <a:pt x="27" y="15"/>
                  <a:pt x="26" y="14"/>
                </a:cubicBezTo>
                <a:cubicBezTo>
                  <a:pt x="25" y="13"/>
                  <a:pt x="24" y="11"/>
                  <a:pt x="24" y="10"/>
                </a:cubicBezTo>
                <a:cubicBezTo>
                  <a:pt x="23" y="10"/>
                  <a:pt x="23" y="9"/>
                  <a:pt x="23" y="9"/>
                </a:cubicBezTo>
                <a:cubicBezTo>
                  <a:pt x="23" y="8"/>
                  <a:pt x="23" y="8"/>
                  <a:pt x="23" y="7"/>
                </a:cubicBezTo>
                <a:cubicBezTo>
                  <a:pt x="23" y="7"/>
                  <a:pt x="22" y="8"/>
                  <a:pt x="22" y="7"/>
                </a:cubicBezTo>
                <a:cubicBezTo>
                  <a:pt x="22" y="7"/>
                  <a:pt x="22" y="7"/>
                  <a:pt x="22" y="7"/>
                </a:cubicBezTo>
                <a:cubicBezTo>
                  <a:pt x="21" y="7"/>
                  <a:pt x="21" y="6"/>
                  <a:pt x="21" y="6"/>
                </a:cubicBezTo>
                <a:cubicBezTo>
                  <a:pt x="21" y="7"/>
                  <a:pt x="20" y="6"/>
                  <a:pt x="20" y="7"/>
                </a:cubicBezTo>
                <a:cubicBezTo>
                  <a:pt x="20" y="7"/>
                  <a:pt x="20" y="7"/>
                  <a:pt x="20" y="7"/>
                </a:cubicBezTo>
                <a:cubicBezTo>
                  <a:pt x="19" y="8"/>
                  <a:pt x="19" y="9"/>
                  <a:pt x="18" y="10"/>
                </a:cubicBezTo>
                <a:cubicBezTo>
                  <a:pt x="18" y="10"/>
                  <a:pt x="18" y="11"/>
                  <a:pt x="17" y="12"/>
                </a:cubicBezTo>
                <a:cubicBezTo>
                  <a:pt x="17" y="12"/>
                  <a:pt x="17" y="12"/>
                  <a:pt x="17" y="13"/>
                </a:cubicBezTo>
                <a:cubicBezTo>
                  <a:pt x="17" y="13"/>
                  <a:pt x="17" y="13"/>
                  <a:pt x="16" y="13"/>
                </a:cubicBezTo>
                <a:cubicBezTo>
                  <a:pt x="16" y="14"/>
                  <a:pt x="16" y="15"/>
                  <a:pt x="16" y="15"/>
                </a:cubicBezTo>
                <a:cubicBezTo>
                  <a:pt x="15" y="15"/>
                  <a:pt x="15" y="15"/>
                  <a:pt x="15" y="16"/>
                </a:cubicBezTo>
                <a:cubicBezTo>
                  <a:pt x="15" y="17"/>
                  <a:pt x="16" y="17"/>
                  <a:pt x="16" y="18"/>
                </a:cubicBezTo>
                <a:cubicBezTo>
                  <a:pt x="16" y="18"/>
                  <a:pt x="17" y="19"/>
                  <a:pt x="17" y="20"/>
                </a:cubicBezTo>
                <a:cubicBezTo>
                  <a:pt x="17" y="21"/>
                  <a:pt x="18" y="21"/>
                  <a:pt x="18" y="21"/>
                </a:cubicBezTo>
                <a:cubicBezTo>
                  <a:pt x="19" y="22"/>
                  <a:pt x="19" y="22"/>
                  <a:pt x="19" y="23"/>
                </a:cubicBezTo>
                <a:cubicBezTo>
                  <a:pt x="19" y="23"/>
                  <a:pt x="20" y="23"/>
                  <a:pt x="20" y="24"/>
                </a:cubicBezTo>
                <a:cubicBezTo>
                  <a:pt x="21" y="24"/>
                  <a:pt x="21" y="25"/>
                  <a:pt x="21" y="25"/>
                </a:cubicBezTo>
                <a:cubicBezTo>
                  <a:pt x="21" y="26"/>
                  <a:pt x="22" y="27"/>
                  <a:pt x="23" y="28"/>
                </a:cubicBezTo>
                <a:cubicBezTo>
                  <a:pt x="23" y="30"/>
                  <a:pt x="25" y="29"/>
                  <a:pt x="25" y="30"/>
                </a:cubicBezTo>
                <a:cubicBezTo>
                  <a:pt x="26" y="31"/>
                  <a:pt x="28" y="33"/>
                  <a:pt x="29" y="34"/>
                </a:cubicBezTo>
                <a:cubicBezTo>
                  <a:pt x="31" y="34"/>
                  <a:pt x="32" y="35"/>
                  <a:pt x="34" y="35"/>
                </a:cubicBezTo>
                <a:cubicBezTo>
                  <a:pt x="38" y="37"/>
                  <a:pt x="41" y="38"/>
                  <a:pt x="45" y="40"/>
                </a:cubicBezTo>
                <a:cubicBezTo>
                  <a:pt x="49" y="41"/>
                  <a:pt x="52" y="42"/>
                  <a:pt x="56" y="44"/>
                </a:cubicBezTo>
                <a:cubicBezTo>
                  <a:pt x="58" y="45"/>
                  <a:pt x="60" y="44"/>
                  <a:pt x="61" y="44"/>
                </a:cubicBezTo>
                <a:cubicBezTo>
                  <a:pt x="63" y="44"/>
                  <a:pt x="65" y="44"/>
                  <a:pt x="67" y="44"/>
                </a:cubicBezTo>
                <a:cubicBezTo>
                  <a:pt x="60" y="52"/>
                  <a:pt x="53" y="59"/>
                  <a:pt x="47" y="67"/>
                </a:cubicBezTo>
                <a:cubicBezTo>
                  <a:pt x="45" y="69"/>
                  <a:pt x="44" y="72"/>
                  <a:pt x="42" y="74"/>
                </a:cubicBezTo>
                <a:cubicBezTo>
                  <a:pt x="41" y="75"/>
                  <a:pt x="40" y="76"/>
                  <a:pt x="40" y="77"/>
                </a:cubicBezTo>
                <a:cubicBezTo>
                  <a:pt x="39" y="77"/>
                  <a:pt x="39" y="78"/>
                  <a:pt x="38" y="78"/>
                </a:cubicBezTo>
                <a:cubicBezTo>
                  <a:pt x="35" y="78"/>
                  <a:pt x="33" y="78"/>
                  <a:pt x="30" y="78"/>
                </a:cubicBezTo>
                <a:cubicBezTo>
                  <a:pt x="30" y="78"/>
                  <a:pt x="29" y="78"/>
                  <a:pt x="29" y="78"/>
                </a:cubicBezTo>
                <a:cubicBezTo>
                  <a:pt x="28" y="78"/>
                  <a:pt x="28" y="78"/>
                  <a:pt x="27" y="78"/>
                </a:cubicBezTo>
                <a:cubicBezTo>
                  <a:pt x="27" y="78"/>
                  <a:pt x="26" y="79"/>
                  <a:pt x="25" y="79"/>
                </a:cubicBezTo>
                <a:cubicBezTo>
                  <a:pt x="23" y="80"/>
                  <a:pt x="22" y="81"/>
                  <a:pt x="20" y="82"/>
                </a:cubicBezTo>
                <a:cubicBezTo>
                  <a:pt x="20" y="82"/>
                  <a:pt x="19" y="83"/>
                  <a:pt x="19" y="83"/>
                </a:cubicBezTo>
                <a:cubicBezTo>
                  <a:pt x="19" y="84"/>
                  <a:pt x="19" y="85"/>
                  <a:pt x="18" y="85"/>
                </a:cubicBezTo>
                <a:cubicBezTo>
                  <a:pt x="17" y="86"/>
                  <a:pt x="15" y="86"/>
                  <a:pt x="13" y="86"/>
                </a:cubicBezTo>
                <a:cubicBezTo>
                  <a:pt x="12" y="86"/>
                  <a:pt x="10" y="86"/>
                  <a:pt x="9" y="88"/>
                </a:cubicBezTo>
                <a:cubicBezTo>
                  <a:pt x="9" y="89"/>
                  <a:pt x="7" y="91"/>
                  <a:pt x="7" y="92"/>
                </a:cubicBezTo>
                <a:cubicBezTo>
                  <a:pt x="6" y="94"/>
                  <a:pt x="5" y="96"/>
                  <a:pt x="4" y="97"/>
                </a:cubicBezTo>
                <a:cubicBezTo>
                  <a:pt x="3" y="98"/>
                  <a:pt x="2" y="99"/>
                  <a:pt x="2" y="99"/>
                </a:cubicBezTo>
                <a:cubicBezTo>
                  <a:pt x="1" y="100"/>
                  <a:pt x="1" y="101"/>
                  <a:pt x="0" y="101"/>
                </a:cubicBezTo>
                <a:cubicBezTo>
                  <a:pt x="0" y="103"/>
                  <a:pt x="0" y="105"/>
                  <a:pt x="0" y="106"/>
                </a:cubicBezTo>
                <a:cubicBezTo>
                  <a:pt x="0" y="114"/>
                  <a:pt x="0" y="123"/>
                  <a:pt x="0" y="131"/>
                </a:cubicBezTo>
                <a:cubicBezTo>
                  <a:pt x="0" y="133"/>
                  <a:pt x="0" y="135"/>
                  <a:pt x="0" y="137"/>
                </a:cubicBezTo>
                <a:cubicBezTo>
                  <a:pt x="0" y="139"/>
                  <a:pt x="0" y="140"/>
                  <a:pt x="0" y="142"/>
                </a:cubicBezTo>
                <a:cubicBezTo>
                  <a:pt x="1" y="143"/>
                  <a:pt x="1" y="143"/>
                  <a:pt x="2" y="144"/>
                </a:cubicBezTo>
                <a:cubicBezTo>
                  <a:pt x="2" y="145"/>
                  <a:pt x="3" y="146"/>
                  <a:pt x="4" y="146"/>
                </a:cubicBezTo>
                <a:cubicBezTo>
                  <a:pt x="4" y="148"/>
                  <a:pt x="6" y="149"/>
                  <a:pt x="6" y="151"/>
                </a:cubicBezTo>
                <a:cubicBezTo>
                  <a:pt x="6" y="150"/>
                  <a:pt x="7" y="149"/>
                  <a:pt x="8" y="148"/>
                </a:cubicBezTo>
                <a:cubicBezTo>
                  <a:pt x="8" y="147"/>
                  <a:pt x="8" y="147"/>
                  <a:pt x="8" y="146"/>
                </a:cubicBezTo>
                <a:cubicBezTo>
                  <a:pt x="9" y="146"/>
                  <a:pt x="8" y="146"/>
                  <a:pt x="8" y="145"/>
                </a:cubicBezTo>
                <a:cubicBezTo>
                  <a:pt x="8" y="145"/>
                  <a:pt x="9" y="146"/>
                  <a:pt x="9" y="145"/>
                </a:cubicBezTo>
                <a:cubicBezTo>
                  <a:pt x="9" y="145"/>
                  <a:pt x="9" y="145"/>
                  <a:pt x="9" y="145"/>
                </a:cubicBezTo>
                <a:cubicBezTo>
                  <a:pt x="9" y="145"/>
                  <a:pt x="9" y="144"/>
                  <a:pt x="10" y="144"/>
                </a:cubicBezTo>
                <a:cubicBezTo>
                  <a:pt x="10" y="144"/>
                  <a:pt x="10" y="143"/>
                  <a:pt x="10" y="143"/>
                </a:cubicBezTo>
                <a:cubicBezTo>
                  <a:pt x="10" y="143"/>
                  <a:pt x="10" y="143"/>
                  <a:pt x="10" y="143"/>
                </a:cubicBezTo>
                <a:cubicBezTo>
                  <a:pt x="10" y="143"/>
                  <a:pt x="11" y="142"/>
                  <a:pt x="11" y="141"/>
                </a:cubicBezTo>
                <a:cubicBezTo>
                  <a:pt x="12" y="141"/>
                  <a:pt x="13" y="140"/>
                  <a:pt x="14" y="138"/>
                </a:cubicBezTo>
                <a:cubicBezTo>
                  <a:pt x="14" y="138"/>
                  <a:pt x="15" y="137"/>
                  <a:pt x="15" y="137"/>
                </a:cubicBezTo>
                <a:cubicBezTo>
                  <a:pt x="15" y="136"/>
                  <a:pt x="16" y="136"/>
                  <a:pt x="16" y="135"/>
                </a:cubicBezTo>
                <a:cubicBezTo>
                  <a:pt x="18" y="134"/>
                  <a:pt x="19" y="132"/>
                  <a:pt x="20" y="131"/>
                </a:cubicBezTo>
                <a:cubicBezTo>
                  <a:pt x="21" y="129"/>
                  <a:pt x="22" y="128"/>
                  <a:pt x="24" y="126"/>
                </a:cubicBezTo>
                <a:cubicBezTo>
                  <a:pt x="24" y="126"/>
                  <a:pt x="25" y="125"/>
                  <a:pt x="25" y="124"/>
                </a:cubicBezTo>
                <a:cubicBezTo>
                  <a:pt x="26" y="124"/>
                  <a:pt x="27" y="123"/>
                  <a:pt x="27" y="122"/>
                </a:cubicBezTo>
                <a:cubicBezTo>
                  <a:pt x="28" y="122"/>
                  <a:pt x="28" y="121"/>
                  <a:pt x="29" y="121"/>
                </a:cubicBezTo>
                <a:cubicBezTo>
                  <a:pt x="30" y="120"/>
                  <a:pt x="30" y="120"/>
                  <a:pt x="31" y="119"/>
                </a:cubicBezTo>
                <a:cubicBezTo>
                  <a:pt x="32" y="118"/>
                  <a:pt x="33" y="117"/>
                  <a:pt x="34" y="116"/>
                </a:cubicBezTo>
                <a:cubicBezTo>
                  <a:pt x="35" y="115"/>
                  <a:pt x="37" y="113"/>
                  <a:pt x="38" y="112"/>
                </a:cubicBezTo>
                <a:cubicBezTo>
                  <a:pt x="40" y="111"/>
                  <a:pt x="41" y="111"/>
                  <a:pt x="43" y="110"/>
                </a:cubicBezTo>
                <a:cubicBezTo>
                  <a:pt x="44" y="109"/>
                  <a:pt x="46" y="108"/>
                  <a:pt x="47" y="107"/>
                </a:cubicBezTo>
                <a:cubicBezTo>
                  <a:pt x="49" y="106"/>
                  <a:pt x="50" y="104"/>
                  <a:pt x="51" y="103"/>
                </a:cubicBezTo>
                <a:cubicBezTo>
                  <a:pt x="52" y="102"/>
                  <a:pt x="54" y="100"/>
                  <a:pt x="55" y="99"/>
                </a:cubicBezTo>
                <a:cubicBezTo>
                  <a:pt x="56" y="97"/>
                  <a:pt x="57" y="96"/>
                  <a:pt x="58" y="95"/>
                </a:cubicBezTo>
                <a:cubicBezTo>
                  <a:pt x="61" y="92"/>
                  <a:pt x="63" y="89"/>
                  <a:pt x="65" y="86"/>
                </a:cubicBezTo>
                <a:cubicBezTo>
                  <a:pt x="66" y="85"/>
                  <a:pt x="67" y="83"/>
                  <a:pt x="68" y="82"/>
                </a:cubicBezTo>
                <a:cubicBezTo>
                  <a:pt x="69" y="80"/>
                  <a:pt x="70" y="78"/>
                  <a:pt x="71" y="77"/>
                </a:cubicBezTo>
                <a:cubicBezTo>
                  <a:pt x="73" y="73"/>
                  <a:pt x="75" y="70"/>
                  <a:pt x="77" y="67"/>
                </a:cubicBezTo>
                <a:cubicBezTo>
                  <a:pt x="77" y="66"/>
                  <a:pt x="78" y="65"/>
                  <a:pt x="78" y="64"/>
                </a:cubicBezTo>
                <a:cubicBezTo>
                  <a:pt x="78" y="63"/>
                  <a:pt x="78" y="63"/>
                  <a:pt x="78" y="62"/>
                </a:cubicBezTo>
                <a:cubicBezTo>
                  <a:pt x="78" y="60"/>
                  <a:pt x="79" y="58"/>
                  <a:pt x="80" y="57"/>
                </a:cubicBezTo>
                <a:cubicBezTo>
                  <a:pt x="81" y="55"/>
                  <a:pt x="82" y="54"/>
                  <a:pt x="83" y="52"/>
                </a:cubicBezTo>
                <a:cubicBezTo>
                  <a:pt x="84" y="50"/>
                  <a:pt x="84" y="49"/>
                  <a:pt x="85" y="47"/>
                </a:cubicBezTo>
                <a:cubicBezTo>
                  <a:pt x="85" y="46"/>
                  <a:pt x="85" y="46"/>
                  <a:pt x="85" y="45"/>
                </a:cubicBezTo>
                <a:cubicBezTo>
                  <a:pt x="85" y="44"/>
                  <a:pt x="86" y="44"/>
                  <a:pt x="87" y="43"/>
                </a:cubicBezTo>
                <a:cubicBezTo>
                  <a:pt x="88" y="42"/>
                  <a:pt x="88" y="41"/>
                  <a:pt x="89" y="40"/>
                </a:cubicBezTo>
                <a:cubicBezTo>
                  <a:pt x="89" y="39"/>
                  <a:pt x="90" y="39"/>
                  <a:pt x="90" y="38"/>
                </a:cubicBezTo>
                <a:cubicBezTo>
                  <a:pt x="89" y="37"/>
                  <a:pt x="90" y="37"/>
                  <a:pt x="90" y="36"/>
                </a:cubicBezTo>
                <a:cubicBezTo>
                  <a:pt x="90" y="35"/>
                  <a:pt x="91" y="34"/>
                  <a:pt x="91" y="34"/>
                </a:cubicBezTo>
                <a:cubicBezTo>
                  <a:pt x="91" y="33"/>
                  <a:pt x="92" y="33"/>
                  <a:pt x="92" y="33"/>
                </a:cubicBezTo>
                <a:cubicBezTo>
                  <a:pt x="93" y="32"/>
                  <a:pt x="92" y="31"/>
                  <a:pt x="93" y="31"/>
                </a:cubicBezTo>
                <a:cubicBezTo>
                  <a:pt x="93" y="30"/>
                  <a:pt x="94" y="30"/>
                  <a:pt x="94" y="29"/>
                </a:cubicBezTo>
                <a:cubicBezTo>
                  <a:pt x="94" y="28"/>
                  <a:pt x="94" y="28"/>
                  <a:pt x="94" y="27"/>
                </a:cubicBezTo>
                <a:cubicBezTo>
                  <a:pt x="94" y="26"/>
                  <a:pt x="94" y="25"/>
                  <a:pt x="94" y="24"/>
                </a:cubicBezTo>
                <a:cubicBezTo>
                  <a:pt x="94" y="24"/>
                  <a:pt x="95" y="23"/>
                  <a:pt x="95" y="22"/>
                </a:cubicBezTo>
                <a:cubicBezTo>
                  <a:pt x="95" y="21"/>
                  <a:pt x="95" y="21"/>
                  <a:pt x="95" y="20"/>
                </a:cubicBezTo>
                <a:cubicBezTo>
                  <a:pt x="94" y="18"/>
                  <a:pt x="95" y="18"/>
                  <a:pt x="97" y="18"/>
                </a:cubicBezTo>
                <a:cubicBezTo>
                  <a:pt x="97" y="18"/>
                  <a:pt x="98" y="18"/>
                  <a:pt x="98" y="18"/>
                </a:cubicBezTo>
                <a:cubicBezTo>
                  <a:pt x="98" y="18"/>
                  <a:pt x="98" y="18"/>
                  <a:pt x="98" y="18"/>
                </a:cubicBezTo>
                <a:cubicBezTo>
                  <a:pt x="99" y="18"/>
                  <a:pt x="99" y="18"/>
                  <a:pt x="99" y="18"/>
                </a:cubicBezTo>
                <a:cubicBezTo>
                  <a:pt x="100" y="17"/>
                  <a:pt x="99" y="17"/>
                  <a:pt x="99" y="1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8" name="Solomon Islands"/>
          <p:cNvSpPr>
            <a:spLocks noEditPoints="1"/>
          </p:cNvSpPr>
          <p:nvPr/>
        </p:nvSpPr>
        <p:spPr bwMode="auto">
          <a:xfrm>
            <a:off x="11231879" y="4844930"/>
            <a:ext cx="400986" cy="288990"/>
          </a:xfrm>
          <a:custGeom>
            <a:avLst/>
            <a:gdLst/>
            <a:ahLst/>
            <a:cxnLst>
              <a:cxn ang="0">
                <a:pos x="16" y="41"/>
              </a:cxn>
              <a:cxn ang="0">
                <a:pos x="69" y="42"/>
              </a:cxn>
              <a:cxn ang="0">
                <a:pos x="40" y="40"/>
              </a:cxn>
              <a:cxn ang="0">
                <a:pos x="31" y="34"/>
              </a:cxn>
              <a:cxn ang="0">
                <a:pos x="31" y="37"/>
              </a:cxn>
              <a:cxn ang="0">
                <a:pos x="32" y="38"/>
              </a:cxn>
              <a:cxn ang="0">
                <a:pos x="40" y="43"/>
              </a:cxn>
              <a:cxn ang="0">
                <a:pos x="19" y="38"/>
              </a:cxn>
              <a:cxn ang="0">
                <a:pos x="19" y="41"/>
              </a:cxn>
              <a:cxn ang="0">
                <a:pos x="21" y="45"/>
              </a:cxn>
              <a:cxn ang="0">
                <a:pos x="17" y="46"/>
              </a:cxn>
              <a:cxn ang="0">
                <a:pos x="40" y="51"/>
              </a:cxn>
              <a:cxn ang="0">
                <a:pos x="16" y="31"/>
              </a:cxn>
              <a:cxn ang="0">
                <a:pos x="19" y="31"/>
              </a:cxn>
              <a:cxn ang="0">
                <a:pos x="15" y="26"/>
              </a:cxn>
              <a:cxn ang="0">
                <a:pos x="13" y="28"/>
              </a:cxn>
              <a:cxn ang="0">
                <a:pos x="37" y="74"/>
              </a:cxn>
              <a:cxn ang="0">
                <a:pos x="54" y="51"/>
              </a:cxn>
              <a:cxn ang="0">
                <a:pos x="53" y="49"/>
              </a:cxn>
              <a:cxn ang="0">
                <a:pos x="52" y="45"/>
              </a:cxn>
              <a:cxn ang="0">
                <a:pos x="48" y="42"/>
              </a:cxn>
              <a:cxn ang="0">
                <a:pos x="50" y="49"/>
              </a:cxn>
              <a:cxn ang="0">
                <a:pos x="52" y="53"/>
              </a:cxn>
              <a:cxn ang="0">
                <a:pos x="61" y="66"/>
              </a:cxn>
              <a:cxn ang="0">
                <a:pos x="57" y="64"/>
              </a:cxn>
              <a:cxn ang="0">
                <a:pos x="55" y="66"/>
              </a:cxn>
              <a:cxn ang="0">
                <a:pos x="60" y="69"/>
              </a:cxn>
              <a:cxn ang="0">
                <a:pos x="43" y="50"/>
              </a:cxn>
              <a:cxn ang="0">
                <a:pos x="33" y="49"/>
              </a:cxn>
              <a:cxn ang="0">
                <a:pos x="55" y="57"/>
              </a:cxn>
              <a:cxn ang="0">
                <a:pos x="6" y="25"/>
              </a:cxn>
              <a:cxn ang="0">
                <a:pos x="22" y="32"/>
              </a:cxn>
              <a:cxn ang="0">
                <a:pos x="10" y="37"/>
              </a:cxn>
              <a:cxn ang="0">
                <a:pos x="11" y="35"/>
              </a:cxn>
              <a:cxn ang="0">
                <a:pos x="23" y="44"/>
              </a:cxn>
              <a:cxn ang="0">
                <a:pos x="24" y="46"/>
              </a:cxn>
              <a:cxn ang="0">
                <a:pos x="60" y="59"/>
              </a:cxn>
              <a:cxn ang="0">
                <a:pos x="48" y="57"/>
              </a:cxn>
              <a:cxn ang="0">
                <a:pos x="43" y="54"/>
              </a:cxn>
              <a:cxn ang="0">
                <a:pos x="38" y="56"/>
              </a:cxn>
              <a:cxn ang="0">
                <a:pos x="43" y="58"/>
              </a:cxn>
              <a:cxn ang="0">
                <a:pos x="111" y="60"/>
              </a:cxn>
              <a:cxn ang="0">
                <a:pos x="39" y="44"/>
              </a:cxn>
              <a:cxn ang="0">
                <a:pos x="15" y="40"/>
              </a:cxn>
              <a:cxn ang="0">
                <a:pos x="27" y="34"/>
              </a:cxn>
              <a:cxn ang="0">
                <a:pos x="3" y="27"/>
              </a:cxn>
              <a:cxn ang="0">
                <a:pos x="43" y="78"/>
              </a:cxn>
              <a:cxn ang="0">
                <a:pos x="42" y="79"/>
              </a:cxn>
              <a:cxn ang="0">
                <a:pos x="25" y="47"/>
              </a:cxn>
              <a:cxn ang="0">
                <a:pos x="45" y="51"/>
              </a:cxn>
              <a:cxn ang="0">
                <a:pos x="44" y="51"/>
              </a:cxn>
              <a:cxn ang="0">
                <a:pos x="40" y="10"/>
              </a:cxn>
              <a:cxn ang="0">
                <a:pos x="42" y="11"/>
              </a:cxn>
            </a:cxnLst>
            <a:rect l="0" t="0" r="r" b="b"/>
            <a:pathLst>
              <a:path w="111" h="80">
                <a:moveTo>
                  <a:pt x="19" y="46"/>
                </a:moveTo>
                <a:cubicBezTo>
                  <a:pt x="19" y="46"/>
                  <a:pt x="20" y="47"/>
                  <a:pt x="19" y="47"/>
                </a:cubicBezTo>
                <a:cubicBezTo>
                  <a:pt x="19" y="47"/>
                  <a:pt x="17" y="46"/>
                  <a:pt x="18" y="46"/>
                </a:cubicBezTo>
                <a:cubicBezTo>
                  <a:pt x="18" y="46"/>
                  <a:pt x="19" y="46"/>
                  <a:pt x="19" y="46"/>
                </a:cubicBezTo>
                <a:close/>
                <a:moveTo>
                  <a:pt x="16" y="41"/>
                </a:moveTo>
                <a:cubicBezTo>
                  <a:pt x="16" y="40"/>
                  <a:pt x="16" y="40"/>
                  <a:pt x="15" y="40"/>
                </a:cubicBezTo>
                <a:cubicBezTo>
                  <a:pt x="15" y="40"/>
                  <a:pt x="15" y="41"/>
                  <a:pt x="16" y="41"/>
                </a:cubicBezTo>
                <a:close/>
                <a:moveTo>
                  <a:pt x="69" y="42"/>
                </a:moveTo>
                <a:cubicBezTo>
                  <a:pt x="69" y="42"/>
                  <a:pt x="69" y="42"/>
                  <a:pt x="69" y="42"/>
                </a:cubicBezTo>
                <a:cubicBezTo>
                  <a:pt x="69" y="42"/>
                  <a:pt x="69" y="42"/>
                  <a:pt x="69" y="42"/>
                </a:cubicBezTo>
                <a:close/>
                <a:moveTo>
                  <a:pt x="40" y="43"/>
                </a:moveTo>
                <a:cubicBezTo>
                  <a:pt x="40" y="43"/>
                  <a:pt x="41" y="45"/>
                  <a:pt x="41" y="44"/>
                </a:cubicBezTo>
                <a:cubicBezTo>
                  <a:pt x="42" y="44"/>
                  <a:pt x="40" y="43"/>
                  <a:pt x="41" y="42"/>
                </a:cubicBezTo>
                <a:cubicBezTo>
                  <a:pt x="41" y="42"/>
                  <a:pt x="41" y="42"/>
                  <a:pt x="41" y="42"/>
                </a:cubicBezTo>
                <a:cubicBezTo>
                  <a:pt x="41" y="41"/>
                  <a:pt x="40" y="41"/>
                  <a:pt x="40" y="40"/>
                </a:cubicBezTo>
                <a:cubicBezTo>
                  <a:pt x="39" y="40"/>
                  <a:pt x="38" y="38"/>
                  <a:pt x="37" y="38"/>
                </a:cubicBezTo>
                <a:cubicBezTo>
                  <a:pt x="36" y="38"/>
                  <a:pt x="36" y="37"/>
                  <a:pt x="35" y="37"/>
                </a:cubicBezTo>
                <a:cubicBezTo>
                  <a:pt x="35" y="37"/>
                  <a:pt x="35" y="37"/>
                  <a:pt x="34" y="37"/>
                </a:cubicBezTo>
                <a:cubicBezTo>
                  <a:pt x="34" y="36"/>
                  <a:pt x="33" y="36"/>
                  <a:pt x="33" y="36"/>
                </a:cubicBezTo>
                <a:cubicBezTo>
                  <a:pt x="32" y="35"/>
                  <a:pt x="32" y="34"/>
                  <a:pt x="31" y="34"/>
                </a:cubicBezTo>
                <a:cubicBezTo>
                  <a:pt x="31" y="33"/>
                  <a:pt x="30" y="34"/>
                  <a:pt x="30" y="34"/>
                </a:cubicBezTo>
                <a:cubicBezTo>
                  <a:pt x="29" y="33"/>
                  <a:pt x="28" y="33"/>
                  <a:pt x="29" y="34"/>
                </a:cubicBezTo>
                <a:cubicBezTo>
                  <a:pt x="29" y="34"/>
                  <a:pt x="30" y="34"/>
                  <a:pt x="30" y="35"/>
                </a:cubicBezTo>
                <a:cubicBezTo>
                  <a:pt x="30" y="35"/>
                  <a:pt x="30" y="36"/>
                  <a:pt x="30" y="36"/>
                </a:cubicBezTo>
                <a:cubicBezTo>
                  <a:pt x="30" y="36"/>
                  <a:pt x="30" y="36"/>
                  <a:pt x="31" y="37"/>
                </a:cubicBezTo>
                <a:cubicBezTo>
                  <a:pt x="31" y="37"/>
                  <a:pt x="31" y="37"/>
                  <a:pt x="31" y="37"/>
                </a:cubicBezTo>
                <a:cubicBezTo>
                  <a:pt x="31" y="37"/>
                  <a:pt x="31" y="37"/>
                  <a:pt x="31" y="37"/>
                </a:cubicBezTo>
                <a:cubicBezTo>
                  <a:pt x="31" y="37"/>
                  <a:pt x="31" y="37"/>
                  <a:pt x="32" y="37"/>
                </a:cubicBezTo>
                <a:cubicBezTo>
                  <a:pt x="32" y="37"/>
                  <a:pt x="32" y="37"/>
                  <a:pt x="32" y="37"/>
                </a:cubicBezTo>
                <a:cubicBezTo>
                  <a:pt x="32" y="38"/>
                  <a:pt x="32" y="38"/>
                  <a:pt x="32" y="38"/>
                </a:cubicBezTo>
                <a:cubicBezTo>
                  <a:pt x="32" y="38"/>
                  <a:pt x="33" y="39"/>
                  <a:pt x="33" y="39"/>
                </a:cubicBezTo>
                <a:cubicBezTo>
                  <a:pt x="34" y="39"/>
                  <a:pt x="34" y="39"/>
                  <a:pt x="34" y="39"/>
                </a:cubicBezTo>
                <a:cubicBezTo>
                  <a:pt x="35" y="40"/>
                  <a:pt x="36" y="40"/>
                  <a:pt x="36" y="41"/>
                </a:cubicBezTo>
                <a:cubicBezTo>
                  <a:pt x="37" y="41"/>
                  <a:pt x="38" y="42"/>
                  <a:pt x="38" y="42"/>
                </a:cubicBezTo>
                <a:cubicBezTo>
                  <a:pt x="39" y="42"/>
                  <a:pt x="40" y="43"/>
                  <a:pt x="40" y="43"/>
                </a:cubicBezTo>
                <a:close/>
                <a:moveTo>
                  <a:pt x="22" y="44"/>
                </a:moveTo>
                <a:cubicBezTo>
                  <a:pt x="23" y="43"/>
                  <a:pt x="22" y="42"/>
                  <a:pt x="21" y="41"/>
                </a:cubicBezTo>
                <a:cubicBezTo>
                  <a:pt x="21" y="40"/>
                  <a:pt x="21" y="41"/>
                  <a:pt x="20" y="41"/>
                </a:cubicBezTo>
                <a:cubicBezTo>
                  <a:pt x="20" y="41"/>
                  <a:pt x="20" y="40"/>
                  <a:pt x="20" y="40"/>
                </a:cubicBezTo>
                <a:cubicBezTo>
                  <a:pt x="20" y="39"/>
                  <a:pt x="20" y="37"/>
                  <a:pt x="19" y="38"/>
                </a:cubicBezTo>
                <a:cubicBezTo>
                  <a:pt x="18" y="38"/>
                  <a:pt x="17" y="39"/>
                  <a:pt x="17" y="40"/>
                </a:cubicBezTo>
                <a:cubicBezTo>
                  <a:pt x="17" y="41"/>
                  <a:pt x="16" y="40"/>
                  <a:pt x="16" y="41"/>
                </a:cubicBezTo>
                <a:cubicBezTo>
                  <a:pt x="16" y="41"/>
                  <a:pt x="16" y="42"/>
                  <a:pt x="16" y="42"/>
                </a:cubicBezTo>
                <a:cubicBezTo>
                  <a:pt x="17" y="42"/>
                  <a:pt x="17" y="41"/>
                  <a:pt x="17" y="41"/>
                </a:cubicBezTo>
                <a:cubicBezTo>
                  <a:pt x="18" y="41"/>
                  <a:pt x="18" y="41"/>
                  <a:pt x="19" y="41"/>
                </a:cubicBezTo>
                <a:cubicBezTo>
                  <a:pt x="19" y="41"/>
                  <a:pt x="20" y="42"/>
                  <a:pt x="20" y="43"/>
                </a:cubicBezTo>
                <a:cubicBezTo>
                  <a:pt x="19" y="43"/>
                  <a:pt x="19" y="42"/>
                  <a:pt x="19" y="42"/>
                </a:cubicBezTo>
                <a:cubicBezTo>
                  <a:pt x="19" y="43"/>
                  <a:pt x="19" y="43"/>
                  <a:pt x="20" y="44"/>
                </a:cubicBezTo>
                <a:cubicBezTo>
                  <a:pt x="20" y="44"/>
                  <a:pt x="21" y="44"/>
                  <a:pt x="21" y="44"/>
                </a:cubicBezTo>
                <a:cubicBezTo>
                  <a:pt x="21" y="45"/>
                  <a:pt x="21" y="45"/>
                  <a:pt x="21" y="45"/>
                </a:cubicBezTo>
                <a:cubicBezTo>
                  <a:pt x="22" y="45"/>
                  <a:pt x="21" y="44"/>
                  <a:pt x="22" y="45"/>
                </a:cubicBezTo>
                <a:cubicBezTo>
                  <a:pt x="22" y="45"/>
                  <a:pt x="22" y="44"/>
                  <a:pt x="22" y="44"/>
                </a:cubicBezTo>
                <a:close/>
                <a:moveTo>
                  <a:pt x="17" y="43"/>
                </a:moveTo>
                <a:cubicBezTo>
                  <a:pt x="16" y="43"/>
                  <a:pt x="15" y="44"/>
                  <a:pt x="16" y="45"/>
                </a:cubicBezTo>
                <a:cubicBezTo>
                  <a:pt x="16" y="45"/>
                  <a:pt x="16" y="46"/>
                  <a:pt x="17" y="46"/>
                </a:cubicBezTo>
                <a:cubicBezTo>
                  <a:pt x="17" y="46"/>
                  <a:pt x="17" y="46"/>
                  <a:pt x="17" y="46"/>
                </a:cubicBezTo>
                <a:cubicBezTo>
                  <a:pt x="16" y="45"/>
                  <a:pt x="17" y="45"/>
                  <a:pt x="17" y="44"/>
                </a:cubicBezTo>
                <a:cubicBezTo>
                  <a:pt x="18" y="44"/>
                  <a:pt x="17" y="42"/>
                  <a:pt x="17" y="43"/>
                </a:cubicBezTo>
                <a:close/>
                <a:moveTo>
                  <a:pt x="40" y="51"/>
                </a:moveTo>
                <a:cubicBezTo>
                  <a:pt x="41" y="50"/>
                  <a:pt x="39" y="50"/>
                  <a:pt x="40" y="51"/>
                </a:cubicBezTo>
                <a:close/>
                <a:moveTo>
                  <a:pt x="1" y="31"/>
                </a:moveTo>
                <a:cubicBezTo>
                  <a:pt x="0" y="31"/>
                  <a:pt x="0" y="32"/>
                  <a:pt x="1" y="32"/>
                </a:cubicBezTo>
                <a:cubicBezTo>
                  <a:pt x="1" y="32"/>
                  <a:pt x="1" y="31"/>
                  <a:pt x="1" y="31"/>
                </a:cubicBezTo>
                <a:close/>
                <a:moveTo>
                  <a:pt x="15" y="30"/>
                </a:moveTo>
                <a:cubicBezTo>
                  <a:pt x="15" y="30"/>
                  <a:pt x="16" y="30"/>
                  <a:pt x="16" y="31"/>
                </a:cubicBezTo>
                <a:cubicBezTo>
                  <a:pt x="16" y="31"/>
                  <a:pt x="16" y="31"/>
                  <a:pt x="16" y="31"/>
                </a:cubicBezTo>
                <a:cubicBezTo>
                  <a:pt x="17" y="31"/>
                  <a:pt x="17" y="31"/>
                  <a:pt x="18" y="31"/>
                </a:cubicBezTo>
                <a:cubicBezTo>
                  <a:pt x="18" y="32"/>
                  <a:pt x="18" y="32"/>
                  <a:pt x="19" y="32"/>
                </a:cubicBezTo>
                <a:cubicBezTo>
                  <a:pt x="19" y="32"/>
                  <a:pt x="19" y="32"/>
                  <a:pt x="19" y="31"/>
                </a:cubicBezTo>
                <a:cubicBezTo>
                  <a:pt x="20" y="31"/>
                  <a:pt x="20" y="30"/>
                  <a:pt x="19" y="31"/>
                </a:cubicBezTo>
                <a:cubicBezTo>
                  <a:pt x="18" y="31"/>
                  <a:pt x="18" y="30"/>
                  <a:pt x="18" y="30"/>
                </a:cubicBezTo>
                <a:cubicBezTo>
                  <a:pt x="17" y="30"/>
                  <a:pt x="18" y="30"/>
                  <a:pt x="17" y="29"/>
                </a:cubicBezTo>
                <a:cubicBezTo>
                  <a:pt x="17" y="29"/>
                  <a:pt x="17" y="29"/>
                  <a:pt x="17" y="29"/>
                </a:cubicBezTo>
                <a:cubicBezTo>
                  <a:pt x="16" y="29"/>
                  <a:pt x="17" y="27"/>
                  <a:pt x="16" y="26"/>
                </a:cubicBezTo>
                <a:cubicBezTo>
                  <a:pt x="15" y="26"/>
                  <a:pt x="15" y="26"/>
                  <a:pt x="15" y="26"/>
                </a:cubicBezTo>
                <a:cubicBezTo>
                  <a:pt x="14" y="25"/>
                  <a:pt x="14" y="25"/>
                  <a:pt x="13" y="25"/>
                </a:cubicBezTo>
                <a:cubicBezTo>
                  <a:pt x="12" y="24"/>
                  <a:pt x="12" y="23"/>
                  <a:pt x="11" y="23"/>
                </a:cubicBezTo>
                <a:cubicBezTo>
                  <a:pt x="9" y="23"/>
                  <a:pt x="10" y="25"/>
                  <a:pt x="11" y="25"/>
                </a:cubicBezTo>
                <a:cubicBezTo>
                  <a:pt x="11" y="26"/>
                  <a:pt x="12" y="26"/>
                  <a:pt x="12" y="26"/>
                </a:cubicBezTo>
                <a:cubicBezTo>
                  <a:pt x="13" y="27"/>
                  <a:pt x="13" y="28"/>
                  <a:pt x="13" y="28"/>
                </a:cubicBezTo>
                <a:cubicBezTo>
                  <a:pt x="14" y="29"/>
                  <a:pt x="14" y="29"/>
                  <a:pt x="15" y="30"/>
                </a:cubicBezTo>
                <a:cubicBezTo>
                  <a:pt x="15" y="30"/>
                  <a:pt x="15" y="30"/>
                  <a:pt x="15" y="30"/>
                </a:cubicBezTo>
                <a:close/>
                <a:moveTo>
                  <a:pt x="37" y="74"/>
                </a:moveTo>
                <a:cubicBezTo>
                  <a:pt x="37" y="74"/>
                  <a:pt x="38" y="75"/>
                  <a:pt x="38" y="75"/>
                </a:cubicBezTo>
                <a:cubicBezTo>
                  <a:pt x="38" y="74"/>
                  <a:pt x="37" y="74"/>
                  <a:pt x="37" y="74"/>
                </a:cubicBezTo>
                <a:close/>
                <a:moveTo>
                  <a:pt x="55" y="55"/>
                </a:moveTo>
                <a:cubicBezTo>
                  <a:pt x="55" y="54"/>
                  <a:pt x="54" y="54"/>
                  <a:pt x="54" y="53"/>
                </a:cubicBezTo>
                <a:cubicBezTo>
                  <a:pt x="54" y="53"/>
                  <a:pt x="54" y="52"/>
                  <a:pt x="54" y="52"/>
                </a:cubicBezTo>
                <a:cubicBezTo>
                  <a:pt x="54" y="52"/>
                  <a:pt x="54" y="52"/>
                  <a:pt x="54" y="52"/>
                </a:cubicBezTo>
                <a:cubicBezTo>
                  <a:pt x="54" y="52"/>
                  <a:pt x="54" y="52"/>
                  <a:pt x="54" y="51"/>
                </a:cubicBezTo>
                <a:cubicBezTo>
                  <a:pt x="54" y="51"/>
                  <a:pt x="54" y="51"/>
                  <a:pt x="54" y="51"/>
                </a:cubicBezTo>
                <a:cubicBezTo>
                  <a:pt x="54" y="51"/>
                  <a:pt x="54" y="51"/>
                  <a:pt x="54" y="51"/>
                </a:cubicBezTo>
                <a:cubicBezTo>
                  <a:pt x="54" y="50"/>
                  <a:pt x="54" y="50"/>
                  <a:pt x="54" y="50"/>
                </a:cubicBezTo>
                <a:cubicBezTo>
                  <a:pt x="54" y="50"/>
                  <a:pt x="54" y="49"/>
                  <a:pt x="53" y="49"/>
                </a:cubicBezTo>
                <a:cubicBezTo>
                  <a:pt x="53" y="49"/>
                  <a:pt x="53" y="49"/>
                  <a:pt x="53" y="49"/>
                </a:cubicBezTo>
                <a:cubicBezTo>
                  <a:pt x="53" y="48"/>
                  <a:pt x="53" y="48"/>
                  <a:pt x="52" y="48"/>
                </a:cubicBezTo>
                <a:cubicBezTo>
                  <a:pt x="52" y="48"/>
                  <a:pt x="52" y="48"/>
                  <a:pt x="52" y="47"/>
                </a:cubicBezTo>
                <a:cubicBezTo>
                  <a:pt x="52" y="47"/>
                  <a:pt x="52" y="48"/>
                  <a:pt x="51" y="47"/>
                </a:cubicBezTo>
                <a:cubicBezTo>
                  <a:pt x="51" y="47"/>
                  <a:pt x="51" y="47"/>
                  <a:pt x="52" y="46"/>
                </a:cubicBezTo>
                <a:cubicBezTo>
                  <a:pt x="52" y="46"/>
                  <a:pt x="52" y="45"/>
                  <a:pt x="52" y="45"/>
                </a:cubicBezTo>
                <a:cubicBezTo>
                  <a:pt x="52" y="44"/>
                  <a:pt x="52" y="44"/>
                  <a:pt x="51" y="44"/>
                </a:cubicBezTo>
                <a:cubicBezTo>
                  <a:pt x="51" y="44"/>
                  <a:pt x="51" y="43"/>
                  <a:pt x="51" y="43"/>
                </a:cubicBezTo>
                <a:cubicBezTo>
                  <a:pt x="51" y="43"/>
                  <a:pt x="50" y="41"/>
                  <a:pt x="50" y="42"/>
                </a:cubicBezTo>
                <a:cubicBezTo>
                  <a:pt x="50" y="42"/>
                  <a:pt x="50" y="42"/>
                  <a:pt x="49" y="42"/>
                </a:cubicBezTo>
                <a:cubicBezTo>
                  <a:pt x="49" y="42"/>
                  <a:pt x="48" y="42"/>
                  <a:pt x="48" y="42"/>
                </a:cubicBezTo>
                <a:cubicBezTo>
                  <a:pt x="48" y="43"/>
                  <a:pt x="50" y="44"/>
                  <a:pt x="49" y="44"/>
                </a:cubicBezTo>
                <a:cubicBezTo>
                  <a:pt x="49" y="45"/>
                  <a:pt x="49" y="45"/>
                  <a:pt x="49" y="45"/>
                </a:cubicBezTo>
                <a:cubicBezTo>
                  <a:pt x="49" y="46"/>
                  <a:pt x="49" y="46"/>
                  <a:pt x="49" y="47"/>
                </a:cubicBezTo>
                <a:cubicBezTo>
                  <a:pt x="49" y="47"/>
                  <a:pt x="49" y="48"/>
                  <a:pt x="49" y="48"/>
                </a:cubicBezTo>
                <a:cubicBezTo>
                  <a:pt x="50" y="48"/>
                  <a:pt x="50" y="49"/>
                  <a:pt x="50" y="49"/>
                </a:cubicBezTo>
                <a:cubicBezTo>
                  <a:pt x="50" y="50"/>
                  <a:pt x="50" y="50"/>
                  <a:pt x="50" y="51"/>
                </a:cubicBezTo>
                <a:cubicBezTo>
                  <a:pt x="50" y="51"/>
                  <a:pt x="51" y="51"/>
                  <a:pt x="51" y="51"/>
                </a:cubicBezTo>
                <a:cubicBezTo>
                  <a:pt x="51" y="52"/>
                  <a:pt x="51" y="52"/>
                  <a:pt x="51" y="52"/>
                </a:cubicBezTo>
                <a:cubicBezTo>
                  <a:pt x="51" y="52"/>
                  <a:pt x="52" y="52"/>
                  <a:pt x="52" y="52"/>
                </a:cubicBezTo>
                <a:cubicBezTo>
                  <a:pt x="52" y="52"/>
                  <a:pt x="52" y="53"/>
                  <a:pt x="52" y="53"/>
                </a:cubicBezTo>
                <a:cubicBezTo>
                  <a:pt x="53" y="53"/>
                  <a:pt x="53" y="55"/>
                  <a:pt x="54" y="56"/>
                </a:cubicBezTo>
                <a:cubicBezTo>
                  <a:pt x="55" y="57"/>
                  <a:pt x="55" y="55"/>
                  <a:pt x="55" y="55"/>
                </a:cubicBezTo>
                <a:close/>
                <a:moveTo>
                  <a:pt x="62" y="68"/>
                </a:moveTo>
                <a:cubicBezTo>
                  <a:pt x="62" y="68"/>
                  <a:pt x="62" y="68"/>
                  <a:pt x="62" y="67"/>
                </a:cubicBezTo>
                <a:cubicBezTo>
                  <a:pt x="62" y="67"/>
                  <a:pt x="61" y="67"/>
                  <a:pt x="61" y="66"/>
                </a:cubicBezTo>
                <a:cubicBezTo>
                  <a:pt x="61" y="66"/>
                  <a:pt x="61" y="65"/>
                  <a:pt x="61" y="65"/>
                </a:cubicBezTo>
                <a:cubicBezTo>
                  <a:pt x="60" y="65"/>
                  <a:pt x="60" y="66"/>
                  <a:pt x="60" y="65"/>
                </a:cubicBezTo>
                <a:cubicBezTo>
                  <a:pt x="59" y="65"/>
                  <a:pt x="59" y="65"/>
                  <a:pt x="59" y="65"/>
                </a:cubicBezTo>
                <a:cubicBezTo>
                  <a:pt x="59" y="65"/>
                  <a:pt x="58" y="65"/>
                  <a:pt x="58" y="65"/>
                </a:cubicBezTo>
                <a:cubicBezTo>
                  <a:pt x="58" y="65"/>
                  <a:pt x="57" y="65"/>
                  <a:pt x="57" y="64"/>
                </a:cubicBezTo>
                <a:cubicBezTo>
                  <a:pt x="56" y="64"/>
                  <a:pt x="56" y="63"/>
                  <a:pt x="54" y="63"/>
                </a:cubicBezTo>
                <a:cubicBezTo>
                  <a:pt x="53" y="62"/>
                  <a:pt x="53" y="62"/>
                  <a:pt x="53" y="63"/>
                </a:cubicBezTo>
                <a:cubicBezTo>
                  <a:pt x="53" y="64"/>
                  <a:pt x="54" y="64"/>
                  <a:pt x="55" y="64"/>
                </a:cubicBezTo>
                <a:cubicBezTo>
                  <a:pt x="55" y="64"/>
                  <a:pt x="55" y="65"/>
                  <a:pt x="55" y="65"/>
                </a:cubicBezTo>
                <a:cubicBezTo>
                  <a:pt x="55" y="65"/>
                  <a:pt x="55" y="66"/>
                  <a:pt x="55" y="66"/>
                </a:cubicBezTo>
                <a:cubicBezTo>
                  <a:pt x="55" y="66"/>
                  <a:pt x="56" y="67"/>
                  <a:pt x="56" y="67"/>
                </a:cubicBezTo>
                <a:cubicBezTo>
                  <a:pt x="56" y="67"/>
                  <a:pt x="57" y="68"/>
                  <a:pt x="58" y="68"/>
                </a:cubicBezTo>
                <a:cubicBezTo>
                  <a:pt x="58" y="68"/>
                  <a:pt x="58" y="68"/>
                  <a:pt x="58" y="68"/>
                </a:cubicBezTo>
                <a:cubicBezTo>
                  <a:pt x="58" y="69"/>
                  <a:pt x="59" y="69"/>
                  <a:pt x="59" y="69"/>
                </a:cubicBezTo>
                <a:cubicBezTo>
                  <a:pt x="59" y="69"/>
                  <a:pt x="60" y="69"/>
                  <a:pt x="60" y="69"/>
                </a:cubicBezTo>
                <a:cubicBezTo>
                  <a:pt x="61" y="69"/>
                  <a:pt x="61" y="69"/>
                  <a:pt x="62" y="69"/>
                </a:cubicBezTo>
                <a:cubicBezTo>
                  <a:pt x="62" y="69"/>
                  <a:pt x="62" y="69"/>
                  <a:pt x="63" y="69"/>
                </a:cubicBezTo>
                <a:cubicBezTo>
                  <a:pt x="63" y="69"/>
                  <a:pt x="61" y="70"/>
                  <a:pt x="62" y="68"/>
                </a:cubicBezTo>
                <a:close/>
                <a:moveTo>
                  <a:pt x="43" y="50"/>
                </a:moveTo>
                <a:cubicBezTo>
                  <a:pt x="43" y="50"/>
                  <a:pt x="43" y="50"/>
                  <a:pt x="43" y="50"/>
                </a:cubicBezTo>
                <a:cubicBezTo>
                  <a:pt x="43" y="50"/>
                  <a:pt x="43" y="50"/>
                  <a:pt x="43" y="50"/>
                </a:cubicBezTo>
                <a:close/>
                <a:moveTo>
                  <a:pt x="33" y="49"/>
                </a:moveTo>
                <a:cubicBezTo>
                  <a:pt x="34" y="50"/>
                  <a:pt x="32" y="50"/>
                  <a:pt x="33" y="50"/>
                </a:cubicBezTo>
                <a:cubicBezTo>
                  <a:pt x="33" y="50"/>
                  <a:pt x="35" y="49"/>
                  <a:pt x="34" y="49"/>
                </a:cubicBezTo>
                <a:cubicBezTo>
                  <a:pt x="34" y="49"/>
                  <a:pt x="34" y="49"/>
                  <a:pt x="33" y="49"/>
                </a:cubicBezTo>
                <a:close/>
                <a:moveTo>
                  <a:pt x="10" y="38"/>
                </a:moveTo>
                <a:cubicBezTo>
                  <a:pt x="9" y="38"/>
                  <a:pt x="10" y="40"/>
                  <a:pt x="10" y="40"/>
                </a:cubicBezTo>
                <a:cubicBezTo>
                  <a:pt x="10" y="40"/>
                  <a:pt x="11" y="38"/>
                  <a:pt x="10" y="38"/>
                </a:cubicBezTo>
                <a:close/>
                <a:moveTo>
                  <a:pt x="55" y="55"/>
                </a:moveTo>
                <a:cubicBezTo>
                  <a:pt x="55" y="55"/>
                  <a:pt x="55" y="56"/>
                  <a:pt x="55" y="57"/>
                </a:cubicBezTo>
                <a:cubicBezTo>
                  <a:pt x="55" y="58"/>
                  <a:pt x="55" y="57"/>
                  <a:pt x="56" y="57"/>
                </a:cubicBezTo>
                <a:cubicBezTo>
                  <a:pt x="56" y="57"/>
                  <a:pt x="56" y="58"/>
                  <a:pt x="56" y="58"/>
                </a:cubicBezTo>
                <a:cubicBezTo>
                  <a:pt x="57" y="57"/>
                  <a:pt x="55" y="54"/>
                  <a:pt x="55" y="53"/>
                </a:cubicBezTo>
                <a:cubicBezTo>
                  <a:pt x="55" y="54"/>
                  <a:pt x="55" y="54"/>
                  <a:pt x="55" y="55"/>
                </a:cubicBezTo>
                <a:close/>
                <a:moveTo>
                  <a:pt x="6" y="25"/>
                </a:moveTo>
                <a:cubicBezTo>
                  <a:pt x="6" y="25"/>
                  <a:pt x="5" y="25"/>
                  <a:pt x="6" y="25"/>
                </a:cubicBezTo>
                <a:close/>
                <a:moveTo>
                  <a:pt x="22" y="32"/>
                </a:moveTo>
                <a:cubicBezTo>
                  <a:pt x="22" y="32"/>
                  <a:pt x="22" y="32"/>
                  <a:pt x="22" y="32"/>
                </a:cubicBezTo>
                <a:cubicBezTo>
                  <a:pt x="21" y="31"/>
                  <a:pt x="21" y="32"/>
                  <a:pt x="21" y="32"/>
                </a:cubicBezTo>
                <a:cubicBezTo>
                  <a:pt x="22" y="32"/>
                  <a:pt x="22" y="33"/>
                  <a:pt x="22" y="32"/>
                </a:cubicBezTo>
                <a:close/>
                <a:moveTo>
                  <a:pt x="11" y="35"/>
                </a:moveTo>
                <a:cubicBezTo>
                  <a:pt x="11" y="34"/>
                  <a:pt x="11" y="34"/>
                  <a:pt x="11" y="34"/>
                </a:cubicBezTo>
                <a:cubicBezTo>
                  <a:pt x="10" y="33"/>
                  <a:pt x="9" y="34"/>
                  <a:pt x="10" y="35"/>
                </a:cubicBezTo>
                <a:cubicBezTo>
                  <a:pt x="10" y="35"/>
                  <a:pt x="10" y="36"/>
                  <a:pt x="10" y="36"/>
                </a:cubicBezTo>
                <a:cubicBezTo>
                  <a:pt x="10" y="36"/>
                  <a:pt x="10" y="36"/>
                  <a:pt x="10" y="37"/>
                </a:cubicBezTo>
                <a:cubicBezTo>
                  <a:pt x="11" y="37"/>
                  <a:pt x="11" y="37"/>
                  <a:pt x="11" y="37"/>
                </a:cubicBezTo>
                <a:cubicBezTo>
                  <a:pt x="11" y="37"/>
                  <a:pt x="11" y="37"/>
                  <a:pt x="11" y="38"/>
                </a:cubicBezTo>
                <a:cubicBezTo>
                  <a:pt x="11" y="37"/>
                  <a:pt x="11" y="37"/>
                  <a:pt x="12" y="36"/>
                </a:cubicBezTo>
                <a:cubicBezTo>
                  <a:pt x="12" y="36"/>
                  <a:pt x="12" y="36"/>
                  <a:pt x="12" y="35"/>
                </a:cubicBezTo>
                <a:cubicBezTo>
                  <a:pt x="13" y="35"/>
                  <a:pt x="12" y="35"/>
                  <a:pt x="11" y="35"/>
                </a:cubicBezTo>
                <a:close/>
                <a:moveTo>
                  <a:pt x="27" y="32"/>
                </a:moveTo>
                <a:cubicBezTo>
                  <a:pt x="27" y="33"/>
                  <a:pt x="28" y="33"/>
                  <a:pt x="28" y="33"/>
                </a:cubicBezTo>
                <a:cubicBezTo>
                  <a:pt x="29" y="32"/>
                  <a:pt x="27" y="33"/>
                  <a:pt x="27" y="32"/>
                </a:cubicBezTo>
                <a:close/>
                <a:moveTo>
                  <a:pt x="24" y="44"/>
                </a:moveTo>
                <a:cubicBezTo>
                  <a:pt x="24" y="44"/>
                  <a:pt x="23" y="44"/>
                  <a:pt x="23" y="44"/>
                </a:cubicBezTo>
                <a:cubicBezTo>
                  <a:pt x="23" y="44"/>
                  <a:pt x="23" y="44"/>
                  <a:pt x="23" y="44"/>
                </a:cubicBezTo>
                <a:cubicBezTo>
                  <a:pt x="23" y="44"/>
                  <a:pt x="23" y="44"/>
                  <a:pt x="23" y="44"/>
                </a:cubicBezTo>
                <a:cubicBezTo>
                  <a:pt x="22" y="45"/>
                  <a:pt x="22" y="44"/>
                  <a:pt x="22" y="45"/>
                </a:cubicBezTo>
                <a:cubicBezTo>
                  <a:pt x="22" y="46"/>
                  <a:pt x="22" y="46"/>
                  <a:pt x="23" y="47"/>
                </a:cubicBezTo>
                <a:cubicBezTo>
                  <a:pt x="23" y="47"/>
                  <a:pt x="24" y="46"/>
                  <a:pt x="24" y="46"/>
                </a:cubicBezTo>
                <a:cubicBezTo>
                  <a:pt x="24" y="46"/>
                  <a:pt x="24" y="45"/>
                  <a:pt x="24" y="45"/>
                </a:cubicBezTo>
                <a:cubicBezTo>
                  <a:pt x="24" y="45"/>
                  <a:pt x="24" y="45"/>
                  <a:pt x="24" y="45"/>
                </a:cubicBezTo>
                <a:cubicBezTo>
                  <a:pt x="24" y="45"/>
                  <a:pt x="25" y="44"/>
                  <a:pt x="24" y="44"/>
                </a:cubicBezTo>
                <a:close/>
                <a:moveTo>
                  <a:pt x="60" y="57"/>
                </a:moveTo>
                <a:cubicBezTo>
                  <a:pt x="60" y="57"/>
                  <a:pt x="60" y="58"/>
                  <a:pt x="60" y="59"/>
                </a:cubicBezTo>
                <a:cubicBezTo>
                  <a:pt x="61" y="58"/>
                  <a:pt x="60" y="57"/>
                  <a:pt x="60" y="57"/>
                </a:cubicBezTo>
                <a:close/>
                <a:moveTo>
                  <a:pt x="110" y="59"/>
                </a:moveTo>
                <a:cubicBezTo>
                  <a:pt x="110" y="59"/>
                  <a:pt x="110" y="59"/>
                  <a:pt x="110" y="59"/>
                </a:cubicBezTo>
                <a:cubicBezTo>
                  <a:pt x="110" y="59"/>
                  <a:pt x="110" y="59"/>
                  <a:pt x="110" y="59"/>
                </a:cubicBezTo>
                <a:close/>
                <a:moveTo>
                  <a:pt x="48" y="57"/>
                </a:moveTo>
                <a:cubicBezTo>
                  <a:pt x="48" y="56"/>
                  <a:pt x="48" y="56"/>
                  <a:pt x="47" y="55"/>
                </a:cubicBezTo>
                <a:cubicBezTo>
                  <a:pt x="47" y="55"/>
                  <a:pt x="46" y="55"/>
                  <a:pt x="46" y="55"/>
                </a:cubicBezTo>
                <a:cubicBezTo>
                  <a:pt x="46" y="55"/>
                  <a:pt x="46" y="55"/>
                  <a:pt x="46" y="54"/>
                </a:cubicBezTo>
                <a:cubicBezTo>
                  <a:pt x="46" y="54"/>
                  <a:pt x="46" y="54"/>
                  <a:pt x="45" y="54"/>
                </a:cubicBezTo>
                <a:cubicBezTo>
                  <a:pt x="45" y="54"/>
                  <a:pt x="44" y="54"/>
                  <a:pt x="43" y="54"/>
                </a:cubicBezTo>
                <a:cubicBezTo>
                  <a:pt x="43" y="54"/>
                  <a:pt x="42" y="54"/>
                  <a:pt x="41" y="54"/>
                </a:cubicBezTo>
                <a:cubicBezTo>
                  <a:pt x="41" y="54"/>
                  <a:pt x="40" y="53"/>
                  <a:pt x="40" y="53"/>
                </a:cubicBezTo>
                <a:cubicBezTo>
                  <a:pt x="39" y="52"/>
                  <a:pt x="38" y="52"/>
                  <a:pt x="38" y="53"/>
                </a:cubicBezTo>
                <a:cubicBezTo>
                  <a:pt x="38" y="54"/>
                  <a:pt x="38" y="55"/>
                  <a:pt x="38" y="55"/>
                </a:cubicBezTo>
                <a:cubicBezTo>
                  <a:pt x="38" y="55"/>
                  <a:pt x="38" y="56"/>
                  <a:pt x="38" y="56"/>
                </a:cubicBezTo>
                <a:cubicBezTo>
                  <a:pt x="38" y="56"/>
                  <a:pt x="38" y="57"/>
                  <a:pt x="39" y="57"/>
                </a:cubicBezTo>
                <a:cubicBezTo>
                  <a:pt x="39" y="57"/>
                  <a:pt x="39" y="58"/>
                  <a:pt x="40" y="58"/>
                </a:cubicBezTo>
                <a:cubicBezTo>
                  <a:pt x="40" y="58"/>
                  <a:pt x="40" y="58"/>
                  <a:pt x="40" y="58"/>
                </a:cubicBezTo>
                <a:cubicBezTo>
                  <a:pt x="41" y="58"/>
                  <a:pt x="42" y="58"/>
                  <a:pt x="43" y="58"/>
                </a:cubicBezTo>
                <a:cubicBezTo>
                  <a:pt x="43" y="58"/>
                  <a:pt x="43" y="58"/>
                  <a:pt x="43" y="58"/>
                </a:cubicBezTo>
                <a:cubicBezTo>
                  <a:pt x="44" y="58"/>
                  <a:pt x="44" y="58"/>
                  <a:pt x="45" y="59"/>
                </a:cubicBezTo>
                <a:cubicBezTo>
                  <a:pt x="46" y="59"/>
                  <a:pt x="47" y="59"/>
                  <a:pt x="47" y="60"/>
                </a:cubicBezTo>
                <a:cubicBezTo>
                  <a:pt x="48" y="59"/>
                  <a:pt x="49" y="59"/>
                  <a:pt x="49" y="58"/>
                </a:cubicBezTo>
                <a:cubicBezTo>
                  <a:pt x="49" y="57"/>
                  <a:pt x="48" y="57"/>
                  <a:pt x="48" y="57"/>
                </a:cubicBezTo>
                <a:close/>
                <a:moveTo>
                  <a:pt x="111" y="60"/>
                </a:moveTo>
                <a:cubicBezTo>
                  <a:pt x="111" y="60"/>
                  <a:pt x="111" y="60"/>
                  <a:pt x="111" y="60"/>
                </a:cubicBezTo>
                <a:cubicBezTo>
                  <a:pt x="111" y="60"/>
                  <a:pt x="111" y="60"/>
                  <a:pt x="111" y="60"/>
                </a:cubicBezTo>
                <a:close/>
                <a:moveTo>
                  <a:pt x="39" y="42"/>
                </a:moveTo>
                <a:cubicBezTo>
                  <a:pt x="38" y="42"/>
                  <a:pt x="38" y="43"/>
                  <a:pt x="38" y="43"/>
                </a:cubicBezTo>
                <a:cubicBezTo>
                  <a:pt x="39" y="44"/>
                  <a:pt x="39" y="44"/>
                  <a:pt x="39" y="44"/>
                </a:cubicBezTo>
                <a:cubicBezTo>
                  <a:pt x="40" y="44"/>
                  <a:pt x="39" y="44"/>
                  <a:pt x="39" y="43"/>
                </a:cubicBezTo>
                <a:cubicBezTo>
                  <a:pt x="39" y="43"/>
                  <a:pt x="39" y="42"/>
                  <a:pt x="39" y="42"/>
                </a:cubicBezTo>
                <a:close/>
                <a:moveTo>
                  <a:pt x="15" y="37"/>
                </a:moveTo>
                <a:cubicBezTo>
                  <a:pt x="14" y="36"/>
                  <a:pt x="13" y="38"/>
                  <a:pt x="14" y="38"/>
                </a:cubicBezTo>
                <a:cubicBezTo>
                  <a:pt x="14" y="39"/>
                  <a:pt x="15" y="39"/>
                  <a:pt x="15" y="40"/>
                </a:cubicBezTo>
                <a:cubicBezTo>
                  <a:pt x="16" y="39"/>
                  <a:pt x="16" y="37"/>
                  <a:pt x="15" y="37"/>
                </a:cubicBezTo>
                <a:close/>
                <a:moveTo>
                  <a:pt x="27" y="34"/>
                </a:moveTo>
                <a:cubicBezTo>
                  <a:pt x="27" y="34"/>
                  <a:pt x="28" y="35"/>
                  <a:pt x="28" y="34"/>
                </a:cubicBezTo>
                <a:cubicBezTo>
                  <a:pt x="28" y="34"/>
                  <a:pt x="29" y="34"/>
                  <a:pt x="29" y="34"/>
                </a:cubicBezTo>
                <a:cubicBezTo>
                  <a:pt x="29" y="34"/>
                  <a:pt x="28" y="34"/>
                  <a:pt x="27" y="34"/>
                </a:cubicBezTo>
                <a:close/>
                <a:moveTo>
                  <a:pt x="3" y="27"/>
                </a:moveTo>
                <a:cubicBezTo>
                  <a:pt x="2" y="27"/>
                  <a:pt x="3" y="27"/>
                  <a:pt x="2" y="28"/>
                </a:cubicBezTo>
                <a:cubicBezTo>
                  <a:pt x="2" y="28"/>
                  <a:pt x="2" y="28"/>
                  <a:pt x="3" y="29"/>
                </a:cubicBezTo>
                <a:cubicBezTo>
                  <a:pt x="3" y="28"/>
                  <a:pt x="4" y="28"/>
                  <a:pt x="4" y="28"/>
                </a:cubicBezTo>
                <a:cubicBezTo>
                  <a:pt x="4" y="27"/>
                  <a:pt x="3" y="27"/>
                  <a:pt x="3" y="27"/>
                </a:cubicBezTo>
                <a:close/>
                <a:moveTo>
                  <a:pt x="14" y="40"/>
                </a:moveTo>
                <a:cubicBezTo>
                  <a:pt x="14" y="41"/>
                  <a:pt x="15" y="42"/>
                  <a:pt x="15" y="42"/>
                </a:cubicBezTo>
                <a:cubicBezTo>
                  <a:pt x="15" y="42"/>
                  <a:pt x="15" y="41"/>
                  <a:pt x="15" y="41"/>
                </a:cubicBezTo>
                <a:cubicBezTo>
                  <a:pt x="15" y="41"/>
                  <a:pt x="14" y="40"/>
                  <a:pt x="14" y="40"/>
                </a:cubicBezTo>
                <a:close/>
                <a:moveTo>
                  <a:pt x="43" y="78"/>
                </a:moveTo>
                <a:cubicBezTo>
                  <a:pt x="42" y="78"/>
                  <a:pt x="41" y="78"/>
                  <a:pt x="40" y="77"/>
                </a:cubicBezTo>
                <a:cubicBezTo>
                  <a:pt x="40" y="77"/>
                  <a:pt x="39" y="76"/>
                  <a:pt x="39" y="77"/>
                </a:cubicBezTo>
                <a:cubicBezTo>
                  <a:pt x="39" y="78"/>
                  <a:pt x="39" y="78"/>
                  <a:pt x="40" y="78"/>
                </a:cubicBezTo>
                <a:cubicBezTo>
                  <a:pt x="40" y="79"/>
                  <a:pt x="41" y="78"/>
                  <a:pt x="41" y="78"/>
                </a:cubicBezTo>
                <a:cubicBezTo>
                  <a:pt x="42" y="79"/>
                  <a:pt x="41" y="79"/>
                  <a:pt x="42" y="79"/>
                </a:cubicBezTo>
                <a:cubicBezTo>
                  <a:pt x="42" y="79"/>
                  <a:pt x="42" y="79"/>
                  <a:pt x="42" y="79"/>
                </a:cubicBezTo>
                <a:cubicBezTo>
                  <a:pt x="43" y="80"/>
                  <a:pt x="43" y="80"/>
                  <a:pt x="43" y="80"/>
                </a:cubicBezTo>
                <a:cubicBezTo>
                  <a:pt x="43" y="80"/>
                  <a:pt x="44" y="80"/>
                  <a:pt x="44" y="80"/>
                </a:cubicBezTo>
                <a:cubicBezTo>
                  <a:pt x="44" y="79"/>
                  <a:pt x="43" y="79"/>
                  <a:pt x="43" y="78"/>
                </a:cubicBezTo>
                <a:close/>
                <a:moveTo>
                  <a:pt x="25" y="47"/>
                </a:moveTo>
                <a:cubicBezTo>
                  <a:pt x="26" y="47"/>
                  <a:pt x="25" y="47"/>
                  <a:pt x="25" y="46"/>
                </a:cubicBezTo>
                <a:cubicBezTo>
                  <a:pt x="25" y="46"/>
                  <a:pt x="24" y="47"/>
                  <a:pt x="25" y="47"/>
                </a:cubicBezTo>
                <a:close/>
                <a:moveTo>
                  <a:pt x="44" y="51"/>
                </a:moveTo>
                <a:cubicBezTo>
                  <a:pt x="44" y="51"/>
                  <a:pt x="44" y="51"/>
                  <a:pt x="44" y="51"/>
                </a:cubicBezTo>
                <a:cubicBezTo>
                  <a:pt x="44" y="51"/>
                  <a:pt x="45" y="51"/>
                  <a:pt x="45" y="51"/>
                </a:cubicBezTo>
                <a:cubicBezTo>
                  <a:pt x="45" y="51"/>
                  <a:pt x="45" y="51"/>
                  <a:pt x="45" y="51"/>
                </a:cubicBezTo>
                <a:cubicBezTo>
                  <a:pt x="46" y="51"/>
                  <a:pt x="46" y="51"/>
                  <a:pt x="46" y="50"/>
                </a:cubicBezTo>
                <a:cubicBezTo>
                  <a:pt x="45" y="50"/>
                  <a:pt x="45" y="50"/>
                  <a:pt x="45" y="50"/>
                </a:cubicBezTo>
                <a:cubicBezTo>
                  <a:pt x="45" y="50"/>
                  <a:pt x="44" y="51"/>
                  <a:pt x="44" y="51"/>
                </a:cubicBezTo>
                <a:close/>
                <a:moveTo>
                  <a:pt x="44" y="51"/>
                </a:moveTo>
                <a:cubicBezTo>
                  <a:pt x="46" y="50"/>
                  <a:pt x="44" y="49"/>
                  <a:pt x="44" y="49"/>
                </a:cubicBezTo>
                <a:cubicBezTo>
                  <a:pt x="43" y="49"/>
                  <a:pt x="43" y="50"/>
                  <a:pt x="43" y="50"/>
                </a:cubicBezTo>
                <a:cubicBezTo>
                  <a:pt x="43" y="50"/>
                  <a:pt x="44" y="50"/>
                  <a:pt x="44" y="50"/>
                </a:cubicBezTo>
                <a:cubicBezTo>
                  <a:pt x="44" y="50"/>
                  <a:pt x="44" y="50"/>
                  <a:pt x="44" y="51"/>
                </a:cubicBezTo>
                <a:close/>
                <a:moveTo>
                  <a:pt x="40" y="10"/>
                </a:moveTo>
                <a:cubicBezTo>
                  <a:pt x="40" y="10"/>
                  <a:pt x="41" y="11"/>
                  <a:pt x="41" y="11"/>
                </a:cubicBezTo>
                <a:cubicBezTo>
                  <a:pt x="41" y="11"/>
                  <a:pt x="41" y="10"/>
                  <a:pt x="40" y="10"/>
                </a:cubicBezTo>
                <a:close/>
                <a:moveTo>
                  <a:pt x="42" y="11"/>
                </a:moveTo>
                <a:cubicBezTo>
                  <a:pt x="42" y="11"/>
                  <a:pt x="43" y="11"/>
                  <a:pt x="43" y="11"/>
                </a:cubicBezTo>
                <a:cubicBezTo>
                  <a:pt x="42" y="11"/>
                  <a:pt x="42" y="11"/>
                  <a:pt x="42" y="11"/>
                </a:cubicBezTo>
                <a:close/>
                <a:moveTo>
                  <a:pt x="41" y="1"/>
                </a:moveTo>
                <a:cubicBezTo>
                  <a:pt x="41" y="0"/>
                  <a:pt x="41" y="0"/>
                  <a:pt x="41" y="0"/>
                </a:cubicBezTo>
                <a:cubicBezTo>
                  <a:pt x="41" y="0"/>
                  <a:pt x="41" y="0"/>
                  <a:pt x="41"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49" name="Slovenia"/>
          <p:cNvSpPr>
            <a:spLocks/>
          </p:cNvSpPr>
          <p:nvPr/>
        </p:nvSpPr>
        <p:spPr bwMode="auto">
          <a:xfrm>
            <a:off x="6251066" y="2805007"/>
            <a:ext cx="96996" cy="57998"/>
          </a:xfrm>
          <a:custGeom>
            <a:avLst/>
            <a:gdLst/>
            <a:ahLst/>
            <a:cxnLst>
              <a:cxn ang="0">
                <a:pos x="26" y="4"/>
              </a:cxn>
              <a:cxn ang="0">
                <a:pos x="26" y="2"/>
              </a:cxn>
              <a:cxn ang="0">
                <a:pos x="25" y="0"/>
              </a:cxn>
              <a:cxn ang="0">
                <a:pos x="22" y="1"/>
              </a:cxn>
              <a:cxn ang="0">
                <a:pos x="21" y="2"/>
              </a:cxn>
              <a:cxn ang="0">
                <a:pos x="18" y="3"/>
              </a:cxn>
              <a:cxn ang="0">
                <a:pos x="16" y="3"/>
              </a:cxn>
              <a:cxn ang="0">
                <a:pos x="12" y="4"/>
              </a:cxn>
              <a:cxn ang="0">
                <a:pos x="8" y="5"/>
              </a:cxn>
              <a:cxn ang="0">
                <a:pos x="5" y="4"/>
              </a:cxn>
              <a:cxn ang="0">
                <a:pos x="1" y="5"/>
              </a:cxn>
              <a:cxn ang="0">
                <a:pos x="0" y="7"/>
              </a:cxn>
              <a:cxn ang="0">
                <a:pos x="1" y="7"/>
              </a:cxn>
              <a:cxn ang="0">
                <a:pos x="1" y="9"/>
              </a:cxn>
              <a:cxn ang="0">
                <a:pos x="2" y="12"/>
              </a:cxn>
              <a:cxn ang="0">
                <a:pos x="4" y="13"/>
              </a:cxn>
              <a:cxn ang="0">
                <a:pos x="3" y="14"/>
              </a:cxn>
              <a:cxn ang="0">
                <a:pos x="2" y="16"/>
              </a:cxn>
              <a:cxn ang="0">
                <a:pos x="5" y="16"/>
              </a:cxn>
              <a:cxn ang="0">
                <a:pos x="7" y="15"/>
              </a:cxn>
              <a:cxn ang="0">
                <a:pos x="10" y="14"/>
              </a:cxn>
              <a:cxn ang="0">
                <a:pos x="11" y="15"/>
              </a:cxn>
              <a:cxn ang="0">
                <a:pos x="15" y="15"/>
              </a:cxn>
              <a:cxn ang="0">
                <a:pos x="17" y="15"/>
              </a:cxn>
              <a:cxn ang="0">
                <a:pos x="17" y="14"/>
              </a:cxn>
              <a:cxn ang="0">
                <a:pos x="16" y="13"/>
              </a:cxn>
              <a:cxn ang="0">
                <a:pos x="19" y="12"/>
              </a:cxn>
              <a:cxn ang="0">
                <a:pos x="20" y="9"/>
              </a:cxn>
              <a:cxn ang="0">
                <a:pos x="20" y="7"/>
              </a:cxn>
              <a:cxn ang="0">
                <a:pos x="22" y="7"/>
              </a:cxn>
              <a:cxn ang="0">
                <a:pos x="24" y="5"/>
              </a:cxn>
              <a:cxn ang="0">
                <a:pos x="24" y="5"/>
              </a:cxn>
            </a:cxnLst>
            <a:rect l="0" t="0" r="r" b="b"/>
            <a:pathLst>
              <a:path w="27" h="16">
                <a:moveTo>
                  <a:pt x="27" y="5"/>
                </a:moveTo>
                <a:cubicBezTo>
                  <a:pt x="27" y="4"/>
                  <a:pt x="27" y="4"/>
                  <a:pt x="26" y="4"/>
                </a:cubicBezTo>
                <a:cubicBezTo>
                  <a:pt x="26" y="3"/>
                  <a:pt x="26" y="3"/>
                  <a:pt x="26" y="3"/>
                </a:cubicBezTo>
                <a:cubicBezTo>
                  <a:pt x="25" y="2"/>
                  <a:pt x="26" y="3"/>
                  <a:pt x="26" y="2"/>
                </a:cubicBezTo>
                <a:cubicBezTo>
                  <a:pt x="26" y="2"/>
                  <a:pt x="25" y="2"/>
                  <a:pt x="25" y="2"/>
                </a:cubicBezTo>
                <a:cubicBezTo>
                  <a:pt x="25" y="1"/>
                  <a:pt x="25" y="1"/>
                  <a:pt x="25" y="0"/>
                </a:cubicBezTo>
                <a:cubicBezTo>
                  <a:pt x="24" y="0"/>
                  <a:pt x="24" y="0"/>
                  <a:pt x="24" y="0"/>
                </a:cubicBezTo>
                <a:cubicBezTo>
                  <a:pt x="23" y="0"/>
                  <a:pt x="22" y="0"/>
                  <a:pt x="22" y="1"/>
                </a:cubicBezTo>
                <a:cubicBezTo>
                  <a:pt x="22" y="2"/>
                  <a:pt x="23" y="2"/>
                  <a:pt x="23" y="3"/>
                </a:cubicBezTo>
                <a:cubicBezTo>
                  <a:pt x="22" y="2"/>
                  <a:pt x="22" y="2"/>
                  <a:pt x="21" y="2"/>
                </a:cubicBezTo>
                <a:cubicBezTo>
                  <a:pt x="21" y="2"/>
                  <a:pt x="20" y="2"/>
                  <a:pt x="20" y="2"/>
                </a:cubicBezTo>
                <a:cubicBezTo>
                  <a:pt x="19" y="2"/>
                  <a:pt x="18" y="2"/>
                  <a:pt x="18" y="3"/>
                </a:cubicBezTo>
                <a:cubicBezTo>
                  <a:pt x="18" y="3"/>
                  <a:pt x="18" y="3"/>
                  <a:pt x="17" y="3"/>
                </a:cubicBezTo>
                <a:cubicBezTo>
                  <a:pt x="17" y="3"/>
                  <a:pt x="17" y="3"/>
                  <a:pt x="16" y="3"/>
                </a:cubicBezTo>
                <a:cubicBezTo>
                  <a:pt x="15" y="3"/>
                  <a:pt x="14" y="2"/>
                  <a:pt x="13" y="3"/>
                </a:cubicBezTo>
                <a:cubicBezTo>
                  <a:pt x="13" y="2"/>
                  <a:pt x="12" y="4"/>
                  <a:pt x="12" y="4"/>
                </a:cubicBezTo>
                <a:cubicBezTo>
                  <a:pt x="11" y="5"/>
                  <a:pt x="10" y="5"/>
                  <a:pt x="10" y="6"/>
                </a:cubicBezTo>
                <a:cubicBezTo>
                  <a:pt x="9" y="5"/>
                  <a:pt x="9" y="5"/>
                  <a:pt x="8" y="5"/>
                </a:cubicBezTo>
                <a:cubicBezTo>
                  <a:pt x="7" y="5"/>
                  <a:pt x="7" y="5"/>
                  <a:pt x="6" y="5"/>
                </a:cubicBezTo>
                <a:cubicBezTo>
                  <a:pt x="6" y="5"/>
                  <a:pt x="5" y="4"/>
                  <a:pt x="5" y="4"/>
                </a:cubicBezTo>
                <a:cubicBezTo>
                  <a:pt x="4" y="4"/>
                  <a:pt x="3" y="4"/>
                  <a:pt x="3" y="4"/>
                </a:cubicBezTo>
                <a:cubicBezTo>
                  <a:pt x="2" y="5"/>
                  <a:pt x="2" y="5"/>
                  <a:pt x="1" y="5"/>
                </a:cubicBezTo>
                <a:cubicBezTo>
                  <a:pt x="0" y="6"/>
                  <a:pt x="0" y="6"/>
                  <a:pt x="0" y="6"/>
                </a:cubicBezTo>
                <a:cubicBezTo>
                  <a:pt x="0" y="7"/>
                  <a:pt x="0" y="8"/>
                  <a:pt x="0" y="7"/>
                </a:cubicBezTo>
                <a:cubicBezTo>
                  <a:pt x="0" y="7"/>
                  <a:pt x="0" y="7"/>
                  <a:pt x="1" y="7"/>
                </a:cubicBezTo>
                <a:cubicBezTo>
                  <a:pt x="1" y="7"/>
                  <a:pt x="1" y="7"/>
                  <a:pt x="1" y="7"/>
                </a:cubicBezTo>
                <a:cubicBezTo>
                  <a:pt x="1" y="8"/>
                  <a:pt x="2" y="8"/>
                  <a:pt x="2" y="8"/>
                </a:cubicBezTo>
                <a:cubicBezTo>
                  <a:pt x="2" y="8"/>
                  <a:pt x="1" y="9"/>
                  <a:pt x="1" y="9"/>
                </a:cubicBezTo>
                <a:cubicBezTo>
                  <a:pt x="1" y="9"/>
                  <a:pt x="0" y="10"/>
                  <a:pt x="1" y="10"/>
                </a:cubicBezTo>
                <a:cubicBezTo>
                  <a:pt x="3" y="10"/>
                  <a:pt x="1" y="11"/>
                  <a:pt x="2" y="12"/>
                </a:cubicBezTo>
                <a:cubicBezTo>
                  <a:pt x="2" y="12"/>
                  <a:pt x="2" y="12"/>
                  <a:pt x="3" y="12"/>
                </a:cubicBezTo>
                <a:cubicBezTo>
                  <a:pt x="3" y="12"/>
                  <a:pt x="3" y="12"/>
                  <a:pt x="4" y="13"/>
                </a:cubicBezTo>
                <a:cubicBezTo>
                  <a:pt x="4" y="13"/>
                  <a:pt x="4" y="14"/>
                  <a:pt x="4" y="14"/>
                </a:cubicBezTo>
                <a:cubicBezTo>
                  <a:pt x="4" y="14"/>
                  <a:pt x="3" y="14"/>
                  <a:pt x="3" y="14"/>
                </a:cubicBezTo>
                <a:cubicBezTo>
                  <a:pt x="4" y="15"/>
                  <a:pt x="2" y="15"/>
                  <a:pt x="1" y="15"/>
                </a:cubicBezTo>
                <a:cubicBezTo>
                  <a:pt x="2" y="15"/>
                  <a:pt x="2" y="15"/>
                  <a:pt x="2" y="16"/>
                </a:cubicBezTo>
                <a:cubicBezTo>
                  <a:pt x="3" y="16"/>
                  <a:pt x="3" y="15"/>
                  <a:pt x="4" y="16"/>
                </a:cubicBezTo>
                <a:cubicBezTo>
                  <a:pt x="4" y="16"/>
                  <a:pt x="5" y="16"/>
                  <a:pt x="5" y="16"/>
                </a:cubicBezTo>
                <a:cubicBezTo>
                  <a:pt x="5" y="16"/>
                  <a:pt x="5" y="15"/>
                  <a:pt x="5" y="15"/>
                </a:cubicBezTo>
                <a:cubicBezTo>
                  <a:pt x="6" y="15"/>
                  <a:pt x="6" y="15"/>
                  <a:pt x="7" y="15"/>
                </a:cubicBezTo>
                <a:cubicBezTo>
                  <a:pt x="7" y="15"/>
                  <a:pt x="7" y="15"/>
                  <a:pt x="8" y="15"/>
                </a:cubicBezTo>
                <a:cubicBezTo>
                  <a:pt x="9" y="15"/>
                  <a:pt x="9" y="14"/>
                  <a:pt x="10" y="14"/>
                </a:cubicBezTo>
                <a:cubicBezTo>
                  <a:pt x="10" y="13"/>
                  <a:pt x="10" y="13"/>
                  <a:pt x="11" y="14"/>
                </a:cubicBezTo>
                <a:cubicBezTo>
                  <a:pt x="11" y="14"/>
                  <a:pt x="11" y="15"/>
                  <a:pt x="11" y="15"/>
                </a:cubicBezTo>
                <a:cubicBezTo>
                  <a:pt x="12" y="15"/>
                  <a:pt x="12" y="16"/>
                  <a:pt x="13" y="15"/>
                </a:cubicBezTo>
                <a:cubicBezTo>
                  <a:pt x="13" y="15"/>
                  <a:pt x="14" y="15"/>
                  <a:pt x="15" y="15"/>
                </a:cubicBezTo>
                <a:cubicBezTo>
                  <a:pt x="15" y="16"/>
                  <a:pt x="15" y="16"/>
                  <a:pt x="16" y="16"/>
                </a:cubicBezTo>
                <a:cubicBezTo>
                  <a:pt x="16" y="15"/>
                  <a:pt x="17" y="16"/>
                  <a:pt x="17" y="15"/>
                </a:cubicBezTo>
                <a:cubicBezTo>
                  <a:pt x="17" y="15"/>
                  <a:pt x="16" y="15"/>
                  <a:pt x="16" y="14"/>
                </a:cubicBezTo>
                <a:cubicBezTo>
                  <a:pt x="16" y="14"/>
                  <a:pt x="17" y="13"/>
                  <a:pt x="17" y="14"/>
                </a:cubicBezTo>
                <a:cubicBezTo>
                  <a:pt x="17" y="13"/>
                  <a:pt x="17" y="13"/>
                  <a:pt x="17" y="13"/>
                </a:cubicBezTo>
                <a:cubicBezTo>
                  <a:pt x="16" y="13"/>
                  <a:pt x="16" y="13"/>
                  <a:pt x="16" y="13"/>
                </a:cubicBezTo>
                <a:cubicBezTo>
                  <a:pt x="16" y="12"/>
                  <a:pt x="17" y="12"/>
                  <a:pt x="18" y="12"/>
                </a:cubicBezTo>
                <a:cubicBezTo>
                  <a:pt x="18" y="12"/>
                  <a:pt x="18" y="12"/>
                  <a:pt x="19" y="12"/>
                </a:cubicBezTo>
                <a:cubicBezTo>
                  <a:pt x="20" y="12"/>
                  <a:pt x="20" y="11"/>
                  <a:pt x="20" y="10"/>
                </a:cubicBezTo>
                <a:cubicBezTo>
                  <a:pt x="20" y="10"/>
                  <a:pt x="20" y="9"/>
                  <a:pt x="20" y="9"/>
                </a:cubicBezTo>
                <a:cubicBezTo>
                  <a:pt x="20" y="9"/>
                  <a:pt x="19" y="9"/>
                  <a:pt x="19" y="9"/>
                </a:cubicBezTo>
                <a:cubicBezTo>
                  <a:pt x="18" y="8"/>
                  <a:pt x="19" y="7"/>
                  <a:pt x="20" y="7"/>
                </a:cubicBezTo>
                <a:cubicBezTo>
                  <a:pt x="20" y="7"/>
                  <a:pt x="21" y="7"/>
                  <a:pt x="21" y="7"/>
                </a:cubicBezTo>
                <a:cubicBezTo>
                  <a:pt x="21" y="7"/>
                  <a:pt x="21" y="7"/>
                  <a:pt x="22" y="7"/>
                </a:cubicBezTo>
                <a:cubicBezTo>
                  <a:pt x="22" y="7"/>
                  <a:pt x="23" y="6"/>
                  <a:pt x="23" y="6"/>
                </a:cubicBezTo>
                <a:cubicBezTo>
                  <a:pt x="23" y="6"/>
                  <a:pt x="23" y="5"/>
                  <a:pt x="24" y="5"/>
                </a:cubicBezTo>
                <a:cubicBezTo>
                  <a:pt x="24" y="5"/>
                  <a:pt x="24" y="6"/>
                  <a:pt x="24" y="6"/>
                </a:cubicBezTo>
                <a:cubicBezTo>
                  <a:pt x="25" y="6"/>
                  <a:pt x="25" y="5"/>
                  <a:pt x="24" y="5"/>
                </a:cubicBezTo>
                <a:cubicBezTo>
                  <a:pt x="24" y="3"/>
                  <a:pt x="27" y="5"/>
                  <a:pt x="27" y="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0" name="Slovakia"/>
          <p:cNvSpPr>
            <a:spLocks/>
          </p:cNvSpPr>
          <p:nvPr/>
        </p:nvSpPr>
        <p:spPr bwMode="auto">
          <a:xfrm>
            <a:off x="6355062" y="2696011"/>
            <a:ext cx="173993" cy="75997"/>
          </a:xfrm>
          <a:custGeom>
            <a:avLst/>
            <a:gdLst/>
            <a:ahLst/>
            <a:cxnLst>
              <a:cxn ang="0">
                <a:pos x="44" y="5"/>
              </a:cxn>
              <a:cxn ang="0">
                <a:pos x="41" y="4"/>
              </a:cxn>
              <a:cxn ang="0">
                <a:pos x="40" y="3"/>
              </a:cxn>
              <a:cxn ang="0">
                <a:pos x="36" y="3"/>
              </a:cxn>
              <a:cxn ang="0">
                <a:pos x="35" y="3"/>
              </a:cxn>
              <a:cxn ang="0">
                <a:pos x="33" y="4"/>
              </a:cxn>
              <a:cxn ang="0">
                <a:pos x="30" y="3"/>
              </a:cxn>
              <a:cxn ang="0">
                <a:pos x="27" y="4"/>
              </a:cxn>
              <a:cxn ang="0">
                <a:pos x="26" y="5"/>
              </a:cxn>
              <a:cxn ang="0">
                <a:pos x="25" y="5"/>
              </a:cxn>
              <a:cxn ang="0">
                <a:pos x="24" y="3"/>
              </a:cxn>
              <a:cxn ang="0">
                <a:pos x="21" y="1"/>
              </a:cxn>
              <a:cxn ang="0">
                <a:pos x="19" y="3"/>
              </a:cxn>
              <a:cxn ang="0">
                <a:pos x="16" y="2"/>
              </a:cxn>
              <a:cxn ang="0">
                <a:pos x="13" y="3"/>
              </a:cxn>
              <a:cxn ang="0">
                <a:pos x="10" y="7"/>
              </a:cxn>
              <a:cxn ang="0">
                <a:pos x="8" y="8"/>
              </a:cxn>
              <a:cxn ang="0">
                <a:pos x="5" y="9"/>
              </a:cxn>
              <a:cxn ang="0">
                <a:pos x="4" y="9"/>
              </a:cxn>
              <a:cxn ang="0">
                <a:pos x="1" y="10"/>
              </a:cxn>
              <a:cxn ang="0">
                <a:pos x="0" y="14"/>
              </a:cxn>
              <a:cxn ang="0">
                <a:pos x="1" y="17"/>
              </a:cxn>
              <a:cxn ang="0">
                <a:pos x="3" y="18"/>
              </a:cxn>
              <a:cxn ang="0">
                <a:pos x="3" y="18"/>
              </a:cxn>
              <a:cxn ang="0">
                <a:pos x="5" y="19"/>
              </a:cxn>
              <a:cxn ang="0">
                <a:pos x="9" y="21"/>
              </a:cxn>
              <a:cxn ang="0">
                <a:pos x="14" y="21"/>
              </a:cxn>
              <a:cxn ang="0">
                <a:pos x="17" y="20"/>
              </a:cxn>
              <a:cxn ang="0">
                <a:pos x="18" y="17"/>
              </a:cxn>
              <a:cxn ang="0">
                <a:pos x="22" y="17"/>
              </a:cxn>
              <a:cxn ang="0">
                <a:pos x="26" y="17"/>
              </a:cxn>
              <a:cxn ang="0">
                <a:pos x="28" y="15"/>
              </a:cxn>
              <a:cxn ang="0">
                <a:pos x="30" y="14"/>
              </a:cxn>
              <a:cxn ang="0">
                <a:pos x="32" y="12"/>
              </a:cxn>
              <a:cxn ang="0">
                <a:pos x="37" y="13"/>
              </a:cxn>
              <a:cxn ang="0">
                <a:pos x="40" y="13"/>
              </a:cxn>
              <a:cxn ang="0">
                <a:pos x="43" y="14"/>
              </a:cxn>
              <a:cxn ang="0">
                <a:pos x="46" y="11"/>
              </a:cxn>
              <a:cxn ang="0">
                <a:pos x="47" y="9"/>
              </a:cxn>
              <a:cxn ang="0">
                <a:pos x="48" y="7"/>
              </a:cxn>
            </a:cxnLst>
            <a:rect l="0" t="0" r="r" b="b"/>
            <a:pathLst>
              <a:path w="48" h="21">
                <a:moveTo>
                  <a:pt x="46" y="6"/>
                </a:moveTo>
                <a:cubicBezTo>
                  <a:pt x="45" y="6"/>
                  <a:pt x="45" y="6"/>
                  <a:pt x="44" y="5"/>
                </a:cubicBezTo>
                <a:cubicBezTo>
                  <a:pt x="43" y="5"/>
                  <a:pt x="43" y="5"/>
                  <a:pt x="43" y="4"/>
                </a:cubicBezTo>
                <a:cubicBezTo>
                  <a:pt x="43" y="4"/>
                  <a:pt x="42" y="4"/>
                  <a:pt x="41" y="4"/>
                </a:cubicBezTo>
                <a:cubicBezTo>
                  <a:pt x="41" y="3"/>
                  <a:pt x="41" y="4"/>
                  <a:pt x="41" y="4"/>
                </a:cubicBezTo>
                <a:cubicBezTo>
                  <a:pt x="41" y="3"/>
                  <a:pt x="41" y="3"/>
                  <a:pt x="40" y="3"/>
                </a:cubicBezTo>
                <a:cubicBezTo>
                  <a:pt x="40" y="3"/>
                  <a:pt x="39" y="3"/>
                  <a:pt x="38" y="3"/>
                </a:cubicBezTo>
                <a:cubicBezTo>
                  <a:pt x="37" y="3"/>
                  <a:pt x="37" y="3"/>
                  <a:pt x="36" y="3"/>
                </a:cubicBezTo>
                <a:cubicBezTo>
                  <a:pt x="36" y="3"/>
                  <a:pt x="36" y="3"/>
                  <a:pt x="35" y="3"/>
                </a:cubicBezTo>
                <a:cubicBezTo>
                  <a:pt x="35" y="3"/>
                  <a:pt x="35" y="3"/>
                  <a:pt x="35" y="3"/>
                </a:cubicBezTo>
                <a:cubicBezTo>
                  <a:pt x="35" y="4"/>
                  <a:pt x="35" y="4"/>
                  <a:pt x="35" y="4"/>
                </a:cubicBezTo>
                <a:cubicBezTo>
                  <a:pt x="34" y="4"/>
                  <a:pt x="34" y="4"/>
                  <a:pt x="33" y="4"/>
                </a:cubicBezTo>
                <a:cubicBezTo>
                  <a:pt x="33" y="4"/>
                  <a:pt x="33" y="3"/>
                  <a:pt x="32" y="3"/>
                </a:cubicBezTo>
                <a:cubicBezTo>
                  <a:pt x="32" y="3"/>
                  <a:pt x="31" y="3"/>
                  <a:pt x="30" y="3"/>
                </a:cubicBezTo>
                <a:cubicBezTo>
                  <a:pt x="30" y="3"/>
                  <a:pt x="29" y="3"/>
                  <a:pt x="29" y="4"/>
                </a:cubicBezTo>
                <a:cubicBezTo>
                  <a:pt x="29" y="4"/>
                  <a:pt x="28" y="4"/>
                  <a:pt x="27" y="4"/>
                </a:cubicBezTo>
                <a:cubicBezTo>
                  <a:pt x="27" y="5"/>
                  <a:pt x="27" y="6"/>
                  <a:pt x="27" y="6"/>
                </a:cubicBezTo>
                <a:cubicBezTo>
                  <a:pt x="26" y="6"/>
                  <a:pt x="26" y="5"/>
                  <a:pt x="26" y="5"/>
                </a:cubicBezTo>
                <a:cubicBezTo>
                  <a:pt x="25" y="5"/>
                  <a:pt x="24" y="6"/>
                  <a:pt x="24" y="5"/>
                </a:cubicBezTo>
                <a:cubicBezTo>
                  <a:pt x="24" y="5"/>
                  <a:pt x="25" y="5"/>
                  <a:pt x="25" y="5"/>
                </a:cubicBezTo>
                <a:cubicBezTo>
                  <a:pt x="25" y="4"/>
                  <a:pt x="25" y="4"/>
                  <a:pt x="24" y="4"/>
                </a:cubicBezTo>
                <a:cubicBezTo>
                  <a:pt x="24" y="4"/>
                  <a:pt x="24" y="3"/>
                  <a:pt x="24" y="3"/>
                </a:cubicBezTo>
                <a:cubicBezTo>
                  <a:pt x="23" y="3"/>
                  <a:pt x="23" y="3"/>
                  <a:pt x="23" y="3"/>
                </a:cubicBezTo>
                <a:cubicBezTo>
                  <a:pt x="22" y="3"/>
                  <a:pt x="22" y="0"/>
                  <a:pt x="21" y="1"/>
                </a:cubicBezTo>
                <a:cubicBezTo>
                  <a:pt x="21" y="2"/>
                  <a:pt x="20" y="2"/>
                  <a:pt x="20" y="2"/>
                </a:cubicBezTo>
                <a:cubicBezTo>
                  <a:pt x="19" y="3"/>
                  <a:pt x="19" y="3"/>
                  <a:pt x="19" y="3"/>
                </a:cubicBezTo>
                <a:cubicBezTo>
                  <a:pt x="18" y="3"/>
                  <a:pt x="17" y="4"/>
                  <a:pt x="17" y="3"/>
                </a:cubicBezTo>
                <a:cubicBezTo>
                  <a:pt x="17" y="2"/>
                  <a:pt x="17" y="2"/>
                  <a:pt x="16" y="2"/>
                </a:cubicBezTo>
                <a:cubicBezTo>
                  <a:pt x="16" y="2"/>
                  <a:pt x="15" y="2"/>
                  <a:pt x="14" y="2"/>
                </a:cubicBezTo>
                <a:cubicBezTo>
                  <a:pt x="14" y="3"/>
                  <a:pt x="13" y="3"/>
                  <a:pt x="13" y="3"/>
                </a:cubicBezTo>
                <a:cubicBezTo>
                  <a:pt x="13" y="4"/>
                  <a:pt x="11" y="5"/>
                  <a:pt x="10" y="5"/>
                </a:cubicBezTo>
                <a:cubicBezTo>
                  <a:pt x="10" y="6"/>
                  <a:pt x="10" y="6"/>
                  <a:pt x="10" y="7"/>
                </a:cubicBezTo>
                <a:cubicBezTo>
                  <a:pt x="10" y="7"/>
                  <a:pt x="10" y="7"/>
                  <a:pt x="9" y="7"/>
                </a:cubicBezTo>
                <a:cubicBezTo>
                  <a:pt x="8" y="7"/>
                  <a:pt x="9" y="8"/>
                  <a:pt x="8" y="8"/>
                </a:cubicBezTo>
                <a:cubicBezTo>
                  <a:pt x="8" y="8"/>
                  <a:pt x="8" y="9"/>
                  <a:pt x="7" y="9"/>
                </a:cubicBezTo>
                <a:cubicBezTo>
                  <a:pt x="7" y="9"/>
                  <a:pt x="6" y="10"/>
                  <a:pt x="5" y="9"/>
                </a:cubicBezTo>
                <a:cubicBezTo>
                  <a:pt x="5" y="9"/>
                  <a:pt x="5" y="9"/>
                  <a:pt x="5" y="9"/>
                </a:cubicBezTo>
                <a:cubicBezTo>
                  <a:pt x="5" y="9"/>
                  <a:pt x="5" y="9"/>
                  <a:pt x="4" y="9"/>
                </a:cubicBezTo>
                <a:cubicBezTo>
                  <a:pt x="4" y="9"/>
                  <a:pt x="3" y="9"/>
                  <a:pt x="3" y="9"/>
                </a:cubicBezTo>
                <a:cubicBezTo>
                  <a:pt x="2" y="9"/>
                  <a:pt x="2" y="9"/>
                  <a:pt x="1" y="10"/>
                </a:cubicBezTo>
                <a:cubicBezTo>
                  <a:pt x="1" y="11"/>
                  <a:pt x="1" y="11"/>
                  <a:pt x="1" y="12"/>
                </a:cubicBezTo>
                <a:cubicBezTo>
                  <a:pt x="1" y="12"/>
                  <a:pt x="0" y="13"/>
                  <a:pt x="0" y="14"/>
                </a:cubicBezTo>
                <a:cubicBezTo>
                  <a:pt x="0" y="14"/>
                  <a:pt x="0" y="15"/>
                  <a:pt x="0" y="15"/>
                </a:cubicBezTo>
                <a:cubicBezTo>
                  <a:pt x="1" y="16"/>
                  <a:pt x="1" y="16"/>
                  <a:pt x="1" y="17"/>
                </a:cubicBezTo>
                <a:cubicBezTo>
                  <a:pt x="2" y="17"/>
                  <a:pt x="2" y="17"/>
                  <a:pt x="2" y="18"/>
                </a:cubicBezTo>
                <a:cubicBezTo>
                  <a:pt x="2" y="18"/>
                  <a:pt x="3" y="18"/>
                  <a:pt x="3" y="18"/>
                </a:cubicBezTo>
                <a:cubicBezTo>
                  <a:pt x="3" y="18"/>
                  <a:pt x="2" y="18"/>
                  <a:pt x="2" y="17"/>
                </a:cubicBezTo>
                <a:cubicBezTo>
                  <a:pt x="2" y="17"/>
                  <a:pt x="3" y="18"/>
                  <a:pt x="3" y="18"/>
                </a:cubicBezTo>
                <a:cubicBezTo>
                  <a:pt x="3" y="18"/>
                  <a:pt x="5" y="18"/>
                  <a:pt x="4" y="18"/>
                </a:cubicBezTo>
                <a:cubicBezTo>
                  <a:pt x="4" y="18"/>
                  <a:pt x="5" y="19"/>
                  <a:pt x="5" y="19"/>
                </a:cubicBezTo>
                <a:cubicBezTo>
                  <a:pt x="5" y="19"/>
                  <a:pt x="6" y="20"/>
                  <a:pt x="6" y="20"/>
                </a:cubicBezTo>
                <a:cubicBezTo>
                  <a:pt x="7" y="20"/>
                  <a:pt x="8" y="21"/>
                  <a:pt x="9" y="21"/>
                </a:cubicBezTo>
                <a:cubicBezTo>
                  <a:pt x="10" y="21"/>
                  <a:pt x="11" y="21"/>
                  <a:pt x="12" y="21"/>
                </a:cubicBezTo>
                <a:cubicBezTo>
                  <a:pt x="13" y="21"/>
                  <a:pt x="14" y="21"/>
                  <a:pt x="14" y="21"/>
                </a:cubicBezTo>
                <a:cubicBezTo>
                  <a:pt x="15" y="21"/>
                  <a:pt x="15" y="21"/>
                  <a:pt x="16" y="21"/>
                </a:cubicBezTo>
                <a:cubicBezTo>
                  <a:pt x="16" y="20"/>
                  <a:pt x="17" y="20"/>
                  <a:pt x="17" y="20"/>
                </a:cubicBezTo>
                <a:cubicBezTo>
                  <a:pt x="17" y="19"/>
                  <a:pt x="16" y="19"/>
                  <a:pt x="16" y="19"/>
                </a:cubicBezTo>
                <a:cubicBezTo>
                  <a:pt x="17" y="18"/>
                  <a:pt x="17" y="18"/>
                  <a:pt x="18" y="17"/>
                </a:cubicBezTo>
                <a:cubicBezTo>
                  <a:pt x="19" y="17"/>
                  <a:pt x="20" y="18"/>
                  <a:pt x="20" y="17"/>
                </a:cubicBezTo>
                <a:cubicBezTo>
                  <a:pt x="21" y="17"/>
                  <a:pt x="22" y="17"/>
                  <a:pt x="22" y="17"/>
                </a:cubicBezTo>
                <a:cubicBezTo>
                  <a:pt x="23" y="16"/>
                  <a:pt x="23" y="16"/>
                  <a:pt x="24" y="16"/>
                </a:cubicBezTo>
                <a:cubicBezTo>
                  <a:pt x="25" y="16"/>
                  <a:pt x="25" y="16"/>
                  <a:pt x="26" y="17"/>
                </a:cubicBezTo>
                <a:cubicBezTo>
                  <a:pt x="26" y="17"/>
                  <a:pt x="27" y="17"/>
                  <a:pt x="27" y="16"/>
                </a:cubicBezTo>
                <a:cubicBezTo>
                  <a:pt x="28" y="16"/>
                  <a:pt x="28" y="16"/>
                  <a:pt x="28" y="15"/>
                </a:cubicBezTo>
                <a:cubicBezTo>
                  <a:pt x="29" y="15"/>
                  <a:pt x="29" y="16"/>
                  <a:pt x="30" y="15"/>
                </a:cubicBezTo>
                <a:cubicBezTo>
                  <a:pt x="30" y="15"/>
                  <a:pt x="30" y="14"/>
                  <a:pt x="30" y="14"/>
                </a:cubicBezTo>
                <a:cubicBezTo>
                  <a:pt x="30" y="13"/>
                  <a:pt x="31" y="13"/>
                  <a:pt x="31" y="13"/>
                </a:cubicBezTo>
                <a:cubicBezTo>
                  <a:pt x="31" y="12"/>
                  <a:pt x="32" y="12"/>
                  <a:pt x="32" y="12"/>
                </a:cubicBezTo>
                <a:cubicBezTo>
                  <a:pt x="33" y="12"/>
                  <a:pt x="34" y="12"/>
                  <a:pt x="35" y="13"/>
                </a:cubicBezTo>
                <a:cubicBezTo>
                  <a:pt x="36" y="13"/>
                  <a:pt x="36" y="13"/>
                  <a:pt x="37" y="13"/>
                </a:cubicBezTo>
                <a:cubicBezTo>
                  <a:pt x="37" y="13"/>
                  <a:pt x="38" y="13"/>
                  <a:pt x="38" y="12"/>
                </a:cubicBezTo>
                <a:cubicBezTo>
                  <a:pt x="39" y="12"/>
                  <a:pt x="39" y="12"/>
                  <a:pt x="40" y="13"/>
                </a:cubicBezTo>
                <a:cubicBezTo>
                  <a:pt x="40" y="13"/>
                  <a:pt x="40" y="13"/>
                  <a:pt x="41" y="13"/>
                </a:cubicBezTo>
                <a:cubicBezTo>
                  <a:pt x="41" y="14"/>
                  <a:pt x="42" y="15"/>
                  <a:pt x="43" y="14"/>
                </a:cubicBezTo>
                <a:cubicBezTo>
                  <a:pt x="44" y="14"/>
                  <a:pt x="45" y="15"/>
                  <a:pt x="45" y="13"/>
                </a:cubicBezTo>
                <a:cubicBezTo>
                  <a:pt x="45" y="12"/>
                  <a:pt x="46" y="12"/>
                  <a:pt x="46" y="11"/>
                </a:cubicBezTo>
                <a:cubicBezTo>
                  <a:pt x="46" y="11"/>
                  <a:pt x="46" y="10"/>
                  <a:pt x="47" y="9"/>
                </a:cubicBezTo>
                <a:cubicBezTo>
                  <a:pt x="47" y="9"/>
                  <a:pt x="46" y="9"/>
                  <a:pt x="47" y="9"/>
                </a:cubicBezTo>
                <a:cubicBezTo>
                  <a:pt x="47" y="9"/>
                  <a:pt x="47" y="8"/>
                  <a:pt x="47" y="8"/>
                </a:cubicBezTo>
                <a:cubicBezTo>
                  <a:pt x="48" y="7"/>
                  <a:pt x="48" y="7"/>
                  <a:pt x="48" y="7"/>
                </a:cubicBezTo>
                <a:cubicBezTo>
                  <a:pt x="47" y="7"/>
                  <a:pt x="47" y="6"/>
                  <a:pt x="46" y="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1" name="Singapore"/>
          <p:cNvSpPr>
            <a:spLocks/>
          </p:cNvSpPr>
          <p:nvPr/>
        </p:nvSpPr>
        <p:spPr bwMode="auto">
          <a:xfrm>
            <a:off x="9425946" y="4605939"/>
            <a:ext cx="13999" cy="7000"/>
          </a:xfrm>
          <a:custGeom>
            <a:avLst/>
            <a:gdLst/>
            <a:ahLst/>
            <a:cxnLst>
              <a:cxn ang="0">
                <a:pos x="3" y="1"/>
              </a:cxn>
              <a:cxn ang="0">
                <a:pos x="2" y="0"/>
              </a:cxn>
              <a:cxn ang="0">
                <a:pos x="1" y="1"/>
              </a:cxn>
              <a:cxn ang="0">
                <a:pos x="0" y="2"/>
              </a:cxn>
              <a:cxn ang="0">
                <a:pos x="1" y="2"/>
              </a:cxn>
              <a:cxn ang="0">
                <a:pos x="2" y="2"/>
              </a:cxn>
              <a:cxn ang="0">
                <a:pos x="3" y="2"/>
              </a:cxn>
              <a:cxn ang="0">
                <a:pos x="3" y="2"/>
              </a:cxn>
              <a:cxn ang="0">
                <a:pos x="4" y="1"/>
              </a:cxn>
              <a:cxn ang="0">
                <a:pos x="3" y="1"/>
              </a:cxn>
            </a:cxnLst>
            <a:rect l="0" t="0" r="r" b="b"/>
            <a:pathLst>
              <a:path w="4" h="2">
                <a:moveTo>
                  <a:pt x="3" y="1"/>
                </a:moveTo>
                <a:cubicBezTo>
                  <a:pt x="3" y="1"/>
                  <a:pt x="2" y="0"/>
                  <a:pt x="2" y="0"/>
                </a:cubicBezTo>
                <a:cubicBezTo>
                  <a:pt x="2" y="0"/>
                  <a:pt x="1" y="1"/>
                  <a:pt x="1" y="1"/>
                </a:cubicBezTo>
                <a:cubicBezTo>
                  <a:pt x="1" y="1"/>
                  <a:pt x="0" y="1"/>
                  <a:pt x="0" y="2"/>
                </a:cubicBezTo>
                <a:cubicBezTo>
                  <a:pt x="1" y="2"/>
                  <a:pt x="1" y="2"/>
                  <a:pt x="1" y="2"/>
                </a:cubicBezTo>
                <a:cubicBezTo>
                  <a:pt x="2" y="2"/>
                  <a:pt x="2" y="2"/>
                  <a:pt x="2" y="2"/>
                </a:cubicBezTo>
                <a:cubicBezTo>
                  <a:pt x="2" y="2"/>
                  <a:pt x="2" y="2"/>
                  <a:pt x="3" y="2"/>
                </a:cubicBezTo>
                <a:cubicBezTo>
                  <a:pt x="3" y="2"/>
                  <a:pt x="3" y="2"/>
                  <a:pt x="3" y="2"/>
                </a:cubicBezTo>
                <a:cubicBezTo>
                  <a:pt x="4" y="2"/>
                  <a:pt x="4" y="1"/>
                  <a:pt x="4" y="1"/>
                </a:cubicBezTo>
                <a:cubicBezTo>
                  <a:pt x="3" y="1"/>
                  <a:pt x="3" y="1"/>
                  <a:pt x="3"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2" name="Sierra Leone"/>
          <p:cNvSpPr>
            <a:spLocks noEditPoints="1"/>
          </p:cNvSpPr>
          <p:nvPr/>
        </p:nvSpPr>
        <p:spPr bwMode="auto">
          <a:xfrm>
            <a:off x="5330100" y="4265952"/>
            <a:ext cx="103996" cy="125995"/>
          </a:xfrm>
          <a:custGeom>
            <a:avLst/>
            <a:gdLst/>
            <a:ahLst/>
            <a:cxnLst>
              <a:cxn ang="0">
                <a:pos x="28" y="17"/>
              </a:cxn>
              <a:cxn ang="0">
                <a:pos x="25" y="19"/>
              </a:cxn>
              <a:cxn ang="0">
                <a:pos x="27" y="16"/>
              </a:cxn>
              <a:cxn ang="0">
                <a:pos x="26" y="12"/>
              </a:cxn>
              <a:cxn ang="0">
                <a:pos x="25" y="10"/>
              </a:cxn>
              <a:cxn ang="0">
                <a:pos x="25" y="7"/>
              </a:cxn>
              <a:cxn ang="0">
                <a:pos x="24" y="5"/>
              </a:cxn>
              <a:cxn ang="0">
                <a:pos x="22" y="3"/>
              </a:cxn>
              <a:cxn ang="0">
                <a:pos x="21" y="1"/>
              </a:cxn>
              <a:cxn ang="0">
                <a:pos x="14" y="1"/>
              </a:cxn>
              <a:cxn ang="0">
                <a:pos x="11" y="1"/>
              </a:cxn>
              <a:cxn ang="0">
                <a:pos x="8" y="3"/>
              </a:cxn>
              <a:cxn ang="0">
                <a:pos x="6" y="6"/>
              </a:cxn>
              <a:cxn ang="0">
                <a:pos x="6" y="7"/>
              </a:cxn>
              <a:cxn ang="0">
                <a:pos x="4" y="8"/>
              </a:cxn>
              <a:cxn ang="0">
                <a:pos x="3" y="10"/>
              </a:cxn>
              <a:cxn ang="0">
                <a:pos x="0" y="12"/>
              </a:cxn>
              <a:cxn ang="0">
                <a:pos x="2" y="13"/>
              </a:cxn>
              <a:cxn ang="0">
                <a:pos x="1" y="13"/>
              </a:cxn>
              <a:cxn ang="0">
                <a:pos x="2" y="17"/>
              </a:cxn>
              <a:cxn ang="0">
                <a:pos x="2" y="15"/>
              </a:cxn>
              <a:cxn ang="0">
                <a:pos x="4" y="15"/>
              </a:cxn>
              <a:cxn ang="0">
                <a:pos x="3" y="16"/>
              </a:cxn>
              <a:cxn ang="0">
                <a:pos x="2" y="18"/>
              </a:cxn>
              <a:cxn ang="0">
                <a:pos x="0" y="17"/>
              </a:cxn>
              <a:cxn ang="0">
                <a:pos x="1" y="19"/>
              </a:cxn>
              <a:cxn ang="0">
                <a:pos x="3" y="20"/>
              </a:cxn>
              <a:cxn ang="0">
                <a:pos x="4" y="22"/>
              </a:cxn>
              <a:cxn ang="0">
                <a:pos x="3" y="23"/>
              </a:cxn>
              <a:cxn ang="0">
                <a:pos x="5" y="25"/>
              </a:cxn>
              <a:cxn ang="0">
                <a:pos x="6" y="26"/>
              </a:cxn>
              <a:cxn ang="0">
                <a:pos x="8" y="25"/>
              </a:cxn>
              <a:cxn ang="0">
                <a:pos x="8" y="26"/>
              </a:cxn>
              <a:cxn ang="0">
                <a:pos x="10" y="27"/>
              </a:cxn>
              <a:cxn ang="0">
                <a:pos x="8" y="28"/>
              </a:cxn>
              <a:cxn ang="0">
                <a:pos x="8" y="29"/>
              </a:cxn>
              <a:cxn ang="0">
                <a:pos x="12" y="31"/>
              </a:cxn>
              <a:cxn ang="0">
                <a:pos x="16" y="33"/>
              </a:cxn>
              <a:cxn ang="0">
                <a:pos x="17" y="33"/>
              </a:cxn>
              <a:cxn ang="0">
                <a:pos x="19" y="32"/>
              </a:cxn>
              <a:cxn ang="0">
                <a:pos x="21" y="30"/>
              </a:cxn>
              <a:cxn ang="0">
                <a:pos x="24" y="27"/>
              </a:cxn>
              <a:cxn ang="0">
                <a:pos x="26" y="24"/>
              </a:cxn>
              <a:cxn ang="0">
                <a:pos x="28" y="21"/>
              </a:cxn>
              <a:cxn ang="0">
                <a:pos x="29" y="17"/>
              </a:cxn>
              <a:cxn ang="0">
                <a:pos x="3" y="13"/>
              </a:cxn>
              <a:cxn ang="0">
                <a:pos x="8" y="28"/>
              </a:cxn>
              <a:cxn ang="0">
                <a:pos x="7" y="28"/>
              </a:cxn>
              <a:cxn ang="0">
                <a:pos x="4" y="27"/>
              </a:cxn>
            </a:cxnLst>
            <a:rect l="0" t="0" r="r" b="b"/>
            <a:pathLst>
              <a:path w="29" h="35">
                <a:moveTo>
                  <a:pt x="29" y="17"/>
                </a:moveTo>
                <a:cubicBezTo>
                  <a:pt x="29" y="17"/>
                  <a:pt x="29" y="17"/>
                  <a:pt x="28" y="17"/>
                </a:cubicBezTo>
                <a:cubicBezTo>
                  <a:pt x="28" y="17"/>
                  <a:pt x="27" y="19"/>
                  <a:pt x="27" y="19"/>
                </a:cubicBezTo>
                <a:cubicBezTo>
                  <a:pt x="26" y="18"/>
                  <a:pt x="25" y="19"/>
                  <a:pt x="25" y="19"/>
                </a:cubicBezTo>
                <a:cubicBezTo>
                  <a:pt x="25" y="19"/>
                  <a:pt x="26" y="18"/>
                  <a:pt x="26" y="17"/>
                </a:cubicBezTo>
                <a:cubicBezTo>
                  <a:pt x="26" y="17"/>
                  <a:pt x="26" y="16"/>
                  <a:pt x="27" y="16"/>
                </a:cubicBezTo>
                <a:cubicBezTo>
                  <a:pt x="28" y="15"/>
                  <a:pt x="27" y="14"/>
                  <a:pt x="27" y="14"/>
                </a:cubicBezTo>
                <a:cubicBezTo>
                  <a:pt x="26" y="13"/>
                  <a:pt x="26" y="12"/>
                  <a:pt x="26" y="12"/>
                </a:cubicBezTo>
                <a:cubicBezTo>
                  <a:pt x="26" y="11"/>
                  <a:pt x="27" y="11"/>
                  <a:pt x="26" y="10"/>
                </a:cubicBezTo>
                <a:cubicBezTo>
                  <a:pt x="25" y="10"/>
                  <a:pt x="25" y="10"/>
                  <a:pt x="25" y="10"/>
                </a:cubicBezTo>
                <a:cubicBezTo>
                  <a:pt x="25" y="9"/>
                  <a:pt x="26" y="9"/>
                  <a:pt x="26" y="8"/>
                </a:cubicBezTo>
                <a:cubicBezTo>
                  <a:pt x="26" y="8"/>
                  <a:pt x="25" y="8"/>
                  <a:pt x="25" y="7"/>
                </a:cubicBezTo>
                <a:cubicBezTo>
                  <a:pt x="25" y="7"/>
                  <a:pt x="25" y="7"/>
                  <a:pt x="24" y="7"/>
                </a:cubicBezTo>
                <a:cubicBezTo>
                  <a:pt x="24" y="7"/>
                  <a:pt x="24" y="6"/>
                  <a:pt x="24" y="5"/>
                </a:cubicBezTo>
                <a:cubicBezTo>
                  <a:pt x="24" y="5"/>
                  <a:pt x="23" y="5"/>
                  <a:pt x="23" y="4"/>
                </a:cubicBezTo>
                <a:cubicBezTo>
                  <a:pt x="23" y="4"/>
                  <a:pt x="23" y="3"/>
                  <a:pt x="22" y="3"/>
                </a:cubicBezTo>
                <a:cubicBezTo>
                  <a:pt x="22" y="2"/>
                  <a:pt x="21" y="2"/>
                  <a:pt x="21" y="1"/>
                </a:cubicBezTo>
                <a:cubicBezTo>
                  <a:pt x="21" y="1"/>
                  <a:pt x="21" y="1"/>
                  <a:pt x="21" y="1"/>
                </a:cubicBezTo>
                <a:cubicBezTo>
                  <a:pt x="20" y="0"/>
                  <a:pt x="18" y="0"/>
                  <a:pt x="18" y="0"/>
                </a:cubicBezTo>
                <a:cubicBezTo>
                  <a:pt x="17" y="0"/>
                  <a:pt x="14" y="0"/>
                  <a:pt x="14" y="1"/>
                </a:cubicBezTo>
                <a:cubicBezTo>
                  <a:pt x="14" y="1"/>
                  <a:pt x="13" y="1"/>
                  <a:pt x="13" y="2"/>
                </a:cubicBezTo>
                <a:cubicBezTo>
                  <a:pt x="12" y="2"/>
                  <a:pt x="11" y="2"/>
                  <a:pt x="11" y="1"/>
                </a:cubicBezTo>
                <a:cubicBezTo>
                  <a:pt x="10" y="1"/>
                  <a:pt x="10" y="1"/>
                  <a:pt x="9" y="1"/>
                </a:cubicBezTo>
                <a:cubicBezTo>
                  <a:pt x="8" y="2"/>
                  <a:pt x="8" y="2"/>
                  <a:pt x="8" y="3"/>
                </a:cubicBezTo>
                <a:cubicBezTo>
                  <a:pt x="8" y="3"/>
                  <a:pt x="7" y="4"/>
                  <a:pt x="7" y="4"/>
                </a:cubicBezTo>
                <a:cubicBezTo>
                  <a:pt x="7" y="5"/>
                  <a:pt x="6" y="6"/>
                  <a:pt x="6" y="6"/>
                </a:cubicBezTo>
                <a:cubicBezTo>
                  <a:pt x="6" y="6"/>
                  <a:pt x="6" y="7"/>
                  <a:pt x="6" y="7"/>
                </a:cubicBezTo>
                <a:cubicBezTo>
                  <a:pt x="5" y="7"/>
                  <a:pt x="6" y="7"/>
                  <a:pt x="6" y="7"/>
                </a:cubicBezTo>
                <a:cubicBezTo>
                  <a:pt x="5" y="8"/>
                  <a:pt x="5" y="8"/>
                  <a:pt x="4" y="8"/>
                </a:cubicBezTo>
                <a:cubicBezTo>
                  <a:pt x="4" y="8"/>
                  <a:pt x="4" y="8"/>
                  <a:pt x="4" y="8"/>
                </a:cubicBezTo>
                <a:cubicBezTo>
                  <a:pt x="3" y="9"/>
                  <a:pt x="4" y="9"/>
                  <a:pt x="4" y="9"/>
                </a:cubicBezTo>
                <a:cubicBezTo>
                  <a:pt x="4" y="10"/>
                  <a:pt x="3" y="10"/>
                  <a:pt x="3" y="10"/>
                </a:cubicBezTo>
                <a:cubicBezTo>
                  <a:pt x="2" y="11"/>
                  <a:pt x="2" y="11"/>
                  <a:pt x="1" y="10"/>
                </a:cubicBezTo>
                <a:cubicBezTo>
                  <a:pt x="1" y="10"/>
                  <a:pt x="0" y="11"/>
                  <a:pt x="0" y="12"/>
                </a:cubicBezTo>
                <a:cubicBezTo>
                  <a:pt x="0" y="12"/>
                  <a:pt x="2" y="12"/>
                  <a:pt x="2" y="12"/>
                </a:cubicBezTo>
                <a:cubicBezTo>
                  <a:pt x="2" y="12"/>
                  <a:pt x="1" y="12"/>
                  <a:pt x="2" y="13"/>
                </a:cubicBezTo>
                <a:cubicBezTo>
                  <a:pt x="2" y="13"/>
                  <a:pt x="2" y="13"/>
                  <a:pt x="2" y="13"/>
                </a:cubicBezTo>
                <a:cubicBezTo>
                  <a:pt x="1" y="13"/>
                  <a:pt x="1" y="13"/>
                  <a:pt x="1" y="13"/>
                </a:cubicBezTo>
                <a:cubicBezTo>
                  <a:pt x="0" y="14"/>
                  <a:pt x="1" y="15"/>
                  <a:pt x="1" y="15"/>
                </a:cubicBezTo>
                <a:cubicBezTo>
                  <a:pt x="1" y="15"/>
                  <a:pt x="1" y="17"/>
                  <a:pt x="2" y="17"/>
                </a:cubicBezTo>
                <a:cubicBezTo>
                  <a:pt x="2" y="16"/>
                  <a:pt x="2" y="16"/>
                  <a:pt x="1" y="15"/>
                </a:cubicBezTo>
                <a:cubicBezTo>
                  <a:pt x="2" y="15"/>
                  <a:pt x="2" y="16"/>
                  <a:pt x="2" y="15"/>
                </a:cubicBezTo>
                <a:cubicBezTo>
                  <a:pt x="3" y="15"/>
                  <a:pt x="2" y="16"/>
                  <a:pt x="3" y="16"/>
                </a:cubicBezTo>
                <a:cubicBezTo>
                  <a:pt x="3" y="16"/>
                  <a:pt x="4" y="16"/>
                  <a:pt x="4" y="15"/>
                </a:cubicBezTo>
                <a:cubicBezTo>
                  <a:pt x="4" y="15"/>
                  <a:pt x="3" y="16"/>
                  <a:pt x="4" y="16"/>
                </a:cubicBezTo>
                <a:cubicBezTo>
                  <a:pt x="4" y="16"/>
                  <a:pt x="3" y="16"/>
                  <a:pt x="3" y="16"/>
                </a:cubicBezTo>
                <a:cubicBezTo>
                  <a:pt x="3" y="16"/>
                  <a:pt x="3" y="17"/>
                  <a:pt x="2" y="17"/>
                </a:cubicBezTo>
                <a:cubicBezTo>
                  <a:pt x="2" y="17"/>
                  <a:pt x="1" y="18"/>
                  <a:pt x="2" y="18"/>
                </a:cubicBezTo>
                <a:cubicBezTo>
                  <a:pt x="2" y="18"/>
                  <a:pt x="2" y="18"/>
                  <a:pt x="3" y="18"/>
                </a:cubicBezTo>
                <a:cubicBezTo>
                  <a:pt x="2" y="18"/>
                  <a:pt x="0" y="16"/>
                  <a:pt x="0" y="17"/>
                </a:cubicBezTo>
                <a:cubicBezTo>
                  <a:pt x="0" y="18"/>
                  <a:pt x="0" y="18"/>
                  <a:pt x="0" y="18"/>
                </a:cubicBezTo>
                <a:cubicBezTo>
                  <a:pt x="1" y="18"/>
                  <a:pt x="1" y="18"/>
                  <a:pt x="1" y="19"/>
                </a:cubicBezTo>
                <a:cubicBezTo>
                  <a:pt x="1" y="19"/>
                  <a:pt x="1" y="20"/>
                  <a:pt x="1" y="20"/>
                </a:cubicBezTo>
                <a:cubicBezTo>
                  <a:pt x="2" y="20"/>
                  <a:pt x="3" y="20"/>
                  <a:pt x="3" y="20"/>
                </a:cubicBezTo>
                <a:cubicBezTo>
                  <a:pt x="3" y="20"/>
                  <a:pt x="4" y="21"/>
                  <a:pt x="4" y="21"/>
                </a:cubicBezTo>
                <a:cubicBezTo>
                  <a:pt x="4" y="22"/>
                  <a:pt x="4" y="22"/>
                  <a:pt x="4" y="22"/>
                </a:cubicBezTo>
                <a:cubicBezTo>
                  <a:pt x="4" y="23"/>
                  <a:pt x="4" y="23"/>
                  <a:pt x="5" y="23"/>
                </a:cubicBezTo>
                <a:cubicBezTo>
                  <a:pt x="4" y="23"/>
                  <a:pt x="4" y="23"/>
                  <a:pt x="3" y="23"/>
                </a:cubicBezTo>
                <a:cubicBezTo>
                  <a:pt x="3" y="23"/>
                  <a:pt x="4" y="24"/>
                  <a:pt x="4" y="24"/>
                </a:cubicBezTo>
                <a:cubicBezTo>
                  <a:pt x="4" y="24"/>
                  <a:pt x="4" y="25"/>
                  <a:pt x="5" y="25"/>
                </a:cubicBezTo>
                <a:cubicBezTo>
                  <a:pt x="5" y="25"/>
                  <a:pt x="5" y="24"/>
                  <a:pt x="5" y="24"/>
                </a:cubicBezTo>
                <a:cubicBezTo>
                  <a:pt x="4" y="25"/>
                  <a:pt x="6" y="26"/>
                  <a:pt x="6" y="26"/>
                </a:cubicBezTo>
                <a:cubicBezTo>
                  <a:pt x="7" y="26"/>
                  <a:pt x="7" y="26"/>
                  <a:pt x="7" y="26"/>
                </a:cubicBezTo>
                <a:cubicBezTo>
                  <a:pt x="7" y="26"/>
                  <a:pt x="8" y="25"/>
                  <a:pt x="8" y="25"/>
                </a:cubicBezTo>
                <a:cubicBezTo>
                  <a:pt x="8" y="25"/>
                  <a:pt x="7" y="26"/>
                  <a:pt x="7" y="26"/>
                </a:cubicBezTo>
                <a:cubicBezTo>
                  <a:pt x="7" y="26"/>
                  <a:pt x="7" y="27"/>
                  <a:pt x="8" y="26"/>
                </a:cubicBezTo>
                <a:cubicBezTo>
                  <a:pt x="8" y="27"/>
                  <a:pt x="8" y="27"/>
                  <a:pt x="9" y="27"/>
                </a:cubicBezTo>
                <a:cubicBezTo>
                  <a:pt x="10" y="27"/>
                  <a:pt x="10" y="27"/>
                  <a:pt x="10" y="27"/>
                </a:cubicBezTo>
                <a:cubicBezTo>
                  <a:pt x="11" y="27"/>
                  <a:pt x="11" y="27"/>
                  <a:pt x="10" y="27"/>
                </a:cubicBezTo>
                <a:cubicBezTo>
                  <a:pt x="10" y="28"/>
                  <a:pt x="9" y="27"/>
                  <a:pt x="8" y="28"/>
                </a:cubicBezTo>
                <a:cubicBezTo>
                  <a:pt x="7" y="28"/>
                  <a:pt x="9" y="29"/>
                  <a:pt x="9" y="29"/>
                </a:cubicBezTo>
                <a:cubicBezTo>
                  <a:pt x="9" y="29"/>
                  <a:pt x="8" y="29"/>
                  <a:pt x="8" y="29"/>
                </a:cubicBezTo>
                <a:cubicBezTo>
                  <a:pt x="7" y="29"/>
                  <a:pt x="8" y="29"/>
                  <a:pt x="8" y="29"/>
                </a:cubicBezTo>
                <a:cubicBezTo>
                  <a:pt x="9" y="30"/>
                  <a:pt x="11" y="30"/>
                  <a:pt x="12" y="31"/>
                </a:cubicBezTo>
                <a:cubicBezTo>
                  <a:pt x="13" y="31"/>
                  <a:pt x="13" y="31"/>
                  <a:pt x="15" y="32"/>
                </a:cubicBezTo>
                <a:cubicBezTo>
                  <a:pt x="15" y="32"/>
                  <a:pt x="15" y="33"/>
                  <a:pt x="16" y="33"/>
                </a:cubicBezTo>
                <a:cubicBezTo>
                  <a:pt x="16" y="33"/>
                  <a:pt x="16" y="33"/>
                  <a:pt x="16" y="33"/>
                </a:cubicBezTo>
                <a:cubicBezTo>
                  <a:pt x="16" y="33"/>
                  <a:pt x="16" y="33"/>
                  <a:pt x="17" y="33"/>
                </a:cubicBezTo>
                <a:cubicBezTo>
                  <a:pt x="17" y="34"/>
                  <a:pt x="18" y="35"/>
                  <a:pt x="18" y="34"/>
                </a:cubicBezTo>
                <a:cubicBezTo>
                  <a:pt x="18" y="33"/>
                  <a:pt x="18" y="32"/>
                  <a:pt x="19" y="32"/>
                </a:cubicBezTo>
                <a:cubicBezTo>
                  <a:pt x="19" y="32"/>
                  <a:pt x="19" y="32"/>
                  <a:pt x="19" y="32"/>
                </a:cubicBezTo>
                <a:cubicBezTo>
                  <a:pt x="18" y="31"/>
                  <a:pt x="21" y="30"/>
                  <a:pt x="21" y="30"/>
                </a:cubicBezTo>
                <a:cubicBezTo>
                  <a:pt x="21" y="29"/>
                  <a:pt x="22" y="29"/>
                  <a:pt x="22" y="28"/>
                </a:cubicBezTo>
                <a:cubicBezTo>
                  <a:pt x="23" y="28"/>
                  <a:pt x="23" y="28"/>
                  <a:pt x="24" y="27"/>
                </a:cubicBezTo>
                <a:cubicBezTo>
                  <a:pt x="24" y="27"/>
                  <a:pt x="24" y="26"/>
                  <a:pt x="25" y="26"/>
                </a:cubicBezTo>
                <a:cubicBezTo>
                  <a:pt x="25" y="25"/>
                  <a:pt x="26" y="25"/>
                  <a:pt x="26" y="24"/>
                </a:cubicBezTo>
                <a:cubicBezTo>
                  <a:pt x="26" y="23"/>
                  <a:pt x="26" y="22"/>
                  <a:pt x="27" y="21"/>
                </a:cubicBezTo>
                <a:cubicBezTo>
                  <a:pt x="27" y="21"/>
                  <a:pt x="28" y="21"/>
                  <a:pt x="28" y="21"/>
                </a:cubicBezTo>
                <a:cubicBezTo>
                  <a:pt x="29" y="21"/>
                  <a:pt x="29" y="20"/>
                  <a:pt x="29" y="19"/>
                </a:cubicBezTo>
                <a:cubicBezTo>
                  <a:pt x="29" y="18"/>
                  <a:pt x="29" y="18"/>
                  <a:pt x="29" y="17"/>
                </a:cubicBezTo>
                <a:close/>
                <a:moveTo>
                  <a:pt x="2" y="13"/>
                </a:moveTo>
                <a:cubicBezTo>
                  <a:pt x="3" y="13"/>
                  <a:pt x="3" y="13"/>
                  <a:pt x="3" y="13"/>
                </a:cubicBezTo>
                <a:cubicBezTo>
                  <a:pt x="3" y="13"/>
                  <a:pt x="3" y="13"/>
                  <a:pt x="2" y="13"/>
                </a:cubicBezTo>
                <a:close/>
                <a:moveTo>
                  <a:pt x="8" y="28"/>
                </a:moveTo>
                <a:cubicBezTo>
                  <a:pt x="8" y="28"/>
                  <a:pt x="7" y="29"/>
                  <a:pt x="7" y="29"/>
                </a:cubicBezTo>
                <a:cubicBezTo>
                  <a:pt x="7" y="29"/>
                  <a:pt x="7" y="28"/>
                  <a:pt x="7" y="28"/>
                </a:cubicBezTo>
                <a:cubicBezTo>
                  <a:pt x="6" y="28"/>
                  <a:pt x="4" y="27"/>
                  <a:pt x="3" y="27"/>
                </a:cubicBezTo>
                <a:cubicBezTo>
                  <a:pt x="4" y="27"/>
                  <a:pt x="4" y="27"/>
                  <a:pt x="4" y="27"/>
                </a:cubicBezTo>
                <a:cubicBezTo>
                  <a:pt x="5" y="26"/>
                  <a:pt x="8" y="26"/>
                  <a:pt x="8" y="2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3" name="Seychelles"/>
          <p:cNvSpPr>
            <a:spLocks noEditPoints="1"/>
          </p:cNvSpPr>
          <p:nvPr/>
        </p:nvSpPr>
        <p:spPr bwMode="auto">
          <a:xfrm>
            <a:off x="7407022" y="4815931"/>
            <a:ext cx="356987" cy="237991"/>
          </a:xfrm>
          <a:custGeom>
            <a:avLst/>
            <a:gdLst/>
            <a:ahLst/>
            <a:cxnLst>
              <a:cxn ang="0">
                <a:pos x="2" y="61"/>
              </a:cxn>
              <a:cxn ang="0">
                <a:pos x="1" y="61"/>
              </a:cxn>
              <a:cxn ang="0">
                <a:pos x="2" y="61"/>
              </a:cxn>
              <a:cxn ang="0">
                <a:pos x="47" y="63"/>
              </a:cxn>
              <a:cxn ang="0">
                <a:pos x="47" y="63"/>
              </a:cxn>
              <a:cxn ang="0">
                <a:pos x="47" y="63"/>
              </a:cxn>
              <a:cxn ang="0">
                <a:pos x="13" y="65"/>
              </a:cxn>
              <a:cxn ang="0">
                <a:pos x="13" y="65"/>
              </a:cxn>
              <a:cxn ang="0">
                <a:pos x="13" y="65"/>
              </a:cxn>
              <a:cxn ang="0">
                <a:pos x="3" y="65"/>
              </a:cxn>
              <a:cxn ang="0">
                <a:pos x="3" y="65"/>
              </a:cxn>
              <a:cxn ang="0">
                <a:pos x="89" y="8"/>
              </a:cxn>
              <a:cxn ang="0">
                <a:pos x="89" y="8"/>
              </a:cxn>
              <a:cxn ang="0">
                <a:pos x="67" y="16"/>
              </a:cxn>
              <a:cxn ang="0">
                <a:pos x="67" y="17"/>
              </a:cxn>
              <a:cxn ang="0">
                <a:pos x="67" y="17"/>
              </a:cxn>
              <a:cxn ang="0">
                <a:pos x="67" y="16"/>
              </a:cxn>
              <a:cxn ang="0">
                <a:pos x="67" y="16"/>
              </a:cxn>
              <a:cxn ang="0">
                <a:pos x="47" y="59"/>
              </a:cxn>
              <a:cxn ang="0">
                <a:pos x="47" y="60"/>
              </a:cxn>
              <a:cxn ang="0">
                <a:pos x="47" y="59"/>
              </a:cxn>
              <a:cxn ang="0">
                <a:pos x="93" y="0"/>
              </a:cxn>
              <a:cxn ang="0">
                <a:pos x="93" y="0"/>
              </a:cxn>
              <a:cxn ang="0">
                <a:pos x="93" y="0"/>
              </a:cxn>
              <a:cxn ang="0">
                <a:pos x="94" y="6"/>
              </a:cxn>
              <a:cxn ang="0">
                <a:pos x="95" y="6"/>
              </a:cxn>
              <a:cxn ang="0">
                <a:pos x="94" y="5"/>
              </a:cxn>
              <a:cxn ang="0">
                <a:pos x="94" y="6"/>
              </a:cxn>
              <a:cxn ang="0">
                <a:pos x="64" y="35"/>
              </a:cxn>
              <a:cxn ang="0">
                <a:pos x="64" y="35"/>
              </a:cxn>
              <a:cxn ang="0">
                <a:pos x="64" y="35"/>
              </a:cxn>
              <a:cxn ang="0">
                <a:pos x="90" y="23"/>
              </a:cxn>
              <a:cxn ang="0">
                <a:pos x="90" y="23"/>
              </a:cxn>
              <a:cxn ang="0">
                <a:pos x="90" y="23"/>
              </a:cxn>
              <a:cxn ang="0">
                <a:pos x="98" y="37"/>
              </a:cxn>
              <a:cxn ang="0">
                <a:pos x="99" y="36"/>
              </a:cxn>
              <a:cxn ang="0">
                <a:pos x="98" y="37"/>
              </a:cxn>
              <a:cxn ang="0">
                <a:pos x="3" y="61"/>
              </a:cxn>
              <a:cxn ang="0">
                <a:pos x="3" y="61"/>
              </a:cxn>
              <a:cxn ang="0">
                <a:pos x="0" y="61"/>
              </a:cxn>
              <a:cxn ang="0">
                <a:pos x="1" y="62"/>
              </a:cxn>
              <a:cxn ang="0">
                <a:pos x="2" y="62"/>
              </a:cxn>
              <a:cxn ang="0">
                <a:pos x="3" y="62"/>
              </a:cxn>
              <a:cxn ang="0">
                <a:pos x="3" y="61"/>
              </a:cxn>
              <a:cxn ang="0">
                <a:pos x="91" y="9"/>
              </a:cxn>
              <a:cxn ang="0">
                <a:pos x="91" y="8"/>
              </a:cxn>
              <a:cxn ang="0">
                <a:pos x="91" y="9"/>
              </a:cxn>
              <a:cxn ang="0">
                <a:pos x="91" y="9"/>
              </a:cxn>
              <a:cxn ang="0">
                <a:pos x="92" y="10"/>
              </a:cxn>
              <a:cxn ang="0">
                <a:pos x="91" y="10"/>
              </a:cxn>
              <a:cxn ang="0">
                <a:pos x="92" y="11"/>
              </a:cxn>
              <a:cxn ang="0">
                <a:pos x="92" y="9"/>
              </a:cxn>
              <a:cxn ang="0">
                <a:pos x="91" y="9"/>
              </a:cxn>
            </a:cxnLst>
            <a:rect l="0" t="0" r="r" b="b"/>
            <a:pathLst>
              <a:path w="99" h="66">
                <a:moveTo>
                  <a:pt x="2" y="61"/>
                </a:moveTo>
                <a:cubicBezTo>
                  <a:pt x="2" y="61"/>
                  <a:pt x="2" y="61"/>
                  <a:pt x="1" y="61"/>
                </a:cubicBezTo>
                <a:cubicBezTo>
                  <a:pt x="2" y="61"/>
                  <a:pt x="3" y="61"/>
                  <a:pt x="2" y="61"/>
                </a:cubicBezTo>
                <a:close/>
                <a:moveTo>
                  <a:pt x="47" y="63"/>
                </a:moveTo>
                <a:cubicBezTo>
                  <a:pt x="47" y="63"/>
                  <a:pt x="47" y="63"/>
                  <a:pt x="47" y="63"/>
                </a:cubicBezTo>
                <a:cubicBezTo>
                  <a:pt x="47" y="63"/>
                  <a:pt x="47" y="63"/>
                  <a:pt x="47" y="63"/>
                </a:cubicBezTo>
                <a:close/>
                <a:moveTo>
                  <a:pt x="13" y="65"/>
                </a:moveTo>
                <a:cubicBezTo>
                  <a:pt x="13" y="65"/>
                  <a:pt x="13" y="65"/>
                  <a:pt x="13" y="65"/>
                </a:cubicBezTo>
                <a:cubicBezTo>
                  <a:pt x="13" y="65"/>
                  <a:pt x="13" y="65"/>
                  <a:pt x="13" y="65"/>
                </a:cubicBezTo>
                <a:close/>
                <a:moveTo>
                  <a:pt x="3" y="65"/>
                </a:moveTo>
                <a:cubicBezTo>
                  <a:pt x="3" y="65"/>
                  <a:pt x="3" y="66"/>
                  <a:pt x="3" y="65"/>
                </a:cubicBezTo>
                <a:close/>
                <a:moveTo>
                  <a:pt x="89" y="8"/>
                </a:moveTo>
                <a:cubicBezTo>
                  <a:pt x="90" y="7"/>
                  <a:pt x="88" y="7"/>
                  <a:pt x="89" y="8"/>
                </a:cubicBezTo>
                <a:close/>
                <a:moveTo>
                  <a:pt x="67" y="16"/>
                </a:moveTo>
                <a:cubicBezTo>
                  <a:pt x="67" y="16"/>
                  <a:pt x="67" y="17"/>
                  <a:pt x="67" y="17"/>
                </a:cubicBezTo>
                <a:cubicBezTo>
                  <a:pt x="67" y="17"/>
                  <a:pt x="67" y="17"/>
                  <a:pt x="67" y="17"/>
                </a:cubicBezTo>
                <a:cubicBezTo>
                  <a:pt x="67" y="17"/>
                  <a:pt x="67" y="16"/>
                  <a:pt x="67" y="16"/>
                </a:cubicBezTo>
                <a:cubicBezTo>
                  <a:pt x="67" y="16"/>
                  <a:pt x="66" y="16"/>
                  <a:pt x="67" y="16"/>
                </a:cubicBezTo>
                <a:close/>
                <a:moveTo>
                  <a:pt x="47" y="59"/>
                </a:moveTo>
                <a:cubicBezTo>
                  <a:pt x="47" y="59"/>
                  <a:pt x="47" y="60"/>
                  <a:pt x="47" y="60"/>
                </a:cubicBezTo>
                <a:cubicBezTo>
                  <a:pt x="47" y="60"/>
                  <a:pt x="47" y="59"/>
                  <a:pt x="47" y="59"/>
                </a:cubicBezTo>
                <a:close/>
                <a:moveTo>
                  <a:pt x="93" y="0"/>
                </a:moveTo>
                <a:cubicBezTo>
                  <a:pt x="93" y="0"/>
                  <a:pt x="93" y="0"/>
                  <a:pt x="93" y="0"/>
                </a:cubicBezTo>
                <a:cubicBezTo>
                  <a:pt x="93" y="0"/>
                  <a:pt x="93" y="0"/>
                  <a:pt x="93" y="0"/>
                </a:cubicBezTo>
                <a:close/>
                <a:moveTo>
                  <a:pt x="94" y="6"/>
                </a:moveTo>
                <a:cubicBezTo>
                  <a:pt x="94" y="6"/>
                  <a:pt x="94" y="6"/>
                  <a:pt x="95" y="6"/>
                </a:cubicBezTo>
                <a:cubicBezTo>
                  <a:pt x="94" y="6"/>
                  <a:pt x="94" y="5"/>
                  <a:pt x="94" y="5"/>
                </a:cubicBezTo>
                <a:cubicBezTo>
                  <a:pt x="93" y="6"/>
                  <a:pt x="94" y="6"/>
                  <a:pt x="94" y="6"/>
                </a:cubicBezTo>
                <a:close/>
                <a:moveTo>
                  <a:pt x="64" y="35"/>
                </a:moveTo>
                <a:cubicBezTo>
                  <a:pt x="64" y="35"/>
                  <a:pt x="64" y="35"/>
                  <a:pt x="64" y="35"/>
                </a:cubicBezTo>
                <a:cubicBezTo>
                  <a:pt x="64" y="35"/>
                  <a:pt x="64" y="35"/>
                  <a:pt x="64" y="35"/>
                </a:cubicBezTo>
                <a:close/>
                <a:moveTo>
                  <a:pt x="90" y="23"/>
                </a:moveTo>
                <a:cubicBezTo>
                  <a:pt x="90" y="23"/>
                  <a:pt x="90" y="23"/>
                  <a:pt x="90" y="23"/>
                </a:cubicBezTo>
                <a:cubicBezTo>
                  <a:pt x="90" y="23"/>
                  <a:pt x="90" y="23"/>
                  <a:pt x="90" y="23"/>
                </a:cubicBezTo>
                <a:close/>
                <a:moveTo>
                  <a:pt x="98" y="37"/>
                </a:moveTo>
                <a:cubicBezTo>
                  <a:pt x="98" y="37"/>
                  <a:pt x="99" y="37"/>
                  <a:pt x="99" y="36"/>
                </a:cubicBezTo>
                <a:cubicBezTo>
                  <a:pt x="98" y="37"/>
                  <a:pt x="98" y="37"/>
                  <a:pt x="98" y="37"/>
                </a:cubicBezTo>
                <a:close/>
                <a:moveTo>
                  <a:pt x="3" y="61"/>
                </a:moveTo>
                <a:cubicBezTo>
                  <a:pt x="3" y="61"/>
                  <a:pt x="3" y="61"/>
                  <a:pt x="3" y="61"/>
                </a:cubicBezTo>
                <a:cubicBezTo>
                  <a:pt x="2" y="61"/>
                  <a:pt x="1" y="62"/>
                  <a:pt x="0" y="61"/>
                </a:cubicBezTo>
                <a:cubicBezTo>
                  <a:pt x="0" y="62"/>
                  <a:pt x="1" y="62"/>
                  <a:pt x="1" y="62"/>
                </a:cubicBezTo>
                <a:cubicBezTo>
                  <a:pt x="1" y="62"/>
                  <a:pt x="2" y="62"/>
                  <a:pt x="2" y="62"/>
                </a:cubicBezTo>
                <a:cubicBezTo>
                  <a:pt x="2" y="62"/>
                  <a:pt x="3" y="62"/>
                  <a:pt x="3" y="62"/>
                </a:cubicBezTo>
                <a:cubicBezTo>
                  <a:pt x="4" y="62"/>
                  <a:pt x="4" y="61"/>
                  <a:pt x="3" y="61"/>
                </a:cubicBezTo>
                <a:close/>
                <a:moveTo>
                  <a:pt x="91" y="9"/>
                </a:moveTo>
                <a:cubicBezTo>
                  <a:pt x="91" y="8"/>
                  <a:pt x="92" y="8"/>
                  <a:pt x="91" y="8"/>
                </a:cubicBezTo>
                <a:cubicBezTo>
                  <a:pt x="91" y="8"/>
                  <a:pt x="91" y="9"/>
                  <a:pt x="91" y="9"/>
                </a:cubicBezTo>
                <a:cubicBezTo>
                  <a:pt x="90" y="9"/>
                  <a:pt x="91" y="9"/>
                  <a:pt x="91" y="9"/>
                </a:cubicBezTo>
                <a:cubicBezTo>
                  <a:pt x="91" y="10"/>
                  <a:pt x="91" y="10"/>
                  <a:pt x="92" y="10"/>
                </a:cubicBezTo>
                <a:cubicBezTo>
                  <a:pt x="92" y="10"/>
                  <a:pt x="91" y="10"/>
                  <a:pt x="91" y="10"/>
                </a:cubicBezTo>
                <a:cubicBezTo>
                  <a:pt x="92" y="11"/>
                  <a:pt x="92" y="11"/>
                  <a:pt x="92" y="11"/>
                </a:cubicBezTo>
                <a:cubicBezTo>
                  <a:pt x="92" y="11"/>
                  <a:pt x="92" y="10"/>
                  <a:pt x="92" y="9"/>
                </a:cubicBezTo>
                <a:cubicBezTo>
                  <a:pt x="92" y="9"/>
                  <a:pt x="91" y="9"/>
                  <a:pt x="91" y="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4" name="Serbia"/>
          <p:cNvSpPr>
            <a:spLocks/>
          </p:cNvSpPr>
          <p:nvPr/>
        </p:nvSpPr>
        <p:spPr bwMode="auto">
          <a:xfrm>
            <a:off x="6421059" y="2834005"/>
            <a:ext cx="136995" cy="151995"/>
          </a:xfrm>
          <a:custGeom>
            <a:avLst/>
            <a:gdLst/>
            <a:ahLst/>
            <a:cxnLst>
              <a:cxn ang="0">
                <a:pos x="35" y="30"/>
              </a:cxn>
              <a:cxn ang="0">
                <a:pos x="32" y="25"/>
              </a:cxn>
              <a:cxn ang="0">
                <a:pos x="34" y="21"/>
              </a:cxn>
              <a:cxn ang="0">
                <a:pos x="32" y="18"/>
              </a:cxn>
              <a:cxn ang="0">
                <a:pos x="35" y="17"/>
              </a:cxn>
              <a:cxn ang="0">
                <a:pos x="31" y="16"/>
              </a:cxn>
              <a:cxn ang="0">
                <a:pos x="25" y="15"/>
              </a:cxn>
              <a:cxn ang="0">
                <a:pos x="22" y="12"/>
              </a:cxn>
              <a:cxn ang="0">
                <a:pos x="23" y="10"/>
              </a:cxn>
              <a:cxn ang="0">
                <a:pos x="19" y="9"/>
              </a:cxn>
              <a:cxn ang="0">
                <a:pos x="17" y="5"/>
              </a:cxn>
              <a:cxn ang="0">
                <a:pos x="13" y="2"/>
              </a:cxn>
              <a:cxn ang="0">
                <a:pos x="8" y="0"/>
              </a:cxn>
              <a:cxn ang="0">
                <a:pos x="4" y="2"/>
              </a:cxn>
              <a:cxn ang="0">
                <a:pos x="2" y="2"/>
              </a:cxn>
              <a:cxn ang="0">
                <a:pos x="0" y="3"/>
              </a:cxn>
              <a:cxn ang="0">
                <a:pos x="1" y="7"/>
              </a:cxn>
              <a:cxn ang="0">
                <a:pos x="2" y="8"/>
              </a:cxn>
              <a:cxn ang="0">
                <a:pos x="3" y="9"/>
              </a:cxn>
              <a:cxn ang="0">
                <a:pos x="3" y="10"/>
              </a:cxn>
              <a:cxn ang="0">
                <a:pos x="3" y="12"/>
              </a:cxn>
              <a:cxn ang="0">
                <a:pos x="2" y="14"/>
              </a:cxn>
              <a:cxn ang="0">
                <a:pos x="5" y="16"/>
              </a:cxn>
              <a:cxn ang="0">
                <a:pos x="3" y="19"/>
              </a:cxn>
              <a:cxn ang="0">
                <a:pos x="6" y="22"/>
              </a:cxn>
              <a:cxn ang="0">
                <a:pos x="5" y="24"/>
              </a:cxn>
              <a:cxn ang="0">
                <a:pos x="6" y="28"/>
              </a:cxn>
              <a:cxn ang="0">
                <a:pos x="6" y="30"/>
              </a:cxn>
              <a:cxn ang="0">
                <a:pos x="11" y="33"/>
              </a:cxn>
              <a:cxn ang="0">
                <a:pos x="13" y="35"/>
              </a:cxn>
              <a:cxn ang="0">
                <a:pos x="15" y="35"/>
              </a:cxn>
              <a:cxn ang="0">
                <a:pos x="16" y="33"/>
              </a:cxn>
              <a:cxn ang="0">
                <a:pos x="17" y="31"/>
              </a:cxn>
              <a:cxn ang="0">
                <a:pos x="18" y="30"/>
              </a:cxn>
              <a:cxn ang="0">
                <a:pos x="20" y="31"/>
              </a:cxn>
              <a:cxn ang="0">
                <a:pos x="22" y="33"/>
              </a:cxn>
              <a:cxn ang="0">
                <a:pos x="24" y="34"/>
              </a:cxn>
              <a:cxn ang="0">
                <a:pos x="26" y="36"/>
              </a:cxn>
              <a:cxn ang="0">
                <a:pos x="26" y="38"/>
              </a:cxn>
              <a:cxn ang="0">
                <a:pos x="26" y="41"/>
              </a:cxn>
              <a:cxn ang="0">
                <a:pos x="28" y="42"/>
              </a:cxn>
              <a:cxn ang="0">
                <a:pos x="33" y="41"/>
              </a:cxn>
              <a:cxn ang="0">
                <a:pos x="34" y="37"/>
              </a:cxn>
              <a:cxn ang="0">
                <a:pos x="37" y="33"/>
              </a:cxn>
            </a:cxnLst>
            <a:rect l="0" t="0" r="r" b="b"/>
            <a:pathLst>
              <a:path w="38" h="42">
                <a:moveTo>
                  <a:pt x="38" y="32"/>
                </a:moveTo>
                <a:cubicBezTo>
                  <a:pt x="37" y="32"/>
                  <a:pt x="37" y="32"/>
                  <a:pt x="36" y="31"/>
                </a:cubicBezTo>
                <a:cubicBezTo>
                  <a:pt x="36" y="31"/>
                  <a:pt x="36" y="30"/>
                  <a:pt x="35" y="30"/>
                </a:cubicBezTo>
                <a:cubicBezTo>
                  <a:pt x="34" y="29"/>
                  <a:pt x="33" y="29"/>
                  <a:pt x="33" y="28"/>
                </a:cubicBezTo>
                <a:cubicBezTo>
                  <a:pt x="33" y="28"/>
                  <a:pt x="33" y="27"/>
                  <a:pt x="32" y="27"/>
                </a:cubicBezTo>
                <a:cubicBezTo>
                  <a:pt x="32" y="26"/>
                  <a:pt x="32" y="25"/>
                  <a:pt x="32" y="25"/>
                </a:cubicBezTo>
                <a:cubicBezTo>
                  <a:pt x="32" y="24"/>
                  <a:pt x="32" y="23"/>
                  <a:pt x="32" y="23"/>
                </a:cubicBezTo>
                <a:cubicBezTo>
                  <a:pt x="33" y="23"/>
                  <a:pt x="33" y="23"/>
                  <a:pt x="34" y="22"/>
                </a:cubicBezTo>
                <a:cubicBezTo>
                  <a:pt x="34" y="22"/>
                  <a:pt x="34" y="21"/>
                  <a:pt x="34" y="21"/>
                </a:cubicBezTo>
                <a:cubicBezTo>
                  <a:pt x="34" y="21"/>
                  <a:pt x="34" y="20"/>
                  <a:pt x="34" y="20"/>
                </a:cubicBezTo>
                <a:cubicBezTo>
                  <a:pt x="33" y="20"/>
                  <a:pt x="33" y="19"/>
                  <a:pt x="33" y="19"/>
                </a:cubicBezTo>
                <a:cubicBezTo>
                  <a:pt x="33" y="19"/>
                  <a:pt x="32" y="18"/>
                  <a:pt x="32" y="18"/>
                </a:cubicBezTo>
                <a:cubicBezTo>
                  <a:pt x="33" y="18"/>
                  <a:pt x="33" y="18"/>
                  <a:pt x="33" y="18"/>
                </a:cubicBezTo>
                <a:cubicBezTo>
                  <a:pt x="33" y="18"/>
                  <a:pt x="33" y="17"/>
                  <a:pt x="34" y="17"/>
                </a:cubicBezTo>
                <a:cubicBezTo>
                  <a:pt x="34" y="18"/>
                  <a:pt x="35" y="18"/>
                  <a:pt x="35" y="17"/>
                </a:cubicBezTo>
                <a:cubicBezTo>
                  <a:pt x="34" y="17"/>
                  <a:pt x="34" y="17"/>
                  <a:pt x="33" y="16"/>
                </a:cubicBezTo>
                <a:cubicBezTo>
                  <a:pt x="33" y="16"/>
                  <a:pt x="32" y="15"/>
                  <a:pt x="32" y="16"/>
                </a:cubicBezTo>
                <a:cubicBezTo>
                  <a:pt x="32" y="16"/>
                  <a:pt x="31" y="16"/>
                  <a:pt x="31" y="16"/>
                </a:cubicBezTo>
                <a:cubicBezTo>
                  <a:pt x="30" y="17"/>
                  <a:pt x="30" y="19"/>
                  <a:pt x="28" y="17"/>
                </a:cubicBezTo>
                <a:cubicBezTo>
                  <a:pt x="28" y="16"/>
                  <a:pt x="26" y="16"/>
                  <a:pt x="25" y="16"/>
                </a:cubicBezTo>
                <a:cubicBezTo>
                  <a:pt x="25" y="16"/>
                  <a:pt x="25" y="16"/>
                  <a:pt x="25" y="15"/>
                </a:cubicBezTo>
                <a:cubicBezTo>
                  <a:pt x="24" y="15"/>
                  <a:pt x="23" y="15"/>
                  <a:pt x="23" y="15"/>
                </a:cubicBezTo>
                <a:cubicBezTo>
                  <a:pt x="21" y="14"/>
                  <a:pt x="25" y="14"/>
                  <a:pt x="24" y="13"/>
                </a:cubicBezTo>
                <a:cubicBezTo>
                  <a:pt x="24" y="13"/>
                  <a:pt x="22" y="13"/>
                  <a:pt x="22" y="12"/>
                </a:cubicBezTo>
                <a:cubicBezTo>
                  <a:pt x="22" y="12"/>
                  <a:pt x="23" y="12"/>
                  <a:pt x="23" y="12"/>
                </a:cubicBezTo>
                <a:cubicBezTo>
                  <a:pt x="23" y="12"/>
                  <a:pt x="23" y="12"/>
                  <a:pt x="23" y="12"/>
                </a:cubicBezTo>
                <a:cubicBezTo>
                  <a:pt x="23" y="11"/>
                  <a:pt x="24" y="11"/>
                  <a:pt x="23" y="10"/>
                </a:cubicBezTo>
                <a:cubicBezTo>
                  <a:pt x="22" y="10"/>
                  <a:pt x="21" y="10"/>
                  <a:pt x="21" y="9"/>
                </a:cubicBezTo>
                <a:cubicBezTo>
                  <a:pt x="20" y="9"/>
                  <a:pt x="20" y="9"/>
                  <a:pt x="20" y="9"/>
                </a:cubicBezTo>
                <a:cubicBezTo>
                  <a:pt x="19" y="9"/>
                  <a:pt x="19" y="9"/>
                  <a:pt x="19" y="9"/>
                </a:cubicBezTo>
                <a:cubicBezTo>
                  <a:pt x="18" y="8"/>
                  <a:pt x="17" y="7"/>
                  <a:pt x="17" y="7"/>
                </a:cubicBezTo>
                <a:cubicBezTo>
                  <a:pt x="18" y="7"/>
                  <a:pt x="17" y="6"/>
                  <a:pt x="17" y="6"/>
                </a:cubicBezTo>
                <a:cubicBezTo>
                  <a:pt x="17" y="6"/>
                  <a:pt x="17" y="6"/>
                  <a:pt x="17" y="5"/>
                </a:cubicBezTo>
                <a:cubicBezTo>
                  <a:pt x="17" y="5"/>
                  <a:pt x="17" y="4"/>
                  <a:pt x="17" y="4"/>
                </a:cubicBezTo>
                <a:cubicBezTo>
                  <a:pt x="16" y="5"/>
                  <a:pt x="16" y="3"/>
                  <a:pt x="15" y="3"/>
                </a:cubicBezTo>
                <a:cubicBezTo>
                  <a:pt x="15" y="3"/>
                  <a:pt x="14" y="2"/>
                  <a:pt x="13" y="2"/>
                </a:cubicBezTo>
                <a:cubicBezTo>
                  <a:pt x="13" y="1"/>
                  <a:pt x="12" y="0"/>
                  <a:pt x="11" y="0"/>
                </a:cubicBezTo>
                <a:cubicBezTo>
                  <a:pt x="11" y="0"/>
                  <a:pt x="10" y="0"/>
                  <a:pt x="10" y="0"/>
                </a:cubicBezTo>
                <a:cubicBezTo>
                  <a:pt x="9" y="0"/>
                  <a:pt x="8" y="0"/>
                  <a:pt x="8" y="0"/>
                </a:cubicBezTo>
                <a:cubicBezTo>
                  <a:pt x="7" y="0"/>
                  <a:pt x="6" y="0"/>
                  <a:pt x="5" y="0"/>
                </a:cubicBezTo>
                <a:cubicBezTo>
                  <a:pt x="5" y="1"/>
                  <a:pt x="5" y="1"/>
                  <a:pt x="4" y="1"/>
                </a:cubicBezTo>
                <a:cubicBezTo>
                  <a:pt x="4" y="1"/>
                  <a:pt x="4" y="2"/>
                  <a:pt x="4" y="2"/>
                </a:cubicBezTo>
                <a:cubicBezTo>
                  <a:pt x="4" y="2"/>
                  <a:pt x="3" y="2"/>
                  <a:pt x="3" y="2"/>
                </a:cubicBezTo>
                <a:cubicBezTo>
                  <a:pt x="2" y="2"/>
                  <a:pt x="2" y="1"/>
                  <a:pt x="2" y="1"/>
                </a:cubicBezTo>
                <a:cubicBezTo>
                  <a:pt x="2" y="2"/>
                  <a:pt x="2" y="2"/>
                  <a:pt x="2" y="2"/>
                </a:cubicBezTo>
                <a:cubicBezTo>
                  <a:pt x="1" y="2"/>
                  <a:pt x="1" y="2"/>
                  <a:pt x="1" y="2"/>
                </a:cubicBezTo>
                <a:cubicBezTo>
                  <a:pt x="1" y="2"/>
                  <a:pt x="1" y="2"/>
                  <a:pt x="1" y="2"/>
                </a:cubicBezTo>
                <a:cubicBezTo>
                  <a:pt x="0" y="3"/>
                  <a:pt x="0" y="3"/>
                  <a:pt x="0" y="3"/>
                </a:cubicBezTo>
                <a:cubicBezTo>
                  <a:pt x="0" y="3"/>
                  <a:pt x="1" y="4"/>
                  <a:pt x="1" y="5"/>
                </a:cubicBezTo>
                <a:cubicBezTo>
                  <a:pt x="0" y="5"/>
                  <a:pt x="1" y="5"/>
                  <a:pt x="1" y="6"/>
                </a:cubicBezTo>
                <a:cubicBezTo>
                  <a:pt x="1" y="6"/>
                  <a:pt x="1" y="7"/>
                  <a:pt x="1" y="7"/>
                </a:cubicBezTo>
                <a:cubicBezTo>
                  <a:pt x="2" y="7"/>
                  <a:pt x="2" y="7"/>
                  <a:pt x="2" y="7"/>
                </a:cubicBezTo>
                <a:cubicBezTo>
                  <a:pt x="2" y="7"/>
                  <a:pt x="2" y="7"/>
                  <a:pt x="1" y="7"/>
                </a:cubicBezTo>
                <a:cubicBezTo>
                  <a:pt x="1" y="7"/>
                  <a:pt x="2" y="8"/>
                  <a:pt x="2" y="8"/>
                </a:cubicBezTo>
                <a:cubicBezTo>
                  <a:pt x="1" y="8"/>
                  <a:pt x="1" y="8"/>
                  <a:pt x="2" y="9"/>
                </a:cubicBezTo>
                <a:cubicBezTo>
                  <a:pt x="2" y="9"/>
                  <a:pt x="2" y="9"/>
                  <a:pt x="2" y="9"/>
                </a:cubicBezTo>
                <a:cubicBezTo>
                  <a:pt x="3" y="9"/>
                  <a:pt x="3" y="9"/>
                  <a:pt x="3" y="9"/>
                </a:cubicBezTo>
                <a:cubicBezTo>
                  <a:pt x="3" y="10"/>
                  <a:pt x="6" y="10"/>
                  <a:pt x="5" y="10"/>
                </a:cubicBezTo>
                <a:cubicBezTo>
                  <a:pt x="5" y="11"/>
                  <a:pt x="4" y="10"/>
                  <a:pt x="4" y="11"/>
                </a:cubicBezTo>
                <a:cubicBezTo>
                  <a:pt x="4" y="11"/>
                  <a:pt x="3" y="10"/>
                  <a:pt x="3" y="10"/>
                </a:cubicBezTo>
                <a:cubicBezTo>
                  <a:pt x="3" y="10"/>
                  <a:pt x="3" y="11"/>
                  <a:pt x="3" y="11"/>
                </a:cubicBezTo>
                <a:cubicBezTo>
                  <a:pt x="3" y="11"/>
                  <a:pt x="2" y="11"/>
                  <a:pt x="2" y="11"/>
                </a:cubicBezTo>
                <a:cubicBezTo>
                  <a:pt x="2" y="11"/>
                  <a:pt x="3" y="12"/>
                  <a:pt x="3" y="12"/>
                </a:cubicBezTo>
                <a:cubicBezTo>
                  <a:pt x="3" y="13"/>
                  <a:pt x="3" y="13"/>
                  <a:pt x="3" y="13"/>
                </a:cubicBezTo>
                <a:cubicBezTo>
                  <a:pt x="3" y="13"/>
                  <a:pt x="2" y="13"/>
                  <a:pt x="2" y="13"/>
                </a:cubicBezTo>
                <a:cubicBezTo>
                  <a:pt x="2" y="14"/>
                  <a:pt x="2" y="14"/>
                  <a:pt x="2" y="14"/>
                </a:cubicBezTo>
                <a:cubicBezTo>
                  <a:pt x="3" y="14"/>
                  <a:pt x="3" y="14"/>
                  <a:pt x="4" y="13"/>
                </a:cubicBezTo>
                <a:cubicBezTo>
                  <a:pt x="5" y="13"/>
                  <a:pt x="5" y="14"/>
                  <a:pt x="5" y="15"/>
                </a:cubicBezTo>
                <a:cubicBezTo>
                  <a:pt x="5" y="15"/>
                  <a:pt x="5" y="15"/>
                  <a:pt x="5" y="16"/>
                </a:cubicBezTo>
                <a:cubicBezTo>
                  <a:pt x="4" y="16"/>
                  <a:pt x="4" y="16"/>
                  <a:pt x="4" y="16"/>
                </a:cubicBezTo>
                <a:cubicBezTo>
                  <a:pt x="4" y="17"/>
                  <a:pt x="4" y="17"/>
                  <a:pt x="3" y="18"/>
                </a:cubicBezTo>
                <a:cubicBezTo>
                  <a:pt x="3" y="18"/>
                  <a:pt x="4" y="19"/>
                  <a:pt x="3" y="19"/>
                </a:cubicBezTo>
                <a:cubicBezTo>
                  <a:pt x="3" y="19"/>
                  <a:pt x="3" y="20"/>
                  <a:pt x="4" y="20"/>
                </a:cubicBezTo>
                <a:cubicBezTo>
                  <a:pt x="4" y="20"/>
                  <a:pt x="5" y="20"/>
                  <a:pt x="5" y="21"/>
                </a:cubicBezTo>
                <a:cubicBezTo>
                  <a:pt x="5" y="21"/>
                  <a:pt x="6" y="22"/>
                  <a:pt x="6" y="22"/>
                </a:cubicBezTo>
                <a:cubicBezTo>
                  <a:pt x="6" y="22"/>
                  <a:pt x="7" y="23"/>
                  <a:pt x="7" y="23"/>
                </a:cubicBezTo>
                <a:cubicBezTo>
                  <a:pt x="8" y="23"/>
                  <a:pt x="7" y="23"/>
                  <a:pt x="7" y="24"/>
                </a:cubicBezTo>
                <a:cubicBezTo>
                  <a:pt x="6" y="24"/>
                  <a:pt x="6" y="24"/>
                  <a:pt x="5" y="24"/>
                </a:cubicBezTo>
                <a:cubicBezTo>
                  <a:pt x="5" y="23"/>
                  <a:pt x="4" y="23"/>
                  <a:pt x="5" y="24"/>
                </a:cubicBezTo>
                <a:cubicBezTo>
                  <a:pt x="6" y="25"/>
                  <a:pt x="7" y="26"/>
                  <a:pt x="7" y="27"/>
                </a:cubicBezTo>
                <a:cubicBezTo>
                  <a:pt x="7" y="28"/>
                  <a:pt x="7" y="28"/>
                  <a:pt x="6" y="28"/>
                </a:cubicBezTo>
                <a:cubicBezTo>
                  <a:pt x="6" y="28"/>
                  <a:pt x="6" y="28"/>
                  <a:pt x="5" y="28"/>
                </a:cubicBezTo>
                <a:cubicBezTo>
                  <a:pt x="5" y="28"/>
                  <a:pt x="4" y="28"/>
                  <a:pt x="4" y="29"/>
                </a:cubicBezTo>
                <a:cubicBezTo>
                  <a:pt x="4" y="29"/>
                  <a:pt x="6" y="30"/>
                  <a:pt x="6" y="30"/>
                </a:cubicBezTo>
                <a:cubicBezTo>
                  <a:pt x="7" y="31"/>
                  <a:pt x="7" y="32"/>
                  <a:pt x="9" y="32"/>
                </a:cubicBezTo>
                <a:cubicBezTo>
                  <a:pt x="9" y="32"/>
                  <a:pt x="9" y="33"/>
                  <a:pt x="10" y="33"/>
                </a:cubicBezTo>
                <a:cubicBezTo>
                  <a:pt x="10" y="33"/>
                  <a:pt x="10" y="33"/>
                  <a:pt x="11" y="33"/>
                </a:cubicBezTo>
                <a:cubicBezTo>
                  <a:pt x="11" y="33"/>
                  <a:pt x="11" y="33"/>
                  <a:pt x="11" y="33"/>
                </a:cubicBezTo>
                <a:cubicBezTo>
                  <a:pt x="11" y="33"/>
                  <a:pt x="12" y="34"/>
                  <a:pt x="12" y="34"/>
                </a:cubicBezTo>
                <a:cubicBezTo>
                  <a:pt x="12" y="34"/>
                  <a:pt x="13" y="34"/>
                  <a:pt x="13" y="35"/>
                </a:cubicBezTo>
                <a:cubicBezTo>
                  <a:pt x="13" y="35"/>
                  <a:pt x="14" y="35"/>
                  <a:pt x="14" y="35"/>
                </a:cubicBezTo>
                <a:cubicBezTo>
                  <a:pt x="14" y="35"/>
                  <a:pt x="14" y="35"/>
                  <a:pt x="14" y="35"/>
                </a:cubicBezTo>
                <a:cubicBezTo>
                  <a:pt x="15" y="35"/>
                  <a:pt x="15" y="35"/>
                  <a:pt x="15" y="35"/>
                </a:cubicBezTo>
                <a:cubicBezTo>
                  <a:pt x="16" y="34"/>
                  <a:pt x="16" y="34"/>
                  <a:pt x="16" y="34"/>
                </a:cubicBezTo>
                <a:cubicBezTo>
                  <a:pt x="16" y="34"/>
                  <a:pt x="16" y="34"/>
                  <a:pt x="16" y="34"/>
                </a:cubicBezTo>
                <a:cubicBezTo>
                  <a:pt x="16" y="33"/>
                  <a:pt x="16" y="33"/>
                  <a:pt x="16" y="33"/>
                </a:cubicBezTo>
                <a:cubicBezTo>
                  <a:pt x="16" y="33"/>
                  <a:pt x="16" y="33"/>
                  <a:pt x="16" y="33"/>
                </a:cubicBezTo>
                <a:cubicBezTo>
                  <a:pt x="17" y="32"/>
                  <a:pt x="17" y="32"/>
                  <a:pt x="17" y="32"/>
                </a:cubicBezTo>
                <a:cubicBezTo>
                  <a:pt x="17" y="31"/>
                  <a:pt x="17" y="31"/>
                  <a:pt x="17" y="31"/>
                </a:cubicBezTo>
                <a:cubicBezTo>
                  <a:pt x="17" y="31"/>
                  <a:pt x="17" y="31"/>
                  <a:pt x="17" y="31"/>
                </a:cubicBezTo>
                <a:cubicBezTo>
                  <a:pt x="17" y="30"/>
                  <a:pt x="17" y="30"/>
                  <a:pt x="17" y="30"/>
                </a:cubicBezTo>
                <a:cubicBezTo>
                  <a:pt x="18" y="30"/>
                  <a:pt x="18" y="30"/>
                  <a:pt x="18" y="30"/>
                </a:cubicBezTo>
                <a:cubicBezTo>
                  <a:pt x="19" y="30"/>
                  <a:pt x="19" y="30"/>
                  <a:pt x="19" y="30"/>
                </a:cubicBezTo>
                <a:cubicBezTo>
                  <a:pt x="19" y="31"/>
                  <a:pt x="19" y="31"/>
                  <a:pt x="19" y="31"/>
                </a:cubicBezTo>
                <a:cubicBezTo>
                  <a:pt x="20" y="31"/>
                  <a:pt x="20" y="31"/>
                  <a:pt x="20" y="31"/>
                </a:cubicBezTo>
                <a:cubicBezTo>
                  <a:pt x="21" y="32"/>
                  <a:pt x="21" y="32"/>
                  <a:pt x="21" y="32"/>
                </a:cubicBezTo>
                <a:cubicBezTo>
                  <a:pt x="22" y="33"/>
                  <a:pt x="22" y="33"/>
                  <a:pt x="22" y="33"/>
                </a:cubicBezTo>
                <a:cubicBezTo>
                  <a:pt x="22" y="33"/>
                  <a:pt x="22" y="33"/>
                  <a:pt x="22" y="33"/>
                </a:cubicBezTo>
                <a:cubicBezTo>
                  <a:pt x="22" y="33"/>
                  <a:pt x="22" y="33"/>
                  <a:pt x="22" y="33"/>
                </a:cubicBezTo>
                <a:cubicBezTo>
                  <a:pt x="23" y="34"/>
                  <a:pt x="23" y="34"/>
                  <a:pt x="23" y="34"/>
                </a:cubicBezTo>
                <a:cubicBezTo>
                  <a:pt x="24" y="34"/>
                  <a:pt x="24" y="34"/>
                  <a:pt x="24" y="34"/>
                </a:cubicBezTo>
                <a:cubicBezTo>
                  <a:pt x="24" y="35"/>
                  <a:pt x="24" y="35"/>
                  <a:pt x="24" y="35"/>
                </a:cubicBezTo>
                <a:cubicBezTo>
                  <a:pt x="25" y="35"/>
                  <a:pt x="25" y="35"/>
                  <a:pt x="25" y="35"/>
                </a:cubicBezTo>
                <a:cubicBezTo>
                  <a:pt x="26" y="36"/>
                  <a:pt x="26" y="36"/>
                  <a:pt x="26" y="36"/>
                </a:cubicBezTo>
                <a:cubicBezTo>
                  <a:pt x="27" y="36"/>
                  <a:pt x="27" y="36"/>
                  <a:pt x="27" y="36"/>
                </a:cubicBezTo>
                <a:cubicBezTo>
                  <a:pt x="27" y="37"/>
                  <a:pt x="27" y="37"/>
                  <a:pt x="27" y="37"/>
                </a:cubicBezTo>
                <a:cubicBezTo>
                  <a:pt x="26" y="38"/>
                  <a:pt x="26" y="38"/>
                  <a:pt x="26" y="38"/>
                </a:cubicBezTo>
                <a:cubicBezTo>
                  <a:pt x="26" y="39"/>
                  <a:pt x="26" y="39"/>
                  <a:pt x="26" y="39"/>
                </a:cubicBezTo>
                <a:cubicBezTo>
                  <a:pt x="25" y="40"/>
                  <a:pt x="25" y="40"/>
                  <a:pt x="25" y="40"/>
                </a:cubicBezTo>
                <a:cubicBezTo>
                  <a:pt x="26" y="41"/>
                  <a:pt x="26" y="41"/>
                  <a:pt x="26" y="41"/>
                </a:cubicBezTo>
                <a:cubicBezTo>
                  <a:pt x="27" y="42"/>
                  <a:pt x="27" y="42"/>
                  <a:pt x="27" y="42"/>
                </a:cubicBezTo>
                <a:cubicBezTo>
                  <a:pt x="27" y="42"/>
                  <a:pt x="26" y="42"/>
                  <a:pt x="26" y="42"/>
                </a:cubicBezTo>
                <a:cubicBezTo>
                  <a:pt x="27" y="42"/>
                  <a:pt x="27" y="42"/>
                  <a:pt x="28" y="42"/>
                </a:cubicBezTo>
                <a:cubicBezTo>
                  <a:pt x="29" y="41"/>
                  <a:pt x="29" y="41"/>
                  <a:pt x="30" y="41"/>
                </a:cubicBezTo>
                <a:cubicBezTo>
                  <a:pt x="30" y="42"/>
                  <a:pt x="31" y="41"/>
                  <a:pt x="32" y="41"/>
                </a:cubicBezTo>
                <a:cubicBezTo>
                  <a:pt x="32" y="42"/>
                  <a:pt x="33" y="42"/>
                  <a:pt x="33" y="41"/>
                </a:cubicBezTo>
                <a:cubicBezTo>
                  <a:pt x="34" y="41"/>
                  <a:pt x="34" y="41"/>
                  <a:pt x="34" y="41"/>
                </a:cubicBezTo>
                <a:cubicBezTo>
                  <a:pt x="35" y="40"/>
                  <a:pt x="34" y="39"/>
                  <a:pt x="33" y="39"/>
                </a:cubicBezTo>
                <a:cubicBezTo>
                  <a:pt x="33" y="38"/>
                  <a:pt x="34" y="37"/>
                  <a:pt x="34" y="37"/>
                </a:cubicBezTo>
                <a:cubicBezTo>
                  <a:pt x="34" y="37"/>
                  <a:pt x="33" y="36"/>
                  <a:pt x="33" y="36"/>
                </a:cubicBezTo>
                <a:cubicBezTo>
                  <a:pt x="34" y="35"/>
                  <a:pt x="36" y="36"/>
                  <a:pt x="36" y="35"/>
                </a:cubicBezTo>
                <a:cubicBezTo>
                  <a:pt x="36" y="34"/>
                  <a:pt x="37" y="34"/>
                  <a:pt x="37" y="33"/>
                </a:cubicBezTo>
                <a:cubicBezTo>
                  <a:pt x="38" y="33"/>
                  <a:pt x="38" y="32"/>
                  <a:pt x="38" y="3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5" name="Senegal"/>
          <p:cNvSpPr>
            <a:spLocks/>
          </p:cNvSpPr>
          <p:nvPr/>
        </p:nvSpPr>
        <p:spPr bwMode="auto">
          <a:xfrm>
            <a:off x="5189106" y="4001961"/>
            <a:ext cx="212992" cy="172994"/>
          </a:xfrm>
          <a:custGeom>
            <a:avLst/>
            <a:gdLst/>
            <a:ahLst/>
            <a:cxnLst>
              <a:cxn ang="0">
                <a:pos x="58" y="44"/>
              </a:cxn>
              <a:cxn ang="0">
                <a:pos x="58" y="41"/>
              </a:cxn>
              <a:cxn ang="0">
                <a:pos x="58" y="39"/>
              </a:cxn>
              <a:cxn ang="0">
                <a:pos x="56" y="36"/>
              </a:cxn>
              <a:cxn ang="0">
                <a:pos x="54" y="35"/>
              </a:cxn>
              <a:cxn ang="0">
                <a:pos x="53" y="31"/>
              </a:cxn>
              <a:cxn ang="0">
                <a:pos x="52" y="26"/>
              </a:cxn>
              <a:cxn ang="0">
                <a:pos x="51" y="24"/>
              </a:cxn>
              <a:cxn ang="0">
                <a:pos x="47" y="17"/>
              </a:cxn>
              <a:cxn ang="0">
                <a:pos x="45" y="15"/>
              </a:cxn>
              <a:cxn ang="0">
                <a:pos x="43" y="12"/>
              </a:cxn>
              <a:cxn ang="0">
                <a:pos x="41" y="10"/>
              </a:cxn>
              <a:cxn ang="0">
                <a:pos x="39" y="6"/>
              </a:cxn>
              <a:cxn ang="0">
                <a:pos x="37" y="5"/>
              </a:cxn>
              <a:cxn ang="0">
                <a:pos x="34" y="4"/>
              </a:cxn>
              <a:cxn ang="0">
                <a:pos x="32" y="1"/>
              </a:cxn>
              <a:cxn ang="0">
                <a:pos x="29" y="1"/>
              </a:cxn>
              <a:cxn ang="0">
                <a:pos x="25" y="0"/>
              </a:cxn>
              <a:cxn ang="0">
                <a:pos x="24" y="1"/>
              </a:cxn>
              <a:cxn ang="0">
                <a:pos x="20" y="1"/>
              </a:cxn>
              <a:cxn ang="0">
                <a:pos x="17" y="2"/>
              </a:cxn>
              <a:cxn ang="0">
                <a:pos x="12" y="2"/>
              </a:cxn>
              <a:cxn ang="0">
                <a:pos x="10" y="7"/>
              </a:cxn>
              <a:cxn ang="0">
                <a:pos x="6" y="16"/>
              </a:cxn>
              <a:cxn ang="0">
                <a:pos x="0" y="21"/>
              </a:cxn>
              <a:cxn ang="0">
                <a:pos x="4" y="24"/>
              </a:cxn>
              <a:cxn ang="0">
                <a:pos x="7" y="29"/>
              </a:cxn>
              <a:cxn ang="0">
                <a:pos x="8" y="28"/>
              </a:cxn>
              <a:cxn ang="0">
                <a:pos x="10" y="28"/>
              </a:cxn>
              <a:cxn ang="0">
                <a:pos x="10" y="28"/>
              </a:cxn>
              <a:cxn ang="0">
                <a:pos x="8" y="30"/>
              </a:cxn>
              <a:cxn ang="0">
                <a:pos x="8" y="31"/>
              </a:cxn>
              <a:cxn ang="0">
                <a:pos x="9" y="32"/>
              </a:cxn>
              <a:cxn ang="0">
                <a:pos x="9" y="32"/>
              </a:cxn>
              <a:cxn ang="0">
                <a:pos x="15" y="34"/>
              </a:cxn>
              <a:cxn ang="0">
                <a:pos x="21" y="32"/>
              </a:cxn>
              <a:cxn ang="0">
                <a:pos x="27" y="34"/>
              </a:cxn>
              <a:cxn ang="0">
                <a:pos x="33" y="34"/>
              </a:cxn>
              <a:cxn ang="0">
                <a:pos x="31" y="38"/>
              </a:cxn>
              <a:cxn ang="0">
                <a:pos x="27" y="36"/>
              </a:cxn>
              <a:cxn ang="0">
                <a:pos x="22" y="34"/>
              </a:cxn>
              <a:cxn ang="0">
                <a:pos x="18" y="36"/>
              </a:cxn>
              <a:cxn ang="0">
                <a:pos x="12" y="39"/>
              </a:cxn>
              <a:cxn ang="0">
                <a:pos x="7" y="41"/>
              </a:cxn>
              <a:cxn ang="0">
                <a:pos x="7" y="43"/>
              </a:cxn>
              <a:cxn ang="0">
                <a:pos x="7" y="45"/>
              </a:cxn>
              <a:cxn ang="0">
                <a:pos x="8" y="44"/>
              </a:cxn>
              <a:cxn ang="0">
                <a:pos x="9" y="44"/>
              </a:cxn>
              <a:cxn ang="0">
                <a:pos x="12" y="45"/>
              </a:cxn>
              <a:cxn ang="0">
                <a:pos x="18" y="45"/>
              </a:cxn>
              <a:cxn ang="0">
                <a:pos x="19" y="43"/>
              </a:cxn>
              <a:cxn ang="0">
                <a:pos x="16" y="45"/>
              </a:cxn>
              <a:cxn ang="0">
                <a:pos x="11" y="45"/>
              </a:cxn>
              <a:cxn ang="0">
                <a:pos x="8" y="45"/>
              </a:cxn>
              <a:cxn ang="0">
                <a:pos x="7" y="48"/>
              </a:cxn>
              <a:cxn ang="0">
                <a:pos x="17" y="46"/>
              </a:cxn>
              <a:cxn ang="0">
                <a:pos x="35" y="44"/>
              </a:cxn>
              <a:cxn ang="0">
                <a:pos x="43" y="46"/>
              </a:cxn>
              <a:cxn ang="0">
                <a:pos x="47" y="47"/>
              </a:cxn>
              <a:cxn ang="0">
                <a:pos x="51" y="48"/>
              </a:cxn>
              <a:cxn ang="0">
                <a:pos x="55" y="47"/>
              </a:cxn>
              <a:cxn ang="0">
                <a:pos x="59" y="46"/>
              </a:cxn>
            </a:cxnLst>
            <a:rect l="0" t="0" r="r" b="b"/>
            <a:pathLst>
              <a:path w="59" h="48">
                <a:moveTo>
                  <a:pt x="58" y="45"/>
                </a:moveTo>
                <a:cubicBezTo>
                  <a:pt x="58" y="45"/>
                  <a:pt x="58" y="45"/>
                  <a:pt x="58" y="44"/>
                </a:cubicBezTo>
                <a:cubicBezTo>
                  <a:pt x="58" y="44"/>
                  <a:pt x="58" y="44"/>
                  <a:pt x="58" y="44"/>
                </a:cubicBezTo>
                <a:cubicBezTo>
                  <a:pt x="58" y="43"/>
                  <a:pt x="58" y="43"/>
                  <a:pt x="58" y="43"/>
                </a:cubicBezTo>
                <a:cubicBezTo>
                  <a:pt x="58" y="43"/>
                  <a:pt x="58" y="42"/>
                  <a:pt x="58" y="42"/>
                </a:cubicBezTo>
                <a:cubicBezTo>
                  <a:pt x="58" y="42"/>
                  <a:pt x="58" y="41"/>
                  <a:pt x="58" y="41"/>
                </a:cubicBezTo>
                <a:cubicBezTo>
                  <a:pt x="58" y="41"/>
                  <a:pt x="58" y="41"/>
                  <a:pt x="58" y="41"/>
                </a:cubicBezTo>
                <a:cubicBezTo>
                  <a:pt x="59" y="41"/>
                  <a:pt x="59" y="41"/>
                  <a:pt x="58" y="40"/>
                </a:cubicBezTo>
                <a:cubicBezTo>
                  <a:pt x="58" y="41"/>
                  <a:pt x="58" y="39"/>
                  <a:pt x="58" y="39"/>
                </a:cubicBezTo>
                <a:cubicBezTo>
                  <a:pt x="57" y="39"/>
                  <a:pt x="57" y="38"/>
                  <a:pt x="57" y="38"/>
                </a:cubicBezTo>
                <a:cubicBezTo>
                  <a:pt x="57" y="38"/>
                  <a:pt x="57" y="38"/>
                  <a:pt x="57" y="37"/>
                </a:cubicBezTo>
                <a:cubicBezTo>
                  <a:pt x="57" y="37"/>
                  <a:pt x="56" y="37"/>
                  <a:pt x="56" y="36"/>
                </a:cubicBezTo>
                <a:cubicBezTo>
                  <a:pt x="56" y="36"/>
                  <a:pt x="56" y="36"/>
                  <a:pt x="55" y="36"/>
                </a:cubicBezTo>
                <a:cubicBezTo>
                  <a:pt x="55" y="36"/>
                  <a:pt x="55" y="38"/>
                  <a:pt x="54" y="36"/>
                </a:cubicBezTo>
                <a:cubicBezTo>
                  <a:pt x="54" y="36"/>
                  <a:pt x="54" y="36"/>
                  <a:pt x="54" y="35"/>
                </a:cubicBezTo>
                <a:cubicBezTo>
                  <a:pt x="53" y="35"/>
                  <a:pt x="53" y="34"/>
                  <a:pt x="52" y="34"/>
                </a:cubicBezTo>
                <a:cubicBezTo>
                  <a:pt x="52" y="34"/>
                  <a:pt x="52" y="33"/>
                  <a:pt x="52" y="33"/>
                </a:cubicBezTo>
                <a:cubicBezTo>
                  <a:pt x="52" y="32"/>
                  <a:pt x="53" y="32"/>
                  <a:pt x="53" y="31"/>
                </a:cubicBezTo>
                <a:cubicBezTo>
                  <a:pt x="53" y="31"/>
                  <a:pt x="53" y="30"/>
                  <a:pt x="53" y="30"/>
                </a:cubicBezTo>
                <a:cubicBezTo>
                  <a:pt x="53" y="29"/>
                  <a:pt x="53" y="28"/>
                  <a:pt x="53" y="28"/>
                </a:cubicBezTo>
                <a:cubicBezTo>
                  <a:pt x="53" y="27"/>
                  <a:pt x="53" y="26"/>
                  <a:pt x="52" y="26"/>
                </a:cubicBezTo>
                <a:cubicBezTo>
                  <a:pt x="52" y="26"/>
                  <a:pt x="52" y="26"/>
                  <a:pt x="52" y="26"/>
                </a:cubicBezTo>
                <a:cubicBezTo>
                  <a:pt x="52" y="25"/>
                  <a:pt x="52" y="25"/>
                  <a:pt x="51" y="25"/>
                </a:cubicBezTo>
                <a:cubicBezTo>
                  <a:pt x="51" y="25"/>
                  <a:pt x="51" y="24"/>
                  <a:pt x="51" y="24"/>
                </a:cubicBezTo>
                <a:cubicBezTo>
                  <a:pt x="51" y="23"/>
                  <a:pt x="51" y="23"/>
                  <a:pt x="51" y="22"/>
                </a:cubicBezTo>
                <a:cubicBezTo>
                  <a:pt x="51" y="21"/>
                  <a:pt x="50" y="21"/>
                  <a:pt x="49" y="20"/>
                </a:cubicBezTo>
                <a:cubicBezTo>
                  <a:pt x="48" y="19"/>
                  <a:pt x="48" y="17"/>
                  <a:pt x="47" y="17"/>
                </a:cubicBezTo>
                <a:cubicBezTo>
                  <a:pt x="46" y="17"/>
                  <a:pt x="46" y="17"/>
                  <a:pt x="46" y="16"/>
                </a:cubicBezTo>
                <a:cubicBezTo>
                  <a:pt x="45" y="16"/>
                  <a:pt x="45" y="16"/>
                  <a:pt x="45" y="16"/>
                </a:cubicBezTo>
                <a:cubicBezTo>
                  <a:pt x="45" y="15"/>
                  <a:pt x="45" y="15"/>
                  <a:pt x="45" y="15"/>
                </a:cubicBezTo>
                <a:cubicBezTo>
                  <a:pt x="45" y="14"/>
                  <a:pt x="44" y="14"/>
                  <a:pt x="44" y="14"/>
                </a:cubicBezTo>
                <a:cubicBezTo>
                  <a:pt x="44" y="13"/>
                  <a:pt x="44" y="13"/>
                  <a:pt x="43" y="13"/>
                </a:cubicBezTo>
                <a:cubicBezTo>
                  <a:pt x="42" y="13"/>
                  <a:pt x="43" y="12"/>
                  <a:pt x="43" y="12"/>
                </a:cubicBezTo>
                <a:cubicBezTo>
                  <a:pt x="42" y="11"/>
                  <a:pt x="41" y="12"/>
                  <a:pt x="41" y="11"/>
                </a:cubicBezTo>
                <a:cubicBezTo>
                  <a:pt x="41" y="11"/>
                  <a:pt x="41" y="11"/>
                  <a:pt x="41" y="11"/>
                </a:cubicBezTo>
                <a:cubicBezTo>
                  <a:pt x="42" y="10"/>
                  <a:pt x="41" y="10"/>
                  <a:pt x="41" y="10"/>
                </a:cubicBezTo>
                <a:cubicBezTo>
                  <a:pt x="41" y="9"/>
                  <a:pt x="41" y="9"/>
                  <a:pt x="40" y="8"/>
                </a:cubicBezTo>
                <a:cubicBezTo>
                  <a:pt x="40" y="7"/>
                  <a:pt x="40" y="7"/>
                  <a:pt x="39" y="6"/>
                </a:cubicBezTo>
                <a:cubicBezTo>
                  <a:pt x="39" y="6"/>
                  <a:pt x="39" y="7"/>
                  <a:pt x="39" y="6"/>
                </a:cubicBezTo>
                <a:cubicBezTo>
                  <a:pt x="39" y="6"/>
                  <a:pt x="39" y="6"/>
                  <a:pt x="39" y="6"/>
                </a:cubicBezTo>
                <a:cubicBezTo>
                  <a:pt x="38" y="6"/>
                  <a:pt x="38" y="6"/>
                  <a:pt x="38" y="6"/>
                </a:cubicBezTo>
                <a:cubicBezTo>
                  <a:pt x="37" y="7"/>
                  <a:pt x="37" y="6"/>
                  <a:pt x="37" y="5"/>
                </a:cubicBezTo>
                <a:cubicBezTo>
                  <a:pt x="37" y="5"/>
                  <a:pt x="36" y="7"/>
                  <a:pt x="35" y="6"/>
                </a:cubicBezTo>
                <a:cubicBezTo>
                  <a:pt x="35" y="5"/>
                  <a:pt x="35" y="5"/>
                  <a:pt x="34" y="5"/>
                </a:cubicBezTo>
                <a:cubicBezTo>
                  <a:pt x="34" y="4"/>
                  <a:pt x="35" y="4"/>
                  <a:pt x="34" y="4"/>
                </a:cubicBezTo>
                <a:cubicBezTo>
                  <a:pt x="34" y="3"/>
                  <a:pt x="34" y="3"/>
                  <a:pt x="33" y="3"/>
                </a:cubicBezTo>
                <a:cubicBezTo>
                  <a:pt x="33" y="2"/>
                  <a:pt x="33" y="2"/>
                  <a:pt x="33" y="2"/>
                </a:cubicBezTo>
                <a:cubicBezTo>
                  <a:pt x="32" y="1"/>
                  <a:pt x="32" y="2"/>
                  <a:pt x="32" y="1"/>
                </a:cubicBezTo>
                <a:cubicBezTo>
                  <a:pt x="32" y="1"/>
                  <a:pt x="32" y="1"/>
                  <a:pt x="32" y="1"/>
                </a:cubicBezTo>
                <a:cubicBezTo>
                  <a:pt x="31" y="1"/>
                  <a:pt x="31" y="1"/>
                  <a:pt x="31" y="1"/>
                </a:cubicBezTo>
                <a:cubicBezTo>
                  <a:pt x="31" y="0"/>
                  <a:pt x="29" y="1"/>
                  <a:pt x="29" y="1"/>
                </a:cubicBezTo>
                <a:cubicBezTo>
                  <a:pt x="28" y="1"/>
                  <a:pt x="27" y="0"/>
                  <a:pt x="27" y="0"/>
                </a:cubicBezTo>
                <a:cubicBezTo>
                  <a:pt x="26" y="0"/>
                  <a:pt x="26" y="0"/>
                  <a:pt x="26" y="0"/>
                </a:cubicBezTo>
                <a:cubicBezTo>
                  <a:pt x="25" y="0"/>
                  <a:pt x="25" y="0"/>
                  <a:pt x="25" y="0"/>
                </a:cubicBezTo>
                <a:cubicBezTo>
                  <a:pt x="25" y="0"/>
                  <a:pt x="25" y="0"/>
                  <a:pt x="25" y="0"/>
                </a:cubicBezTo>
                <a:cubicBezTo>
                  <a:pt x="24" y="1"/>
                  <a:pt x="24" y="0"/>
                  <a:pt x="24" y="0"/>
                </a:cubicBezTo>
                <a:cubicBezTo>
                  <a:pt x="24" y="0"/>
                  <a:pt x="24" y="0"/>
                  <a:pt x="24" y="1"/>
                </a:cubicBezTo>
                <a:cubicBezTo>
                  <a:pt x="24" y="1"/>
                  <a:pt x="23" y="1"/>
                  <a:pt x="23" y="1"/>
                </a:cubicBezTo>
                <a:cubicBezTo>
                  <a:pt x="23" y="1"/>
                  <a:pt x="21" y="1"/>
                  <a:pt x="21" y="1"/>
                </a:cubicBezTo>
                <a:cubicBezTo>
                  <a:pt x="20" y="1"/>
                  <a:pt x="20" y="1"/>
                  <a:pt x="20" y="1"/>
                </a:cubicBezTo>
                <a:cubicBezTo>
                  <a:pt x="20" y="2"/>
                  <a:pt x="20" y="2"/>
                  <a:pt x="19" y="2"/>
                </a:cubicBezTo>
                <a:cubicBezTo>
                  <a:pt x="19" y="2"/>
                  <a:pt x="18" y="2"/>
                  <a:pt x="18" y="2"/>
                </a:cubicBezTo>
                <a:cubicBezTo>
                  <a:pt x="17" y="2"/>
                  <a:pt x="17" y="2"/>
                  <a:pt x="17" y="2"/>
                </a:cubicBezTo>
                <a:cubicBezTo>
                  <a:pt x="16" y="2"/>
                  <a:pt x="15" y="2"/>
                  <a:pt x="14" y="2"/>
                </a:cubicBezTo>
                <a:cubicBezTo>
                  <a:pt x="14" y="1"/>
                  <a:pt x="14" y="2"/>
                  <a:pt x="13" y="2"/>
                </a:cubicBezTo>
                <a:cubicBezTo>
                  <a:pt x="13" y="2"/>
                  <a:pt x="13" y="1"/>
                  <a:pt x="12" y="2"/>
                </a:cubicBezTo>
                <a:cubicBezTo>
                  <a:pt x="12" y="3"/>
                  <a:pt x="12" y="4"/>
                  <a:pt x="11" y="5"/>
                </a:cubicBezTo>
                <a:cubicBezTo>
                  <a:pt x="11" y="5"/>
                  <a:pt x="11" y="5"/>
                  <a:pt x="11" y="6"/>
                </a:cubicBezTo>
                <a:cubicBezTo>
                  <a:pt x="10" y="6"/>
                  <a:pt x="11" y="6"/>
                  <a:pt x="10" y="7"/>
                </a:cubicBezTo>
                <a:cubicBezTo>
                  <a:pt x="10" y="6"/>
                  <a:pt x="10" y="6"/>
                  <a:pt x="10" y="7"/>
                </a:cubicBezTo>
                <a:cubicBezTo>
                  <a:pt x="10" y="9"/>
                  <a:pt x="10" y="10"/>
                  <a:pt x="9" y="12"/>
                </a:cubicBezTo>
                <a:cubicBezTo>
                  <a:pt x="8" y="13"/>
                  <a:pt x="7" y="14"/>
                  <a:pt x="6" y="16"/>
                </a:cubicBezTo>
                <a:cubicBezTo>
                  <a:pt x="5" y="17"/>
                  <a:pt x="4" y="18"/>
                  <a:pt x="3" y="19"/>
                </a:cubicBezTo>
                <a:cubicBezTo>
                  <a:pt x="3" y="20"/>
                  <a:pt x="2" y="20"/>
                  <a:pt x="1" y="21"/>
                </a:cubicBezTo>
                <a:cubicBezTo>
                  <a:pt x="1" y="21"/>
                  <a:pt x="0" y="21"/>
                  <a:pt x="0" y="21"/>
                </a:cubicBezTo>
                <a:cubicBezTo>
                  <a:pt x="0" y="21"/>
                  <a:pt x="1" y="23"/>
                  <a:pt x="1" y="22"/>
                </a:cubicBezTo>
                <a:cubicBezTo>
                  <a:pt x="1" y="21"/>
                  <a:pt x="1" y="21"/>
                  <a:pt x="2" y="21"/>
                </a:cubicBezTo>
                <a:cubicBezTo>
                  <a:pt x="3" y="22"/>
                  <a:pt x="3" y="23"/>
                  <a:pt x="4" y="24"/>
                </a:cubicBezTo>
                <a:cubicBezTo>
                  <a:pt x="4" y="25"/>
                  <a:pt x="5" y="25"/>
                  <a:pt x="5" y="25"/>
                </a:cubicBezTo>
                <a:cubicBezTo>
                  <a:pt x="5" y="26"/>
                  <a:pt x="6" y="26"/>
                  <a:pt x="6" y="27"/>
                </a:cubicBezTo>
                <a:cubicBezTo>
                  <a:pt x="6" y="28"/>
                  <a:pt x="7" y="28"/>
                  <a:pt x="7" y="29"/>
                </a:cubicBezTo>
                <a:cubicBezTo>
                  <a:pt x="7" y="29"/>
                  <a:pt x="7" y="30"/>
                  <a:pt x="7" y="31"/>
                </a:cubicBezTo>
                <a:cubicBezTo>
                  <a:pt x="7" y="30"/>
                  <a:pt x="7" y="30"/>
                  <a:pt x="7" y="29"/>
                </a:cubicBezTo>
                <a:cubicBezTo>
                  <a:pt x="7" y="29"/>
                  <a:pt x="8" y="29"/>
                  <a:pt x="8" y="28"/>
                </a:cubicBezTo>
                <a:cubicBezTo>
                  <a:pt x="8" y="29"/>
                  <a:pt x="8" y="29"/>
                  <a:pt x="7" y="29"/>
                </a:cubicBezTo>
                <a:cubicBezTo>
                  <a:pt x="8" y="30"/>
                  <a:pt x="8" y="29"/>
                  <a:pt x="9" y="29"/>
                </a:cubicBezTo>
                <a:cubicBezTo>
                  <a:pt x="9" y="28"/>
                  <a:pt x="9" y="28"/>
                  <a:pt x="10" y="28"/>
                </a:cubicBezTo>
                <a:cubicBezTo>
                  <a:pt x="10" y="28"/>
                  <a:pt x="10" y="27"/>
                  <a:pt x="10" y="27"/>
                </a:cubicBezTo>
                <a:cubicBezTo>
                  <a:pt x="10" y="28"/>
                  <a:pt x="11" y="28"/>
                  <a:pt x="11" y="28"/>
                </a:cubicBezTo>
                <a:cubicBezTo>
                  <a:pt x="11" y="28"/>
                  <a:pt x="10" y="28"/>
                  <a:pt x="10" y="28"/>
                </a:cubicBezTo>
                <a:cubicBezTo>
                  <a:pt x="10" y="28"/>
                  <a:pt x="10" y="28"/>
                  <a:pt x="9" y="28"/>
                </a:cubicBezTo>
                <a:cubicBezTo>
                  <a:pt x="9" y="28"/>
                  <a:pt x="8" y="29"/>
                  <a:pt x="9" y="29"/>
                </a:cubicBezTo>
                <a:cubicBezTo>
                  <a:pt x="9" y="29"/>
                  <a:pt x="8" y="30"/>
                  <a:pt x="8" y="30"/>
                </a:cubicBezTo>
                <a:cubicBezTo>
                  <a:pt x="8" y="29"/>
                  <a:pt x="7" y="30"/>
                  <a:pt x="7" y="30"/>
                </a:cubicBezTo>
                <a:cubicBezTo>
                  <a:pt x="7" y="31"/>
                  <a:pt x="7" y="32"/>
                  <a:pt x="7" y="32"/>
                </a:cubicBezTo>
                <a:cubicBezTo>
                  <a:pt x="8" y="32"/>
                  <a:pt x="8" y="31"/>
                  <a:pt x="8" y="31"/>
                </a:cubicBezTo>
                <a:cubicBezTo>
                  <a:pt x="8" y="31"/>
                  <a:pt x="8" y="31"/>
                  <a:pt x="9" y="31"/>
                </a:cubicBezTo>
                <a:cubicBezTo>
                  <a:pt x="9" y="31"/>
                  <a:pt x="9" y="30"/>
                  <a:pt x="10" y="29"/>
                </a:cubicBezTo>
                <a:cubicBezTo>
                  <a:pt x="9" y="30"/>
                  <a:pt x="9" y="31"/>
                  <a:pt x="9" y="32"/>
                </a:cubicBezTo>
                <a:cubicBezTo>
                  <a:pt x="9" y="31"/>
                  <a:pt x="9" y="31"/>
                  <a:pt x="9" y="31"/>
                </a:cubicBezTo>
                <a:cubicBezTo>
                  <a:pt x="8" y="32"/>
                  <a:pt x="8" y="32"/>
                  <a:pt x="8" y="33"/>
                </a:cubicBezTo>
                <a:cubicBezTo>
                  <a:pt x="8" y="34"/>
                  <a:pt x="9" y="32"/>
                  <a:pt x="9" y="32"/>
                </a:cubicBezTo>
                <a:cubicBezTo>
                  <a:pt x="10" y="32"/>
                  <a:pt x="9" y="34"/>
                  <a:pt x="9" y="34"/>
                </a:cubicBezTo>
                <a:cubicBezTo>
                  <a:pt x="9" y="34"/>
                  <a:pt x="10" y="34"/>
                  <a:pt x="10" y="34"/>
                </a:cubicBezTo>
                <a:cubicBezTo>
                  <a:pt x="12" y="34"/>
                  <a:pt x="13" y="34"/>
                  <a:pt x="15" y="34"/>
                </a:cubicBezTo>
                <a:cubicBezTo>
                  <a:pt x="16" y="34"/>
                  <a:pt x="18" y="34"/>
                  <a:pt x="19" y="34"/>
                </a:cubicBezTo>
                <a:cubicBezTo>
                  <a:pt x="19" y="34"/>
                  <a:pt x="19" y="33"/>
                  <a:pt x="19" y="33"/>
                </a:cubicBezTo>
                <a:cubicBezTo>
                  <a:pt x="20" y="32"/>
                  <a:pt x="20" y="31"/>
                  <a:pt x="21" y="32"/>
                </a:cubicBezTo>
                <a:cubicBezTo>
                  <a:pt x="22" y="32"/>
                  <a:pt x="22" y="32"/>
                  <a:pt x="23" y="32"/>
                </a:cubicBezTo>
                <a:cubicBezTo>
                  <a:pt x="24" y="31"/>
                  <a:pt x="25" y="31"/>
                  <a:pt x="26" y="33"/>
                </a:cubicBezTo>
                <a:cubicBezTo>
                  <a:pt x="26" y="33"/>
                  <a:pt x="26" y="34"/>
                  <a:pt x="27" y="34"/>
                </a:cubicBezTo>
                <a:cubicBezTo>
                  <a:pt x="27" y="34"/>
                  <a:pt x="27" y="33"/>
                  <a:pt x="28" y="33"/>
                </a:cubicBezTo>
                <a:cubicBezTo>
                  <a:pt x="29" y="33"/>
                  <a:pt x="29" y="35"/>
                  <a:pt x="30" y="35"/>
                </a:cubicBezTo>
                <a:cubicBezTo>
                  <a:pt x="31" y="36"/>
                  <a:pt x="32" y="34"/>
                  <a:pt x="33" y="34"/>
                </a:cubicBezTo>
                <a:cubicBezTo>
                  <a:pt x="35" y="34"/>
                  <a:pt x="36" y="36"/>
                  <a:pt x="35" y="37"/>
                </a:cubicBezTo>
                <a:cubicBezTo>
                  <a:pt x="34" y="37"/>
                  <a:pt x="33" y="37"/>
                  <a:pt x="33" y="37"/>
                </a:cubicBezTo>
                <a:cubicBezTo>
                  <a:pt x="32" y="37"/>
                  <a:pt x="32" y="38"/>
                  <a:pt x="31" y="38"/>
                </a:cubicBezTo>
                <a:cubicBezTo>
                  <a:pt x="31" y="38"/>
                  <a:pt x="30" y="38"/>
                  <a:pt x="30" y="38"/>
                </a:cubicBezTo>
                <a:cubicBezTo>
                  <a:pt x="29" y="38"/>
                  <a:pt x="29" y="37"/>
                  <a:pt x="29" y="37"/>
                </a:cubicBezTo>
                <a:cubicBezTo>
                  <a:pt x="29" y="37"/>
                  <a:pt x="28" y="36"/>
                  <a:pt x="27" y="36"/>
                </a:cubicBezTo>
                <a:cubicBezTo>
                  <a:pt x="27" y="36"/>
                  <a:pt x="27" y="36"/>
                  <a:pt x="26" y="36"/>
                </a:cubicBezTo>
                <a:cubicBezTo>
                  <a:pt x="25" y="35"/>
                  <a:pt x="25" y="35"/>
                  <a:pt x="24" y="35"/>
                </a:cubicBezTo>
                <a:cubicBezTo>
                  <a:pt x="24" y="35"/>
                  <a:pt x="23" y="34"/>
                  <a:pt x="22" y="34"/>
                </a:cubicBezTo>
                <a:cubicBezTo>
                  <a:pt x="22" y="34"/>
                  <a:pt x="22" y="35"/>
                  <a:pt x="22" y="36"/>
                </a:cubicBezTo>
                <a:cubicBezTo>
                  <a:pt x="21" y="36"/>
                  <a:pt x="21" y="36"/>
                  <a:pt x="20" y="36"/>
                </a:cubicBezTo>
                <a:cubicBezTo>
                  <a:pt x="19" y="36"/>
                  <a:pt x="19" y="36"/>
                  <a:pt x="18" y="36"/>
                </a:cubicBezTo>
                <a:cubicBezTo>
                  <a:pt x="17" y="37"/>
                  <a:pt x="17" y="36"/>
                  <a:pt x="16" y="37"/>
                </a:cubicBezTo>
                <a:cubicBezTo>
                  <a:pt x="16" y="37"/>
                  <a:pt x="16" y="38"/>
                  <a:pt x="16" y="38"/>
                </a:cubicBezTo>
                <a:cubicBezTo>
                  <a:pt x="16" y="39"/>
                  <a:pt x="13" y="39"/>
                  <a:pt x="12" y="39"/>
                </a:cubicBezTo>
                <a:cubicBezTo>
                  <a:pt x="11" y="39"/>
                  <a:pt x="9" y="39"/>
                  <a:pt x="8" y="39"/>
                </a:cubicBezTo>
                <a:cubicBezTo>
                  <a:pt x="8" y="39"/>
                  <a:pt x="7" y="39"/>
                  <a:pt x="7" y="39"/>
                </a:cubicBezTo>
                <a:cubicBezTo>
                  <a:pt x="7" y="40"/>
                  <a:pt x="7" y="41"/>
                  <a:pt x="7" y="41"/>
                </a:cubicBezTo>
                <a:cubicBezTo>
                  <a:pt x="7" y="42"/>
                  <a:pt x="6" y="43"/>
                  <a:pt x="6" y="43"/>
                </a:cubicBezTo>
                <a:cubicBezTo>
                  <a:pt x="6" y="43"/>
                  <a:pt x="6" y="43"/>
                  <a:pt x="6" y="44"/>
                </a:cubicBezTo>
                <a:cubicBezTo>
                  <a:pt x="6" y="44"/>
                  <a:pt x="7" y="43"/>
                  <a:pt x="7" y="43"/>
                </a:cubicBezTo>
                <a:cubicBezTo>
                  <a:pt x="7" y="43"/>
                  <a:pt x="7" y="43"/>
                  <a:pt x="7" y="44"/>
                </a:cubicBezTo>
                <a:cubicBezTo>
                  <a:pt x="7" y="44"/>
                  <a:pt x="6" y="44"/>
                  <a:pt x="6" y="44"/>
                </a:cubicBezTo>
                <a:cubicBezTo>
                  <a:pt x="6" y="45"/>
                  <a:pt x="6" y="45"/>
                  <a:pt x="7" y="45"/>
                </a:cubicBezTo>
                <a:cubicBezTo>
                  <a:pt x="7" y="45"/>
                  <a:pt x="8" y="45"/>
                  <a:pt x="8" y="44"/>
                </a:cubicBezTo>
                <a:cubicBezTo>
                  <a:pt x="8" y="43"/>
                  <a:pt x="8" y="43"/>
                  <a:pt x="8" y="43"/>
                </a:cubicBezTo>
                <a:cubicBezTo>
                  <a:pt x="8" y="43"/>
                  <a:pt x="8" y="43"/>
                  <a:pt x="8" y="44"/>
                </a:cubicBezTo>
                <a:cubicBezTo>
                  <a:pt x="8" y="44"/>
                  <a:pt x="8" y="44"/>
                  <a:pt x="8" y="44"/>
                </a:cubicBezTo>
                <a:cubicBezTo>
                  <a:pt x="8" y="44"/>
                  <a:pt x="9" y="44"/>
                  <a:pt x="9" y="44"/>
                </a:cubicBezTo>
                <a:cubicBezTo>
                  <a:pt x="9" y="44"/>
                  <a:pt x="9" y="44"/>
                  <a:pt x="9" y="44"/>
                </a:cubicBezTo>
                <a:cubicBezTo>
                  <a:pt x="9" y="44"/>
                  <a:pt x="9" y="44"/>
                  <a:pt x="9" y="45"/>
                </a:cubicBezTo>
                <a:cubicBezTo>
                  <a:pt x="10" y="45"/>
                  <a:pt x="10" y="45"/>
                  <a:pt x="10" y="45"/>
                </a:cubicBezTo>
                <a:cubicBezTo>
                  <a:pt x="11" y="45"/>
                  <a:pt x="12" y="45"/>
                  <a:pt x="12" y="45"/>
                </a:cubicBezTo>
                <a:cubicBezTo>
                  <a:pt x="13" y="44"/>
                  <a:pt x="13" y="44"/>
                  <a:pt x="14" y="43"/>
                </a:cubicBezTo>
                <a:cubicBezTo>
                  <a:pt x="14" y="46"/>
                  <a:pt x="17" y="44"/>
                  <a:pt x="17" y="45"/>
                </a:cubicBezTo>
                <a:cubicBezTo>
                  <a:pt x="17" y="45"/>
                  <a:pt x="18" y="45"/>
                  <a:pt x="18" y="45"/>
                </a:cubicBezTo>
                <a:cubicBezTo>
                  <a:pt x="18" y="44"/>
                  <a:pt x="18" y="44"/>
                  <a:pt x="18" y="44"/>
                </a:cubicBezTo>
                <a:cubicBezTo>
                  <a:pt x="18" y="42"/>
                  <a:pt x="19" y="43"/>
                  <a:pt x="20" y="42"/>
                </a:cubicBezTo>
                <a:cubicBezTo>
                  <a:pt x="20" y="43"/>
                  <a:pt x="19" y="43"/>
                  <a:pt x="19" y="43"/>
                </a:cubicBezTo>
                <a:cubicBezTo>
                  <a:pt x="18" y="43"/>
                  <a:pt x="18" y="43"/>
                  <a:pt x="18" y="44"/>
                </a:cubicBezTo>
                <a:cubicBezTo>
                  <a:pt x="19" y="45"/>
                  <a:pt x="18" y="45"/>
                  <a:pt x="17" y="46"/>
                </a:cubicBezTo>
                <a:cubicBezTo>
                  <a:pt x="17" y="46"/>
                  <a:pt x="17" y="44"/>
                  <a:pt x="16" y="45"/>
                </a:cubicBezTo>
                <a:cubicBezTo>
                  <a:pt x="16" y="45"/>
                  <a:pt x="15" y="45"/>
                  <a:pt x="14" y="45"/>
                </a:cubicBezTo>
                <a:cubicBezTo>
                  <a:pt x="13" y="44"/>
                  <a:pt x="13" y="45"/>
                  <a:pt x="12" y="45"/>
                </a:cubicBezTo>
                <a:cubicBezTo>
                  <a:pt x="11" y="45"/>
                  <a:pt x="11" y="45"/>
                  <a:pt x="11" y="45"/>
                </a:cubicBezTo>
                <a:cubicBezTo>
                  <a:pt x="10" y="45"/>
                  <a:pt x="10" y="45"/>
                  <a:pt x="10" y="45"/>
                </a:cubicBezTo>
                <a:cubicBezTo>
                  <a:pt x="9" y="45"/>
                  <a:pt x="9" y="45"/>
                  <a:pt x="9" y="45"/>
                </a:cubicBezTo>
                <a:cubicBezTo>
                  <a:pt x="8" y="45"/>
                  <a:pt x="8" y="44"/>
                  <a:pt x="8" y="45"/>
                </a:cubicBezTo>
                <a:cubicBezTo>
                  <a:pt x="8" y="45"/>
                  <a:pt x="8" y="45"/>
                  <a:pt x="7" y="45"/>
                </a:cubicBezTo>
                <a:cubicBezTo>
                  <a:pt x="7" y="45"/>
                  <a:pt x="7" y="45"/>
                  <a:pt x="7" y="45"/>
                </a:cubicBezTo>
                <a:cubicBezTo>
                  <a:pt x="6" y="46"/>
                  <a:pt x="6" y="47"/>
                  <a:pt x="7" y="48"/>
                </a:cubicBezTo>
                <a:cubicBezTo>
                  <a:pt x="7" y="47"/>
                  <a:pt x="8" y="47"/>
                  <a:pt x="9" y="48"/>
                </a:cubicBezTo>
                <a:cubicBezTo>
                  <a:pt x="10" y="48"/>
                  <a:pt x="10" y="47"/>
                  <a:pt x="11" y="47"/>
                </a:cubicBezTo>
                <a:cubicBezTo>
                  <a:pt x="13" y="46"/>
                  <a:pt x="15" y="47"/>
                  <a:pt x="17" y="46"/>
                </a:cubicBezTo>
                <a:cubicBezTo>
                  <a:pt x="19" y="46"/>
                  <a:pt x="20" y="44"/>
                  <a:pt x="22" y="44"/>
                </a:cubicBezTo>
                <a:cubicBezTo>
                  <a:pt x="24" y="44"/>
                  <a:pt x="26" y="44"/>
                  <a:pt x="28" y="44"/>
                </a:cubicBezTo>
                <a:cubicBezTo>
                  <a:pt x="31" y="44"/>
                  <a:pt x="32" y="44"/>
                  <a:pt x="35" y="44"/>
                </a:cubicBezTo>
                <a:cubicBezTo>
                  <a:pt x="36" y="44"/>
                  <a:pt x="38" y="44"/>
                  <a:pt x="39" y="44"/>
                </a:cubicBezTo>
                <a:cubicBezTo>
                  <a:pt x="40" y="44"/>
                  <a:pt x="42" y="44"/>
                  <a:pt x="42" y="44"/>
                </a:cubicBezTo>
                <a:cubicBezTo>
                  <a:pt x="43" y="45"/>
                  <a:pt x="41" y="46"/>
                  <a:pt x="43" y="46"/>
                </a:cubicBezTo>
                <a:cubicBezTo>
                  <a:pt x="43" y="46"/>
                  <a:pt x="43" y="45"/>
                  <a:pt x="44" y="46"/>
                </a:cubicBezTo>
                <a:cubicBezTo>
                  <a:pt x="44" y="46"/>
                  <a:pt x="45" y="46"/>
                  <a:pt x="45" y="46"/>
                </a:cubicBezTo>
                <a:cubicBezTo>
                  <a:pt x="46" y="47"/>
                  <a:pt x="47" y="46"/>
                  <a:pt x="47" y="47"/>
                </a:cubicBezTo>
                <a:cubicBezTo>
                  <a:pt x="47" y="47"/>
                  <a:pt x="48" y="47"/>
                  <a:pt x="48" y="47"/>
                </a:cubicBezTo>
                <a:cubicBezTo>
                  <a:pt x="49" y="47"/>
                  <a:pt x="49" y="48"/>
                  <a:pt x="49" y="48"/>
                </a:cubicBezTo>
                <a:cubicBezTo>
                  <a:pt x="50" y="48"/>
                  <a:pt x="50" y="48"/>
                  <a:pt x="51" y="48"/>
                </a:cubicBezTo>
                <a:cubicBezTo>
                  <a:pt x="51" y="47"/>
                  <a:pt x="51" y="47"/>
                  <a:pt x="52" y="47"/>
                </a:cubicBezTo>
                <a:cubicBezTo>
                  <a:pt x="52" y="47"/>
                  <a:pt x="53" y="47"/>
                  <a:pt x="53" y="47"/>
                </a:cubicBezTo>
                <a:cubicBezTo>
                  <a:pt x="54" y="47"/>
                  <a:pt x="54" y="47"/>
                  <a:pt x="55" y="47"/>
                </a:cubicBezTo>
                <a:cubicBezTo>
                  <a:pt x="55" y="47"/>
                  <a:pt x="56" y="47"/>
                  <a:pt x="56" y="47"/>
                </a:cubicBezTo>
                <a:cubicBezTo>
                  <a:pt x="57" y="47"/>
                  <a:pt x="58" y="47"/>
                  <a:pt x="58" y="47"/>
                </a:cubicBezTo>
                <a:cubicBezTo>
                  <a:pt x="58" y="47"/>
                  <a:pt x="59" y="46"/>
                  <a:pt x="59" y="46"/>
                </a:cubicBezTo>
                <a:cubicBezTo>
                  <a:pt x="59" y="46"/>
                  <a:pt x="58" y="46"/>
                  <a:pt x="58" y="46"/>
                </a:cubicBezTo>
                <a:cubicBezTo>
                  <a:pt x="58" y="46"/>
                  <a:pt x="58" y="45"/>
                  <a:pt x="58" y="4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6" name="Saudi Arabia"/>
          <p:cNvSpPr>
            <a:spLocks noEditPoints="1"/>
          </p:cNvSpPr>
          <p:nvPr/>
        </p:nvSpPr>
        <p:spPr bwMode="auto">
          <a:xfrm>
            <a:off x="6977038" y="3386985"/>
            <a:ext cx="732973" cy="625976"/>
          </a:xfrm>
          <a:custGeom>
            <a:avLst/>
            <a:gdLst/>
            <a:ahLst/>
            <a:cxnLst>
              <a:cxn ang="0">
                <a:pos x="199" y="133"/>
              </a:cxn>
              <a:cxn ang="0">
                <a:pos x="155" y="147"/>
              </a:cxn>
              <a:cxn ang="0">
                <a:pos x="132" y="158"/>
              </a:cxn>
              <a:cxn ang="0">
                <a:pos x="118" y="164"/>
              </a:cxn>
              <a:cxn ang="0">
                <a:pos x="96" y="163"/>
              </a:cxn>
              <a:cxn ang="0">
                <a:pos x="91" y="161"/>
              </a:cxn>
              <a:cxn ang="0">
                <a:pos x="87" y="166"/>
              </a:cxn>
              <a:cxn ang="0">
                <a:pos x="84" y="173"/>
              </a:cxn>
              <a:cxn ang="0">
                <a:pos x="80" y="165"/>
              </a:cxn>
              <a:cxn ang="0">
                <a:pos x="75" y="158"/>
              </a:cxn>
              <a:cxn ang="0">
                <a:pos x="71" y="153"/>
              </a:cxn>
              <a:cxn ang="0">
                <a:pos x="67" y="144"/>
              </a:cxn>
              <a:cxn ang="0">
                <a:pos x="63" y="138"/>
              </a:cxn>
              <a:cxn ang="0">
                <a:pos x="58" y="132"/>
              </a:cxn>
              <a:cxn ang="0">
                <a:pos x="51" y="127"/>
              </a:cxn>
              <a:cxn ang="0">
                <a:pos x="48" y="123"/>
              </a:cxn>
              <a:cxn ang="0">
                <a:pos x="47" y="117"/>
              </a:cxn>
              <a:cxn ang="0">
                <a:pos x="45" y="111"/>
              </a:cxn>
              <a:cxn ang="0">
                <a:pos x="46" y="107"/>
              </a:cxn>
              <a:cxn ang="0">
                <a:pos x="44" y="103"/>
              </a:cxn>
              <a:cxn ang="0">
                <a:pos x="43" y="99"/>
              </a:cxn>
              <a:cxn ang="0">
                <a:pos x="37" y="91"/>
              </a:cxn>
              <a:cxn ang="0">
                <a:pos x="33" y="88"/>
              </a:cxn>
              <a:cxn ang="0">
                <a:pos x="28" y="83"/>
              </a:cxn>
              <a:cxn ang="0">
                <a:pos x="25" y="75"/>
              </a:cxn>
              <a:cxn ang="0">
                <a:pos x="21" y="70"/>
              </a:cxn>
              <a:cxn ang="0">
                <a:pos x="14" y="58"/>
              </a:cxn>
              <a:cxn ang="0">
                <a:pos x="8" y="49"/>
              </a:cxn>
              <a:cxn ang="0">
                <a:pos x="4" y="44"/>
              </a:cxn>
              <a:cxn ang="0">
                <a:pos x="2" y="44"/>
              </a:cxn>
              <a:cxn ang="0">
                <a:pos x="1" y="42"/>
              </a:cxn>
              <a:cxn ang="0">
                <a:pos x="2" y="31"/>
              </a:cxn>
              <a:cxn ang="0">
                <a:pos x="17" y="29"/>
              </a:cxn>
              <a:cxn ang="0">
                <a:pos x="27" y="20"/>
              </a:cxn>
              <a:cxn ang="0">
                <a:pos x="39" y="0"/>
              </a:cxn>
              <a:cxn ang="0">
                <a:pos x="66" y="11"/>
              </a:cxn>
              <a:cxn ang="0">
                <a:pos x="89" y="29"/>
              </a:cxn>
              <a:cxn ang="0">
                <a:pos x="110" y="34"/>
              </a:cxn>
              <a:cxn ang="0">
                <a:pos x="125" y="40"/>
              </a:cxn>
              <a:cxn ang="0">
                <a:pos x="131" y="43"/>
              </a:cxn>
              <a:cxn ang="0">
                <a:pos x="133" y="47"/>
              </a:cxn>
              <a:cxn ang="0">
                <a:pos x="133" y="49"/>
              </a:cxn>
              <a:cxn ang="0">
                <a:pos x="135" y="50"/>
              </a:cxn>
              <a:cxn ang="0">
                <a:pos x="138" y="52"/>
              </a:cxn>
              <a:cxn ang="0">
                <a:pos x="138" y="53"/>
              </a:cxn>
              <a:cxn ang="0">
                <a:pos x="141" y="55"/>
              </a:cxn>
              <a:cxn ang="0">
                <a:pos x="146" y="60"/>
              </a:cxn>
              <a:cxn ang="0">
                <a:pos x="146" y="65"/>
              </a:cxn>
              <a:cxn ang="0">
                <a:pos x="148" y="71"/>
              </a:cxn>
              <a:cxn ang="0">
                <a:pos x="153" y="78"/>
              </a:cxn>
              <a:cxn ang="0">
                <a:pos x="158" y="83"/>
              </a:cxn>
              <a:cxn ang="0">
                <a:pos x="160" y="86"/>
              </a:cxn>
              <a:cxn ang="0">
                <a:pos x="173" y="101"/>
              </a:cxn>
              <a:cxn ang="0">
                <a:pos x="201" y="109"/>
              </a:cxn>
              <a:cxn ang="0">
                <a:pos x="74" y="168"/>
              </a:cxn>
              <a:cxn ang="0">
                <a:pos x="77" y="171"/>
              </a:cxn>
              <a:cxn ang="0">
                <a:pos x="75" y="166"/>
              </a:cxn>
              <a:cxn ang="0">
                <a:pos x="75" y="168"/>
              </a:cxn>
              <a:cxn ang="0">
                <a:pos x="75" y="166"/>
              </a:cxn>
            </a:cxnLst>
            <a:rect l="0" t="0" r="r" b="b"/>
            <a:pathLst>
              <a:path w="203" h="173">
                <a:moveTo>
                  <a:pt x="202" y="114"/>
                </a:moveTo>
                <a:cubicBezTo>
                  <a:pt x="202" y="116"/>
                  <a:pt x="202" y="118"/>
                  <a:pt x="201" y="120"/>
                </a:cubicBezTo>
                <a:cubicBezTo>
                  <a:pt x="201" y="122"/>
                  <a:pt x="201" y="124"/>
                  <a:pt x="200" y="126"/>
                </a:cubicBezTo>
                <a:cubicBezTo>
                  <a:pt x="200" y="128"/>
                  <a:pt x="199" y="130"/>
                  <a:pt x="199" y="132"/>
                </a:cubicBezTo>
                <a:cubicBezTo>
                  <a:pt x="199" y="132"/>
                  <a:pt x="199" y="133"/>
                  <a:pt x="199" y="133"/>
                </a:cubicBezTo>
                <a:cubicBezTo>
                  <a:pt x="198" y="134"/>
                  <a:pt x="197" y="134"/>
                  <a:pt x="196" y="134"/>
                </a:cubicBezTo>
                <a:cubicBezTo>
                  <a:pt x="194" y="135"/>
                  <a:pt x="192" y="136"/>
                  <a:pt x="190" y="137"/>
                </a:cubicBezTo>
                <a:cubicBezTo>
                  <a:pt x="186" y="138"/>
                  <a:pt x="182" y="140"/>
                  <a:pt x="178" y="141"/>
                </a:cubicBezTo>
                <a:cubicBezTo>
                  <a:pt x="175" y="143"/>
                  <a:pt x="171" y="144"/>
                  <a:pt x="167" y="145"/>
                </a:cubicBezTo>
                <a:cubicBezTo>
                  <a:pt x="163" y="146"/>
                  <a:pt x="159" y="147"/>
                  <a:pt x="155" y="147"/>
                </a:cubicBezTo>
                <a:cubicBezTo>
                  <a:pt x="153" y="148"/>
                  <a:pt x="151" y="148"/>
                  <a:pt x="149" y="148"/>
                </a:cubicBezTo>
                <a:cubicBezTo>
                  <a:pt x="147" y="148"/>
                  <a:pt x="145" y="148"/>
                  <a:pt x="143" y="149"/>
                </a:cubicBezTo>
                <a:cubicBezTo>
                  <a:pt x="142" y="149"/>
                  <a:pt x="140" y="151"/>
                  <a:pt x="138" y="152"/>
                </a:cubicBezTo>
                <a:cubicBezTo>
                  <a:pt x="137" y="152"/>
                  <a:pt x="135" y="153"/>
                  <a:pt x="134" y="154"/>
                </a:cubicBezTo>
                <a:cubicBezTo>
                  <a:pt x="133" y="155"/>
                  <a:pt x="133" y="157"/>
                  <a:pt x="132" y="158"/>
                </a:cubicBezTo>
                <a:cubicBezTo>
                  <a:pt x="131" y="160"/>
                  <a:pt x="130" y="162"/>
                  <a:pt x="129" y="163"/>
                </a:cubicBezTo>
                <a:cubicBezTo>
                  <a:pt x="129" y="164"/>
                  <a:pt x="128" y="165"/>
                  <a:pt x="127" y="166"/>
                </a:cubicBezTo>
                <a:cubicBezTo>
                  <a:pt x="126" y="167"/>
                  <a:pt x="125" y="168"/>
                  <a:pt x="123" y="166"/>
                </a:cubicBezTo>
                <a:cubicBezTo>
                  <a:pt x="122" y="166"/>
                  <a:pt x="121" y="164"/>
                  <a:pt x="120" y="164"/>
                </a:cubicBezTo>
                <a:cubicBezTo>
                  <a:pt x="119" y="164"/>
                  <a:pt x="118" y="164"/>
                  <a:pt x="118" y="164"/>
                </a:cubicBezTo>
                <a:cubicBezTo>
                  <a:pt x="117" y="164"/>
                  <a:pt x="115" y="164"/>
                  <a:pt x="114" y="163"/>
                </a:cubicBezTo>
                <a:cubicBezTo>
                  <a:pt x="112" y="163"/>
                  <a:pt x="110" y="163"/>
                  <a:pt x="109" y="162"/>
                </a:cubicBezTo>
                <a:cubicBezTo>
                  <a:pt x="107" y="162"/>
                  <a:pt x="105" y="162"/>
                  <a:pt x="103" y="162"/>
                </a:cubicBezTo>
                <a:cubicBezTo>
                  <a:pt x="101" y="162"/>
                  <a:pt x="99" y="162"/>
                  <a:pt x="97" y="162"/>
                </a:cubicBezTo>
                <a:cubicBezTo>
                  <a:pt x="97" y="162"/>
                  <a:pt x="97" y="162"/>
                  <a:pt x="96" y="163"/>
                </a:cubicBezTo>
                <a:cubicBezTo>
                  <a:pt x="96" y="163"/>
                  <a:pt x="96" y="163"/>
                  <a:pt x="96" y="162"/>
                </a:cubicBezTo>
                <a:cubicBezTo>
                  <a:pt x="95" y="162"/>
                  <a:pt x="95" y="163"/>
                  <a:pt x="95" y="163"/>
                </a:cubicBezTo>
                <a:cubicBezTo>
                  <a:pt x="94" y="163"/>
                  <a:pt x="95" y="163"/>
                  <a:pt x="94" y="163"/>
                </a:cubicBezTo>
                <a:cubicBezTo>
                  <a:pt x="94" y="162"/>
                  <a:pt x="93" y="163"/>
                  <a:pt x="93" y="163"/>
                </a:cubicBezTo>
                <a:cubicBezTo>
                  <a:pt x="92" y="162"/>
                  <a:pt x="92" y="162"/>
                  <a:pt x="91" y="161"/>
                </a:cubicBezTo>
                <a:cubicBezTo>
                  <a:pt x="91" y="161"/>
                  <a:pt x="90" y="161"/>
                  <a:pt x="89" y="161"/>
                </a:cubicBezTo>
                <a:cubicBezTo>
                  <a:pt x="88" y="161"/>
                  <a:pt x="88" y="162"/>
                  <a:pt x="88" y="162"/>
                </a:cubicBezTo>
                <a:cubicBezTo>
                  <a:pt x="87" y="163"/>
                  <a:pt x="88" y="163"/>
                  <a:pt x="88" y="163"/>
                </a:cubicBezTo>
                <a:cubicBezTo>
                  <a:pt x="88" y="163"/>
                  <a:pt x="88" y="164"/>
                  <a:pt x="88" y="164"/>
                </a:cubicBezTo>
                <a:cubicBezTo>
                  <a:pt x="87" y="164"/>
                  <a:pt x="87" y="165"/>
                  <a:pt x="87" y="166"/>
                </a:cubicBezTo>
                <a:cubicBezTo>
                  <a:pt x="87" y="167"/>
                  <a:pt x="87" y="168"/>
                  <a:pt x="88" y="168"/>
                </a:cubicBezTo>
                <a:cubicBezTo>
                  <a:pt x="88" y="169"/>
                  <a:pt x="87" y="169"/>
                  <a:pt x="88" y="170"/>
                </a:cubicBezTo>
                <a:cubicBezTo>
                  <a:pt x="88" y="170"/>
                  <a:pt x="87" y="170"/>
                  <a:pt x="87" y="170"/>
                </a:cubicBezTo>
                <a:cubicBezTo>
                  <a:pt x="86" y="171"/>
                  <a:pt x="87" y="171"/>
                  <a:pt x="86" y="172"/>
                </a:cubicBezTo>
                <a:cubicBezTo>
                  <a:pt x="85" y="172"/>
                  <a:pt x="85" y="173"/>
                  <a:pt x="84" y="173"/>
                </a:cubicBezTo>
                <a:cubicBezTo>
                  <a:pt x="84" y="173"/>
                  <a:pt x="84" y="173"/>
                  <a:pt x="84" y="172"/>
                </a:cubicBezTo>
                <a:cubicBezTo>
                  <a:pt x="83" y="172"/>
                  <a:pt x="83" y="171"/>
                  <a:pt x="83" y="171"/>
                </a:cubicBezTo>
                <a:cubicBezTo>
                  <a:pt x="83" y="169"/>
                  <a:pt x="82" y="169"/>
                  <a:pt x="82" y="168"/>
                </a:cubicBezTo>
                <a:cubicBezTo>
                  <a:pt x="81" y="167"/>
                  <a:pt x="82" y="167"/>
                  <a:pt x="81" y="166"/>
                </a:cubicBezTo>
                <a:cubicBezTo>
                  <a:pt x="80" y="166"/>
                  <a:pt x="80" y="166"/>
                  <a:pt x="80" y="165"/>
                </a:cubicBezTo>
                <a:cubicBezTo>
                  <a:pt x="80" y="165"/>
                  <a:pt x="80" y="164"/>
                  <a:pt x="79" y="164"/>
                </a:cubicBezTo>
                <a:cubicBezTo>
                  <a:pt x="79" y="165"/>
                  <a:pt x="80" y="166"/>
                  <a:pt x="80" y="166"/>
                </a:cubicBezTo>
                <a:cubicBezTo>
                  <a:pt x="80" y="166"/>
                  <a:pt x="79" y="164"/>
                  <a:pt x="79" y="164"/>
                </a:cubicBezTo>
                <a:cubicBezTo>
                  <a:pt x="79" y="163"/>
                  <a:pt x="79" y="162"/>
                  <a:pt x="79" y="161"/>
                </a:cubicBezTo>
                <a:cubicBezTo>
                  <a:pt x="78" y="160"/>
                  <a:pt x="76" y="159"/>
                  <a:pt x="75" y="158"/>
                </a:cubicBezTo>
                <a:cubicBezTo>
                  <a:pt x="75" y="158"/>
                  <a:pt x="75" y="158"/>
                  <a:pt x="75" y="158"/>
                </a:cubicBezTo>
                <a:cubicBezTo>
                  <a:pt x="74" y="157"/>
                  <a:pt x="74" y="157"/>
                  <a:pt x="74" y="157"/>
                </a:cubicBezTo>
                <a:cubicBezTo>
                  <a:pt x="73" y="157"/>
                  <a:pt x="73" y="156"/>
                  <a:pt x="72" y="155"/>
                </a:cubicBezTo>
                <a:cubicBezTo>
                  <a:pt x="72" y="155"/>
                  <a:pt x="72" y="154"/>
                  <a:pt x="71" y="154"/>
                </a:cubicBezTo>
                <a:cubicBezTo>
                  <a:pt x="71" y="154"/>
                  <a:pt x="71" y="153"/>
                  <a:pt x="71" y="153"/>
                </a:cubicBezTo>
                <a:cubicBezTo>
                  <a:pt x="71" y="153"/>
                  <a:pt x="71" y="153"/>
                  <a:pt x="71" y="152"/>
                </a:cubicBezTo>
                <a:cubicBezTo>
                  <a:pt x="70" y="152"/>
                  <a:pt x="70" y="151"/>
                  <a:pt x="70" y="150"/>
                </a:cubicBezTo>
                <a:cubicBezTo>
                  <a:pt x="69" y="149"/>
                  <a:pt x="69" y="149"/>
                  <a:pt x="68" y="149"/>
                </a:cubicBezTo>
                <a:cubicBezTo>
                  <a:pt x="68" y="148"/>
                  <a:pt x="68" y="147"/>
                  <a:pt x="68" y="147"/>
                </a:cubicBezTo>
                <a:cubicBezTo>
                  <a:pt x="68" y="146"/>
                  <a:pt x="67" y="146"/>
                  <a:pt x="67" y="144"/>
                </a:cubicBezTo>
                <a:cubicBezTo>
                  <a:pt x="67" y="143"/>
                  <a:pt x="67" y="144"/>
                  <a:pt x="66" y="143"/>
                </a:cubicBezTo>
                <a:cubicBezTo>
                  <a:pt x="66" y="143"/>
                  <a:pt x="66" y="142"/>
                  <a:pt x="65" y="141"/>
                </a:cubicBezTo>
                <a:cubicBezTo>
                  <a:pt x="65" y="141"/>
                  <a:pt x="65" y="140"/>
                  <a:pt x="65" y="139"/>
                </a:cubicBezTo>
                <a:cubicBezTo>
                  <a:pt x="65" y="139"/>
                  <a:pt x="63" y="138"/>
                  <a:pt x="63" y="138"/>
                </a:cubicBezTo>
                <a:cubicBezTo>
                  <a:pt x="63" y="138"/>
                  <a:pt x="63" y="138"/>
                  <a:pt x="63" y="138"/>
                </a:cubicBezTo>
                <a:cubicBezTo>
                  <a:pt x="63" y="137"/>
                  <a:pt x="63" y="136"/>
                  <a:pt x="63" y="136"/>
                </a:cubicBezTo>
                <a:cubicBezTo>
                  <a:pt x="63" y="136"/>
                  <a:pt x="62" y="135"/>
                  <a:pt x="62" y="136"/>
                </a:cubicBezTo>
                <a:cubicBezTo>
                  <a:pt x="62" y="136"/>
                  <a:pt x="61" y="135"/>
                  <a:pt x="61" y="134"/>
                </a:cubicBezTo>
                <a:cubicBezTo>
                  <a:pt x="61" y="134"/>
                  <a:pt x="59" y="133"/>
                  <a:pt x="59" y="133"/>
                </a:cubicBezTo>
                <a:cubicBezTo>
                  <a:pt x="58" y="132"/>
                  <a:pt x="58" y="132"/>
                  <a:pt x="58" y="132"/>
                </a:cubicBezTo>
                <a:cubicBezTo>
                  <a:pt x="58" y="131"/>
                  <a:pt x="57" y="131"/>
                  <a:pt x="57" y="131"/>
                </a:cubicBezTo>
                <a:cubicBezTo>
                  <a:pt x="56" y="130"/>
                  <a:pt x="55" y="130"/>
                  <a:pt x="54" y="130"/>
                </a:cubicBezTo>
                <a:cubicBezTo>
                  <a:pt x="55" y="130"/>
                  <a:pt x="55" y="130"/>
                  <a:pt x="55" y="131"/>
                </a:cubicBezTo>
                <a:cubicBezTo>
                  <a:pt x="54" y="130"/>
                  <a:pt x="52" y="129"/>
                  <a:pt x="52" y="128"/>
                </a:cubicBezTo>
                <a:cubicBezTo>
                  <a:pt x="51" y="127"/>
                  <a:pt x="51" y="127"/>
                  <a:pt x="51" y="127"/>
                </a:cubicBezTo>
                <a:cubicBezTo>
                  <a:pt x="51" y="126"/>
                  <a:pt x="51" y="125"/>
                  <a:pt x="50" y="125"/>
                </a:cubicBezTo>
                <a:cubicBezTo>
                  <a:pt x="50" y="126"/>
                  <a:pt x="50" y="125"/>
                  <a:pt x="50" y="125"/>
                </a:cubicBezTo>
                <a:cubicBezTo>
                  <a:pt x="50" y="125"/>
                  <a:pt x="50" y="124"/>
                  <a:pt x="49" y="124"/>
                </a:cubicBezTo>
                <a:cubicBezTo>
                  <a:pt x="49" y="124"/>
                  <a:pt x="48" y="124"/>
                  <a:pt x="49" y="124"/>
                </a:cubicBezTo>
                <a:cubicBezTo>
                  <a:pt x="49" y="123"/>
                  <a:pt x="49" y="123"/>
                  <a:pt x="48" y="123"/>
                </a:cubicBezTo>
                <a:cubicBezTo>
                  <a:pt x="48" y="123"/>
                  <a:pt x="48" y="123"/>
                  <a:pt x="48" y="122"/>
                </a:cubicBezTo>
                <a:cubicBezTo>
                  <a:pt x="48" y="122"/>
                  <a:pt x="47" y="122"/>
                  <a:pt x="47" y="121"/>
                </a:cubicBezTo>
                <a:cubicBezTo>
                  <a:pt x="47" y="121"/>
                  <a:pt x="47" y="120"/>
                  <a:pt x="47" y="120"/>
                </a:cubicBezTo>
                <a:cubicBezTo>
                  <a:pt x="46" y="119"/>
                  <a:pt x="46" y="119"/>
                  <a:pt x="47" y="118"/>
                </a:cubicBezTo>
                <a:cubicBezTo>
                  <a:pt x="47" y="118"/>
                  <a:pt x="47" y="117"/>
                  <a:pt x="47" y="117"/>
                </a:cubicBezTo>
                <a:cubicBezTo>
                  <a:pt x="47" y="117"/>
                  <a:pt x="47" y="117"/>
                  <a:pt x="46" y="117"/>
                </a:cubicBezTo>
                <a:cubicBezTo>
                  <a:pt x="46" y="117"/>
                  <a:pt x="46" y="114"/>
                  <a:pt x="46" y="114"/>
                </a:cubicBezTo>
                <a:cubicBezTo>
                  <a:pt x="46" y="115"/>
                  <a:pt x="45" y="113"/>
                  <a:pt x="45" y="112"/>
                </a:cubicBezTo>
                <a:cubicBezTo>
                  <a:pt x="45" y="112"/>
                  <a:pt x="45" y="113"/>
                  <a:pt x="45" y="113"/>
                </a:cubicBezTo>
                <a:cubicBezTo>
                  <a:pt x="45" y="113"/>
                  <a:pt x="45" y="112"/>
                  <a:pt x="45" y="111"/>
                </a:cubicBezTo>
                <a:cubicBezTo>
                  <a:pt x="45" y="111"/>
                  <a:pt x="45" y="110"/>
                  <a:pt x="45" y="110"/>
                </a:cubicBezTo>
                <a:cubicBezTo>
                  <a:pt x="45" y="110"/>
                  <a:pt x="45" y="110"/>
                  <a:pt x="45" y="110"/>
                </a:cubicBezTo>
                <a:cubicBezTo>
                  <a:pt x="45" y="109"/>
                  <a:pt x="45" y="109"/>
                  <a:pt x="46" y="108"/>
                </a:cubicBezTo>
                <a:cubicBezTo>
                  <a:pt x="46" y="108"/>
                  <a:pt x="46" y="107"/>
                  <a:pt x="46" y="107"/>
                </a:cubicBezTo>
                <a:cubicBezTo>
                  <a:pt x="46" y="107"/>
                  <a:pt x="46" y="107"/>
                  <a:pt x="46" y="107"/>
                </a:cubicBezTo>
                <a:cubicBezTo>
                  <a:pt x="45" y="107"/>
                  <a:pt x="46" y="106"/>
                  <a:pt x="45" y="106"/>
                </a:cubicBezTo>
                <a:cubicBezTo>
                  <a:pt x="45" y="105"/>
                  <a:pt x="45" y="105"/>
                  <a:pt x="45" y="104"/>
                </a:cubicBezTo>
                <a:cubicBezTo>
                  <a:pt x="45" y="104"/>
                  <a:pt x="44" y="104"/>
                  <a:pt x="45" y="103"/>
                </a:cubicBezTo>
                <a:cubicBezTo>
                  <a:pt x="45" y="103"/>
                  <a:pt x="44" y="102"/>
                  <a:pt x="44" y="102"/>
                </a:cubicBezTo>
                <a:cubicBezTo>
                  <a:pt x="44" y="103"/>
                  <a:pt x="44" y="103"/>
                  <a:pt x="44" y="103"/>
                </a:cubicBezTo>
                <a:cubicBezTo>
                  <a:pt x="44" y="103"/>
                  <a:pt x="43" y="102"/>
                  <a:pt x="43" y="101"/>
                </a:cubicBezTo>
                <a:cubicBezTo>
                  <a:pt x="44" y="101"/>
                  <a:pt x="44" y="102"/>
                  <a:pt x="44" y="102"/>
                </a:cubicBezTo>
                <a:cubicBezTo>
                  <a:pt x="44" y="103"/>
                  <a:pt x="44" y="102"/>
                  <a:pt x="44" y="102"/>
                </a:cubicBezTo>
                <a:cubicBezTo>
                  <a:pt x="44" y="101"/>
                  <a:pt x="43" y="101"/>
                  <a:pt x="43" y="101"/>
                </a:cubicBezTo>
                <a:cubicBezTo>
                  <a:pt x="42" y="101"/>
                  <a:pt x="43" y="100"/>
                  <a:pt x="43" y="99"/>
                </a:cubicBezTo>
                <a:cubicBezTo>
                  <a:pt x="43" y="98"/>
                  <a:pt x="42" y="98"/>
                  <a:pt x="41" y="97"/>
                </a:cubicBezTo>
                <a:cubicBezTo>
                  <a:pt x="41" y="97"/>
                  <a:pt x="41" y="94"/>
                  <a:pt x="40" y="94"/>
                </a:cubicBezTo>
                <a:cubicBezTo>
                  <a:pt x="40" y="94"/>
                  <a:pt x="40" y="95"/>
                  <a:pt x="40" y="95"/>
                </a:cubicBezTo>
                <a:cubicBezTo>
                  <a:pt x="40" y="95"/>
                  <a:pt x="39" y="92"/>
                  <a:pt x="39" y="92"/>
                </a:cubicBezTo>
                <a:cubicBezTo>
                  <a:pt x="38" y="91"/>
                  <a:pt x="38" y="91"/>
                  <a:pt x="37" y="91"/>
                </a:cubicBezTo>
                <a:cubicBezTo>
                  <a:pt x="37" y="90"/>
                  <a:pt x="36" y="90"/>
                  <a:pt x="36" y="89"/>
                </a:cubicBezTo>
                <a:cubicBezTo>
                  <a:pt x="35" y="89"/>
                  <a:pt x="34" y="88"/>
                  <a:pt x="34" y="88"/>
                </a:cubicBezTo>
                <a:cubicBezTo>
                  <a:pt x="34" y="88"/>
                  <a:pt x="34" y="88"/>
                  <a:pt x="34" y="88"/>
                </a:cubicBezTo>
                <a:cubicBezTo>
                  <a:pt x="34" y="88"/>
                  <a:pt x="34" y="87"/>
                  <a:pt x="34" y="87"/>
                </a:cubicBezTo>
                <a:cubicBezTo>
                  <a:pt x="33" y="87"/>
                  <a:pt x="34" y="88"/>
                  <a:pt x="33" y="88"/>
                </a:cubicBezTo>
                <a:cubicBezTo>
                  <a:pt x="33" y="88"/>
                  <a:pt x="32" y="87"/>
                  <a:pt x="32" y="87"/>
                </a:cubicBezTo>
                <a:cubicBezTo>
                  <a:pt x="32" y="86"/>
                  <a:pt x="31" y="86"/>
                  <a:pt x="31" y="87"/>
                </a:cubicBezTo>
                <a:cubicBezTo>
                  <a:pt x="31" y="87"/>
                  <a:pt x="29" y="86"/>
                  <a:pt x="29" y="86"/>
                </a:cubicBezTo>
                <a:cubicBezTo>
                  <a:pt x="29" y="85"/>
                  <a:pt x="29" y="85"/>
                  <a:pt x="29" y="85"/>
                </a:cubicBezTo>
                <a:cubicBezTo>
                  <a:pt x="29" y="84"/>
                  <a:pt x="28" y="84"/>
                  <a:pt x="28" y="83"/>
                </a:cubicBezTo>
                <a:cubicBezTo>
                  <a:pt x="28" y="82"/>
                  <a:pt x="27" y="81"/>
                  <a:pt x="26" y="81"/>
                </a:cubicBezTo>
                <a:cubicBezTo>
                  <a:pt x="26" y="80"/>
                  <a:pt x="26" y="80"/>
                  <a:pt x="27" y="80"/>
                </a:cubicBezTo>
                <a:cubicBezTo>
                  <a:pt x="27" y="80"/>
                  <a:pt x="27" y="80"/>
                  <a:pt x="27" y="79"/>
                </a:cubicBezTo>
                <a:cubicBezTo>
                  <a:pt x="27" y="78"/>
                  <a:pt x="27" y="77"/>
                  <a:pt x="26" y="76"/>
                </a:cubicBezTo>
                <a:cubicBezTo>
                  <a:pt x="26" y="76"/>
                  <a:pt x="26" y="76"/>
                  <a:pt x="25" y="75"/>
                </a:cubicBezTo>
                <a:cubicBezTo>
                  <a:pt x="25" y="75"/>
                  <a:pt x="25" y="74"/>
                  <a:pt x="25" y="73"/>
                </a:cubicBezTo>
                <a:cubicBezTo>
                  <a:pt x="24" y="73"/>
                  <a:pt x="24" y="72"/>
                  <a:pt x="24" y="72"/>
                </a:cubicBezTo>
                <a:cubicBezTo>
                  <a:pt x="23" y="72"/>
                  <a:pt x="22" y="70"/>
                  <a:pt x="22" y="70"/>
                </a:cubicBezTo>
                <a:cubicBezTo>
                  <a:pt x="22" y="70"/>
                  <a:pt x="22" y="71"/>
                  <a:pt x="22" y="71"/>
                </a:cubicBezTo>
                <a:cubicBezTo>
                  <a:pt x="22" y="71"/>
                  <a:pt x="21" y="70"/>
                  <a:pt x="21" y="70"/>
                </a:cubicBezTo>
                <a:cubicBezTo>
                  <a:pt x="21" y="69"/>
                  <a:pt x="21" y="69"/>
                  <a:pt x="21" y="68"/>
                </a:cubicBezTo>
                <a:cubicBezTo>
                  <a:pt x="22" y="67"/>
                  <a:pt x="20" y="67"/>
                  <a:pt x="19" y="66"/>
                </a:cubicBezTo>
                <a:cubicBezTo>
                  <a:pt x="18" y="65"/>
                  <a:pt x="18" y="63"/>
                  <a:pt x="17" y="62"/>
                </a:cubicBezTo>
                <a:cubicBezTo>
                  <a:pt x="16" y="61"/>
                  <a:pt x="16" y="60"/>
                  <a:pt x="15" y="60"/>
                </a:cubicBezTo>
                <a:cubicBezTo>
                  <a:pt x="15" y="59"/>
                  <a:pt x="15" y="58"/>
                  <a:pt x="14" y="58"/>
                </a:cubicBezTo>
                <a:cubicBezTo>
                  <a:pt x="14" y="57"/>
                  <a:pt x="13" y="57"/>
                  <a:pt x="13" y="56"/>
                </a:cubicBezTo>
                <a:cubicBezTo>
                  <a:pt x="12" y="55"/>
                  <a:pt x="12" y="55"/>
                  <a:pt x="12" y="54"/>
                </a:cubicBezTo>
                <a:cubicBezTo>
                  <a:pt x="11" y="53"/>
                  <a:pt x="9" y="52"/>
                  <a:pt x="9" y="51"/>
                </a:cubicBezTo>
                <a:cubicBezTo>
                  <a:pt x="9" y="50"/>
                  <a:pt x="9" y="50"/>
                  <a:pt x="9" y="50"/>
                </a:cubicBezTo>
                <a:cubicBezTo>
                  <a:pt x="8" y="49"/>
                  <a:pt x="8" y="49"/>
                  <a:pt x="8" y="49"/>
                </a:cubicBezTo>
                <a:cubicBezTo>
                  <a:pt x="8" y="48"/>
                  <a:pt x="7" y="47"/>
                  <a:pt x="7" y="47"/>
                </a:cubicBezTo>
                <a:cubicBezTo>
                  <a:pt x="6" y="46"/>
                  <a:pt x="6" y="46"/>
                  <a:pt x="6" y="46"/>
                </a:cubicBezTo>
                <a:cubicBezTo>
                  <a:pt x="5" y="45"/>
                  <a:pt x="6" y="45"/>
                  <a:pt x="6" y="45"/>
                </a:cubicBezTo>
                <a:cubicBezTo>
                  <a:pt x="6" y="45"/>
                  <a:pt x="5" y="45"/>
                  <a:pt x="5" y="45"/>
                </a:cubicBezTo>
                <a:cubicBezTo>
                  <a:pt x="5" y="45"/>
                  <a:pt x="4" y="44"/>
                  <a:pt x="4" y="44"/>
                </a:cubicBezTo>
                <a:cubicBezTo>
                  <a:pt x="4" y="44"/>
                  <a:pt x="3" y="44"/>
                  <a:pt x="3" y="44"/>
                </a:cubicBezTo>
                <a:cubicBezTo>
                  <a:pt x="3" y="45"/>
                  <a:pt x="3" y="45"/>
                  <a:pt x="3" y="45"/>
                </a:cubicBezTo>
                <a:cubicBezTo>
                  <a:pt x="3" y="45"/>
                  <a:pt x="2" y="45"/>
                  <a:pt x="2" y="44"/>
                </a:cubicBezTo>
                <a:cubicBezTo>
                  <a:pt x="2" y="44"/>
                  <a:pt x="2" y="45"/>
                  <a:pt x="2" y="45"/>
                </a:cubicBezTo>
                <a:cubicBezTo>
                  <a:pt x="2" y="45"/>
                  <a:pt x="2" y="44"/>
                  <a:pt x="2" y="44"/>
                </a:cubicBezTo>
                <a:cubicBezTo>
                  <a:pt x="2" y="44"/>
                  <a:pt x="1" y="45"/>
                  <a:pt x="1" y="44"/>
                </a:cubicBezTo>
                <a:cubicBezTo>
                  <a:pt x="1" y="44"/>
                  <a:pt x="0" y="45"/>
                  <a:pt x="0" y="45"/>
                </a:cubicBezTo>
                <a:cubicBezTo>
                  <a:pt x="0" y="45"/>
                  <a:pt x="0" y="44"/>
                  <a:pt x="0" y="45"/>
                </a:cubicBezTo>
                <a:cubicBezTo>
                  <a:pt x="0" y="44"/>
                  <a:pt x="0" y="44"/>
                  <a:pt x="0" y="44"/>
                </a:cubicBezTo>
                <a:cubicBezTo>
                  <a:pt x="1" y="44"/>
                  <a:pt x="1" y="42"/>
                  <a:pt x="1" y="42"/>
                </a:cubicBezTo>
                <a:cubicBezTo>
                  <a:pt x="1" y="41"/>
                  <a:pt x="2" y="40"/>
                  <a:pt x="1" y="39"/>
                </a:cubicBezTo>
                <a:cubicBezTo>
                  <a:pt x="1" y="38"/>
                  <a:pt x="2" y="36"/>
                  <a:pt x="2" y="35"/>
                </a:cubicBezTo>
                <a:cubicBezTo>
                  <a:pt x="2" y="35"/>
                  <a:pt x="2" y="34"/>
                  <a:pt x="2" y="34"/>
                </a:cubicBezTo>
                <a:cubicBezTo>
                  <a:pt x="2" y="33"/>
                  <a:pt x="2" y="33"/>
                  <a:pt x="2" y="32"/>
                </a:cubicBezTo>
                <a:cubicBezTo>
                  <a:pt x="2" y="32"/>
                  <a:pt x="3" y="31"/>
                  <a:pt x="2" y="31"/>
                </a:cubicBezTo>
                <a:cubicBezTo>
                  <a:pt x="2" y="30"/>
                  <a:pt x="4" y="31"/>
                  <a:pt x="4" y="31"/>
                </a:cubicBezTo>
                <a:cubicBezTo>
                  <a:pt x="6" y="31"/>
                  <a:pt x="7" y="31"/>
                  <a:pt x="8" y="32"/>
                </a:cubicBezTo>
                <a:cubicBezTo>
                  <a:pt x="9" y="32"/>
                  <a:pt x="11" y="32"/>
                  <a:pt x="12" y="32"/>
                </a:cubicBezTo>
                <a:cubicBezTo>
                  <a:pt x="13" y="33"/>
                  <a:pt x="14" y="32"/>
                  <a:pt x="14" y="31"/>
                </a:cubicBezTo>
                <a:cubicBezTo>
                  <a:pt x="15" y="30"/>
                  <a:pt x="16" y="30"/>
                  <a:pt x="17" y="29"/>
                </a:cubicBezTo>
                <a:cubicBezTo>
                  <a:pt x="18" y="28"/>
                  <a:pt x="18" y="27"/>
                  <a:pt x="19" y="26"/>
                </a:cubicBezTo>
                <a:cubicBezTo>
                  <a:pt x="19" y="25"/>
                  <a:pt x="20" y="25"/>
                  <a:pt x="21" y="24"/>
                </a:cubicBezTo>
                <a:cubicBezTo>
                  <a:pt x="22" y="24"/>
                  <a:pt x="24" y="24"/>
                  <a:pt x="25" y="24"/>
                </a:cubicBezTo>
                <a:cubicBezTo>
                  <a:pt x="26" y="24"/>
                  <a:pt x="26" y="23"/>
                  <a:pt x="26" y="22"/>
                </a:cubicBezTo>
                <a:cubicBezTo>
                  <a:pt x="27" y="21"/>
                  <a:pt x="27" y="20"/>
                  <a:pt x="27" y="20"/>
                </a:cubicBezTo>
                <a:cubicBezTo>
                  <a:pt x="28" y="19"/>
                  <a:pt x="29" y="19"/>
                  <a:pt x="30" y="18"/>
                </a:cubicBezTo>
                <a:cubicBezTo>
                  <a:pt x="28" y="16"/>
                  <a:pt x="27" y="14"/>
                  <a:pt x="25" y="12"/>
                </a:cubicBezTo>
                <a:cubicBezTo>
                  <a:pt x="23" y="11"/>
                  <a:pt x="21" y="9"/>
                  <a:pt x="20" y="7"/>
                </a:cubicBezTo>
                <a:cubicBezTo>
                  <a:pt x="23" y="6"/>
                  <a:pt x="27" y="5"/>
                  <a:pt x="30" y="4"/>
                </a:cubicBezTo>
                <a:cubicBezTo>
                  <a:pt x="33" y="3"/>
                  <a:pt x="37" y="2"/>
                  <a:pt x="39" y="0"/>
                </a:cubicBezTo>
                <a:cubicBezTo>
                  <a:pt x="41" y="0"/>
                  <a:pt x="43" y="1"/>
                  <a:pt x="45" y="1"/>
                </a:cubicBezTo>
                <a:cubicBezTo>
                  <a:pt x="47" y="1"/>
                  <a:pt x="49" y="2"/>
                  <a:pt x="51" y="2"/>
                </a:cubicBezTo>
                <a:cubicBezTo>
                  <a:pt x="53" y="3"/>
                  <a:pt x="54" y="4"/>
                  <a:pt x="56" y="5"/>
                </a:cubicBezTo>
                <a:cubicBezTo>
                  <a:pt x="57" y="6"/>
                  <a:pt x="59" y="7"/>
                  <a:pt x="61" y="8"/>
                </a:cubicBezTo>
                <a:cubicBezTo>
                  <a:pt x="62" y="9"/>
                  <a:pt x="64" y="10"/>
                  <a:pt x="66" y="11"/>
                </a:cubicBezTo>
                <a:cubicBezTo>
                  <a:pt x="67" y="12"/>
                  <a:pt x="69" y="13"/>
                  <a:pt x="70" y="14"/>
                </a:cubicBezTo>
                <a:cubicBezTo>
                  <a:pt x="71" y="15"/>
                  <a:pt x="73" y="16"/>
                  <a:pt x="74" y="17"/>
                </a:cubicBezTo>
                <a:cubicBezTo>
                  <a:pt x="76" y="18"/>
                  <a:pt x="77" y="20"/>
                  <a:pt x="79" y="21"/>
                </a:cubicBezTo>
                <a:cubicBezTo>
                  <a:pt x="81" y="22"/>
                  <a:pt x="82" y="23"/>
                  <a:pt x="84" y="25"/>
                </a:cubicBezTo>
                <a:cubicBezTo>
                  <a:pt x="86" y="26"/>
                  <a:pt x="87" y="27"/>
                  <a:pt x="89" y="29"/>
                </a:cubicBezTo>
                <a:cubicBezTo>
                  <a:pt x="91" y="30"/>
                  <a:pt x="92" y="31"/>
                  <a:pt x="93" y="32"/>
                </a:cubicBezTo>
                <a:cubicBezTo>
                  <a:pt x="94" y="32"/>
                  <a:pt x="95" y="32"/>
                  <a:pt x="96" y="32"/>
                </a:cubicBezTo>
                <a:cubicBezTo>
                  <a:pt x="97" y="33"/>
                  <a:pt x="98" y="33"/>
                  <a:pt x="99" y="33"/>
                </a:cubicBezTo>
                <a:cubicBezTo>
                  <a:pt x="101" y="33"/>
                  <a:pt x="103" y="33"/>
                  <a:pt x="105" y="33"/>
                </a:cubicBezTo>
                <a:cubicBezTo>
                  <a:pt x="107" y="34"/>
                  <a:pt x="109" y="34"/>
                  <a:pt x="110" y="34"/>
                </a:cubicBezTo>
                <a:cubicBezTo>
                  <a:pt x="112" y="33"/>
                  <a:pt x="114" y="34"/>
                  <a:pt x="115" y="34"/>
                </a:cubicBezTo>
                <a:cubicBezTo>
                  <a:pt x="116" y="34"/>
                  <a:pt x="119" y="34"/>
                  <a:pt x="120" y="35"/>
                </a:cubicBezTo>
                <a:cubicBezTo>
                  <a:pt x="120" y="35"/>
                  <a:pt x="121" y="36"/>
                  <a:pt x="121" y="37"/>
                </a:cubicBezTo>
                <a:cubicBezTo>
                  <a:pt x="121" y="38"/>
                  <a:pt x="121" y="38"/>
                  <a:pt x="122" y="39"/>
                </a:cubicBezTo>
                <a:cubicBezTo>
                  <a:pt x="122" y="40"/>
                  <a:pt x="124" y="40"/>
                  <a:pt x="125" y="40"/>
                </a:cubicBezTo>
                <a:cubicBezTo>
                  <a:pt x="126" y="40"/>
                  <a:pt x="128" y="39"/>
                  <a:pt x="129" y="40"/>
                </a:cubicBezTo>
                <a:cubicBezTo>
                  <a:pt x="130" y="40"/>
                  <a:pt x="130" y="40"/>
                  <a:pt x="130" y="41"/>
                </a:cubicBezTo>
                <a:cubicBezTo>
                  <a:pt x="130" y="41"/>
                  <a:pt x="130" y="41"/>
                  <a:pt x="130" y="41"/>
                </a:cubicBezTo>
                <a:cubicBezTo>
                  <a:pt x="130" y="41"/>
                  <a:pt x="130" y="41"/>
                  <a:pt x="130" y="41"/>
                </a:cubicBezTo>
                <a:cubicBezTo>
                  <a:pt x="130" y="42"/>
                  <a:pt x="130" y="42"/>
                  <a:pt x="131" y="43"/>
                </a:cubicBezTo>
                <a:cubicBezTo>
                  <a:pt x="131" y="43"/>
                  <a:pt x="131" y="43"/>
                  <a:pt x="131" y="44"/>
                </a:cubicBezTo>
                <a:cubicBezTo>
                  <a:pt x="131" y="44"/>
                  <a:pt x="132" y="45"/>
                  <a:pt x="132" y="45"/>
                </a:cubicBezTo>
                <a:cubicBezTo>
                  <a:pt x="133" y="45"/>
                  <a:pt x="133" y="45"/>
                  <a:pt x="133" y="46"/>
                </a:cubicBezTo>
                <a:cubicBezTo>
                  <a:pt x="133" y="46"/>
                  <a:pt x="133" y="46"/>
                  <a:pt x="133" y="46"/>
                </a:cubicBezTo>
                <a:cubicBezTo>
                  <a:pt x="133" y="46"/>
                  <a:pt x="133" y="46"/>
                  <a:pt x="133" y="47"/>
                </a:cubicBezTo>
                <a:cubicBezTo>
                  <a:pt x="134" y="47"/>
                  <a:pt x="135" y="48"/>
                  <a:pt x="134" y="49"/>
                </a:cubicBezTo>
                <a:cubicBezTo>
                  <a:pt x="134" y="48"/>
                  <a:pt x="134" y="48"/>
                  <a:pt x="134" y="48"/>
                </a:cubicBezTo>
                <a:cubicBezTo>
                  <a:pt x="134" y="47"/>
                  <a:pt x="134" y="48"/>
                  <a:pt x="134" y="48"/>
                </a:cubicBezTo>
                <a:cubicBezTo>
                  <a:pt x="134" y="48"/>
                  <a:pt x="133" y="48"/>
                  <a:pt x="134" y="48"/>
                </a:cubicBezTo>
                <a:cubicBezTo>
                  <a:pt x="133" y="48"/>
                  <a:pt x="133" y="48"/>
                  <a:pt x="133" y="49"/>
                </a:cubicBezTo>
                <a:cubicBezTo>
                  <a:pt x="133" y="49"/>
                  <a:pt x="134" y="49"/>
                  <a:pt x="134" y="48"/>
                </a:cubicBezTo>
                <a:cubicBezTo>
                  <a:pt x="134" y="49"/>
                  <a:pt x="134" y="49"/>
                  <a:pt x="134" y="49"/>
                </a:cubicBezTo>
                <a:cubicBezTo>
                  <a:pt x="134" y="49"/>
                  <a:pt x="134" y="49"/>
                  <a:pt x="134" y="49"/>
                </a:cubicBezTo>
                <a:cubicBezTo>
                  <a:pt x="134" y="49"/>
                  <a:pt x="134" y="50"/>
                  <a:pt x="134" y="50"/>
                </a:cubicBezTo>
                <a:cubicBezTo>
                  <a:pt x="134" y="50"/>
                  <a:pt x="134" y="50"/>
                  <a:pt x="135" y="50"/>
                </a:cubicBezTo>
                <a:cubicBezTo>
                  <a:pt x="134" y="51"/>
                  <a:pt x="135" y="50"/>
                  <a:pt x="135" y="50"/>
                </a:cubicBezTo>
                <a:cubicBezTo>
                  <a:pt x="135" y="50"/>
                  <a:pt x="136" y="50"/>
                  <a:pt x="136" y="50"/>
                </a:cubicBezTo>
                <a:cubicBezTo>
                  <a:pt x="136" y="51"/>
                  <a:pt x="137" y="51"/>
                  <a:pt x="137" y="51"/>
                </a:cubicBezTo>
                <a:cubicBezTo>
                  <a:pt x="138" y="50"/>
                  <a:pt x="138" y="51"/>
                  <a:pt x="138" y="51"/>
                </a:cubicBezTo>
                <a:cubicBezTo>
                  <a:pt x="138" y="51"/>
                  <a:pt x="138" y="52"/>
                  <a:pt x="138" y="52"/>
                </a:cubicBezTo>
                <a:cubicBezTo>
                  <a:pt x="138" y="51"/>
                  <a:pt x="138" y="52"/>
                  <a:pt x="138" y="52"/>
                </a:cubicBezTo>
                <a:cubicBezTo>
                  <a:pt x="138" y="52"/>
                  <a:pt x="137" y="51"/>
                  <a:pt x="137" y="52"/>
                </a:cubicBezTo>
                <a:cubicBezTo>
                  <a:pt x="137" y="52"/>
                  <a:pt x="137" y="52"/>
                  <a:pt x="137" y="52"/>
                </a:cubicBezTo>
                <a:cubicBezTo>
                  <a:pt x="138" y="52"/>
                  <a:pt x="138" y="52"/>
                  <a:pt x="138" y="52"/>
                </a:cubicBezTo>
                <a:cubicBezTo>
                  <a:pt x="138" y="52"/>
                  <a:pt x="138" y="53"/>
                  <a:pt x="138" y="53"/>
                </a:cubicBezTo>
                <a:cubicBezTo>
                  <a:pt x="139" y="52"/>
                  <a:pt x="139" y="54"/>
                  <a:pt x="139" y="54"/>
                </a:cubicBezTo>
                <a:cubicBezTo>
                  <a:pt x="139" y="55"/>
                  <a:pt x="139" y="54"/>
                  <a:pt x="139" y="54"/>
                </a:cubicBezTo>
                <a:cubicBezTo>
                  <a:pt x="140" y="54"/>
                  <a:pt x="140" y="55"/>
                  <a:pt x="139" y="55"/>
                </a:cubicBezTo>
                <a:cubicBezTo>
                  <a:pt x="140" y="55"/>
                  <a:pt x="140" y="55"/>
                  <a:pt x="140" y="55"/>
                </a:cubicBezTo>
                <a:cubicBezTo>
                  <a:pt x="140" y="55"/>
                  <a:pt x="141" y="55"/>
                  <a:pt x="141" y="55"/>
                </a:cubicBezTo>
                <a:cubicBezTo>
                  <a:pt x="140" y="54"/>
                  <a:pt x="141" y="55"/>
                  <a:pt x="141" y="54"/>
                </a:cubicBezTo>
                <a:cubicBezTo>
                  <a:pt x="141" y="56"/>
                  <a:pt x="143" y="58"/>
                  <a:pt x="144" y="58"/>
                </a:cubicBezTo>
                <a:cubicBezTo>
                  <a:pt x="145" y="58"/>
                  <a:pt x="145" y="58"/>
                  <a:pt x="146" y="59"/>
                </a:cubicBezTo>
                <a:cubicBezTo>
                  <a:pt x="146" y="59"/>
                  <a:pt x="147" y="60"/>
                  <a:pt x="147" y="60"/>
                </a:cubicBezTo>
                <a:cubicBezTo>
                  <a:pt x="147" y="60"/>
                  <a:pt x="147" y="60"/>
                  <a:pt x="146" y="60"/>
                </a:cubicBezTo>
                <a:cubicBezTo>
                  <a:pt x="146" y="60"/>
                  <a:pt x="146" y="59"/>
                  <a:pt x="146" y="59"/>
                </a:cubicBezTo>
                <a:cubicBezTo>
                  <a:pt x="145" y="59"/>
                  <a:pt x="146" y="62"/>
                  <a:pt x="146" y="62"/>
                </a:cubicBezTo>
                <a:cubicBezTo>
                  <a:pt x="147" y="63"/>
                  <a:pt x="148" y="63"/>
                  <a:pt x="148" y="63"/>
                </a:cubicBezTo>
                <a:cubicBezTo>
                  <a:pt x="149" y="65"/>
                  <a:pt x="148" y="66"/>
                  <a:pt x="148" y="67"/>
                </a:cubicBezTo>
                <a:cubicBezTo>
                  <a:pt x="148" y="67"/>
                  <a:pt x="147" y="65"/>
                  <a:pt x="146" y="65"/>
                </a:cubicBezTo>
                <a:cubicBezTo>
                  <a:pt x="146" y="66"/>
                  <a:pt x="146" y="68"/>
                  <a:pt x="147" y="68"/>
                </a:cubicBezTo>
                <a:cubicBezTo>
                  <a:pt x="147" y="67"/>
                  <a:pt x="147" y="67"/>
                  <a:pt x="147" y="67"/>
                </a:cubicBezTo>
                <a:cubicBezTo>
                  <a:pt x="148" y="68"/>
                  <a:pt x="147" y="68"/>
                  <a:pt x="148" y="69"/>
                </a:cubicBezTo>
                <a:cubicBezTo>
                  <a:pt x="148" y="70"/>
                  <a:pt x="149" y="71"/>
                  <a:pt x="149" y="72"/>
                </a:cubicBezTo>
                <a:cubicBezTo>
                  <a:pt x="149" y="71"/>
                  <a:pt x="149" y="71"/>
                  <a:pt x="148" y="71"/>
                </a:cubicBezTo>
                <a:cubicBezTo>
                  <a:pt x="148" y="70"/>
                  <a:pt x="148" y="71"/>
                  <a:pt x="148" y="71"/>
                </a:cubicBezTo>
                <a:cubicBezTo>
                  <a:pt x="149" y="72"/>
                  <a:pt x="149" y="73"/>
                  <a:pt x="150" y="73"/>
                </a:cubicBezTo>
                <a:cubicBezTo>
                  <a:pt x="150" y="73"/>
                  <a:pt x="150" y="73"/>
                  <a:pt x="150" y="73"/>
                </a:cubicBezTo>
                <a:cubicBezTo>
                  <a:pt x="151" y="73"/>
                  <a:pt x="152" y="74"/>
                  <a:pt x="152" y="75"/>
                </a:cubicBezTo>
                <a:cubicBezTo>
                  <a:pt x="152" y="76"/>
                  <a:pt x="152" y="77"/>
                  <a:pt x="153" y="78"/>
                </a:cubicBezTo>
                <a:cubicBezTo>
                  <a:pt x="153" y="78"/>
                  <a:pt x="154" y="79"/>
                  <a:pt x="154" y="79"/>
                </a:cubicBezTo>
                <a:cubicBezTo>
                  <a:pt x="154" y="80"/>
                  <a:pt x="154" y="80"/>
                  <a:pt x="154" y="81"/>
                </a:cubicBezTo>
                <a:cubicBezTo>
                  <a:pt x="155" y="82"/>
                  <a:pt x="155" y="81"/>
                  <a:pt x="155" y="81"/>
                </a:cubicBezTo>
                <a:cubicBezTo>
                  <a:pt x="156" y="81"/>
                  <a:pt x="156" y="82"/>
                  <a:pt x="156" y="83"/>
                </a:cubicBezTo>
                <a:cubicBezTo>
                  <a:pt x="157" y="83"/>
                  <a:pt x="158" y="84"/>
                  <a:pt x="158" y="83"/>
                </a:cubicBezTo>
                <a:cubicBezTo>
                  <a:pt x="159" y="83"/>
                  <a:pt x="159" y="82"/>
                  <a:pt x="160" y="83"/>
                </a:cubicBezTo>
                <a:cubicBezTo>
                  <a:pt x="160" y="83"/>
                  <a:pt x="160" y="84"/>
                  <a:pt x="160" y="84"/>
                </a:cubicBezTo>
                <a:cubicBezTo>
                  <a:pt x="160" y="83"/>
                  <a:pt x="161" y="82"/>
                  <a:pt x="161" y="83"/>
                </a:cubicBezTo>
                <a:cubicBezTo>
                  <a:pt x="162" y="83"/>
                  <a:pt x="161" y="84"/>
                  <a:pt x="161" y="84"/>
                </a:cubicBezTo>
                <a:cubicBezTo>
                  <a:pt x="161" y="84"/>
                  <a:pt x="159" y="86"/>
                  <a:pt x="160" y="86"/>
                </a:cubicBezTo>
                <a:cubicBezTo>
                  <a:pt x="161" y="86"/>
                  <a:pt x="162" y="86"/>
                  <a:pt x="162" y="86"/>
                </a:cubicBezTo>
                <a:cubicBezTo>
                  <a:pt x="163" y="87"/>
                  <a:pt x="163" y="87"/>
                  <a:pt x="163" y="88"/>
                </a:cubicBezTo>
                <a:cubicBezTo>
                  <a:pt x="164" y="90"/>
                  <a:pt x="165" y="91"/>
                  <a:pt x="166" y="92"/>
                </a:cubicBezTo>
                <a:cubicBezTo>
                  <a:pt x="168" y="94"/>
                  <a:pt x="169" y="95"/>
                  <a:pt x="170" y="97"/>
                </a:cubicBezTo>
                <a:cubicBezTo>
                  <a:pt x="171" y="98"/>
                  <a:pt x="172" y="100"/>
                  <a:pt x="173" y="101"/>
                </a:cubicBezTo>
                <a:cubicBezTo>
                  <a:pt x="176" y="102"/>
                  <a:pt x="180" y="102"/>
                  <a:pt x="183" y="102"/>
                </a:cubicBezTo>
                <a:cubicBezTo>
                  <a:pt x="187" y="103"/>
                  <a:pt x="191" y="104"/>
                  <a:pt x="196" y="104"/>
                </a:cubicBezTo>
                <a:cubicBezTo>
                  <a:pt x="196" y="104"/>
                  <a:pt x="197" y="104"/>
                  <a:pt x="197" y="104"/>
                </a:cubicBezTo>
                <a:cubicBezTo>
                  <a:pt x="198" y="104"/>
                  <a:pt x="198" y="104"/>
                  <a:pt x="198" y="104"/>
                </a:cubicBezTo>
                <a:cubicBezTo>
                  <a:pt x="199" y="105"/>
                  <a:pt x="200" y="107"/>
                  <a:pt x="201" y="109"/>
                </a:cubicBezTo>
                <a:cubicBezTo>
                  <a:pt x="202" y="111"/>
                  <a:pt x="203" y="112"/>
                  <a:pt x="202" y="114"/>
                </a:cubicBezTo>
                <a:close/>
                <a:moveTo>
                  <a:pt x="77" y="169"/>
                </a:moveTo>
                <a:cubicBezTo>
                  <a:pt x="77" y="168"/>
                  <a:pt x="76" y="170"/>
                  <a:pt x="77" y="169"/>
                </a:cubicBezTo>
                <a:cubicBezTo>
                  <a:pt x="77" y="170"/>
                  <a:pt x="76" y="169"/>
                  <a:pt x="75" y="169"/>
                </a:cubicBezTo>
                <a:cubicBezTo>
                  <a:pt x="75" y="169"/>
                  <a:pt x="74" y="168"/>
                  <a:pt x="74" y="168"/>
                </a:cubicBezTo>
                <a:cubicBezTo>
                  <a:pt x="74" y="168"/>
                  <a:pt x="74" y="168"/>
                  <a:pt x="74" y="169"/>
                </a:cubicBezTo>
                <a:cubicBezTo>
                  <a:pt x="74" y="169"/>
                  <a:pt x="74" y="169"/>
                  <a:pt x="74" y="169"/>
                </a:cubicBezTo>
                <a:cubicBezTo>
                  <a:pt x="75" y="169"/>
                  <a:pt x="75" y="170"/>
                  <a:pt x="76" y="170"/>
                </a:cubicBezTo>
                <a:cubicBezTo>
                  <a:pt x="76" y="170"/>
                  <a:pt x="77" y="170"/>
                  <a:pt x="77" y="170"/>
                </a:cubicBezTo>
                <a:cubicBezTo>
                  <a:pt x="77" y="170"/>
                  <a:pt x="77" y="171"/>
                  <a:pt x="77" y="171"/>
                </a:cubicBezTo>
                <a:cubicBezTo>
                  <a:pt x="77" y="171"/>
                  <a:pt x="78" y="171"/>
                  <a:pt x="78" y="171"/>
                </a:cubicBezTo>
                <a:cubicBezTo>
                  <a:pt x="78" y="171"/>
                  <a:pt x="78" y="170"/>
                  <a:pt x="78" y="170"/>
                </a:cubicBezTo>
                <a:cubicBezTo>
                  <a:pt x="77" y="170"/>
                  <a:pt x="77" y="169"/>
                  <a:pt x="77" y="169"/>
                </a:cubicBezTo>
                <a:close/>
                <a:moveTo>
                  <a:pt x="75" y="167"/>
                </a:moveTo>
                <a:cubicBezTo>
                  <a:pt x="75" y="167"/>
                  <a:pt x="75" y="167"/>
                  <a:pt x="75" y="166"/>
                </a:cubicBezTo>
                <a:cubicBezTo>
                  <a:pt x="75" y="167"/>
                  <a:pt x="75" y="167"/>
                  <a:pt x="75" y="167"/>
                </a:cubicBezTo>
                <a:close/>
                <a:moveTo>
                  <a:pt x="76" y="167"/>
                </a:moveTo>
                <a:cubicBezTo>
                  <a:pt x="76" y="167"/>
                  <a:pt x="75" y="167"/>
                  <a:pt x="75" y="167"/>
                </a:cubicBezTo>
                <a:cubicBezTo>
                  <a:pt x="75" y="167"/>
                  <a:pt x="76" y="167"/>
                  <a:pt x="75" y="167"/>
                </a:cubicBezTo>
                <a:cubicBezTo>
                  <a:pt x="75" y="168"/>
                  <a:pt x="75" y="168"/>
                  <a:pt x="75" y="168"/>
                </a:cubicBezTo>
                <a:cubicBezTo>
                  <a:pt x="75" y="169"/>
                  <a:pt x="76" y="169"/>
                  <a:pt x="76" y="169"/>
                </a:cubicBezTo>
                <a:cubicBezTo>
                  <a:pt x="76" y="169"/>
                  <a:pt x="75" y="168"/>
                  <a:pt x="76" y="168"/>
                </a:cubicBezTo>
                <a:cubicBezTo>
                  <a:pt x="76" y="168"/>
                  <a:pt x="76" y="167"/>
                  <a:pt x="76" y="167"/>
                </a:cubicBezTo>
                <a:close/>
                <a:moveTo>
                  <a:pt x="75" y="166"/>
                </a:moveTo>
                <a:cubicBezTo>
                  <a:pt x="75" y="166"/>
                  <a:pt x="75" y="166"/>
                  <a:pt x="75" y="166"/>
                </a:cubicBezTo>
                <a:cubicBezTo>
                  <a:pt x="75" y="166"/>
                  <a:pt x="75" y="166"/>
                  <a:pt x="75" y="166"/>
                </a:cubicBezTo>
                <a:cubicBezTo>
                  <a:pt x="75" y="166"/>
                  <a:pt x="75" y="166"/>
                  <a:pt x="75" y="16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7" name="Sao Tome and Principe"/>
          <p:cNvSpPr>
            <a:spLocks noEditPoints="1"/>
          </p:cNvSpPr>
          <p:nvPr/>
        </p:nvSpPr>
        <p:spPr bwMode="auto">
          <a:xfrm>
            <a:off x="6020074" y="4594940"/>
            <a:ext cx="35999" cy="68998"/>
          </a:xfrm>
          <a:custGeom>
            <a:avLst/>
            <a:gdLst/>
            <a:ahLst/>
            <a:cxnLst>
              <a:cxn ang="0">
                <a:pos x="2" y="18"/>
              </a:cxn>
              <a:cxn ang="0">
                <a:pos x="1" y="18"/>
              </a:cxn>
              <a:cxn ang="0">
                <a:pos x="1" y="19"/>
              </a:cxn>
              <a:cxn ang="0">
                <a:pos x="1" y="18"/>
              </a:cxn>
              <a:cxn ang="0">
                <a:pos x="0" y="16"/>
              </a:cxn>
              <a:cxn ang="0">
                <a:pos x="3" y="15"/>
              </a:cxn>
              <a:cxn ang="0">
                <a:pos x="2" y="18"/>
              </a:cxn>
              <a:cxn ang="0">
                <a:pos x="10" y="1"/>
              </a:cxn>
              <a:cxn ang="0">
                <a:pos x="9" y="2"/>
              </a:cxn>
              <a:cxn ang="0">
                <a:pos x="9" y="2"/>
              </a:cxn>
              <a:cxn ang="0">
                <a:pos x="10" y="2"/>
              </a:cxn>
              <a:cxn ang="0">
                <a:pos x="10" y="1"/>
              </a:cxn>
              <a:cxn ang="0">
                <a:pos x="10" y="1"/>
              </a:cxn>
            </a:cxnLst>
            <a:rect l="0" t="0" r="r" b="b"/>
            <a:pathLst>
              <a:path w="10" h="19">
                <a:moveTo>
                  <a:pt x="2" y="18"/>
                </a:moveTo>
                <a:cubicBezTo>
                  <a:pt x="2" y="18"/>
                  <a:pt x="2" y="19"/>
                  <a:pt x="1" y="18"/>
                </a:cubicBezTo>
                <a:cubicBezTo>
                  <a:pt x="1" y="18"/>
                  <a:pt x="1" y="19"/>
                  <a:pt x="1" y="19"/>
                </a:cubicBezTo>
                <a:cubicBezTo>
                  <a:pt x="1" y="19"/>
                  <a:pt x="1" y="18"/>
                  <a:pt x="1" y="18"/>
                </a:cubicBezTo>
                <a:cubicBezTo>
                  <a:pt x="0" y="17"/>
                  <a:pt x="0" y="17"/>
                  <a:pt x="0" y="16"/>
                </a:cubicBezTo>
                <a:cubicBezTo>
                  <a:pt x="1" y="15"/>
                  <a:pt x="2" y="14"/>
                  <a:pt x="3" y="15"/>
                </a:cubicBezTo>
                <a:cubicBezTo>
                  <a:pt x="3" y="16"/>
                  <a:pt x="3" y="17"/>
                  <a:pt x="2" y="18"/>
                </a:cubicBezTo>
                <a:close/>
                <a:moveTo>
                  <a:pt x="10" y="1"/>
                </a:moveTo>
                <a:cubicBezTo>
                  <a:pt x="9" y="0"/>
                  <a:pt x="9" y="1"/>
                  <a:pt x="9" y="2"/>
                </a:cubicBezTo>
                <a:cubicBezTo>
                  <a:pt x="9" y="2"/>
                  <a:pt x="9" y="2"/>
                  <a:pt x="9" y="2"/>
                </a:cubicBezTo>
                <a:cubicBezTo>
                  <a:pt x="9" y="2"/>
                  <a:pt x="10" y="2"/>
                  <a:pt x="10" y="2"/>
                </a:cubicBezTo>
                <a:cubicBezTo>
                  <a:pt x="9" y="1"/>
                  <a:pt x="10" y="2"/>
                  <a:pt x="10" y="1"/>
                </a:cubicBezTo>
                <a:cubicBezTo>
                  <a:pt x="10" y="1"/>
                  <a:pt x="10" y="1"/>
                  <a:pt x="10"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8" name="Samoa"/>
          <p:cNvSpPr>
            <a:spLocks noEditPoints="1"/>
          </p:cNvSpPr>
          <p:nvPr/>
        </p:nvSpPr>
        <p:spPr bwMode="auto">
          <a:xfrm>
            <a:off x="771271" y="4912929"/>
            <a:ext cx="100996" cy="122996"/>
          </a:xfrm>
          <a:custGeom>
            <a:avLst/>
            <a:gdLst/>
            <a:ahLst/>
            <a:cxnLst>
              <a:cxn ang="0">
                <a:pos x="0" y="1"/>
              </a:cxn>
              <a:cxn ang="0">
                <a:pos x="0" y="1"/>
              </a:cxn>
              <a:cxn ang="0">
                <a:pos x="26" y="34"/>
              </a:cxn>
              <a:cxn ang="0">
                <a:pos x="26" y="34"/>
              </a:cxn>
              <a:cxn ang="0">
                <a:pos x="26" y="34"/>
              </a:cxn>
              <a:cxn ang="0">
                <a:pos x="9" y="4"/>
              </a:cxn>
              <a:cxn ang="0">
                <a:pos x="10" y="5"/>
              </a:cxn>
              <a:cxn ang="0">
                <a:pos x="9" y="4"/>
              </a:cxn>
              <a:cxn ang="0">
                <a:pos x="17" y="11"/>
              </a:cxn>
              <a:cxn ang="0">
                <a:pos x="17" y="11"/>
              </a:cxn>
              <a:cxn ang="0">
                <a:pos x="17" y="11"/>
              </a:cxn>
              <a:cxn ang="0">
                <a:pos x="23" y="11"/>
              </a:cxn>
              <a:cxn ang="0">
                <a:pos x="23" y="10"/>
              </a:cxn>
              <a:cxn ang="0">
                <a:pos x="23" y="11"/>
              </a:cxn>
              <a:cxn ang="0">
                <a:pos x="19" y="13"/>
              </a:cxn>
              <a:cxn ang="0">
                <a:pos x="19" y="13"/>
              </a:cxn>
              <a:cxn ang="0">
                <a:pos x="6" y="26"/>
              </a:cxn>
              <a:cxn ang="0">
                <a:pos x="7" y="27"/>
              </a:cxn>
              <a:cxn ang="0">
                <a:pos x="6" y="26"/>
              </a:cxn>
              <a:cxn ang="0">
                <a:pos x="27" y="15"/>
              </a:cxn>
              <a:cxn ang="0">
                <a:pos x="27" y="15"/>
              </a:cxn>
            </a:cxnLst>
            <a:rect l="0" t="0" r="r" b="b"/>
            <a:pathLst>
              <a:path w="28" h="34">
                <a:moveTo>
                  <a:pt x="0" y="1"/>
                </a:moveTo>
                <a:cubicBezTo>
                  <a:pt x="0" y="0"/>
                  <a:pt x="0" y="0"/>
                  <a:pt x="0" y="1"/>
                </a:cubicBezTo>
                <a:close/>
                <a:moveTo>
                  <a:pt x="26" y="34"/>
                </a:moveTo>
                <a:cubicBezTo>
                  <a:pt x="26" y="34"/>
                  <a:pt x="26" y="34"/>
                  <a:pt x="26" y="34"/>
                </a:cubicBezTo>
                <a:cubicBezTo>
                  <a:pt x="27" y="34"/>
                  <a:pt x="27" y="33"/>
                  <a:pt x="26" y="34"/>
                </a:cubicBezTo>
                <a:close/>
                <a:moveTo>
                  <a:pt x="9" y="4"/>
                </a:moveTo>
                <a:cubicBezTo>
                  <a:pt x="9" y="4"/>
                  <a:pt x="9" y="5"/>
                  <a:pt x="10" y="5"/>
                </a:cubicBezTo>
                <a:cubicBezTo>
                  <a:pt x="10" y="5"/>
                  <a:pt x="9" y="4"/>
                  <a:pt x="9" y="4"/>
                </a:cubicBezTo>
                <a:close/>
                <a:moveTo>
                  <a:pt x="17" y="11"/>
                </a:moveTo>
                <a:cubicBezTo>
                  <a:pt x="17" y="11"/>
                  <a:pt x="17" y="11"/>
                  <a:pt x="17" y="11"/>
                </a:cubicBezTo>
                <a:cubicBezTo>
                  <a:pt x="17" y="11"/>
                  <a:pt x="17" y="11"/>
                  <a:pt x="17" y="11"/>
                </a:cubicBezTo>
                <a:close/>
                <a:moveTo>
                  <a:pt x="23" y="11"/>
                </a:moveTo>
                <a:cubicBezTo>
                  <a:pt x="23" y="11"/>
                  <a:pt x="23" y="11"/>
                  <a:pt x="23" y="10"/>
                </a:cubicBezTo>
                <a:cubicBezTo>
                  <a:pt x="22" y="11"/>
                  <a:pt x="23" y="11"/>
                  <a:pt x="23" y="11"/>
                </a:cubicBezTo>
                <a:close/>
                <a:moveTo>
                  <a:pt x="19" y="13"/>
                </a:moveTo>
                <a:cubicBezTo>
                  <a:pt x="20" y="13"/>
                  <a:pt x="18" y="12"/>
                  <a:pt x="19" y="13"/>
                </a:cubicBezTo>
                <a:close/>
                <a:moveTo>
                  <a:pt x="6" y="26"/>
                </a:moveTo>
                <a:cubicBezTo>
                  <a:pt x="6" y="27"/>
                  <a:pt x="7" y="27"/>
                  <a:pt x="7" y="27"/>
                </a:cubicBezTo>
                <a:cubicBezTo>
                  <a:pt x="8" y="26"/>
                  <a:pt x="6" y="26"/>
                  <a:pt x="6" y="26"/>
                </a:cubicBezTo>
                <a:close/>
                <a:moveTo>
                  <a:pt x="27" y="15"/>
                </a:moveTo>
                <a:cubicBezTo>
                  <a:pt x="28" y="14"/>
                  <a:pt x="27" y="14"/>
                  <a:pt x="27" y="1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59" name="Rwanda"/>
          <p:cNvSpPr>
            <a:spLocks/>
          </p:cNvSpPr>
          <p:nvPr/>
        </p:nvSpPr>
        <p:spPr bwMode="auto">
          <a:xfrm>
            <a:off x="6803045" y="4703935"/>
            <a:ext cx="72998" cy="71997"/>
          </a:xfrm>
          <a:custGeom>
            <a:avLst/>
            <a:gdLst/>
            <a:ahLst/>
            <a:cxnLst>
              <a:cxn ang="0">
                <a:pos x="19" y="10"/>
              </a:cxn>
              <a:cxn ang="0">
                <a:pos x="20" y="7"/>
              </a:cxn>
              <a:cxn ang="0">
                <a:pos x="19" y="6"/>
              </a:cxn>
              <a:cxn ang="0">
                <a:pos x="18" y="5"/>
              </a:cxn>
              <a:cxn ang="0">
                <a:pos x="17" y="3"/>
              </a:cxn>
              <a:cxn ang="0">
                <a:pos x="16" y="1"/>
              </a:cxn>
              <a:cxn ang="0">
                <a:pos x="15" y="2"/>
              </a:cxn>
              <a:cxn ang="0">
                <a:pos x="13" y="4"/>
              </a:cxn>
              <a:cxn ang="0">
                <a:pos x="12" y="5"/>
              </a:cxn>
              <a:cxn ang="0">
                <a:pos x="11" y="5"/>
              </a:cxn>
              <a:cxn ang="0">
                <a:pos x="10" y="4"/>
              </a:cxn>
              <a:cxn ang="0">
                <a:pos x="10" y="4"/>
              </a:cxn>
              <a:cxn ang="0">
                <a:pos x="9" y="4"/>
              </a:cxn>
              <a:cxn ang="0">
                <a:pos x="7" y="5"/>
              </a:cxn>
              <a:cxn ang="0">
                <a:pos x="6" y="6"/>
              </a:cxn>
              <a:cxn ang="0">
                <a:pos x="6" y="6"/>
              </a:cxn>
              <a:cxn ang="0">
                <a:pos x="5" y="7"/>
              </a:cxn>
              <a:cxn ang="0">
                <a:pos x="3" y="9"/>
              </a:cxn>
              <a:cxn ang="0">
                <a:pos x="3" y="11"/>
              </a:cxn>
              <a:cxn ang="0">
                <a:pos x="2" y="14"/>
              </a:cxn>
              <a:cxn ang="0">
                <a:pos x="2" y="15"/>
              </a:cxn>
              <a:cxn ang="0">
                <a:pos x="1" y="15"/>
              </a:cxn>
              <a:cxn ang="0">
                <a:pos x="1" y="17"/>
              </a:cxn>
              <a:cxn ang="0">
                <a:pos x="1" y="18"/>
              </a:cxn>
              <a:cxn ang="0">
                <a:pos x="2" y="19"/>
              </a:cxn>
              <a:cxn ang="0">
                <a:pos x="3" y="18"/>
              </a:cxn>
              <a:cxn ang="0">
                <a:pos x="5" y="18"/>
              </a:cxn>
              <a:cxn ang="0">
                <a:pos x="5" y="20"/>
              </a:cxn>
              <a:cxn ang="0">
                <a:pos x="6" y="20"/>
              </a:cxn>
              <a:cxn ang="0">
                <a:pos x="7" y="20"/>
              </a:cxn>
              <a:cxn ang="0">
                <a:pos x="8" y="20"/>
              </a:cxn>
              <a:cxn ang="0">
                <a:pos x="9" y="20"/>
              </a:cxn>
              <a:cxn ang="0">
                <a:pos x="9" y="20"/>
              </a:cxn>
              <a:cxn ang="0">
                <a:pos x="10" y="20"/>
              </a:cxn>
              <a:cxn ang="0">
                <a:pos x="11" y="17"/>
              </a:cxn>
              <a:cxn ang="0">
                <a:pos x="11" y="16"/>
              </a:cxn>
              <a:cxn ang="0">
                <a:pos x="11" y="15"/>
              </a:cxn>
              <a:cxn ang="0">
                <a:pos x="12" y="15"/>
              </a:cxn>
              <a:cxn ang="0">
                <a:pos x="13" y="16"/>
              </a:cxn>
              <a:cxn ang="0">
                <a:pos x="15" y="15"/>
              </a:cxn>
              <a:cxn ang="0">
                <a:pos x="16" y="15"/>
              </a:cxn>
              <a:cxn ang="0">
                <a:pos x="17" y="16"/>
              </a:cxn>
              <a:cxn ang="0">
                <a:pos x="19" y="15"/>
              </a:cxn>
              <a:cxn ang="0">
                <a:pos x="20" y="14"/>
              </a:cxn>
              <a:cxn ang="0">
                <a:pos x="20" y="12"/>
              </a:cxn>
              <a:cxn ang="0">
                <a:pos x="19" y="10"/>
              </a:cxn>
            </a:cxnLst>
            <a:rect l="0" t="0" r="r" b="b"/>
            <a:pathLst>
              <a:path w="20" h="20">
                <a:moveTo>
                  <a:pt x="19" y="10"/>
                </a:moveTo>
                <a:cubicBezTo>
                  <a:pt x="20" y="9"/>
                  <a:pt x="20" y="8"/>
                  <a:pt x="20" y="7"/>
                </a:cubicBezTo>
                <a:cubicBezTo>
                  <a:pt x="20" y="7"/>
                  <a:pt x="19" y="7"/>
                  <a:pt x="19" y="6"/>
                </a:cubicBezTo>
                <a:cubicBezTo>
                  <a:pt x="19" y="6"/>
                  <a:pt x="19" y="5"/>
                  <a:pt x="18" y="5"/>
                </a:cubicBezTo>
                <a:cubicBezTo>
                  <a:pt x="18" y="4"/>
                  <a:pt x="17" y="4"/>
                  <a:pt x="17" y="3"/>
                </a:cubicBezTo>
                <a:cubicBezTo>
                  <a:pt x="17" y="3"/>
                  <a:pt x="16" y="1"/>
                  <a:pt x="16" y="1"/>
                </a:cubicBezTo>
                <a:cubicBezTo>
                  <a:pt x="15" y="0"/>
                  <a:pt x="15" y="2"/>
                  <a:pt x="15" y="2"/>
                </a:cubicBezTo>
                <a:cubicBezTo>
                  <a:pt x="14" y="3"/>
                  <a:pt x="14" y="3"/>
                  <a:pt x="13" y="4"/>
                </a:cubicBezTo>
                <a:cubicBezTo>
                  <a:pt x="13" y="4"/>
                  <a:pt x="13" y="4"/>
                  <a:pt x="12" y="5"/>
                </a:cubicBezTo>
                <a:cubicBezTo>
                  <a:pt x="12" y="5"/>
                  <a:pt x="11" y="6"/>
                  <a:pt x="11" y="5"/>
                </a:cubicBezTo>
                <a:cubicBezTo>
                  <a:pt x="11" y="5"/>
                  <a:pt x="10" y="4"/>
                  <a:pt x="10" y="4"/>
                </a:cubicBezTo>
                <a:cubicBezTo>
                  <a:pt x="10" y="4"/>
                  <a:pt x="10" y="4"/>
                  <a:pt x="10" y="4"/>
                </a:cubicBezTo>
                <a:cubicBezTo>
                  <a:pt x="9" y="4"/>
                  <a:pt x="9" y="4"/>
                  <a:pt x="9" y="4"/>
                </a:cubicBezTo>
                <a:cubicBezTo>
                  <a:pt x="8" y="4"/>
                  <a:pt x="8" y="4"/>
                  <a:pt x="7" y="5"/>
                </a:cubicBezTo>
                <a:cubicBezTo>
                  <a:pt x="7" y="5"/>
                  <a:pt x="7" y="5"/>
                  <a:pt x="6" y="6"/>
                </a:cubicBezTo>
                <a:cubicBezTo>
                  <a:pt x="6" y="6"/>
                  <a:pt x="6" y="6"/>
                  <a:pt x="6" y="6"/>
                </a:cubicBezTo>
                <a:cubicBezTo>
                  <a:pt x="5" y="6"/>
                  <a:pt x="5" y="7"/>
                  <a:pt x="5" y="7"/>
                </a:cubicBezTo>
                <a:cubicBezTo>
                  <a:pt x="4" y="7"/>
                  <a:pt x="4" y="9"/>
                  <a:pt x="3" y="9"/>
                </a:cubicBezTo>
                <a:cubicBezTo>
                  <a:pt x="3" y="10"/>
                  <a:pt x="3" y="10"/>
                  <a:pt x="3" y="11"/>
                </a:cubicBezTo>
                <a:cubicBezTo>
                  <a:pt x="4" y="12"/>
                  <a:pt x="4" y="14"/>
                  <a:pt x="2" y="14"/>
                </a:cubicBezTo>
                <a:cubicBezTo>
                  <a:pt x="2" y="14"/>
                  <a:pt x="2" y="15"/>
                  <a:pt x="2" y="15"/>
                </a:cubicBezTo>
                <a:cubicBezTo>
                  <a:pt x="2" y="15"/>
                  <a:pt x="1" y="15"/>
                  <a:pt x="1" y="15"/>
                </a:cubicBezTo>
                <a:cubicBezTo>
                  <a:pt x="0" y="16"/>
                  <a:pt x="1" y="16"/>
                  <a:pt x="1" y="17"/>
                </a:cubicBezTo>
                <a:cubicBezTo>
                  <a:pt x="0" y="17"/>
                  <a:pt x="1" y="18"/>
                  <a:pt x="1" y="18"/>
                </a:cubicBezTo>
                <a:cubicBezTo>
                  <a:pt x="1" y="19"/>
                  <a:pt x="2" y="19"/>
                  <a:pt x="2" y="19"/>
                </a:cubicBezTo>
                <a:cubicBezTo>
                  <a:pt x="2" y="19"/>
                  <a:pt x="2" y="18"/>
                  <a:pt x="3" y="18"/>
                </a:cubicBezTo>
                <a:cubicBezTo>
                  <a:pt x="3" y="18"/>
                  <a:pt x="4" y="18"/>
                  <a:pt x="5" y="18"/>
                </a:cubicBezTo>
                <a:cubicBezTo>
                  <a:pt x="5" y="19"/>
                  <a:pt x="5" y="20"/>
                  <a:pt x="5" y="20"/>
                </a:cubicBezTo>
                <a:cubicBezTo>
                  <a:pt x="6" y="20"/>
                  <a:pt x="6" y="20"/>
                  <a:pt x="6" y="20"/>
                </a:cubicBezTo>
                <a:cubicBezTo>
                  <a:pt x="7" y="20"/>
                  <a:pt x="7" y="20"/>
                  <a:pt x="7" y="20"/>
                </a:cubicBezTo>
                <a:cubicBezTo>
                  <a:pt x="8" y="20"/>
                  <a:pt x="8" y="20"/>
                  <a:pt x="8" y="20"/>
                </a:cubicBezTo>
                <a:cubicBezTo>
                  <a:pt x="8" y="20"/>
                  <a:pt x="9" y="20"/>
                  <a:pt x="9" y="20"/>
                </a:cubicBezTo>
                <a:cubicBezTo>
                  <a:pt x="9" y="20"/>
                  <a:pt x="9" y="19"/>
                  <a:pt x="9" y="20"/>
                </a:cubicBezTo>
                <a:cubicBezTo>
                  <a:pt x="10" y="20"/>
                  <a:pt x="10" y="20"/>
                  <a:pt x="10" y="20"/>
                </a:cubicBezTo>
                <a:cubicBezTo>
                  <a:pt x="11" y="19"/>
                  <a:pt x="11" y="18"/>
                  <a:pt x="11" y="17"/>
                </a:cubicBezTo>
                <a:cubicBezTo>
                  <a:pt x="11" y="17"/>
                  <a:pt x="11" y="16"/>
                  <a:pt x="11" y="16"/>
                </a:cubicBezTo>
                <a:cubicBezTo>
                  <a:pt x="11" y="15"/>
                  <a:pt x="11" y="15"/>
                  <a:pt x="11" y="15"/>
                </a:cubicBezTo>
                <a:cubicBezTo>
                  <a:pt x="11" y="15"/>
                  <a:pt x="12" y="15"/>
                  <a:pt x="12" y="15"/>
                </a:cubicBezTo>
                <a:cubicBezTo>
                  <a:pt x="13" y="16"/>
                  <a:pt x="13" y="16"/>
                  <a:pt x="13" y="16"/>
                </a:cubicBezTo>
                <a:cubicBezTo>
                  <a:pt x="14" y="15"/>
                  <a:pt x="14" y="15"/>
                  <a:pt x="15" y="15"/>
                </a:cubicBezTo>
                <a:cubicBezTo>
                  <a:pt x="15" y="15"/>
                  <a:pt x="15" y="14"/>
                  <a:pt x="16" y="15"/>
                </a:cubicBezTo>
                <a:cubicBezTo>
                  <a:pt x="16" y="15"/>
                  <a:pt x="17" y="16"/>
                  <a:pt x="17" y="16"/>
                </a:cubicBezTo>
                <a:cubicBezTo>
                  <a:pt x="18" y="16"/>
                  <a:pt x="18" y="15"/>
                  <a:pt x="19" y="15"/>
                </a:cubicBezTo>
                <a:cubicBezTo>
                  <a:pt x="20" y="16"/>
                  <a:pt x="20" y="14"/>
                  <a:pt x="20" y="14"/>
                </a:cubicBezTo>
                <a:cubicBezTo>
                  <a:pt x="20" y="13"/>
                  <a:pt x="20" y="12"/>
                  <a:pt x="20" y="12"/>
                </a:cubicBezTo>
                <a:cubicBezTo>
                  <a:pt x="20" y="11"/>
                  <a:pt x="19" y="11"/>
                  <a:pt x="19" y="1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0" name="Russia"/>
          <p:cNvSpPr>
            <a:spLocks noEditPoints="1"/>
          </p:cNvSpPr>
          <p:nvPr/>
        </p:nvSpPr>
        <p:spPr bwMode="auto">
          <a:xfrm>
            <a:off x="6428059" y="1604052"/>
            <a:ext cx="4478833" cy="1424947"/>
          </a:xfrm>
          <a:custGeom>
            <a:avLst/>
            <a:gdLst/>
            <a:ahLst/>
            <a:cxnLst>
              <a:cxn ang="0">
                <a:pos x="479" y="24"/>
              </a:cxn>
              <a:cxn ang="0">
                <a:pos x="745" y="45"/>
              </a:cxn>
              <a:cxn ang="0">
                <a:pos x="225" y="88"/>
              </a:cxn>
              <a:cxn ang="0">
                <a:pos x="230" y="75"/>
              </a:cxn>
              <a:cxn ang="0">
                <a:pos x="223" y="53"/>
              </a:cxn>
              <a:cxn ang="0">
                <a:pos x="242" y="62"/>
              </a:cxn>
              <a:cxn ang="0">
                <a:pos x="789" y="68"/>
              </a:cxn>
              <a:cxn ang="0">
                <a:pos x="416" y="10"/>
              </a:cxn>
              <a:cxn ang="0">
                <a:pos x="464" y="23"/>
              </a:cxn>
              <a:cxn ang="0">
                <a:pos x="150" y="9"/>
              </a:cxn>
              <a:cxn ang="0">
                <a:pos x="1067" y="333"/>
              </a:cxn>
              <a:cxn ang="0">
                <a:pos x="1008" y="263"/>
              </a:cxn>
              <a:cxn ang="0">
                <a:pos x="2" y="252"/>
              </a:cxn>
              <a:cxn ang="0">
                <a:pos x="808" y="39"/>
              </a:cxn>
              <a:cxn ang="0">
                <a:pos x="242" y="7"/>
              </a:cxn>
              <a:cxn ang="0">
                <a:pos x="218" y="89"/>
              </a:cxn>
              <a:cxn ang="0">
                <a:pos x="680" y="64"/>
              </a:cxn>
              <a:cxn ang="0">
                <a:pos x="1188" y="140"/>
              </a:cxn>
              <a:cxn ang="0">
                <a:pos x="1174" y="154"/>
              </a:cxn>
              <a:cxn ang="0">
                <a:pos x="1164" y="187"/>
              </a:cxn>
              <a:cxn ang="0">
                <a:pos x="1124" y="217"/>
              </a:cxn>
              <a:cxn ang="0">
                <a:pos x="1151" y="286"/>
              </a:cxn>
              <a:cxn ang="0">
                <a:pos x="1092" y="171"/>
              </a:cxn>
              <a:cxn ang="0">
                <a:pos x="1043" y="189"/>
              </a:cxn>
              <a:cxn ang="0">
                <a:pos x="1001" y="202"/>
              </a:cxn>
              <a:cxn ang="0">
                <a:pos x="963" y="253"/>
              </a:cxn>
              <a:cxn ang="0">
                <a:pos x="1025" y="306"/>
              </a:cxn>
              <a:cxn ang="0">
                <a:pos x="991" y="372"/>
              </a:cxn>
              <a:cxn ang="0">
                <a:pos x="971" y="321"/>
              </a:cxn>
              <a:cxn ang="0">
                <a:pos x="860" y="264"/>
              </a:cxn>
              <a:cxn ang="0">
                <a:pos x="764" y="307"/>
              </a:cxn>
              <a:cxn ang="0">
                <a:pos x="615" y="291"/>
              </a:cxn>
              <a:cxn ang="0">
                <a:pos x="513" y="285"/>
              </a:cxn>
              <a:cxn ang="0">
                <a:pos x="411" y="243"/>
              </a:cxn>
              <a:cxn ang="0">
                <a:pos x="343" y="275"/>
              </a:cxn>
              <a:cxn ang="0">
                <a:pos x="260" y="282"/>
              </a:cxn>
              <a:cxn ang="0">
                <a:pos x="251" y="345"/>
              </a:cxn>
              <a:cxn ang="0">
                <a:pos x="229" y="377"/>
              </a:cxn>
              <a:cxn ang="0">
                <a:pos x="162" y="337"/>
              </a:cxn>
              <a:cxn ang="0">
                <a:pos x="133" y="289"/>
              </a:cxn>
              <a:cxn ang="0">
                <a:pos x="67" y="232"/>
              </a:cxn>
              <a:cxn ang="0">
                <a:pos x="68" y="148"/>
              </a:cxn>
              <a:cxn ang="0">
                <a:pos x="110" y="108"/>
              </a:cxn>
              <a:cxn ang="0">
                <a:pos x="95" y="134"/>
              </a:cxn>
              <a:cxn ang="0">
                <a:pos x="140" y="143"/>
              </a:cxn>
              <a:cxn ang="0">
                <a:pos x="202" y="121"/>
              </a:cxn>
              <a:cxn ang="0">
                <a:pos x="276" y="101"/>
              </a:cxn>
              <a:cxn ang="0">
                <a:pos x="345" y="74"/>
              </a:cxn>
              <a:cxn ang="0">
                <a:pos x="378" y="129"/>
              </a:cxn>
              <a:cxn ang="0">
                <a:pos x="367" y="80"/>
              </a:cxn>
              <a:cxn ang="0">
                <a:pos x="397" y="66"/>
              </a:cxn>
              <a:cxn ang="0">
                <a:pos x="456" y="45"/>
              </a:cxn>
              <a:cxn ang="0">
                <a:pos x="520" y="37"/>
              </a:cxn>
              <a:cxn ang="0">
                <a:pos x="590" y="56"/>
              </a:cxn>
              <a:cxn ang="0">
                <a:pos x="650" y="70"/>
              </a:cxn>
              <a:cxn ang="0">
                <a:pos x="731" y="78"/>
              </a:cxn>
              <a:cxn ang="0">
                <a:pos x="801" y="78"/>
              </a:cxn>
              <a:cxn ang="0">
                <a:pos x="909" y="91"/>
              </a:cxn>
              <a:cxn ang="0">
                <a:pos x="1094" y="102"/>
              </a:cxn>
              <a:cxn ang="0">
                <a:pos x="1204" y="127"/>
              </a:cxn>
              <a:cxn ang="0">
                <a:pos x="79" y="180"/>
              </a:cxn>
              <a:cxn ang="0">
                <a:pos x="106" y="173"/>
              </a:cxn>
              <a:cxn ang="0">
                <a:pos x="710" y="279"/>
              </a:cxn>
            </a:cxnLst>
            <a:rect l="0" t="0" r="r" b="b"/>
            <a:pathLst>
              <a:path w="1240" h="394">
                <a:moveTo>
                  <a:pt x="735" y="49"/>
                </a:moveTo>
                <a:cubicBezTo>
                  <a:pt x="734" y="48"/>
                  <a:pt x="733" y="48"/>
                  <a:pt x="732" y="47"/>
                </a:cubicBezTo>
                <a:cubicBezTo>
                  <a:pt x="734" y="47"/>
                  <a:pt x="735" y="48"/>
                  <a:pt x="736" y="48"/>
                </a:cubicBezTo>
                <a:cubicBezTo>
                  <a:pt x="736" y="48"/>
                  <a:pt x="739" y="49"/>
                  <a:pt x="739" y="49"/>
                </a:cubicBezTo>
                <a:cubicBezTo>
                  <a:pt x="739" y="49"/>
                  <a:pt x="738" y="50"/>
                  <a:pt x="739" y="50"/>
                </a:cubicBezTo>
                <a:cubicBezTo>
                  <a:pt x="739" y="50"/>
                  <a:pt x="740" y="50"/>
                  <a:pt x="740" y="51"/>
                </a:cubicBezTo>
                <a:cubicBezTo>
                  <a:pt x="740" y="51"/>
                  <a:pt x="737" y="51"/>
                  <a:pt x="737" y="51"/>
                </a:cubicBezTo>
                <a:cubicBezTo>
                  <a:pt x="736" y="51"/>
                  <a:pt x="736" y="50"/>
                  <a:pt x="736" y="50"/>
                </a:cubicBezTo>
                <a:cubicBezTo>
                  <a:pt x="735" y="50"/>
                  <a:pt x="735" y="49"/>
                  <a:pt x="735" y="49"/>
                </a:cubicBezTo>
                <a:close/>
                <a:moveTo>
                  <a:pt x="187" y="6"/>
                </a:moveTo>
                <a:cubicBezTo>
                  <a:pt x="187" y="6"/>
                  <a:pt x="188" y="7"/>
                  <a:pt x="189" y="7"/>
                </a:cubicBezTo>
                <a:cubicBezTo>
                  <a:pt x="190" y="7"/>
                  <a:pt x="191" y="7"/>
                  <a:pt x="192" y="7"/>
                </a:cubicBezTo>
                <a:cubicBezTo>
                  <a:pt x="193" y="7"/>
                  <a:pt x="193" y="7"/>
                  <a:pt x="194" y="7"/>
                </a:cubicBezTo>
                <a:cubicBezTo>
                  <a:pt x="196" y="8"/>
                  <a:pt x="198" y="8"/>
                  <a:pt x="201" y="8"/>
                </a:cubicBezTo>
                <a:cubicBezTo>
                  <a:pt x="202" y="9"/>
                  <a:pt x="204" y="9"/>
                  <a:pt x="205" y="8"/>
                </a:cubicBezTo>
                <a:cubicBezTo>
                  <a:pt x="205" y="7"/>
                  <a:pt x="204" y="7"/>
                  <a:pt x="203" y="7"/>
                </a:cubicBezTo>
                <a:cubicBezTo>
                  <a:pt x="202" y="7"/>
                  <a:pt x="201" y="7"/>
                  <a:pt x="200" y="7"/>
                </a:cubicBezTo>
                <a:cubicBezTo>
                  <a:pt x="198" y="7"/>
                  <a:pt x="197" y="6"/>
                  <a:pt x="195" y="6"/>
                </a:cubicBezTo>
                <a:cubicBezTo>
                  <a:pt x="193" y="6"/>
                  <a:pt x="191" y="6"/>
                  <a:pt x="189" y="6"/>
                </a:cubicBezTo>
                <a:cubicBezTo>
                  <a:pt x="188" y="6"/>
                  <a:pt x="187" y="6"/>
                  <a:pt x="186" y="6"/>
                </a:cubicBezTo>
                <a:cubicBezTo>
                  <a:pt x="186" y="5"/>
                  <a:pt x="185" y="6"/>
                  <a:pt x="185" y="6"/>
                </a:cubicBezTo>
                <a:cubicBezTo>
                  <a:pt x="185" y="7"/>
                  <a:pt x="186" y="6"/>
                  <a:pt x="187" y="6"/>
                </a:cubicBezTo>
                <a:close/>
                <a:moveTo>
                  <a:pt x="203" y="11"/>
                </a:moveTo>
                <a:cubicBezTo>
                  <a:pt x="202" y="11"/>
                  <a:pt x="201" y="11"/>
                  <a:pt x="200" y="11"/>
                </a:cubicBezTo>
                <a:cubicBezTo>
                  <a:pt x="199" y="11"/>
                  <a:pt x="198" y="11"/>
                  <a:pt x="197" y="11"/>
                </a:cubicBezTo>
                <a:cubicBezTo>
                  <a:pt x="197" y="12"/>
                  <a:pt x="198" y="12"/>
                  <a:pt x="198" y="12"/>
                </a:cubicBezTo>
                <a:cubicBezTo>
                  <a:pt x="198" y="13"/>
                  <a:pt x="197" y="13"/>
                  <a:pt x="197" y="13"/>
                </a:cubicBezTo>
                <a:cubicBezTo>
                  <a:pt x="197" y="13"/>
                  <a:pt x="197" y="13"/>
                  <a:pt x="197" y="13"/>
                </a:cubicBezTo>
                <a:cubicBezTo>
                  <a:pt x="198" y="13"/>
                  <a:pt x="200" y="13"/>
                  <a:pt x="202" y="13"/>
                </a:cubicBezTo>
                <a:cubicBezTo>
                  <a:pt x="203" y="13"/>
                  <a:pt x="204" y="14"/>
                  <a:pt x="205" y="13"/>
                </a:cubicBezTo>
                <a:cubicBezTo>
                  <a:pt x="205" y="13"/>
                  <a:pt x="204" y="12"/>
                  <a:pt x="205" y="12"/>
                </a:cubicBezTo>
                <a:cubicBezTo>
                  <a:pt x="205" y="12"/>
                  <a:pt x="204" y="12"/>
                  <a:pt x="204" y="12"/>
                </a:cubicBezTo>
                <a:cubicBezTo>
                  <a:pt x="204" y="12"/>
                  <a:pt x="204" y="12"/>
                  <a:pt x="204" y="11"/>
                </a:cubicBezTo>
                <a:cubicBezTo>
                  <a:pt x="204" y="11"/>
                  <a:pt x="203" y="11"/>
                  <a:pt x="203" y="11"/>
                </a:cubicBezTo>
                <a:close/>
                <a:moveTo>
                  <a:pt x="478" y="24"/>
                </a:moveTo>
                <a:cubicBezTo>
                  <a:pt x="479" y="23"/>
                  <a:pt x="478" y="23"/>
                  <a:pt x="479" y="23"/>
                </a:cubicBezTo>
                <a:cubicBezTo>
                  <a:pt x="480" y="23"/>
                  <a:pt x="481" y="23"/>
                  <a:pt x="482" y="23"/>
                </a:cubicBezTo>
                <a:cubicBezTo>
                  <a:pt x="482" y="23"/>
                  <a:pt x="483" y="23"/>
                  <a:pt x="483" y="23"/>
                </a:cubicBezTo>
                <a:cubicBezTo>
                  <a:pt x="482" y="23"/>
                  <a:pt x="481" y="23"/>
                  <a:pt x="480" y="23"/>
                </a:cubicBezTo>
                <a:cubicBezTo>
                  <a:pt x="480" y="23"/>
                  <a:pt x="479" y="22"/>
                  <a:pt x="479" y="22"/>
                </a:cubicBezTo>
                <a:cubicBezTo>
                  <a:pt x="479" y="21"/>
                  <a:pt x="480" y="21"/>
                  <a:pt x="480" y="21"/>
                </a:cubicBezTo>
                <a:cubicBezTo>
                  <a:pt x="480" y="21"/>
                  <a:pt x="480" y="21"/>
                  <a:pt x="479" y="21"/>
                </a:cubicBezTo>
                <a:cubicBezTo>
                  <a:pt x="479" y="21"/>
                  <a:pt x="478" y="21"/>
                  <a:pt x="479" y="20"/>
                </a:cubicBezTo>
                <a:cubicBezTo>
                  <a:pt x="479" y="20"/>
                  <a:pt x="480" y="20"/>
                  <a:pt x="480" y="20"/>
                </a:cubicBezTo>
                <a:cubicBezTo>
                  <a:pt x="480" y="20"/>
                  <a:pt x="479" y="20"/>
                  <a:pt x="479" y="20"/>
                </a:cubicBezTo>
                <a:cubicBezTo>
                  <a:pt x="479" y="19"/>
                  <a:pt x="480" y="20"/>
                  <a:pt x="481" y="19"/>
                </a:cubicBezTo>
                <a:cubicBezTo>
                  <a:pt x="480" y="19"/>
                  <a:pt x="480" y="19"/>
                  <a:pt x="480" y="19"/>
                </a:cubicBezTo>
                <a:cubicBezTo>
                  <a:pt x="481" y="18"/>
                  <a:pt x="481" y="18"/>
                  <a:pt x="482" y="19"/>
                </a:cubicBezTo>
                <a:cubicBezTo>
                  <a:pt x="483" y="19"/>
                  <a:pt x="484" y="20"/>
                  <a:pt x="485" y="19"/>
                </a:cubicBezTo>
                <a:cubicBezTo>
                  <a:pt x="484" y="19"/>
                  <a:pt x="484" y="19"/>
                  <a:pt x="483" y="19"/>
                </a:cubicBezTo>
                <a:cubicBezTo>
                  <a:pt x="483" y="18"/>
                  <a:pt x="484" y="18"/>
                  <a:pt x="485" y="18"/>
                </a:cubicBezTo>
                <a:cubicBezTo>
                  <a:pt x="486" y="18"/>
                  <a:pt x="487" y="18"/>
                  <a:pt x="488" y="19"/>
                </a:cubicBezTo>
                <a:cubicBezTo>
                  <a:pt x="489" y="19"/>
                  <a:pt x="490" y="19"/>
                  <a:pt x="490" y="19"/>
                </a:cubicBezTo>
                <a:cubicBezTo>
                  <a:pt x="490" y="19"/>
                  <a:pt x="489" y="19"/>
                  <a:pt x="489" y="19"/>
                </a:cubicBezTo>
                <a:cubicBezTo>
                  <a:pt x="489" y="19"/>
                  <a:pt x="489" y="20"/>
                  <a:pt x="489" y="20"/>
                </a:cubicBezTo>
                <a:cubicBezTo>
                  <a:pt x="489" y="20"/>
                  <a:pt x="490" y="20"/>
                  <a:pt x="490" y="20"/>
                </a:cubicBezTo>
                <a:cubicBezTo>
                  <a:pt x="489" y="21"/>
                  <a:pt x="490" y="21"/>
                  <a:pt x="490" y="21"/>
                </a:cubicBezTo>
                <a:cubicBezTo>
                  <a:pt x="490" y="21"/>
                  <a:pt x="490" y="21"/>
                  <a:pt x="490" y="22"/>
                </a:cubicBezTo>
                <a:cubicBezTo>
                  <a:pt x="490" y="22"/>
                  <a:pt x="490" y="23"/>
                  <a:pt x="490" y="23"/>
                </a:cubicBezTo>
                <a:cubicBezTo>
                  <a:pt x="491" y="23"/>
                  <a:pt x="491" y="22"/>
                  <a:pt x="491" y="22"/>
                </a:cubicBezTo>
                <a:cubicBezTo>
                  <a:pt x="491" y="21"/>
                  <a:pt x="491" y="21"/>
                  <a:pt x="492" y="21"/>
                </a:cubicBezTo>
                <a:cubicBezTo>
                  <a:pt x="493" y="21"/>
                  <a:pt x="493" y="21"/>
                  <a:pt x="493" y="20"/>
                </a:cubicBezTo>
                <a:cubicBezTo>
                  <a:pt x="494" y="20"/>
                  <a:pt x="494" y="20"/>
                  <a:pt x="494" y="20"/>
                </a:cubicBezTo>
                <a:cubicBezTo>
                  <a:pt x="495" y="20"/>
                  <a:pt x="497" y="20"/>
                  <a:pt x="497" y="20"/>
                </a:cubicBezTo>
                <a:cubicBezTo>
                  <a:pt x="498" y="21"/>
                  <a:pt x="499" y="21"/>
                  <a:pt x="500" y="21"/>
                </a:cubicBezTo>
                <a:cubicBezTo>
                  <a:pt x="500" y="21"/>
                  <a:pt x="501" y="21"/>
                  <a:pt x="502" y="22"/>
                </a:cubicBezTo>
                <a:cubicBezTo>
                  <a:pt x="502" y="22"/>
                  <a:pt x="503" y="22"/>
                  <a:pt x="503" y="22"/>
                </a:cubicBezTo>
                <a:cubicBezTo>
                  <a:pt x="503" y="22"/>
                  <a:pt x="503" y="22"/>
                  <a:pt x="502" y="22"/>
                </a:cubicBezTo>
                <a:cubicBezTo>
                  <a:pt x="503" y="23"/>
                  <a:pt x="505" y="23"/>
                  <a:pt x="505" y="23"/>
                </a:cubicBezTo>
                <a:cubicBezTo>
                  <a:pt x="505" y="23"/>
                  <a:pt x="506" y="23"/>
                  <a:pt x="505" y="23"/>
                </a:cubicBezTo>
                <a:cubicBezTo>
                  <a:pt x="506" y="22"/>
                  <a:pt x="509" y="23"/>
                  <a:pt x="510" y="24"/>
                </a:cubicBezTo>
                <a:cubicBezTo>
                  <a:pt x="510" y="24"/>
                  <a:pt x="512" y="24"/>
                  <a:pt x="512" y="25"/>
                </a:cubicBezTo>
                <a:cubicBezTo>
                  <a:pt x="512" y="25"/>
                  <a:pt x="511" y="26"/>
                  <a:pt x="510" y="26"/>
                </a:cubicBezTo>
                <a:cubicBezTo>
                  <a:pt x="510" y="27"/>
                  <a:pt x="509" y="26"/>
                  <a:pt x="508" y="26"/>
                </a:cubicBezTo>
                <a:cubicBezTo>
                  <a:pt x="507" y="27"/>
                  <a:pt x="506" y="27"/>
                  <a:pt x="504" y="27"/>
                </a:cubicBezTo>
                <a:cubicBezTo>
                  <a:pt x="503" y="27"/>
                  <a:pt x="502" y="27"/>
                  <a:pt x="501" y="27"/>
                </a:cubicBezTo>
                <a:cubicBezTo>
                  <a:pt x="500" y="27"/>
                  <a:pt x="500" y="27"/>
                  <a:pt x="499" y="27"/>
                </a:cubicBezTo>
                <a:cubicBezTo>
                  <a:pt x="499" y="27"/>
                  <a:pt x="499" y="28"/>
                  <a:pt x="499" y="28"/>
                </a:cubicBezTo>
                <a:cubicBezTo>
                  <a:pt x="498" y="28"/>
                  <a:pt x="498" y="27"/>
                  <a:pt x="497" y="27"/>
                </a:cubicBezTo>
                <a:cubicBezTo>
                  <a:pt x="496" y="27"/>
                  <a:pt x="495" y="28"/>
                  <a:pt x="494" y="28"/>
                </a:cubicBezTo>
                <a:cubicBezTo>
                  <a:pt x="493" y="28"/>
                  <a:pt x="492" y="28"/>
                  <a:pt x="491" y="28"/>
                </a:cubicBezTo>
                <a:cubicBezTo>
                  <a:pt x="489" y="28"/>
                  <a:pt x="488" y="28"/>
                  <a:pt x="487" y="28"/>
                </a:cubicBezTo>
                <a:cubicBezTo>
                  <a:pt x="486" y="29"/>
                  <a:pt x="485" y="29"/>
                  <a:pt x="484" y="29"/>
                </a:cubicBezTo>
                <a:cubicBezTo>
                  <a:pt x="483" y="30"/>
                  <a:pt x="481" y="30"/>
                  <a:pt x="480" y="30"/>
                </a:cubicBezTo>
                <a:cubicBezTo>
                  <a:pt x="480" y="29"/>
                  <a:pt x="479" y="29"/>
                  <a:pt x="479" y="28"/>
                </a:cubicBezTo>
                <a:cubicBezTo>
                  <a:pt x="479" y="28"/>
                  <a:pt x="479" y="27"/>
                  <a:pt x="480" y="27"/>
                </a:cubicBezTo>
                <a:cubicBezTo>
                  <a:pt x="479" y="26"/>
                  <a:pt x="479" y="26"/>
                  <a:pt x="479" y="26"/>
                </a:cubicBezTo>
                <a:cubicBezTo>
                  <a:pt x="479" y="26"/>
                  <a:pt x="479" y="26"/>
                  <a:pt x="479" y="25"/>
                </a:cubicBezTo>
                <a:cubicBezTo>
                  <a:pt x="479" y="26"/>
                  <a:pt x="479" y="25"/>
                  <a:pt x="479" y="25"/>
                </a:cubicBezTo>
                <a:cubicBezTo>
                  <a:pt x="479" y="25"/>
                  <a:pt x="479" y="25"/>
                  <a:pt x="479" y="24"/>
                </a:cubicBezTo>
                <a:cubicBezTo>
                  <a:pt x="479" y="24"/>
                  <a:pt x="478" y="24"/>
                  <a:pt x="478" y="24"/>
                </a:cubicBezTo>
                <a:close/>
                <a:moveTo>
                  <a:pt x="483" y="21"/>
                </a:moveTo>
                <a:cubicBezTo>
                  <a:pt x="483" y="21"/>
                  <a:pt x="482" y="21"/>
                  <a:pt x="481" y="21"/>
                </a:cubicBezTo>
                <a:cubicBezTo>
                  <a:pt x="482" y="21"/>
                  <a:pt x="483" y="22"/>
                  <a:pt x="483" y="21"/>
                </a:cubicBezTo>
                <a:close/>
                <a:moveTo>
                  <a:pt x="747" y="48"/>
                </a:moveTo>
                <a:cubicBezTo>
                  <a:pt x="746" y="48"/>
                  <a:pt x="743" y="47"/>
                  <a:pt x="743" y="48"/>
                </a:cubicBezTo>
                <a:cubicBezTo>
                  <a:pt x="743" y="48"/>
                  <a:pt x="744" y="48"/>
                  <a:pt x="744" y="48"/>
                </a:cubicBezTo>
                <a:cubicBezTo>
                  <a:pt x="745" y="49"/>
                  <a:pt x="744" y="49"/>
                  <a:pt x="744" y="49"/>
                </a:cubicBezTo>
                <a:cubicBezTo>
                  <a:pt x="744" y="49"/>
                  <a:pt x="745" y="49"/>
                  <a:pt x="745" y="49"/>
                </a:cubicBezTo>
                <a:cubicBezTo>
                  <a:pt x="745" y="49"/>
                  <a:pt x="744" y="49"/>
                  <a:pt x="744" y="49"/>
                </a:cubicBezTo>
                <a:cubicBezTo>
                  <a:pt x="745" y="49"/>
                  <a:pt x="746" y="49"/>
                  <a:pt x="746" y="49"/>
                </a:cubicBezTo>
                <a:cubicBezTo>
                  <a:pt x="746" y="49"/>
                  <a:pt x="746" y="49"/>
                  <a:pt x="746" y="49"/>
                </a:cubicBezTo>
                <a:cubicBezTo>
                  <a:pt x="746" y="50"/>
                  <a:pt x="747" y="50"/>
                  <a:pt x="748" y="50"/>
                </a:cubicBezTo>
                <a:cubicBezTo>
                  <a:pt x="747" y="50"/>
                  <a:pt x="747" y="51"/>
                  <a:pt x="748" y="51"/>
                </a:cubicBezTo>
                <a:cubicBezTo>
                  <a:pt x="748" y="51"/>
                  <a:pt x="749" y="51"/>
                  <a:pt x="749" y="51"/>
                </a:cubicBezTo>
                <a:cubicBezTo>
                  <a:pt x="750" y="51"/>
                  <a:pt x="749" y="51"/>
                  <a:pt x="748" y="51"/>
                </a:cubicBezTo>
                <a:cubicBezTo>
                  <a:pt x="748" y="51"/>
                  <a:pt x="747" y="51"/>
                  <a:pt x="746" y="51"/>
                </a:cubicBezTo>
                <a:cubicBezTo>
                  <a:pt x="746" y="51"/>
                  <a:pt x="747" y="52"/>
                  <a:pt x="748" y="52"/>
                </a:cubicBezTo>
                <a:cubicBezTo>
                  <a:pt x="748" y="52"/>
                  <a:pt x="749" y="53"/>
                  <a:pt x="750" y="53"/>
                </a:cubicBezTo>
                <a:cubicBezTo>
                  <a:pt x="752" y="54"/>
                  <a:pt x="753" y="54"/>
                  <a:pt x="755" y="54"/>
                </a:cubicBezTo>
                <a:cubicBezTo>
                  <a:pt x="757" y="54"/>
                  <a:pt x="758" y="56"/>
                  <a:pt x="760" y="56"/>
                </a:cubicBezTo>
                <a:cubicBezTo>
                  <a:pt x="761" y="57"/>
                  <a:pt x="763" y="56"/>
                  <a:pt x="765" y="56"/>
                </a:cubicBezTo>
                <a:cubicBezTo>
                  <a:pt x="766" y="57"/>
                  <a:pt x="768" y="57"/>
                  <a:pt x="770" y="57"/>
                </a:cubicBezTo>
                <a:cubicBezTo>
                  <a:pt x="770" y="57"/>
                  <a:pt x="771" y="57"/>
                  <a:pt x="771" y="56"/>
                </a:cubicBezTo>
                <a:cubicBezTo>
                  <a:pt x="771" y="56"/>
                  <a:pt x="770" y="56"/>
                  <a:pt x="770" y="55"/>
                </a:cubicBezTo>
                <a:cubicBezTo>
                  <a:pt x="769" y="56"/>
                  <a:pt x="769" y="55"/>
                  <a:pt x="768" y="55"/>
                </a:cubicBezTo>
                <a:cubicBezTo>
                  <a:pt x="769" y="54"/>
                  <a:pt x="770" y="55"/>
                  <a:pt x="771" y="55"/>
                </a:cubicBezTo>
                <a:cubicBezTo>
                  <a:pt x="772" y="55"/>
                  <a:pt x="774" y="56"/>
                  <a:pt x="773" y="56"/>
                </a:cubicBezTo>
                <a:cubicBezTo>
                  <a:pt x="776" y="56"/>
                  <a:pt x="779" y="55"/>
                  <a:pt x="781" y="55"/>
                </a:cubicBezTo>
                <a:cubicBezTo>
                  <a:pt x="783" y="55"/>
                  <a:pt x="786" y="54"/>
                  <a:pt x="787" y="55"/>
                </a:cubicBezTo>
                <a:cubicBezTo>
                  <a:pt x="787" y="55"/>
                  <a:pt x="785" y="55"/>
                  <a:pt x="785" y="55"/>
                </a:cubicBezTo>
                <a:cubicBezTo>
                  <a:pt x="785" y="55"/>
                  <a:pt x="786" y="55"/>
                  <a:pt x="787" y="55"/>
                </a:cubicBezTo>
                <a:cubicBezTo>
                  <a:pt x="788" y="56"/>
                  <a:pt x="790" y="56"/>
                  <a:pt x="791" y="56"/>
                </a:cubicBezTo>
                <a:cubicBezTo>
                  <a:pt x="791" y="56"/>
                  <a:pt x="790" y="55"/>
                  <a:pt x="790" y="55"/>
                </a:cubicBezTo>
                <a:cubicBezTo>
                  <a:pt x="791" y="55"/>
                  <a:pt x="791" y="55"/>
                  <a:pt x="792" y="55"/>
                </a:cubicBezTo>
                <a:cubicBezTo>
                  <a:pt x="793" y="55"/>
                  <a:pt x="795" y="55"/>
                  <a:pt x="796" y="55"/>
                </a:cubicBezTo>
                <a:cubicBezTo>
                  <a:pt x="795" y="54"/>
                  <a:pt x="793" y="54"/>
                  <a:pt x="791" y="54"/>
                </a:cubicBezTo>
                <a:cubicBezTo>
                  <a:pt x="789" y="54"/>
                  <a:pt x="787" y="54"/>
                  <a:pt x="785" y="53"/>
                </a:cubicBezTo>
                <a:cubicBezTo>
                  <a:pt x="784" y="52"/>
                  <a:pt x="782" y="52"/>
                  <a:pt x="780" y="51"/>
                </a:cubicBezTo>
                <a:cubicBezTo>
                  <a:pt x="780" y="51"/>
                  <a:pt x="779" y="50"/>
                  <a:pt x="778" y="50"/>
                </a:cubicBezTo>
                <a:cubicBezTo>
                  <a:pt x="778" y="50"/>
                  <a:pt x="778" y="49"/>
                  <a:pt x="778" y="49"/>
                </a:cubicBezTo>
                <a:cubicBezTo>
                  <a:pt x="777" y="49"/>
                  <a:pt x="777" y="49"/>
                  <a:pt x="776" y="49"/>
                </a:cubicBezTo>
                <a:cubicBezTo>
                  <a:pt x="777" y="49"/>
                  <a:pt x="777" y="49"/>
                  <a:pt x="777" y="49"/>
                </a:cubicBezTo>
                <a:cubicBezTo>
                  <a:pt x="777" y="49"/>
                  <a:pt x="776" y="49"/>
                  <a:pt x="776" y="49"/>
                </a:cubicBezTo>
                <a:cubicBezTo>
                  <a:pt x="777" y="48"/>
                  <a:pt x="777" y="49"/>
                  <a:pt x="778" y="49"/>
                </a:cubicBezTo>
                <a:cubicBezTo>
                  <a:pt x="778" y="48"/>
                  <a:pt x="778" y="48"/>
                  <a:pt x="777" y="48"/>
                </a:cubicBezTo>
                <a:cubicBezTo>
                  <a:pt x="779" y="48"/>
                  <a:pt x="780" y="48"/>
                  <a:pt x="782" y="48"/>
                </a:cubicBezTo>
                <a:cubicBezTo>
                  <a:pt x="782" y="48"/>
                  <a:pt x="783" y="49"/>
                  <a:pt x="783" y="49"/>
                </a:cubicBezTo>
                <a:cubicBezTo>
                  <a:pt x="783" y="49"/>
                  <a:pt x="782" y="49"/>
                  <a:pt x="782" y="50"/>
                </a:cubicBezTo>
                <a:cubicBezTo>
                  <a:pt x="781" y="51"/>
                  <a:pt x="786" y="52"/>
                  <a:pt x="787" y="52"/>
                </a:cubicBezTo>
                <a:cubicBezTo>
                  <a:pt x="787" y="53"/>
                  <a:pt x="788" y="53"/>
                  <a:pt x="789" y="53"/>
                </a:cubicBezTo>
                <a:cubicBezTo>
                  <a:pt x="790" y="53"/>
                  <a:pt x="790" y="53"/>
                  <a:pt x="791" y="53"/>
                </a:cubicBezTo>
                <a:cubicBezTo>
                  <a:pt x="792" y="54"/>
                  <a:pt x="794" y="53"/>
                  <a:pt x="796" y="54"/>
                </a:cubicBezTo>
                <a:cubicBezTo>
                  <a:pt x="796" y="54"/>
                  <a:pt x="799" y="54"/>
                  <a:pt x="799" y="54"/>
                </a:cubicBezTo>
                <a:cubicBezTo>
                  <a:pt x="799" y="53"/>
                  <a:pt x="799" y="53"/>
                  <a:pt x="799" y="53"/>
                </a:cubicBezTo>
                <a:cubicBezTo>
                  <a:pt x="800" y="53"/>
                  <a:pt x="799" y="52"/>
                  <a:pt x="799" y="52"/>
                </a:cubicBezTo>
                <a:cubicBezTo>
                  <a:pt x="799" y="52"/>
                  <a:pt x="799" y="52"/>
                  <a:pt x="800" y="52"/>
                </a:cubicBezTo>
                <a:cubicBezTo>
                  <a:pt x="799" y="51"/>
                  <a:pt x="798" y="52"/>
                  <a:pt x="797" y="51"/>
                </a:cubicBezTo>
                <a:cubicBezTo>
                  <a:pt x="795" y="50"/>
                  <a:pt x="799" y="50"/>
                  <a:pt x="800" y="50"/>
                </a:cubicBezTo>
                <a:cubicBezTo>
                  <a:pt x="798" y="49"/>
                  <a:pt x="796" y="49"/>
                  <a:pt x="795" y="49"/>
                </a:cubicBezTo>
                <a:cubicBezTo>
                  <a:pt x="793" y="49"/>
                  <a:pt x="791" y="48"/>
                  <a:pt x="790" y="48"/>
                </a:cubicBezTo>
                <a:cubicBezTo>
                  <a:pt x="788" y="48"/>
                  <a:pt x="787" y="47"/>
                  <a:pt x="785" y="47"/>
                </a:cubicBezTo>
                <a:cubicBezTo>
                  <a:pt x="785" y="47"/>
                  <a:pt x="784" y="47"/>
                  <a:pt x="783" y="47"/>
                </a:cubicBezTo>
                <a:cubicBezTo>
                  <a:pt x="783" y="47"/>
                  <a:pt x="782" y="47"/>
                  <a:pt x="783" y="47"/>
                </a:cubicBezTo>
                <a:cubicBezTo>
                  <a:pt x="781" y="47"/>
                  <a:pt x="779" y="47"/>
                  <a:pt x="777" y="47"/>
                </a:cubicBezTo>
                <a:cubicBezTo>
                  <a:pt x="776" y="47"/>
                  <a:pt x="774" y="46"/>
                  <a:pt x="773" y="46"/>
                </a:cubicBezTo>
                <a:cubicBezTo>
                  <a:pt x="772" y="46"/>
                  <a:pt x="770" y="45"/>
                  <a:pt x="769" y="45"/>
                </a:cubicBezTo>
                <a:cubicBezTo>
                  <a:pt x="768" y="45"/>
                  <a:pt x="767" y="45"/>
                  <a:pt x="766" y="45"/>
                </a:cubicBezTo>
                <a:cubicBezTo>
                  <a:pt x="766" y="44"/>
                  <a:pt x="765" y="44"/>
                  <a:pt x="765" y="44"/>
                </a:cubicBezTo>
                <a:cubicBezTo>
                  <a:pt x="765" y="45"/>
                  <a:pt x="766" y="45"/>
                  <a:pt x="767" y="45"/>
                </a:cubicBezTo>
                <a:cubicBezTo>
                  <a:pt x="768" y="45"/>
                  <a:pt x="768" y="45"/>
                  <a:pt x="769" y="46"/>
                </a:cubicBezTo>
                <a:cubicBezTo>
                  <a:pt x="768" y="46"/>
                  <a:pt x="766" y="45"/>
                  <a:pt x="765" y="45"/>
                </a:cubicBezTo>
                <a:cubicBezTo>
                  <a:pt x="764" y="45"/>
                  <a:pt x="764" y="46"/>
                  <a:pt x="765" y="46"/>
                </a:cubicBezTo>
                <a:cubicBezTo>
                  <a:pt x="766" y="47"/>
                  <a:pt x="766" y="47"/>
                  <a:pt x="767" y="48"/>
                </a:cubicBezTo>
                <a:cubicBezTo>
                  <a:pt x="768" y="48"/>
                  <a:pt x="769" y="48"/>
                  <a:pt x="770" y="49"/>
                </a:cubicBezTo>
                <a:cubicBezTo>
                  <a:pt x="769" y="49"/>
                  <a:pt x="768" y="49"/>
                  <a:pt x="768" y="49"/>
                </a:cubicBezTo>
                <a:cubicBezTo>
                  <a:pt x="767" y="49"/>
                  <a:pt x="766" y="49"/>
                  <a:pt x="766" y="49"/>
                </a:cubicBezTo>
                <a:cubicBezTo>
                  <a:pt x="765" y="48"/>
                  <a:pt x="765" y="48"/>
                  <a:pt x="765" y="48"/>
                </a:cubicBezTo>
                <a:cubicBezTo>
                  <a:pt x="764" y="47"/>
                  <a:pt x="764" y="47"/>
                  <a:pt x="763" y="47"/>
                </a:cubicBezTo>
                <a:cubicBezTo>
                  <a:pt x="763" y="47"/>
                  <a:pt x="762" y="48"/>
                  <a:pt x="762" y="47"/>
                </a:cubicBezTo>
                <a:cubicBezTo>
                  <a:pt x="761" y="47"/>
                  <a:pt x="761" y="47"/>
                  <a:pt x="760" y="47"/>
                </a:cubicBezTo>
                <a:cubicBezTo>
                  <a:pt x="760" y="47"/>
                  <a:pt x="759" y="47"/>
                  <a:pt x="759" y="47"/>
                </a:cubicBezTo>
                <a:cubicBezTo>
                  <a:pt x="759" y="47"/>
                  <a:pt x="758" y="46"/>
                  <a:pt x="759" y="46"/>
                </a:cubicBezTo>
                <a:cubicBezTo>
                  <a:pt x="758" y="46"/>
                  <a:pt x="756" y="46"/>
                  <a:pt x="755" y="46"/>
                </a:cubicBezTo>
                <a:cubicBezTo>
                  <a:pt x="754" y="45"/>
                  <a:pt x="752" y="45"/>
                  <a:pt x="751" y="45"/>
                </a:cubicBezTo>
                <a:cubicBezTo>
                  <a:pt x="750" y="45"/>
                  <a:pt x="749" y="44"/>
                  <a:pt x="748" y="44"/>
                </a:cubicBezTo>
                <a:cubicBezTo>
                  <a:pt x="746" y="44"/>
                  <a:pt x="747" y="45"/>
                  <a:pt x="748" y="45"/>
                </a:cubicBezTo>
                <a:cubicBezTo>
                  <a:pt x="747" y="45"/>
                  <a:pt x="746" y="45"/>
                  <a:pt x="746" y="44"/>
                </a:cubicBezTo>
                <a:cubicBezTo>
                  <a:pt x="746" y="45"/>
                  <a:pt x="745" y="45"/>
                  <a:pt x="745" y="45"/>
                </a:cubicBezTo>
                <a:cubicBezTo>
                  <a:pt x="745" y="45"/>
                  <a:pt x="745" y="45"/>
                  <a:pt x="745" y="45"/>
                </a:cubicBezTo>
                <a:cubicBezTo>
                  <a:pt x="745" y="45"/>
                  <a:pt x="745" y="45"/>
                  <a:pt x="745" y="45"/>
                </a:cubicBezTo>
                <a:cubicBezTo>
                  <a:pt x="745" y="46"/>
                  <a:pt x="744" y="46"/>
                  <a:pt x="744" y="46"/>
                </a:cubicBezTo>
                <a:cubicBezTo>
                  <a:pt x="744" y="46"/>
                  <a:pt x="742" y="46"/>
                  <a:pt x="743" y="46"/>
                </a:cubicBezTo>
                <a:cubicBezTo>
                  <a:pt x="744" y="47"/>
                  <a:pt x="746" y="47"/>
                  <a:pt x="747" y="48"/>
                </a:cubicBezTo>
                <a:close/>
                <a:moveTo>
                  <a:pt x="1083" y="89"/>
                </a:moveTo>
                <a:cubicBezTo>
                  <a:pt x="1083" y="89"/>
                  <a:pt x="1084" y="90"/>
                  <a:pt x="1084" y="90"/>
                </a:cubicBezTo>
                <a:cubicBezTo>
                  <a:pt x="1085" y="90"/>
                  <a:pt x="1086" y="91"/>
                  <a:pt x="1086" y="91"/>
                </a:cubicBezTo>
                <a:cubicBezTo>
                  <a:pt x="1087" y="92"/>
                  <a:pt x="1088" y="91"/>
                  <a:pt x="1089" y="91"/>
                </a:cubicBezTo>
                <a:cubicBezTo>
                  <a:pt x="1090" y="90"/>
                  <a:pt x="1091" y="91"/>
                  <a:pt x="1092" y="91"/>
                </a:cubicBezTo>
                <a:cubicBezTo>
                  <a:pt x="1093" y="90"/>
                  <a:pt x="1092" y="90"/>
                  <a:pt x="1093" y="90"/>
                </a:cubicBezTo>
                <a:cubicBezTo>
                  <a:pt x="1093" y="90"/>
                  <a:pt x="1094" y="90"/>
                  <a:pt x="1094" y="90"/>
                </a:cubicBezTo>
                <a:cubicBezTo>
                  <a:pt x="1095" y="90"/>
                  <a:pt x="1097" y="90"/>
                  <a:pt x="1098" y="90"/>
                </a:cubicBezTo>
                <a:cubicBezTo>
                  <a:pt x="1100" y="91"/>
                  <a:pt x="1102" y="90"/>
                  <a:pt x="1103" y="90"/>
                </a:cubicBezTo>
                <a:cubicBezTo>
                  <a:pt x="1104" y="90"/>
                  <a:pt x="1109" y="89"/>
                  <a:pt x="1107" y="88"/>
                </a:cubicBezTo>
                <a:cubicBezTo>
                  <a:pt x="1107" y="87"/>
                  <a:pt x="1106" y="87"/>
                  <a:pt x="1105" y="87"/>
                </a:cubicBezTo>
                <a:cubicBezTo>
                  <a:pt x="1104" y="87"/>
                  <a:pt x="1103" y="86"/>
                  <a:pt x="1102" y="86"/>
                </a:cubicBezTo>
                <a:cubicBezTo>
                  <a:pt x="1101" y="86"/>
                  <a:pt x="1100" y="85"/>
                  <a:pt x="1099" y="85"/>
                </a:cubicBezTo>
                <a:cubicBezTo>
                  <a:pt x="1098" y="85"/>
                  <a:pt x="1097" y="85"/>
                  <a:pt x="1096" y="85"/>
                </a:cubicBezTo>
                <a:cubicBezTo>
                  <a:pt x="1095" y="84"/>
                  <a:pt x="1094" y="84"/>
                  <a:pt x="1092" y="84"/>
                </a:cubicBezTo>
                <a:cubicBezTo>
                  <a:pt x="1092" y="84"/>
                  <a:pt x="1091" y="85"/>
                  <a:pt x="1090" y="85"/>
                </a:cubicBezTo>
                <a:cubicBezTo>
                  <a:pt x="1089" y="85"/>
                  <a:pt x="1088" y="84"/>
                  <a:pt x="1087" y="84"/>
                </a:cubicBezTo>
                <a:cubicBezTo>
                  <a:pt x="1087" y="84"/>
                  <a:pt x="1086" y="85"/>
                  <a:pt x="1086" y="85"/>
                </a:cubicBezTo>
                <a:cubicBezTo>
                  <a:pt x="1086" y="85"/>
                  <a:pt x="1084" y="85"/>
                  <a:pt x="1085" y="85"/>
                </a:cubicBezTo>
                <a:cubicBezTo>
                  <a:pt x="1085" y="85"/>
                  <a:pt x="1084" y="86"/>
                  <a:pt x="1084" y="86"/>
                </a:cubicBezTo>
                <a:cubicBezTo>
                  <a:pt x="1083" y="86"/>
                  <a:pt x="1084" y="86"/>
                  <a:pt x="1083" y="86"/>
                </a:cubicBezTo>
                <a:cubicBezTo>
                  <a:pt x="1083" y="87"/>
                  <a:pt x="1083" y="87"/>
                  <a:pt x="1082" y="88"/>
                </a:cubicBezTo>
                <a:cubicBezTo>
                  <a:pt x="1083" y="88"/>
                  <a:pt x="1082" y="88"/>
                  <a:pt x="1083" y="89"/>
                </a:cubicBezTo>
                <a:close/>
                <a:moveTo>
                  <a:pt x="249" y="92"/>
                </a:moveTo>
                <a:cubicBezTo>
                  <a:pt x="250" y="92"/>
                  <a:pt x="250" y="92"/>
                  <a:pt x="250" y="92"/>
                </a:cubicBezTo>
                <a:cubicBezTo>
                  <a:pt x="250" y="93"/>
                  <a:pt x="249" y="93"/>
                  <a:pt x="250" y="93"/>
                </a:cubicBezTo>
                <a:cubicBezTo>
                  <a:pt x="249" y="93"/>
                  <a:pt x="248" y="93"/>
                  <a:pt x="247" y="93"/>
                </a:cubicBezTo>
                <a:cubicBezTo>
                  <a:pt x="247" y="93"/>
                  <a:pt x="246" y="93"/>
                  <a:pt x="246" y="93"/>
                </a:cubicBezTo>
                <a:cubicBezTo>
                  <a:pt x="246" y="93"/>
                  <a:pt x="245" y="92"/>
                  <a:pt x="245" y="92"/>
                </a:cubicBezTo>
                <a:cubicBezTo>
                  <a:pt x="246" y="93"/>
                  <a:pt x="248" y="93"/>
                  <a:pt x="249" y="93"/>
                </a:cubicBezTo>
                <a:cubicBezTo>
                  <a:pt x="249" y="94"/>
                  <a:pt x="248" y="93"/>
                  <a:pt x="247" y="93"/>
                </a:cubicBezTo>
                <a:cubicBezTo>
                  <a:pt x="246" y="93"/>
                  <a:pt x="246" y="93"/>
                  <a:pt x="245" y="93"/>
                </a:cubicBezTo>
                <a:cubicBezTo>
                  <a:pt x="245" y="93"/>
                  <a:pt x="244" y="93"/>
                  <a:pt x="244" y="93"/>
                </a:cubicBezTo>
                <a:cubicBezTo>
                  <a:pt x="244" y="93"/>
                  <a:pt x="244" y="93"/>
                  <a:pt x="245" y="93"/>
                </a:cubicBezTo>
                <a:cubicBezTo>
                  <a:pt x="244" y="93"/>
                  <a:pt x="243" y="92"/>
                  <a:pt x="244" y="92"/>
                </a:cubicBezTo>
                <a:cubicBezTo>
                  <a:pt x="243" y="92"/>
                  <a:pt x="243" y="92"/>
                  <a:pt x="243" y="92"/>
                </a:cubicBezTo>
                <a:cubicBezTo>
                  <a:pt x="242" y="92"/>
                  <a:pt x="242" y="92"/>
                  <a:pt x="241" y="92"/>
                </a:cubicBezTo>
                <a:cubicBezTo>
                  <a:pt x="241" y="92"/>
                  <a:pt x="242" y="92"/>
                  <a:pt x="242" y="92"/>
                </a:cubicBezTo>
                <a:cubicBezTo>
                  <a:pt x="242" y="92"/>
                  <a:pt x="241" y="92"/>
                  <a:pt x="241" y="92"/>
                </a:cubicBezTo>
                <a:cubicBezTo>
                  <a:pt x="241" y="92"/>
                  <a:pt x="242" y="92"/>
                  <a:pt x="242" y="93"/>
                </a:cubicBezTo>
                <a:cubicBezTo>
                  <a:pt x="242" y="93"/>
                  <a:pt x="242" y="93"/>
                  <a:pt x="242" y="93"/>
                </a:cubicBezTo>
                <a:cubicBezTo>
                  <a:pt x="242" y="93"/>
                  <a:pt x="243" y="93"/>
                  <a:pt x="242" y="93"/>
                </a:cubicBezTo>
                <a:cubicBezTo>
                  <a:pt x="243" y="92"/>
                  <a:pt x="243" y="93"/>
                  <a:pt x="243" y="93"/>
                </a:cubicBezTo>
                <a:cubicBezTo>
                  <a:pt x="244" y="93"/>
                  <a:pt x="245" y="93"/>
                  <a:pt x="245" y="93"/>
                </a:cubicBezTo>
                <a:cubicBezTo>
                  <a:pt x="245" y="94"/>
                  <a:pt x="243" y="94"/>
                  <a:pt x="243" y="94"/>
                </a:cubicBezTo>
                <a:cubicBezTo>
                  <a:pt x="243" y="94"/>
                  <a:pt x="243" y="94"/>
                  <a:pt x="244" y="94"/>
                </a:cubicBezTo>
                <a:cubicBezTo>
                  <a:pt x="243" y="93"/>
                  <a:pt x="244" y="93"/>
                  <a:pt x="244" y="93"/>
                </a:cubicBezTo>
                <a:cubicBezTo>
                  <a:pt x="243" y="93"/>
                  <a:pt x="242" y="93"/>
                  <a:pt x="242" y="93"/>
                </a:cubicBezTo>
                <a:cubicBezTo>
                  <a:pt x="241" y="93"/>
                  <a:pt x="241" y="93"/>
                  <a:pt x="240" y="93"/>
                </a:cubicBezTo>
                <a:cubicBezTo>
                  <a:pt x="240" y="93"/>
                  <a:pt x="241" y="93"/>
                  <a:pt x="241" y="93"/>
                </a:cubicBezTo>
                <a:cubicBezTo>
                  <a:pt x="241" y="94"/>
                  <a:pt x="239" y="92"/>
                  <a:pt x="238" y="92"/>
                </a:cubicBezTo>
                <a:cubicBezTo>
                  <a:pt x="239" y="93"/>
                  <a:pt x="240" y="93"/>
                  <a:pt x="240" y="93"/>
                </a:cubicBezTo>
                <a:cubicBezTo>
                  <a:pt x="240" y="94"/>
                  <a:pt x="238" y="93"/>
                  <a:pt x="237" y="93"/>
                </a:cubicBezTo>
                <a:cubicBezTo>
                  <a:pt x="238" y="93"/>
                  <a:pt x="238" y="93"/>
                  <a:pt x="238" y="93"/>
                </a:cubicBezTo>
                <a:cubicBezTo>
                  <a:pt x="238" y="93"/>
                  <a:pt x="238" y="93"/>
                  <a:pt x="237" y="93"/>
                </a:cubicBezTo>
                <a:cubicBezTo>
                  <a:pt x="238" y="93"/>
                  <a:pt x="238" y="93"/>
                  <a:pt x="238" y="93"/>
                </a:cubicBezTo>
                <a:cubicBezTo>
                  <a:pt x="238" y="92"/>
                  <a:pt x="237" y="92"/>
                  <a:pt x="237" y="92"/>
                </a:cubicBezTo>
                <a:cubicBezTo>
                  <a:pt x="237" y="92"/>
                  <a:pt x="238" y="92"/>
                  <a:pt x="238" y="93"/>
                </a:cubicBezTo>
                <a:cubicBezTo>
                  <a:pt x="237" y="92"/>
                  <a:pt x="236" y="92"/>
                  <a:pt x="236" y="92"/>
                </a:cubicBezTo>
                <a:cubicBezTo>
                  <a:pt x="236" y="92"/>
                  <a:pt x="235" y="92"/>
                  <a:pt x="235" y="92"/>
                </a:cubicBezTo>
                <a:cubicBezTo>
                  <a:pt x="236" y="93"/>
                  <a:pt x="236" y="92"/>
                  <a:pt x="236" y="93"/>
                </a:cubicBezTo>
                <a:cubicBezTo>
                  <a:pt x="235" y="92"/>
                  <a:pt x="234" y="92"/>
                  <a:pt x="235" y="93"/>
                </a:cubicBezTo>
                <a:cubicBezTo>
                  <a:pt x="235" y="93"/>
                  <a:pt x="235" y="94"/>
                  <a:pt x="234" y="93"/>
                </a:cubicBezTo>
                <a:cubicBezTo>
                  <a:pt x="233" y="93"/>
                  <a:pt x="233" y="93"/>
                  <a:pt x="232" y="93"/>
                </a:cubicBezTo>
                <a:cubicBezTo>
                  <a:pt x="231" y="93"/>
                  <a:pt x="231" y="92"/>
                  <a:pt x="231" y="92"/>
                </a:cubicBezTo>
                <a:cubicBezTo>
                  <a:pt x="230" y="92"/>
                  <a:pt x="229" y="91"/>
                  <a:pt x="229" y="91"/>
                </a:cubicBezTo>
                <a:cubicBezTo>
                  <a:pt x="229" y="91"/>
                  <a:pt x="229" y="91"/>
                  <a:pt x="229" y="92"/>
                </a:cubicBezTo>
                <a:cubicBezTo>
                  <a:pt x="229" y="92"/>
                  <a:pt x="229" y="92"/>
                  <a:pt x="229" y="92"/>
                </a:cubicBezTo>
                <a:cubicBezTo>
                  <a:pt x="229" y="93"/>
                  <a:pt x="231" y="92"/>
                  <a:pt x="231" y="93"/>
                </a:cubicBezTo>
                <a:cubicBezTo>
                  <a:pt x="230" y="93"/>
                  <a:pt x="229" y="91"/>
                  <a:pt x="227" y="92"/>
                </a:cubicBezTo>
                <a:cubicBezTo>
                  <a:pt x="228" y="92"/>
                  <a:pt x="226" y="92"/>
                  <a:pt x="226" y="92"/>
                </a:cubicBezTo>
                <a:cubicBezTo>
                  <a:pt x="226" y="92"/>
                  <a:pt x="225" y="91"/>
                  <a:pt x="224" y="91"/>
                </a:cubicBezTo>
                <a:cubicBezTo>
                  <a:pt x="224" y="91"/>
                  <a:pt x="225" y="91"/>
                  <a:pt x="225" y="92"/>
                </a:cubicBezTo>
                <a:cubicBezTo>
                  <a:pt x="224" y="92"/>
                  <a:pt x="223" y="91"/>
                  <a:pt x="222" y="91"/>
                </a:cubicBezTo>
                <a:cubicBezTo>
                  <a:pt x="223" y="92"/>
                  <a:pt x="221" y="91"/>
                  <a:pt x="221" y="91"/>
                </a:cubicBezTo>
                <a:cubicBezTo>
                  <a:pt x="221" y="91"/>
                  <a:pt x="221" y="91"/>
                  <a:pt x="222" y="91"/>
                </a:cubicBezTo>
                <a:cubicBezTo>
                  <a:pt x="222" y="91"/>
                  <a:pt x="223" y="91"/>
                  <a:pt x="223" y="91"/>
                </a:cubicBezTo>
                <a:cubicBezTo>
                  <a:pt x="223" y="91"/>
                  <a:pt x="223" y="90"/>
                  <a:pt x="223" y="90"/>
                </a:cubicBezTo>
                <a:cubicBezTo>
                  <a:pt x="222" y="89"/>
                  <a:pt x="221" y="89"/>
                  <a:pt x="221" y="89"/>
                </a:cubicBezTo>
                <a:cubicBezTo>
                  <a:pt x="221" y="89"/>
                  <a:pt x="222" y="89"/>
                  <a:pt x="222" y="89"/>
                </a:cubicBezTo>
                <a:cubicBezTo>
                  <a:pt x="223" y="89"/>
                  <a:pt x="223" y="89"/>
                  <a:pt x="224" y="89"/>
                </a:cubicBezTo>
                <a:cubicBezTo>
                  <a:pt x="224" y="89"/>
                  <a:pt x="223" y="89"/>
                  <a:pt x="223" y="88"/>
                </a:cubicBezTo>
                <a:cubicBezTo>
                  <a:pt x="223" y="88"/>
                  <a:pt x="224" y="88"/>
                  <a:pt x="224" y="88"/>
                </a:cubicBezTo>
                <a:cubicBezTo>
                  <a:pt x="225" y="88"/>
                  <a:pt x="224" y="88"/>
                  <a:pt x="224" y="89"/>
                </a:cubicBezTo>
                <a:cubicBezTo>
                  <a:pt x="224" y="89"/>
                  <a:pt x="226" y="89"/>
                  <a:pt x="226" y="88"/>
                </a:cubicBezTo>
                <a:cubicBezTo>
                  <a:pt x="226" y="89"/>
                  <a:pt x="223" y="88"/>
                  <a:pt x="225" y="88"/>
                </a:cubicBezTo>
                <a:cubicBezTo>
                  <a:pt x="225" y="88"/>
                  <a:pt x="224" y="88"/>
                  <a:pt x="224" y="88"/>
                </a:cubicBezTo>
                <a:cubicBezTo>
                  <a:pt x="225" y="88"/>
                  <a:pt x="225" y="88"/>
                  <a:pt x="225" y="88"/>
                </a:cubicBezTo>
                <a:cubicBezTo>
                  <a:pt x="225" y="88"/>
                  <a:pt x="224" y="87"/>
                  <a:pt x="224" y="88"/>
                </a:cubicBezTo>
                <a:cubicBezTo>
                  <a:pt x="224" y="88"/>
                  <a:pt x="223" y="88"/>
                  <a:pt x="223" y="88"/>
                </a:cubicBezTo>
                <a:cubicBezTo>
                  <a:pt x="223" y="88"/>
                  <a:pt x="223" y="88"/>
                  <a:pt x="223" y="88"/>
                </a:cubicBezTo>
                <a:cubicBezTo>
                  <a:pt x="223" y="88"/>
                  <a:pt x="220" y="87"/>
                  <a:pt x="220" y="87"/>
                </a:cubicBezTo>
                <a:cubicBezTo>
                  <a:pt x="220" y="87"/>
                  <a:pt x="221" y="87"/>
                  <a:pt x="221" y="87"/>
                </a:cubicBezTo>
                <a:cubicBezTo>
                  <a:pt x="221" y="86"/>
                  <a:pt x="221" y="86"/>
                  <a:pt x="222" y="86"/>
                </a:cubicBezTo>
                <a:cubicBezTo>
                  <a:pt x="222" y="86"/>
                  <a:pt x="223" y="86"/>
                  <a:pt x="223" y="86"/>
                </a:cubicBezTo>
                <a:cubicBezTo>
                  <a:pt x="222" y="85"/>
                  <a:pt x="221" y="86"/>
                  <a:pt x="221" y="86"/>
                </a:cubicBezTo>
                <a:cubicBezTo>
                  <a:pt x="221" y="86"/>
                  <a:pt x="220" y="86"/>
                  <a:pt x="220" y="86"/>
                </a:cubicBezTo>
                <a:cubicBezTo>
                  <a:pt x="220" y="87"/>
                  <a:pt x="220" y="87"/>
                  <a:pt x="220" y="87"/>
                </a:cubicBezTo>
                <a:cubicBezTo>
                  <a:pt x="219" y="87"/>
                  <a:pt x="218" y="86"/>
                  <a:pt x="218" y="86"/>
                </a:cubicBezTo>
                <a:cubicBezTo>
                  <a:pt x="218" y="85"/>
                  <a:pt x="219" y="85"/>
                  <a:pt x="219" y="85"/>
                </a:cubicBezTo>
                <a:cubicBezTo>
                  <a:pt x="218" y="84"/>
                  <a:pt x="218" y="85"/>
                  <a:pt x="217" y="86"/>
                </a:cubicBezTo>
                <a:cubicBezTo>
                  <a:pt x="217" y="86"/>
                  <a:pt x="217" y="85"/>
                  <a:pt x="216" y="85"/>
                </a:cubicBezTo>
                <a:cubicBezTo>
                  <a:pt x="216" y="85"/>
                  <a:pt x="217" y="85"/>
                  <a:pt x="217" y="85"/>
                </a:cubicBezTo>
                <a:cubicBezTo>
                  <a:pt x="216" y="86"/>
                  <a:pt x="216" y="86"/>
                  <a:pt x="216" y="86"/>
                </a:cubicBezTo>
                <a:cubicBezTo>
                  <a:pt x="215" y="86"/>
                  <a:pt x="215" y="85"/>
                  <a:pt x="215" y="85"/>
                </a:cubicBezTo>
                <a:cubicBezTo>
                  <a:pt x="215" y="85"/>
                  <a:pt x="215" y="86"/>
                  <a:pt x="215" y="86"/>
                </a:cubicBezTo>
                <a:cubicBezTo>
                  <a:pt x="214" y="86"/>
                  <a:pt x="214" y="85"/>
                  <a:pt x="214" y="85"/>
                </a:cubicBezTo>
                <a:cubicBezTo>
                  <a:pt x="214" y="85"/>
                  <a:pt x="213" y="86"/>
                  <a:pt x="213" y="85"/>
                </a:cubicBezTo>
                <a:cubicBezTo>
                  <a:pt x="213" y="85"/>
                  <a:pt x="213" y="85"/>
                  <a:pt x="213" y="84"/>
                </a:cubicBezTo>
                <a:cubicBezTo>
                  <a:pt x="213" y="84"/>
                  <a:pt x="213" y="84"/>
                  <a:pt x="212" y="84"/>
                </a:cubicBezTo>
                <a:cubicBezTo>
                  <a:pt x="212" y="84"/>
                  <a:pt x="212" y="85"/>
                  <a:pt x="212" y="85"/>
                </a:cubicBezTo>
                <a:cubicBezTo>
                  <a:pt x="211" y="85"/>
                  <a:pt x="212" y="85"/>
                  <a:pt x="212" y="85"/>
                </a:cubicBezTo>
                <a:cubicBezTo>
                  <a:pt x="212" y="85"/>
                  <a:pt x="211" y="85"/>
                  <a:pt x="211" y="85"/>
                </a:cubicBezTo>
                <a:cubicBezTo>
                  <a:pt x="211" y="84"/>
                  <a:pt x="210" y="85"/>
                  <a:pt x="210" y="85"/>
                </a:cubicBezTo>
                <a:cubicBezTo>
                  <a:pt x="210" y="85"/>
                  <a:pt x="211" y="85"/>
                  <a:pt x="211" y="85"/>
                </a:cubicBezTo>
                <a:cubicBezTo>
                  <a:pt x="210" y="85"/>
                  <a:pt x="209" y="85"/>
                  <a:pt x="208" y="85"/>
                </a:cubicBezTo>
                <a:cubicBezTo>
                  <a:pt x="208" y="85"/>
                  <a:pt x="207" y="85"/>
                  <a:pt x="206" y="85"/>
                </a:cubicBezTo>
                <a:cubicBezTo>
                  <a:pt x="206" y="84"/>
                  <a:pt x="205" y="84"/>
                  <a:pt x="205" y="84"/>
                </a:cubicBezTo>
                <a:cubicBezTo>
                  <a:pt x="205" y="83"/>
                  <a:pt x="204" y="83"/>
                  <a:pt x="204" y="83"/>
                </a:cubicBezTo>
                <a:cubicBezTo>
                  <a:pt x="204" y="82"/>
                  <a:pt x="204" y="81"/>
                  <a:pt x="204" y="81"/>
                </a:cubicBezTo>
                <a:cubicBezTo>
                  <a:pt x="204" y="80"/>
                  <a:pt x="204" y="79"/>
                  <a:pt x="205" y="79"/>
                </a:cubicBezTo>
                <a:cubicBezTo>
                  <a:pt x="206" y="79"/>
                  <a:pt x="207" y="80"/>
                  <a:pt x="207" y="80"/>
                </a:cubicBezTo>
                <a:cubicBezTo>
                  <a:pt x="208" y="80"/>
                  <a:pt x="208" y="79"/>
                  <a:pt x="208" y="79"/>
                </a:cubicBezTo>
                <a:cubicBezTo>
                  <a:pt x="208" y="80"/>
                  <a:pt x="208" y="80"/>
                  <a:pt x="209" y="80"/>
                </a:cubicBezTo>
                <a:cubicBezTo>
                  <a:pt x="209" y="80"/>
                  <a:pt x="210" y="80"/>
                  <a:pt x="210" y="80"/>
                </a:cubicBezTo>
                <a:cubicBezTo>
                  <a:pt x="210" y="80"/>
                  <a:pt x="209" y="79"/>
                  <a:pt x="209" y="79"/>
                </a:cubicBezTo>
                <a:cubicBezTo>
                  <a:pt x="210" y="79"/>
                  <a:pt x="210" y="79"/>
                  <a:pt x="210" y="79"/>
                </a:cubicBezTo>
                <a:cubicBezTo>
                  <a:pt x="210" y="79"/>
                  <a:pt x="209" y="79"/>
                  <a:pt x="209" y="79"/>
                </a:cubicBezTo>
                <a:cubicBezTo>
                  <a:pt x="210" y="79"/>
                  <a:pt x="210" y="79"/>
                  <a:pt x="210" y="79"/>
                </a:cubicBezTo>
                <a:cubicBezTo>
                  <a:pt x="210" y="78"/>
                  <a:pt x="209" y="78"/>
                  <a:pt x="209" y="78"/>
                </a:cubicBezTo>
                <a:cubicBezTo>
                  <a:pt x="210" y="78"/>
                  <a:pt x="210" y="78"/>
                  <a:pt x="210" y="78"/>
                </a:cubicBezTo>
                <a:cubicBezTo>
                  <a:pt x="210" y="78"/>
                  <a:pt x="211" y="78"/>
                  <a:pt x="210" y="77"/>
                </a:cubicBezTo>
                <a:cubicBezTo>
                  <a:pt x="211" y="77"/>
                  <a:pt x="211" y="78"/>
                  <a:pt x="212" y="77"/>
                </a:cubicBezTo>
                <a:cubicBezTo>
                  <a:pt x="212" y="77"/>
                  <a:pt x="210" y="77"/>
                  <a:pt x="210" y="77"/>
                </a:cubicBezTo>
                <a:cubicBezTo>
                  <a:pt x="210" y="77"/>
                  <a:pt x="211" y="77"/>
                  <a:pt x="211" y="77"/>
                </a:cubicBezTo>
                <a:cubicBezTo>
                  <a:pt x="211" y="76"/>
                  <a:pt x="210" y="76"/>
                  <a:pt x="210" y="76"/>
                </a:cubicBezTo>
                <a:cubicBezTo>
                  <a:pt x="210" y="76"/>
                  <a:pt x="211" y="76"/>
                  <a:pt x="211" y="76"/>
                </a:cubicBezTo>
                <a:cubicBezTo>
                  <a:pt x="211" y="76"/>
                  <a:pt x="211" y="76"/>
                  <a:pt x="211" y="76"/>
                </a:cubicBezTo>
                <a:cubicBezTo>
                  <a:pt x="212" y="75"/>
                  <a:pt x="212" y="75"/>
                  <a:pt x="213" y="75"/>
                </a:cubicBezTo>
                <a:cubicBezTo>
                  <a:pt x="212" y="75"/>
                  <a:pt x="210" y="75"/>
                  <a:pt x="210" y="75"/>
                </a:cubicBezTo>
                <a:cubicBezTo>
                  <a:pt x="210" y="75"/>
                  <a:pt x="210" y="75"/>
                  <a:pt x="211" y="75"/>
                </a:cubicBezTo>
                <a:cubicBezTo>
                  <a:pt x="210" y="75"/>
                  <a:pt x="210" y="75"/>
                  <a:pt x="210" y="75"/>
                </a:cubicBezTo>
                <a:cubicBezTo>
                  <a:pt x="210" y="75"/>
                  <a:pt x="210" y="75"/>
                  <a:pt x="211" y="75"/>
                </a:cubicBezTo>
                <a:cubicBezTo>
                  <a:pt x="209" y="75"/>
                  <a:pt x="207" y="75"/>
                  <a:pt x="207" y="74"/>
                </a:cubicBezTo>
                <a:cubicBezTo>
                  <a:pt x="207" y="74"/>
                  <a:pt x="208" y="74"/>
                  <a:pt x="208" y="74"/>
                </a:cubicBezTo>
                <a:cubicBezTo>
                  <a:pt x="208" y="73"/>
                  <a:pt x="208" y="73"/>
                  <a:pt x="209" y="73"/>
                </a:cubicBezTo>
                <a:cubicBezTo>
                  <a:pt x="210" y="73"/>
                  <a:pt x="210" y="72"/>
                  <a:pt x="211" y="73"/>
                </a:cubicBezTo>
                <a:cubicBezTo>
                  <a:pt x="212" y="73"/>
                  <a:pt x="213" y="73"/>
                  <a:pt x="213" y="73"/>
                </a:cubicBezTo>
                <a:cubicBezTo>
                  <a:pt x="213" y="73"/>
                  <a:pt x="213" y="73"/>
                  <a:pt x="213" y="73"/>
                </a:cubicBezTo>
                <a:cubicBezTo>
                  <a:pt x="213" y="73"/>
                  <a:pt x="213" y="73"/>
                  <a:pt x="213" y="72"/>
                </a:cubicBezTo>
                <a:cubicBezTo>
                  <a:pt x="213" y="72"/>
                  <a:pt x="211" y="72"/>
                  <a:pt x="211" y="72"/>
                </a:cubicBezTo>
                <a:cubicBezTo>
                  <a:pt x="211" y="71"/>
                  <a:pt x="213" y="72"/>
                  <a:pt x="213" y="72"/>
                </a:cubicBezTo>
                <a:cubicBezTo>
                  <a:pt x="212" y="71"/>
                  <a:pt x="212" y="71"/>
                  <a:pt x="211" y="71"/>
                </a:cubicBezTo>
                <a:cubicBezTo>
                  <a:pt x="211" y="71"/>
                  <a:pt x="211" y="70"/>
                  <a:pt x="211" y="70"/>
                </a:cubicBezTo>
                <a:cubicBezTo>
                  <a:pt x="211" y="70"/>
                  <a:pt x="212" y="70"/>
                  <a:pt x="212" y="70"/>
                </a:cubicBezTo>
                <a:cubicBezTo>
                  <a:pt x="212" y="70"/>
                  <a:pt x="213" y="70"/>
                  <a:pt x="213" y="70"/>
                </a:cubicBezTo>
                <a:cubicBezTo>
                  <a:pt x="214" y="69"/>
                  <a:pt x="214" y="69"/>
                  <a:pt x="215" y="69"/>
                </a:cubicBezTo>
                <a:cubicBezTo>
                  <a:pt x="216" y="69"/>
                  <a:pt x="217" y="69"/>
                  <a:pt x="219" y="69"/>
                </a:cubicBezTo>
                <a:cubicBezTo>
                  <a:pt x="220" y="68"/>
                  <a:pt x="220" y="68"/>
                  <a:pt x="222" y="68"/>
                </a:cubicBezTo>
                <a:cubicBezTo>
                  <a:pt x="223" y="68"/>
                  <a:pt x="224" y="69"/>
                  <a:pt x="225" y="69"/>
                </a:cubicBezTo>
                <a:cubicBezTo>
                  <a:pt x="226" y="69"/>
                  <a:pt x="226" y="69"/>
                  <a:pt x="227" y="69"/>
                </a:cubicBezTo>
                <a:cubicBezTo>
                  <a:pt x="228" y="69"/>
                  <a:pt x="228" y="69"/>
                  <a:pt x="229" y="69"/>
                </a:cubicBezTo>
                <a:cubicBezTo>
                  <a:pt x="230" y="70"/>
                  <a:pt x="232" y="69"/>
                  <a:pt x="233" y="70"/>
                </a:cubicBezTo>
                <a:cubicBezTo>
                  <a:pt x="234" y="70"/>
                  <a:pt x="234" y="71"/>
                  <a:pt x="233" y="71"/>
                </a:cubicBezTo>
                <a:cubicBezTo>
                  <a:pt x="232" y="71"/>
                  <a:pt x="230" y="71"/>
                  <a:pt x="229" y="71"/>
                </a:cubicBezTo>
                <a:cubicBezTo>
                  <a:pt x="230" y="71"/>
                  <a:pt x="233" y="71"/>
                  <a:pt x="233" y="71"/>
                </a:cubicBezTo>
                <a:cubicBezTo>
                  <a:pt x="234" y="72"/>
                  <a:pt x="231" y="72"/>
                  <a:pt x="231" y="72"/>
                </a:cubicBezTo>
                <a:cubicBezTo>
                  <a:pt x="230" y="72"/>
                  <a:pt x="229" y="72"/>
                  <a:pt x="228" y="72"/>
                </a:cubicBezTo>
                <a:cubicBezTo>
                  <a:pt x="229" y="72"/>
                  <a:pt x="230" y="72"/>
                  <a:pt x="231" y="72"/>
                </a:cubicBezTo>
                <a:cubicBezTo>
                  <a:pt x="232" y="72"/>
                  <a:pt x="233" y="72"/>
                  <a:pt x="233" y="73"/>
                </a:cubicBezTo>
                <a:cubicBezTo>
                  <a:pt x="233" y="74"/>
                  <a:pt x="231" y="74"/>
                  <a:pt x="231" y="73"/>
                </a:cubicBezTo>
                <a:cubicBezTo>
                  <a:pt x="230" y="73"/>
                  <a:pt x="230" y="74"/>
                  <a:pt x="229" y="74"/>
                </a:cubicBezTo>
                <a:cubicBezTo>
                  <a:pt x="229" y="74"/>
                  <a:pt x="228" y="73"/>
                  <a:pt x="228" y="74"/>
                </a:cubicBezTo>
                <a:cubicBezTo>
                  <a:pt x="229" y="74"/>
                  <a:pt x="231" y="74"/>
                  <a:pt x="231" y="75"/>
                </a:cubicBezTo>
                <a:cubicBezTo>
                  <a:pt x="231" y="75"/>
                  <a:pt x="230" y="74"/>
                  <a:pt x="229" y="74"/>
                </a:cubicBezTo>
                <a:cubicBezTo>
                  <a:pt x="229" y="75"/>
                  <a:pt x="231" y="75"/>
                  <a:pt x="230" y="75"/>
                </a:cubicBezTo>
                <a:cubicBezTo>
                  <a:pt x="230" y="76"/>
                  <a:pt x="230" y="76"/>
                  <a:pt x="229" y="76"/>
                </a:cubicBezTo>
                <a:cubicBezTo>
                  <a:pt x="229" y="76"/>
                  <a:pt x="228" y="75"/>
                  <a:pt x="227" y="75"/>
                </a:cubicBezTo>
                <a:cubicBezTo>
                  <a:pt x="228" y="76"/>
                  <a:pt x="229" y="75"/>
                  <a:pt x="230" y="76"/>
                </a:cubicBezTo>
                <a:cubicBezTo>
                  <a:pt x="230" y="77"/>
                  <a:pt x="227" y="76"/>
                  <a:pt x="227" y="77"/>
                </a:cubicBezTo>
                <a:cubicBezTo>
                  <a:pt x="228" y="77"/>
                  <a:pt x="228" y="76"/>
                  <a:pt x="229" y="77"/>
                </a:cubicBezTo>
                <a:cubicBezTo>
                  <a:pt x="230" y="77"/>
                  <a:pt x="229" y="77"/>
                  <a:pt x="229" y="78"/>
                </a:cubicBezTo>
                <a:cubicBezTo>
                  <a:pt x="229" y="78"/>
                  <a:pt x="230" y="78"/>
                  <a:pt x="230" y="78"/>
                </a:cubicBezTo>
                <a:cubicBezTo>
                  <a:pt x="230" y="78"/>
                  <a:pt x="231" y="79"/>
                  <a:pt x="231" y="79"/>
                </a:cubicBezTo>
                <a:cubicBezTo>
                  <a:pt x="231" y="79"/>
                  <a:pt x="230" y="80"/>
                  <a:pt x="230" y="80"/>
                </a:cubicBezTo>
                <a:cubicBezTo>
                  <a:pt x="230" y="80"/>
                  <a:pt x="230" y="80"/>
                  <a:pt x="231" y="80"/>
                </a:cubicBezTo>
                <a:cubicBezTo>
                  <a:pt x="230" y="80"/>
                  <a:pt x="230" y="81"/>
                  <a:pt x="231" y="81"/>
                </a:cubicBezTo>
                <a:cubicBezTo>
                  <a:pt x="231" y="81"/>
                  <a:pt x="230" y="81"/>
                  <a:pt x="230" y="81"/>
                </a:cubicBezTo>
                <a:cubicBezTo>
                  <a:pt x="230" y="81"/>
                  <a:pt x="231" y="81"/>
                  <a:pt x="232" y="82"/>
                </a:cubicBezTo>
                <a:cubicBezTo>
                  <a:pt x="232" y="82"/>
                  <a:pt x="232" y="82"/>
                  <a:pt x="232" y="83"/>
                </a:cubicBezTo>
                <a:cubicBezTo>
                  <a:pt x="233" y="83"/>
                  <a:pt x="233" y="84"/>
                  <a:pt x="234" y="84"/>
                </a:cubicBezTo>
                <a:cubicBezTo>
                  <a:pt x="234" y="85"/>
                  <a:pt x="235" y="85"/>
                  <a:pt x="236" y="86"/>
                </a:cubicBezTo>
                <a:cubicBezTo>
                  <a:pt x="237" y="86"/>
                  <a:pt x="238" y="87"/>
                  <a:pt x="239" y="88"/>
                </a:cubicBezTo>
                <a:cubicBezTo>
                  <a:pt x="240" y="88"/>
                  <a:pt x="241" y="88"/>
                  <a:pt x="242" y="89"/>
                </a:cubicBezTo>
                <a:cubicBezTo>
                  <a:pt x="243" y="89"/>
                  <a:pt x="244" y="90"/>
                  <a:pt x="245" y="90"/>
                </a:cubicBezTo>
                <a:cubicBezTo>
                  <a:pt x="247" y="91"/>
                  <a:pt x="248" y="91"/>
                  <a:pt x="249" y="91"/>
                </a:cubicBezTo>
                <a:cubicBezTo>
                  <a:pt x="250" y="91"/>
                  <a:pt x="250" y="92"/>
                  <a:pt x="251" y="92"/>
                </a:cubicBezTo>
                <a:cubicBezTo>
                  <a:pt x="250" y="92"/>
                  <a:pt x="250" y="92"/>
                  <a:pt x="249" y="92"/>
                </a:cubicBezTo>
                <a:close/>
                <a:moveTo>
                  <a:pt x="213" y="75"/>
                </a:moveTo>
                <a:cubicBezTo>
                  <a:pt x="213" y="75"/>
                  <a:pt x="212" y="75"/>
                  <a:pt x="212" y="75"/>
                </a:cubicBezTo>
                <a:cubicBezTo>
                  <a:pt x="212" y="75"/>
                  <a:pt x="213" y="75"/>
                  <a:pt x="213" y="75"/>
                </a:cubicBezTo>
                <a:close/>
                <a:moveTo>
                  <a:pt x="237" y="93"/>
                </a:moveTo>
                <a:cubicBezTo>
                  <a:pt x="237" y="93"/>
                  <a:pt x="237" y="93"/>
                  <a:pt x="237" y="93"/>
                </a:cubicBezTo>
                <a:cubicBezTo>
                  <a:pt x="237" y="93"/>
                  <a:pt x="237" y="93"/>
                  <a:pt x="237" y="93"/>
                </a:cubicBezTo>
                <a:close/>
                <a:moveTo>
                  <a:pt x="806" y="49"/>
                </a:moveTo>
                <a:cubicBezTo>
                  <a:pt x="805" y="49"/>
                  <a:pt x="806" y="50"/>
                  <a:pt x="807" y="50"/>
                </a:cubicBezTo>
                <a:cubicBezTo>
                  <a:pt x="806" y="50"/>
                  <a:pt x="806" y="51"/>
                  <a:pt x="807" y="51"/>
                </a:cubicBezTo>
                <a:cubicBezTo>
                  <a:pt x="806" y="51"/>
                  <a:pt x="807" y="51"/>
                  <a:pt x="807" y="52"/>
                </a:cubicBezTo>
                <a:cubicBezTo>
                  <a:pt x="808" y="52"/>
                  <a:pt x="808" y="52"/>
                  <a:pt x="808" y="52"/>
                </a:cubicBezTo>
                <a:cubicBezTo>
                  <a:pt x="809" y="53"/>
                  <a:pt x="810" y="53"/>
                  <a:pt x="811" y="53"/>
                </a:cubicBezTo>
                <a:cubicBezTo>
                  <a:pt x="814" y="53"/>
                  <a:pt x="816" y="54"/>
                  <a:pt x="819" y="54"/>
                </a:cubicBezTo>
                <a:cubicBezTo>
                  <a:pt x="822" y="55"/>
                  <a:pt x="824" y="55"/>
                  <a:pt x="827" y="56"/>
                </a:cubicBezTo>
                <a:cubicBezTo>
                  <a:pt x="828" y="56"/>
                  <a:pt x="829" y="56"/>
                  <a:pt x="831" y="56"/>
                </a:cubicBezTo>
                <a:cubicBezTo>
                  <a:pt x="832" y="56"/>
                  <a:pt x="833" y="56"/>
                  <a:pt x="834" y="56"/>
                </a:cubicBezTo>
                <a:cubicBezTo>
                  <a:pt x="835" y="56"/>
                  <a:pt x="837" y="57"/>
                  <a:pt x="838" y="56"/>
                </a:cubicBezTo>
                <a:cubicBezTo>
                  <a:pt x="839" y="55"/>
                  <a:pt x="840" y="56"/>
                  <a:pt x="841" y="55"/>
                </a:cubicBezTo>
                <a:cubicBezTo>
                  <a:pt x="842" y="55"/>
                  <a:pt x="842" y="55"/>
                  <a:pt x="841" y="55"/>
                </a:cubicBezTo>
                <a:cubicBezTo>
                  <a:pt x="841" y="54"/>
                  <a:pt x="841" y="54"/>
                  <a:pt x="841" y="54"/>
                </a:cubicBezTo>
                <a:cubicBezTo>
                  <a:pt x="841" y="54"/>
                  <a:pt x="840" y="53"/>
                  <a:pt x="841" y="53"/>
                </a:cubicBezTo>
                <a:cubicBezTo>
                  <a:pt x="840" y="53"/>
                  <a:pt x="839" y="53"/>
                  <a:pt x="839" y="53"/>
                </a:cubicBezTo>
                <a:cubicBezTo>
                  <a:pt x="839" y="53"/>
                  <a:pt x="838" y="54"/>
                  <a:pt x="838" y="53"/>
                </a:cubicBezTo>
                <a:cubicBezTo>
                  <a:pt x="838" y="53"/>
                  <a:pt x="837" y="53"/>
                  <a:pt x="837" y="53"/>
                </a:cubicBezTo>
                <a:cubicBezTo>
                  <a:pt x="836" y="53"/>
                  <a:pt x="836" y="53"/>
                  <a:pt x="835" y="53"/>
                </a:cubicBezTo>
                <a:cubicBezTo>
                  <a:pt x="835" y="53"/>
                  <a:pt x="835" y="52"/>
                  <a:pt x="834" y="52"/>
                </a:cubicBezTo>
                <a:cubicBezTo>
                  <a:pt x="834" y="52"/>
                  <a:pt x="833" y="52"/>
                  <a:pt x="832" y="52"/>
                </a:cubicBezTo>
                <a:cubicBezTo>
                  <a:pt x="831" y="52"/>
                  <a:pt x="830" y="52"/>
                  <a:pt x="829" y="52"/>
                </a:cubicBezTo>
                <a:cubicBezTo>
                  <a:pt x="827" y="52"/>
                  <a:pt x="825" y="53"/>
                  <a:pt x="824" y="52"/>
                </a:cubicBezTo>
                <a:cubicBezTo>
                  <a:pt x="823" y="52"/>
                  <a:pt x="823" y="52"/>
                  <a:pt x="823" y="52"/>
                </a:cubicBezTo>
                <a:cubicBezTo>
                  <a:pt x="822" y="52"/>
                  <a:pt x="822" y="51"/>
                  <a:pt x="822" y="51"/>
                </a:cubicBezTo>
                <a:cubicBezTo>
                  <a:pt x="821" y="50"/>
                  <a:pt x="819" y="51"/>
                  <a:pt x="818" y="51"/>
                </a:cubicBezTo>
                <a:cubicBezTo>
                  <a:pt x="817" y="51"/>
                  <a:pt x="815" y="50"/>
                  <a:pt x="814" y="51"/>
                </a:cubicBezTo>
                <a:cubicBezTo>
                  <a:pt x="814" y="51"/>
                  <a:pt x="814" y="51"/>
                  <a:pt x="814" y="51"/>
                </a:cubicBezTo>
                <a:cubicBezTo>
                  <a:pt x="814" y="51"/>
                  <a:pt x="813" y="51"/>
                  <a:pt x="813" y="51"/>
                </a:cubicBezTo>
                <a:cubicBezTo>
                  <a:pt x="813" y="51"/>
                  <a:pt x="814" y="51"/>
                  <a:pt x="814" y="51"/>
                </a:cubicBezTo>
                <a:cubicBezTo>
                  <a:pt x="813" y="51"/>
                  <a:pt x="812" y="51"/>
                  <a:pt x="810" y="51"/>
                </a:cubicBezTo>
                <a:cubicBezTo>
                  <a:pt x="810" y="51"/>
                  <a:pt x="808" y="50"/>
                  <a:pt x="809" y="50"/>
                </a:cubicBezTo>
                <a:cubicBezTo>
                  <a:pt x="808" y="50"/>
                  <a:pt x="806" y="49"/>
                  <a:pt x="806" y="49"/>
                </a:cubicBezTo>
                <a:close/>
                <a:moveTo>
                  <a:pt x="249" y="44"/>
                </a:moveTo>
                <a:cubicBezTo>
                  <a:pt x="249" y="45"/>
                  <a:pt x="250" y="44"/>
                  <a:pt x="250" y="45"/>
                </a:cubicBezTo>
                <a:cubicBezTo>
                  <a:pt x="251" y="45"/>
                  <a:pt x="250" y="45"/>
                  <a:pt x="250" y="45"/>
                </a:cubicBezTo>
                <a:cubicBezTo>
                  <a:pt x="249" y="45"/>
                  <a:pt x="249" y="45"/>
                  <a:pt x="249" y="45"/>
                </a:cubicBezTo>
                <a:cubicBezTo>
                  <a:pt x="248" y="45"/>
                  <a:pt x="248" y="45"/>
                  <a:pt x="248" y="46"/>
                </a:cubicBezTo>
                <a:cubicBezTo>
                  <a:pt x="248" y="46"/>
                  <a:pt x="247" y="46"/>
                  <a:pt x="246" y="46"/>
                </a:cubicBezTo>
                <a:cubicBezTo>
                  <a:pt x="247" y="45"/>
                  <a:pt x="247" y="45"/>
                  <a:pt x="248" y="45"/>
                </a:cubicBezTo>
                <a:cubicBezTo>
                  <a:pt x="247" y="44"/>
                  <a:pt x="244" y="45"/>
                  <a:pt x="243" y="45"/>
                </a:cubicBezTo>
                <a:cubicBezTo>
                  <a:pt x="244" y="46"/>
                  <a:pt x="245" y="45"/>
                  <a:pt x="246" y="46"/>
                </a:cubicBezTo>
                <a:cubicBezTo>
                  <a:pt x="245" y="46"/>
                  <a:pt x="244" y="46"/>
                  <a:pt x="243" y="46"/>
                </a:cubicBezTo>
                <a:cubicBezTo>
                  <a:pt x="242" y="46"/>
                  <a:pt x="242" y="46"/>
                  <a:pt x="241" y="46"/>
                </a:cubicBezTo>
                <a:cubicBezTo>
                  <a:pt x="240" y="46"/>
                  <a:pt x="239" y="47"/>
                  <a:pt x="238" y="47"/>
                </a:cubicBezTo>
                <a:cubicBezTo>
                  <a:pt x="237" y="47"/>
                  <a:pt x="237" y="47"/>
                  <a:pt x="236" y="47"/>
                </a:cubicBezTo>
                <a:cubicBezTo>
                  <a:pt x="236" y="47"/>
                  <a:pt x="236" y="48"/>
                  <a:pt x="236" y="48"/>
                </a:cubicBezTo>
                <a:cubicBezTo>
                  <a:pt x="236" y="48"/>
                  <a:pt x="235" y="48"/>
                  <a:pt x="235" y="48"/>
                </a:cubicBezTo>
                <a:cubicBezTo>
                  <a:pt x="235" y="48"/>
                  <a:pt x="235" y="48"/>
                  <a:pt x="236" y="48"/>
                </a:cubicBezTo>
                <a:cubicBezTo>
                  <a:pt x="235" y="48"/>
                  <a:pt x="234" y="48"/>
                  <a:pt x="233" y="48"/>
                </a:cubicBezTo>
                <a:cubicBezTo>
                  <a:pt x="233" y="48"/>
                  <a:pt x="231" y="48"/>
                  <a:pt x="232" y="49"/>
                </a:cubicBezTo>
                <a:cubicBezTo>
                  <a:pt x="232" y="49"/>
                  <a:pt x="233" y="49"/>
                  <a:pt x="233" y="49"/>
                </a:cubicBezTo>
                <a:cubicBezTo>
                  <a:pt x="233" y="49"/>
                  <a:pt x="234" y="49"/>
                  <a:pt x="233" y="49"/>
                </a:cubicBezTo>
                <a:cubicBezTo>
                  <a:pt x="232" y="49"/>
                  <a:pt x="231" y="49"/>
                  <a:pt x="230" y="50"/>
                </a:cubicBezTo>
                <a:cubicBezTo>
                  <a:pt x="230" y="50"/>
                  <a:pt x="232" y="51"/>
                  <a:pt x="232" y="51"/>
                </a:cubicBezTo>
                <a:cubicBezTo>
                  <a:pt x="230" y="52"/>
                  <a:pt x="228" y="50"/>
                  <a:pt x="226" y="51"/>
                </a:cubicBezTo>
                <a:cubicBezTo>
                  <a:pt x="226" y="51"/>
                  <a:pt x="225" y="52"/>
                  <a:pt x="226" y="52"/>
                </a:cubicBezTo>
                <a:cubicBezTo>
                  <a:pt x="226" y="52"/>
                  <a:pt x="226" y="52"/>
                  <a:pt x="227" y="52"/>
                </a:cubicBezTo>
                <a:cubicBezTo>
                  <a:pt x="227" y="52"/>
                  <a:pt x="227" y="52"/>
                  <a:pt x="226" y="53"/>
                </a:cubicBezTo>
                <a:cubicBezTo>
                  <a:pt x="226" y="53"/>
                  <a:pt x="226" y="53"/>
                  <a:pt x="225" y="54"/>
                </a:cubicBezTo>
                <a:cubicBezTo>
                  <a:pt x="225" y="54"/>
                  <a:pt x="224" y="53"/>
                  <a:pt x="224" y="53"/>
                </a:cubicBezTo>
                <a:cubicBezTo>
                  <a:pt x="224" y="53"/>
                  <a:pt x="222" y="53"/>
                  <a:pt x="223" y="53"/>
                </a:cubicBezTo>
                <a:cubicBezTo>
                  <a:pt x="222" y="53"/>
                  <a:pt x="220" y="52"/>
                  <a:pt x="220" y="53"/>
                </a:cubicBezTo>
                <a:cubicBezTo>
                  <a:pt x="220" y="54"/>
                  <a:pt x="222" y="53"/>
                  <a:pt x="221" y="54"/>
                </a:cubicBezTo>
                <a:cubicBezTo>
                  <a:pt x="221" y="55"/>
                  <a:pt x="222" y="54"/>
                  <a:pt x="223" y="54"/>
                </a:cubicBezTo>
                <a:cubicBezTo>
                  <a:pt x="223" y="54"/>
                  <a:pt x="225" y="54"/>
                  <a:pt x="225" y="54"/>
                </a:cubicBezTo>
                <a:cubicBezTo>
                  <a:pt x="225" y="54"/>
                  <a:pt x="225" y="54"/>
                  <a:pt x="224" y="55"/>
                </a:cubicBezTo>
                <a:cubicBezTo>
                  <a:pt x="225" y="55"/>
                  <a:pt x="224" y="55"/>
                  <a:pt x="225" y="55"/>
                </a:cubicBezTo>
                <a:cubicBezTo>
                  <a:pt x="225" y="55"/>
                  <a:pt x="225" y="55"/>
                  <a:pt x="225" y="55"/>
                </a:cubicBezTo>
                <a:cubicBezTo>
                  <a:pt x="226" y="55"/>
                  <a:pt x="226" y="54"/>
                  <a:pt x="227" y="55"/>
                </a:cubicBezTo>
                <a:cubicBezTo>
                  <a:pt x="226" y="55"/>
                  <a:pt x="224" y="55"/>
                  <a:pt x="223" y="55"/>
                </a:cubicBezTo>
                <a:cubicBezTo>
                  <a:pt x="223" y="55"/>
                  <a:pt x="221" y="56"/>
                  <a:pt x="222" y="56"/>
                </a:cubicBezTo>
                <a:cubicBezTo>
                  <a:pt x="223" y="57"/>
                  <a:pt x="225" y="56"/>
                  <a:pt x="226" y="56"/>
                </a:cubicBezTo>
                <a:cubicBezTo>
                  <a:pt x="226" y="56"/>
                  <a:pt x="226" y="56"/>
                  <a:pt x="226" y="56"/>
                </a:cubicBezTo>
                <a:cubicBezTo>
                  <a:pt x="226" y="57"/>
                  <a:pt x="227" y="57"/>
                  <a:pt x="228" y="57"/>
                </a:cubicBezTo>
                <a:cubicBezTo>
                  <a:pt x="228" y="57"/>
                  <a:pt x="229" y="57"/>
                  <a:pt x="230" y="57"/>
                </a:cubicBezTo>
                <a:cubicBezTo>
                  <a:pt x="228" y="57"/>
                  <a:pt x="226" y="57"/>
                  <a:pt x="224" y="57"/>
                </a:cubicBezTo>
                <a:cubicBezTo>
                  <a:pt x="223" y="57"/>
                  <a:pt x="222" y="57"/>
                  <a:pt x="221" y="57"/>
                </a:cubicBezTo>
                <a:cubicBezTo>
                  <a:pt x="221" y="57"/>
                  <a:pt x="221" y="57"/>
                  <a:pt x="221" y="58"/>
                </a:cubicBezTo>
                <a:cubicBezTo>
                  <a:pt x="221" y="58"/>
                  <a:pt x="221" y="58"/>
                  <a:pt x="221" y="58"/>
                </a:cubicBezTo>
                <a:cubicBezTo>
                  <a:pt x="221" y="58"/>
                  <a:pt x="222" y="58"/>
                  <a:pt x="222" y="58"/>
                </a:cubicBezTo>
                <a:cubicBezTo>
                  <a:pt x="223" y="58"/>
                  <a:pt x="223" y="58"/>
                  <a:pt x="224" y="58"/>
                </a:cubicBezTo>
                <a:cubicBezTo>
                  <a:pt x="224" y="58"/>
                  <a:pt x="225" y="58"/>
                  <a:pt x="224" y="59"/>
                </a:cubicBezTo>
                <a:cubicBezTo>
                  <a:pt x="225" y="59"/>
                  <a:pt x="226" y="58"/>
                  <a:pt x="226" y="59"/>
                </a:cubicBezTo>
                <a:cubicBezTo>
                  <a:pt x="225" y="59"/>
                  <a:pt x="224" y="59"/>
                  <a:pt x="223" y="59"/>
                </a:cubicBezTo>
                <a:cubicBezTo>
                  <a:pt x="222" y="59"/>
                  <a:pt x="221" y="59"/>
                  <a:pt x="220" y="60"/>
                </a:cubicBezTo>
                <a:cubicBezTo>
                  <a:pt x="221" y="60"/>
                  <a:pt x="222" y="60"/>
                  <a:pt x="222" y="60"/>
                </a:cubicBezTo>
                <a:cubicBezTo>
                  <a:pt x="223" y="60"/>
                  <a:pt x="223" y="60"/>
                  <a:pt x="223" y="60"/>
                </a:cubicBezTo>
                <a:cubicBezTo>
                  <a:pt x="223" y="61"/>
                  <a:pt x="223" y="60"/>
                  <a:pt x="223" y="60"/>
                </a:cubicBezTo>
                <a:cubicBezTo>
                  <a:pt x="222" y="60"/>
                  <a:pt x="222" y="60"/>
                  <a:pt x="221" y="60"/>
                </a:cubicBezTo>
                <a:cubicBezTo>
                  <a:pt x="221" y="60"/>
                  <a:pt x="220" y="61"/>
                  <a:pt x="220" y="60"/>
                </a:cubicBezTo>
                <a:cubicBezTo>
                  <a:pt x="220" y="60"/>
                  <a:pt x="220" y="61"/>
                  <a:pt x="219" y="61"/>
                </a:cubicBezTo>
                <a:cubicBezTo>
                  <a:pt x="220" y="61"/>
                  <a:pt x="221" y="61"/>
                  <a:pt x="221" y="61"/>
                </a:cubicBezTo>
                <a:cubicBezTo>
                  <a:pt x="222" y="61"/>
                  <a:pt x="222" y="61"/>
                  <a:pt x="223" y="61"/>
                </a:cubicBezTo>
                <a:cubicBezTo>
                  <a:pt x="223" y="61"/>
                  <a:pt x="223" y="62"/>
                  <a:pt x="224" y="62"/>
                </a:cubicBezTo>
                <a:cubicBezTo>
                  <a:pt x="224" y="62"/>
                  <a:pt x="225" y="62"/>
                  <a:pt x="225" y="62"/>
                </a:cubicBezTo>
                <a:cubicBezTo>
                  <a:pt x="223" y="63"/>
                  <a:pt x="221" y="61"/>
                  <a:pt x="219" y="62"/>
                </a:cubicBezTo>
                <a:cubicBezTo>
                  <a:pt x="219" y="62"/>
                  <a:pt x="217" y="63"/>
                  <a:pt x="217" y="63"/>
                </a:cubicBezTo>
                <a:cubicBezTo>
                  <a:pt x="218" y="63"/>
                  <a:pt x="218" y="63"/>
                  <a:pt x="219" y="63"/>
                </a:cubicBezTo>
                <a:cubicBezTo>
                  <a:pt x="217" y="63"/>
                  <a:pt x="216" y="64"/>
                  <a:pt x="215" y="64"/>
                </a:cubicBezTo>
                <a:cubicBezTo>
                  <a:pt x="214" y="65"/>
                  <a:pt x="213" y="65"/>
                  <a:pt x="212" y="65"/>
                </a:cubicBezTo>
                <a:cubicBezTo>
                  <a:pt x="212" y="65"/>
                  <a:pt x="212" y="65"/>
                  <a:pt x="212" y="65"/>
                </a:cubicBezTo>
                <a:cubicBezTo>
                  <a:pt x="211" y="65"/>
                  <a:pt x="212" y="65"/>
                  <a:pt x="212" y="65"/>
                </a:cubicBezTo>
                <a:cubicBezTo>
                  <a:pt x="213" y="66"/>
                  <a:pt x="213" y="66"/>
                  <a:pt x="214" y="66"/>
                </a:cubicBezTo>
                <a:cubicBezTo>
                  <a:pt x="215" y="66"/>
                  <a:pt x="216" y="66"/>
                  <a:pt x="217" y="66"/>
                </a:cubicBezTo>
                <a:cubicBezTo>
                  <a:pt x="217" y="66"/>
                  <a:pt x="218" y="66"/>
                  <a:pt x="218" y="66"/>
                </a:cubicBezTo>
                <a:cubicBezTo>
                  <a:pt x="218" y="65"/>
                  <a:pt x="220" y="65"/>
                  <a:pt x="220" y="65"/>
                </a:cubicBezTo>
                <a:cubicBezTo>
                  <a:pt x="220" y="65"/>
                  <a:pt x="220" y="66"/>
                  <a:pt x="220" y="66"/>
                </a:cubicBezTo>
                <a:cubicBezTo>
                  <a:pt x="220" y="66"/>
                  <a:pt x="221" y="65"/>
                  <a:pt x="221" y="65"/>
                </a:cubicBezTo>
                <a:cubicBezTo>
                  <a:pt x="222" y="65"/>
                  <a:pt x="223" y="65"/>
                  <a:pt x="223" y="65"/>
                </a:cubicBezTo>
                <a:cubicBezTo>
                  <a:pt x="222" y="66"/>
                  <a:pt x="221" y="66"/>
                  <a:pt x="220" y="66"/>
                </a:cubicBezTo>
                <a:cubicBezTo>
                  <a:pt x="219" y="66"/>
                  <a:pt x="218" y="67"/>
                  <a:pt x="217" y="67"/>
                </a:cubicBezTo>
                <a:cubicBezTo>
                  <a:pt x="217" y="68"/>
                  <a:pt x="217" y="68"/>
                  <a:pt x="218" y="68"/>
                </a:cubicBezTo>
                <a:cubicBezTo>
                  <a:pt x="218" y="68"/>
                  <a:pt x="216" y="68"/>
                  <a:pt x="216" y="68"/>
                </a:cubicBezTo>
                <a:cubicBezTo>
                  <a:pt x="216" y="69"/>
                  <a:pt x="217" y="69"/>
                  <a:pt x="217" y="69"/>
                </a:cubicBezTo>
                <a:cubicBezTo>
                  <a:pt x="218" y="69"/>
                  <a:pt x="219" y="68"/>
                  <a:pt x="219" y="68"/>
                </a:cubicBezTo>
                <a:cubicBezTo>
                  <a:pt x="221" y="68"/>
                  <a:pt x="223" y="68"/>
                  <a:pt x="225" y="69"/>
                </a:cubicBezTo>
                <a:cubicBezTo>
                  <a:pt x="226" y="69"/>
                  <a:pt x="227" y="69"/>
                  <a:pt x="227" y="69"/>
                </a:cubicBezTo>
                <a:cubicBezTo>
                  <a:pt x="228" y="69"/>
                  <a:pt x="228" y="69"/>
                  <a:pt x="229" y="69"/>
                </a:cubicBezTo>
                <a:cubicBezTo>
                  <a:pt x="229" y="69"/>
                  <a:pt x="229" y="69"/>
                  <a:pt x="229" y="68"/>
                </a:cubicBezTo>
                <a:cubicBezTo>
                  <a:pt x="229" y="68"/>
                  <a:pt x="228" y="68"/>
                  <a:pt x="228" y="68"/>
                </a:cubicBezTo>
                <a:cubicBezTo>
                  <a:pt x="229" y="68"/>
                  <a:pt x="229" y="69"/>
                  <a:pt x="231" y="69"/>
                </a:cubicBezTo>
                <a:cubicBezTo>
                  <a:pt x="231" y="69"/>
                  <a:pt x="232" y="69"/>
                  <a:pt x="233" y="69"/>
                </a:cubicBezTo>
                <a:cubicBezTo>
                  <a:pt x="233" y="69"/>
                  <a:pt x="234" y="70"/>
                  <a:pt x="235" y="69"/>
                </a:cubicBezTo>
                <a:cubicBezTo>
                  <a:pt x="234" y="69"/>
                  <a:pt x="234" y="69"/>
                  <a:pt x="234" y="69"/>
                </a:cubicBezTo>
                <a:cubicBezTo>
                  <a:pt x="235" y="69"/>
                  <a:pt x="234" y="69"/>
                  <a:pt x="234" y="69"/>
                </a:cubicBezTo>
                <a:cubicBezTo>
                  <a:pt x="234" y="69"/>
                  <a:pt x="235" y="69"/>
                  <a:pt x="236" y="69"/>
                </a:cubicBezTo>
                <a:cubicBezTo>
                  <a:pt x="236" y="69"/>
                  <a:pt x="237" y="68"/>
                  <a:pt x="237" y="68"/>
                </a:cubicBezTo>
                <a:cubicBezTo>
                  <a:pt x="237" y="67"/>
                  <a:pt x="234" y="67"/>
                  <a:pt x="233" y="66"/>
                </a:cubicBezTo>
                <a:cubicBezTo>
                  <a:pt x="233" y="66"/>
                  <a:pt x="234" y="66"/>
                  <a:pt x="234" y="66"/>
                </a:cubicBezTo>
                <a:cubicBezTo>
                  <a:pt x="234" y="66"/>
                  <a:pt x="233" y="66"/>
                  <a:pt x="233" y="66"/>
                </a:cubicBezTo>
                <a:cubicBezTo>
                  <a:pt x="233" y="66"/>
                  <a:pt x="235" y="66"/>
                  <a:pt x="235" y="66"/>
                </a:cubicBezTo>
                <a:cubicBezTo>
                  <a:pt x="236" y="67"/>
                  <a:pt x="236" y="67"/>
                  <a:pt x="237" y="67"/>
                </a:cubicBezTo>
                <a:cubicBezTo>
                  <a:pt x="237" y="66"/>
                  <a:pt x="238" y="67"/>
                  <a:pt x="239" y="66"/>
                </a:cubicBezTo>
                <a:cubicBezTo>
                  <a:pt x="239" y="65"/>
                  <a:pt x="236" y="64"/>
                  <a:pt x="236" y="64"/>
                </a:cubicBezTo>
                <a:cubicBezTo>
                  <a:pt x="234" y="64"/>
                  <a:pt x="232" y="65"/>
                  <a:pt x="231" y="64"/>
                </a:cubicBezTo>
                <a:cubicBezTo>
                  <a:pt x="232" y="64"/>
                  <a:pt x="233" y="64"/>
                  <a:pt x="234" y="64"/>
                </a:cubicBezTo>
                <a:cubicBezTo>
                  <a:pt x="235" y="64"/>
                  <a:pt x="236" y="64"/>
                  <a:pt x="237" y="65"/>
                </a:cubicBezTo>
                <a:cubicBezTo>
                  <a:pt x="238" y="65"/>
                  <a:pt x="239" y="66"/>
                  <a:pt x="240" y="65"/>
                </a:cubicBezTo>
                <a:cubicBezTo>
                  <a:pt x="241" y="64"/>
                  <a:pt x="239" y="64"/>
                  <a:pt x="239" y="64"/>
                </a:cubicBezTo>
                <a:cubicBezTo>
                  <a:pt x="239" y="64"/>
                  <a:pt x="239" y="64"/>
                  <a:pt x="239" y="64"/>
                </a:cubicBezTo>
                <a:cubicBezTo>
                  <a:pt x="239" y="63"/>
                  <a:pt x="238" y="63"/>
                  <a:pt x="237" y="63"/>
                </a:cubicBezTo>
                <a:cubicBezTo>
                  <a:pt x="236" y="62"/>
                  <a:pt x="235" y="62"/>
                  <a:pt x="235" y="62"/>
                </a:cubicBezTo>
                <a:cubicBezTo>
                  <a:pt x="235" y="62"/>
                  <a:pt x="236" y="62"/>
                  <a:pt x="236" y="62"/>
                </a:cubicBezTo>
                <a:cubicBezTo>
                  <a:pt x="236" y="62"/>
                  <a:pt x="235" y="61"/>
                  <a:pt x="235" y="61"/>
                </a:cubicBezTo>
                <a:cubicBezTo>
                  <a:pt x="236" y="61"/>
                  <a:pt x="236" y="62"/>
                  <a:pt x="237" y="62"/>
                </a:cubicBezTo>
                <a:cubicBezTo>
                  <a:pt x="238" y="62"/>
                  <a:pt x="238" y="63"/>
                  <a:pt x="239" y="63"/>
                </a:cubicBezTo>
                <a:cubicBezTo>
                  <a:pt x="239" y="63"/>
                  <a:pt x="240" y="63"/>
                  <a:pt x="241" y="63"/>
                </a:cubicBezTo>
                <a:cubicBezTo>
                  <a:pt x="241" y="63"/>
                  <a:pt x="240" y="62"/>
                  <a:pt x="240" y="62"/>
                </a:cubicBezTo>
                <a:cubicBezTo>
                  <a:pt x="240" y="62"/>
                  <a:pt x="240" y="62"/>
                  <a:pt x="240" y="62"/>
                </a:cubicBezTo>
                <a:cubicBezTo>
                  <a:pt x="241" y="62"/>
                  <a:pt x="241" y="62"/>
                  <a:pt x="241" y="62"/>
                </a:cubicBezTo>
                <a:cubicBezTo>
                  <a:pt x="241" y="62"/>
                  <a:pt x="242" y="62"/>
                  <a:pt x="242" y="62"/>
                </a:cubicBezTo>
                <a:cubicBezTo>
                  <a:pt x="242" y="62"/>
                  <a:pt x="241" y="62"/>
                  <a:pt x="241" y="61"/>
                </a:cubicBezTo>
                <a:cubicBezTo>
                  <a:pt x="240" y="61"/>
                  <a:pt x="243" y="61"/>
                  <a:pt x="243" y="61"/>
                </a:cubicBezTo>
                <a:cubicBezTo>
                  <a:pt x="242" y="61"/>
                  <a:pt x="242" y="61"/>
                  <a:pt x="242" y="61"/>
                </a:cubicBezTo>
                <a:cubicBezTo>
                  <a:pt x="242" y="61"/>
                  <a:pt x="243" y="61"/>
                  <a:pt x="243" y="61"/>
                </a:cubicBezTo>
                <a:cubicBezTo>
                  <a:pt x="243" y="61"/>
                  <a:pt x="243" y="61"/>
                  <a:pt x="242" y="61"/>
                </a:cubicBezTo>
                <a:cubicBezTo>
                  <a:pt x="243" y="61"/>
                  <a:pt x="243" y="61"/>
                  <a:pt x="243" y="61"/>
                </a:cubicBezTo>
                <a:cubicBezTo>
                  <a:pt x="243" y="61"/>
                  <a:pt x="243" y="60"/>
                  <a:pt x="243" y="60"/>
                </a:cubicBezTo>
                <a:cubicBezTo>
                  <a:pt x="242" y="60"/>
                  <a:pt x="242" y="60"/>
                  <a:pt x="242" y="60"/>
                </a:cubicBezTo>
                <a:cubicBezTo>
                  <a:pt x="242" y="59"/>
                  <a:pt x="242" y="59"/>
                  <a:pt x="242" y="59"/>
                </a:cubicBezTo>
                <a:cubicBezTo>
                  <a:pt x="241" y="59"/>
                  <a:pt x="241" y="59"/>
                  <a:pt x="241" y="59"/>
                </a:cubicBezTo>
                <a:cubicBezTo>
                  <a:pt x="240" y="59"/>
                  <a:pt x="239" y="59"/>
                  <a:pt x="238" y="58"/>
                </a:cubicBezTo>
                <a:cubicBezTo>
                  <a:pt x="239" y="58"/>
                  <a:pt x="241" y="58"/>
                  <a:pt x="241" y="58"/>
                </a:cubicBezTo>
                <a:cubicBezTo>
                  <a:pt x="243" y="59"/>
                  <a:pt x="244" y="59"/>
                  <a:pt x="245" y="59"/>
                </a:cubicBezTo>
                <a:cubicBezTo>
                  <a:pt x="245" y="59"/>
                  <a:pt x="245" y="59"/>
                  <a:pt x="245" y="58"/>
                </a:cubicBezTo>
                <a:cubicBezTo>
                  <a:pt x="245" y="58"/>
                  <a:pt x="245" y="58"/>
                  <a:pt x="245" y="58"/>
                </a:cubicBezTo>
                <a:cubicBezTo>
                  <a:pt x="245" y="57"/>
                  <a:pt x="244" y="57"/>
                  <a:pt x="244" y="57"/>
                </a:cubicBezTo>
                <a:cubicBezTo>
                  <a:pt x="244" y="57"/>
                  <a:pt x="245" y="57"/>
                  <a:pt x="245" y="57"/>
                </a:cubicBezTo>
                <a:cubicBezTo>
                  <a:pt x="245" y="57"/>
                  <a:pt x="244" y="57"/>
                  <a:pt x="244" y="57"/>
                </a:cubicBezTo>
                <a:cubicBezTo>
                  <a:pt x="245" y="56"/>
                  <a:pt x="247" y="58"/>
                  <a:pt x="249" y="58"/>
                </a:cubicBezTo>
                <a:cubicBezTo>
                  <a:pt x="249" y="58"/>
                  <a:pt x="249" y="57"/>
                  <a:pt x="248" y="57"/>
                </a:cubicBezTo>
                <a:cubicBezTo>
                  <a:pt x="248" y="56"/>
                  <a:pt x="247" y="56"/>
                  <a:pt x="246" y="56"/>
                </a:cubicBezTo>
                <a:cubicBezTo>
                  <a:pt x="248" y="56"/>
                  <a:pt x="249" y="57"/>
                  <a:pt x="250" y="57"/>
                </a:cubicBezTo>
                <a:cubicBezTo>
                  <a:pt x="251" y="57"/>
                  <a:pt x="252" y="56"/>
                  <a:pt x="251" y="56"/>
                </a:cubicBezTo>
                <a:cubicBezTo>
                  <a:pt x="251" y="56"/>
                  <a:pt x="251" y="56"/>
                  <a:pt x="250" y="56"/>
                </a:cubicBezTo>
                <a:cubicBezTo>
                  <a:pt x="251" y="55"/>
                  <a:pt x="252" y="56"/>
                  <a:pt x="253" y="55"/>
                </a:cubicBezTo>
                <a:cubicBezTo>
                  <a:pt x="253" y="55"/>
                  <a:pt x="253" y="55"/>
                  <a:pt x="253" y="55"/>
                </a:cubicBezTo>
                <a:cubicBezTo>
                  <a:pt x="251" y="54"/>
                  <a:pt x="249" y="55"/>
                  <a:pt x="248" y="54"/>
                </a:cubicBezTo>
                <a:cubicBezTo>
                  <a:pt x="248" y="54"/>
                  <a:pt x="249" y="55"/>
                  <a:pt x="249" y="54"/>
                </a:cubicBezTo>
                <a:cubicBezTo>
                  <a:pt x="250" y="54"/>
                  <a:pt x="250" y="54"/>
                  <a:pt x="250" y="54"/>
                </a:cubicBezTo>
                <a:cubicBezTo>
                  <a:pt x="251" y="54"/>
                  <a:pt x="251" y="54"/>
                  <a:pt x="251" y="54"/>
                </a:cubicBezTo>
                <a:cubicBezTo>
                  <a:pt x="251" y="53"/>
                  <a:pt x="251" y="53"/>
                  <a:pt x="251" y="53"/>
                </a:cubicBezTo>
                <a:cubicBezTo>
                  <a:pt x="252" y="53"/>
                  <a:pt x="251" y="54"/>
                  <a:pt x="252" y="54"/>
                </a:cubicBezTo>
                <a:cubicBezTo>
                  <a:pt x="252" y="54"/>
                  <a:pt x="254" y="54"/>
                  <a:pt x="253" y="53"/>
                </a:cubicBezTo>
                <a:cubicBezTo>
                  <a:pt x="253" y="53"/>
                  <a:pt x="256" y="52"/>
                  <a:pt x="255" y="52"/>
                </a:cubicBezTo>
                <a:cubicBezTo>
                  <a:pt x="256" y="51"/>
                  <a:pt x="256" y="52"/>
                  <a:pt x="256" y="52"/>
                </a:cubicBezTo>
                <a:cubicBezTo>
                  <a:pt x="257" y="53"/>
                  <a:pt x="258" y="52"/>
                  <a:pt x="258" y="51"/>
                </a:cubicBezTo>
                <a:cubicBezTo>
                  <a:pt x="258" y="51"/>
                  <a:pt x="258" y="51"/>
                  <a:pt x="258" y="51"/>
                </a:cubicBezTo>
                <a:cubicBezTo>
                  <a:pt x="258" y="51"/>
                  <a:pt x="258" y="51"/>
                  <a:pt x="259" y="51"/>
                </a:cubicBezTo>
                <a:cubicBezTo>
                  <a:pt x="259" y="51"/>
                  <a:pt x="260" y="50"/>
                  <a:pt x="260" y="51"/>
                </a:cubicBezTo>
                <a:cubicBezTo>
                  <a:pt x="261" y="51"/>
                  <a:pt x="262" y="50"/>
                  <a:pt x="262" y="50"/>
                </a:cubicBezTo>
                <a:cubicBezTo>
                  <a:pt x="263" y="50"/>
                  <a:pt x="263" y="50"/>
                  <a:pt x="264" y="50"/>
                </a:cubicBezTo>
                <a:cubicBezTo>
                  <a:pt x="264" y="50"/>
                  <a:pt x="265" y="49"/>
                  <a:pt x="265" y="49"/>
                </a:cubicBezTo>
                <a:cubicBezTo>
                  <a:pt x="266" y="49"/>
                  <a:pt x="267" y="49"/>
                  <a:pt x="267" y="49"/>
                </a:cubicBezTo>
                <a:cubicBezTo>
                  <a:pt x="268" y="49"/>
                  <a:pt x="269" y="48"/>
                  <a:pt x="268" y="48"/>
                </a:cubicBezTo>
                <a:cubicBezTo>
                  <a:pt x="268" y="48"/>
                  <a:pt x="269" y="48"/>
                  <a:pt x="269" y="49"/>
                </a:cubicBezTo>
                <a:cubicBezTo>
                  <a:pt x="269" y="49"/>
                  <a:pt x="270" y="49"/>
                  <a:pt x="270" y="49"/>
                </a:cubicBezTo>
                <a:cubicBezTo>
                  <a:pt x="271" y="48"/>
                  <a:pt x="273" y="48"/>
                  <a:pt x="274" y="48"/>
                </a:cubicBezTo>
                <a:cubicBezTo>
                  <a:pt x="275" y="48"/>
                  <a:pt x="276" y="48"/>
                  <a:pt x="278" y="47"/>
                </a:cubicBezTo>
                <a:cubicBezTo>
                  <a:pt x="279" y="47"/>
                  <a:pt x="280" y="47"/>
                  <a:pt x="281" y="46"/>
                </a:cubicBezTo>
                <a:cubicBezTo>
                  <a:pt x="282" y="46"/>
                  <a:pt x="283" y="46"/>
                  <a:pt x="284" y="46"/>
                </a:cubicBezTo>
                <a:cubicBezTo>
                  <a:pt x="285" y="46"/>
                  <a:pt x="287" y="45"/>
                  <a:pt x="288" y="45"/>
                </a:cubicBezTo>
                <a:cubicBezTo>
                  <a:pt x="290" y="45"/>
                  <a:pt x="291" y="44"/>
                  <a:pt x="292" y="44"/>
                </a:cubicBezTo>
                <a:cubicBezTo>
                  <a:pt x="293" y="44"/>
                  <a:pt x="294" y="44"/>
                  <a:pt x="295" y="43"/>
                </a:cubicBezTo>
                <a:cubicBezTo>
                  <a:pt x="295" y="43"/>
                  <a:pt x="294" y="43"/>
                  <a:pt x="294" y="43"/>
                </a:cubicBezTo>
                <a:cubicBezTo>
                  <a:pt x="295" y="43"/>
                  <a:pt x="295" y="43"/>
                  <a:pt x="295" y="43"/>
                </a:cubicBezTo>
                <a:cubicBezTo>
                  <a:pt x="295" y="42"/>
                  <a:pt x="295" y="42"/>
                  <a:pt x="296" y="42"/>
                </a:cubicBezTo>
                <a:cubicBezTo>
                  <a:pt x="296" y="42"/>
                  <a:pt x="296" y="42"/>
                  <a:pt x="297" y="41"/>
                </a:cubicBezTo>
                <a:cubicBezTo>
                  <a:pt x="297" y="41"/>
                  <a:pt x="297" y="41"/>
                  <a:pt x="298" y="41"/>
                </a:cubicBezTo>
                <a:cubicBezTo>
                  <a:pt x="297" y="41"/>
                  <a:pt x="297" y="41"/>
                  <a:pt x="297" y="41"/>
                </a:cubicBezTo>
                <a:cubicBezTo>
                  <a:pt x="297" y="40"/>
                  <a:pt x="297" y="40"/>
                  <a:pt x="297" y="40"/>
                </a:cubicBezTo>
                <a:cubicBezTo>
                  <a:pt x="297" y="40"/>
                  <a:pt x="295" y="39"/>
                  <a:pt x="295" y="39"/>
                </a:cubicBezTo>
                <a:cubicBezTo>
                  <a:pt x="295" y="38"/>
                  <a:pt x="293" y="38"/>
                  <a:pt x="292" y="38"/>
                </a:cubicBezTo>
                <a:cubicBezTo>
                  <a:pt x="292" y="38"/>
                  <a:pt x="291" y="38"/>
                  <a:pt x="290" y="37"/>
                </a:cubicBezTo>
                <a:cubicBezTo>
                  <a:pt x="288" y="37"/>
                  <a:pt x="286" y="37"/>
                  <a:pt x="284" y="38"/>
                </a:cubicBezTo>
                <a:cubicBezTo>
                  <a:pt x="284" y="38"/>
                  <a:pt x="283" y="38"/>
                  <a:pt x="283" y="38"/>
                </a:cubicBezTo>
                <a:cubicBezTo>
                  <a:pt x="283" y="38"/>
                  <a:pt x="282" y="38"/>
                  <a:pt x="282" y="38"/>
                </a:cubicBezTo>
                <a:cubicBezTo>
                  <a:pt x="281" y="38"/>
                  <a:pt x="281" y="38"/>
                  <a:pt x="280" y="39"/>
                </a:cubicBezTo>
                <a:cubicBezTo>
                  <a:pt x="280" y="39"/>
                  <a:pt x="280" y="39"/>
                  <a:pt x="280" y="39"/>
                </a:cubicBezTo>
                <a:cubicBezTo>
                  <a:pt x="279" y="39"/>
                  <a:pt x="277" y="40"/>
                  <a:pt x="277" y="40"/>
                </a:cubicBezTo>
                <a:cubicBezTo>
                  <a:pt x="277" y="40"/>
                  <a:pt x="279" y="41"/>
                  <a:pt x="279" y="41"/>
                </a:cubicBezTo>
                <a:cubicBezTo>
                  <a:pt x="278" y="42"/>
                  <a:pt x="277" y="41"/>
                  <a:pt x="276" y="41"/>
                </a:cubicBezTo>
                <a:cubicBezTo>
                  <a:pt x="276" y="41"/>
                  <a:pt x="275" y="41"/>
                  <a:pt x="274" y="42"/>
                </a:cubicBezTo>
                <a:cubicBezTo>
                  <a:pt x="274" y="42"/>
                  <a:pt x="273" y="42"/>
                  <a:pt x="272" y="42"/>
                </a:cubicBezTo>
                <a:cubicBezTo>
                  <a:pt x="272" y="42"/>
                  <a:pt x="271" y="42"/>
                  <a:pt x="271" y="43"/>
                </a:cubicBezTo>
                <a:cubicBezTo>
                  <a:pt x="271" y="43"/>
                  <a:pt x="271" y="42"/>
                  <a:pt x="270" y="42"/>
                </a:cubicBezTo>
                <a:cubicBezTo>
                  <a:pt x="270" y="43"/>
                  <a:pt x="270" y="43"/>
                  <a:pt x="270" y="43"/>
                </a:cubicBezTo>
                <a:cubicBezTo>
                  <a:pt x="270" y="43"/>
                  <a:pt x="269" y="43"/>
                  <a:pt x="268" y="43"/>
                </a:cubicBezTo>
                <a:cubicBezTo>
                  <a:pt x="267" y="43"/>
                  <a:pt x="267" y="43"/>
                  <a:pt x="266" y="43"/>
                </a:cubicBezTo>
                <a:cubicBezTo>
                  <a:pt x="265" y="43"/>
                  <a:pt x="265" y="43"/>
                  <a:pt x="264" y="43"/>
                </a:cubicBezTo>
                <a:cubicBezTo>
                  <a:pt x="263" y="44"/>
                  <a:pt x="262" y="44"/>
                  <a:pt x="261" y="44"/>
                </a:cubicBezTo>
                <a:cubicBezTo>
                  <a:pt x="260" y="43"/>
                  <a:pt x="259" y="44"/>
                  <a:pt x="259" y="44"/>
                </a:cubicBezTo>
                <a:cubicBezTo>
                  <a:pt x="258" y="44"/>
                  <a:pt x="258" y="44"/>
                  <a:pt x="258" y="44"/>
                </a:cubicBezTo>
                <a:cubicBezTo>
                  <a:pt x="257" y="43"/>
                  <a:pt x="256" y="44"/>
                  <a:pt x="256" y="44"/>
                </a:cubicBezTo>
                <a:cubicBezTo>
                  <a:pt x="255" y="44"/>
                  <a:pt x="254" y="43"/>
                  <a:pt x="253" y="43"/>
                </a:cubicBezTo>
                <a:cubicBezTo>
                  <a:pt x="252" y="43"/>
                  <a:pt x="250" y="43"/>
                  <a:pt x="249" y="43"/>
                </a:cubicBezTo>
                <a:cubicBezTo>
                  <a:pt x="249" y="44"/>
                  <a:pt x="248" y="44"/>
                  <a:pt x="249" y="44"/>
                </a:cubicBezTo>
                <a:close/>
                <a:moveTo>
                  <a:pt x="793" y="64"/>
                </a:moveTo>
                <a:cubicBezTo>
                  <a:pt x="792" y="64"/>
                  <a:pt x="791" y="65"/>
                  <a:pt x="792" y="66"/>
                </a:cubicBezTo>
                <a:cubicBezTo>
                  <a:pt x="793" y="67"/>
                  <a:pt x="792" y="68"/>
                  <a:pt x="791" y="68"/>
                </a:cubicBezTo>
                <a:cubicBezTo>
                  <a:pt x="790" y="68"/>
                  <a:pt x="789" y="68"/>
                  <a:pt x="789" y="68"/>
                </a:cubicBezTo>
                <a:cubicBezTo>
                  <a:pt x="788" y="68"/>
                  <a:pt x="788" y="68"/>
                  <a:pt x="788" y="68"/>
                </a:cubicBezTo>
                <a:cubicBezTo>
                  <a:pt x="789" y="69"/>
                  <a:pt x="790" y="69"/>
                  <a:pt x="791" y="68"/>
                </a:cubicBezTo>
                <a:cubicBezTo>
                  <a:pt x="793" y="68"/>
                  <a:pt x="794" y="68"/>
                  <a:pt x="795" y="68"/>
                </a:cubicBezTo>
                <a:cubicBezTo>
                  <a:pt x="797" y="68"/>
                  <a:pt x="798" y="68"/>
                  <a:pt x="800" y="69"/>
                </a:cubicBezTo>
                <a:cubicBezTo>
                  <a:pt x="801" y="69"/>
                  <a:pt x="803" y="69"/>
                  <a:pt x="804" y="69"/>
                </a:cubicBezTo>
                <a:cubicBezTo>
                  <a:pt x="807" y="69"/>
                  <a:pt x="811" y="70"/>
                  <a:pt x="814" y="70"/>
                </a:cubicBezTo>
                <a:cubicBezTo>
                  <a:pt x="815" y="70"/>
                  <a:pt x="815" y="70"/>
                  <a:pt x="816" y="70"/>
                </a:cubicBezTo>
                <a:cubicBezTo>
                  <a:pt x="815" y="69"/>
                  <a:pt x="815" y="69"/>
                  <a:pt x="814" y="69"/>
                </a:cubicBezTo>
                <a:cubicBezTo>
                  <a:pt x="813" y="68"/>
                  <a:pt x="813" y="68"/>
                  <a:pt x="813" y="67"/>
                </a:cubicBezTo>
                <a:cubicBezTo>
                  <a:pt x="811" y="67"/>
                  <a:pt x="809" y="66"/>
                  <a:pt x="807" y="66"/>
                </a:cubicBezTo>
                <a:cubicBezTo>
                  <a:pt x="805" y="65"/>
                  <a:pt x="803" y="65"/>
                  <a:pt x="802" y="64"/>
                </a:cubicBezTo>
                <a:cubicBezTo>
                  <a:pt x="800" y="64"/>
                  <a:pt x="799" y="64"/>
                  <a:pt x="797" y="64"/>
                </a:cubicBezTo>
                <a:cubicBezTo>
                  <a:pt x="796" y="64"/>
                  <a:pt x="794" y="64"/>
                  <a:pt x="793" y="64"/>
                </a:cubicBezTo>
                <a:close/>
                <a:moveTo>
                  <a:pt x="154" y="10"/>
                </a:moveTo>
                <a:cubicBezTo>
                  <a:pt x="154" y="10"/>
                  <a:pt x="154" y="10"/>
                  <a:pt x="153" y="10"/>
                </a:cubicBezTo>
                <a:cubicBezTo>
                  <a:pt x="152" y="10"/>
                  <a:pt x="152" y="10"/>
                  <a:pt x="151" y="10"/>
                </a:cubicBezTo>
                <a:cubicBezTo>
                  <a:pt x="150" y="9"/>
                  <a:pt x="149" y="10"/>
                  <a:pt x="148" y="10"/>
                </a:cubicBezTo>
                <a:cubicBezTo>
                  <a:pt x="147" y="10"/>
                  <a:pt x="146" y="10"/>
                  <a:pt x="145" y="10"/>
                </a:cubicBezTo>
                <a:cubicBezTo>
                  <a:pt x="146" y="11"/>
                  <a:pt x="147" y="10"/>
                  <a:pt x="148" y="10"/>
                </a:cubicBezTo>
                <a:cubicBezTo>
                  <a:pt x="149" y="10"/>
                  <a:pt x="150" y="10"/>
                  <a:pt x="150" y="11"/>
                </a:cubicBezTo>
                <a:cubicBezTo>
                  <a:pt x="149" y="11"/>
                  <a:pt x="148" y="10"/>
                  <a:pt x="147" y="11"/>
                </a:cubicBezTo>
                <a:cubicBezTo>
                  <a:pt x="148" y="11"/>
                  <a:pt x="149" y="11"/>
                  <a:pt x="150" y="11"/>
                </a:cubicBezTo>
                <a:cubicBezTo>
                  <a:pt x="150" y="11"/>
                  <a:pt x="150" y="11"/>
                  <a:pt x="149" y="11"/>
                </a:cubicBezTo>
                <a:cubicBezTo>
                  <a:pt x="150" y="12"/>
                  <a:pt x="148" y="11"/>
                  <a:pt x="148" y="11"/>
                </a:cubicBezTo>
                <a:cubicBezTo>
                  <a:pt x="148" y="11"/>
                  <a:pt x="147" y="11"/>
                  <a:pt x="147" y="11"/>
                </a:cubicBezTo>
                <a:cubicBezTo>
                  <a:pt x="146" y="11"/>
                  <a:pt x="145" y="12"/>
                  <a:pt x="145" y="11"/>
                </a:cubicBezTo>
                <a:cubicBezTo>
                  <a:pt x="144" y="11"/>
                  <a:pt x="143" y="11"/>
                  <a:pt x="142" y="11"/>
                </a:cubicBezTo>
                <a:cubicBezTo>
                  <a:pt x="142" y="11"/>
                  <a:pt x="141" y="11"/>
                  <a:pt x="141" y="12"/>
                </a:cubicBezTo>
                <a:cubicBezTo>
                  <a:pt x="141" y="11"/>
                  <a:pt x="144" y="12"/>
                  <a:pt x="144" y="12"/>
                </a:cubicBezTo>
                <a:cubicBezTo>
                  <a:pt x="145" y="13"/>
                  <a:pt x="146" y="12"/>
                  <a:pt x="146" y="12"/>
                </a:cubicBezTo>
                <a:cubicBezTo>
                  <a:pt x="147" y="12"/>
                  <a:pt x="149" y="12"/>
                  <a:pt x="150" y="12"/>
                </a:cubicBezTo>
                <a:cubicBezTo>
                  <a:pt x="149" y="12"/>
                  <a:pt x="149" y="12"/>
                  <a:pt x="149" y="12"/>
                </a:cubicBezTo>
                <a:cubicBezTo>
                  <a:pt x="149" y="12"/>
                  <a:pt x="150" y="12"/>
                  <a:pt x="150" y="12"/>
                </a:cubicBezTo>
                <a:cubicBezTo>
                  <a:pt x="150" y="12"/>
                  <a:pt x="148" y="12"/>
                  <a:pt x="148" y="13"/>
                </a:cubicBezTo>
                <a:cubicBezTo>
                  <a:pt x="148" y="13"/>
                  <a:pt x="148" y="13"/>
                  <a:pt x="148" y="13"/>
                </a:cubicBezTo>
                <a:cubicBezTo>
                  <a:pt x="149" y="13"/>
                  <a:pt x="150" y="13"/>
                  <a:pt x="151" y="13"/>
                </a:cubicBezTo>
                <a:cubicBezTo>
                  <a:pt x="151" y="13"/>
                  <a:pt x="152" y="13"/>
                  <a:pt x="152" y="13"/>
                </a:cubicBezTo>
                <a:cubicBezTo>
                  <a:pt x="153" y="13"/>
                  <a:pt x="154" y="13"/>
                  <a:pt x="153" y="12"/>
                </a:cubicBezTo>
                <a:cubicBezTo>
                  <a:pt x="154" y="12"/>
                  <a:pt x="154" y="13"/>
                  <a:pt x="155" y="13"/>
                </a:cubicBezTo>
                <a:cubicBezTo>
                  <a:pt x="156" y="13"/>
                  <a:pt x="156" y="13"/>
                  <a:pt x="157" y="12"/>
                </a:cubicBezTo>
                <a:cubicBezTo>
                  <a:pt x="156" y="12"/>
                  <a:pt x="156" y="12"/>
                  <a:pt x="156" y="12"/>
                </a:cubicBezTo>
                <a:cubicBezTo>
                  <a:pt x="156" y="12"/>
                  <a:pt x="154" y="12"/>
                  <a:pt x="153" y="11"/>
                </a:cubicBezTo>
                <a:cubicBezTo>
                  <a:pt x="153" y="11"/>
                  <a:pt x="154" y="11"/>
                  <a:pt x="154" y="11"/>
                </a:cubicBezTo>
                <a:cubicBezTo>
                  <a:pt x="155" y="11"/>
                  <a:pt x="155" y="11"/>
                  <a:pt x="156" y="11"/>
                </a:cubicBezTo>
                <a:cubicBezTo>
                  <a:pt x="157" y="11"/>
                  <a:pt x="159" y="11"/>
                  <a:pt x="160" y="11"/>
                </a:cubicBezTo>
                <a:cubicBezTo>
                  <a:pt x="160" y="10"/>
                  <a:pt x="159" y="10"/>
                  <a:pt x="159" y="10"/>
                </a:cubicBezTo>
                <a:cubicBezTo>
                  <a:pt x="160" y="10"/>
                  <a:pt x="161" y="10"/>
                  <a:pt x="162" y="10"/>
                </a:cubicBezTo>
                <a:cubicBezTo>
                  <a:pt x="163" y="10"/>
                  <a:pt x="164" y="10"/>
                  <a:pt x="165" y="10"/>
                </a:cubicBezTo>
                <a:cubicBezTo>
                  <a:pt x="166" y="10"/>
                  <a:pt x="167" y="9"/>
                  <a:pt x="169" y="9"/>
                </a:cubicBezTo>
                <a:cubicBezTo>
                  <a:pt x="169" y="9"/>
                  <a:pt x="170" y="9"/>
                  <a:pt x="170" y="8"/>
                </a:cubicBezTo>
                <a:cubicBezTo>
                  <a:pt x="170" y="8"/>
                  <a:pt x="167" y="8"/>
                  <a:pt x="167" y="8"/>
                </a:cubicBezTo>
                <a:cubicBezTo>
                  <a:pt x="166" y="8"/>
                  <a:pt x="166" y="8"/>
                  <a:pt x="165" y="8"/>
                </a:cubicBezTo>
                <a:cubicBezTo>
                  <a:pt x="165" y="8"/>
                  <a:pt x="164" y="8"/>
                  <a:pt x="164" y="8"/>
                </a:cubicBezTo>
                <a:cubicBezTo>
                  <a:pt x="163" y="8"/>
                  <a:pt x="162" y="9"/>
                  <a:pt x="161" y="8"/>
                </a:cubicBezTo>
                <a:cubicBezTo>
                  <a:pt x="162" y="8"/>
                  <a:pt x="163" y="8"/>
                  <a:pt x="162" y="8"/>
                </a:cubicBezTo>
                <a:cubicBezTo>
                  <a:pt x="163" y="8"/>
                  <a:pt x="165" y="8"/>
                  <a:pt x="165" y="7"/>
                </a:cubicBezTo>
                <a:cubicBezTo>
                  <a:pt x="164" y="7"/>
                  <a:pt x="164" y="7"/>
                  <a:pt x="163" y="7"/>
                </a:cubicBezTo>
                <a:cubicBezTo>
                  <a:pt x="162" y="7"/>
                  <a:pt x="161" y="8"/>
                  <a:pt x="159" y="7"/>
                </a:cubicBezTo>
                <a:cubicBezTo>
                  <a:pt x="160" y="7"/>
                  <a:pt x="161" y="7"/>
                  <a:pt x="162" y="7"/>
                </a:cubicBezTo>
                <a:cubicBezTo>
                  <a:pt x="160" y="7"/>
                  <a:pt x="159" y="7"/>
                  <a:pt x="158" y="7"/>
                </a:cubicBezTo>
                <a:cubicBezTo>
                  <a:pt x="157" y="8"/>
                  <a:pt x="155" y="7"/>
                  <a:pt x="154" y="8"/>
                </a:cubicBezTo>
                <a:cubicBezTo>
                  <a:pt x="155" y="8"/>
                  <a:pt x="154" y="8"/>
                  <a:pt x="154" y="8"/>
                </a:cubicBezTo>
                <a:cubicBezTo>
                  <a:pt x="154" y="9"/>
                  <a:pt x="155" y="8"/>
                  <a:pt x="156" y="8"/>
                </a:cubicBezTo>
                <a:cubicBezTo>
                  <a:pt x="156" y="8"/>
                  <a:pt x="155" y="8"/>
                  <a:pt x="155" y="8"/>
                </a:cubicBezTo>
                <a:cubicBezTo>
                  <a:pt x="155" y="9"/>
                  <a:pt x="158" y="8"/>
                  <a:pt x="158" y="8"/>
                </a:cubicBezTo>
                <a:cubicBezTo>
                  <a:pt x="158" y="9"/>
                  <a:pt x="158" y="9"/>
                  <a:pt x="158" y="9"/>
                </a:cubicBezTo>
                <a:cubicBezTo>
                  <a:pt x="157" y="9"/>
                  <a:pt x="157" y="9"/>
                  <a:pt x="156" y="9"/>
                </a:cubicBezTo>
                <a:cubicBezTo>
                  <a:pt x="156" y="9"/>
                  <a:pt x="156" y="9"/>
                  <a:pt x="157" y="9"/>
                </a:cubicBezTo>
                <a:cubicBezTo>
                  <a:pt x="157" y="9"/>
                  <a:pt x="155" y="10"/>
                  <a:pt x="156" y="10"/>
                </a:cubicBezTo>
                <a:cubicBezTo>
                  <a:pt x="155" y="10"/>
                  <a:pt x="155" y="10"/>
                  <a:pt x="154" y="10"/>
                </a:cubicBezTo>
                <a:close/>
                <a:moveTo>
                  <a:pt x="178" y="12"/>
                </a:moveTo>
                <a:cubicBezTo>
                  <a:pt x="179" y="12"/>
                  <a:pt x="180" y="12"/>
                  <a:pt x="181" y="12"/>
                </a:cubicBezTo>
                <a:cubicBezTo>
                  <a:pt x="182" y="12"/>
                  <a:pt x="183" y="12"/>
                  <a:pt x="183" y="12"/>
                </a:cubicBezTo>
                <a:cubicBezTo>
                  <a:pt x="183" y="12"/>
                  <a:pt x="185" y="12"/>
                  <a:pt x="185" y="12"/>
                </a:cubicBezTo>
                <a:cubicBezTo>
                  <a:pt x="185" y="11"/>
                  <a:pt x="182" y="11"/>
                  <a:pt x="182" y="11"/>
                </a:cubicBezTo>
                <a:cubicBezTo>
                  <a:pt x="181" y="11"/>
                  <a:pt x="181" y="11"/>
                  <a:pt x="180" y="11"/>
                </a:cubicBezTo>
                <a:cubicBezTo>
                  <a:pt x="179" y="11"/>
                  <a:pt x="179" y="11"/>
                  <a:pt x="178" y="11"/>
                </a:cubicBezTo>
                <a:cubicBezTo>
                  <a:pt x="178" y="11"/>
                  <a:pt x="177" y="11"/>
                  <a:pt x="178" y="11"/>
                </a:cubicBezTo>
                <a:cubicBezTo>
                  <a:pt x="177" y="11"/>
                  <a:pt x="177" y="12"/>
                  <a:pt x="176" y="12"/>
                </a:cubicBezTo>
                <a:cubicBezTo>
                  <a:pt x="176" y="12"/>
                  <a:pt x="175" y="11"/>
                  <a:pt x="175" y="12"/>
                </a:cubicBezTo>
                <a:cubicBezTo>
                  <a:pt x="175" y="12"/>
                  <a:pt x="175" y="12"/>
                  <a:pt x="176" y="12"/>
                </a:cubicBezTo>
                <a:cubicBezTo>
                  <a:pt x="176" y="12"/>
                  <a:pt x="177" y="12"/>
                  <a:pt x="178" y="12"/>
                </a:cubicBezTo>
                <a:close/>
                <a:moveTo>
                  <a:pt x="410" y="11"/>
                </a:moveTo>
                <a:cubicBezTo>
                  <a:pt x="410" y="11"/>
                  <a:pt x="411" y="11"/>
                  <a:pt x="411" y="11"/>
                </a:cubicBezTo>
                <a:cubicBezTo>
                  <a:pt x="411" y="11"/>
                  <a:pt x="412" y="11"/>
                  <a:pt x="412" y="11"/>
                </a:cubicBezTo>
                <a:cubicBezTo>
                  <a:pt x="412" y="11"/>
                  <a:pt x="414" y="11"/>
                  <a:pt x="413" y="11"/>
                </a:cubicBezTo>
                <a:cubicBezTo>
                  <a:pt x="414" y="11"/>
                  <a:pt x="415" y="11"/>
                  <a:pt x="416" y="11"/>
                </a:cubicBezTo>
                <a:cubicBezTo>
                  <a:pt x="415" y="10"/>
                  <a:pt x="413" y="11"/>
                  <a:pt x="412" y="10"/>
                </a:cubicBezTo>
                <a:cubicBezTo>
                  <a:pt x="413" y="10"/>
                  <a:pt x="413" y="10"/>
                  <a:pt x="414" y="10"/>
                </a:cubicBezTo>
                <a:cubicBezTo>
                  <a:pt x="415" y="10"/>
                  <a:pt x="416" y="10"/>
                  <a:pt x="416" y="10"/>
                </a:cubicBezTo>
                <a:cubicBezTo>
                  <a:pt x="417" y="10"/>
                  <a:pt x="416" y="9"/>
                  <a:pt x="416" y="9"/>
                </a:cubicBezTo>
                <a:cubicBezTo>
                  <a:pt x="415" y="8"/>
                  <a:pt x="417" y="8"/>
                  <a:pt x="417" y="8"/>
                </a:cubicBezTo>
                <a:cubicBezTo>
                  <a:pt x="416" y="8"/>
                  <a:pt x="414" y="8"/>
                  <a:pt x="413" y="8"/>
                </a:cubicBezTo>
                <a:cubicBezTo>
                  <a:pt x="413" y="8"/>
                  <a:pt x="413" y="8"/>
                  <a:pt x="413" y="7"/>
                </a:cubicBezTo>
                <a:cubicBezTo>
                  <a:pt x="413" y="7"/>
                  <a:pt x="413" y="7"/>
                  <a:pt x="413" y="7"/>
                </a:cubicBezTo>
                <a:cubicBezTo>
                  <a:pt x="413" y="7"/>
                  <a:pt x="415" y="7"/>
                  <a:pt x="415" y="7"/>
                </a:cubicBezTo>
                <a:cubicBezTo>
                  <a:pt x="415" y="7"/>
                  <a:pt x="414" y="6"/>
                  <a:pt x="414" y="6"/>
                </a:cubicBezTo>
                <a:cubicBezTo>
                  <a:pt x="415" y="6"/>
                  <a:pt x="416" y="6"/>
                  <a:pt x="417" y="6"/>
                </a:cubicBezTo>
                <a:cubicBezTo>
                  <a:pt x="418" y="6"/>
                  <a:pt x="419" y="6"/>
                  <a:pt x="420" y="6"/>
                </a:cubicBezTo>
                <a:cubicBezTo>
                  <a:pt x="421" y="6"/>
                  <a:pt x="422" y="6"/>
                  <a:pt x="423" y="5"/>
                </a:cubicBezTo>
                <a:cubicBezTo>
                  <a:pt x="424" y="5"/>
                  <a:pt x="424" y="5"/>
                  <a:pt x="425" y="5"/>
                </a:cubicBezTo>
                <a:cubicBezTo>
                  <a:pt x="425" y="5"/>
                  <a:pt x="426" y="5"/>
                  <a:pt x="427" y="5"/>
                </a:cubicBezTo>
                <a:cubicBezTo>
                  <a:pt x="426" y="5"/>
                  <a:pt x="425" y="5"/>
                  <a:pt x="424" y="5"/>
                </a:cubicBezTo>
                <a:cubicBezTo>
                  <a:pt x="424" y="4"/>
                  <a:pt x="425" y="4"/>
                  <a:pt x="426" y="4"/>
                </a:cubicBezTo>
                <a:cubicBezTo>
                  <a:pt x="428" y="4"/>
                  <a:pt x="430" y="5"/>
                  <a:pt x="432" y="5"/>
                </a:cubicBezTo>
                <a:cubicBezTo>
                  <a:pt x="433" y="6"/>
                  <a:pt x="434" y="6"/>
                  <a:pt x="435" y="6"/>
                </a:cubicBezTo>
                <a:cubicBezTo>
                  <a:pt x="436" y="6"/>
                  <a:pt x="436" y="7"/>
                  <a:pt x="437" y="7"/>
                </a:cubicBezTo>
                <a:cubicBezTo>
                  <a:pt x="438" y="7"/>
                  <a:pt x="439" y="7"/>
                  <a:pt x="440" y="7"/>
                </a:cubicBezTo>
                <a:cubicBezTo>
                  <a:pt x="441" y="7"/>
                  <a:pt x="443" y="7"/>
                  <a:pt x="445" y="8"/>
                </a:cubicBezTo>
                <a:cubicBezTo>
                  <a:pt x="445" y="8"/>
                  <a:pt x="444" y="8"/>
                  <a:pt x="444" y="8"/>
                </a:cubicBezTo>
                <a:cubicBezTo>
                  <a:pt x="445" y="8"/>
                  <a:pt x="445" y="8"/>
                  <a:pt x="446" y="8"/>
                </a:cubicBezTo>
                <a:cubicBezTo>
                  <a:pt x="444" y="9"/>
                  <a:pt x="443" y="9"/>
                  <a:pt x="441" y="9"/>
                </a:cubicBezTo>
                <a:cubicBezTo>
                  <a:pt x="442" y="9"/>
                  <a:pt x="441" y="9"/>
                  <a:pt x="441" y="9"/>
                </a:cubicBezTo>
                <a:cubicBezTo>
                  <a:pt x="441" y="10"/>
                  <a:pt x="443" y="10"/>
                  <a:pt x="443" y="10"/>
                </a:cubicBezTo>
                <a:cubicBezTo>
                  <a:pt x="444" y="11"/>
                  <a:pt x="444" y="11"/>
                  <a:pt x="445" y="11"/>
                </a:cubicBezTo>
                <a:cubicBezTo>
                  <a:pt x="445" y="11"/>
                  <a:pt x="446" y="11"/>
                  <a:pt x="446" y="12"/>
                </a:cubicBezTo>
                <a:cubicBezTo>
                  <a:pt x="445" y="12"/>
                  <a:pt x="443" y="12"/>
                  <a:pt x="443" y="12"/>
                </a:cubicBezTo>
                <a:cubicBezTo>
                  <a:pt x="441" y="12"/>
                  <a:pt x="439" y="12"/>
                  <a:pt x="438" y="12"/>
                </a:cubicBezTo>
                <a:cubicBezTo>
                  <a:pt x="437" y="12"/>
                  <a:pt x="436" y="12"/>
                  <a:pt x="435" y="12"/>
                </a:cubicBezTo>
                <a:cubicBezTo>
                  <a:pt x="434" y="13"/>
                  <a:pt x="433" y="13"/>
                  <a:pt x="432" y="13"/>
                </a:cubicBezTo>
                <a:cubicBezTo>
                  <a:pt x="430" y="13"/>
                  <a:pt x="429" y="13"/>
                  <a:pt x="427" y="14"/>
                </a:cubicBezTo>
                <a:cubicBezTo>
                  <a:pt x="425" y="14"/>
                  <a:pt x="423" y="13"/>
                  <a:pt x="422" y="13"/>
                </a:cubicBezTo>
                <a:cubicBezTo>
                  <a:pt x="420" y="13"/>
                  <a:pt x="419" y="13"/>
                  <a:pt x="418" y="13"/>
                </a:cubicBezTo>
                <a:cubicBezTo>
                  <a:pt x="417" y="13"/>
                  <a:pt x="416" y="13"/>
                  <a:pt x="415" y="12"/>
                </a:cubicBezTo>
                <a:cubicBezTo>
                  <a:pt x="417" y="12"/>
                  <a:pt x="418" y="13"/>
                  <a:pt x="420" y="12"/>
                </a:cubicBezTo>
                <a:cubicBezTo>
                  <a:pt x="419" y="12"/>
                  <a:pt x="418" y="12"/>
                  <a:pt x="417" y="12"/>
                </a:cubicBezTo>
                <a:cubicBezTo>
                  <a:pt x="416" y="12"/>
                  <a:pt x="415" y="12"/>
                  <a:pt x="414" y="12"/>
                </a:cubicBezTo>
                <a:cubicBezTo>
                  <a:pt x="415" y="11"/>
                  <a:pt x="416" y="11"/>
                  <a:pt x="416" y="11"/>
                </a:cubicBezTo>
                <a:cubicBezTo>
                  <a:pt x="415" y="11"/>
                  <a:pt x="414" y="11"/>
                  <a:pt x="414" y="11"/>
                </a:cubicBezTo>
                <a:cubicBezTo>
                  <a:pt x="413" y="11"/>
                  <a:pt x="413" y="12"/>
                  <a:pt x="412" y="12"/>
                </a:cubicBezTo>
                <a:cubicBezTo>
                  <a:pt x="412" y="12"/>
                  <a:pt x="410" y="12"/>
                  <a:pt x="411" y="11"/>
                </a:cubicBezTo>
                <a:cubicBezTo>
                  <a:pt x="411" y="11"/>
                  <a:pt x="410" y="12"/>
                  <a:pt x="410" y="11"/>
                </a:cubicBezTo>
                <a:close/>
                <a:moveTo>
                  <a:pt x="417" y="11"/>
                </a:moveTo>
                <a:cubicBezTo>
                  <a:pt x="417" y="11"/>
                  <a:pt x="418" y="11"/>
                  <a:pt x="418" y="11"/>
                </a:cubicBezTo>
                <a:cubicBezTo>
                  <a:pt x="419" y="11"/>
                  <a:pt x="420" y="12"/>
                  <a:pt x="422" y="12"/>
                </a:cubicBezTo>
                <a:cubicBezTo>
                  <a:pt x="420" y="11"/>
                  <a:pt x="418" y="11"/>
                  <a:pt x="417" y="11"/>
                </a:cubicBezTo>
                <a:close/>
                <a:moveTo>
                  <a:pt x="444" y="13"/>
                </a:moveTo>
                <a:cubicBezTo>
                  <a:pt x="444" y="13"/>
                  <a:pt x="443" y="13"/>
                  <a:pt x="443" y="13"/>
                </a:cubicBezTo>
                <a:cubicBezTo>
                  <a:pt x="442" y="13"/>
                  <a:pt x="442" y="13"/>
                  <a:pt x="442" y="13"/>
                </a:cubicBezTo>
                <a:cubicBezTo>
                  <a:pt x="441" y="13"/>
                  <a:pt x="441" y="13"/>
                  <a:pt x="441" y="13"/>
                </a:cubicBezTo>
                <a:cubicBezTo>
                  <a:pt x="440" y="13"/>
                  <a:pt x="438" y="13"/>
                  <a:pt x="438" y="13"/>
                </a:cubicBezTo>
                <a:cubicBezTo>
                  <a:pt x="437" y="13"/>
                  <a:pt x="435" y="13"/>
                  <a:pt x="436" y="13"/>
                </a:cubicBezTo>
                <a:cubicBezTo>
                  <a:pt x="436" y="14"/>
                  <a:pt x="435" y="13"/>
                  <a:pt x="434" y="13"/>
                </a:cubicBezTo>
                <a:cubicBezTo>
                  <a:pt x="434" y="13"/>
                  <a:pt x="433" y="13"/>
                  <a:pt x="433" y="13"/>
                </a:cubicBezTo>
                <a:cubicBezTo>
                  <a:pt x="433" y="13"/>
                  <a:pt x="433" y="13"/>
                  <a:pt x="433" y="13"/>
                </a:cubicBezTo>
                <a:cubicBezTo>
                  <a:pt x="433" y="13"/>
                  <a:pt x="432" y="14"/>
                  <a:pt x="432" y="14"/>
                </a:cubicBezTo>
                <a:cubicBezTo>
                  <a:pt x="431" y="14"/>
                  <a:pt x="431" y="14"/>
                  <a:pt x="430" y="14"/>
                </a:cubicBezTo>
                <a:cubicBezTo>
                  <a:pt x="431" y="14"/>
                  <a:pt x="431" y="14"/>
                  <a:pt x="431" y="14"/>
                </a:cubicBezTo>
                <a:cubicBezTo>
                  <a:pt x="431" y="14"/>
                  <a:pt x="431" y="14"/>
                  <a:pt x="430" y="14"/>
                </a:cubicBezTo>
                <a:cubicBezTo>
                  <a:pt x="431" y="15"/>
                  <a:pt x="433" y="15"/>
                  <a:pt x="434" y="15"/>
                </a:cubicBezTo>
                <a:cubicBezTo>
                  <a:pt x="433" y="15"/>
                  <a:pt x="432" y="15"/>
                  <a:pt x="431" y="15"/>
                </a:cubicBezTo>
                <a:cubicBezTo>
                  <a:pt x="430" y="16"/>
                  <a:pt x="430" y="16"/>
                  <a:pt x="430" y="16"/>
                </a:cubicBezTo>
                <a:cubicBezTo>
                  <a:pt x="429" y="16"/>
                  <a:pt x="430" y="16"/>
                  <a:pt x="430" y="16"/>
                </a:cubicBezTo>
                <a:cubicBezTo>
                  <a:pt x="429" y="17"/>
                  <a:pt x="428" y="17"/>
                  <a:pt x="427" y="17"/>
                </a:cubicBezTo>
                <a:cubicBezTo>
                  <a:pt x="427" y="17"/>
                  <a:pt x="426" y="17"/>
                  <a:pt x="425" y="17"/>
                </a:cubicBezTo>
                <a:cubicBezTo>
                  <a:pt x="426" y="17"/>
                  <a:pt x="426" y="17"/>
                  <a:pt x="427" y="17"/>
                </a:cubicBezTo>
                <a:cubicBezTo>
                  <a:pt x="426" y="17"/>
                  <a:pt x="427" y="17"/>
                  <a:pt x="427" y="17"/>
                </a:cubicBezTo>
                <a:cubicBezTo>
                  <a:pt x="427" y="17"/>
                  <a:pt x="428" y="17"/>
                  <a:pt x="428" y="17"/>
                </a:cubicBezTo>
                <a:cubicBezTo>
                  <a:pt x="428" y="18"/>
                  <a:pt x="428" y="18"/>
                  <a:pt x="427" y="18"/>
                </a:cubicBezTo>
                <a:cubicBezTo>
                  <a:pt x="428" y="18"/>
                  <a:pt x="429" y="18"/>
                  <a:pt x="430" y="18"/>
                </a:cubicBezTo>
                <a:cubicBezTo>
                  <a:pt x="429" y="18"/>
                  <a:pt x="429" y="18"/>
                  <a:pt x="429" y="17"/>
                </a:cubicBezTo>
                <a:cubicBezTo>
                  <a:pt x="429" y="17"/>
                  <a:pt x="430" y="17"/>
                  <a:pt x="430" y="17"/>
                </a:cubicBezTo>
                <a:cubicBezTo>
                  <a:pt x="431" y="17"/>
                  <a:pt x="431" y="17"/>
                  <a:pt x="430" y="17"/>
                </a:cubicBezTo>
                <a:cubicBezTo>
                  <a:pt x="431" y="17"/>
                  <a:pt x="432" y="17"/>
                  <a:pt x="432" y="18"/>
                </a:cubicBezTo>
                <a:cubicBezTo>
                  <a:pt x="432" y="18"/>
                  <a:pt x="431" y="18"/>
                  <a:pt x="431" y="18"/>
                </a:cubicBezTo>
                <a:cubicBezTo>
                  <a:pt x="432" y="18"/>
                  <a:pt x="433" y="18"/>
                  <a:pt x="433" y="18"/>
                </a:cubicBezTo>
                <a:cubicBezTo>
                  <a:pt x="433" y="18"/>
                  <a:pt x="433" y="18"/>
                  <a:pt x="433" y="18"/>
                </a:cubicBezTo>
                <a:cubicBezTo>
                  <a:pt x="434" y="17"/>
                  <a:pt x="436" y="18"/>
                  <a:pt x="436" y="19"/>
                </a:cubicBezTo>
                <a:cubicBezTo>
                  <a:pt x="437" y="20"/>
                  <a:pt x="438" y="20"/>
                  <a:pt x="438" y="20"/>
                </a:cubicBezTo>
                <a:cubicBezTo>
                  <a:pt x="439" y="20"/>
                  <a:pt x="439" y="20"/>
                  <a:pt x="440" y="20"/>
                </a:cubicBezTo>
                <a:cubicBezTo>
                  <a:pt x="441" y="21"/>
                  <a:pt x="443" y="21"/>
                  <a:pt x="444" y="21"/>
                </a:cubicBezTo>
                <a:cubicBezTo>
                  <a:pt x="445" y="20"/>
                  <a:pt x="446" y="21"/>
                  <a:pt x="447" y="21"/>
                </a:cubicBezTo>
                <a:cubicBezTo>
                  <a:pt x="448" y="21"/>
                  <a:pt x="449" y="21"/>
                  <a:pt x="450" y="21"/>
                </a:cubicBezTo>
                <a:cubicBezTo>
                  <a:pt x="450" y="21"/>
                  <a:pt x="452" y="21"/>
                  <a:pt x="451" y="21"/>
                </a:cubicBezTo>
                <a:cubicBezTo>
                  <a:pt x="452" y="22"/>
                  <a:pt x="453" y="21"/>
                  <a:pt x="454" y="21"/>
                </a:cubicBezTo>
                <a:cubicBezTo>
                  <a:pt x="454" y="21"/>
                  <a:pt x="455" y="22"/>
                  <a:pt x="456" y="22"/>
                </a:cubicBezTo>
                <a:cubicBezTo>
                  <a:pt x="457" y="22"/>
                  <a:pt x="457" y="22"/>
                  <a:pt x="458" y="23"/>
                </a:cubicBezTo>
                <a:cubicBezTo>
                  <a:pt x="459" y="23"/>
                  <a:pt x="459" y="22"/>
                  <a:pt x="460" y="23"/>
                </a:cubicBezTo>
                <a:cubicBezTo>
                  <a:pt x="460" y="23"/>
                  <a:pt x="460" y="23"/>
                  <a:pt x="459" y="23"/>
                </a:cubicBezTo>
                <a:cubicBezTo>
                  <a:pt x="461" y="23"/>
                  <a:pt x="462" y="23"/>
                  <a:pt x="464" y="23"/>
                </a:cubicBezTo>
                <a:cubicBezTo>
                  <a:pt x="465" y="23"/>
                  <a:pt x="466" y="23"/>
                  <a:pt x="467" y="23"/>
                </a:cubicBezTo>
                <a:cubicBezTo>
                  <a:pt x="467" y="23"/>
                  <a:pt x="467" y="23"/>
                  <a:pt x="467" y="23"/>
                </a:cubicBezTo>
                <a:cubicBezTo>
                  <a:pt x="468" y="23"/>
                  <a:pt x="469" y="23"/>
                  <a:pt x="470" y="23"/>
                </a:cubicBezTo>
                <a:cubicBezTo>
                  <a:pt x="471" y="23"/>
                  <a:pt x="471" y="23"/>
                  <a:pt x="472" y="23"/>
                </a:cubicBezTo>
                <a:cubicBezTo>
                  <a:pt x="472" y="23"/>
                  <a:pt x="472" y="22"/>
                  <a:pt x="473" y="22"/>
                </a:cubicBezTo>
                <a:cubicBezTo>
                  <a:pt x="473" y="22"/>
                  <a:pt x="474" y="22"/>
                  <a:pt x="473" y="21"/>
                </a:cubicBezTo>
                <a:cubicBezTo>
                  <a:pt x="473" y="21"/>
                  <a:pt x="472" y="21"/>
                  <a:pt x="472" y="21"/>
                </a:cubicBezTo>
                <a:cubicBezTo>
                  <a:pt x="471" y="20"/>
                  <a:pt x="470" y="21"/>
                  <a:pt x="469" y="20"/>
                </a:cubicBezTo>
                <a:cubicBezTo>
                  <a:pt x="469" y="20"/>
                  <a:pt x="469" y="20"/>
                  <a:pt x="470" y="20"/>
                </a:cubicBezTo>
                <a:cubicBezTo>
                  <a:pt x="468" y="20"/>
                  <a:pt x="466" y="20"/>
                  <a:pt x="465" y="19"/>
                </a:cubicBezTo>
                <a:cubicBezTo>
                  <a:pt x="466" y="19"/>
                  <a:pt x="467" y="20"/>
                  <a:pt x="468" y="19"/>
                </a:cubicBezTo>
                <a:cubicBezTo>
                  <a:pt x="469" y="19"/>
                  <a:pt x="468" y="18"/>
                  <a:pt x="468" y="18"/>
                </a:cubicBezTo>
                <a:cubicBezTo>
                  <a:pt x="467" y="18"/>
                  <a:pt x="467" y="18"/>
                  <a:pt x="467" y="17"/>
                </a:cubicBezTo>
                <a:cubicBezTo>
                  <a:pt x="467" y="17"/>
                  <a:pt x="467" y="17"/>
                  <a:pt x="467" y="17"/>
                </a:cubicBezTo>
                <a:cubicBezTo>
                  <a:pt x="466" y="16"/>
                  <a:pt x="467" y="16"/>
                  <a:pt x="466" y="16"/>
                </a:cubicBezTo>
                <a:cubicBezTo>
                  <a:pt x="466" y="16"/>
                  <a:pt x="466" y="16"/>
                  <a:pt x="467" y="15"/>
                </a:cubicBezTo>
                <a:cubicBezTo>
                  <a:pt x="466" y="15"/>
                  <a:pt x="466" y="15"/>
                  <a:pt x="465" y="15"/>
                </a:cubicBezTo>
                <a:cubicBezTo>
                  <a:pt x="464" y="15"/>
                  <a:pt x="463" y="14"/>
                  <a:pt x="463" y="14"/>
                </a:cubicBezTo>
                <a:cubicBezTo>
                  <a:pt x="462" y="14"/>
                  <a:pt x="462" y="14"/>
                  <a:pt x="461" y="14"/>
                </a:cubicBezTo>
                <a:cubicBezTo>
                  <a:pt x="460" y="14"/>
                  <a:pt x="460" y="14"/>
                  <a:pt x="459" y="14"/>
                </a:cubicBezTo>
                <a:cubicBezTo>
                  <a:pt x="460" y="13"/>
                  <a:pt x="459" y="13"/>
                  <a:pt x="459" y="13"/>
                </a:cubicBezTo>
                <a:cubicBezTo>
                  <a:pt x="458" y="13"/>
                  <a:pt x="458" y="13"/>
                  <a:pt x="457" y="13"/>
                </a:cubicBezTo>
                <a:cubicBezTo>
                  <a:pt x="457" y="13"/>
                  <a:pt x="456" y="13"/>
                  <a:pt x="456" y="13"/>
                </a:cubicBezTo>
                <a:cubicBezTo>
                  <a:pt x="455" y="13"/>
                  <a:pt x="455" y="13"/>
                  <a:pt x="455" y="14"/>
                </a:cubicBezTo>
                <a:cubicBezTo>
                  <a:pt x="455" y="14"/>
                  <a:pt x="456" y="14"/>
                  <a:pt x="456" y="14"/>
                </a:cubicBezTo>
                <a:cubicBezTo>
                  <a:pt x="455" y="14"/>
                  <a:pt x="456" y="15"/>
                  <a:pt x="455" y="15"/>
                </a:cubicBezTo>
                <a:cubicBezTo>
                  <a:pt x="455" y="15"/>
                  <a:pt x="455" y="15"/>
                  <a:pt x="454" y="15"/>
                </a:cubicBezTo>
                <a:cubicBezTo>
                  <a:pt x="454" y="14"/>
                  <a:pt x="452" y="14"/>
                  <a:pt x="453" y="15"/>
                </a:cubicBezTo>
                <a:cubicBezTo>
                  <a:pt x="453" y="15"/>
                  <a:pt x="452" y="15"/>
                  <a:pt x="453" y="15"/>
                </a:cubicBezTo>
                <a:cubicBezTo>
                  <a:pt x="452" y="16"/>
                  <a:pt x="451" y="16"/>
                  <a:pt x="450" y="16"/>
                </a:cubicBezTo>
                <a:cubicBezTo>
                  <a:pt x="451" y="16"/>
                  <a:pt x="451" y="16"/>
                  <a:pt x="452" y="15"/>
                </a:cubicBezTo>
                <a:cubicBezTo>
                  <a:pt x="452" y="15"/>
                  <a:pt x="451" y="15"/>
                  <a:pt x="451" y="15"/>
                </a:cubicBezTo>
                <a:cubicBezTo>
                  <a:pt x="451" y="15"/>
                  <a:pt x="451" y="15"/>
                  <a:pt x="452" y="15"/>
                </a:cubicBezTo>
                <a:cubicBezTo>
                  <a:pt x="451" y="15"/>
                  <a:pt x="451" y="15"/>
                  <a:pt x="451" y="15"/>
                </a:cubicBezTo>
                <a:cubicBezTo>
                  <a:pt x="452" y="15"/>
                  <a:pt x="452" y="14"/>
                  <a:pt x="451" y="14"/>
                </a:cubicBezTo>
                <a:cubicBezTo>
                  <a:pt x="452" y="14"/>
                  <a:pt x="451" y="14"/>
                  <a:pt x="451" y="14"/>
                </a:cubicBezTo>
                <a:cubicBezTo>
                  <a:pt x="452" y="14"/>
                  <a:pt x="452" y="14"/>
                  <a:pt x="452" y="13"/>
                </a:cubicBezTo>
                <a:cubicBezTo>
                  <a:pt x="452" y="13"/>
                  <a:pt x="450" y="13"/>
                  <a:pt x="449" y="13"/>
                </a:cubicBezTo>
                <a:cubicBezTo>
                  <a:pt x="448" y="12"/>
                  <a:pt x="447" y="12"/>
                  <a:pt x="446" y="12"/>
                </a:cubicBezTo>
                <a:cubicBezTo>
                  <a:pt x="445" y="12"/>
                  <a:pt x="445" y="13"/>
                  <a:pt x="444" y="13"/>
                </a:cubicBezTo>
                <a:close/>
                <a:moveTo>
                  <a:pt x="1130" y="207"/>
                </a:moveTo>
                <a:cubicBezTo>
                  <a:pt x="1130" y="207"/>
                  <a:pt x="1131" y="207"/>
                  <a:pt x="1131" y="207"/>
                </a:cubicBezTo>
                <a:cubicBezTo>
                  <a:pt x="1131" y="207"/>
                  <a:pt x="1132" y="207"/>
                  <a:pt x="1133" y="206"/>
                </a:cubicBezTo>
                <a:cubicBezTo>
                  <a:pt x="1133" y="206"/>
                  <a:pt x="1132" y="205"/>
                  <a:pt x="1131" y="205"/>
                </a:cubicBezTo>
                <a:cubicBezTo>
                  <a:pt x="1131" y="204"/>
                  <a:pt x="1130" y="204"/>
                  <a:pt x="1129" y="203"/>
                </a:cubicBezTo>
                <a:cubicBezTo>
                  <a:pt x="1129" y="203"/>
                  <a:pt x="1128" y="203"/>
                  <a:pt x="1128" y="204"/>
                </a:cubicBezTo>
                <a:cubicBezTo>
                  <a:pt x="1127" y="205"/>
                  <a:pt x="1124" y="204"/>
                  <a:pt x="1124" y="205"/>
                </a:cubicBezTo>
                <a:cubicBezTo>
                  <a:pt x="1124" y="205"/>
                  <a:pt x="1125" y="205"/>
                  <a:pt x="1126" y="205"/>
                </a:cubicBezTo>
                <a:cubicBezTo>
                  <a:pt x="1126" y="205"/>
                  <a:pt x="1126" y="207"/>
                  <a:pt x="1126" y="207"/>
                </a:cubicBezTo>
                <a:cubicBezTo>
                  <a:pt x="1127" y="208"/>
                  <a:pt x="1128" y="209"/>
                  <a:pt x="1127" y="210"/>
                </a:cubicBezTo>
                <a:cubicBezTo>
                  <a:pt x="1127" y="210"/>
                  <a:pt x="1128" y="211"/>
                  <a:pt x="1128" y="211"/>
                </a:cubicBezTo>
                <a:cubicBezTo>
                  <a:pt x="1128" y="210"/>
                  <a:pt x="1129" y="209"/>
                  <a:pt x="1129" y="208"/>
                </a:cubicBezTo>
                <a:cubicBezTo>
                  <a:pt x="1129" y="208"/>
                  <a:pt x="1130" y="207"/>
                  <a:pt x="1130" y="207"/>
                </a:cubicBezTo>
                <a:close/>
                <a:moveTo>
                  <a:pt x="228" y="2"/>
                </a:moveTo>
                <a:cubicBezTo>
                  <a:pt x="227" y="2"/>
                  <a:pt x="226" y="2"/>
                  <a:pt x="225" y="2"/>
                </a:cubicBezTo>
                <a:cubicBezTo>
                  <a:pt x="225" y="2"/>
                  <a:pt x="225" y="2"/>
                  <a:pt x="225" y="2"/>
                </a:cubicBezTo>
                <a:cubicBezTo>
                  <a:pt x="226" y="2"/>
                  <a:pt x="227" y="3"/>
                  <a:pt x="228" y="2"/>
                </a:cubicBezTo>
                <a:close/>
                <a:moveTo>
                  <a:pt x="201" y="3"/>
                </a:moveTo>
                <a:cubicBezTo>
                  <a:pt x="202" y="3"/>
                  <a:pt x="203" y="4"/>
                  <a:pt x="205" y="4"/>
                </a:cubicBezTo>
                <a:cubicBezTo>
                  <a:pt x="206" y="4"/>
                  <a:pt x="207" y="4"/>
                  <a:pt x="208" y="3"/>
                </a:cubicBezTo>
                <a:cubicBezTo>
                  <a:pt x="206" y="3"/>
                  <a:pt x="204" y="3"/>
                  <a:pt x="202" y="3"/>
                </a:cubicBezTo>
                <a:cubicBezTo>
                  <a:pt x="202" y="2"/>
                  <a:pt x="201" y="3"/>
                  <a:pt x="200" y="3"/>
                </a:cubicBezTo>
                <a:cubicBezTo>
                  <a:pt x="199" y="3"/>
                  <a:pt x="198" y="2"/>
                  <a:pt x="198" y="3"/>
                </a:cubicBezTo>
                <a:cubicBezTo>
                  <a:pt x="198" y="3"/>
                  <a:pt x="197" y="3"/>
                  <a:pt x="197" y="3"/>
                </a:cubicBezTo>
                <a:cubicBezTo>
                  <a:pt x="198" y="3"/>
                  <a:pt x="199" y="3"/>
                  <a:pt x="201" y="3"/>
                </a:cubicBezTo>
                <a:close/>
                <a:moveTo>
                  <a:pt x="193" y="8"/>
                </a:moveTo>
                <a:cubicBezTo>
                  <a:pt x="192" y="8"/>
                  <a:pt x="192" y="8"/>
                  <a:pt x="192" y="8"/>
                </a:cubicBezTo>
                <a:cubicBezTo>
                  <a:pt x="193" y="9"/>
                  <a:pt x="193" y="8"/>
                  <a:pt x="194" y="9"/>
                </a:cubicBezTo>
                <a:cubicBezTo>
                  <a:pt x="194" y="9"/>
                  <a:pt x="194" y="9"/>
                  <a:pt x="194" y="9"/>
                </a:cubicBezTo>
                <a:cubicBezTo>
                  <a:pt x="195" y="9"/>
                  <a:pt x="196" y="9"/>
                  <a:pt x="198" y="9"/>
                </a:cubicBezTo>
                <a:cubicBezTo>
                  <a:pt x="198" y="9"/>
                  <a:pt x="201" y="9"/>
                  <a:pt x="201" y="9"/>
                </a:cubicBezTo>
                <a:cubicBezTo>
                  <a:pt x="201" y="8"/>
                  <a:pt x="198" y="8"/>
                  <a:pt x="198" y="8"/>
                </a:cubicBezTo>
                <a:cubicBezTo>
                  <a:pt x="196" y="8"/>
                  <a:pt x="194" y="8"/>
                  <a:pt x="193" y="8"/>
                </a:cubicBezTo>
                <a:close/>
                <a:moveTo>
                  <a:pt x="133" y="10"/>
                </a:moveTo>
                <a:cubicBezTo>
                  <a:pt x="134" y="10"/>
                  <a:pt x="136" y="9"/>
                  <a:pt x="137" y="9"/>
                </a:cubicBezTo>
                <a:cubicBezTo>
                  <a:pt x="137" y="10"/>
                  <a:pt x="137" y="10"/>
                  <a:pt x="137" y="10"/>
                </a:cubicBezTo>
                <a:cubicBezTo>
                  <a:pt x="137" y="10"/>
                  <a:pt x="138" y="10"/>
                  <a:pt x="138" y="10"/>
                </a:cubicBezTo>
                <a:cubicBezTo>
                  <a:pt x="139" y="10"/>
                  <a:pt x="139" y="10"/>
                  <a:pt x="140" y="10"/>
                </a:cubicBezTo>
                <a:cubicBezTo>
                  <a:pt x="140" y="10"/>
                  <a:pt x="140" y="10"/>
                  <a:pt x="140" y="10"/>
                </a:cubicBezTo>
                <a:cubicBezTo>
                  <a:pt x="140" y="10"/>
                  <a:pt x="140" y="10"/>
                  <a:pt x="141" y="10"/>
                </a:cubicBezTo>
                <a:cubicBezTo>
                  <a:pt x="141" y="10"/>
                  <a:pt x="141" y="10"/>
                  <a:pt x="140" y="10"/>
                </a:cubicBezTo>
                <a:cubicBezTo>
                  <a:pt x="141" y="9"/>
                  <a:pt x="142" y="10"/>
                  <a:pt x="143" y="9"/>
                </a:cubicBezTo>
                <a:cubicBezTo>
                  <a:pt x="144" y="9"/>
                  <a:pt x="144" y="10"/>
                  <a:pt x="145" y="9"/>
                </a:cubicBezTo>
                <a:cubicBezTo>
                  <a:pt x="145" y="9"/>
                  <a:pt x="144" y="9"/>
                  <a:pt x="144" y="9"/>
                </a:cubicBezTo>
                <a:cubicBezTo>
                  <a:pt x="145" y="9"/>
                  <a:pt x="145" y="9"/>
                  <a:pt x="145" y="9"/>
                </a:cubicBezTo>
                <a:cubicBezTo>
                  <a:pt x="145" y="9"/>
                  <a:pt x="145" y="8"/>
                  <a:pt x="145" y="8"/>
                </a:cubicBezTo>
                <a:cubicBezTo>
                  <a:pt x="145" y="8"/>
                  <a:pt x="145" y="8"/>
                  <a:pt x="145" y="8"/>
                </a:cubicBezTo>
                <a:cubicBezTo>
                  <a:pt x="145" y="8"/>
                  <a:pt x="146" y="8"/>
                  <a:pt x="147" y="8"/>
                </a:cubicBezTo>
                <a:cubicBezTo>
                  <a:pt x="147" y="8"/>
                  <a:pt x="147" y="8"/>
                  <a:pt x="148" y="9"/>
                </a:cubicBezTo>
                <a:cubicBezTo>
                  <a:pt x="148" y="9"/>
                  <a:pt x="149" y="9"/>
                  <a:pt x="150" y="9"/>
                </a:cubicBezTo>
                <a:cubicBezTo>
                  <a:pt x="150" y="9"/>
                  <a:pt x="153" y="9"/>
                  <a:pt x="153" y="9"/>
                </a:cubicBezTo>
                <a:cubicBezTo>
                  <a:pt x="153" y="9"/>
                  <a:pt x="151" y="8"/>
                  <a:pt x="151" y="8"/>
                </a:cubicBezTo>
                <a:cubicBezTo>
                  <a:pt x="151" y="8"/>
                  <a:pt x="151" y="8"/>
                  <a:pt x="152" y="8"/>
                </a:cubicBezTo>
                <a:cubicBezTo>
                  <a:pt x="150" y="7"/>
                  <a:pt x="149" y="8"/>
                  <a:pt x="147" y="8"/>
                </a:cubicBezTo>
                <a:cubicBezTo>
                  <a:pt x="146" y="8"/>
                  <a:pt x="144" y="7"/>
                  <a:pt x="142" y="8"/>
                </a:cubicBezTo>
                <a:cubicBezTo>
                  <a:pt x="142" y="8"/>
                  <a:pt x="143" y="8"/>
                  <a:pt x="143" y="8"/>
                </a:cubicBezTo>
                <a:cubicBezTo>
                  <a:pt x="142" y="8"/>
                  <a:pt x="140" y="8"/>
                  <a:pt x="139" y="8"/>
                </a:cubicBezTo>
                <a:cubicBezTo>
                  <a:pt x="139" y="8"/>
                  <a:pt x="139" y="8"/>
                  <a:pt x="139" y="8"/>
                </a:cubicBezTo>
                <a:cubicBezTo>
                  <a:pt x="136" y="9"/>
                  <a:pt x="133" y="9"/>
                  <a:pt x="130" y="9"/>
                </a:cubicBezTo>
                <a:cubicBezTo>
                  <a:pt x="130" y="9"/>
                  <a:pt x="130" y="9"/>
                  <a:pt x="130" y="9"/>
                </a:cubicBezTo>
                <a:cubicBezTo>
                  <a:pt x="131" y="10"/>
                  <a:pt x="132" y="9"/>
                  <a:pt x="133" y="10"/>
                </a:cubicBezTo>
                <a:close/>
                <a:moveTo>
                  <a:pt x="216" y="9"/>
                </a:moveTo>
                <a:cubicBezTo>
                  <a:pt x="216" y="9"/>
                  <a:pt x="216" y="9"/>
                  <a:pt x="216" y="10"/>
                </a:cubicBezTo>
                <a:cubicBezTo>
                  <a:pt x="216" y="10"/>
                  <a:pt x="216" y="10"/>
                  <a:pt x="216" y="10"/>
                </a:cubicBezTo>
                <a:cubicBezTo>
                  <a:pt x="216" y="10"/>
                  <a:pt x="216" y="10"/>
                  <a:pt x="216" y="10"/>
                </a:cubicBezTo>
                <a:cubicBezTo>
                  <a:pt x="217" y="10"/>
                  <a:pt x="218" y="10"/>
                  <a:pt x="219" y="10"/>
                </a:cubicBezTo>
                <a:cubicBezTo>
                  <a:pt x="220" y="10"/>
                  <a:pt x="222" y="10"/>
                  <a:pt x="223" y="10"/>
                </a:cubicBezTo>
                <a:cubicBezTo>
                  <a:pt x="224" y="10"/>
                  <a:pt x="227" y="11"/>
                  <a:pt x="229" y="10"/>
                </a:cubicBezTo>
                <a:cubicBezTo>
                  <a:pt x="229" y="10"/>
                  <a:pt x="228" y="10"/>
                  <a:pt x="228" y="10"/>
                </a:cubicBezTo>
                <a:cubicBezTo>
                  <a:pt x="229" y="10"/>
                  <a:pt x="229" y="10"/>
                  <a:pt x="230" y="10"/>
                </a:cubicBezTo>
                <a:cubicBezTo>
                  <a:pt x="229" y="9"/>
                  <a:pt x="231" y="9"/>
                  <a:pt x="231" y="9"/>
                </a:cubicBezTo>
                <a:cubicBezTo>
                  <a:pt x="232" y="9"/>
                  <a:pt x="232" y="9"/>
                  <a:pt x="233" y="9"/>
                </a:cubicBezTo>
                <a:cubicBezTo>
                  <a:pt x="232" y="9"/>
                  <a:pt x="232" y="9"/>
                  <a:pt x="232" y="9"/>
                </a:cubicBezTo>
                <a:cubicBezTo>
                  <a:pt x="232" y="9"/>
                  <a:pt x="233" y="8"/>
                  <a:pt x="233" y="8"/>
                </a:cubicBezTo>
                <a:cubicBezTo>
                  <a:pt x="233" y="8"/>
                  <a:pt x="232" y="8"/>
                  <a:pt x="232" y="8"/>
                </a:cubicBezTo>
                <a:cubicBezTo>
                  <a:pt x="231" y="7"/>
                  <a:pt x="229" y="7"/>
                  <a:pt x="228" y="7"/>
                </a:cubicBezTo>
                <a:cubicBezTo>
                  <a:pt x="226" y="7"/>
                  <a:pt x="225" y="8"/>
                  <a:pt x="223" y="8"/>
                </a:cubicBezTo>
                <a:cubicBezTo>
                  <a:pt x="222" y="8"/>
                  <a:pt x="220" y="8"/>
                  <a:pt x="219" y="8"/>
                </a:cubicBezTo>
                <a:cubicBezTo>
                  <a:pt x="219" y="8"/>
                  <a:pt x="220" y="8"/>
                  <a:pt x="220" y="8"/>
                </a:cubicBezTo>
                <a:cubicBezTo>
                  <a:pt x="219" y="7"/>
                  <a:pt x="217" y="8"/>
                  <a:pt x="216" y="8"/>
                </a:cubicBezTo>
                <a:cubicBezTo>
                  <a:pt x="216" y="8"/>
                  <a:pt x="216" y="8"/>
                  <a:pt x="217" y="8"/>
                </a:cubicBezTo>
                <a:cubicBezTo>
                  <a:pt x="216" y="8"/>
                  <a:pt x="216" y="8"/>
                  <a:pt x="215" y="9"/>
                </a:cubicBezTo>
                <a:cubicBezTo>
                  <a:pt x="215" y="9"/>
                  <a:pt x="215" y="9"/>
                  <a:pt x="215" y="9"/>
                </a:cubicBezTo>
                <a:cubicBezTo>
                  <a:pt x="215" y="9"/>
                  <a:pt x="215" y="9"/>
                  <a:pt x="216" y="9"/>
                </a:cubicBezTo>
                <a:close/>
                <a:moveTo>
                  <a:pt x="274" y="100"/>
                </a:moveTo>
                <a:cubicBezTo>
                  <a:pt x="274" y="100"/>
                  <a:pt x="274" y="100"/>
                  <a:pt x="274" y="99"/>
                </a:cubicBezTo>
                <a:cubicBezTo>
                  <a:pt x="273" y="99"/>
                  <a:pt x="273" y="99"/>
                  <a:pt x="272" y="99"/>
                </a:cubicBezTo>
                <a:cubicBezTo>
                  <a:pt x="271" y="98"/>
                  <a:pt x="270" y="98"/>
                  <a:pt x="269" y="98"/>
                </a:cubicBezTo>
                <a:cubicBezTo>
                  <a:pt x="269" y="98"/>
                  <a:pt x="268" y="97"/>
                  <a:pt x="268" y="97"/>
                </a:cubicBezTo>
                <a:cubicBezTo>
                  <a:pt x="267" y="97"/>
                  <a:pt x="267" y="97"/>
                  <a:pt x="267" y="97"/>
                </a:cubicBezTo>
                <a:cubicBezTo>
                  <a:pt x="266" y="97"/>
                  <a:pt x="266" y="96"/>
                  <a:pt x="266" y="96"/>
                </a:cubicBezTo>
                <a:cubicBezTo>
                  <a:pt x="265" y="96"/>
                  <a:pt x="265" y="96"/>
                  <a:pt x="264" y="95"/>
                </a:cubicBezTo>
                <a:cubicBezTo>
                  <a:pt x="263" y="95"/>
                  <a:pt x="263" y="95"/>
                  <a:pt x="262" y="94"/>
                </a:cubicBezTo>
                <a:cubicBezTo>
                  <a:pt x="261" y="94"/>
                  <a:pt x="260" y="95"/>
                  <a:pt x="260" y="95"/>
                </a:cubicBezTo>
                <a:cubicBezTo>
                  <a:pt x="260" y="96"/>
                  <a:pt x="259" y="95"/>
                  <a:pt x="258" y="96"/>
                </a:cubicBezTo>
                <a:cubicBezTo>
                  <a:pt x="259" y="96"/>
                  <a:pt x="261" y="96"/>
                  <a:pt x="261" y="97"/>
                </a:cubicBezTo>
                <a:cubicBezTo>
                  <a:pt x="260" y="97"/>
                  <a:pt x="259" y="96"/>
                  <a:pt x="258" y="96"/>
                </a:cubicBezTo>
                <a:cubicBezTo>
                  <a:pt x="258" y="96"/>
                  <a:pt x="259" y="97"/>
                  <a:pt x="259" y="97"/>
                </a:cubicBezTo>
                <a:cubicBezTo>
                  <a:pt x="259" y="97"/>
                  <a:pt x="260" y="97"/>
                  <a:pt x="260" y="98"/>
                </a:cubicBezTo>
                <a:cubicBezTo>
                  <a:pt x="260" y="98"/>
                  <a:pt x="260" y="98"/>
                  <a:pt x="260" y="98"/>
                </a:cubicBezTo>
                <a:cubicBezTo>
                  <a:pt x="261" y="98"/>
                  <a:pt x="261" y="99"/>
                  <a:pt x="261" y="99"/>
                </a:cubicBezTo>
                <a:cubicBezTo>
                  <a:pt x="262" y="99"/>
                  <a:pt x="263" y="99"/>
                  <a:pt x="263" y="100"/>
                </a:cubicBezTo>
                <a:cubicBezTo>
                  <a:pt x="264" y="100"/>
                  <a:pt x="265" y="100"/>
                  <a:pt x="265" y="100"/>
                </a:cubicBezTo>
                <a:cubicBezTo>
                  <a:pt x="264" y="100"/>
                  <a:pt x="264" y="100"/>
                  <a:pt x="263" y="99"/>
                </a:cubicBezTo>
                <a:cubicBezTo>
                  <a:pt x="264" y="99"/>
                  <a:pt x="269" y="100"/>
                  <a:pt x="268" y="101"/>
                </a:cubicBezTo>
                <a:cubicBezTo>
                  <a:pt x="268" y="101"/>
                  <a:pt x="268" y="101"/>
                  <a:pt x="269" y="101"/>
                </a:cubicBezTo>
                <a:cubicBezTo>
                  <a:pt x="269" y="102"/>
                  <a:pt x="270" y="101"/>
                  <a:pt x="271" y="102"/>
                </a:cubicBezTo>
                <a:cubicBezTo>
                  <a:pt x="271" y="101"/>
                  <a:pt x="272" y="101"/>
                  <a:pt x="272" y="101"/>
                </a:cubicBezTo>
                <a:cubicBezTo>
                  <a:pt x="273" y="102"/>
                  <a:pt x="274" y="101"/>
                  <a:pt x="275" y="101"/>
                </a:cubicBezTo>
                <a:cubicBezTo>
                  <a:pt x="274" y="101"/>
                  <a:pt x="275" y="100"/>
                  <a:pt x="274" y="100"/>
                </a:cubicBezTo>
                <a:close/>
                <a:moveTo>
                  <a:pt x="205" y="108"/>
                </a:moveTo>
                <a:cubicBezTo>
                  <a:pt x="207" y="106"/>
                  <a:pt x="202" y="105"/>
                  <a:pt x="201" y="104"/>
                </a:cubicBezTo>
                <a:cubicBezTo>
                  <a:pt x="200" y="104"/>
                  <a:pt x="199" y="104"/>
                  <a:pt x="198" y="104"/>
                </a:cubicBezTo>
                <a:cubicBezTo>
                  <a:pt x="196" y="103"/>
                  <a:pt x="195" y="103"/>
                  <a:pt x="193" y="104"/>
                </a:cubicBezTo>
                <a:cubicBezTo>
                  <a:pt x="192" y="104"/>
                  <a:pt x="191" y="105"/>
                  <a:pt x="191" y="106"/>
                </a:cubicBezTo>
                <a:cubicBezTo>
                  <a:pt x="191" y="107"/>
                  <a:pt x="191" y="107"/>
                  <a:pt x="191" y="108"/>
                </a:cubicBezTo>
                <a:cubicBezTo>
                  <a:pt x="191" y="108"/>
                  <a:pt x="191" y="108"/>
                  <a:pt x="191" y="108"/>
                </a:cubicBezTo>
                <a:cubicBezTo>
                  <a:pt x="191" y="108"/>
                  <a:pt x="192" y="108"/>
                  <a:pt x="191" y="108"/>
                </a:cubicBezTo>
                <a:cubicBezTo>
                  <a:pt x="191" y="108"/>
                  <a:pt x="191" y="109"/>
                  <a:pt x="192" y="109"/>
                </a:cubicBezTo>
                <a:cubicBezTo>
                  <a:pt x="192" y="109"/>
                  <a:pt x="192" y="109"/>
                  <a:pt x="192" y="109"/>
                </a:cubicBezTo>
                <a:cubicBezTo>
                  <a:pt x="192" y="109"/>
                  <a:pt x="194" y="110"/>
                  <a:pt x="194" y="110"/>
                </a:cubicBezTo>
                <a:cubicBezTo>
                  <a:pt x="195" y="110"/>
                  <a:pt x="196" y="110"/>
                  <a:pt x="196" y="110"/>
                </a:cubicBezTo>
                <a:cubicBezTo>
                  <a:pt x="197" y="110"/>
                  <a:pt x="198" y="110"/>
                  <a:pt x="199" y="110"/>
                </a:cubicBezTo>
                <a:cubicBezTo>
                  <a:pt x="199" y="110"/>
                  <a:pt x="200" y="110"/>
                  <a:pt x="201" y="110"/>
                </a:cubicBezTo>
                <a:cubicBezTo>
                  <a:pt x="201" y="109"/>
                  <a:pt x="203" y="109"/>
                  <a:pt x="203" y="108"/>
                </a:cubicBezTo>
                <a:cubicBezTo>
                  <a:pt x="203" y="108"/>
                  <a:pt x="203" y="108"/>
                  <a:pt x="203" y="108"/>
                </a:cubicBezTo>
                <a:cubicBezTo>
                  <a:pt x="203" y="108"/>
                  <a:pt x="205" y="106"/>
                  <a:pt x="205" y="107"/>
                </a:cubicBezTo>
                <a:cubicBezTo>
                  <a:pt x="205" y="107"/>
                  <a:pt x="205" y="108"/>
                  <a:pt x="205" y="108"/>
                </a:cubicBezTo>
                <a:close/>
                <a:moveTo>
                  <a:pt x="1002" y="254"/>
                </a:moveTo>
                <a:cubicBezTo>
                  <a:pt x="1002" y="254"/>
                  <a:pt x="1002" y="254"/>
                  <a:pt x="1002" y="254"/>
                </a:cubicBezTo>
                <a:cubicBezTo>
                  <a:pt x="1002" y="254"/>
                  <a:pt x="1002" y="254"/>
                  <a:pt x="1002" y="254"/>
                </a:cubicBezTo>
                <a:close/>
                <a:moveTo>
                  <a:pt x="1009" y="259"/>
                </a:moveTo>
                <a:cubicBezTo>
                  <a:pt x="1009" y="259"/>
                  <a:pt x="1009" y="259"/>
                  <a:pt x="1009" y="259"/>
                </a:cubicBezTo>
                <a:cubicBezTo>
                  <a:pt x="1010" y="259"/>
                  <a:pt x="1011" y="260"/>
                  <a:pt x="1011" y="260"/>
                </a:cubicBezTo>
                <a:cubicBezTo>
                  <a:pt x="1011" y="260"/>
                  <a:pt x="1010" y="258"/>
                  <a:pt x="1009" y="259"/>
                </a:cubicBezTo>
                <a:close/>
                <a:moveTo>
                  <a:pt x="1073" y="337"/>
                </a:moveTo>
                <a:cubicBezTo>
                  <a:pt x="1072" y="336"/>
                  <a:pt x="1072" y="335"/>
                  <a:pt x="1071" y="334"/>
                </a:cubicBezTo>
                <a:cubicBezTo>
                  <a:pt x="1071" y="334"/>
                  <a:pt x="1070" y="333"/>
                  <a:pt x="1070" y="333"/>
                </a:cubicBezTo>
                <a:cubicBezTo>
                  <a:pt x="1069" y="333"/>
                  <a:pt x="1070" y="333"/>
                  <a:pt x="1069" y="333"/>
                </a:cubicBezTo>
                <a:cubicBezTo>
                  <a:pt x="1069" y="333"/>
                  <a:pt x="1068" y="333"/>
                  <a:pt x="1067" y="333"/>
                </a:cubicBezTo>
                <a:cubicBezTo>
                  <a:pt x="1067" y="333"/>
                  <a:pt x="1068" y="333"/>
                  <a:pt x="1069" y="334"/>
                </a:cubicBezTo>
                <a:cubicBezTo>
                  <a:pt x="1069" y="334"/>
                  <a:pt x="1070" y="334"/>
                  <a:pt x="1070" y="334"/>
                </a:cubicBezTo>
                <a:cubicBezTo>
                  <a:pt x="1070" y="334"/>
                  <a:pt x="1069" y="334"/>
                  <a:pt x="1069" y="334"/>
                </a:cubicBezTo>
                <a:cubicBezTo>
                  <a:pt x="1068" y="334"/>
                  <a:pt x="1068" y="334"/>
                  <a:pt x="1067" y="334"/>
                </a:cubicBezTo>
                <a:cubicBezTo>
                  <a:pt x="1067" y="333"/>
                  <a:pt x="1067" y="333"/>
                  <a:pt x="1067" y="333"/>
                </a:cubicBezTo>
                <a:cubicBezTo>
                  <a:pt x="1067" y="332"/>
                  <a:pt x="1067" y="333"/>
                  <a:pt x="1067" y="332"/>
                </a:cubicBezTo>
                <a:cubicBezTo>
                  <a:pt x="1066" y="332"/>
                  <a:pt x="1065" y="331"/>
                  <a:pt x="1064" y="330"/>
                </a:cubicBezTo>
                <a:cubicBezTo>
                  <a:pt x="1064" y="329"/>
                  <a:pt x="1063" y="329"/>
                  <a:pt x="1062" y="328"/>
                </a:cubicBezTo>
                <a:cubicBezTo>
                  <a:pt x="1061" y="327"/>
                  <a:pt x="1060" y="327"/>
                  <a:pt x="1059" y="326"/>
                </a:cubicBezTo>
                <a:cubicBezTo>
                  <a:pt x="1059" y="326"/>
                  <a:pt x="1059" y="326"/>
                  <a:pt x="1058" y="326"/>
                </a:cubicBezTo>
                <a:cubicBezTo>
                  <a:pt x="1058" y="325"/>
                  <a:pt x="1058" y="325"/>
                  <a:pt x="1057" y="325"/>
                </a:cubicBezTo>
                <a:cubicBezTo>
                  <a:pt x="1055" y="323"/>
                  <a:pt x="1054" y="321"/>
                  <a:pt x="1053" y="319"/>
                </a:cubicBezTo>
                <a:cubicBezTo>
                  <a:pt x="1052" y="316"/>
                  <a:pt x="1051" y="314"/>
                  <a:pt x="1050" y="311"/>
                </a:cubicBezTo>
                <a:cubicBezTo>
                  <a:pt x="1050" y="310"/>
                  <a:pt x="1049" y="310"/>
                  <a:pt x="1049" y="309"/>
                </a:cubicBezTo>
                <a:cubicBezTo>
                  <a:pt x="1049" y="308"/>
                  <a:pt x="1049" y="307"/>
                  <a:pt x="1049" y="307"/>
                </a:cubicBezTo>
                <a:cubicBezTo>
                  <a:pt x="1050" y="306"/>
                  <a:pt x="1052" y="307"/>
                  <a:pt x="1053" y="306"/>
                </a:cubicBezTo>
                <a:cubicBezTo>
                  <a:pt x="1052" y="306"/>
                  <a:pt x="1051" y="306"/>
                  <a:pt x="1050" y="306"/>
                </a:cubicBezTo>
                <a:cubicBezTo>
                  <a:pt x="1050" y="306"/>
                  <a:pt x="1049" y="306"/>
                  <a:pt x="1049" y="305"/>
                </a:cubicBezTo>
                <a:cubicBezTo>
                  <a:pt x="1050" y="305"/>
                  <a:pt x="1051" y="306"/>
                  <a:pt x="1051" y="306"/>
                </a:cubicBezTo>
                <a:cubicBezTo>
                  <a:pt x="1052" y="306"/>
                  <a:pt x="1053" y="306"/>
                  <a:pt x="1053" y="306"/>
                </a:cubicBezTo>
                <a:cubicBezTo>
                  <a:pt x="1053" y="306"/>
                  <a:pt x="1054" y="306"/>
                  <a:pt x="1054" y="306"/>
                </a:cubicBezTo>
                <a:cubicBezTo>
                  <a:pt x="1055" y="307"/>
                  <a:pt x="1056" y="307"/>
                  <a:pt x="1057" y="307"/>
                </a:cubicBezTo>
                <a:cubicBezTo>
                  <a:pt x="1058" y="307"/>
                  <a:pt x="1060" y="308"/>
                  <a:pt x="1061" y="309"/>
                </a:cubicBezTo>
                <a:cubicBezTo>
                  <a:pt x="1062" y="310"/>
                  <a:pt x="1064" y="310"/>
                  <a:pt x="1065" y="311"/>
                </a:cubicBezTo>
                <a:cubicBezTo>
                  <a:pt x="1065" y="312"/>
                  <a:pt x="1066" y="314"/>
                  <a:pt x="1067" y="313"/>
                </a:cubicBezTo>
                <a:cubicBezTo>
                  <a:pt x="1067" y="313"/>
                  <a:pt x="1066" y="312"/>
                  <a:pt x="1066" y="312"/>
                </a:cubicBezTo>
                <a:cubicBezTo>
                  <a:pt x="1065" y="311"/>
                  <a:pt x="1065" y="311"/>
                  <a:pt x="1064" y="310"/>
                </a:cubicBezTo>
                <a:cubicBezTo>
                  <a:pt x="1062" y="310"/>
                  <a:pt x="1061" y="309"/>
                  <a:pt x="1060" y="308"/>
                </a:cubicBezTo>
                <a:cubicBezTo>
                  <a:pt x="1058" y="306"/>
                  <a:pt x="1057" y="305"/>
                  <a:pt x="1056" y="304"/>
                </a:cubicBezTo>
                <a:cubicBezTo>
                  <a:pt x="1055" y="303"/>
                  <a:pt x="1055" y="303"/>
                  <a:pt x="1054" y="302"/>
                </a:cubicBezTo>
                <a:cubicBezTo>
                  <a:pt x="1053" y="302"/>
                  <a:pt x="1053" y="301"/>
                  <a:pt x="1052" y="300"/>
                </a:cubicBezTo>
                <a:cubicBezTo>
                  <a:pt x="1050" y="299"/>
                  <a:pt x="1049" y="297"/>
                  <a:pt x="1047" y="296"/>
                </a:cubicBezTo>
                <a:cubicBezTo>
                  <a:pt x="1046" y="295"/>
                  <a:pt x="1045" y="294"/>
                  <a:pt x="1044" y="293"/>
                </a:cubicBezTo>
                <a:cubicBezTo>
                  <a:pt x="1042" y="292"/>
                  <a:pt x="1041" y="290"/>
                  <a:pt x="1039" y="289"/>
                </a:cubicBezTo>
                <a:cubicBezTo>
                  <a:pt x="1038" y="287"/>
                  <a:pt x="1037" y="286"/>
                  <a:pt x="1036" y="285"/>
                </a:cubicBezTo>
                <a:cubicBezTo>
                  <a:pt x="1036" y="285"/>
                  <a:pt x="1037" y="286"/>
                  <a:pt x="1036" y="286"/>
                </a:cubicBezTo>
                <a:cubicBezTo>
                  <a:pt x="1036" y="286"/>
                  <a:pt x="1036" y="286"/>
                  <a:pt x="1036" y="285"/>
                </a:cubicBezTo>
                <a:cubicBezTo>
                  <a:pt x="1035" y="285"/>
                  <a:pt x="1035" y="285"/>
                  <a:pt x="1034" y="285"/>
                </a:cubicBezTo>
                <a:cubicBezTo>
                  <a:pt x="1035" y="284"/>
                  <a:pt x="1035" y="284"/>
                  <a:pt x="1035" y="285"/>
                </a:cubicBezTo>
                <a:cubicBezTo>
                  <a:pt x="1035" y="284"/>
                  <a:pt x="1034" y="283"/>
                  <a:pt x="1033" y="283"/>
                </a:cubicBezTo>
                <a:cubicBezTo>
                  <a:pt x="1033" y="282"/>
                  <a:pt x="1032" y="282"/>
                  <a:pt x="1032" y="282"/>
                </a:cubicBezTo>
                <a:cubicBezTo>
                  <a:pt x="1032" y="282"/>
                  <a:pt x="1033" y="283"/>
                  <a:pt x="1033" y="283"/>
                </a:cubicBezTo>
                <a:cubicBezTo>
                  <a:pt x="1032" y="283"/>
                  <a:pt x="1031" y="283"/>
                  <a:pt x="1031" y="282"/>
                </a:cubicBezTo>
                <a:cubicBezTo>
                  <a:pt x="1031" y="282"/>
                  <a:pt x="1030" y="281"/>
                  <a:pt x="1031" y="281"/>
                </a:cubicBezTo>
                <a:cubicBezTo>
                  <a:pt x="1030" y="280"/>
                  <a:pt x="1029" y="279"/>
                  <a:pt x="1029" y="279"/>
                </a:cubicBezTo>
                <a:cubicBezTo>
                  <a:pt x="1029" y="279"/>
                  <a:pt x="1029" y="279"/>
                  <a:pt x="1029" y="279"/>
                </a:cubicBezTo>
                <a:cubicBezTo>
                  <a:pt x="1028" y="279"/>
                  <a:pt x="1027" y="278"/>
                  <a:pt x="1027" y="278"/>
                </a:cubicBezTo>
                <a:cubicBezTo>
                  <a:pt x="1027" y="277"/>
                  <a:pt x="1026" y="277"/>
                  <a:pt x="1025" y="276"/>
                </a:cubicBezTo>
                <a:cubicBezTo>
                  <a:pt x="1026" y="276"/>
                  <a:pt x="1026" y="276"/>
                  <a:pt x="1026" y="276"/>
                </a:cubicBezTo>
                <a:cubicBezTo>
                  <a:pt x="1026" y="276"/>
                  <a:pt x="1025" y="275"/>
                  <a:pt x="1024" y="274"/>
                </a:cubicBezTo>
                <a:cubicBezTo>
                  <a:pt x="1024" y="275"/>
                  <a:pt x="1024" y="274"/>
                  <a:pt x="1024" y="273"/>
                </a:cubicBezTo>
                <a:cubicBezTo>
                  <a:pt x="1023" y="273"/>
                  <a:pt x="1023" y="272"/>
                  <a:pt x="1023" y="271"/>
                </a:cubicBezTo>
                <a:cubicBezTo>
                  <a:pt x="1023" y="271"/>
                  <a:pt x="1024" y="273"/>
                  <a:pt x="1024" y="273"/>
                </a:cubicBezTo>
                <a:cubicBezTo>
                  <a:pt x="1023" y="273"/>
                  <a:pt x="1024" y="274"/>
                  <a:pt x="1025" y="274"/>
                </a:cubicBezTo>
                <a:cubicBezTo>
                  <a:pt x="1025" y="273"/>
                  <a:pt x="1024" y="272"/>
                  <a:pt x="1023" y="271"/>
                </a:cubicBezTo>
                <a:cubicBezTo>
                  <a:pt x="1022" y="270"/>
                  <a:pt x="1021" y="269"/>
                  <a:pt x="1020" y="268"/>
                </a:cubicBezTo>
                <a:cubicBezTo>
                  <a:pt x="1020" y="268"/>
                  <a:pt x="1021" y="268"/>
                  <a:pt x="1021" y="269"/>
                </a:cubicBezTo>
                <a:cubicBezTo>
                  <a:pt x="1019" y="268"/>
                  <a:pt x="1017" y="266"/>
                  <a:pt x="1016" y="265"/>
                </a:cubicBezTo>
                <a:cubicBezTo>
                  <a:pt x="1016" y="265"/>
                  <a:pt x="1016" y="265"/>
                  <a:pt x="1015" y="264"/>
                </a:cubicBezTo>
                <a:cubicBezTo>
                  <a:pt x="1015" y="264"/>
                  <a:pt x="1015" y="263"/>
                  <a:pt x="1016" y="263"/>
                </a:cubicBezTo>
                <a:cubicBezTo>
                  <a:pt x="1016" y="264"/>
                  <a:pt x="1016" y="264"/>
                  <a:pt x="1016" y="265"/>
                </a:cubicBezTo>
                <a:cubicBezTo>
                  <a:pt x="1017" y="265"/>
                  <a:pt x="1018" y="265"/>
                  <a:pt x="1018" y="266"/>
                </a:cubicBezTo>
                <a:cubicBezTo>
                  <a:pt x="1019" y="267"/>
                  <a:pt x="1020" y="268"/>
                  <a:pt x="1021" y="269"/>
                </a:cubicBezTo>
                <a:cubicBezTo>
                  <a:pt x="1020" y="267"/>
                  <a:pt x="1018" y="266"/>
                  <a:pt x="1017" y="264"/>
                </a:cubicBezTo>
                <a:cubicBezTo>
                  <a:pt x="1016" y="264"/>
                  <a:pt x="1016" y="264"/>
                  <a:pt x="1016" y="263"/>
                </a:cubicBezTo>
                <a:cubicBezTo>
                  <a:pt x="1015" y="263"/>
                  <a:pt x="1015" y="263"/>
                  <a:pt x="1015" y="263"/>
                </a:cubicBezTo>
                <a:cubicBezTo>
                  <a:pt x="1015" y="263"/>
                  <a:pt x="1014" y="262"/>
                  <a:pt x="1014" y="262"/>
                </a:cubicBezTo>
                <a:cubicBezTo>
                  <a:pt x="1014" y="262"/>
                  <a:pt x="1013" y="261"/>
                  <a:pt x="1013" y="261"/>
                </a:cubicBezTo>
                <a:cubicBezTo>
                  <a:pt x="1012" y="262"/>
                  <a:pt x="1012" y="261"/>
                  <a:pt x="1012" y="261"/>
                </a:cubicBezTo>
                <a:cubicBezTo>
                  <a:pt x="1012" y="261"/>
                  <a:pt x="1011" y="260"/>
                  <a:pt x="1011" y="260"/>
                </a:cubicBezTo>
                <a:cubicBezTo>
                  <a:pt x="1011" y="260"/>
                  <a:pt x="1009" y="259"/>
                  <a:pt x="1009" y="259"/>
                </a:cubicBezTo>
                <a:cubicBezTo>
                  <a:pt x="1009" y="258"/>
                  <a:pt x="1008" y="258"/>
                  <a:pt x="1008" y="258"/>
                </a:cubicBezTo>
                <a:cubicBezTo>
                  <a:pt x="1009" y="257"/>
                  <a:pt x="1008" y="256"/>
                  <a:pt x="1007" y="255"/>
                </a:cubicBezTo>
                <a:cubicBezTo>
                  <a:pt x="1007" y="255"/>
                  <a:pt x="1006" y="254"/>
                  <a:pt x="1005" y="254"/>
                </a:cubicBezTo>
                <a:cubicBezTo>
                  <a:pt x="1005" y="254"/>
                  <a:pt x="1003" y="252"/>
                  <a:pt x="1002" y="252"/>
                </a:cubicBezTo>
                <a:cubicBezTo>
                  <a:pt x="1002" y="253"/>
                  <a:pt x="1003" y="254"/>
                  <a:pt x="1003" y="254"/>
                </a:cubicBezTo>
                <a:cubicBezTo>
                  <a:pt x="1003" y="254"/>
                  <a:pt x="1003" y="254"/>
                  <a:pt x="1003" y="254"/>
                </a:cubicBezTo>
                <a:cubicBezTo>
                  <a:pt x="1004" y="255"/>
                  <a:pt x="1002" y="254"/>
                  <a:pt x="1002" y="254"/>
                </a:cubicBezTo>
                <a:cubicBezTo>
                  <a:pt x="1002" y="254"/>
                  <a:pt x="1002" y="254"/>
                  <a:pt x="1001" y="254"/>
                </a:cubicBezTo>
                <a:cubicBezTo>
                  <a:pt x="1001" y="254"/>
                  <a:pt x="1000" y="254"/>
                  <a:pt x="1000" y="254"/>
                </a:cubicBezTo>
                <a:cubicBezTo>
                  <a:pt x="1001" y="254"/>
                  <a:pt x="1003" y="255"/>
                  <a:pt x="1004" y="256"/>
                </a:cubicBezTo>
                <a:cubicBezTo>
                  <a:pt x="1005" y="257"/>
                  <a:pt x="1006" y="257"/>
                  <a:pt x="1007" y="258"/>
                </a:cubicBezTo>
                <a:cubicBezTo>
                  <a:pt x="1007" y="258"/>
                  <a:pt x="1008" y="260"/>
                  <a:pt x="1008" y="260"/>
                </a:cubicBezTo>
                <a:cubicBezTo>
                  <a:pt x="1008" y="260"/>
                  <a:pt x="1007" y="258"/>
                  <a:pt x="1008" y="258"/>
                </a:cubicBezTo>
                <a:cubicBezTo>
                  <a:pt x="1008" y="258"/>
                  <a:pt x="1009" y="259"/>
                  <a:pt x="1009" y="260"/>
                </a:cubicBezTo>
                <a:cubicBezTo>
                  <a:pt x="1010" y="261"/>
                  <a:pt x="1009" y="260"/>
                  <a:pt x="1008" y="260"/>
                </a:cubicBezTo>
                <a:cubicBezTo>
                  <a:pt x="1007" y="260"/>
                  <a:pt x="1007" y="261"/>
                  <a:pt x="1008" y="261"/>
                </a:cubicBezTo>
                <a:cubicBezTo>
                  <a:pt x="1009" y="262"/>
                  <a:pt x="1010" y="261"/>
                  <a:pt x="1010" y="262"/>
                </a:cubicBezTo>
                <a:cubicBezTo>
                  <a:pt x="1009" y="262"/>
                  <a:pt x="1010" y="262"/>
                  <a:pt x="1010" y="263"/>
                </a:cubicBezTo>
                <a:cubicBezTo>
                  <a:pt x="1010" y="264"/>
                  <a:pt x="1008" y="264"/>
                  <a:pt x="1008" y="263"/>
                </a:cubicBezTo>
                <a:cubicBezTo>
                  <a:pt x="1007" y="263"/>
                  <a:pt x="1007" y="262"/>
                  <a:pt x="1006" y="262"/>
                </a:cubicBezTo>
                <a:cubicBezTo>
                  <a:pt x="1005" y="262"/>
                  <a:pt x="1005" y="262"/>
                  <a:pt x="1004" y="263"/>
                </a:cubicBezTo>
                <a:cubicBezTo>
                  <a:pt x="1004" y="264"/>
                  <a:pt x="1004" y="264"/>
                  <a:pt x="1005" y="264"/>
                </a:cubicBezTo>
                <a:cubicBezTo>
                  <a:pt x="1005" y="265"/>
                  <a:pt x="1006" y="266"/>
                  <a:pt x="1007" y="266"/>
                </a:cubicBezTo>
                <a:cubicBezTo>
                  <a:pt x="1008" y="266"/>
                  <a:pt x="1008" y="267"/>
                  <a:pt x="1009" y="268"/>
                </a:cubicBezTo>
                <a:cubicBezTo>
                  <a:pt x="1009" y="268"/>
                  <a:pt x="1009" y="269"/>
                  <a:pt x="1010" y="270"/>
                </a:cubicBezTo>
                <a:cubicBezTo>
                  <a:pt x="1010" y="271"/>
                  <a:pt x="1011" y="271"/>
                  <a:pt x="1011" y="272"/>
                </a:cubicBezTo>
                <a:cubicBezTo>
                  <a:pt x="1012" y="273"/>
                  <a:pt x="1011" y="274"/>
                  <a:pt x="1012" y="274"/>
                </a:cubicBezTo>
                <a:cubicBezTo>
                  <a:pt x="1012" y="275"/>
                  <a:pt x="1013" y="275"/>
                  <a:pt x="1013" y="276"/>
                </a:cubicBezTo>
                <a:cubicBezTo>
                  <a:pt x="1014" y="277"/>
                  <a:pt x="1014" y="277"/>
                  <a:pt x="1014" y="278"/>
                </a:cubicBezTo>
                <a:cubicBezTo>
                  <a:pt x="1015" y="278"/>
                  <a:pt x="1015" y="278"/>
                  <a:pt x="1015" y="279"/>
                </a:cubicBezTo>
                <a:cubicBezTo>
                  <a:pt x="1016" y="279"/>
                  <a:pt x="1017" y="279"/>
                  <a:pt x="1017" y="280"/>
                </a:cubicBezTo>
                <a:cubicBezTo>
                  <a:pt x="1017" y="280"/>
                  <a:pt x="1018" y="280"/>
                  <a:pt x="1018" y="281"/>
                </a:cubicBezTo>
                <a:cubicBezTo>
                  <a:pt x="1018" y="281"/>
                  <a:pt x="1017" y="281"/>
                  <a:pt x="1017" y="280"/>
                </a:cubicBezTo>
                <a:cubicBezTo>
                  <a:pt x="1018" y="281"/>
                  <a:pt x="1019" y="281"/>
                  <a:pt x="1019" y="282"/>
                </a:cubicBezTo>
                <a:cubicBezTo>
                  <a:pt x="1021" y="282"/>
                  <a:pt x="1022" y="283"/>
                  <a:pt x="1023" y="284"/>
                </a:cubicBezTo>
                <a:cubicBezTo>
                  <a:pt x="1025" y="285"/>
                  <a:pt x="1026" y="286"/>
                  <a:pt x="1027" y="287"/>
                </a:cubicBezTo>
                <a:cubicBezTo>
                  <a:pt x="1028" y="288"/>
                  <a:pt x="1028" y="289"/>
                  <a:pt x="1028" y="289"/>
                </a:cubicBezTo>
                <a:cubicBezTo>
                  <a:pt x="1028" y="290"/>
                  <a:pt x="1028" y="291"/>
                  <a:pt x="1029" y="291"/>
                </a:cubicBezTo>
                <a:cubicBezTo>
                  <a:pt x="1029" y="293"/>
                  <a:pt x="1030" y="294"/>
                  <a:pt x="1032" y="295"/>
                </a:cubicBezTo>
                <a:cubicBezTo>
                  <a:pt x="1033" y="296"/>
                  <a:pt x="1034" y="298"/>
                  <a:pt x="1035" y="299"/>
                </a:cubicBezTo>
                <a:cubicBezTo>
                  <a:pt x="1036" y="301"/>
                  <a:pt x="1037" y="302"/>
                  <a:pt x="1038" y="303"/>
                </a:cubicBezTo>
                <a:cubicBezTo>
                  <a:pt x="1039" y="304"/>
                  <a:pt x="1039" y="305"/>
                  <a:pt x="1039" y="306"/>
                </a:cubicBezTo>
                <a:cubicBezTo>
                  <a:pt x="1040" y="307"/>
                  <a:pt x="1040" y="307"/>
                  <a:pt x="1041" y="308"/>
                </a:cubicBezTo>
                <a:cubicBezTo>
                  <a:pt x="1041" y="309"/>
                  <a:pt x="1042" y="310"/>
                  <a:pt x="1042" y="312"/>
                </a:cubicBezTo>
                <a:cubicBezTo>
                  <a:pt x="1042" y="313"/>
                  <a:pt x="1045" y="315"/>
                  <a:pt x="1045" y="316"/>
                </a:cubicBezTo>
                <a:cubicBezTo>
                  <a:pt x="1047" y="317"/>
                  <a:pt x="1048" y="317"/>
                  <a:pt x="1049" y="319"/>
                </a:cubicBezTo>
                <a:cubicBezTo>
                  <a:pt x="1050" y="319"/>
                  <a:pt x="1051" y="320"/>
                  <a:pt x="1051" y="321"/>
                </a:cubicBezTo>
                <a:cubicBezTo>
                  <a:pt x="1051" y="322"/>
                  <a:pt x="1051" y="322"/>
                  <a:pt x="1051" y="323"/>
                </a:cubicBezTo>
                <a:cubicBezTo>
                  <a:pt x="1051" y="325"/>
                  <a:pt x="1052" y="326"/>
                  <a:pt x="1053" y="327"/>
                </a:cubicBezTo>
                <a:cubicBezTo>
                  <a:pt x="1054" y="329"/>
                  <a:pt x="1056" y="329"/>
                  <a:pt x="1056" y="331"/>
                </a:cubicBezTo>
                <a:cubicBezTo>
                  <a:pt x="1057" y="333"/>
                  <a:pt x="1057" y="335"/>
                  <a:pt x="1058" y="336"/>
                </a:cubicBezTo>
                <a:cubicBezTo>
                  <a:pt x="1059" y="337"/>
                  <a:pt x="1060" y="339"/>
                  <a:pt x="1061" y="340"/>
                </a:cubicBezTo>
                <a:cubicBezTo>
                  <a:pt x="1062" y="341"/>
                  <a:pt x="1063" y="342"/>
                  <a:pt x="1064" y="343"/>
                </a:cubicBezTo>
                <a:cubicBezTo>
                  <a:pt x="1064" y="342"/>
                  <a:pt x="1064" y="342"/>
                  <a:pt x="1064" y="342"/>
                </a:cubicBezTo>
                <a:cubicBezTo>
                  <a:pt x="1064" y="342"/>
                  <a:pt x="1064" y="342"/>
                  <a:pt x="1064" y="342"/>
                </a:cubicBezTo>
                <a:cubicBezTo>
                  <a:pt x="1064" y="341"/>
                  <a:pt x="1064" y="341"/>
                  <a:pt x="1064" y="340"/>
                </a:cubicBezTo>
                <a:cubicBezTo>
                  <a:pt x="1064" y="339"/>
                  <a:pt x="1063" y="338"/>
                  <a:pt x="1063" y="337"/>
                </a:cubicBezTo>
                <a:cubicBezTo>
                  <a:pt x="1063" y="337"/>
                  <a:pt x="1062" y="335"/>
                  <a:pt x="1063" y="334"/>
                </a:cubicBezTo>
                <a:cubicBezTo>
                  <a:pt x="1063" y="334"/>
                  <a:pt x="1063" y="334"/>
                  <a:pt x="1064" y="334"/>
                </a:cubicBezTo>
                <a:cubicBezTo>
                  <a:pt x="1064" y="334"/>
                  <a:pt x="1064" y="334"/>
                  <a:pt x="1064" y="334"/>
                </a:cubicBezTo>
                <a:cubicBezTo>
                  <a:pt x="1065" y="334"/>
                  <a:pt x="1065" y="335"/>
                  <a:pt x="1066" y="335"/>
                </a:cubicBezTo>
                <a:cubicBezTo>
                  <a:pt x="1066" y="335"/>
                  <a:pt x="1068" y="335"/>
                  <a:pt x="1068" y="335"/>
                </a:cubicBezTo>
                <a:cubicBezTo>
                  <a:pt x="1069" y="335"/>
                  <a:pt x="1070" y="336"/>
                  <a:pt x="1071" y="336"/>
                </a:cubicBezTo>
                <a:cubicBezTo>
                  <a:pt x="1070" y="336"/>
                  <a:pt x="1070" y="336"/>
                  <a:pt x="1070" y="336"/>
                </a:cubicBezTo>
                <a:cubicBezTo>
                  <a:pt x="1071" y="336"/>
                  <a:pt x="1071" y="336"/>
                  <a:pt x="1071" y="336"/>
                </a:cubicBezTo>
                <a:cubicBezTo>
                  <a:pt x="1071" y="336"/>
                  <a:pt x="1071" y="337"/>
                  <a:pt x="1071" y="336"/>
                </a:cubicBezTo>
                <a:cubicBezTo>
                  <a:pt x="1072" y="337"/>
                  <a:pt x="1073" y="338"/>
                  <a:pt x="1073" y="339"/>
                </a:cubicBezTo>
                <a:cubicBezTo>
                  <a:pt x="1074" y="340"/>
                  <a:pt x="1074" y="341"/>
                  <a:pt x="1075" y="341"/>
                </a:cubicBezTo>
                <a:cubicBezTo>
                  <a:pt x="1075" y="340"/>
                  <a:pt x="1074" y="339"/>
                  <a:pt x="1074" y="338"/>
                </a:cubicBezTo>
                <a:cubicBezTo>
                  <a:pt x="1074" y="337"/>
                  <a:pt x="1074" y="337"/>
                  <a:pt x="1073" y="337"/>
                </a:cubicBezTo>
                <a:close/>
                <a:moveTo>
                  <a:pt x="399" y="6"/>
                </a:moveTo>
                <a:cubicBezTo>
                  <a:pt x="400" y="6"/>
                  <a:pt x="401" y="6"/>
                  <a:pt x="402" y="6"/>
                </a:cubicBezTo>
                <a:cubicBezTo>
                  <a:pt x="403" y="6"/>
                  <a:pt x="403" y="6"/>
                  <a:pt x="404" y="5"/>
                </a:cubicBezTo>
                <a:cubicBezTo>
                  <a:pt x="403" y="5"/>
                  <a:pt x="401" y="5"/>
                  <a:pt x="400" y="5"/>
                </a:cubicBezTo>
                <a:cubicBezTo>
                  <a:pt x="398" y="5"/>
                  <a:pt x="396" y="4"/>
                  <a:pt x="395" y="5"/>
                </a:cubicBezTo>
                <a:cubicBezTo>
                  <a:pt x="394" y="5"/>
                  <a:pt x="394" y="5"/>
                  <a:pt x="394" y="5"/>
                </a:cubicBezTo>
                <a:cubicBezTo>
                  <a:pt x="395" y="6"/>
                  <a:pt x="397" y="6"/>
                  <a:pt x="399" y="6"/>
                </a:cubicBezTo>
                <a:close/>
                <a:moveTo>
                  <a:pt x="26" y="248"/>
                </a:moveTo>
                <a:cubicBezTo>
                  <a:pt x="26" y="247"/>
                  <a:pt x="25" y="247"/>
                  <a:pt x="24" y="247"/>
                </a:cubicBezTo>
                <a:cubicBezTo>
                  <a:pt x="24" y="246"/>
                  <a:pt x="24" y="245"/>
                  <a:pt x="23" y="246"/>
                </a:cubicBezTo>
                <a:cubicBezTo>
                  <a:pt x="22" y="246"/>
                  <a:pt x="21" y="245"/>
                  <a:pt x="20" y="246"/>
                </a:cubicBezTo>
                <a:cubicBezTo>
                  <a:pt x="20" y="246"/>
                  <a:pt x="19" y="246"/>
                  <a:pt x="19" y="246"/>
                </a:cubicBezTo>
                <a:cubicBezTo>
                  <a:pt x="19" y="245"/>
                  <a:pt x="18" y="245"/>
                  <a:pt x="18" y="245"/>
                </a:cubicBezTo>
                <a:cubicBezTo>
                  <a:pt x="17" y="245"/>
                  <a:pt x="17" y="245"/>
                  <a:pt x="16" y="245"/>
                </a:cubicBezTo>
                <a:cubicBezTo>
                  <a:pt x="16" y="244"/>
                  <a:pt x="15" y="244"/>
                  <a:pt x="15" y="244"/>
                </a:cubicBezTo>
                <a:cubicBezTo>
                  <a:pt x="14" y="244"/>
                  <a:pt x="14" y="243"/>
                  <a:pt x="13" y="244"/>
                </a:cubicBezTo>
                <a:cubicBezTo>
                  <a:pt x="13" y="244"/>
                  <a:pt x="12" y="244"/>
                  <a:pt x="12" y="244"/>
                </a:cubicBezTo>
                <a:cubicBezTo>
                  <a:pt x="12" y="245"/>
                  <a:pt x="12" y="246"/>
                  <a:pt x="12" y="246"/>
                </a:cubicBezTo>
                <a:cubicBezTo>
                  <a:pt x="13" y="247"/>
                  <a:pt x="13" y="247"/>
                  <a:pt x="12" y="247"/>
                </a:cubicBezTo>
                <a:cubicBezTo>
                  <a:pt x="11" y="247"/>
                  <a:pt x="10" y="248"/>
                  <a:pt x="10" y="247"/>
                </a:cubicBezTo>
                <a:cubicBezTo>
                  <a:pt x="9" y="247"/>
                  <a:pt x="8" y="247"/>
                  <a:pt x="7" y="247"/>
                </a:cubicBezTo>
                <a:cubicBezTo>
                  <a:pt x="6" y="247"/>
                  <a:pt x="7" y="246"/>
                  <a:pt x="8" y="246"/>
                </a:cubicBezTo>
                <a:cubicBezTo>
                  <a:pt x="8" y="246"/>
                  <a:pt x="9" y="245"/>
                  <a:pt x="10" y="244"/>
                </a:cubicBezTo>
                <a:cubicBezTo>
                  <a:pt x="10" y="244"/>
                  <a:pt x="11" y="243"/>
                  <a:pt x="10" y="243"/>
                </a:cubicBezTo>
                <a:cubicBezTo>
                  <a:pt x="9" y="244"/>
                  <a:pt x="8" y="246"/>
                  <a:pt x="7" y="246"/>
                </a:cubicBezTo>
                <a:cubicBezTo>
                  <a:pt x="6" y="247"/>
                  <a:pt x="4" y="247"/>
                  <a:pt x="3" y="247"/>
                </a:cubicBezTo>
                <a:cubicBezTo>
                  <a:pt x="3" y="247"/>
                  <a:pt x="2" y="247"/>
                  <a:pt x="2" y="247"/>
                </a:cubicBezTo>
                <a:cubicBezTo>
                  <a:pt x="2" y="248"/>
                  <a:pt x="2" y="248"/>
                  <a:pt x="2" y="249"/>
                </a:cubicBezTo>
                <a:cubicBezTo>
                  <a:pt x="2" y="250"/>
                  <a:pt x="1" y="251"/>
                  <a:pt x="0" y="252"/>
                </a:cubicBezTo>
                <a:cubicBezTo>
                  <a:pt x="1" y="252"/>
                  <a:pt x="1" y="250"/>
                  <a:pt x="2" y="250"/>
                </a:cubicBezTo>
                <a:cubicBezTo>
                  <a:pt x="2" y="250"/>
                  <a:pt x="2" y="249"/>
                  <a:pt x="3" y="249"/>
                </a:cubicBezTo>
                <a:cubicBezTo>
                  <a:pt x="3" y="249"/>
                  <a:pt x="3" y="250"/>
                  <a:pt x="3" y="250"/>
                </a:cubicBezTo>
                <a:cubicBezTo>
                  <a:pt x="4" y="250"/>
                  <a:pt x="4" y="250"/>
                  <a:pt x="4" y="250"/>
                </a:cubicBezTo>
                <a:cubicBezTo>
                  <a:pt x="5" y="250"/>
                  <a:pt x="5" y="250"/>
                  <a:pt x="6" y="250"/>
                </a:cubicBezTo>
                <a:cubicBezTo>
                  <a:pt x="6" y="250"/>
                  <a:pt x="6" y="250"/>
                  <a:pt x="6" y="250"/>
                </a:cubicBezTo>
                <a:cubicBezTo>
                  <a:pt x="5" y="250"/>
                  <a:pt x="4" y="250"/>
                  <a:pt x="4" y="251"/>
                </a:cubicBezTo>
                <a:cubicBezTo>
                  <a:pt x="4" y="251"/>
                  <a:pt x="3" y="251"/>
                  <a:pt x="3" y="251"/>
                </a:cubicBezTo>
                <a:cubicBezTo>
                  <a:pt x="3" y="251"/>
                  <a:pt x="3" y="251"/>
                  <a:pt x="3" y="251"/>
                </a:cubicBezTo>
                <a:cubicBezTo>
                  <a:pt x="2" y="251"/>
                  <a:pt x="3" y="251"/>
                  <a:pt x="2" y="252"/>
                </a:cubicBezTo>
                <a:cubicBezTo>
                  <a:pt x="2" y="252"/>
                  <a:pt x="1" y="252"/>
                  <a:pt x="1" y="252"/>
                </a:cubicBezTo>
                <a:cubicBezTo>
                  <a:pt x="4" y="253"/>
                  <a:pt x="6" y="253"/>
                  <a:pt x="9" y="253"/>
                </a:cubicBezTo>
                <a:cubicBezTo>
                  <a:pt x="12" y="253"/>
                  <a:pt x="15" y="253"/>
                  <a:pt x="18" y="253"/>
                </a:cubicBezTo>
                <a:cubicBezTo>
                  <a:pt x="20" y="253"/>
                  <a:pt x="23" y="253"/>
                  <a:pt x="26" y="253"/>
                </a:cubicBezTo>
                <a:cubicBezTo>
                  <a:pt x="25" y="252"/>
                  <a:pt x="25" y="251"/>
                  <a:pt x="25" y="250"/>
                </a:cubicBezTo>
                <a:cubicBezTo>
                  <a:pt x="25" y="249"/>
                  <a:pt x="26" y="249"/>
                  <a:pt x="26" y="248"/>
                </a:cubicBezTo>
                <a:close/>
                <a:moveTo>
                  <a:pt x="954" y="246"/>
                </a:moveTo>
                <a:cubicBezTo>
                  <a:pt x="954" y="246"/>
                  <a:pt x="954" y="247"/>
                  <a:pt x="954" y="247"/>
                </a:cubicBezTo>
                <a:cubicBezTo>
                  <a:pt x="954" y="248"/>
                  <a:pt x="954" y="248"/>
                  <a:pt x="955" y="249"/>
                </a:cubicBezTo>
                <a:cubicBezTo>
                  <a:pt x="955" y="249"/>
                  <a:pt x="955" y="248"/>
                  <a:pt x="955" y="248"/>
                </a:cubicBezTo>
                <a:cubicBezTo>
                  <a:pt x="956" y="247"/>
                  <a:pt x="957" y="248"/>
                  <a:pt x="957" y="249"/>
                </a:cubicBezTo>
                <a:cubicBezTo>
                  <a:pt x="958" y="249"/>
                  <a:pt x="959" y="250"/>
                  <a:pt x="960" y="250"/>
                </a:cubicBezTo>
                <a:cubicBezTo>
                  <a:pt x="960" y="250"/>
                  <a:pt x="960" y="249"/>
                  <a:pt x="960" y="249"/>
                </a:cubicBezTo>
                <a:cubicBezTo>
                  <a:pt x="960" y="249"/>
                  <a:pt x="961" y="248"/>
                  <a:pt x="960" y="248"/>
                </a:cubicBezTo>
                <a:cubicBezTo>
                  <a:pt x="960" y="248"/>
                  <a:pt x="960" y="247"/>
                  <a:pt x="960" y="247"/>
                </a:cubicBezTo>
                <a:cubicBezTo>
                  <a:pt x="960" y="246"/>
                  <a:pt x="960" y="246"/>
                  <a:pt x="960" y="246"/>
                </a:cubicBezTo>
                <a:cubicBezTo>
                  <a:pt x="960" y="245"/>
                  <a:pt x="959" y="246"/>
                  <a:pt x="958" y="246"/>
                </a:cubicBezTo>
                <a:cubicBezTo>
                  <a:pt x="958" y="247"/>
                  <a:pt x="958" y="246"/>
                  <a:pt x="958" y="246"/>
                </a:cubicBezTo>
                <a:cubicBezTo>
                  <a:pt x="958" y="245"/>
                  <a:pt x="958" y="245"/>
                  <a:pt x="957" y="245"/>
                </a:cubicBezTo>
                <a:cubicBezTo>
                  <a:pt x="957" y="245"/>
                  <a:pt x="956" y="245"/>
                  <a:pt x="956" y="245"/>
                </a:cubicBezTo>
                <a:cubicBezTo>
                  <a:pt x="956" y="245"/>
                  <a:pt x="955" y="245"/>
                  <a:pt x="955" y="244"/>
                </a:cubicBezTo>
                <a:cubicBezTo>
                  <a:pt x="955" y="244"/>
                  <a:pt x="954" y="244"/>
                  <a:pt x="954" y="245"/>
                </a:cubicBezTo>
                <a:cubicBezTo>
                  <a:pt x="954" y="245"/>
                  <a:pt x="954" y="245"/>
                  <a:pt x="954" y="245"/>
                </a:cubicBezTo>
                <a:cubicBezTo>
                  <a:pt x="954" y="246"/>
                  <a:pt x="954" y="246"/>
                  <a:pt x="954" y="246"/>
                </a:cubicBezTo>
                <a:cubicBezTo>
                  <a:pt x="954" y="246"/>
                  <a:pt x="954" y="246"/>
                  <a:pt x="954" y="246"/>
                </a:cubicBezTo>
                <a:close/>
                <a:moveTo>
                  <a:pt x="1126" y="348"/>
                </a:moveTo>
                <a:cubicBezTo>
                  <a:pt x="1126" y="347"/>
                  <a:pt x="1126" y="347"/>
                  <a:pt x="1125" y="347"/>
                </a:cubicBezTo>
                <a:cubicBezTo>
                  <a:pt x="1124" y="347"/>
                  <a:pt x="1124" y="348"/>
                  <a:pt x="1123" y="349"/>
                </a:cubicBezTo>
                <a:cubicBezTo>
                  <a:pt x="1123" y="350"/>
                  <a:pt x="1121" y="350"/>
                  <a:pt x="1120" y="349"/>
                </a:cubicBezTo>
                <a:cubicBezTo>
                  <a:pt x="1120" y="349"/>
                  <a:pt x="1119" y="348"/>
                  <a:pt x="1119" y="348"/>
                </a:cubicBezTo>
                <a:cubicBezTo>
                  <a:pt x="1118" y="348"/>
                  <a:pt x="1119" y="349"/>
                  <a:pt x="1119" y="349"/>
                </a:cubicBezTo>
                <a:cubicBezTo>
                  <a:pt x="1119" y="349"/>
                  <a:pt x="1119" y="350"/>
                  <a:pt x="1119" y="350"/>
                </a:cubicBezTo>
                <a:cubicBezTo>
                  <a:pt x="1119" y="350"/>
                  <a:pt x="1119" y="350"/>
                  <a:pt x="1119" y="351"/>
                </a:cubicBezTo>
                <a:cubicBezTo>
                  <a:pt x="1118" y="351"/>
                  <a:pt x="1119" y="352"/>
                  <a:pt x="1118" y="352"/>
                </a:cubicBezTo>
                <a:cubicBezTo>
                  <a:pt x="1118" y="352"/>
                  <a:pt x="1117" y="351"/>
                  <a:pt x="1117" y="352"/>
                </a:cubicBezTo>
                <a:cubicBezTo>
                  <a:pt x="1118" y="353"/>
                  <a:pt x="1118" y="353"/>
                  <a:pt x="1117" y="354"/>
                </a:cubicBezTo>
                <a:cubicBezTo>
                  <a:pt x="1117" y="354"/>
                  <a:pt x="1117" y="354"/>
                  <a:pt x="1117" y="354"/>
                </a:cubicBezTo>
                <a:cubicBezTo>
                  <a:pt x="1116" y="354"/>
                  <a:pt x="1117" y="355"/>
                  <a:pt x="1116" y="355"/>
                </a:cubicBezTo>
                <a:cubicBezTo>
                  <a:pt x="1116" y="355"/>
                  <a:pt x="1115" y="355"/>
                  <a:pt x="1116" y="355"/>
                </a:cubicBezTo>
                <a:cubicBezTo>
                  <a:pt x="1116" y="355"/>
                  <a:pt x="1117" y="355"/>
                  <a:pt x="1117" y="356"/>
                </a:cubicBezTo>
                <a:cubicBezTo>
                  <a:pt x="1118" y="357"/>
                  <a:pt x="1116" y="357"/>
                  <a:pt x="1116" y="357"/>
                </a:cubicBezTo>
                <a:cubicBezTo>
                  <a:pt x="1116" y="357"/>
                  <a:pt x="1116" y="357"/>
                  <a:pt x="1116" y="357"/>
                </a:cubicBezTo>
                <a:cubicBezTo>
                  <a:pt x="1117" y="358"/>
                  <a:pt x="1116" y="357"/>
                  <a:pt x="1116" y="357"/>
                </a:cubicBezTo>
                <a:cubicBezTo>
                  <a:pt x="1116" y="357"/>
                  <a:pt x="1116" y="357"/>
                  <a:pt x="1116" y="357"/>
                </a:cubicBezTo>
                <a:cubicBezTo>
                  <a:pt x="1116" y="358"/>
                  <a:pt x="1116" y="358"/>
                  <a:pt x="1116" y="358"/>
                </a:cubicBezTo>
                <a:cubicBezTo>
                  <a:pt x="1116" y="359"/>
                  <a:pt x="1116" y="359"/>
                  <a:pt x="1117" y="359"/>
                </a:cubicBezTo>
                <a:cubicBezTo>
                  <a:pt x="1117" y="359"/>
                  <a:pt x="1117" y="358"/>
                  <a:pt x="1117" y="358"/>
                </a:cubicBezTo>
                <a:cubicBezTo>
                  <a:pt x="1117" y="358"/>
                  <a:pt x="1118" y="358"/>
                  <a:pt x="1118" y="358"/>
                </a:cubicBezTo>
                <a:cubicBezTo>
                  <a:pt x="1119" y="358"/>
                  <a:pt x="1118" y="357"/>
                  <a:pt x="1118" y="356"/>
                </a:cubicBezTo>
                <a:cubicBezTo>
                  <a:pt x="1118" y="356"/>
                  <a:pt x="1119" y="355"/>
                  <a:pt x="1119" y="355"/>
                </a:cubicBezTo>
                <a:cubicBezTo>
                  <a:pt x="1120" y="354"/>
                  <a:pt x="1119" y="353"/>
                  <a:pt x="1120" y="353"/>
                </a:cubicBezTo>
                <a:cubicBezTo>
                  <a:pt x="1120" y="353"/>
                  <a:pt x="1120" y="353"/>
                  <a:pt x="1121" y="353"/>
                </a:cubicBezTo>
                <a:cubicBezTo>
                  <a:pt x="1122" y="353"/>
                  <a:pt x="1122" y="352"/>
                  <a:pt x="1122" y="352"/>
                </a:cubicBezTo>
                <a:cubicBezTo>
                  <a:pt x="1122" y="350"/>
                  <a:pt x="1124" y="350"/>
                  <a:pt x="1124" y="349"/>
                </a:cubicBezTo>
                <a:cubicBezTo>
                  <a:pt x="1125" y="349"/>
                  <a:pt x="1125" y="349"/>
                  <a:pt x="1126" y="349"/>
                </a:cubicBezTo>
                <a:cubicBezTo>
                  <a:pt x="1127" y="349"/>
                  <a:pt x="1127" y="349"/>
                  <a:pt x="1127" y="348"/>
                </a:cubicBezTo>
                <a:cubicBezTo>
                  <a:pt x="1126" y="348"/>
                  <a:pt x="1126" y="348"/>
                  <a:pt x="1126" y="348"/>
                </a:cubicBezTo>
                <a:close/>
                <a:moveTo>
                  <a:pt x="1113" y="359"/>
                </a:moveTo>
                <a:cubicBezTo>
                  <a:pt x="1112" y="359"/>
                  <a:pt x="1111" y="358"/>
                  <a:pt x="1110" y="358"/>
                </a:cubicBezTo>
                <a:cubicBezTo>
                  <a:pt x="1109" y="358"/>
                  <a:pt x="1109" y="360"/>
                  <a:pt x="1109" y="360"/>
                </a:cubicBezTo>
                <a:cubicBezTo>
                  <a:pt x="1109" y="360"/>
                  <a:pt x="1109" y="360"/>
                  <a:pt x="1109" y="361"/>
                </a:cubicBezTo>
                <a:cubicBezTo>
                  <a:pt x="1109" y="361"/>
                  <a:pt x="1109" y="361"/>
                  <a:pt x="1109" y="361"/>
                </a:cubicBezTo>
                <a:cubicBezTo>
                  <a:pt x="1109" y="362"/>
                  <a:pt x="1109" y="362"/>
                  <a:pt x="1109" y="363"/>
                </a:cubicBezTo>
                <a:cubicBezTo>
                  <a:pt x="1109" y="363"/>
                  <a:pt x="1108" y="364"/>
                  <a:pt x="1108" y="365"/>
                </a:cubicBezTo>
                <a:cubicBezTo>
                  <a:pt x="1108" y="365"/>
                  <a:pt x="1108" y="365"/>
                  <a:pt x="1108" y="366"/>
                </a:cubicBezTo>
                <a:cubicBezTo>
                  <a:pt x="1109" y="366"/>
                  <a:pt x="1109" y="366"/>
                  <a:pt x="1109" y="366"/>
                </a:cubicBezTo>
                <a:cubicBezTo>
                  <a:pt x="1110" y="366"/>
                  <a:pt x="1110" y="367"/>
                  <a:pt x="1110" y="367"/>
                </a:cubicBezTo>
                <a:cubicBezTo>
                  <a:pt x="1110" y="367"/>
                  <a:pt x="1108" y="365"/>
                  <a:pt x="1110" y="365"/>
                </a:cubicBezTo>
                <a:cubicBezTo>
                  <a:pt x="1110" y="364"/>
                  <a:pt x="1110" y="364"/>
                  <a:pt x="1110" y="364"/>
                </a:cubicBezTo>
                <a:cubicBezTo>
                  <a:pt x="1110" y="363"/>
                  <a:pt x="1111" y="363"/>
                  <a:pt x="1111" y="363"/>
                </a:cubicBezTo>
                <a:cubicBezTo>
                  <a:pt x="1111" y="363"/>
                  <a:pt x="1110" y="362"/>
                  <a:pt x="1111" y="362"/>
                </a:cubicBezTo>
                <a:cubicBezTo>
                  <a:pt x="1111" y="361"/>
                  <a:pt x="1111" y="361"/>
                  <a:pt x="1111" y="360"/>
                </a:cubicBezTo>
                <a:cubicBezTo>
                  <a:pt x="1112" y="360"/>
                  <a:pt x="1112" y="361"/>
                  <a:pt x="1113" y="360"/>
                </a:cubicBezTo>
                <a:cubicBezTo>
                  <a:pt x="1113" y="360"/>
                  <a:pt x="1113" y="359"/>
                  <a:pt x="1113" y="359"/>
                </a:cubicBezTo>
                <a:cubicBezTo>
                  <a:pt x="1114" y="359"/>
                  <a:pt x="1114" y="359"/>
                  <a:pt x="1114" y="359"/>
                </a:cubicBezTo>
                <a:cubicBezTo>
                  <a:pt x="1113" y="358"/>
                  <a:pt x="1113" y="359"/>
                  <a:pt x="1113" y="359"/>
                </a:cubicBezTo>
                <a:close/>
                <a:moveTo>
                  <a:pt x="191" y="5"/>
                </a:moveTo>
                <a:cubicBezTo>
                  <a:pt x="191" y="5"/>
                  <a:pt x="193" y="5"/>
                  <a:pt x="194" y="5"/>
                </a:cubicBezTo>
                <a:cubicBezTo>
                  <a:pt x="195" y="5"/>
                  <a:pt x="196" y="5"/>
                  <a:pt x="197" y="5"/>
                </a:cubicBezTo>
                <a:cubicBezTo>
                  <a:pt x="198" y="5"/>
                  <a:pt x="199" y="4"/>
                  <a:pt x="201" y="4"/>
                </a:cubicBezTo>
                <a:cubicBezTo>
                  <a:pt x="202" y="4"/>
                  <a:pt x="203" y="5"/>
                  <a:pt x="204" y="4"/>
                </a:cubicBezTo>
                <a:cubicBezTo>
                  <a:pt x="202" y="4"/>
                  <a:pt x="201" y="4"/>
                  <a:pt x="199" y="4"/>
                </a:cubicBezTo>
                <a:cubicBezTo>
                  <a:pt x="198" y="4"/>
                  <a:pt x="196" y="3"/>
                  <a:pt x="195" y="4"/>
                </a:cubicBezTo>
                <a:cubicBezTo>
                  <a:pt x="195" y="4"/>
                  <a:pt x="196" y="4"/>
                  <a:pt x="196" y="4"/>
                </a:cubicBezTo>
                <a:cubicBezTo>
                  <a:pt x="194" y="5"/>
                  <a:pt x="192" y="4"/>
                  <a:pt x="190" y="4"/>
                </a:cubicBezTo>
                <a:cubicBezTo>
                  <a:pt x="190" y="4"/>
                  <a:pt x="190" y="4"/>
                  <a:pt x="190" y="4"/>
                </a:cubicBezTo>
                <a:cubicBezTo>
                  <a:pt x="190" y="4"/>
                  <a:pt x="191" y="4"/>
                  <a:pt x="191" y="5"/>
                </a:cubicBezTo>
                <a:close/>
                <a:moveTo>
                  <a:pt x="806" y="40"/>
                </a:moveTo>
                <a:cubicBezTo>
                  <a:pt x="807" y="40"/>
                  <a:pt x="808" y="40"/>
                  <a:pt x="808" y="40"/>
                </a:cubicBezTo>
                <a:cubicBezTo>
                  <a:pt x="808" y="40"/>
                  <a:pt x="808" y="40"/>
                  <a:pt x="808" y="39"/>
                </a:cubicBezTo>
                <a:cubicBezTo>
                  <a:pt x="808" y="39"/>
                  <a:pt x="807" y="39"/>
                  <a:pt x="807" y="39"/>
                </a:cubicBezTo>
                <a:cubicBezTo>
                  <a:pt x="806" y="39"/>
                  <a:pt x="806" y="39"/>
                  <a:pt x="805" y="40"/>
                </a:cubicBezTo>
                <a:cubicBezTo>
                  <a:pt x="805" y="40"/>
                  <a:pt x="803" y="40"/>
                  <a:pt x="804" y="40"/>
                </a:cubicBezTo>
                <a:cubicBezTo>
                  <a:pt x="805" y="40"/>
                  <a:pt x="805" y="40"/>
                  <a:pt x="806" y="40"/>
                </a:cubicBezTo>
                <a:close/>
                <a:moveTo>
                  <a:pt x="226" y="6"/>
                </a:moveTo>
                <a:cubicBezTo>
                  <a:pt x="226" y="6"/>
                  <a:pt x="227" y="6"/>
                  <a:pt x="227" y="6"/>
                </a:cubicBezTo>
                <a:cubicBezTo>
                  <a:pt x="227" y="6"/>
                  <a:pt x="227" y="6"/>
                  <a:pt x="227" y="6"/>
                </a:cubicBezTo>
                <a:cubicBezTo>
                  <a:pt x="225" y="5"/>
                  <a:pt x="221" y="6"/>
                  <a:pt x="219" y="6"/>
                </a:cubicBezTo>
                <a:cubicBezTo>
                  <a:pt x="218" y="6"/>
                  <a:pt x="218" y="6"/>
                  <a:pt x="218" y="6"/>
                </a:cubicBezTo>
                <a:cubicBezTo>
                  <a:pt x="220" y="7"/>
                  <a:pt x="222" y="7"/>
                  <a:pt x="223" y="7"/>
                </a:cubicBezTo>
                <a:cubicBezTo>
                  <a:pt x="224" y="7"/>
                  <a:pt x="225" y="7"/>
                  <a:pt x="226" y="6"/>
                </a:cubicBezTo>
                <a:close/>
                <a:moveTo>
                  <a:pt x="232" y="2"/>
                </a:moveTo>
                <a:cubicBezTo>
                  <a:pt x="233" y="2"/>
                  <a:pt x="234" y="2"/>
                  <a:pt x="235" y="2"/>
                </a:cubicBezTo>
                <a:cubicBezTo>
                  <a:pt x="235" y="2"/>
                  <a:pt x="237" y="2"/>
                  <a:pt x="237" y="2"/>
                </a:cubicBezTo>
                <a:cubicBezTo>
                  <a:pt x="237" y="1"/>
                  <a:pt x="236" y="1"/>
                  <a:pt x="235" y="1"/>
                </a:cubicBezTo>
                <a:cubicBezTo>
                  <a:pt x="234" y="1"/>
                  <a:pt x="233" y="1"/>
                  <a:pt x="232" y="1"/>
                </a:cubicBezTo>
                <a:cubicBezTo>
                  <a:pt x="231" y="1"/>
                  <a:pt x="229" y="1"/>
                  <a:pt x="227" y="1"/>
                </a:cubicBezTo>
                <a:cubicBezTo>
                  <a:pt x="227" y="2"/>
                  <a:pt x="227" y="2"/>
                  <a:pt x="227" y="2"/>
                </a:cubicBezTo>
                <a:cubicBezTo>
                  <a:pt x="228" y="2"/>
                  <a:pt x="229" y="2"/>
                  <a:pt x="230" y="2"/>
                </a:cubicBezTo>
                <a:cubicBezTo>
                  <a:pt x="231" y="2"/>
                  <a:pt x="231" y="2"/>
                  <a:pt x="232" y="2"/>
                </a:cubicBezTo>
                <a:close/>
                <a:moveTo>
                  <a:pt x="750" y="61"/>
                </a:moveTo>
                <a:cubicBezTo>
                  <a:pt x="751" y="61"/>
                  <a:pt x="753" y="62"/>
                  <a:pt x="755" y="63"/>
                </a:cubicBezTo>
                <a:cubicBezTo>
                  <a:pt x="755" y="63"/>
                  <a:pt x="756" y="63"/>
                  <a:pt x="757" y="63"/>
                </a:cubicBezTo>
                <a:cubicBezTo>
                  <a:pt x="758" y="64"/>
                  <a:pt x="759" y="64"/>
                  <a:pt x="759" y="64"/>
                </a:cubicBezTo>
                <a:cubicBezTo>
                  <a:pt x="760" y="63"/>
                  <a:pt x="751" y="61"/>
                  <a:pt x="750" y="61"/>
                </a:cubicBezTo>
                <a:cubicBezTo>
                  <a:pt x="750" y="61"/>
                  <a:pt x="750" y="61"/>
                  <a:pt x="750" y="61"/>
                </a:cubicBezTo>
                <a:close/>
                <a:moveTo>
                  <a:pt x="789" y="62"/>
                </a:moveTo>
                <a:cubicBezTo>
                  <a:pt x="788" y="61"/>
                  <a:pt x="786" y="60"/>
                  <a:pt x="784" y="60"/>
                </a:cubicBezTo>
                <a:cubicBezTo>
                  <a:pt x="783" y="60"/>
                  <a:pt x="781" y="61"/>
                  <a:pt x="782" y="62"/>
                </a:cubicBezTo>
                <a:cubicBezTo>
                  <a:pt x="784" y="63"/>
                  <a:pt x="786" y="63"/>
                  <a:pt x="787" y="64"/>
                </a:cubicBezTo>
                <a:cubicBezTo>
                  <a:pt x="788" y="64"/>
                  <a:pt x="789" y="63"/>
                  <a:pt x="790" y="63"/>
                </a:cubicBezTo>
                <a:cubicBezTo>
                  <a:pt x="791" y="63"/>
                  <a:pt x="789" y="62"/>
                  <a:pt x="789" y="62"/>
                </a:cubicBezTo>
                <a:close/>
                <a:moveTo>
                  <a:pt x="220" y="14"/>
                </a:moveTo>
                <a:cubicBezTo>
                  <a:pt x="221" y="14"/>
                  <a:pt x="222" y="14"/>
                  <a:pt x="223" y="14"/>
                </a:cubicBezTo>
                <a:cubicBezTo>
                  <a:pt x="222" y="14"/>
                  <a:pt x="222" y="13"/>
                  <a:pt x="221" y="13"/>
                </a:cubicBezTo>
                <a:cubicBezTo>
                  <a:pt x="221" y="13"/>
                  <a:pt x="220" y="13"/>
                  <a:pt x="219" y="13"/>
                </a:cubicBezTo>
                <a:cubicBezTo>
                  <a:pt x="218" y="13"/>
                  <a:pt x="217" y="13"/>
                  <a:pt x="216" y="13"/>
                </a:cubicBezTo>
                <a:cubicBezTo>
                  <a:pt x="215" y="13"/>
                  <a:pt x="216" y="14"/>
                  <a:pt x="217" y="14"/>
                </a:cubicBezTo>
                <a:cubicBezTo>
                  <a:pt x="218" y="14"/>
                  <a:pt x="219" y="14"/>
                  <a:pt x="220" y="14"/>
                </a:cubicBezTo>
                <a:close/>
                <a:moveTo>
                  <a:pt x="188" y="8"/>
                </a:moveTo>
                <a:cubicBezTo>
                  <a:pt x="188" y="9"/>
                  <a:pt x="191" y="8"/>
                  <a:pt x="191" y="8"/>
                </a:cubicBezTo>
                <a:cubicBezTo>
                  <a:pt x="193" y="8"/>
                  <a:pt x="194" y="8"/>
                  <a:pt x="195" y="8"/>
                </a:cubicBezTo>
                <a:cubicBezTo>
                  <a:pt x="194" y="7"/>
                  <a:pt x="193" y="8"/>
                  <a:pt x="191" y="7"/>
                </a:cubicBezTo>
                <a:cubicBezTo>
                  <a:pt x="190" y="7"/>
                  <a:pt x="189" y="7"/>
                  <a:pt x="188" y="7"/>
                </a:cubicBezTo>
                <a:cubicBezTo>
                  <a:pt x="188" y="8"/>
                  <a:pt x="187" y="7"/>
                  <a:pt x="186" y="7"/>
                </a:cubicBezTo>
                <a:cubicBezTo>
                  <a:pt x="185" y="7"/>
                  <a:pt x="184" y="7"/>
                  <a:pt x="183" y="8"/>
                </a:cubicBezTo>
                <a:cubicBezTo>
                  <a:pt x="183" y="8"/>
                  <a:pt x="187" y="8"/>
                  <a:pt x="188" y="8"/>
                </a:cubicBezTo>
                <a:close/>
                <a:moveTo>
                  <a:pt x="324" y="71"/>
                </a:moveTo>
                <a:cubicBezTo>
                  <a:pt x="324" y="72"/>
                  <a:pt x="325" y="72"/>
                  <a:pt x="325" y="71"/>
                </a:cubicBezTo>
                <a:cubicBezTo>
                  <a:pt x="325" y="71"/>
                  <a:pt x="325" y="71"/>
                  <a:pt x="324" y="71"/>
                </a:cubicBezTo>
                <a:cubicBezTo>
                  <a:pt x="324" y="71"/>
                  <a:pt x="325" y="71"/>
                  <a:pt x="325" y="71"/>
                </a:cubicBezTo>
                <a:cubicBezTo>
                  <a:pt x="326" y="71"/>
                  <a:pt x="326" y="72"/>
                  <a:pt x="327" y="71"/>
                </a:cubicBezTo>
                <a:cubicBezTo>
                  <a:pt x="328" y="71"/>
                  <a:pt x="329" y="71"/>
                  <a:pt x="330" y="71"/>
                </a:cubicBezTo>
                <a:cubicBezTo>
                  <a:pt x="331" y="71"/>
                  <a:pt x="332" y="71"/>
                  <a:pt x="333" y="70"/>
                </a:cubicBezTo>
                <a:cubicBezTo>
                  <a:pt x="333" y="70"/>
                  <a:pt x="336" y="70"/>
                  <a:pt x="334" y="70"/>
                </a:cubicBezTo>
                <a:cubicBezTo>
                  <a:pt x="334" y="69"/>
                  <a:pt x="333" y="69"/>
                  <a:pt x="333" y="69"/>
                </a:cubicBezTo>
                <a:cubicBezTo>
                  <a:pt x="332" y="69"/>
                  <a:pt x="332" y="69"/>
                  <a:pt x="332" y="69"/>
                </a:cubicBezTo>
                <a:cubicBezTo>
                  <a:pt x="332" y="69"/>
                  <a:pt x="330" y="69"/>
                  <a:pt x="330" y="69"/>
                </a:cubicBezTo>
                <a:cubicBezTo>
                  <a:pt x="330" y="69"/>
                  <a:pt x="330" y="69"/>
                  <a:pt x="330" y="69"/>
                </a:cubicBezTo>
                <a:cubicBezTo>
                  <a:pt x="330" y="69"/>
                  <a:pt x="330" y="68"/>
                  <a:pt x="330" y="68"/>
                </a:cubicBezTo>
                <a:cubicBezTo>
                  <a:pt x="330" y="68"/>
                  <a:pt x="330" y="68"/>
                  <a:pt x="331" y="68"/>
                </a:cubicBezTo>
                <a:cubicBezTo>
                  <a:pt x="330" y="67"/>
                  <a:pt x="328" y="67"/>
                  <a:pt x="327" y="67"/>
                </a:cubicBezTo>
                <a:cubicBezTo>
                  <a:pt x="327" y="67"/>
                  <a:pt x="326" y="67"/>
                  <a:pt x="325" y="67"/>
                </a:cubicBezTo>
                <a:cubicBezTo>
                  <a:pt x="324" y="68"/>
                  <a:pt x="323" y="68"/>
                  <a:pt x="322" y="68"/>
                </a:cubicBezTo>
                <a:cubicBezTo>
                  <a:pt x="322" y="68"/>
                  <a:pt x="324" y="69"/>
                  <a:pt x="324" y="70"/>
                </a:cubicBezTo>
                <a:cubicBezTo>
                  <a:pt x="324" y="70"/>
                  <a:pt x="323" y="71"/>
                  <a:pt x="324" y="71"/>
                </a:cubicBezTo>
                <a:close/>
                <a:moveTo>
                  <a:pt x="1134" y="339"/>
                </a:moveTo>
                <a:cubicBezTo>
                  <a:pt x="1134" y="339"/>
                  <a:pt x="1133" y="340"/>
                  <a:pt x="1133" y="340"/>
                </a:cubicBezTo>
                <a:cubicBezTo>
                  <a:pt x="1133" y="340"/>
                  <a:pt x="1133" y="340"/>
                  <a:pt x="1133" y="341"/>
                </a:cubicBezTo>
                <a:cubicBezTo>
                  <a:pt x="1133" y="341"/>
                  <a:pt x="1132" y="341"/>
                  <a:pt x="1132" y="341"/>
                </a:cubicBezTo>
                <a:cubicBezTo>
                  <a:pt x="1131" y="342"/>
                  <a:pt x="1132" y="342"/>
                  <a:pt x="1131" y="343"/>
                </a:cubicBezTo>
                <a:cubicBezTo>
                  <a:pt x="1131" y="343"/>
                  <a:pt x="1131" y="343"/>
                  <a:pt x="1130" y="343"/>
                </a:cubicBezTo>
                <a:cubicBezTo>
                  <a:pt x="1130" y="344"/>
                  <a:pt x="1131" y="346"/>
                  <a:pt x="1130" y="346"/>
                </a:cubicBezTo>
                <a:cubicBezTo>
                  <a:pt x="1131" y="346"/>
                  <a:pt x="1132" y="346"/>
                  <a:pt x="1131" y="346"/>
                </a:cubicBezTo>
                <a:cubicBezTo>
                  <a:pt x="1132" y="346"/>
                  <a:pt x="1132" y="345"/>
                  <a:pt x="1132" y="345"/>
                </a:cubicBezTo>
                <a:cubicBezTo>
                  <a:pt x="1133" y="345"/>
                  <a:pt x="1133" y="343"/>
                  <a:pt x="1133" y="344"/>
                </a:cubicBezTo>
                <a:cubicBezTo>
                  <a:pt x="1134" y="344"/>
                  <a:pt x="1134" y="342"/>
                  <a:pt x="1134" y="342"/>
                </a:cubicBezTo>
                <a:cubicBezTo>
                  <a:pt x="1134" y="341"/>
                  <a:pt x="1135" y="340"/>
                  <a:pt x="1135" y="340"/>
                </a:cubicBezTo>
                <a:cubicBezTo>
                  <a:pt x="1135" y="340"/>
                  <a:pt x="1134" y="339"/>
                  <a:pt x="1134" y="339"/>
                </a:cubicBezTo>
                <a:close/>
                <a:moveTo>
                  <a:pt x="234" y="8"/>
                </a:moveTo>
                <a:cubicBezTo>
                  <a:pt x="234" y="8"/>
                  <a:pt x="237" y="8"/>
                  <a:pt x="237" y="8"/>
                </a:cubicBezTo>
                <a:cubicBezTo>
                  <a:pt x="239" y="9"/>
                  <a:pt x="240" y="9"/>
                  <a:pt x="242" y="8"/>
                </a:cubicBezTo>
                <a:cubicBezTo>
                  <a:pt x="245" y="8"/>
                  <a:pt x="248" y="8"/>
                  <a:pt x="251" y="7"/>
                </a:cubicBezTo>
                <a:cubicBezTo>
                  <a:pt x="251" y="7"/>
                  <a:pt x="250" y="6"/>
                  <a:pt x="250" y="6"/>
                </a:cubicBezTo>
                <a:cubicBezTo>
                  <a:pt x="250" y="6"/>
                  <a:pt x="250" y="6"/>
                  <a:pt x="250" y="6"/>
                </a:cubicBezTo>
                <a:cubicBezTo>
                  <a:pt x="250" y="6"/>
                  <a:pt x="246" y="5"/>
                  <a:pt x="246" y="5"/>
                </a:cubicBezTo>
                <a:cubicBezTo>
                  <a:pt x="245" y="5"/>
                  <a:pt x="244" y="5"/>
                  <a:pt x="243" y="5"/>
                </a:cubicBezTo>
                <a:cubicBezTo>
                  <a:pt x="242" y="5"/>
                  <a:pt x="242" y="6"/>
                  <a:pt x="242" y="6"/>
                </a:cubicBezTo>
                <a:cubicBezTo>
                  <a:pt x="243" y="6"/>
                  <a:pt x="243" y="6"/>
                  <a:pt x="242" y="6"/>
                </a:cubicBezTo>
                <a:cubicBezTo>
                  <a:pt x="242" y="6"/>
                  <a:pt x="242" y="6"/>
                  <a:pt x="242" y="7"/>
                </a:cubicBezTo>
                <a:cubicBezTo>
                  <a:pt x="241" y="7"/>
                  <a:pt x="240" y="6"/>
                  <a:pt x="239" y="6"/>
                </a:cubicBezTo>
                <a:cubicBezTo>
                  <a:pt x="238" y="6"/>
                  <a:pt x="237" y="7"/>
                  <a:pt x="236" y="7"/>
                </a:cubicBezTo>
                <a:cubicBezTo>
                  <a:pt x="235" y="7"/>
                  <a:pt x="234" y="7"/>
                  <a:pt x="234" y="8"/>
                </a:cubicBezTo>
                <a:close/>
                <a:moveTo>
                  <a:pt x="411" y="14"/>
                </a:moveTo>
                <a:cubicBezTo>
                  <a:pt x="411" y="14"/>
                  <a:pt x="411" y="14"/>
                  <a:pt x="411" y="14"/>
                </a:cubicBezTo>
                <a:cubicBezTo>
                  <a:pt x="411" y="14"/>
                  <a:pt x="412" y="14"/>
                  <a:pt x="412" y="14"/>
                </a:cubicBezTo>
                <a:cubicBezTo>
                  <a:pt x="412" y="14"/>
                  <a:pt x="411" y="15"/>
                  <a:pt x="412" y="15"/>
                </a:cubicBezTo>
                <a:cubicBezTo>
                  <a:pt x="413" y="15"/>
                  <a:pt x="414" y="15"/>
                  <a:pt x="415" y="15"/>
                </a:cubicBezTo>
                <a:cubicBezTo>
                  <a:pt x="416" y="15"/>
                  <a:pt x="419" y="15"/>
                  <a:pt x="420" y="16"/>
                </a:cubicBezTo>
                <a:cubicBezTo>
                  <a:pt x="420" y="16"/>
                  <a:pt x="419" y="16"/>
                  <a:pt x="418" y="16"/>
                </a:cubicBezTo>
                <a:cubicBezTo>
                  <a:pt x="419" y="17"/>
                  <a:pt x="421" y="16"/>
                  <a:pt x="422" y="16"/>
                </a:cubicBezTo>
                <a:cubicBezTo>
                  <a:pt x="423" y="16"/>
                  <a:pt x="425" y="16"/>
                  <a:pt x="426" y="15"/>
                </a:cubicBezTo>
                <a:cubicBezTo>
                  <a:pt x="426" y="15"/>
                  <a:pt x="428" y="15"/>
                  <a:pt x="428" y="14"/>
                </a:cubicBezTo>
                <a:cubicBezTo>
                  <a:pt x="426" y="14"/>
                  <a:pt x="424" y="14"/>
                  <a:pt x="423" y="14"/>
                </a:cubicBezTo>
                <a:cubicBezTo>
                  <a:pt x="420" y="13"/>
                  <a:pt x="417" y="13"/>
                  <a:pt x="415" y="13"/>
                </a:cubicBezTo>
                <a:cubicBezTo>
                  <a:pt x="414" y="13"/>
                  <a:pt x="413" y="13"/>
                  <a:pt x="411" y="13"/>
                </a:cubicBezTo>
                <a:cubicBezTo>
                  <a:pt x="411" y="13"/>
                  <a:pt x="410" y="13"/>
                  <a:pt x="409" y="13"/>
                </a:cubicBezTo>
                <a:cubicBezTo>
                  <a:pt x="409" y="13"/>
                  <a:pt x="411" y="13"/>
                  <a:pt x="411" y="14"/>
                </a:cubicBezTo>
                <a:close/>
                <a:moveTo>
                  <a:pt x="332" y="8"/>
                </a:moveTo>
                <a:cubicBezTo>
                  <a:pt x="333" y="8"/>
                  <a:pt x="334" y="8"/>
                  <a:pt x="335" y="8"/>
                </a:cubicBezTo>
                <a:cubicBezTo>
                  <a:pt x="336" y="8"/>
                  <a:pt x="337" y="8"/>
                  <a:pt x="337" y="8"/>
                </a:cubicBezTo>
                <a:cubicBezTo>
                  <a:pt x="338" y="8"/>
                  <a:pt x="339" y="8"/>
                  <a:pt x="339" y="7"/>
                </a:cubicBezTo>
                <a:cubicBezTo>
                  <a:pt x="340" y="7"/>
                  <a:pt x="340" y="7"/>
                  <a:pt x="339" y="7"/>
                </a:cubicBezTo>
                <a:cubicBezTo>
                  <a:pt x="339" y="6"/>
                  <a:pt x="337" y="7"/>
                  <a:pt x="337" y="7"/>
                </a:cubicBezTo>
                <a:cubicBezTo>
                  <a:pt x="335" y="7"/>
                  <a:pt x="334" y="7"/>
                  <a:pt x="332" y="7"/>
                </a:cubicBezTo>
                <a:cubicBezTo>
                  <a:pt x="332" y="7"/>
                  <a:pt x="331" y="7"/>
                  <a:pt x="332" y="8"/>
                </a:cubicBezTo>
                <a:close/>
                <a:moveTo>
                  <a:pt x="593" y="59"/>
                </a:moveTo>
                <a:cubicBezTo>
                  <a:pt x="593" y="59"/>
                  <a:pt x="594" y="60"/>
                  <a:pt x="593" y="60"/>
                </a:cubicBezTo>
                <a:cubicBezTo>
                  <a:pt x="593" y="60"/>
                  <a:pt x="591" y="59"/>
                  <a:pt x="591" y="60"/>
                </a:cubicBezTo>
                <a:cubicBezTo>
                  <a:pt x="591" y="61"/>
                  <a:pt x="593" y="61"/>
                  <a:pt x="594" y="61"/>
                </a:cubicBezTo>
                <a:cubicBezTo>
                  <a:pt x="595" y="61"/>
                  <a:pt x="597" y="62"/>
                  <a:pt x="598" y="62"/>
                </a:cubicBezTo>
                <a:cubicBezTo>
                  <a:pt x="599" y="62"/>
                  <a:pt x="601" y="62"/>
                  <a:pt x="602" y="62"/>
                </a:cubicBezTo>
                <a:cubicBezTo>
                  <a:pt x="602" y="62"/>
                  <a:pt x="602" y="61"/>
                  <a:pt x="602" y="61"/>
                </a:cubicBezTo>
                <a:cubicBezTo>
                  <a:pt x="603" y="61"/>
                  <a:pt x="603" y="61"/>
                  <a:pt x="603" y="61"/>
                </a:cubicBezTo>
                <a:cubicBezTo>
                  <a:pt x="603" y="61"/>
                  <a:pt x="603" y="60"/>
                  <a:pt x="603" y="59"/>
                </a:cubicBezTo>
                <a:cubicBezTo>
                  <a:pt x="602" y="59"/>
                  <a:pt x="601" y="59"/>
                  <a:pt x="600" y="59"/>
                </a:cubicBezTo>
                <a:cubicBezTo>
                  <a:pt x="598" y="59"/>
                  <a:pt x="597" y="59"/>
                  <a:pt x="596" y="58"/>
                </a:cubicBezTo>
                <a:cubicBezTo>
                  <a:pt x="595" y="58"/>
                  <a:pt x="592" y="58"/>
                  <a:pt x="593" y="59"/>
                </a:cubicBezTo>
                <a:close/>
                <a:moveTo>
                  <a:pt x="201" y="6"/>
                </a:moveTo>
                <a:cubicBezTo>
                  <a:pt x="200" y="6"/>
                  <a:pt x="198" y="6"/>
                  <a:pt x="197" y="6"/>
                </a:cubicBezTo>
                <a:cubicBezTo>
                  <a:pt x="197" y="6"/>
                  <a:pt x="195" y="5"/>
                  <a:pt x="194" y="6"/>
                </a:cubicBezTo>
                <a:cubicBezTo>
                  <a:pt x="195" y="6"/>
                  <a:pt x="197" y="6"/>
                  <a:pt x="198" y="6"/>
                </a:cubicBezTo>
                <a:cubicBezTo>
                  <a:pt x="199" y="6"/>
                  <a:pt x="200" y="7"/>
                  <a:pt x="201" y="7"/>
                </a:cubicBezTo>
                <a:cubicBezTo>
                  <a:pt x="202" y="7"/>
                  <a:pt x="202" y="7"/>
                  <a:pt x="202" y="7"/>
                </a:cubicBezTo>
                <a:cubicBezTo>
                  <a:pt x="202" y="7"/>
                  <a:pt x="203" y="7"/>
                  <a:pt x="203" y="7"/>
                </a:cubicBezTo>
                <a:cubicBezTo>
                  <a:pt x="203" y="7"/>
                  <a:pt x="204" y="7"/>
                  <a:pt x="205" y="7"/>
                </a:cubicBezTo>
                <a:cubicBezTo>
                  <a:pt x="206" y="7"/>
                  <a:pt x="207" y="7"/>
                  <a:pt x="208" y="7"/>
                </a:cubicBezTo>
                <a:cubicBezTo>
                  <a:pt x="207" y="6"/>
                  <a:pt x="205" y="7"/>
                  <a:pt x="204" y="6"/>
                </a:cubicBezTo>
                <a:cubicBezTo>
                  <a:pt x="203" y="6"/>
                  <a:pt x="202" y="6"/>
                  <a:pt x="201" y="6"/>
                </a:cubicBezTo>
                <a:close/>
                <a:moveTo>
                  <a:pt x="202" y="1"/>
                </a:moveTo>
                <a:cubicBezTo>
                  <a:pt x="202" y="2"/>
                  <a:pt x="203" y="1"/>
                  <a:pt x="203" y="1"/>
                </a:cubicBezTo>
                <a:cubicBezTo>
                  <a:pt x="205" y="1"/>
                  <a:pt x="206" y="1"/>
                  <a:pt x="207" y="1"/>
                </a:cubicBezTo>
                <a:cubicBezTo>
                  <a:pt x="208" y="1"/>
                  <a:pt x="210" y="1"/>
                  <a:pt x="211" y="1"/>
                </a:cubicBezTo>
                <a:cubicBezTo>
                  <a:pt x="210" y="1"/>
                  <a:pt x="210" y="1"/>
                  <a:pt x="211" y="1"/>
                </a:cubicBezTo>
                <a:cubicBezTo>
                  <a:pt x="210" y="0"/>
                  <a:pt x="208" y="0"/>
                  <a:pt x="207" y="0"/>
                </a:cubicBezTo>
                <a:cubicBezTo>
                  <a:pt x="205" y="0"/>
                  <a:pt x="204" y="0"/>
                  <a:pt x="202" y="1"/>
                </a:cubicBezTo>
                <a:cubicBezTo>
                  <a:pt x="202" y="1"/>
                  <a:pt x="203" y="1"/>
                  <a:pt x="203" y="1"/>
                </a:cubicBezTo>
                <a:cubicBezTo>
                  <a:pt x="203" y="1"/>
                  <a:pt x="202" y="1"/>
                  <a:pt x="202" y="1"/>
                </a:cubicBezTo>
                <a:close/>
                <a:moveTo>
                  <a:pt x="798" y="85"/>
                </a:moveTo>
                <a:cubicBezTo>
                  <a:pt x="796" y="84"/>
                  <a:pt x="795" y="84"/>
                  <a:pt x="794" y="84"/>
                </a:cubicBezTo>
                <a:cubicBezTo>
                  <a:pt x="793" y="84"/>
                  <a:pt x="792" y="84"/>
                  <a:pt x="791" y="85"/>
                </a:cubicBezTo>
                <a:cubicBezTo>
                  <a:pt x="792" y="85"/>
                  <a:pt x="792" y="85"/>
                  <a:pt x="793" y="85"/>
                </a:cubicBezTo>
                <a:cubicBezTo>
                  <a:pt x="793" y="85"/>
                  <a:pt x="794" y="86"/>
                  <a:pt x="795" y="86"/>
                </a:cubicBezTo>
                <a:cubicBezTo>
                  <a:pt x="795" y="85"/>
                  <a:pt x="794" y="85"/>
                  <a:pt x="793" y="85"/>
                </a:cubicBezTo>
                <a:cubicBezTo>
                  <a:pt x="794" y="85"/>
                  <a:pt x="795" y="85"/>
                  <a:pt x="796" y="86"/>
                </a:cubicBezTo>
                <a:cubicBezTo>
                  <a:pt x="797" y="86"/>
                  <a:pt x="798" y="86"/>
                  <a:pt x="798" y="85"/>
                </a:cubicBezTo>
                <a:close/>
                <a:moveTo>
                  <a:pt x="206" y="10"/>
                </a:moveTo>
                <a:cubicBezTo>
                  <a:pt x="205" y="10"/>
                  <a:pt x="204" y="10"/>
                  <a:pt x="202" y="10"/>
                </a:cubicBezTo>
                <a:cubicBezTo>
                  <a:pt x="203" y="10"/>
                  <a:pt x="205" y="11"/>
                  <a:pt x="204" y="11"/>
                </a:cubicBezTo>
                <a:cubicBezTo>
                  <a:pt x="205" y="11"/>
                  <a:pt x="205" y="12"/>
                  <a:pt x="206" y="12"/>
                </a:cubicBezTo>
                <a:cubicBezTo>
                  <a:pt x="207" y="13"/>
                  <a:pt x="208" y="13"/>
                  <a:pt x="208" y="13"/>
                </a:cubicBezTo>
                <a:cubicBezTo>
                  <a:pt x="209" y="13"/>
                  <a:pt x="210" y="13"/>
                  <a:pt x="211" y="13"/>
                </a:cubicBezTo>
                <a:cubicBezTo>
                  <a:pt x="210" y="13"/>
                  <a:pt x="210" y="13"/>
                  <a:pt x="210" y="12"/>
                </a:cubicBezTo>
                <a:cubicBezTo>
                  <a:pt x="210" y="12"/>
                  <a:pt x="211" y="12"/>
                  <a:pt x="212" y="12"/>
                </a:cubicBezTo>
                <a:cubicBezTo>
                  <a:pt x="212" y="12"/>
                  <a:pt x="213" y="13"/>
                  <a:pt x="213" y="12"/>
                </a:cubicBezTo>
                <a:cubicBezTo>
                  <a:pt x="212" y="11"/>
                  <a:pt x="211" y="12"/>
                  <a:pt x="210" y="12"/>
                </a:cubicBezTo>
                <a:cubicBezTo>
                  <a:pt x="211" y="11"/>
                  <a:pt x="212" y="11"/>
                  <a:pt x="213" y="11"/>
                </a:cubicBezTo>
                <a:cubicBezTo>
                  <a:pt x="214" y="11"/>
                  <a:pt x="216" y="12"/>
                  <a:pt x="217" y="11"/>
                </a:cubicBezTo>
                <a:cubicBezTo>
                  <a:pt x="216" y="11"/>
                  <a:pt x="214" y="11"/>
                  <a:pt x="213" y="10"/>
                </a:cubicBezTo>
                <a:cubicBezTo>
                  <a:pt x="212" y="10"/>
                  <a:pt x="211" y="10"/>
                  <a:pt x="210" y="10"/>
                </a:cubicBezTo>
                <a:cubicBezTo>
                  <a:pt x="208" y="10"/>
                  <a:pt x="207" y="10"/>
                  <a:pt x="206" y="10"/>
                </a:cubicBezTo>
                <a:close/>
                <a:moveTo>
                  <a:pt x="212" y="86"/>
                </a:moveTo>
                <a:cubicBezTo>
                  <a:pt x="212" y="86"/>
                  <a:pt x="211" y="86"/>
                  <a:pt x="211" y="87"/>
                </a:cubicBezTo>
                <a:cubicBezTo>
                  <a:pt x="211" y="87"/>
                  <a:pt x="213" y="87"/>
                  <a:pt x="213" y="87"/>
                </a:cubicBezTo>
                <a:cubicBezTo>
                  <a:pt x="214" y="87"/>
                  <a:pt x="215" y="88"/>
                  <a:pt x="216" y="88"/>
                </a:cubicBezTo>
                <a:cubicBezTo>
                  <a:pt x="216" y="89"/>
                  <a:pt x="216" y="89"/>
                  <a:pt x="217" y="89"/>
                </a:cubicBezTo>
                <a:cubicBezTo>
                  <a:pt x="217" y="89"/>
                  <a:pt x="218" y="89"/>
                  <a:pt x="218" y="90"/>
                </a:cubicBezTo>
                <a:cubicBezTo>
                  <a:pt x="218" y="90"/>
                  <a:pt x="218" y="90"/>
                  <a:pt x="219" y="90"/>
                </a:cubicBezTo>
                <a:cubicBezTo>
                  <a:pt x="219" y="90"/>
                  <a:pt x="219" y="90"/>
                  <a:pt x="219" y="90"/>
                </a:cubicBezTo>
                <a:cubicBezTo>
                  <a:pt x="218" y="89"/>
                  <a:pt x="218" y="90"/>
                  <a:pt x="218" y="89"/>
                </a:cubicBezTo>
                <a:cubicBezTo>
                  <a:pt x="218" y="89"/>
                  <a:pt x="218" y="89"/>
                  <a:pt x="218" y="89"/>
                </a:cubicBezTo>
                <a:cubicBezTo>
                  <a:pt x="218" y="89"/>
                  <a:pt x="218" y="89"/>
                  <a:pt x="219" y="89"/>
                </a:cubicBezTo>
                <a:cubicBezTo>
                  <a:pt x="219" y="89"/>
                  <a:pt x="218" y="88"/>
                  <a:pt x="218" y="88"/>
                </a:cubicBezTo>
                <a:cubicBezTo>
                  <a:pt x="219" y="88"/>
                  <a:pt x="219" y="88"/>
                  <a:pt x="219" y="88"/>
                </a:cubicBezTo>
                <a:cubicBezTo>
                  <a:pt x="219" y="87"/>
                  <a:pt x="218" y="87"/>
                  <a:pt x="218" y="87"/>
                </a:cubicBezTo>
                <a:cubicBezTo>
                  <a:pt x="218" y="87"/>
                  <a:pt x="218" y="87"/>
                  <a:pt x="218" y="87"/>
                </a:cubicBezTo>
                <a:cubicBezTo>
                  <a:pt x="218" y="88"/>
                  <a:pt x="216" y="87"/>
                  <a:pt x="215" y="87"/>
                </a:cubicBezTo>
                <a:cubicBezTo>
                  <a:pt x="215" y="87"/>
                  <a:pt x="216" y="87"/>
                  <a:pt x="216" y="87"/>
                </a:cubicBezTo>
                <a:cubicBezTo>
                  <a:pt x="215" y="86"/>
                  <a:pt x="215" y="86"/>
                  <a:pt x="215" y="86"/>
                </a:cubicBezTo>
                <a:cubicBezTo>
                  <a:pt x="216" y="86"/>
                  <a:pt x="216" y="87"/>
                  <a:pt x="217" y="87"/>
                </a:cubicBezTo>
                <a:cubicBezTo>
                  <a:pt x="217" y="87"/>
                  <a:pt x="216" y="86"/>
                  <a:pt x="216" y="86"/>
                </a:cubicBezTo>
                <a:cubicBezTo>
                  <a:pt x="215" y="86"/>
                  <a:pt x="214" y="86"/>
                  <a:pt x="215" y="86"/>
                </a:cubicBezTo>
                <a:cubicBezTo>
                  <a:pt x="214" y="86"/>
                  <a:pt x="213" y="86"/>
                  <a:pt x="212" y="86"/>
                </a:cubicBezTo>
                <a:close/>
                <a:moveTo>
                  <a:pt x="415" y="56"/>
                </a:moveTo>
                <a:cubicBezTo>
                  <a:pt x="415" y="56"/>
                  <a:pt x="414" y="56"/>
                  <a:pt x="414" y="56"/>
                </a:cubicBezTo>
                <a:cubicBezTo>
                  <a:pt x="415" y="57"/>
                  <a:pt x="416" y="56"/>
                  <a:pt x="416" y="57"/>
                </a:cubicBezTo>
                <a:cubicBezTo>
                  <a:pt x="417" y="57"/>
                  <a:pt x="418" y="57"/>
                  <a:pt x="418" y="57"/>
                </a:cubicBezTo>
                <a:cubicBezTo>
                  <a:pt x="417" y="56"/>
                  <a:pt x="416" y="56"/>
                  <a:pt x="415" y="56"/>
                </a:cubicBezTo>
                <a:close/>
                <a:moveTo>
                  <a:pt x="1148" y="293"/>
                </a:moveTo>
                <a:cubicBezTo>
                  <a:pt x="1148" y="293"/>
                  <a:pt x="1146" y="290"/>
                  <a:pt x="1145" y="291"/>
                </a:cubicBezTo>
                <a:cubicBezTo>
                  <a:pt x="1144" y="292"/>
                  <a:pt x="1146" y="294"/>
                  <a:pt x="1145" y="295"/>
                </a:cubicBezTo>
                <a:cubicBezTo>
                  <a:pt x="1145" y="295"/>
                  <a:pt x="1144" y="295"/>
                  <a:pt x="1144" y="295"/>
                </a:cubicBezTo>
                <a:cubicBezTo>
                  <a:pt x="1143" y="295"/>
                  <a:pt x="1144" y="296"/>
                  <a:pt x="1143" y="296"/>
                </a:cubicBezTo>
                <a:cubicBezTo>
                  <a:pt x="1141" y="296"/>
                  <a:pt x="1143" y="297"/>
                  <a:pt x="1144" y="297"/>
                </a:cubicBezTo>
                <a:cubicBezTo>
                  <a:pt x="1144" y="298"/>
                  <a:pt x="1144" y="298"/>
                  <a:pt x="1145" y="298"/>
                </a:cubicBezTo>
                <a:cubicBezTo>
                  <a:pt x="1146" y="298"/>
                  <a:pt x="1146" y="299"/>
                  <a:pt x="1146" y="299"/>
                </a:cubicBezTo>
                <a:cubicBezTo>
                  <a:pt x="1147" y="299"/>
                  <a:pt x="1146" y="297"/>
                  <a:pt x="1147" y="297"/>
                </a:cubicBezTo>
                <a:cubicBezTo>
                  <a:pt x="1147" y="297"/>
                  <a:pt x="1148" y="297"/>
                  <a:pt x="1148" y="297"/>
                </a:cubicBezTo>
                <a:cubicBezTo>
                  <a:pt x="1148" y="297"/>
                  <a:pt x="1148" y="297"/>
                  <a:pt x="1148" y="296"/>
                </a:cubicBezTo>
                <a:cubicBezTo>
                  <a:pt x="1148" y="296"/>
                  <a:pt x="1148" y="296"/>
                  <a:pt x="1148" y="296"/>
                </a:cubicBezTo>
                <a:cubicBezTo>
                  <a:pt x="1148" y="296"/>
                  <a:pt x="1148" y="295"/>
                  <a:pt x="1148" y="294"/>
                </a:cubicBezTo>
                <a:cubicBezTo>
                  <a:pt x="1148" y="294"/>
                  <a:pt x="1148" y="294"/>
                  <a:pt x="1148" y="293"/>
                </a:cubicBezTo>
                <a:close/>
                <a:moveTo>
                  <a:pt x="1145" y="310"/>
                </a:moveTo>
                <a:cubicBezTo>
                  <a:pt x="1145" y="311"/>
                  <a:pt x="1145" y="311"/>
                  <a:pt x="1145" y="311"/>
                </a:cubicBezTo>
                <a:cubicBezTo>
                  <a:pt x="1145" y="312"/>
                  <a:pt x="1144" y="312"/>
                  <a:pt x="1145" y="312"/>
                </a:cubicBezTo>
                <a:cubicBezTo>
                  <a:pt x="1146" y="313"/>
                  <a:pt x="1146" y="312"/>
                  <a:pt x="1146" y="311"/>
                </a:cubicBezTo>
                <a:cubicBezTo>
                  <a:pt x="1146" y="311"/>
                  <a:pt x="1146" y="310"/>
                  <a:pt x="1145" y="310"/>
                </a:cubicBezTo>
                <a:close/>
                <a:moveTo>
                  <a:pt x="1189" y="246"/>
                </a:moveTo>
                <a:cubicBezTo>
                  <a:pt x="1188" y="246"/>
                  <a:pt x="1187" y="245"/>
                  <a:pt x="1186" y="245"/>
                </a:cubicBezTo>
                <a:cubicBezTo>
                  <a:pt x="1186" y="244"/>
                  <a:pt x="1185" y="244"/>
                  <a:pt x="1185" y="244"/>
                </a:cubicBezTo>
                <a:cubicBezTo>
                  <a:pt x="1185" y="243"/>
                  <a:pt x="1185" y="243"/>
                  <a:pt x="1185" y="243"/>
                </a:cubicBezTo>
                <a:cubicBezTo>
                  <a:pt x="1184" y="243"/>
                  <a:pt x="1183" y="242"/>
                  <a:pt x="1182" y="243"/>
                </a:cubicBezTo>
                <a:cubicBezTo>
                  <a:pt x="1182" y="243"/>
                  <a:pt x="1181" y="243"/>
                  <a:pt x="1181" y="243"/>
                </a:cubicBezTo>
                <a:cubicBezTo>
                  <a:pt x="1181" y="244"/>
                  <a:pt x="1182" y="244"/>
                  <a:pt x="1183" y="244"/>
                </a:cubicBezTo>
                <a:cubicBezTo>
                  <a:pt x="1183" y="244"/>
                  <a:pt x="1184" y="244"/>
                  <a:pt x="1184" y="244"/>
                </a:cubicBezTo>
                <a:cubicBezTo>
                  <a:pt x="1185" y="245"/>
                  <a:pt x="1186" y="246"/>
                  <a:pt x="1187" y="246"/>
                </a:cubicBezTo>
                <a:cubicBezTo>
                  <a:pt x="1188" y="247"/>
                  <a:pt x="1190" y="248"/>
                  <a:pt x="1191" y="248"/>
                </a:cubicBezTo>
                <a:cubicBezTo>
                  <a:pt x="1192" y="248"/>
                  <a:pt x="1194" y="249"/>
                  <a:pt x="1195" y="250"/>
                </a:cubicBezTo>
                <a:cubicBezTo>
                  <a:pt x="1194" y="249"/>
                  <a:pt x="1193" y="248"/>
                  <a:pt x="1192" y="247"/>
                </a:cubicBezTo>
                <a:cubicBezTo>
                  <a:pt x="1191" y="247"/>
                  <a:pt x="1190" y="247"/>
                  <a:pt x="1189" y="246"/>
                </a:cubicBezTo>
                <a:close/>
                <a:moveTo>
                  <a:pt x="1145" y="303"/>
                </a:moveTo>
                <a:cubicBezTo>
                  <a:pt x="1145" y="303"/>
                  <a:pt x="1144" y="303"/>
                  <a:pt x="1145" y="303"/>
                </a:cubicBezTo>
                <a:cubicBezTo>
                  <a:pt x="1145" y="304"/>
                  <a:pt x="1145" y="305"/>
                  <a:pt x="1145" y="305"/>
                </a:cubicBezTo>
                <a:cubicBezTo>
                  <a:pt x="1145" y="306"/>
                  <a:pt x="1146" y="306"/>
                  <a:pt x="1146" y="306"/>
                </a:cubicBezTo>
                <a:cubicBezTo>
                  <a:pt x="1146" y="307"/>
                  <a:pt x="1147" y="307"/>
                  <a:pt x="1147" y="306"/>
                </a:cubicBezTo>
                <a:cubicBezTo>
                  <a:pt x="1148" y="306"/>
                  <a:pt x="1146" y="305"/>
                  <a:pt x="1146" y="304"/>
                </a:cubicBezTo>
                <a:cubicBezTo>
                  <a:pt x="1146" y="303"/>
                  <a:pt x="1146" y="303"/>
                  <a:pt x="1145" y="303"/>
                </a:cubicBezTo>
                <a:close/>
                <a:moveTo>
                  <a:pt x="1145" y="322"/>
                </a:moveTo>
                <a:cubicBezTo>
                  <a:pt x="1144" y="322"/>
                  <a:pt x="1145" y="323"/>
                  <a:pt x="1145" y="323"/>
                </a:cubicBezTo>
                <a:cubicBezTo>
                  <a:pt x="1145" y="324"/>
                  <a:pt x="1146" y="323"/>
                  <a:pt x="1145" y="322"/>
                </a:cubicBezTo>
                <a:close/>
                <a:moveTo>
                  <a:pt x="1143" y="327"/>
                </a:moveTo>
                <a:cubicBezTo>
                  <a:pt x="1142" y="327"/>
                  <a:pt x="1143" y="327"/>
                  <a:pt x="1143" y="328"/>
                </a:cubicBezTo>
                <a:cubicBezTo>
                  <a:pt x="1143" y="328"/>
                  <a:pt x="1144" y="328"/>
                  <a:pt x="1144" y="328"/>
                </a:cubicBezTo>
                <a:cubicBezTo>
                  <a:pt x="1144" y="327"/>
                  <a:pt x="1143" y="327"/>
                  <a:pt x="1143" y="327"/>
                </a:cubicBezTo>
                <a:close/>
                <a:moveTo>
                  <a:pt x="1143" y="329"/>
                </a:moveTo>
                <a:cubicBezTo>
                  <a:pt x="1143" y="329"/>
                  <a:pt x="1143" y="329"/>
                  <a:pt x="1143" y="330"/>
                </a:cubicBezTo>
                <a:cubicBezTo>
                  <a:pt x="1143" y="329"/>
                  <a:pt x="1142" y="329"/>
                  <a:pt x="1142" y="329"/>
                </a:cubicBezTo>
                <a:cubicBezTo>
                  <a:pt x="1142" y="330"/>
                  <a:pt x="1142" y="331"/>
                  <a:pt x="1142" y="331"/>
                </a:cubicBezTo>
                <a:cubicBezTo>
                  <a:pt x="1142" y="331"/>
                  <a:pt x="1142" y="332"/>
                  <a:pt x="1142" y="332"/>
                </a:cubicBezTo>
                <a:cubicBezTo>
                  <a:pt x="1141" y="333"/>
                  <a:pt x="1140" y="332"/>
                  <a:pt x="1141" y="333"/>
                </a:cubicBezTo>
                <a:cubicBezTo>
                  <a:pt x="1141" y="333"/>
                  <a:pt x="1141" y="333"/>
                  <a:pt x="1142" y="333"/>
                </a:cubicBezTo>
                <a:cubicBezTo>
                  <a:pt x="1142" y="333"/>
                  <a:pt x="1142" y="333"/>
                  <a:pt x="1142" y="332"/>
                </a:cubicBezTo>
                <a:cubicBezTo>
                  <a:pt x="1143" y="332"/>
                  <a:pt x="1143" y="332"/>
                  <a:pt x="1143" y="331"/>
                </a:cubicBezTo>
                <a:cubicBezTo>
                  <a:pt x="1143" y="331"/>
                  <a:pt x="1143" y="331"/>
                  <a:pt x="1143" y="331"/>
                </a:cubicBezTo>
                <a:cubicBezTo>
                  <a:pt x="1143" y="331"/>
                  <a:pt x="1143" y="330"/>
                  <a:pt x="1143" y="330"/>
                </a:cubicBezTo>
                <a:cubicBezTo>
                  <a:pt x="1143" y="330"/>
                  <a:pt x="1143" y="329"/>
                  <a:pt x="1143" y="329"/>
                </a:cubicBezTo>
                <a:close/>
                <a:moveTo>
                  <a:pt x="1143" y="319"/>
                </a:moveTo>
                <a:cubicBezTo>
                  <a:pt x="1143" y="319"/>
                  <a:pt x="1144" y="320"/>
                  <a:pt x="1144" y="320"/>
                </a:cubicBezTo>
                <a:cubicBezTo>
                  <a:pt x="1144" y="320"/>
                  <a:pt x="1145" y="320"/>
                  <a:pt x="1145" y="320"/>
                </a:cubicBezTo>
                <a:cubicBezTo>
                  <a:pt x="1145" y="320"/>
                  <a:pt x="1143" y="318"/>
                  <a:pt x="1143" y="319"/>
                </a:cubicBezTo>
                <a:close/>
                <a:moveTo>
                  <a:pt x="1120" y="365"/>
                </a:moveTo>
                <a:cubicBezTo>
                  <a:pt x="1120" y="365"/>
                  <a:pt x="1118" y="365"/>
                  <a:pt x="1118" y="366"/>
                </a:cubicBezTo>
                <a:cubicBezTo>
                  <a:pt x="1118" y="366"/>
                  <a:pt x="1119" y="367"/>
                  <a:pt x="1119" y="366"/>
                </a:cubicBezTo>
                <a:cubicBezTo>
                  <a:pt x="1120" y="366"/>
                  <a:pt x="1120" y="366"/>
                  <a:pt x="1121" y="366"/>
                </a:cubicBezTo>
                <a:cubicBezTo>
                  <a:pt x="1122" y="365"/>
                  <a:pt x="1121" y="365"/>
                  <a:pt x="1120" y="365"/>
                </a:cubicBezTo>
                <a:close/>
                <a:moveTo>
                  <a:pt x="680" y="64"/>
                </a:moveTo>
                <a:cubicBezTo>
                  <a:pt x="681" y="64"/>
                  <a:pt x="682" y="64"/>
                  <a:pt x="682" y="64"/>
                </a:cubicBezTo>
                <a:cubicBezTo>
                  <a:pt x="683" y="64"/>
                  <a:pt x="681" y="64"/>
                  <a:pt x="681" y="64"/>
                </a:cubicBezTo>
                <a:cubicBezTo>
                  <a:pt x="681" y="64"/>
                  <a:pt x="681" y="63"/>
                  <a:pt x="681" y="63"/>
                </a:cubicBezTo>
                <a:cubicBezTo>
                  <a:pt x="681" y="63"/>
                  <a:pt x="681" y="63"/>
                  <a:pt x="680" y="64"/>
                </a:cubicBezTo>
                <a:cubicBezTo>
                  <a:pt x="680" y="64"/>
                  <a:pt x="680" y="64"/>
                  <a:pt x="681" y="64"/>
                </a:cubicBezTo>
                <a:cubicBezTo>
                  <a:pt x="680" y="64"/>
                  <a:pt x="680" y="64"/>
                  <a:pt x="680" y="64"/>
                </a:cubicBezTo>
                <a:close/>
                <a:moveTo>
                  <a:pt x="1025" y="100"/>
                </a:moveTo>
                <a:cubicBezTo>
                  <a:pt x="1025" y="101"/>
                  <a:pt x="1026" y="101"/>
                  <a:pt x="1027" y="101"/>
                </a:cubicBezTo>
                <a:cubicBezTo>
                  <a:pt x="1027" y="101"/>
                  <a:pt x="1028" y="101"/>
                  <a:pt x="1028" y="101"/>
                </a:cubicBezTo>
                <a:cubicBezTo>
                  <a:pt x="1030" y="102"/>
                  <a:pt x="1031" y="102"/>
                  <a:pt x="1032" y="102"/>
                </a:cubicBezTo>
                <a:cubicBezTo>
                  <a:pt x="1033" y="102"/>
                  <a:pt x="1035" y="103"/>
                  <a:pt x="1036" y="103"/>
                </a:cubicBezTo>
                <a:cubicBezTo>
                  <a:pt x="1036" y="103"/>
                  <a:pt x="1038" y="103"/>
                  <a:pt x="1037" y="102"/>
                </a:cubicBezTo>
                <a:cubicBezTo>
                  <a:pt x="1037" y="102"/>
                  <a:pt x="1036" y="101"/>
                  <a:pt x="1036" y="101"/>
                </a:cubicBezTo>
                <a:cubicBezTo>
                  <a:pt x="1036" y="101"/>
                  <a:pt x="1036" y="101"/>
                  <a:pt x="1037" y="101"/>
                </a:cubicBezTo>
                <a:cubicBezTo>
                  <a:pt x="1035" y="99"/>
                  <a:pt x="1032" y="100"/>
                  <a:pt x="1031" y="99"/>
                </a:cubicBezTo>
                <a:cubicBezTo>
                  <a:pt x="1030" y="99"/>
                  <a:pt x="1028" y="99"/>
                  <a:pt x="1027" y="99"/>
                </a:cubicBezTo>
                <a:cubicBezTo>
                  <a:pt x="1027" y="99"/>
                  <a:pt x="1026" y="99"/>
                  <a:pt x="1026" y="99"/>
                </a:cubicBezTo>
                <a:cubicBezTo>
                  <a:pt x="1025" y="98"/>
                  <a:pt x="1025" y="99"/>
                  <a:pt x="1025" y="99"/>
                </a:cubicBezTo>
                <a:cubicBezTo>
                  <a:pt x="1025" y="99"/>
                  <a:pt x="1024" y="99"/>
                  <a:pt x="1024" y="99"/>
                </a:cubicBezTo>
                <a:cubicBezTo>
                  <a:pt x="1024" y="100"/>
                  <a:pt x="1024" y="100"/>
                  <a:pt x="1025" y="100"/>
                </a:cubicBezTo>
                <a:close/>
                <a:moveTo>
                  <a:pt x="951" y="247"/>
                </a:moveTo>
                <a:cubicBezTo>
                  <a:pt x="951" y="247"/>
                  <a:pt x="952" y="248"/>
                  <a:pt x="952" y="247"/>
                </a:cubicBezTo>
                <a:cubicBezTo>
                  <a:pt x="952" y="247"/>
                  <a:pt x="952" y="247"/>
                  <a:pt x="952" y="246"/>
                </a:cubicBezTo>
                <a:cubicBezTo>
                  <a:pt x="951" y="246"/>
                  <a:pt x="952" y="246"/>
                  <a:pt x="952" y="246"/>
                </a:cubicBezTo>
                <a:cubicBezTo>
                  <a:pt x="952" y="245"/>
                  <a:pt x="951" y="245"/>
                  <a:pt x="951" y="245"/>
                </a:cubicBezTo>
                <a:cubicBezTo>
                  <a:pt x="950" y="245"/>
                  <a:pt x="950" y="246"/>
                  <a:pt x="949" y="246"/>
                </a:cubicBezTo>
                <a:cubicBezTo>
                  <a:pt x="949" y="247"/>
                  <a:pt x="949" y="247"/>
                  <a:pt x="950" y="248"/>
                </a:cubicBezTo>
                <a:cubicBezTo>
                  <a:pt x="950" y="247"/>
                  <a:pt x="950" y="247"/>
                  <a:pt x="950" y="247"/>
                </a:cubicBezTo>
                <a:cubicBezTo>
                  <a:pt x="950" y="247"/>
                  <a:pt x="950" y="247"/>
                  <a:pt x="951" y="247"/>
                </a:cubicBezTo>
                <a:close/>
                <a:moveTo>
                  <a:pt x="478" y="41"/>
                </a:moveTo>
                <a:cubicBezTo>
                  <a:pt x="479" y="41"/>
                  <a:pt x="479" y="41"/>
                  <a:pt x="479" y="41"/>
                </a:cubicBezTo>
                <a:cubicBezTo>
                  <a:pt x="480" y="41"/>
                  <a:pt x="480" y="41"/>
                  <a:pt x="480" y="41"/>
                </a:cubicBezTo>
                <a:cubicBezTo>
                  <a:pt x="480" y="41"/>
                  <a:pt x="479" y="40"/>
                  <a:pt x="478" y="40"/>
                </a:cubicBezTo>
                <a:cubicBezTo>
                  <a:pt x="478" y="40"/>
                  <a:pt x="478" y="40"/>
                  <a:pt x="478" y="40"/>
                </a:cubicBezTo>
                <a:cubicBezTo>
                  <a:pt x="478" y="40"/>
                  <a:pt x="479" y="40"/>
                  <a:pt x="478" y="41"/>
                </a:cubicBezTo>
                <a:close/>
                <a:moveTo>
                  <a:pt x="968" y="91"/>
                </a:moveTo>
                <a:cubicBezTo>
                  <a:pt x="968" y="92"/>
                  <a:pt x="970" y="92"/>
                  <a:pt x="970" y="92"/>
                </a:cubicBezTo>
                <a:cubicBezTo>
                  <a:pt x="969" y="92"/>
                  <a:pt x="969" y="91"/>
                  <a:pt x="968" y="91"/>
                </a:cubicBezTo>
                <a:close/>
                <a:moveTo>
                  <a:pt x="977" y="93"/>
                </a:moveTo>
                <a:cubicBezTo>
                  <a:pt x="976" y="93"/>
                  <a:pt x="976" y="93"/>
                  <a:pt x="975" y="93"/>
                </a:cubicBezTo>
                <a:cubicBezTo>
                  <a:pt x="975" y="93"/>
                  <a:pt x="975" y="93"/>
                  <a:pt x="975" y="93"/>
                </a:cubicBezTo>
                <a:cubicBezTo>
                  <a:pt x="976" y="93"/>
                  <a:pt x="976" y="93"/>
                  <a:pt x="977" y="93"/>
                </a:cubicBezTo>
                <a:close/>
                <a:moveTo>
                  <a:pt x="960" y="91"/>
                </a:moveTo>
                <a:cubicBezTo>
                  <a:pt x="961" y="91"/>
                  <a:pt x="962" y="91"/>
                  <a:pt x="963" y="91"/>
                </a:cubicBezTo>
                <a:cubicBezTo>
                  <a:pt x="962" y="91"/>
                  <a:pt x="960" y="90"/>
                  <a:pt x="959" y="90"/>
                </a:cubicBezTo>
                <a:cubicBezTo>
                  <a:pt x="960" y="90"/>
                  <a:pt x="960" y="90"/>
                  <a:pt x="960" y="91"/>
                </a:cubicBezTo>
                <a:cubicBezTo>
                  <a:pt x="960" y="91"/>
                  <a:pt x="960" y="91"/>
                  <a:pt x="960" y="91"/>
                </a:cubicBezTo>
                <a:close/>
                <a:moveTo>
                  <a:pt x="1145" y="113"/>
                </a:moveTo>
                <a:cubicBezTo>
                  <a:pt x="1143" y="113"/>
                  <a:pt x="1141" y="112"/>
                  <a:pt x="1139" y="112"/>
                </a:cubicBezTo>
                <a:cubicBezTo>
                  <a:pt x="1141" y="113"/>
                  <a:pt x="1143" y="113"/>
                  <a:pt x="1145" y="113"/>
                </a:cubicBezTo>
                <a:close/>
                <a:moveTo>
                  <a:pt x="1147" y="113"/>
                </a:moveTo>
                <a:cubicBezTo>
                  <a:pt x="1146" y="113"/>
                  <a:pt x="1146" y="113"/>
                  <a:pt x="1145" y="113"/>
                </a:cubicBezTo>
                <a:cubicBezTo>
                  <a:pt x="1145" y="113"/>
                  <a:pt x="1147" y="113"/>
                  <a:pt x="1147" y="113"/>
                </a:cubicBezTo>
                <a:cubicBezTo>
                  <a:pt x="1147" y="113"/>
                  <a:pt x="1147" y="113"/>
                  <a:pt x="1147" y="113"/>
                </a:cubicBezTo>
                <a:close/>
                <a:moveTo>
                  <a:pt x="1020" y="368"/>
                </a:moveTo>
                <a:cubicBezTo>
                  <a:pt x="1020" y="368"/>
                  <a:pt x="1020" y="368"/>
                  <a:pt x="1020" y="368"/>
                </a:cubicBezTo>
                <a:cubicBezTo>
                  <a:pt x="1020" y="368"/>
                  <a:pt x="1020" y="368"/>
                  <a:pt x="1020" y="368"/>
                </a:cubicBezTo>
                <a:close/>
                <a:moveTo>
                  <a:pt x="1145" y="234"/>
                </a:moveTo>
                <a:cubicBezTo>
                  <a:pt x="1145" y="234"/>
                  <a:pt x="1145" y="234"/>
                  <a:pt x="1145" y="234"/>
                </a:cubicBezTo>
                <a:cubicBezTo>
                  <a:pt x="1145" y="234"/>
                  <a:pt x="1145" y="234"/>
                  <a:pt x="1145" y="234"/>
                </a:cubicBezTo>
                <a:close/>
                <a:moveTo>
                  <a:pt x="1118" y="203"/>
                </a:moveTo>
                <a:cubicBezTo>
                  <a:pt x="1118" y="203"/>
                  <a:pt x="1118" y="203"/>
                  <a:pt x="1118" y="203"/>
                </a:cubicBezTo>
                <a:cubicBezTo>
                  <a:pt x="1118" y="203"/>
                  <a:pt x="1118" y="203"/>
                  <a:pt x="1118" y="203"/>
                </a:cubicBezTo>
                <a:cubicBezTo>
                  <a:pt x="1118" y="203"/>
                  <a:pt x="1118" y="203"/>
                  <a:pt x="1118" y="203"/>
                </a:cubicBezTo>
                <a:close/>
                <a:moveTo>
                  <a:pt x="1234" y="151"/>
                </a:moveTo>
                <a:cubicBezTo>
                  <a:pt x="1234" y="151"/>
                  <a:pt x="1233" y="151"/>
                  <a:pt x="1234" y="151"/>
                </a:cubicBezTo>
                <a:cubicBezTo>
                  <a:pt x="1234" y="151"/>
                  <a:pt x="1235" y="151"/>
                  <a:pt x="1235" y="151"/>
                </a:cubicBezTo>
                <a:cubicBezTo>
                  <a:pt x="1235" y="151"/>
                  <a:pt x="1235" y="151"/>
                  <a:pt x="1236" y="152"/>
                </a:cubicBezTo>
                <a:cubicBezTo>
                  <a:pt x="1236" y="152"/>
                  <a:pt x="1237" y="152"/>
                  <a:pt x="1237" y="152"/>
                </a:cubicBezTo>
                <a:cubicBezTo>
                  <a:pt x="1237" y="153"/>
                  <a:pt x="1236" y="153"/>
                  <a:pt x="1237" y="153"/>
                </a:cubicBezTo>
                <a:cubicBezTo>
                  <a:pt x="1236" y="153"/>
                  <a:pt x="1234" y="153"/>
                  <a:pt x="1233" y="152"/>
                </a:cubicBezTo>
                <a:cubicBezTo>
                  <a:pt x="1233" y="152"/>
                  <a:pt x="1232" y="152"/>
                  <a:pt x="1233" y="151"/>
                </a:cubicBezTo>
                <a:cubicBezTo>
                  <a:pt x="1232" y="150"/>
                  <a:pt x="1230" y="150"/>
                  <a:pt x="1229" y="150"/>
                </a:cubicBezTo>
                <a:cubicBezTo>
                  <a:pt x="1230" y="150"/>
                  <a:pt x="1231" y="150"/>
                  <a:pt x="1232" y="152"/>
                </a:cubicBezTo>
                <a:cubicBezTo>
                  <a:pt x="1232" y="153"/>
                  <a:pt x="1230" y="152"/>
                  <a:pt x="1230" y="152"/>
                </a:cubicBezTo>
                <a:cubicBezTo>
                  <a:pt x="1228" y="152"/>
                  <a:pt x="1227" y="151"/>
                  <a:pt x="1225" y="150"/>
                </a:cubicBezTo>
                <a:cubicBezTo>
                  <a:pt x="1225" y="150"/>
                  <a:pt x="1224" y="150"/>
                  <a:pt x="1223" y="150"/>
                </a:cubicBezTo>
                <a:cubicBezTo>
                  <a:pt x="1223" y="150"/>
                  <a:pt x="1222" y="149"/>
                  <a:pt x="1222" y="149"/>
                </a:cubicBezTo>
                <a:cubicBezTo>
                  <a:pt x="1222" y="149"/>
                  <a:pt x="1221" y="149"/>
                  <a:pt x="1220" y="149"/>
                </a:cubicBezTo>
                <a:cubicBezTo>
                  <a:pt x="1220" y="149"/>
                  <a:pt x="1219" y="149"/>
                  <a:pt x="1218" y="148"/>
                </a:cubicBezTo>
                <a:cubicBezTo>
                  <a:pt x="1217" y="148"/>
                  <a:pt x="1216" y="148"/>
                  <a:pt x="1216" y="148"/>
                </a:cubicBezTo>
                <a:cubicBezTo>
                  <a:pt x="1215" y="148"/>
                  <a:pt x="1214" y="147"/>
                  <a:pt x="1214" y="147"/>
                </a:cubicBezTo>
                <a:cubicBezTo>
                  <a:pt x="1214" y="147"/>
                  <a:pt x="1214" y="148"/>
                  <a:pt x="1215" y="148"/>
                </a:cubicBezTo>
                <a:cubicBezTo>
                  <a:pt x="1214" y="148"/>
                  <a:pt x="1213" y="148"/>
                  <a:pt x="1213" y="148"/>
                </a:cubicBezTo>
                <a:cubicBezTo>
                  <a:pt x="1212" y="148"/>
                  <a:pt x="1211" y="148"/>
                  <a:pt x="1211" y="148"/>
                </a:cubicBezTo>
                <a:cubicBezTo>
                  <a:pt x="1211" y="147"/>
                  <a:pt x="1211" y="147"/>
                  <a:pt x="1211" y="147"/>
                </a:cubicBezTo>
                <a:cubicBezTo>
                  <a:pt x="1211" y="147"/>
                  <a:pt x="1210" y="147"/>
                  <a:pt x="1210" y="147"/>
                </a:cubicBezTo>
                <a:cubicBezTo>
                  <a:pt x="1209" y="147"/>
                  <a:pt x="1209" y="147"/>
                  <a:pt x="1208" y="147"/>
                </a:cubicBezTo>
                <a:cubicBezTo>
                  <a:pt x="1207" y="146"/>
                  <a:pt x="1206" y="146"/>
                  <a:pt x="1205" y="146"/>
                </a:cubicBezTo>
                <a:cubicBezTo>
                  <a:pt x="1205" y="145"/>
                  <a:pt x="1205" y="144"/>
                  <a:pt x="1204" y="144"/>
                </a:cubicBezTo>
                <a:cubicBezTo>
                  <a:pt x="1203" y="144"/>
                  <a:pt x="1202" y="143"/>
                  <a:pt x="1201" y="143"/>
                </a:cubicBezTo>
                <a:cubicBezTo>
                  <a:pt x="1200" y="142"/>
                  <a:pt x="1199" y="142"/>
                  <a:pt x="1198" y="141"/>
                </a:cubicBezTo>
                <a:cubicBezTo>
                  <a:pt x="1197" y="141"/>
                  <a:pt x="1195" y="141"/>
                  <a:pt x="1194" y="141"/>
                </a:cubicBezTo>
                <a:cubicBezTo>
                  <a:pt x="1192" y="141"/>
                  <a:pt x="1190" y="140"/>
                  <a:pt x="1188" y="140"/>
                </a:cubicBezTo>
                <a:cubicBezTo>
                  <a:pt x="1187" y="140"/>
                  <a:pt x="1188" y="141"/>
                  <a:pt x="1187" y="141"/>
                </a:cubicBezTo>
                <a:cubicBezTo>
                  <a:pt x="1186" y="141"/>
                  <a:pt x="1185" y="141"/>
                  <a:pt x="1185" y="141"/>
                </a:cubicBezTo>
                <a:cubicBezTo>
                  <a:pt x="1183" y="141"/>
                  <a:pt x="1181" y="142"/>
                  <a:pt x="1179" y="141"/>
                </a:cubicBezTo>
                <a:cubicBezTo>
                  <a:pt x="1178" y="140"/>
                  <a:pt x="1178" y="140"/>
                  <a:pt x="1177" y="139"/>
                </a:cubicBezTo>
                <a:cubicBezTo>
                  <a:pt x="1176" y="138"/>
                  <a:pt x="1175" y="139"/>
                  <a:pt x="1174" y="138"/>
                </a:cubicBezTo>
                <a:cubicBezTo>
                  <a:pt x="1172" y="138"/>
                  <a:pt x="1171" y="137"/>
                  <a:pt x="1169" y="136"/>
                </a:cubicBezTo>
                <a:cubicBezTo>
                  <a:pt x="1170" y="136"/>
                  <a:pt x="1170" y="137"/>
                  <a:pt x="1171" y="136"/>
                </a:cubicBezTo>
                <a:cubicBezTo>
                  <a:pt x="1171" y="136"/>
                  <a:pt x="1170" y="135"/>
                  <a:pt x="1170" y="135"/>
                </a:cubicBezTo>
                <a:cubicBezTo>
                  <a:pt x="1171" y="135"/>
                  <a:pt x="1170" y="135"/>
                  <a:pt x="1170" y="135"/>
                </a:cubicBezTo>
                <a:cubicBezTo>
                  <a:pt x="1170" y="134"/>
                  <a:pt x="1169" y="134"/>
                  <a:pt x="1169" y="134"/>
                </a:cubicBezTo>
                <a:cubicBezTo>
                  <a:pt x="1169" y="133"/>
                  <a:pt x="1168" y="133"/>
                  <a:pt x="1168" y="133"/>
                </a:cubicBezTo>
                <a:cubicBezTo>
                  <a:pt x="1167" y="132"/>
                  <a:pt x="1167" y="133"/>
                  <a:pt x="1167" y="133"/>
                </a:cubicBezTo>
                <a:cubicBezTo>
                  <a:pt x="1167" y="133"/>
                  <a:pt x="1168" y="134"/>
                  <a:pt x="1168" y="134"/>
                </a:cubicBezTo>
                <a:cubicBezTo>
                  <a:pt x="1168" y="135"/>
                  <a:pt x="1167" y="135"/>
                  <a:pt x="1166" y="134"/>
                </a:cubicBezTo>
                <a:cubicBezTo>
                  <a:pt x="1166" y="134"/>
                  <a:pt x="1165" y="134"/>
                  <a:pt x="1165" y="134"/>
                </a:cubicBezTo>
                <a:cubicBezTo>
                  <a:pt x="1165" y="133"/>
                  <a:pt x="1165" y="133"/>
                  <a:pt x="1164" y="133"/>
                </a:cubicBezTo>
                <a:cubicBezTo>
                  <a:pt x="1164" y="133"/>
                  <a:pt x="1163" y="132"/>
                  <a:pt x="1163" y="132"/>
                </a:cubicBezTo>
                <a:cubicBezTo>
                  <a:pt x="1163" y="133"/>
                  <a:pt x="1164" y="133"/>
                  <a:pt x="1164" y="133"/>
                </a:cubicBezTo>
                <a:cubicBezTo>
                  <a:pt x="1163" y="133"/>
                  <a:pt x="1163" y="133"/>
                  <a:pt x="1162" y="133"/>
                </a:cubicBezTo>
                <a:cubicBezTo>
                  <a:pt x="1163" y="133"/>
                  <a:pt x="1164" y="133"/>
                  <a:pt x="1165" y="134"/>
                </a:cubicBezTo>
                <a:cubicBezTo>
                  <a:pt x="1165" y="135"/>
                  <a:pt x="1163" y="135"/>
                  <a:pt x="1162" y="135"/>
                </a:cubicBezTo>
                <a:cubicBezTo>
                  <a:pt x="1163" y="135"/>
                  <a:pt x="1163" y="135"/>
                  <a:pt x="1163" y="135"/>
                </a:cubicBezTo>
                <a:cubicBezTo>
                  <a:pt x="1163" y="135"/>
                  <a:pt x="1162" y="134"/>
                  <a:pt x="1162" y="134"/>
                </a:cubicBezTo>
                <a:cubicBezTo>
                  <a:pt x="1162" y="135"/>
                  <a:pt x="1162" y="135"/>
                  <a:pt x="1163" y="136"/>
                </a:cubicBezTo>
                <a:cubicBezTo>
                  <a:pt x="1163" y="136"/>
                  <a:pt x="1164" y="137"/>
                  <a:pt x="1165" y="137"/>
                </a:cubicBezTo>
                <a:cubicBezTo>
                  <a:pt x="1166" y="138"/>
                  <a:pt x="1168" y="139"/>
                  <a:pt x="1170" y="139"/>
                </a:cubicBezTo>
                <a:cubicBezTo>
                  <a:pt x="1171" y="139"/>
                  <a:pt x="1171" y="139"/>
                  <a:pt x="1172" y="140"/>
                </a:cubicBezTo>
                <a:cubicBezTo>
                  <a:pt x="1172" y="140"/>
                  <a:pt x="1173" y="140"/>
                  <a:pt x="1173" y="141"/>
                </a:cubicBezTo>
                <a:cubicBezTo>
                  <a:pt x="1173" y="142"/>
                  <a:pt x="1172" y="142"/>
                  <a:pt x="1172" y="142"/>
                </a:cubicBezTo>
                <a:cubicBezTo>
                  <a:pt x="1171" y="142"/>
                  <a:pt x="1170" y="142"/>
                  <a:pt x="1170" y="142"/>
                </a:cubicBezTo>
                <a:cubicBezTo>
                  <a:pt x="1170" y="142"/>
                  <a:pt x="1169" y="143"/>
                  <a:pt x="1170" y="143"/>
                </a:cubicBezTo>
                <a:cubicBezTo>
                  <a:pt x="1170" y="143"/>
                  <a:pt x="1171" y="143"/>
                  <a:pt x="1171" y="143"/>
                </a:cubicBezTo>
                <a:cubicBezTo>
                  <a:pt x="1171" y="143"/>
                  <a:pt x="1171" y="143"/>
                  <a:pt x="1171" y="143"/>
                </a:cubicBezTo>
                <a:cubicBezTo>
                  <a:pt x="1171" y="143"/>
                  <a:pt x="1172" y="143"/>
                  <a:pt x="1172" y="143"/>
                </a:cubicBezTo>
                <a:cubicBezTo>
                  <a:pt x="1172" y="142"/>
                  <a:pt x="1171" y="142"/>
                  <a:pt x="1171" y="142"/>
                </a:cubicBezTo>
                <a:cubicBezTo>
                  <a:pt x="1172" y="142"/>
                  <a:pt x="1173" y="142"/>
                  <a:pt x="1174" y="142"/>
                </a:cubicBezTo>
                <a:cubicBezTo>
                  <a:pt x="1174" y="142"/>
                  <a:pt x="1174" y="143"/>
                  <a:pt x="1175" y="143"/>
                </a:cubicBezTo>
                <a:cubicBezTo>
                  <a:pt x="1175" y="143"/>
                  <a:pt x="1175" y="144"/>
                  <a:pt x="1176" y="144"/>
                </a:cubicBezTo>
                <a:cubicBezTo>
                  <a:pt x="1176" y="144"/>
                  <a:pt x="1175" y="144"/>
                  <a:pt x="1175" y="145"/>
                </a:cubicBezTo>
                <a:cubicBezTo>
                  <a:pt x="1175" y="145"/>
                  <a:pt x="1175" y="145"/>
                  <a:pt x="1174" y="145"/>
                </a:cubicBezTo>
                <a:cubicBezTo>
                  <a:pt x="1174" y="145"/>
                  <a:pt x="1174" y="145"/>
                  <a:pt x="1174" y="145"/>
                </a:cubicBezTo>
                <a:cubicBezTo>
                  <a:pt x="1174" y="145"/>
                  <a:pt x="1174" y="145"/>
                  <a:pt x="1174" y="145"/>
                </a:cubicBezTo>
                <a:cubicBezTo>
                  <a:pt x="1173" y="146"/>
                  <a:pt x="1173" y="146"/>
                  <a:pt x="1174" y="147"/>
                </a:cubicBezTo>
                <a:cubicBezTo>
                  <a:pt x="1174" y="147"/>
                  <a:pt x="1174" y="147"/>
                  <a:pt x="1173" y="148"/>
                </a:cubicBezTo>
                <a:cubicBezTo>
                  <a:pt x="1172" y="148"/>
                  <a:pt x="1171" y="148"/>
                  <a:pt x="1171" y="149"/>
                </a:cubicBezTo>
                <a:cubicBezTo>
                  <a:pt x="1171" y="149"/>
                  <a:pt x="1170" y="150"/>
                  <a:pt x="1169" y="150"/>
                </a:cubicBezTo>
                <a:cubicBezTo>
                  <a:pt x="1169" y="149"/>
                  <a:pt x="1170" y="150"/>
                  <a:pt x="1170" y="149"/>
                </a:cubicBezTo>
                <a:cubicBezTo>
                  <a:pt x="1171" y="149"/>
                  <a:pt x="1170" y="149"/>
                  <a:pt x="1169" y="149"/>
                </a:cubicBezTo>
                <a:cubicBezTo>
                  <a:pt x="1169" y="149"/>
                  <a:pt x="1168" y="149"/>
                  <a:pt x="1167" y="149"/>
                </a:cubicBezTo>
                <a:cubicBezTo>
                  <a:pt x="1167" y="149"/>
                  <a:pt x="1166" y="149"/>
                  <a:pt x="1165" y="149"/>
                </a:cubicBezTo>
                <a:cubicBezTo>
                  <a:pt x="1165" y="149"/>
                  <a:pt x="1164" y="149"/>
                  <a:pt x="1164" y="149"/>
                </a:cubicBezTo>
                <a:cubicBezTo>
                  <a:pt x="1163" y="149"/>
                  <a:pt x="1162" y="149"/>
                  <a:pt x="1161" y="149"/>
                </a:cubicBezTo>
                <a:cubicBezTo>
                  <a:pt x="1161" y="148"/>
                  <a:pt x="1160" y="148"/>
                  <a:pt x="1160" y="148"/>
                </a:cubicBezTo>
                <a:cubicBezTo>
                  <a:pt x="1159" y="148"/>
                  <a:pt x="1158" y="148"/>
                  <a:pt x="1158" y="147"/>
                </a:cubicBezTo>
                <a:cubicBezTo>
                  <a:pt x="1158" y="147"/>
                  <a:pt x="1158" y="147"/>
                  <a:pt x="1159" y="147"/>
                </a:cubicBezTo>
                <a:cubicBezTo>
                  <a:pt x="1158" y="147"/>
                  <a:pt x="1157" y="147"/>
                  <a:pt x="1156" y="146"/>
                </a:cubicBezTo>
                <a:cubicBezTo>
                  <a:pt x="1155" y="146"/>
                  <a:pt x="1154" y="146"/>
                  <a:pt x="1153" y="145"/>
                </a:cubicBezTo>
                <a:cubicBezTo>
                  <a:pt x="1153" y="145"/>
                  <a:pt x="1152" y="145"/>
                  <a:pt x="1152" y="145"/>
                </a:cubicBezTo>
                <a:cubicBezTo>
                  <a:pt x="1151" y="145"/>
                  <a:pt x="1151" y="145"/>
                  <a:pt x="1150" y="145"/>
                </a:cubicBezTo>
                <a:cubicBezTo>
                  <a:pt x="1149" y="146"/>
                  <a:pt x="1149" y="145"/>
                  <a:pt x="1148" y="145"/>
                </a:cubicBezTo>
                <a:cubicBezTo>
                  <a:pt x="1148" y="145"/>
                  <a:pt x="1148" y="145"/>
                  <a:pt x="1147" y="145"/>
                </a:cubicBezTo>
                <a:cubicBezTo>
                  <a:pt x="1148" y="146"/>
                  <a:pt x="1148" y="145"/>
                  <a:pt x="1149" y="146"/>
                </a:cubicBezTo>
                <a:cubicBezTo>
                  <a:pt x="1149" y="146"/>
                  <a:pt x="1150" y="146"/>
                  <a:pt x="1150" y="146"/>
                </a:cubicBezTo>
                <a:cubicBezTo>
                  <a:pt x="1151" y="146"/>
                  <a:pt x="1152" y="145"/>
                  <a:pt x="1153" y="146"/>
                </a:cubicBezTo>
                <a:cubicBezTo>
                  <a:pt x="1154" y="146"/>
                  <a:pt x="1156" y="147"/>
                  <a:pt x="1157" y="147"/>
                </a:cubicBezTo>
                <a:cubicBezTo>
                  <a:pt x="1158" y="148"/>
                  <a:pt x="1156" y="148"/>
                  <a:pt x="1156" y="148"/>
                </a:cubicBezTo>
                <a:cubicBezTo>
                  <a:pt x="1155" y="148"/>
                  <a:pt x="1155" y="147"/>
                  <a:pt x="1154" y="147"/>
                </a:cubicBezTo>
                <a:cubicBezTo>
                  <a:pt x="1154" y="147"/>
                  <a:pt x="1152" y="147"/>
                  <a:pt x="1152" y="147"/>
                </a:cubicBezTo>
                <a:cubicBezTo>
                  <a:pt x="1152" y="148"/>
                  <a:pt x="1151" y="148"/>
                  <a:pt x="1151" y="147"/>
                </a:cubicBezTo>
                <a:cubicBezTo>
                  <a:pt x="1150" y="147"/>
                  <a:pt x="1149" y="147"/>
                  <a:pt x="1148" y="147"/>
                </a:cubicBezTo>
                <a:cubicBezTo>
                  <a:pt x="1148" y="147"/>
                  <a:pt x="1147" y="146"/>
                  <a:pt x="1147" y="146"/>
                </a:cubicBezTo>
                <a:cubicBezTo>
                  <a:pt x="1146" y="146"/>
                  <a:pt x="1147" y="147"/>
                  <a:pt x="1147" y="147"/>
                </a:cubicBezTo>
                <a:cubicBezTo>
                  <a:pt x="1148" y="147"/>
                  <a:pt x="1148" y="147"/>
                  <a:pt x="1149" y="147"/>
                </a:cubicBezTo>
                <a:cubicBezTo>
                  <a:pt x="1150" y="147"/>
                  <a:pt x="1150" y="148"/>
                  <a:pt x="1151" y="148"/>
                </a:cubicBezTo>
                <a:cubicBezTo>
                  <a:pt x="1152" y="148"/>
                  <a:pt x="1152" y="148"/>
                  <a:pt x="1152" y="149"/>
                </a:cubicBezTo>
                <a:cubicBezTo>
                  <a:pt x="1153" y="149"/>
                  <a:pt x="1152" y="149"/>
                  <a:pt x="1152" y="149"/>
                </a:cubicBezTo>
                <a:cubicBezTo>
                  <a:pt x="1151" y="149"/>
                  <a:pt x="1152" y="150"/>
                  <a:pt x="1152" y="150"/>
                </a:cubicBezTo>
                <a:cubicBezTo>
                  <a:pt x="1152" y="150"/>
                  <a:pt x="1152" y="149"/>
                  <a:pt x="1153" y="149"/>
                </a:cubicBezTo>
                <a:cubicBezTo>
                  <a:pt x="1153" y="150"/>
                  <a:pt x="1153" y="149"/>
                  <a:pt x="1153" y="149"/>
                </a:cubicBezTo>
                <a:cubicBezTo>
                  <a:pt x="1154" y="149"/>
                  <a:pt x="1155" y="149"/>
                  <a:pt x="1156" y="150"/>
                </a:cubicBezTo>
                <a:cubicBezTo>
                  <a:pt x="1156" y="150"/>
                  <a:pt x="1157" y="150"/>
                  <a:pt x="1157" y="150"/>
                </a:cubicBezTo>
                <a:cubicBezTo>
                  <a:pt x="1157" y="150"/>
                  <a:pt x="1157" y="149"/>
                  <a:pt x="1157" y="149"/>
                </a:cubicBezTo>
                <a:cubicBezTo>
                  <a:pt x="1157" y="148"/>
                  <a:pt x="1159" y="148"/>
                  <a:pt x="1159" y="148"/>
                </a:cubicBezTo>
                <a:cubicBezTo>
                  <a:pt x="1160" y="148"/>
                  <a:pt x="1161" y="150"/>
                  <a:pt x="1162" y="150"/>
                </a:cubicBezTo>
                <a:cubicBezTo>
                  <a:pt x="1162" y="151"/>
                  <a:pt x="1163" y="151"/>
                  <a:pt x="1164" y="152"/>
                </a:cubicBezTo>
                <a:cubicBezTo>
                  <a:pt x="1165" y="152"/>
                  <a:pt x="1166" y="152"/>
                  <a:pt x="1167" y="153"/>
                </a:cubicBezTo>
                <a:cubicBezTo>
                  <a:pt x="1169" y="153"/>
                  <a:pt x="1170" y="154"/>
                  <a:pt x="1172" y="154"/>
                </a:cubicBezTo>
                <a:cubicBezTo>
                  <a:pt x="1172" y="153"/>
                  <a:pt x="1170" y="153"/>
                  <a:pt x="1171" y="153"/>
                </a:cubicBezTo>
                <a:cubicBezTo>
                  <a:pt x="1171" y="153"/>
                  <a:pt x="1171" y="152"/>
                  <a:pt x="1171" y="152"/>
                </a:cubicBezTo>
                <a:cubicBezTo>
                  <a:pt x="1172" y="152"/>
                  <a:pt x="1173" y="153"/>
                  <a:pt x="1174" y="154"/>
                </a:cubicBezTo>
                <a:cubicBezTo>
                  <a:pt x="1175" y="154"/>
                  <a:pt x="1176" y="155"/>
                  <a:pt x="1177" y="155"/>
                </a:cubicBezTo>
                <a:cubicBezTo>
                  <a:pt x="1177" y="155"/>
                  <a:pt x="1176" y="155"/>
                  <a:pt x="1176" y="155"/>
                </a:cubicBezTo>
                <a:cubicBezTo>
                  <a:pt x="1176" y="156"/>
                  <a:pt x="1177" y="156"/>
                  <a:pt x="1177" y="156"/>
                </a:cubicBezTo>
                <a:cubicBezTo>
                  <a:pt x="1177" y="156"/>
                  <a:pt x="1177" y="156"/>
                  <a:pt x="1177" y="156"/>
                </a:cubicBezTo>
                <a:cubicBezTo>
                  <a:pt x="1177" y="156"/>
                  <a:pt x="1177" y="156"/>
                  <a:pt x="1178" y="156"/>
                </a:cubicBezTo>
                <a:cubicBezTo>
                  <a:pt x="1178" y="156"/>
                  <a:pt x="1178" y="156"/>
                  <a:pt x="1179" y="156"/>
                </a:cubicBezTo>
                <a:cubicBezTo>
                  <a:pt x="1179" y="156"/>
                  <a:pt x="1180" y="156"/>
                  <a:pt x="1180" y="157"/>
                </a:cubicBezTo>
                <a:cubicBezTo>
                  <a:pt x="1181" y="157"/>
                  <a:pt x="1183" y="158"/>
                  <a:pt x="1184" y="159"/>
                </a:cubicBezTo>
                <a:cubicBezTo>
                  <a:pt x="1183" y="159"/>
                  <a:pt x="1183" y="159"/>
                  <a:pt x="1182" y="159"/>
                </a:cubicBezTo>
                <a:cubicBezTo>
                  <a:pt x="1183" y="159"/>
                  <a:pt x="1184" y="159"/>
                  <a:pt x="1184" y="159"/>
                </a:cubicBezTo>
                <a:cubicBezTo>
                  <a:pt x="1183" y="160"/>
                  <a:pt x="1183" y="159"/>
                  <a:pt x="1182" y="159"/>
                </a:cubicBezTo>
                <a:cubicBezTo>
                  <a:pt x="1182" y="159"/>
                  <a:pt x="1183" y="160"/>
                  <a:pt x="1182" y="159"/>
                </a:cubicBezTo>
                <a:cubicBezTo>
                  <a:pt x="1182" y="159"/>
                  <a:pt x="1182" y="159"/>
                  <a:pt x="1181" y="159"/>
                </a:cubicBezTo>
                <a:cubicBezTo>
                  <a:pt x="1181" y="159"/>
                  <a:pt x="1180" y="159"/>
                  <a:pt x="1181" y="160"/>
                </a:cubicBezTo>
                <a:cubicBezTo>
                  <a:pt x="1181" y="160"/>
                  <a:pt x="1182" y="160"/>
                  <a:pt x="1182" y="160"/>
                </a:cubicBezTo>
                <a:cubicBezTo>
                  <a:pt x="1183" y="160"/>
                  <a:pt x="1182" y="160"/>
                  <a:pt x="1183" y="160"/>
                </a:cubicBezTo>
                <a:cubicBezTo>
                  <a:pt x="1183" y="160"/>
                  <a:pt x="1184" y="160"/>
                  <a:pt x="1184" y="160"/>
                </a:cubicBezTo>
                <a:cubicBezTo>
                  <a:pt x="1185" y="160"/>
                  <a:pt x="1185" y="160"/>
                  <a:pt x="1185" y="161"/>
                </a:cubicBezTo>
                <a:cubicBezTo>
                  <a:pt x="1186" y="161"/>
                  <a:pt x="1185" y="161"/>
                  <a:pt x="1186" y="161"/>
                </a:cubicBezTo>
                <a:cubicBezTo>
                  <a:pt x="1186" y="162"/>
                  <a:pt x="1186" y="161"/>
                  <a:pt x="1187" y="161"/>
                </a:cubicBezTo>
                <a:cubicBezTo>
                  <a:pt x="1188" y="161"/>
                  <a:pt x="1187" y="161"/>
                  <a:pt x="1186" y="161"/>
                </a:cubicBezTo>
                <a:cubicBezTo>
                  <a:pt x="1186" y="160"/>
                  <a:pt x="1185" y="160"/>
                  <a:pt x="1184" y="160"/>
                </a:cubicBezTo>
                <a:cubicBezTo>
                  <a:pt x="1185" y="160"/>
                  <a:pt x="1186" y="160"/>
                  <a:pt x="1187" y="161"/>
                </a:cubicBezTo>
                <a:cubicBezTo>
                  <a:pt x="1188" y="161"/>
                  <a:pt x="1189" y="162"/>
                  <a:pt x="1190" y="162"/>
                </a:cubicBezTo>
                <a:cubicBezTo>
                  <a:pt x="1189" y="162"/>
                  <a:pt x="1188" y="161"/>
                  <a:pt x="1187" y="162"/>
                </a:cubicBezTo>
                <a:cubicBezTo>
                  <a:pt x="1187" y="162"/>
                  <a:pt x="1189" y="162"/>
                  <a:pt x="1190" y="162"/>
                </a:cubicBezTo>
                <a:cubicBezTo>
                  <a:pt x="1190" y="162"/>
                  <a:pt x="1191" y="163"/>
                  <a:pt x="1192" y="163"/>
                </a:cubicBezTo>
                <a:cubicBezTo>
                  <a:pt x="1193" y="163"/>
                  <a:pt x="1195" y="163"/>
                  <a:pt x="1196" y="165"/>
                </a:cubicBezTo>
                <a:cubicBezTo>
                  <a:pt x="1195" y="165"/>
                  <a:pt x="1196" y="166"/>
                  <a:pt x="1196" y="166"/>
                </a:cubicBezTo>
                <a:cubicBezTo>
                  <a:pt x="1197" y="166"/>
                  <a:pt x="1198" y="166"/>
                  <a:pt x="1199" y="167"/>
                </a:cubicBezTo>
                <a:cubicBezTo>
                  <a:pt x="1200" y="167"/>
                  <a:pt x="1200" y="167"/>
                  <a:pt x="1201" y="168"/>
                </a:cubicBezTo>
                <a:cubicBezTo>
                  <a:pt x="1202" y="168"/>
                  <a:pt x="1203" y="168"/>
                  <a:pt x="1203" y="169"/>
                </a:cubicBezTo>
                <a:cubicBezTo>
                  <a:pt x="1203" y="169"/>
                  <a:pt x="1202" y="169"/>
                  <a:pt x="1202" y="169"/>
                </a:cubicBezTo>
                <a:cubicBezTo>
                  <a:pt x="1202" y="169"/>
                  <a:pt x="1203" y="170"/>
                  <a:pt x="1202" y="170"/>
                </a:cubicBezTo>
                <a:cubicBezTo>
                  <a:pt x="1201" y="170"/>
                  <a:pt x="1201" y="171"/>
                  <a:pt x="1202" y="171"/>
                </a:cubicBezTo>
                <a:cubicBezTo>
                  <a:pt x="1203" y="171"/>
                  <a:pt x="1204" y="173"/>
                  <a:pt x="1203" y="172"/>
                </a:cubicBezTo>
                <a:cubicBezTo>
                  <a:pt x="1203" y="172"/>
                  <a:pt x="1202" y="172"/>
                  <a:pt x="1202" y="172"/>
                </a:cubicBezTo>
                <a:cubicBezTo>
                  <a:pt x="1201" y="172"/>
                  <a:pt x="1200" y="171"/>
                  <a:pt x="1200" y="171"/>
                </a:cubicBezTo>
                <a:cubicBezTo>
                  <a:pt x="1198" y="171"/>
                  <a:pt x="1196" y="171"/>
                  <a:pt x="1195" y="170"/>
                </a:cubicBezTo>
                <a:cubicBezTo>
                  <a:pt x="1193" y="170"/>
                  <a:pt x="1192" y="170"/>
                  <a:pt x="1190" y="170"/>
                </a:cubicBezTo>
                <a:cubicBezTo>
                  <a:pt x="1189" y="169"/>
                  <a:pt x="1187" y="170"/>
                  <a:pt x="1186" y="169"/>
                </a:cubicBezTo>
                <a:cubicBezTo>
                  <a:pt x="1186" y="169"/>
                  <a:pt x="1184" y="167"/>
                  <a:pt x="1185" y="168"/>
                </a:cubicBezTo>
                <a:cubicBezTo>
                  <a:pt x="1185" y="167"/>
                  <a:pt x="1184" y="167"/>
                  <a:pt x="1184" y="167"/>
                </a:cubicBezTo>
                <a:cubicBezTo>
                  <a:pt x="1184" y="168"/>
                  <a:pt x="1184" y="168"/>
                  <a:pt x="1184" y="168"/>
                </a:cubicBezTo>
                <a:cubicBezTo>
                  <a:pt x="1183" y="168"/>
                  <a:pt x="1183" y="168"/>
                  <a:pt x="1182" y="167"/>
                </a:cubicBezTo>
                <a:cubicBezTo>
                  <a:pt x="1182" y="167"/>
                  <a:pt x="1181" y="167"/>
                  <a:pt x="1180" y="167"/>
                </a:cubicBezTo>
                <a:cubicBezTo>
                  <a:pt x="1181" y="167"/>
                  <a:pt x="1181" y="167"/>
                  <a:pt x="1182" y="168"/>
                </a:cubicBezTo>
                <a:cubicBezTo>
                  <a:pt x="1182" y="168"/>
                  <a:pt x="1182" y="168"/>
                  <a:pt x="1183" y="169"/>
                </a:cubicBezTo>
                <a:cubicBezTo>
                  <a:pt x="1183" y="169"/>
                  <a:pt x="1184" y="169"/>
                  <a:pt x="1184" y="169"/>
                </a:cubicBezTo>
                <a:cubicBezTo>
                  <a:pt x="1185" y="170"/>
                  <a:pt x="1185" y="169"/>
                  <a:pt x="1186" y="170"/>
                </a:cubicBezTo>
                <a:cubicBezTo>
                  <a:pt x="1185" y="170"/>
                  <a:pt x="1183" y="170"/>
                  <a:pt x="1183" y="170"/>
                </a:cubicBezTo>
                <a:cubicBezTo>
                  <a:pt x="1183" y="170"/>
                  <a:pt x="1182" y="170"/>
                  <a:pt x="1182" y="170"/>
                </a:cubicBezTo>
                <a:cubicBezTo>
                  <a:pt x="1182" y="170"/>
                  <a:pt x="1182" y="170"/>
                  <a:pt x="1183" y="171"/>
                </a:cubicBezTo>
                <a:cubicBezTo>
                  <a:pt x="1182" y="170"/>
                  <a:pt x="1182" y="172"/>
                  <a:pt x="1182" y="172"/>
                </a:cubicBezTo>
                <a:cubicBezTo>
                  <a:pt x="1181" y="173"/>
                  <a:pt x="1181" y="172"/>
                  <a:pt x="1180" y="173"/>
                </a:cubicBezTo>
                <a:cubicBezTo>
                  <a:pt x="1179" y="173"/>
                  <a:pt x="1179" y="174"/>
                  <a:pt x="1178" y="174"/>
                </a:cubicBezTo>
                <a:cubicBezTo>
                  <a:pt x="1177" y="174"/>
                  <a:pt x="1177" y="174"/>
                  <a:pt x="1176" y="174"/>
                </a:cubicBezTo>
                <a:cubicBezTo>
                  <a:pt x="1176" y="174"/>
                  <a:pt x="1178" y="174"/>
                  <a:pt x="1177" y="175"/>
                </a:cubicBezTo>
                <a:cubicBezTo>
                  <a:pt x="1177" y="175"/>
                  <a:pt x="1176" y="175"/>
                  <a:pt x="1175" y="176"/>
                </a:cubicBezTo>
                <a:cubicBezTo>
                  <a:pt x="1175" y="175"/>
                  <a:pt x="1174" y="175"/>
                  <a:pt x="1173" y="175"/>
                </a:cubicBezTo>
                <a:cubicBezTo>
                  <a:pt x="1174" y="176"/>
                  <a:pt x="1175" y="176"/>
                  <a:pt x="1175" y="176"/>
                </a:cubicBezTo>
                <a:cubicBezTo>
                  <a:pt x="1176" y="177"/>
                  <a:pt x="1175" y="177"/>
                  <a:pt x="1174" y="177"/>
                </a:cubicBezTo>
                <a:cubicBezTo>
                  <a:pt x="1174" y="177"/>
                  <a:pt x="1173" y="177"/>
                  <a:pt x="1173" y="177"/>
                </a:cubicBezTo>
                <a:cubicBezTo>
                  <a:pt x="1173" y="177"/>
                  <a:pt x="1172" y="177"/>
                  <a:pt x="1172" y="177"/>
                </a:cubicBezTo>
                <a:cubicBezTo>
                  <a:pt x="1171" y="177"/>
                  <a:pt x="1171" y="178"/>
                  <a:pt x="1172" y="177"/>
                </a:cubicBezTo>
                <a:cubicBezTo>
                  <a:pt x="1172" y="178"/>
                  <a:pt x="1172" y="178"/>
                  <a:pt x="1171" y="178"/>
                </a:cubicBezTo>
                <a:cubicBezTo>
                  <a:pt x="1171" y="178"/>
                  <a:pt x="1170" y="178"/>
                  <a:pt x="1169" y="178"/>
                </a:cubicBezTo>
                <a:cubicBezTo>
                  <a:pt x="1167" y="177"/>
                  <a:pt x="1170" y="179"/>
                  <a:pt x="1170" y="180"/>
                </a:cubicBezTo>
                <a:cubicBezTo>
                  <a:pt x="1170" y="180"/>
                  <a:pt x="1169" y="180"/>
                  <a:pt x="1169" y="180"/>
                </a:cubicBezTo>
                <a:cubicBezTo>
                  <a:pt x="1169" y="180"/>
                  <a:pt x="1170" y="180"/>
                  <a:pt x="1170" y="181"/>
                </a:cubicBezTo>
                <a:cubicBezTo>
                  <a:pt x="1169" y="182"/>
                  <a:pt x="1167" y="180"/>
                  <a:pt x="1166" y="181"/>
                </a:cubicBezTo>
                <a:cubicBezTo>
                  <a:pt x="1167" y="181"/>
                  <a:pt x="1168" y="181"/>
                  <a:pt x="1169" y="182"/>
                </a:cubicBezTo>
                <a:cubicBezTo>
                  <a:pt x="1169" y="183"/>
                  <a:pt x="1167" y="182"/>
                  <a:pt x="1167" y="182"/>
                </a:cubicBezTo>
                <a:cubicBezTo>
                  <a:pt x="1167" y="182"/>
                  <a:pt x="1168" y="182"/>
                  <a:pt x="1168" y="183"/>
                </a:cubicBezTo>
                <a:cubicBezTo>
                  <a:pt x="1168" y="183"/>
                  <a:pt x="1168" y="183"/>
                  <a:pt x="1168" y="183"/>
                </a:cubicBezTo>
                <a:cubicBezTo>
                  <a:pt x="1167" y="183"/>
                  <a:pt x="1166" y="183"/>
                  <a:pt x="1165" y="183"/>
                </a:cubicBezTo>
                <a:cubicBezTo>
                  <a:pt x="1166" y="183"/>
                  <a:pt x="1167" y="184"/>
                  <a:pt x="1167" y="184"/>
                </a:cubicBezTo>
                <a:cubicBezTo>
                  <a:pt x="1167" y="184"/>
                  <a:pt x="1166" y="184"/>
                  <a:pt x="1166" y="184"/>
                </a:cubicBezTo>
                <a:cubicBezTo>
                  <a:pt x="1166" y="184"/>
                  <a:pt x="1169" y="184"/>
                  <a:pt x="1168" y="185"/>
                </a:cubicBezTo>
                <a:cubicBezTo>
                  <a:pt x="1167" y="185"/>
                  <a:pt x="1167" y="185"/>
                  <a:pt x="1166" y="185"/>
                </a:cubicBezTo>
                <a:cubicBezTo>
                  <a:pt x="1167" y="185"/>
                  <a:pt x="1167" y="185"/>
                  <a:pt x="1167" y="185"/>
                </a:cubicBezTo>
                <a:cubicBezTo>
                  <a:pt x="1167" y="185"/>
                  <a:pt x="1167" y="185"/>
                  <a:pt x="1167" y="186"/>
                </a:cubicBezTo>
                <a:cubicBezTo>
                  <a:pt x="1167" y="186"/>
                  <a:pt x="1167" y="186"/>
                  <a:pt x="1167" y="186"/>
                </a:cubicBezTo>
                <a:cubicBezTo>
                  <a:pt x="1167" y="186"/>
                  <a:pt x="1168" y="187"/>
                  <a:pt x="1167" y="187"/>
                </a:cubicBezTo>
                <a:cubicBezTo>
                  <a:pt x="1167" y="187"/>
                  <a:pt x="1166" y="186"/>
                  <a:pt x="1166" y="186"/>
                </a:cubicBezTo>
                <a:cubicBezTo>
                  <a:pt x="1166" y="186"/>
                  <a:pt x="1167" y="187"/>
                  <a:pt x="1167" y="187"/>
                </a:cubicBezTo>
                <a:cubicBezTo>
                  <a:pt x="1166" y="187"/>
                  <a:pt x="1166" y="187"/>
                  <a:pt x="1165" y="187"/>
                </a:cubicBezTo>
                <a:cubicBezTo>
                  <a:pt x="1165" y="187"/>
                  <a:pt x="1165" y="187"/>
                  <a:pt x="1164" y="187"/>
                </a:cubicBezTo>
                <a:cubicBezTo>
                  <a:pt x="1165" y="187"/>
                  <a:pt x="1166" y="187"/>
                  <a:pt x="1166" y="188"/>
                </a:cubicBezTo>
                <a:cubicBezTo>
                  <a:pt x="1166" y="188"/>
                  <a:pt x="1164" y="187"/>
                  <a:pt x="1164" y="187"/>
                </a:cubicBezTo>
                <a:cubicBezTo>
                  <a:pt x="1164" y="188"/>
                  <a:pt x="1166" y="189"/>
                  <a:pt x="1164" y="190"/>
                </a:cubicBezTo>
                <a:cubicBezTo>
                  <a:pt x="1164" y="190"/>
                  <a:pt x="1164" y="189"/>
                  <a:pt x="1164" y="190"/>
                </a:cubicBezTo>
                <a:cubicBezTo>
                  <a:pt x="1163" y="190"/>
                  <a:pt x="1163" y="190"/>
                  <a:pt x="1163" y="190"/>
                </a:cubicBezTo>
                <a:cubicBezTo>
                  <a:pt x="1163" y="190"/>
                  <a:pt x="1162" y="190"/>
                  <a:pt x="1161" y="190"/>
                </a:cubicBezTo>
                <a:cubicBezTo>
                  <a:pt x="1162" y="190"/>
                  <a:pt x="1162" y="190"/>
                  <a:pt x="1163" y="191"/>
                </a:cubicBezTo>
                <a:cubicBezTo>
                  <a:pt x="1163" y="191"/>
                  <a:pt x="1161" y="191"/>
                  <a:pt x="1161" y="191"/>
                </a:cubicBezTo>
                <a:cubicBezTo>
                  <a:pt x="1161" y="191"/>
                  <a:pt x="1163" y="192"/>
                  <a:pt x="1163" y="192"/>
                </a:cubicBezTo>
                <a:cubicBezTo>
                  <a:pt x="1162" y="193"/>
                  <a:pt x="1165" y="195"/>
                  <a:pt x="1165" y="195"/>
                </a:cubicBezTo>
                <a:cubicBezTo>
                  <a:pt x="1166" y="196"/>
                  <a:pt x="1165" y="196"/>
                  <a:pt x="1164" y="196"/>
                </a:cubicBezTo>
                <a:cubicBezTo>
                  <a:pt x="1163" y="196"/>
                  <a:pt x="1163" y="195"/>
                  <a:pt x="1162" y="195"/>
                </a:cubicBezTo>
                <a:cubicBezTo>
                  <a:pt x="1161" y="194"/>
                  <a:pt x="1160" y="194"/>
                  <a:pt x="1159" y="194"/>
                </a:cubicBezTo>
                <a:cubicBezTo>
                  <a:pt x="1159" y="193"/>
                  <a:pt x="1158" y="193"/>
                  <a:pt x="1159" y="193"/>
                </a:cubicBezTo>
                <a:cubicBezTo>
                  <a:pt x="1159" y="193"/>
                  <a:pt x="1158" y="193"/>
                  <a:pt x="1158" y="193"/>
                </a:cubicBezTo>
                <a:cubicBezTo>
                  <a:pt x="1157" y="193"/>
                  <a:pt x="1157" y="193"/>
                  <a:pt x="1157" y="192"/>
                </a:cubicBezTo>
                <a:cubicBezTo>
                  <a:pt x="1156" y="192"/>
                  <a:pt x="1155" y="191"/>
                  <a:pt x="1154" y="191"/>
                </a:cubicBezTo>
                <a:cubicBezTo>
                  <a:pt x="1153" y="190"/>
                  <a:pt x="1151" y="190"/>
                  <a:pt x="1150" y="190"/>
                </a:cubicBezTo>
                <a:cubicBezTo>
                  <a:pt x="1150" y="190"/>
                  <a:pt x="1150" y="190"/>
                  <a:pt x="1150" y="190"/>
                </a:cubicBezTo>
                <a:cubicBezTo>
                  <a:pt x="1150" y="189"/>
                  <a:pt x="1149" y="189"/>
                  <a:pt x="1149" y="189"/>
                </a:cubicBezTo>
                <a:cubicBezTo>
                  <a:pt x="1149" y="189"/>
                  <a:pt x="1149" y="189"/>
                  <a:pt x="1149" y="189"/>
                </a:cubicBezTo>
                <a:cubicBezTo>
                  <a:pt x="1149" y="189"/>
                  <a:pt x="1148" y="189"/>
                  <a:pt x="1148" y="189"/>
                </a:cubicBezTo>
                <a:cubicBezTo>
                  <a:pt x="1149" y="190"/>
                  <a:pt x="1148" y="190"/>
                  <a:pt x="1147" y="190"/>
                </a:cubicBezTo>
                <a:cubicBezTo>
                  <a:pt x="1147" y="190"/>
                  <a:pt x="1146" y="190"/>
                  <a:pt x="1146" y="190"/>
                </a:cubicBezTo>
                <a:cubicBezTo>
                  <a:pt x="1145" y="189"/>
                  <a:pt x="1145" y="190"/>
                  <a:pt x="1144" y="190"/>
                </a:cubicBezTo>
                <a:cubicBezTo>
                  <a:pt x="1144" y="189"/>
                  <a:pt x="1144" y="189"/>
                  <a:pt x="1143" y="189"/>
                </a:cubicBezTo>
                <a:cubicBezTo>
                  <a:pt x="1142" y="189"/>
                  <a:pt x="1140" y="190"/>
                  <a:pt x="1138" y="190"/>
                </a:cubicBezTo>
                <a:cubicBezTo>
                  <a:pt x="1138" y="190"/>
                  <a:pt x="1139" y="190"/>
                  <a:pt x="1138" y="190"/>
                </a:cubicBezTo>
                <a:cubicBezTo>
                  <a:pt x="1138" y="191"/>
                  <a:pt x="1138" y="191"/>
                  <a:pt x="1137" y="191"/>
                </a:cubicBezTo>
                <a:cubicBezTo>
                  <a:pt x="1137" y="191"/>
                  <a:pt x="1137" y="191"/>
                  <a:pt x="1137" y="191"/>
                </a:cubicBezTo>
                <a:cubicBezTo>
                  <a:pt x="1137" y="191"/>
                  <a:pt x="1136" y="191"/>
                  <a:pt x="1136" y="190"/>
                </a:cubicBezTo>
                <a:cubicBezTo>
                  <a:pt x="1136" y="191"/>
                  <a:pt x="1137" y="191"/>
                  <a:pt x="1137" y="191"/>
                </a:cubicBezTo>
                <a:cubicBezTo>
                  <a:pt x="1137" y="191"/>
                  <a:pt x="1136" y="191"/>
                  <a:pt x="1136" y="191"/>
                </a:cubicBezTo>
                <a:cubicBezTo>
                  <a:pt x="1137" y="191"/>
                  <a:pt x="1136" y="192"/>
                  <a:pt x="1136" y="192"/>
                </a:cubicBezTo>
                <a:cubicBezTo>
                  <a:pt x="1135" y="191"/>
                  <a:pt x="1135" y="191"/>
                  <a:pt x="1134" y="191"/>
                </a:cubicBezTo>
                <a:cubicBezTo>
                  <a:pt x="1134" y="191"/>
                  <a:pt x="1135" y="191"/>
                  <a:pt x="1135" y="192"/>
                </a:cubicBezTo>
                <a:cubicBezTo>
                  <a:pt x="1135" y="192"/>
                  <a:pt x="1135" y="192"/>
                  <a:pt x="1135" y="192"/>
                </a:cubicBezTo>
                <a:cubicBezTo>
                  <a:pt x="1135" y="193"/>
                  <a:pt x="1135" y="193"/>
                  <a:pt x="1135" y="193"/>
                </a:cubicBezTo>
                <a:cubicBezTo>
                  <a:pt x="1135" y="194"/>
                  <a:pt x="1135" y="195"/>
                  <a:pt x="1135" y="196"/>
                </a:cubicBezTo>
                <a:cubicBezTo>
                  <a:pt x="1135" y="196"/>
                  <a:pt x="1135" y="197"/>
                  <a:pt x="1135" y="197"/>
                </a:cubicBezTo>
                <a:cubicBezTo>
                  <a:pt x="1134" y="197"/>
                  <a:pt x="1134" y="197"/>
                  <a:pt x="1133" y="197"/>
                </a:cubicBezTo>
                <a:cubicBezTo>
                  <a:pt x="1132" y="196"/>
                  <a:pt x="1132" y="195"/>
                  <a:pt x="1131" y="194"/>
                </a:cubicBezTo>
                <a:cubicBezTo>
                  <a:pt x="1131" y="194"/>
                  <a:pt x="1131" y="194"/>
                  <a:pt x="1131" y="193"/>
                </a:cubicBezTo>
                <a:cubicBezTo>
                  <a:pt x="1131" y="193"/>
                  <a:pt x="1130" y="193"/>
                  <a:pt x="1130" y="193"/>
                </a:cubicBezTo>
                <a:cubicBezTo>
                  <a:pt x="1129" y="192"/>
                  <a:pt x="1129" y="192"/>
                  <a:pt x="1128" y="191"/>
                </a:cubicBezTo>
                <a:cubicBezTo>
                  <a:pt x="1129" y="192"/>
                  <a:pt x="1129" y="190"/>
                  <a:pt x="1128" y="190"/>
                </a:cubicBezTo>
                <a:cubicBezTo>
                  <a:pt x="1127" y="190"/>
                  <a:pt x="1127" y="190"/>
                  <a:pt x="1126" y="191"/>
                </a:cubicBezTo>
                <a:cubicBezTo>
                  <a:pt x="1126" y="191"/>
                  <a:pt x="1126" y="191"/>
                  <a:pt x="1126" y="192"/>
                </a:cubicBezTo>
                <a:cubicBezTo>
                  <a:pt x="1125" y="192"/>
                  <a:pt x="1125" y="194"/>
                  <a:pt x="1124" y="193"/>
                </a:cubicBezTo>
                <a:cubicBezTo>
                  <a:pt x="1124" y="193"/>
                  <a:pt x="1125" y="193"/>
                  <a:pt x="1124" y="194"/>
                </a:cubicBezTo>
                <a:cubicBezTo>
                  <a:pt x="1123" y="194"/>
                  <a:pt x="1123" y="194"/>
                  <a:pt x="1122" y="194"/>
                </a:cubicBezTo>
                <a:cubicBezTo>
                  <a:pt x="1122" y="194"/>
                  <a:pt x="1123" y="194"/>
                  <a:pt x="1123" y="194"/>
                </a:cubicBezTo>
                <a:cubicBezTo>
                  <a:pt x="1122" y="194"/>
                  <a:pt x="1122" y="194"/>
                  <a:pt x="1122" y="194"/>
                </a:cubicBezTo>
                <a:cubicBezTo>
                  <a:pt x="1122" y="194"/>
                  <a:pt x="1122" y="194"/>
                  <a:pt x="1123" y="194"/>
                </a:cubicBezTo>
                <a:cubicBezTo>
                  <a:pt x="1123" y="195"/>
                  <a:pt x="1123" y="194"/>
                  <a:pt x="1123" y="194"/>
                </a:cubicBezTo>
                <a:cubicBezTo>
                  <a:pt x="1124" y="195"/>
                  <a:pt x="1125" y="195"/>
                  <a:pt x="1125" y="195"/>
                </a:cubicBezTo>
                <a:cubicBezTo>
                  <a:pt x="1125" y="196"/>
                  <a:pt x="1125" y="197"/>
                  <a:pt x="1125" y="197"/>
                </a:cubicBezTo>
                <a:cubicBezTo>
                  <a:pt x="1125" y="197"/>
                  <a:pt x="1124" y="197"/>
                  <a:pt x="1124" y="197"/>
                </a:cubicBezTo>
                <a:cubicBezTo>
                  <a:pt x="1124" y="197"/>
                  <a:pt x="1123" y="197"/>
                  <a:pt x="1122" y="196"/>
                </a:cubicBezTo>
                <a:cubicBezTo>
                  <a:pt x="1122" y="196"/>
                  <a:pt x="1121" y="195"/>
                  <a:pt x="1120" y="195"/>
                </a:cubicBezTo>
                <a:cubicBezTo>
                  <a:pt x="1120" y="195"/>
                  <a:pt x="1119" y="194"/>
                  <a:pt x="1118" y="194"/>
                </a:cubicBezTo>
                <a:cubicBezTo>
                  <a:pt x="1118" y="194"/>
                  <a:pt x="1117" y="194"/>
                  <a:pt x="1117" y="194"/>
                </a:cubicBezTo>
                <a:cubicBezTo>
                  <a:pt x="1117" y="195"/>
                  <a:pt x="1118" y="195"/>
                  <a:pt x="1118" y="195"/>
                </a:cubicBezTo>
                <a:cubicBezTo>
                  <a:pt x="1118" y="195"/>
                  <a:pt x="1117" y="195"/>
                  <a:pt x="1117" y="195"/>
                </a:cubicBezTo>
                <a:cubicBezTo>
                  <a:pt x="1116" y="196"/>
                  <a:pt x="1118" y="197"/>
                  <a:pt x="1118" y="197"/>
                </a:cubicBezTo>
                <a:cubicBezTo>
                  <a:pt x="1118" y="197"/>
                  <a:pt x="1118" y="197"/>
                  <a:pt x="1117" y="196"/>
                </a:cubicBezTo>
                <a:cubicBezTo>
                  <a:pt x="1117" y="196"/>
                  <a:pt x="1117" y="196"/>
                  <a:pt x="1117" y="196"/>
                </a:cubicBezTo>
                <a:cubicBezTo>
                  <a:pt x="1117" y="195"/>
                  <a:pt x="1117" y="195"/>
                  <a:pt x="1116" y="195"/>
                </a:cubicBezTo>
                <a:cubicBezTo>
                  <a:pt x="1116" y="195"/>
                  <a:pt x="1115" y="195"/>
                  <a:pt x="1115" y="195"/>
                </a:cubicBezTo>
                <a:cubicBezTo>
                  <a:pt x="1114" y="195"/>
                  <a:pt x="1114" y="195"/>
                  <a:pt x="1114" y="195"/>
                </a:cubicBezTo>
                <a:cubicBezTo>
                  <a:pt x="1113" y="194"/>
                  <a:pt x="1113" y="195"/>
                  <a:pt x="1112" y="195"/>
                </a:cubicBezTo>
                <a:cubicBezTo>
                  <a:pt x="1112" y="196"/>
                  <a:pt x="1114" y="195"/>
                  <a:pt x="1114" y="196"/>
                </a:cubicBezTo>
                <a:cubicBezTo>
                  <a:pt x="1114" y="197"/>
                  <a:pt x="1113" y="196"/>
                  <a:pt x="1113" y="196"/>
                </a:cubicBezTo>
                <a:cubicBezTo>
                  <a:pt x="1113" y="197"/>
                  <a:pt x="1112" y="197"/>
                  <a:pt x="1113" y="197"/>
                </a:cubicBezTo>
                <a:cubicBezTo>
                  <a:pt x="1113" y="198"/>
                  <a:pt x="1114" y="198"/>
                  <a:pt x="1114" y="198"/>
                </a:cubicBezTo>
                <a:cubicBezTo>
                  <a:pt x="1114" y="198"/>
                  <a:pt x="1115" y="199"/>
                  <a:pt x="1115" y="199"/>
                </a:cubicBezTo>
                <a:cubicBezTo>
                  <a:pt x="1115" y="199"/>
                  <a:pt x="1114" y="199"/>
                  <a:pt x="1114" y="200"/>
                </a:cubicBezTo>
                <a:cubicBezTo>
                  <a:pt x="1114" y="200"/>
                  <a:pt x="1115" y="201"/>
                  <a:pt x="1116" y="201"/>
                </a:cubicBezTo>
                <a:cubicBezTo>
                  <a:pt x="1117" y="201"/>
                  <a:pt x="1118" y="202"/>
                  <a:pt x="1118" y="203"/>
                </a:cubicBezTo>
                <a:cubicBezTo>
                  <a:pt x="1118" y="202"/>
                  <a:pt x="1116" y="202"/>
                  <a:pt x="1117" y="203"/>
                </a:cubicBezTo>
                <a:cubicBezTo>
                  <a:pt x="1117" y="203"/>
                  <a:pt x="1120" y="204"/>
                  <a:pt x="1120" y="205"/>
                </a:cubicBezTo>
                <a:cubicBezTo>
                  <a:pt x="1120" y="205"/>
                  <a:pt x="1117" y="204"/>
                  <a:pt x="1117" y="204"/>
                </a:cubicBezTo>
                <a:cubicBezTo>
                  <a:pt x="1117" y="204"/>
                  <a:pt x="1116" y="204"/>
                  <a:pt x="1117" y="204"/>
                </a:cubicBezTo>
                <a:cubicBezTo>
                  <a:pt x="1117" y="204"/>
                  <a:pt x="1118" y="205"/>
                  <a:pt x="1118" y="205"/>
                </a:cubicBezTo>
                <a:cubicBezTo>
                  <a:pt x="1119" y="205"/>
                  <a:pt x="1120" y="206"/>
                  <a:pt x="1118" y="206"/>
                </a:cubicBezTo>
                <a:cubicBezTo>
                  <a:pt x="1119" y="206"/>
                  <a:pt x="1118" y="205"/>
                  <a:pt x="1118" y="206"/>
                </a:cubicBezTo>
                <a:cubicBezTo>
                  <a:pt x="1118" y="206"/>
                  <a:pt x="1118" y="206"/>
                  <a:pt x="1118" y="206"/>
                </a:cubicBezTo>
                <a:cubicBezTo>
                  <a:pt x="1117" y="207"/>
                  <a:pt x="1119" y="207"/>
                  <a:pt x="1119" y="207"/>
                </a:cubicBezTo>
                <a:cubicBezTo>
                  <a:pt x="1119" y="207"/>
                  <a:pt x="1118" y="208"/>
                  <a:pt x="1118" y="208"/>
                </a:cubicBezTo>
                <a:cubicBezTo>
                  <a:pt x="1117" y="208"/>
                  <a:pt x="1118" y="209"/>
                  <a:pt x="1118" y="210"/>
                </a:cubicBezTo>
                <a:cubicBezTo>
                  <a:pt x="1118" y="212"/>
                  <a:pt x="1119" y="213"/>
                  <a:pt x="1120" y="214"/>
                </a:cubicBezTo>
                <a:cubicBezTo>
                  <a:pt x="1121" y="216"/>
                  <a:pt x="1123" y="216"/>
                  <a:pt x="1124" y="217"/>
                </a:cubicBezTo>
                <a:cubicBezTo>
                  <a:pt x="1125" y="217"/>
                  <a:pt x="1126" y="217"/>
                  <a:pt x="1127" y="217"/>
                </a:cubicBezTo>
                <a:cubicBezTo>
                  <a:pt x="1127" y="217"/>
                  <a:pt x="1127" y="218"/>
                  <a:pt x="1128" y="218"/>
                </a:cubicBezTo>
                <a:cubicBezTo>
                  <a:pt x="1128" y="219"/>
                  <a:pt x="1129" y="218"/>
                  <a:pt x="1128" y="218"/>
                </a:cubicBezTo>
                <a:cubicBezTo>
                  <a:pt x="1128" y="217"/>
                  <a:pt x="1127" y="217"/>
                  <a:pt x="1127" y="217"/>
                </a:cubicBezTo>
                <a:cubicBezTo>
                  <a:pt x="1126" y="215"/>
                  <a:pt x="1129" y="216"/>
                  <a:pt x="1129" y="216"/>
                </a:cubicBezTo>
                <a:cubicBezTo>
                  <a:pt x="1130" y="217"/>
                  <a:pt x="1131" y="217"/>
                  <a:pt x="1132" y="217"/>
                </a:cubicBezTo>
                <a:cubicBezTo>
                  <a:pt x="1133" y="217"/>
                  <a:pt x="1133" y="217"/>
                  <a:pt x="1134" y="217"/>
                </a:cubicBezTo>
                <a:cubicBezTo>
                  <a:pt x="1134" y="218"/>
                  <a:pt x="1136" y="220"/>
                  <a:pt x="1135" y="220"/>
                </a:cubicBezTo>
                <a:cubicBezTo>
                  <a:pt x="1135" y="220"/>
                  <a:pt x="1136" y="220"/>
                  <a:pt x="1136" y="221"/>
                </a:cubicBezTo>
                <a:cubicBezTo>
                  <a:pt x="1136" y="221"/>
                  <a:pt x="1135" y="221"/>
                  <a:pt x="1135" y="221"/>
                </a:cubicBezTo>
                <a:cubicBezTo>
                  <a:pt x="1135" y="221"/>
                  <a:pt x="1134" y="222"/>
                  <a:pt x="1135" y="222"/>
                </a:cubicBezTo>
                <a:cubicBezTo>
                  <a:pt x="1136" y="223"/>
                  <a:pt x="1136" y="223"/>
                  <a:pt x="1137" y="224"/>
                </a:cubicBezTo>
                <a:cubicBezTo>
                  <a:pt x="1138" y="224"/>
                  <a:pt x="1139" y="225"/>
                  <a:pt x="1140" y="226"/>
                </a:cubicBezTo>
                <a:cubicBezTo>
                  <a:pt x="1141" y="227"/>
                  <a:pt x="1141" y="228"/>
                  <a:pt x="1142" y="229"/>
                </a:cubicBezTo>
                <a:cubicBezTo>
                  <a:pt x="1143" y="229"/>
                  <a:pt x="1145" y="228"/>
                  <a:pt x="1146" y="229"/>
                </a:cubicBezTo>
                <a:cubicBezTo>
                  <a:pt x="1146" y="229"/>
                  <a:pt x="1147" y="230"/>
                  <a:pt x="1148" y="231"/>
                </a:cubicBezTo>
                <a:cubicBezTo>
                  <a:pt x="1148" y="231"/>
                  <a:pt x="1149" y="232"/>
                  <a:pt x="1150" y="232"/>
                </a:cubicBezTo>
                <a:cubicBezTo>
                  <a:pt x="1150" y="232"/>
                  <a:pt x="1151" y="233"/>
                  <a:pt x="1151" y="233"/>
                </a:cubicBezTo>
                <a:cubicBezTo>
                  <a:pt x="1152" y="234"/>
                  <a:pt x="1152" y="234"/>
                  <a:pt x="1151" y="234"/>
                </a:cubicBezTo>
                <a:cubicBezTo>
                  <a:pt x="1151" y="235"/>
                  <a:pt x="1152" y="235"/>
                  <a:pt x="1151" y="236"/>
                </a:cubicBezTo>
                <a:cubicBezTo>
                  <a:pt x="1151" y="236"/>
                  <a:pt x="1150" y="236"/>
                  <a:pt x="1150" y="235"/>
                </a:cubicBezTo>
                <a:cubicBezTo>
                  <a:pt x="1148" y="235"/>
                  <a:pt x="1147" y="234"/>
                  <a:pt x="1145" y="234"/>
                </a:cubicBezTo>
                <a:cubicBezTo>
                  <a:pt x="1146" y="234"/>
                  <a:pt x="1145" y="233"/>
                  <a:pt x="1145" y="232"/>
                </a:cubicBezTo>
                <a:cubicBezTo>
                  <a:pt x="1145" y="232"/>
                  <a:pt x="1146" y="232"/>
                  <a:pt x="1146" y="232"/>
                </a:cubicBezTo>
                <a:cubicBezTo>
                  <a:pt x="1146" y="231"/>
                  <a:pt x="1147" y="231"/>
                  <a:pt x="1147" y="231"/>
                </a:cubicBezTo>
                <a:cubicBezTo>
                  <a:pt x="1146" y="231"/>
                  <a:pt x="1145" y="230"/>
                  <a:pt x="1145" y="231"/>
                </a:cubicBezTo>
                <a:cubicBezTo>
                  <a:pt x="1145" y="231"/>
                  <a:pt x="1146" y="231"/>
                  <a:pt x="1146" y="231"/>
                </a:cubicBezTo>
                <a:cubicBezTo>
                  <a:pt x="1145" y="232"/>
                  <a:pt x="1144" y="231"/>
                  <a:pt x="1144" y="231"/>
                </a:cubicBezTo>
                <a:cubicBezTo>
                  <a:pt x="1143" y="231"/>
                  <a:pt x="1144" y="232"/>
                  <a:pt x="1143" y="232"/>
                </a:cubicBezTo>
                <a:cubicBezTo>
                  <a:pt x="1143" y="232"/>
                  <a:pt x="1143" y="231"/>
                  <a:pt x="1143" y="232"/>
                </a:cubicBezTo>
                <a:cubicBezTo>
                  <a:pt x="1143" y="232"/>
                  <a:pt x="1142" y="232"/>
                  <a:pt x="1142" y="232"/>
                </a:cubicBezTo>
                <a:cubicBezTo>
                  <a:pt x="1143" y="232"/>
                  <a:pt x="1146" y="233"/>
                  <a:pt x="1144" y="234"/>
                </a:cubicBezTo>
                <a:cubicBezTo>
                  <a:pt x="1144" y="234"/>
                  <a:pt x="1143" y="234"/>
                  <a:pt x="1143" y="235"/>
                </a:cubicBezTo>
                <a:cubicBezTo>
                  <a:pt x="1143" y="235"/>
                  <a:pt x="1143" y="236"/>
                  <a:pt x="1143" y="236"/>
                </a:cubicBezTo>
                <a:cubicBezTo>
                  <a:pt x="1144" y="237"/>
                  <a:pt x="1144" y="237"/>
                  <a:pt x="1144" y="238"/>
                </a:cubicBezTo>
                <a:cubicBezTo>
                  <a:pt x="1145" y="238"/>
                  <a:pt x="1145" y="239"/>
                  <a:pt x="1145" y="239"/>
                </a:cubicBezTo>
                <a:cubicBezTo>
                  <a:pt x="1146" y="241"/>
                  <a:pt x="1148" y="243"/>
                  <a:pt x="1150" y="245"/>
                </a:cubicBezTo>
                <a:cubicBezTo>
                  <a:pt x="1151" y="245"/>
                  <a:pt x="1153" y="246"/>
                  <a:pt x="1154" y="246"/>
                </a:cubicBezTo>
                <a:cubicBezTo>
                  <a:pt x="1155" y="247"/>
                  <a:pt x="1156" y="247"/>
                  <a:pt x="1156" y="248"/>
                </a:cubicBezTo>
                <a:cubicBezTo>
                  <a:pt x="1157" y="249"/>
                  <a:pt x="1157" y="250"/>
                  <a:pt x="1157" y="250"/>
                </a:cubicBezTo>
                <a:cubicBezTo>
                  <a:pt x="1156" y="250"/>
                  <a:pt x="1157" y="251"/>
                  <a:pt x="1156" y="251"/>
                </a:cubicBezTo>
                <a:cubicBezTo>
                  <a:pt x="1156" y="252"/>
                  <a:pt x="1155" y="251"/>
                  <a:pt x="1155" y="251"/>
                </a:cubicBezTo>
                <a:cubicBezTo>
                  <a:pt x="1154" y="251"/>
                  <a:pt x="1153" y="252"/>
                  <a:pt x="1152" y="251"/>
                </a:cubicBezTo>
                <a:cubicBezTo>
                  <a:pt x="1151" y="250"/>
                  <a:pt x="1150" y="251"/>
                  <a:pt x="1149" y="251"/>
                </a:cubicBezTo>
                <a:cubicBezTo>
                  <a:pt x="1148" y="251"/>
                  <a:pt x="1148" y="252"/>
                  <a:pt x="1147" y="252"/>
                </a:cubicBezTo>
                <a:cubicBezTo>
                  <a:pt x="1147" y="253"/>
                  <a:pt x="1147" y="253"/>
                  <a:pt x="1147" y="254"/>
                </a:cubicBezTo>
                <a:cubicBezTo>
                  <a:pt x="1147" y="255"/>
                  <a:pt x="1146" y="255"/>
                  <a:pt x="1146" y="256"/>
                </a:cubicBezTo>
                <a:cubicBezTo>
                  <a:pt x="1147" y="258"/>
                  <a:pt x="1149" y="260"/>
                  <a:pt x="1151" y="261"/>
                </a:cubicBezTo>
                <a:cubicBezTo>
                  <a:pt x="1151" y="261"/>
                  <a:pt x="1150" y="261"/>
                  <a:pt x="1150" y="260"/>
                </a:cubicBezTo>
                <a:cubicBezTo>
                  <a:pt x="1151" y="260"/>
                  <a:pt x="1152" y="261"/>
                  <a:pt x="1152" y="262"/>
                </a:cubicBezTo>
                <a:cubicBezTo>
                  <a:pt x="1152" y="262"/>
                  <a:pt x="1151" y="262"/>
                  <a:pt x="1151" y="262"/>
                </a:cubicBezTo>
                <a:cubicBezTo>
                  <a:pt x="1151" y="262"/>
                  <a:pt x="1153" y="263"/>
                  <a:pt x="1153" y="263"/>
                </a:cubicBezTo>
                <a:cubicBezTo>
                  <a:pt x="1154" y="264"/>
                  <a:pt x="1154" y="264"/>
                  <a:pt x="1155" y="265"/>
                </a:cubicBezTo>
                <a:cubicBezTo>
                  <a:pt x="1154" y="265"/>
                  <a:pt x="1155" y="264"/>
                  <a:pt x="1155" y="265"/>
                </a:cubicBezTo>
                <a:cubicBezTo>
                  <a:pt x="1156" y="265"/>
                  <a:pt x="1156" y="266"/>
                  <a:pt x="1157" y="266"/>
                </a:cubicBezTo>
                <a:cubicBezTo>
                  <a:pt x="1156" y="266"/>
                  <a:pt x="1153" y="265"/>
                  <a:pt x="1153" y="264"/>
                </a:cubicBezTo>
                <a:cubicBezTo>
                  <a:pt x="1153" y="264"/>
                  <a:pt x="1153" y="265"/>
                  <a:pt x="1153" y="265"/>
                </a:cubicBezTo>
                <a:cubicBezTo>
                  <a:pt x="1152" y="265"/>
                  <a:pt x="1152" y="264"/>
                  <a:pt x="1151" y="265"/>
                </a:cubicBezTo>
                <a:cubicBezTo>
                  <a:pt x="1151" y="265"/>
                  <a:pt x="1151" y="265"/>
                  <a:pt x="1151" y="265"/>
                </a:cubicBezTo>
                <a:cubicBezTo>
                  <a:pt x="1151" y="265"/>
                  <a:pt x="1151" y="266"/>
                  <a:pt x="1150" y="266"/>
                </a:cubicBezTo>
                <a:cubicBezTo>
                  <a:pt x="1149" y="265"/>
                  <a:pt x="1148" y="267"/>
                  <a:pt x="1148" y="268"/>
                </a:cubicBezTo>
                <a:cubicBezTo>
                  <a:pt x="1148" y="269"/>
                  <a:pt x="1147" y="268"/>
                  <a:pt x="1147" y="268"/>
                </a:cubicBezTo>
                <a:cubicBezTo>
                  <a:pt x="1146" y="267"/>
                  <a:pt x="1146" y="267"/>
                  <a:pt x="1145" y="267"/>
                </a:cubicBezTo>
                <a:cubicBezTo>
                  <a:pt x="1145" y="267"/>
                  <a:pt x="1144" y="267"/>
                  <a:pt x="1144" y="267"/>
                </a:cubicBezTo>
                <a:cubicBezTo>
                  <a:pt x="1145" y="267"/>
                  <a:pt x="1145" y="268"/>
                  <a:pt x="1145" y="268"/>
                </a:cubicBezTo>
                <a:cubicBezTo>
                  <a:pt x="1145" y="268"/>
                  <a:pt x="1146" y="268"/>
                  <a:pt x="1146" y="268"/>
                </a:cubicBezTo>
                <a:cubicBezTo>
                  <a:pt x="1146" y="268"/>
                  <a:pt x="1146" y="268"/>
                  <a:pt x="1145" y="268"/>
                </a:cubicBezTo>
                <a:cubicBezTo>
                  <a:pt x="1146" y="268"/>
                  <a:pt x="1147" y="268"/>
                  <a:pt x="1147" y="268"/>
                </a:cubicBezTo>
                <a:cubicBezTo>
                  <a:pt x="1147" y="269"/>
                  <a:pt x="1148" y="269"/>
                  <a:pt x="1147" y="269"/>
                </a:cubicBezTo>
                <a:cubicBezTo>
                  <a:pt x="1147" y="269"/>
                  <a:pt x="1148" y="269"/>
                  <a:pt x="1147" y="270"/>
                </a:cubicBezTo>
                <a:cubicBezTo>
                  <a:pt x="1147" y="270"/>
                  <a:pt x="1148" y="270"/>
                  <a:pt x="1148" y="270"/>
                </a:cubicBezTo>
                <a:cubicBezTo>
                  <a:pt x="1149" y="270"/>
                  <a:pt x="1149" y="271"/>
                  <a:pt x="1149" y="271"/>
                </a:cubicBezTo>
                <a:cubicBezTo>
                  <a:pt x="1149" y="271"/>
                  <a:pt x="1148" y="271"/>
                  <a:pt x="1148" y="271"/>
                </a:cubicBezTo>
                <a:cubicBezTo>
                  <a:pt x="1149" y="272"/>
                  <a:pt x="1149" y="272"/>
                  <a:pt x="1150" y="273"/>
                </a:cubicBezTo>
                <a:cubicBezTo>
                  <a:pt x="1150" y="273"/>
                  <a:pt x="1150" y="273"/>
                  <a:pt x="1150" y="273"/>
                </a:cubicBezTo>
                <a:cubicBezTo>
                  <a:pt x="1150" y="273"/>
                  <a:pt x="1151" y="273"/>
                  <a:pt x="1151" y="274"/>
                </a:cubicBezTo>
                <a:cubicBezTo>
                  <a:pt x="1151" y="274"/>
                  <a:pt x="1151" y="274"/>
                  <a:pt x="1151" y="274"/>
                </a:cubicBezTo>
                <a:cubicBezTo>
                  <a:pt x="1152" y="274"/>
                  <a:pt x="1152" y="274"/>
                  <a:pt x="1152" y="274"/>
                </a:cubicBezTo>
                <a:cubicBezTo>
                  <a:pt x="1152" y="275"/>
                  <a:pt x="1152" y="275"/>
                  <a:pt x="1151" y="275"/>
                </a:cubicBezTo>
                <a:cubicBezTo>
                  <a:pt x="1152" y="275"/>
                  <a:pt x="1151" y="275"/>
                  <a:pt x="1152" y="276"/>
                </a:cubicBezTo>
                <a:cubicBezTo>
                  <a:pt x="1152" y="276"/>
                  <a:pt x="1152" y="276"/>
                  <a:pt x="1152" y="276"/>
                </a:cubicBezTo>
                <a:cubicBezTo>
                  <a:pt x="1152" y="276"/>
                  <a:pt x="1152" y="277"/>
                  <a:pt x="1153" y="278"/>
                </a:cubicBezTo>
                <a:cubicBezTo>
                  <a:pt x="1153" y="278"/>
                  <a:pt x="1153" y="279"/>
                  <a:pt x="1153" y="280"/>
                </a:cubicBezTo>
                <a:cubicBezTo>
                  <a:pt x="1153" y="280"/>
                  <a:pt x="1153" y="280"/>
                  <a:pt x="1153" y="280"/>
                </a:cubicBezTo>
                <a:cubicBezTo>
                  <a:pt x="1153" y="281"/>
                  <a:pt x="1153" y="281"/>
                  <a:pt x="1153" y="282"/>
                </a:cubicBezTo>
                <a:cubicBezTo>
                  <a:pt x="1153" y="282"/>
                  <a:pt x="1152" y="282"/>
                  <a:pt x="1152" y="282"/>
                </a:cubicBezTo>
                <a:cubicBezTo>
                  <a:pt x="1152" y="283"/>
                  <a:pt x="1152" y="283"/>
                  <a:pt x="1151" y="283"/>
                </a:cubicBezTo>
                <a:cubicBezTo>
                  <a:pt x="1151" y="284"/>
                  <a:pt x="1152" y="284"/>
                  <a:pt x="1152" y="284"/>
                </a:cubicBezTo>
                <a:cubicBezTo>
                  <a:pt x="1152" y="285"/>
                  <a:pt x="1151" y="285"/>
                  <a:pt x="1151" y="285"/>
                </a:cubicBezTo>
                <a:cubicBezTo>
                  <a:pt x="1151" y="285"/>
                  <a:pt x="1151" y="286"/>
                  <a:pt x="1151" y="286"/>
                </a:cubicBezTo>
                <a:cubicBezTo>
                  <a:pt x="1151" y="286"/>
                  <a:pt x="1151" y="286"/>
                  <a:pt x="1150" y="287"/>
                </a:cubicBezTo>
                <a:cubicBezTo>
                  <a:pt x="1150" y="287"/>
                  <a:pt x="1150" y="288"/>
                  <a:pt x="1150" y="288"/>
                </a:cubicBezTo>
                <a:cubicBezTo>
                  <a:pt x="1150" y="288"/>
                  <a:pt x="1150" y="290"/>
                  <a:pt x="1149" y="289"/>
                </a:cubicBezTo>
                <a:cubicBezTo>
                  <a:pt x="1149" y="289"/>
                  <a:pt x="1149" y="288"/>
                  <a:pt x="1149" y="288"/>
                </a:cubicBezTo>
                <a:cubicBezTo>
                  <a:pt x="1148" y="288"/>
                  <a:pt x="1148" y="287"/>
                  <a:pt x="1147" y="287"/>
                </a:cubicBezTo>
                <a:cubicBezTo>
                  <a:pt x="1147" y="286"/>
                  <a:pt x="1146" y="286"/>
                  <a:pt x="1145" y="285"/>
                </a:cubicBezTo>
                <a:cubicBezTo>
                  <a:pt x="1144" y="285"/>
                  <a:pt x="1144" y="284"/>
                  <a:pt x="1143" y="284"/>
                </a:cubicBezTo>
                <a:cubicBezTo>
                  <a:pt x="1142" y="283"/>
                  <a:pt x="1141" y="281"/>
                  <a:pt x="1140" y="280"/>
                </a:cubicBezTo>
                <a:cubicBezTo>
                  <a:pt x="1138" y="278"/>
                  <a:pt x="1136" y="277"/>
                  <a:pt x="1135" y="275"/>
                </a:cubicBezTo>
                <a:cubicBezTo>
                  <a:pt x="1134" y="274"/>
                  <a:pt x="1132" y="273"/>
                  <a:pt x="1131" y="272"/>
                </a:cubicBezTo>
                <a:cubicBezTo>
                  <a:pt x="1132" y="272"/>
                  <a:pt x="1132" y="272"/>
                  <a:pt x="1132" y="273"/>
                </a:cubicBezTo>
                <a:cubicBezTo>
                  <a:pt x="1132" y="273"/>
                  <a:pt x="1132" y="273"/>
                  <a:pt x="1133" y="273"/>
                </a:cubicBezTo>
                <a:cubicBezTo>
                  <a:pt x="1133" y="273"/>
                  <a:pt x="1133" y="272"/>
                  <a:pt x="1132" y="272"/>
                </a:cubicBezTo>
                <a:cubicBezTo>
                  <a:pt x="1131" y="272"/>
                  <a:pt x="1130" y="271"/>
                  <a:pt x="1129" y="271"/>
                </a:cubicBezTo>
                <a:cubicBezTo>
                  <a:pt x="1127" y="269"/>
                  <a:pt x="1125" y="267"/>
                  <a:pt x="1123" y="265"/>
                </a:cubicBezTo>
                <a:cubicBezTo>
                  <a:pt x="1121" y="263"/>
                  <a:pt x="1118" y="260"/>
                  <a:pt x="1116" y="258"/>
                </a:cubicBezTo>
                <a:cubicBezTo>
                  <a:pt x="1113" y="256"/>
                  <a:pt x="1111" y="255"/>
                  <a:pt x="1109" y="253"/>
                </a:cubicBezTo>
                <a:cubicBezTo>
                  <a:pt x="1107" y="251"/>
                  <a:pt x="1104" y="249"/>
                  <a:pt x="1102" y="247"/>
                </a:cubicBezTo>
                <a:cubicBezTo>
                  <a:pt x="1100" y="244"/>
                  <a:pt x="1097" y="242"/>
                  <a:pt x="1095" y="239"/>
                </a:cubicBezTo>
                <a:cubicBezTo>
                  <a:pt x="1095" y="239"/>
                  <a:pt x="1094" y="238"/>
                  <a:pt x="1094" y="237"/>
                </a:cubicBezTo>
                <a:cubicBezTo>
                  <a:pt x="1093" y="237"/>
                  <a:pt x="1093" y="236"/>
                  <a:pt x="1092" y="236"/>
                </a:cubicBezTo>
                <a:cubicBezTo>
                  <a:pt x="1092" y="236"/>
                  <a:pt x="1092" y="235"/>
                  <a:pt x="1092" y="235"/>
                </a:cubicBezTo>
                <a:cubicBezTo>
                  <a:pt x="1091" y="235"/>
                  <a:pt x="1091" y="234"/>
                  <a:pt x="1091" y="233"/>
                </a:cubicBezTo>
                <a:cubicBezTo>
                  <a:pt x="1090" y="232"/>
                  <a:pt x="1089" y="231"/>
                  <a:pt x="1088" y="230"/>
                </a:cubicBezTo>
                <a:cubicBezTo>
                  <a:pt x="1088" y="230"/>
                  <a:pt x="1087" y="228"/>
                  <a:pt x="1088" y="227"/>
                </a:cubicBezTo>
                <a:cubicBezTo>
                  <a:pt x="1088" y="227"/>
                  <a:pt x="1088" y="228"/>
                  <a:pt x="1088" y="229"/>
                </a:cubicBezTo>
                <a:cubicBezTo>
                  <a:pt x="1088" y="228"/>
                  <a:pt x="1088" y="228"/>
                  <a:pt x="1088" y="227"/>
                </a:cubicBezTo>
                <a:cubicBezTo>
                  <a:pt x="1088" y="227"/>
                  <a:pt x="1088" y="227"/>
                  <a:pt x="1088" y="227"/>
                </a:cubicBezTo>
                <a:cubicBezTo>
                  <a:pt x="1089" y="226"/>
                  <a:pt x="1088" y="225"/>
                  <a:pt x="1088" y="225"/>
                </a:cubicBezTo>
                <a:cubicBezTo>
                  <a:pt x="1089" y="225"/>
                  <a:pt x="1089" y="225"/>
                  <a:pt x="1090" y="225"/>
                </a:cubicBezTo>
                <a:cubicBezTo>
                  <a:pt x="1090" y="225"/>
                  <a:pt x="1089" y="225"/>
                  <a:pt x="1089" y="224"/>
                </a:cubicBezTo>
                <a:cubicBezTo>
                  <a:pt x="1089" y="224"/>
                  <a:pt x="1089" y="224"/>
                  <a:pt x="1089" y="223"/>
                </a:cubicBezTo>
                <a:cubicBezTo>
                  <a:pt x="1089" y="222"/>
                  <a:pt x="1088" y="221"/>
                  <a:pt x="1088" y="221"/>
                </a:cubicBezTo>
                <a:cubicBezTo>
                  <a:pt x="1087" y="220"/>
                  <a:pt x="1086" y="219"/>
                  <a:pt x="1085" y="219"/>
                </a:cubicBezTo>
                <a:cubicBezTo>
                  <a:pt x="1085" y="219"/>
                  <a:pt x="1084" y="218"/>
                  <a:pt x="1084" y="218"/>
                </a:cubicBezTo>
                <a:cubicBezTo>
                  <a:pt x="1084" y="218"/>
                  <a:pt x="1083" y="218"/>
                  <a:pt x="1083" y="218"/>
                </a:cubicBezTo>
                <a:cubicBezTo>
                  <a:pt x="1083" y="218"/>
                  <a:pt x="1084" y="217"/>
                  <a:pt x="1084" y="217"/>
                </a:cubicBezTo>
                <a:cubicBezTo>
                  <a:pt x="1085" y="217"/>
                  <a:pt x="1086" y="218"/>
                  <a:pt x="1087" y="218"/>
                </a:cubicBezTo>
                <a:cubicBezTo>
                  <a:pt x="1087" y="218"/>
                  <a:pt x="1089" y="218"/>
                  <a:pt x="1088" y="217"/>
                </a:cubicBezTo>
                <a:cubicBezTo>
                  <a:pt x="1088" y="216"/>
                  <a:pt x="1088" y="215"/>
                  <a:pt x="1087" y="215"/>
                </a:cubicBezTo>
                <a:cubicBezTo>
                  <a:pt x="1088" y="215"/>
                  <a:pt x="1089" y="216"/>
                  <a:pt x="1089" y="216"/>
                </a:cubicBezTo>
                <a:cubicBezTo>
                  <a:pt x="1090" y="216"/>
                  <a:pt x="1090" y="216"/>
                  <a:pt x="1091" y="216"/>
                </a:cubicBezTo>
                <a:cubicBezTo>
                  <a:pt x="1091" y="215"/>
                  <a:pt x="1092" y="215"/>
                  <a:pt x="1092" y="215"/>
                </a:cubicBezTo>
                <a:cubicBezTo>
                  <a:pt x="1093" y="216"/>
                  <a:pt x="1093" y="216"/>
                  <a:pt x="1093" y="216"/>
                </a:cubicBezTo>
                <a:cubicBezTo>
                  <a:pt x="1093" y="216"/>
                  <a:pt x="1092" y="215"/>
                  <a:pt x="1092" y="215"/>
                </a:cubicBezTo>
                <a:cubicBezTo>
                  <a:pt x="1092" y="215"/>
                  <a:pt x="1092" y="214"/>
                  <a:pt x="1092" y="214"/>
                </a:cubicBezTo>
                <a:cubicBezTo>
                  <a:pt x="1093" y="213"/>
                  <a:pt x="1093" y="213"/>
                  <a:pt x="1093" y="213"/>
                </a:cubicBezTo>
                <a:cubicBezTo>
                  <a:pt x="1093" y="212"/>
                  <a:pt x="1093" y="212"/>
                  <a:pt x="1093" y="212"/>
                </a:cubicBezTo>
                <a:cubicBezTo>
                  <a:pt x="1094" y="212"/>
                  <a:pt x="1094" y="211"/>
                  <a:pt x="1094" y="210"/>
                </a:cubicBezTo>
                <a:cubicBezTo>
                  <a:pt x="1094" y="210"/>
                  <a:pt x="1095" y="211"/>
                  <a:pt x="1095" y="211"/>
                </a:cubicBezTo>
                <a:cubicBezTo>
                  <a:pt x="1095" y="210"/>
                  <a:pt x="1094" y="210"/>
                  <a:pt x="1094" y="210"/>
                </a:cubicBezTo>
                <a:cubicBezTo>
                  <a:pt x="1094" y="209"/>
                  <a:pt x="1094" y="208"/>
                  <a:pt x="1095" y="208"/>
                </a:cubicBezTo>
                <a:cubicBezTo>
                  <a:pt x="1094" y="208"/>
                  <a:pt x="1094" y="207"/>
                  <a:pt x="1094" y="207"/>
                </a:cubicBezTo>
                <a:cubicBezTo>
                  <a:pt x="1095" y="206"/>
                  <a:pt x="1094" y="206"/>
                  <a:pt x="1093" y="205"/>
                </a:cubicBezTo>
                <a:cubicBezTo>
                  <a:pt x="1093" y="205"/>
                  <a:pt x="1093" y="204"/>
                  <a:pt x="1093" y="204"/>
                </a:cubicBezTo>
                <a:cubicBezTo>
                  <a:pt x="1093" y="203"/>
                  <a:pt x="1093" y="202"/>
                  <a:pt x="1094" y="202"/>
                </a:cubicBezTo>
                <a:cubicBezTo>
                  <a:pt x="1094" y="202"/>
                  <a:pt x="1094" y="201"/>
                  <a:pt x="1094" y="200"/>
                </a:cubicBezTo>
                <a:cubicBezTo>
                  <a:pt x="1093" y="200"/>
                  <a:pt x="1094" y="199"/>
                  <a:pt x="1094" y="199"/>
                </a:cubicBezTo>
                <a:cubicBezTo>
                  <a:pt x="1095" y="199"/>
                  <a:pt x="1095" y="199"/>
                  <a:pt x="1095" y="198"/>
                </a:cubicBezTo>
                <a:cubicBezTo>
                  <a:pt x="1095" y="198"/>
                  <a:pt x="1095" y="198"/>
                  <a:pt x="1095" y="198"/>
                </a:cubicBezTo>
                <a:cubicBezTo>
                  <a:pt x="1096" y="197"/>
                  <a:pt x="1096" y="197"/>
                  <a:pt x="1096" y="197"/>
                </a:cubicBezTo>
                <a:cubicBezTo>
                  <a:pt x="1095" y="196"/>
                  <a:pt x="1095" y="195"/>
                  <a:pt x="1095" y="195"/>
                </a:cubicBezTo>
                <a:cubicBezTo>
                  <a:pt x="1096" y="194"/>
                  <a:pt x="1096" y="194"/>
                  <a:pt x="1096" y="194"/>
                </a:cubicBezTo>
                <a:cubicBezTo>
                  <a:pt x="1097" y="192"/>
                  <a:pt x="1096" y="192"/>
                  <a:pt x="1095" y="192"/>
                </a:cubicBezTo>
                <a:cubicBezTo>
                  <a:pt x="1094" y="191"/>
                  <a:pt x="1095" y="191"/>
                  <a:pt x="1095" y="190"/>
                </a:cubicBezTo>
                <a:cubicBezTo>
                  <a:pt x="1096" y="189"/>
                  <a:pt x="1097" y="190"/>
                  <a:pt x="1097" y="189"/>
                </a:cubicBezTo>
                <a:cubicBezTo>
                  <a:pt x="1097" y="189"/>
                  <a:pt x="1098" y="189"/>
                  <a:pt x="1098" y="189"/>
                </a:cubicBezTo>
                <a:cubicBezTo>
                  <a:pt x="1098" y="188"/>
                  <a:pt x="1098" y="188"/>
                  <a:pt x="1098" y="187"/>
                </a:cubicBezTo>
                <a:cubicBezTo>
                  <a:pt x="1099" y="187"/>
                  <a:pt x="1099" y="188"/>
                  <a:pt x="1100" y="187"/>
                </a:cubicBezTo>
                <a:cubicBezTo>
                  <a:pt x="1100" y="187"/>
                  <a:pt x="1100" y="187"/>
                  <a:pt x="1100" y="187"/>
                </a:cubicBezTo>
                <a:cubicBezTo>
                  <a:pt x="1100" y="187"/>
                  <a:pt x="1100" y="187"/>
                  <a:pt x="1101" y="187"/>
                </a:cubicBezTo>
                <a:cubicBezTo>
                  <a:pt x="1101" y="187"/>
                  <a:pt x="1101" y="188"/>
                  <a:pt x="1102" y="188"/>
                </a:cubicBezTo>
                <a:cubicBezTo>
                  <a:pt x="1102" y="188"/>
                  <a:pt x="1101" y="187"/>
                  <a:pt x="1101" y="187"/>
                </a:cubicBezTo>
                <a:cubicBezTo>
                  <a:pt x="1102" y="186"/>
                  <a:pt x="1102" y="187"/>
                  <a:pt x="1103" y="187"/>
                </a:cubicBezTo>
                <a:cubicBezTo>
                  <a:pt x="1103" y="187"/>
                  <a:pt x="1103" y="186"/>
                  <a:pt x="1102" y="186"/>
                </a:cubicBezTo>
                <a:cubicBezTo>
                  <a:pt x="1102" y="186"/>
                  <a:pt x="1101" y="185"/>
                  <a:pt x="1101" y="185"/>
                </a:cubicBezTo>
                <a:cubicBezTo>
                  <a:pt x="1100" y="185"/>
                  <a:pt x="1100" y="185"/>
                  <a:pt x="1100" y="185"/>
                </a:cubicBezTo>
                <a:cubicBezTo>
                  <a:pt x="1099" y="185"/>
                  <a:pt x="1100" y="185"/>
                  <a:pt x="1100" y="184"/>
                </a:cubicBezTo>
                <a:cubicBezTo>
                  <a:pt x="1100" y="184"/>
                  <a:pt x="1099" y="184"/>
                  <a:pt x="1100" y="184"/>
                </a:cubicBezTo>
                <a:cubicBezTo>
                  <a:pt x="1100" y="183"/>
                  <a:pt x="1101" y="183"/>
                  <a:pt x="1101" y="183"/>
                </a:cubicBezTo>
                <a:cubicBezTo>
                  <a:pt x="1100" y="182"/>
                  <a:pt x="1100" y="182"/>
                  <a:pt x="1100" y="182"/>
                </a:cubicBezTo>
                <a:cubicBezTo>
                  <a:pt x="1100" y="181"/>
                  <a:pt x="1099" y="181"/>
                  <a:pt x="1099" y="181"/>
                </a:cubicBezTo>
                <a:cubicBezTo>
                  <a:pt x="1098" y="181"/>
                  <a:pt x="1097" y="181"/>
                  <a:pt x="1096" y="180"/>
                </a:cubicBezTo>
                <a:cubicBezTo>
                  <a:pt x="1096" y="179"/>
                  <a:pt x="1096" y="179"/>
                  <a:pt x="1096" y="179"/>
                </a:cubicBezTo>
                <a:cubicBezTo>
                  <a:pt x="1095" y="178"/>
                  <a:pt x="1096" y="179"/>
                  <a:pt x="1096" y="178"/>
                </a:cubicBezTo>
                <a:cubicBezTo>
                  <a:pt x="1096" y="178"/>
                  <a:pt x="1095" y="177"/>
                  <a:pt x="1095" y="177"/>
                </a:cubicBezTo>
                <a:cubicBezTo>
                  <a:pt x="1094" y="176"/>
                  <a:pt x="1093" y="175"/>
                  <a:pt x="1091" y="174"/>
                </a:cubicBezTo>
                <a:cubicBezTo>
                  <a:pt x="1091" y="173"/>
                  <a:pt x="1090" y="172"/>
                  <a:pt x="1091" y="172"/>
                </a:cubicBezTo>
                <a:cubicBezTo>
                  <a:pt x="1091" y="172"/>
                  <a:pt x="1091" y="171"/>
                  <a:pt x="1091" y="171"/>
                </a:cubicBezTo>
                <a:cubicBezTo>
                  <a:pt x="1091" y="170"/>
                  <a:pt x="1092" y="170"/>
                  <a:pt x="1092" y="171"/>
                </a:cubicBezTo>
                <a:cubicBezTo>
                  <a:pt x="1094" y="171"/>
                  <a:pt x="1095" y="171"/>
                  <a:pt x="1096" y="171"/>
                </a:cubicBezTo>
                <a:cubicBezTo>
                  <a:pt x="1096" y="171"/>
                  <a:pt x="1097" y="171"/>
                  <a:pt x="1098" y="172"/>
                </a:cubicBezTo>
                <a:cubicBezTo>
                  <a:pt x="1098" y="172"/>
                  <a:pt x="1098" y="172"/>
                  <a:pt x="1099" y="172"/>
                </a:cubicBezTo>
                <a:cubicBezTo>
                  <a:pt x="1099" y="172"/>
                  <a:pt x="1096" y="171"/>
                  <a:pt x="1096" y="171"/>
                </a:cubicBezTo>
                <a:cubicBezTo>
                  <a:pt x="1096" y="170"/>
                  <a:pt x="1099" y="171"/>
                  <a:pt x="1100" y="171"/>
                </a:cubicBezTo>
                <a:cubicBezTo>
                  <a:pt x="1099" y="170"/>
                  <a:pt x="1098" y="170"/>
                  <a:pt x="1097" y="170"/>
                </a:cubicBezTo>
                <a:cubicBezTo>
                  <a:pt x="1096" y="170"/>
                  <a:pt x="1095" y="170"/>
                  <a:pt x="1094" y="170"/>
                </a:cubicBezTo>
                <a:cubicBezTo>
                  <a:pt x="1092" y="170"/>
                  <a:pt x="1091" y="170"/>
                  <a:pt x="1090" y="169"/>
                </a:cubicBezTo>
                <a:cubicBezTo>
                  <a:pt x="1089" y="169"/>
                  <a:pt x="1088" y="168"/>
                  <a:pt x="1087" y="168"/>
                </a:cubicBezTo>
                <a:cubicBezTo>
                  <a:pt x="1086" y="168"/>
                  <a:pt x="1085" y="168"/>
                  <a:pt x="1085" y="169"/>
                </a:cubicBezTo>
                <a:cubicBezTo>
                  <a:pt x="1085" y="169"/>
                  <a:pt x="1084" y="169"/>
                  <a:pt x="1084" y="169"/>
                </a:cubicBezTo>
                <a:cubicBezTo>
                  <a:pt x="1083" y="169"/>
                  <a:pt x="1083" y="169"/>
                  <a:pt x="1082" y="170"/>
                </a:cubicBezTo>
                <a:cubicBezTo>
                  <a:pt x="1082" y="170"/>
                  <a:pt x="1081" y="170"/>
                  <a:pt x="1081" y="170"/>
                </a:cubicBezTo>
                <a:cubicBezTo>
                  <a:pt x="1081" y="170"/>
                  <a:pt x="1081" y="170"/>
                  <a:pt x="1081" y="171"/>
                </a:cubicBezTo>
                <a:cubicBezTo>
                  <a:pt x="1081" y="171"/>
                  <a:pt x="1083" y="171"/>
                  <a:pt x="1083" y="172"/>
                </a:cubicBezTo>
                <a:cubicBezTo>
                  <a:pt x="1083" y="172"/>
                  <a:pt x="1082" y="172"/>
                  <a:pt x="1083" y="172"/>
                </a:cubicBezTo>
                <a:cubicBezTo>
                  <a:pt x="1082" y="172"/>
                  <a:pt x="1084" y="174"/>
                  <a:pt x="1084" y="174"/>
                </a:cubicBezTo>
                <a:cubicBezTo>
                  <a:pt x="1085" y="174"/>
                  <a:pt x="1085" y="174"/>
                  <a:pt x="1086" y="175"/>
                </a:cubicBezTo>
                <a:cubicBezTo>
                  <a:pt x="1086" y="175"/>
                  <a:pt x="1086" y="176"/>
                  <a:pt x="1086" y="176"/>
                </a:cubicBezTo>
                <a:cubicBezTo>
                  <a:pt x="1087" y="177"/>
                  <a:pt x="1087" y="177"/>
                  <a:pt x="1087" y="177"/>
                </a:cubicBezTo>
                <a:cubicBezTo>
                  <a:pt x="1088" y="178"/>
                  <a:pt x="1089" y="178"/>
                  <a:pt x="1089" y="178"/>
                </a:cubicBezTo>
                <a:cubicBezTo>
                  <a:pt x="1090" y="178"/>
                  <a:pt x="1091" y="178"/>
                  <a:pt x="1091" y="178"/>
                </a:cubicBezTo>
                <a:cubicBezTo>
                  <a:pt x="1091" y="179"/>
                  <a:pt x="1090" y="179"/>
                  <a:pt x="1091" y="179"/>
                </a:cubicBezTo>
                <a:cubicBezTo>
                  <a:pt x="1090" y="179"/>
                  <a:pt x="1090" y="179"/>
                  <a:pt x="1090" y="179"/>
                </a:cubicBezTo>
                <a:cubicBezTo>
                  <a:pt x="1091" y="180"/>
                  <a:pt x="1091" y="180"/>
                  <a:pt x="1090" y="180"/>
                </a:cubicBezTo>
                <a:cubicBezTo>
                  <a:pt x="1090" y="180"/>
                  <a:pt x="1089" y="179"/>
                  <a:pt x="1089" y="179"/>
                </a:cubicBezTo>
                <a:cubicBezTo>
                  <a:pt x="1088" y="179"/>
                  <a:pt x="1088" y="179"/>
                  <a:pt x="1088" y="179"/>
                </a:cubicBezTo>
                <a:cubicBezTo>
                  <a:pt x="1088" y="178"/>
                  <a:pt x="1086" y="178"/>
                  <a:pt x="1086" y="178"/>
                </a:cubicBezTo>
                <a:cubicBezTo>
                  <a:pt x="1086" y="179"/>
                  <a:pt x="1087" y="179"/>
                  <a:pt x="1088" y="179"/>
                </a:cubicBezTo>
                <a:cubicBezTo>
                  <a:pt x="1087" y="179"/>
                  <a:pt x="1086" y="179"/>
                  <a:pt x="1085" y="179"/>
                </a:cubicBezTo>
                <a:cubicBezTo>
                  <a:pt x="1084" y="178"/>
                  <a:pt x="1084" y="179"/>
                  <a:pt x="1084" y="179"/>
                </a:cubicBezTo>
                <a:cubicBezTo>
                  <a:pt x="1084" y="179"/>
                  <a:pt x="1084" y="180"/>
                  <a:pt x="1084" y="181"/>
                </a:cubicBezTo>
                <a:cubicBezTo>
                  <a:pt x="1084" y="181"/>
                  <a:pt x="1084" y="181"/>
                  <a:pt x="1084" y="181"/>
                </a:cubicBezTo>
                <a:cubicBezTo>
                  <a:pt x="1084" y="181"/>
                  <a:pt x="1083" y="181"/>
                  <a:pt x="1083" y="181"/>
                </a:cubicBezTo>
                <a:cubicBezTo>
                  <a:pt x="1083" y="181"/>
                  <a:pt x="1083" y="181"/>
                  <a:pt x="1084" y="182"/>
                </a:cubicBezTo>
                <a:cubicBezTo>
                  <a:pt x="1083" y="182"/>
                  <a:pt x="1083" y="182"/>
                  <a:pt x="1083" y="181"/>
                </a:cubicBezTo>
                <a:cubicBezTo>
                  <a:pt x="1083" y="182"/>
                  <a:pt x="1083" y="183"/>
                  <a:pt x="1082" y="182"/>
                </a:cubicBezTo>
                <a:cubicBezTo>
                  <a:pt x="1083" y="183"/>
                  <a:pt x="1083" y="183"/>
                  <a:pt x="1083" y="183"/>
                </a:cubicBezTo>
                <a:cubicBezTo>
                  <a:pt x="1083" y="183"/>
                  <a:pt x="1082" y="183"/>
                  <a:pt x="1082" y="183"/>
                </a:cubicBezTo>
                <a:cubicBezTo>
                  <a:pt x="1082" y="184"/>
                  <a:pt x="1083" y="184"/>
                  <a:pt x="1083" y="184"/>
                </a:cubicBezTo>
                <a:cubicBezTo>
                  <a:pt x="1083" y="184"/>
                  <a:pt x="1082" y="185"/>
                  <a:pt x="1082" y="185"/>
                </a:cubicBezTo>
                <a:cubicBezTo>
                  <a:pt x="1083" y="185"/>
                  <a:pt x="1082" y="186"/>
                  <a:pt x="1081" y="186"/>
                </a:cubicBezTo>
                <a:cubicBezTo>
                  <a:pt x="1081" y="187"/>
                  <a:pt x="1082" y="187"/>
                  <a:pt x="1082" y="188"/>
                </a:cubicBezTo>
                <a:cubicBezTo>
                  <a:pt x="1082" y="188"/>
                  <a:pt x="1081" y="187"/>
                  <a:pt x="1081" y="188"/>
                </a:cubicBezTo>
                <a:cubicBezTo>
                  <a:pt x="1081" y="188"/>
                  <a:pt x="1080" y="188"/>
                  <a:pt x="1080" y="188"/>
                </a:cubicBezTo>
                <a:cubicBezTo>
                  <a:pt x="1080" y="188"/>
                  <a:pt x="1079" y="188"/>
                  <a:pt x="1079" y="188"/>
                </a:cubicBezTo>
                <a:cubicBezTo>
                  <a:pt x="1079" y="188"/>
                  <a:pt x="1079" y="189"/>
                  <a:pt x="1079" y="189"/>
                </a:cubicBezTo>
                <a:cubicBezTo>
                  <a:pt x="1079" y="190"/>
                  <a:pt x="1078" y="189"/>
                  <a:pt x="1078" y="188"/>
                </a:cubicBezTo>
                <a:cubicBezTo>
                  <a:pt x="1079" y="188"/>
                  <a:pt x="1076" y="187"/>
                  <a:pt x="1076" y="187"/>
                </a:cubicBezTo>
                <a:cubicBezTo>
                  <a:pt x="1076" y="187"/>
                  <a:pt x="1077" y="187"/>
                  <a:pt x="1077" y="187"/>
                </a:cubicBezTo>
                <a:cubicBezTo>
                  <a:pt x="1076" y="186"/>
                  <a:pt x="1077" y="186"/>
                  <a:pt x="1077" y="186"/>
                </a:cubicBezTo>
                <a:cubicBezTo>
                  <a:pt x="1077" y="186"/>
                  <a:pt x="1076" y="185"/>
                  <a:pt x="1076" y="185"/>
                </a:cubicBezTo>
                <a:cubicBezTo>
                  <a:pt x="1076" y="185"/>
                  <a:pt x="1076" y="185"/>
                  <a:pt x="1075" y="185"/>
                </a:cubicBezTo>
                <a:cubicBezTo>
                  <a:pt x="1075" y="185"/>
                  <a:pt x="1073" y="185"/>
                  <a:pt x="1073" y="186"/>
                </a:cubicBezTo>
                <a:cubicBezTo>
                  <a:pt x="1072" y="186"/>
                  <a:pt x="1072" y="185"/>
                  <a:pt x="1072" y="185"/>
                </a:cubicBezTo>
                <a:cubicBezTo>
                  <a:pt x="1072" y="184"/>
                  <a:pt x="1071" y="183"/>
                  <a:pt x="1070" y="183"/>
                </a:cubicBezTo>
                <a:cubicBezTo>
                  <a:pt x="1070" y="183"/>
                  <a:pt x="1070" y="182"/>
                  <a:pt x="1069" y="183"/>
                </a:cubicBezTo>
                <a:cubicBezTo>
                  <a:pt x="1069" y="183"/>
                  <a:pt x="1068" y="183"/>
                  <a:pt x="1069" y="182"/>
                </a:cubicBezTo>
                <a:cubicBezTo>
                  <a:pt x="1069" y="182"/>
                  <a:pt x="1069" y="182"/>
                  <a:pt x="1069" y="182"/>
                </a:cubicBezTo>
                <a:cubicBezTo>
                  <a:pt x="1069" y="182"/>
                  <a:pt x="1069" y="182"/>
                  <a:pt x="1069" y="182"/>
                </a:cubicBezTo>
                <a:cubicBezTo>
                  <a:pt x="1069" y="182"/>
                  <a:pt x="1069" y="181"/>
                  <a:pt x="1069" y="181"/>
                </a:cubicBezTo>
                <a:cubicBezTo>
                  <a:pt x="1069" y="181"/>
                  <a:pt x="1069" y="181"/>
                  <a:pt x="1069" y="181"/>
                </a:cubicBezTo>
                <a:cubicBezTo>
                  <a:pt x="1069" y="181"/>
                  <a:pt x="1068" y="180"/>
                  <a:pt x="1068" y="180"/>
                </a:cubicBezTo>
                <a:cubicBezTo>
                  <a:pt x="1068" y="180"/>
                  <a:pt x="1069" y="180"/>
                  <a:pt x="1069" y="179"/>
                </a:cubicBezTo>
                <a:cubicBezTo>
                  <a:pt x="1068" y="179"/>
                  <a:pt x="1068" y="179"/>
                  <a:pt x="1067" y="178"/>
                </a:cubicBezTo>
                <a:cubicBezTo>
                  <a:pt x="1067" y="178"/>
                  <a:pt x="1068" y="178"/>
                  <a:pt x="1067" y="177"/>
                </a:cubicBezTo>
                <a:cubicBezTo>
                  <a:pt x="1067" y="177"/>
                  <a:pt x="1066" y="176"/>
                  <a:pt x="1065" y="176"/>
                </a:cubicBezTo>
                <a:cubicBezTo>
                  <a:pt x="1065" y="176"/>
                  <a:pt x="1064" y="176"/>
                  <a:pt x="1064" y="177"/>
                </a:cubicBezTo>
                <a:cubicBezTo>
                  <a:pt x="1064" y="177"/>
                  <a:pt x="1064" y="177"/>
                  <a:pt x="1064" y="178"/>
                </a:cubicBezTo>
                <a:cubicBezTo>
                  <a:pt x="1064" y="178"/>
                  <a:pt x="1063" y="178"/>
                  <a:pt x="1063" y="178"/>
                </a:cubicBezTo>
                <a:cubicBezTo>
                  <a:pt x="1063" y="179"/>
                  <a:pt x="1060" y="177"/>
                  <a:pt x="1060" y="177"/>
                </a:cubicBezTo>
                <a:cubicBezTo>
                  <a:pt x="1060" y="177"/>
                  <a:pt x="1060" y="177"/>
                  <a:pt x="1060" y="177"/>
                </a:cubicBezTo>
                <a:cubicBezTo>
                  <a:pt x="1060" y="177"/>
                  <a:pt x="1060" y="177"/>
                  <a:pt x="1059" y="177"/>
                </a:cubicBezTo>
                <a:cubicBezTo>
                  <a:pt x="1059" y="177"/>
                  <a:pt x="1059" y="176"/>
                  <a:pt x="1058" y="176"/>
                </a:cubicBezTo>
                <a:cubicBezTo>
                  <a:pt x="1058" y="176"/>
                  <a:pt x="1057" y="176"/>
                  <a:pt x="1057" y="176"/>
                </a:cubicBezTo>
                <a:cubicBezTo>
                  <a:pt x="1056" y="176"/>
                  <a:pt x="1054" y="176"/>
                  <a:pt x="1055" y="177"/>
                </a:cubicBezTo>
                <a:cubicBezTo>
                  <a:pt x="1055" y="177"/>
                  <a:pt x="1054" y="177"/>
                  <a:pt x="1053" y="177"/>
                </a:cubicBezTo>
                <a:cubicBezTo>
                  <a:pt x="1053" y="177"/>
                  <a:pt x="1053" y="177"/>
                  <a:pt x="1053" y="177"/>
                </a:cubicBezTo>
                <a:cubicBezTo>
                  <a:pt x="1052" y="177"/>
                  <a:pt x="1052" y="177"/>
                  <a:pt x="1052" y="177"/>
                </a:cubicBezTo>
                <a:cubicBezTo>
                  <a:pt x="1051" y="177"/>
                  <a:pt x="1051" y="178"/>
                  <a:pt x="1050" y="178"/>
                </a:cubicBezTo>
                <a:cubicBezTo>
                  <a:pt x="1048" y="177"/>
                  <a:pt x="1047" y="177"/>
                  <a:pt x="1046" y="177"/>
                </a:cubicBezTo>
                <a:cubicBezTo>
                  <a:pt x="1045" y="177"/>
                  <a:pt x="1044" y="177"/>
                  <a:pt x="1045" y="178"/>
                </a:cubicBezTo>
                <a:cubicBezTo>
                  <a:pt x="1044" y="178"/>
                  <a:pt x="1044" y="178"/>
                  <a:pt x="1043" y="179"/>
                </a:cubicBezTo>
                <a:cubicBezTo>
                  <a:pt x="1043" y="180"/>
                  <a:pt x="1043" y="180"/>
                  <a:pt x="1042" y="180"/>
                </a:cubicBezTo>
                <a:cubicBezTo>
                  <a:pt x="1043" y="180"/>
                  <a:pt x="1043" y="181"/>
                  <a:pt x="1044" y="182"/>
                </a:cubicBezTo>
                <a:cubicBezTo>
                  <a:pt x="1044" y="182"/>
                  <a:pt x="1045" y="183"/>
                  <a:pt x="1045" y="183"/>
                </a:cubicBezTo>
                <a:cubicBezTo>
                  <a:pt x="1045" y="183"/>
                  <a:pt x="1044" y="183"/>
                  <a:pt x="1044" y="184"/>
                </a:cubicBezTo>
                <a:cubicBezTo>
                  <a:pt x="1043" y="184"/>
                  <a:pt x="1043" y="185"/>
                  <a:pt x="1043" y="185"/>
                </a:cubicBezTo>
                <a:cubicBezTo>
                  <a:pt x="1043" y="187"/>
                  <a:pt x="1044" y="187"/>
                  <a:pt x="1045" y="188"/>
                </a:cubicBezTo>
                <a:cubicBezTo>
                  <a:pt x="1044" y="188"/>
                  <a:pt x="1043" y="189"/>
                  <a:pt x="1043" y="189"/>
                </a:cubicBezTo>
                <a:cubicBezTo>
                  <a:pt x="1044" y="190"/>
                  <a:pt x="1043" y="190"/>
                  <a:pt x="1042" y="191"/>
                </a:cubicBezTo>
                <a:cubicBezTo>
                  <a:pt x="1042" y="191"/>
                  <a:pt x="1041" y="191"/>
                  <a:pt x="1041" y="192"/>
                </a:cubicBezTo>
                <a:cubicBezTo>
                  <a:pt x="1041" y="193"/>
                  <a:pt x="1041" y="194"/>
                  <a:pt x="1041" y="194"/>
                </a:cubicBezTo>
                <a:cubicBezTo>
                  <a:pt x="1041" y="195"/>
                  <a:pt x="1042" y="195"/>
                  <a:pt x="1041" y="195"/>
                </a:cubicBezTo>
                <a:cubicBezTo>
                  <a:pt x="1042" y="195"/>
                  <a:pt x="1043" y="196"/>
                  <a:pt x="1043" y="197"/>
                </a:cubicBezTo>
                <a:cubicBezTo>
                  <a:pt x="1043" y="197"/>
                  <a:pt x="1042" y="196"/>
                  <a:pt x="1042" y="196"/>
                </a:cubicBezTo>
                <a:cubicBezTo>
                  <a:pt x="1042" y="196"/>
                  <a:pt x="1041" y="196"/>
                  <a:pt x="1041" y="196"/>
                </a:cubicBezTo>
                <a:cubicBezTo>
                  <a:pt x="1041" y="197"/>
                  <a:pt x="1045" y="199"/>
                  <a:pt x="1045" y="199"/>
                </a:cubicBezTo>
                <a:cubicBezTo>
                  <a:pt x="1045" y="199"/>
                  <a:pt x="1043" y="199"/>
                  <a:pt x="1043" y="199"/>
                </a:cubicBezTo>
                <a:cubicBezTo>
                  <a:pt x="1043" y="199"/>
                  <a:pt x="1044" y="199"/>
                  <a:pt x="1044" y="199"/>
                </a:cubicBezTo>
                <a:cubicBezTo>
                  <a:pt x="1044" y="200"/>
                  <a:pt x="1043" y="200"/>
                  <a:pt x="1044" y="200"/>
                </a:cubicBezTo>
                <a:cubicBezTo>
                  <a:pt x="1044" y="200"/>
                  <a:pt x="1044" y="201"/>
                  <a:pt x="1045" y="201"/>
                </a:cubicBezTo>
                <a:cubicBezTo>
                  <a:pt x="1045" y="201"/>
                  <a:pt x="1046" y="201"/>
                  <a:pt x="1046" y="201"/>
                </a:cubicBezTo>
                <a:cubicBezTo>
                  <a:pt x="1046" y="200"/>
                  <a:pt x="1045" y="200"/>
                  <a:pt x="1046" y="200"/>
                </a:cubicBezTo>
                <a:cubicBezTo>
                  <a:pt x="1046" y="200"/>
                  <a:pt x="1047" y="201"/>
                  <a:pt x="1048" y="201"/>
                </a:cubicBezTo>
                <a:cubicBezTo>
                  <a:pt x="1047" y="200"/>
                  <a:pt x="1046" y="200"/>
                  <a:pt x="1046" y="200"/>
                </a:cubicBezTo>
                <a:cubicBezTo>
                  <a:pt x="1047" y="200"/>
                  <a:pt x="1049" y="200"/>
                  <a:pt x="1050" y="201"/>
                </a:cubicBezTo>
                <a:cubicBezTo>
                  <a:pt x="1050" y="201"/>
                  <a:pt x="1050" y="201"/>
                  <a:pt x="1050" y="200"/>
                </a:cubicBezTo>
                <a:cubicBezTo>
                  <a:pt x="1050" y="200"/>
                  <a:pt x="1051" y="201"/>
                  <a:pt x="1051" y="201"/>
                </a:cubicBezTo>
                <a:cubicBezTo>
                  <a:pt x="1052" y="201"/>
                  <a:pt x="1052" y="201"/>
                  <a:pt x="1053" y="201"/>
                </a:cubicBezTo>
                <a:cubicBezTo>
                  <a:pt x="1053" y="201"/>
                  <a:pt x="1054" y="201"/>
                  <a:pt x="1054" y="202"/>
                </a:cubicBezTo>
                <a:cubicBezTo>
                  <a:pt x="1054" y="203"/>
                  <a:pt x="1055" y="203"/>
                  <a:pt x="1055" y="203"/>
                </a:cubicBezTo>
                <a:cubicBezTo>
                  <a:pt x="1055" y="203"/>
                  <a:pt x="1055" y="203"/>
                  <a:pt x="1056" y="204"/>
                </a:cubicBezTo>
                <a:cubicBezTo>
                  <a:pt x="1055" y="203"/>
                  <a:pt x="1054" y="203"/>
                  <a:pt x="1053" y="203"/>
                </a:cubicBezTo>
                <a:cubicBezTo>
                  <a:pt x="1052" y="203"/>
                  <a:pt x="1053" y="204"/>
                  <a:pt x="1053" y="204"/>
                </a:cubicBezTo>
                <a:cubicBezTo>
                  <a:pt x="1052" y="204"/>
                  <a:pt x="1051" y="204"/>
                  <a:pt x="1051" y="203"/>
                </a:cubicBezTo>
                <a:cubicBezTo>
                  <a:pt x="1050" y="203"/>
                  <a:pt x="1049" y="203"/>
                  <a:pt x="1049" y="203"/>
                </a:cubicBezTo>
                <a:cubicBezTo>
                  <a:pt x="1049" y="204"/>
                  <a:pt x="1051" y="205"/>
                  <a:pt x="1049" y="204"/>
                </a:cubicBezTo>
                <a:cubicBezTo>
                  <a:pt x="1048" y="204"/>
                  <a:pt x="1048" y="205"/>
                  <a:pt x="1048" y="205"/>
                </a:cubicBezTo>
                <a:cubicBezTo>
                  <a:pt x="1047" y="205"/>
                  <a:pt x="1047" y="204"/>
                  <a:pt x="1046" y="204"/>
                </a:cubicBezTo>
                <a:cubicBezTo>
                  <a:pt x="1045" y="204"/>
                  <a:pt x="1045" y="204"/>
                  <a:pt x="1044" y="203"/>
                </a:cubicBezTo>
                <a:cubicBezTo>
                  <a:pt x="1044" y="203"/>
                  <a:pt x="1044" y="203"/>
                  <a:pt x="1044" y="203"/>
                </a:cubicBezTo>
                <a:cubicBezTo>
                  <a:pt x="1043" y="203"/>
                  <a:pt x="1043" y="203"/>
                  <a:pt x="1043" y="203"/>
                </a:cubicBezTo>
                <a:cubicBezTo>
                  <a:pt x="1042" y="203"/>
                  <a:pt x="1042" y="203"/>
                  <a:pt x="1041" y="203"/>
                </a:cubicBezTo>
                <a:cubicBezTo>
                  <a:pt x="1040" y="203"/>
                  <a:pt x="1042" y="204"/>
                  <a:pt x="1042" y="204"/>
                </a:cubicBezTo>
                <a:cubicBezTo>
                  <a:pt x="1041" y="204"/>
                  <a:pt x="1040" y="204"/>
                  <a:pt x="1040" y="205"/>
                </a:cubicBezTo>
                <a:cubicBezTo>
                  <a:pt x="1040" y="205"/>
                  <a:pt x="1040" y="206"/>
                  <a:pt x="1041" y="206"/>
                </a:cubicBezTo>
                <a:cubicBezTo>
                  <a:pt x="1040" y="206"/>
                  <a:pt x="1040" y="206"/>
                  <a:pt x="1039" y="206"/>
                </a:cubicBezTo>
                <a:cubicBezTo>
                  <a:pt x="1039" y="206"/>
                  <a:pt x="1038" y="206"/>
                  <a:pt x="1038" y="206"/>
                </a:cubicBezTo>
                <a:cubicBezTo>
                  <a:pt x="1037" y="206"/>
                  <a:pt x="1036" y="205"/>
                  <a:pt x="1035" y="205"/>
                </a:cubicBezTo>
                <a:cubicBezTo>
                  <a:pt x="1035" y="205"/>
                  <a:pt x="1033" y="205"/>
                  <a:pt x="1034" y="206"/>
                </a:cubicBezTo>
                <a:cubicBezTo>
                  <a:pt x="1034" y="206"/>
                  <a:pt x="1035" y="206"/>
                  <a:pt x="1034" y="206"/>
                </a:cubicBezTo>
                <a:cubicBezTo>
                  <a:pt x="1033" y="207"/>
                  <a:pt x="1032" y="207"/>
                  <a:pt x="1032" y="207"/>
                </a:cubicBezTo>
                <a:cubicBezTo>
                  <a:pt x="1031" y="207"/>
                  <a:pt x="1030" y="206"/>
                  <a:pt x="1029" y="207"/>
                </a:cubicBezTo>
                <a:cubicBezTo>
                  <a:pt x="1029" y="207"/>
                  <a:pt x="1028" y="206"/>
                  <a:pt x="1028" y="206"/>
                </a:cubicBezTo>
                <a:cubicBezTo>
                  <a:pt x="1027" y="206"/>
                  <a:pt x="1026" y="205"/>
                  <a:pt x="1026" y="205"/>
                </a:cubicBezTo>
                <a:cubicBezTo>
                  <a:pt x="1025" y="205"/>
                  <a:pt x="1025" y="205"/>
                  <a:pt x="1024" y="204"/>
                </a:cubicBezTo>
                <a:cubicBezTo>
                  <a:pt x="1025" y="204"/>
                  <a:pt x="1025" y="204"/>
                  <a:pt x="1026" y="204"/>
                </a:cubicBezTo>
                <a:cubicBezTo>
                  <a:pt x="1026" y="204"/>
                  <a:pt x="1026" y="204"/>
                  <a:pt x="1026" y="204"/>
                </a:cubicBezTo>
                <a:cubicBezTo>
                  <a:pt x="1027" y="203"/>
                  <a:pt x="1028" y="204"/>
                  <a:pt x="1028" y="204"/>
                </a:cubicBezTo>
                <a:cubicBezTo>
                  <a:pt x="1029" y="204"/>
                  <a:pt x="1030" y="204"/>
                  <a:pt x="1031" y="204"/>
                </a:cubicBezTo>
                <a:cubicBezTo>
                  <a:pt x="1032" y="204"/>
                  <a:pt x="1032" y="203"/>
                  <a:pt x="1033" y="203"/>
                </a:cubicBezTo>
                <a:cubicBezTo>
                  <a:pt x="1032" y="202"/>
                  <a:pt x="1031" y="202"/>
                  <a:pt x="1030" y="203"/>
                </a:cubicBezTo>
                <a:cubicBezTo>
                  <a:pt x="1029" y="203"/>
                  <a:pt x="1029" y="202"/>
                  <a:pt x="1028" y="202"/>
                </a:cubicBezTo>
                <a:cubicBezTo>
                  <a:pt x="1028" y="202"/>
                  <a:pt x="1027" y="202"/>
                  <a:pt x="1027" y="202"/>
                </a:cubicBezTo>
                <a:cubicBezTo>
                  <a:pt x="1027" y="201"/>
                  <a:pt x="1025" y="201"/>
                  <a:pt x="1024" y="200"/>
                </a:cubicBezTo>
                <a:cubicBezTo>
                  <a:pt x="1024" y="200"/>
                  <a:pt x="1022" y="199"/>
                  <a:pt x="1021" y="199"/>
                </a:cubicBezTo>
                <a:cubicBezTo>
                  <a:pt x="1021" y="199"/>
                  <a:pt x="1021" y="199"/>
                  <a:pt x="1021" y="199"/>
                </a:cubicBezTo>
                <a:cubicBezTo>
                  <a:pt x="1021" y="199"/>
                  <a:pt x="1021" y="200"/>
                  <a:pt x="1021" y="200"/>
                </a:cubicBezTo>
                <a:cubicBezTo>
                  <a:pt x="1020" y="199"/>
                  <a:pt x="1020" y="199"/>
                  <a:pt x="1019" y="199"/>
                </a:cubicBezTo>
                <a:cubicBezTo>
                  <a:pt x="1019" y="199"/>
                  <a:pt x="1018" y="200"/>
                  <a:pt x="1019" y="200"/>
                </a:cubicBezTo>
                <a:cubicBezTo>
                  <a:pt x="1020" y="201"/>
                  <a:pt x="1018" y="201"/>
                  <a:pt x="1018" y="201"/>
                </a:cubicBezTo>
                <a:cubicBezTo>
                  <a:pt x="1017" y="200"/>
                  <a:pt x="1016" y="200"/>
                  <a:pt x="1016" y="200"/>
                </a:cubicBezTo>
                <a:cubicBezTo>
                  <a:pt x="1016" y="200"/>
                  <a:pt x="1017" y="200"/>
                  <a:pt x="1017" y="200"/>
                </a:cubicBezTo>
                <a:cubicBezTo>
                  <a:pt x="1017" y="199"/>
                  <a:pt x="1016" y="200"/>
                  <a:pt x="1015" y="200"/>
                </a:cubicBezTo>
                <a:cubicBezTo>
                  <a:pt x="1015" y="200"/>
                  <a:pt x="1014" y="199"/>
                  <a:pt x="1014" y="199"/>
                </a:cubicBezTo>
                <a:cubicBezTo>
                  <a:pt x="1013" y="199"/>
                  <a:pt x="1012" y="199"/>
                  <a:pt x="1011" y="198"/>
                </a:cubicBezTo>
                <a:cubicBezTo>
                  <a:pt x="1009" y="198"/>
                  <a:pt x="1008" y="198"/>
                  <a:pt x="1007" y="198"/>
                </a:cubicBezTo>
                <a:cubicBezTo>
                  <a:pt x="1006" y="197"/>
                  <a:pt x="1005" y="197"/>
                  <a:pt x="1004" y="198"/>
                </a:cubicBezTo>
                <a:cubicBezTo>
                  <a:pt x="1004" y="198"/>
                  <a:pt x="1004" y="198"/>
                  <a:pt x="1004" y="198"/>
                </a:cubicBezTo>
                <a:cubicBezTo>
                  <a:pt x="1004" y="198"/>
                  <a:pt x="1004" y="198"/>
                  <a:pt x="1004" y="198"/>
                </a:cubicBezTo>
                <a:cubicBezTo>
                  <a:pt x="1004" y="198"/>
                  <a:pt x="1003" y="199"/>
                  <a:pt x="1003" y="199"/>
                </a:cubicBezTo>
                <a:cubicBezTo>
                  <a:pt x="1004" y="199"/>
                  <a:pt x="1004" y="200"/>
                  <a:pt x="1005" y="200"/>
                </a:cubicBezTo>
                <a:cubicBezTo>
                  <a:pt x="1005" y="200"/>
                  <a:pt x="1006" y="200"/>
                  <a:pt x="1006" y="201"/>
                </a:cubicBezTo>
                <a:cubicBezTo>
                  <a:pt x="1006" y="201"/>
                  <a:pt x="1005" y="200"/>
                  <a:pt x="1005" y="200"/>
                </a:cubicBezTo>
                <a:cubicBezTo>
                  <a:pt x="1005" y="200"/>
                  <a:pt x="1004" y="201"/>
                  <a:pt x="1004" y="201"/>
                </a:cubicBezTo>
                <a:cubicBezTo>
                  <a:pt x="1004" y="201"/>
                  <a:pt x="1003" y="201"/>
                  <a:pt x="1003" y="200"/>
                </a:cubicBezTo>
                <a:cubicBezTo>
                  <a:pt x="1003" y="200"/>
                  <a:pt x="1003" y="200"/>
                  <a:pt x="1003" y="200"/>
                </a:cubicBezTo>
                <a:cubicBezTo>
                  <a:pt x="1002" y="200"/>
                  <a:pt x="1003" y="201"/>
                  <a:pt x="1003" y="201"/>
                </a:cubicBezTo>
                <a:cubicBezTo>
                  <a:pt x="1004" y="202"/>
                  <a:pt x="1004" y="201"/>
                  <a:pt x="1004" y="201"/>
                </a:cubicBezTo>
                <a:cubicBezTo>
                  <a:pt x="1004" y="201"/>
                  <a:pt x="1004" y="202"/>
                  <a:pt x="1005" y="202"/>
                </a:cubicBezTo>
                <a:cubicBezTo>
                  <a:pt x="1005" y="202"/>
                  <a:pt x="1005" y="201"/>
                  <a:pt x="1005" y="201"/>
                </a:cubicBezTo>
                <a:cubicBezTo>
                  <a:pt x="1005" y="201"/>
                  <a:pt x="1005" y="202"/>
                  <a:pt x="1005" y="202"/>
                </a:cubicBezTo>
                <a:cubicBezTo>
                  <a:pt x="1006" y="202"/>
                  <a:pt x="1006" y="202"/>
                  <a:pt x="1006" y="203"/>
                </a:cubicBezTo>
                <a:cubicBezTo>
                  <a:pt x="1006" y="203"/>
                  <a:pt x="1005" y="203"/>
                  <a:pt x="1005" y="203"/>
                </a:cubicBezTo>
                <a:cubicBezTo>
                  <a:pt x="1005" y="203"/>
                  <a:pt x="1005" y="202"/>
                  <a:pt x="1005" y="202"/>
                </a:cubicBezTo>
                <a:cubicBezTo>
                  <a:pt x="1005" y="203"/>
                  <a:pt x="1005" y="203"/>
                  <a:pt x="1005" y="203"/>
                </a:cubicBezTo>
                <a:cubicBezTo>
                  <a:pt x="1004" y="203"/>
                  <a:pt x="1004" y="203"/>
                  <a:pt x="1004" y="203"/>
                </a:cubicBezTo>
                <a:cubicBezTo>
                  <a:pt x="1003" y="203"/>
                  <a:pt x="1003" y="203"/>
                  <a:pt x="1003" y="203"/>
                </a:cubicBezTo>
                <a:cubicBezTo>
                  <a:pt x="1002" y="203"/>
                  <a:pt x="1002" y="203"/>
                  <a:pt x="1001" y="202"/>
                </a:cubicBezTo>
                <a:cubicBezTo>
                  <a:pt x="1001" y="201"/>
                  <a:pt x="999" y="201"/>
                  <a:pt x="998" y="201"/>
                </a:cubicBezTo>
                <a:cubicBezTo>
                  <a:pt x="998" y="201"/>
                  <a:pt x="996" y="201"/>
                  <a:pt x="996" y="202"/>
                </a:cubicBezTo>
                <a:cubicBezTo>
                  <a:pt x="996" y="202"/>
                  <a:pt x="997" y="202"/>
                  <a:pt x="997" y="202"/>
                </a:cubicBezTo>
                <a:cubicBezTo>
                  <a:pt x="997" y="203"/>
                  <a:pt x="994" y="202"/>
                  <a:pt x="995" y="203"/>
                </a:cubicBezTo>
                <a:cubicBezTo>
                  <a:pt x="995" y="203"/>
                  <a:pt x="994" y="202"/>
                  <a:pt x="993" y="202"/>
                </a:cubicBezTo>
                <a:cubicBezTo>
                  <a:pt x="993" y="202"/>
                  <a:pt x="992" y="203"/>
                  <a:pt x="991" y="202"/>
                </a:cubicBezTo>
                <a:cubicBezTo>
                  <a:pt x="990" y="202"/>
                  <a:pt x="989" y="202"/>
                  <a:pt x="988" y="202"/>
                </a:cubicBezTo>
                <a:cubicBezTo>
                  <a:pt x="988" y="201"/>
                  <a:pt x="987" y="201"/>
                  <a:pt x="986" y="201"/>
                </a:cubicBezTo>
                <a:cubicBezTo>
                  <a:pt x="986" y="201"/>
                  <a:pt x="984" y="200"/>
                  <a:pt x="984" y="201"/>
                </a:cubicBezTo>
                <a:cubicBezTo>
                  <a:pt x="984" y="202"/>
                  <a:pt x="985" y="202"/>
                  <a:pt x="985" y="202"/>
                </a:cubicBezTo>
                <a:cubicBezTo>
                  <a:pt x="986" y="203"/>
                  <a:pt x="987" y="203"/>
                  <a:pt x="986" y="203"/>
                </a:cubicBezTo>
                <a:cubicBezTo>
                  <a:pt x="986" y="203"/>
                  <a:pt x="986" y="203"/>
                  <a:pt x="985" y="203"/>
                </a:cubicBezTo>
                <a:cubicBezTo>
                  <a:pt x="985" y="203"/>
                  <a:pt x="985" y="204"/>
                  <a:pt x="985" y="204"/>
                </a:cubicBezTo>
                <a:cubicBezTo>
                  <a:pt x="984" y="204"/>
                  <a:pt x="983" y="203"/>
                  <a:pt x="983" y="203"/>
                </a:cubicBezTo>
                <a:cubicBezTo>
                  <a:pt x="982" y="203"/>
                  <a:pt x="982" y="203"/>
                  <a:pt x="981" y="202"/>
                </a:cubicBezTo>
                <a:cubicBezTo>
                  <a:pt x="981" y="202"/>
                  <a:pt x="982" y="201"/>
                  <a:pt x="981" y="201"/>
                </a:cubicBezTo>
                <a:cubicBezTo>
                  <a:pt x="981" y="201"/>
                  <a:pt x="980" y="201"/>
                  <a:pt x="980" y="201"/>
                </a:cubicBezTo>
                <a:cubicBezTo>
                  <a:pt x="980" y="201"/>
                  <a:pt x="980" y="201"/>
                  <a:pt x="979" y="201"/>
                </a:cubicBezTo>
                <a:cubicBezTo>
                  <a:pt x="979" y="201"/>
                  <a:pt x="978" y="201"/>
                  <a:pt x="977" y="201"/>
                </a:cubicBezTo>
                <a:cubicBezTo>
                  <a:pt x="976" y="201"/>
                  <a:pt x="976" y="201"/>
                  <a:pt x="975" y="201"/>
                </a:cubicBezTo>
                <a:cubicBezTo>
                  <a:pt x="974" y="201"/>
                  <a:pt x="973" y="201"/>
                  <a:pt x="972" y="201"/>
                </a:cubicBezTo>
                <a:cubicBezTo>
                  <a:pt x="973" y="201"/>
                  <a:pt x="972" y="201"/>
                  <a:pt x="972" y="201"/>
                </a:cubicBezTo>
                <a:cubicBezTo>
                  <a:pt x="972" y="201"/>
                  <a:pt x="971" y="201"/>
                  <a:pt x="971" y="201"/>
                </a:cubicBezTo>
                <a:cubicBezTo>
                  <a:pt x="971" y="201"/>
                  <a:pt x="972" y="202"/>
                  <a:pt x="972" y="202"/>
                </a:cubicBezTo>
                <a:cubicBezTo>
                  <a:pt x="971" y="202"/>
                  <a:pt x="970" y="202"/>
                  <a:pt x="969" y="201"/>
                </a:cubicBezTo>
                <a:cubicBezTo>
                  <a:pt x="969" y="201"/>
                  <a:pt x="970" y="201"/>
                  <a:pt x="970" y="201"/>
                </a:cubicBezTo>
                <a:cubicBezTo>
                  <a:pt x="969" y="201"/>
                  <a:pt x="969" y="201"/>
                  <a:pt x="969" y="201"/>
                </a:cubicBezTo>
                <a:cubicBezTo>
                  <a:pt x="968" y="201"/>
                  <a:pt x="967" y="201"/>
                  <a:pt x="967" y="201"/>
                </a:cubicBezTo>
                <a:cubicBezTo>
                  <a:pt x="966" y="201"/>
                  <a:pt x="965" y="201"/>
                  <a:pt x="964" y="202"/>
                </a:cubicBezTo>
                <a:cubicBezTo>
                  <a:pt x="963" y="202"/>
                  <a:pt x="962" y="202"/>
                  <a:pt x="961" y="202"/>
                </a:cubicBezTo>
                <a:cubicBezTo>
                  <a:pt x="961" y="202"/>
                  <a:pt x="960" y="201"/>
                  <a:pt x="960" y="202"/>
                </a:cubicBezTo>
                <a:cubicBezTo>
                  <a:pt x="959" y="202"/>
                  <a:pt x="958" y="202"/>
                  <a:pt x="957" y="203"/>
                </a:cubicBezTo>
                <a:cubicBezTo>
                  <a:pt x="957" y="203"/>
                  <a:pt x="956" y="203"/>
                  <a:pt x="955" y="204"/>
                </a:cubicBezTo>
                <a:cubicBezTo>
                  <a:pt x="955" y="205"/>
                  <a:pt x="955" y="205"/>
                  <a:pt x="955" y="206"/>
                </a:cubicBezTo>
                <a:cubicBezTo>
                  <a:pt x="955" y="207"/>
                  <a:pt x="955" y="207"/>
                  <a:pt x="955" y="208"/>
                </a:cubicBezTo>
                <a:cubicBezTo>
                  <a:pt x="955" y="209"/>
                  <a:pt x="954" y="209"/>
                  <a:pt x="954" y="210"/>
                </a:cubicBezTo>
                <a:cubicBezTo>
                  <a:pt x="953" y="211"/>
                  <a:pt x="953" y="210"/>
                  <a:pt x="952" y="211"/>
                </a:cubicBezTo>
                <a:cubicBezTo>
                  <a:pt x="951" y="212"/>
                  <a:pt x="952" y="214"/>
                  <a:pt x="952" y="215"/>
                </a:cubicBezTo>
                <a:cubicBezTo>
                  <a:pt x="953" y="216"/>
                  <a:pt x="954" y="218"/>
                  <a:pt x="953" y="218"/>
                </a:cubicBezTo>
                <a:cubicBezTo>
                  <a:pt x="953" y="218"/>
                  <a:pt x="952" y="218"/>
                  <a:pt x="952" y="218"/>
                </a:cubicBezTo>
                <a:cubicBezTo>
                  <a:pt x="952" y="218"/>
                  <a:pt x="952" y="218"/>
                  <a:pt x="951" y="218"/>
                </a:cubicBezTo>
                <a:cubicBezTo>
                  <a:pt x="951" y="219"/>
                  <a:pt x="951" y="219"/>
                  <a:pt x="951" y="220"/>
                </a:cubicBezTo>
                <a:cubicBezTo>
                  <a:pt x="952" y="220"/>
                  <a:pt x="951" y="221"/>
                  <a:pt x="951" y="221"/>
                </a:cubicBezTo>
                <a:cubicBezTo>
                  <a:pt x="950" y="221"/>
                  <a:pt x="950" y="222"/>
                  <a:pt x="950" y="222"/>
                </a:cubicBezTo>
                <a:cubicBezTo>
                  <a:pt x="950" y="223"/>
                  <a:pt x="947" y="222"/>
                  <a:pt x="949" y="224"/>
                </a:cubicBezTo>
                <a:cubicBezTo>
                  <a:pt x="948" y="224"/>
                  <a:pt x="948" y="224"/>
                  <a:pt x="948" y="225"/>
                </a:cubicBezTo>
                <a:cubicBezTo>
                  <a:pt x="949" y="226"/>
                  <a:pt x="948" y="225"/>
                  <a:pt x="948" y="225"/>
                </a:cubicBezTo>
                <a:cubicBezTo>
                  <a:pt x="948" y="226"/>
                  <a:pt x="947" y="226"/>
                  <a:pt x="947" y="226"/>
                </a:cubicBezTo>
                <a:cubicBezTo>
                  <a:pt x="946" y="226"/>
                  <a:pt x="947" y="227"/>
                  <a:pt x="947" y="227"/>
                </a:cubicBezTo>
                <a:cubicBezTo>
                  <a:pt x="946" y="227"/>
                  <a:pt x="947" y="227"/>
                  <a:pt x="947" y="228"/>
                </a:cubicBezTo>
                <a:cubicBezTo>
                  <a:pt x="947" y="228"/>
                  <a:pt x="947" y="228"/>
                  <a:pt x="946" y="229"/>
                </a:cubicBezTo>
                <a:cubicBezTo>
                  <a:pt x="946" y="229"/>
                  <a:pt x="947" y="229"/>
                  <a:pt x="947" y="229"/>
                </a:cubicBezTo>
                <a:cubicBezTo>
                  <a:pt x="946" y="229"/>
                  <a:pt x="946" y="230"/>
                  <a:pt x="947" y="231"/>
                </a:cubicBezTo>
                <a:cubicBezTo>
                  <a:pt x="947" y="231"/>
                  <a:pt x="948" y="231"/>
                  <a:pt x="948" y="231"/>
                </a:cubicBezTo>
                <a:cubicBezTo>
                  <a:pt x="948" y="231"/>
                  <a:pt x="947" y="231"/>
                  <a:pt x="947" y="232"/>
                </a:cubicBezTo>
                <a:cubicBezTo>
                  <a:pt x="947" y="232"/>
                  <a:pt x="947" y="232"/>
                  <a:pt x="946" y="232"/>
                </a:cubicBezTo>
                <a:cubicBezTo>
                  <a:pt x="947" y="232"/>
                  <a:pt x="947" y="233"/>
                  <a:pt x="947" y="233"/>
                </a:cubicBezTo>
                <a:cubicBezTo>
                  <a:pt x="947" y="234"/>
                  <a:pt x="946" y="234"/>
                  <a:pt x="947" y="234"/>
                </a:cubicBezTo>
                <a:cubicBezTo>
                  <a:pt x="947" y="234"/>
                  <a:pt x="946" y="235"/>
                  <a:pt x="946" y="235"/>
                </a:cubicBezTo>
                <a:cubicBezTo>
                  <a:pt x="946" y="236"/>
                  <a:pt x="946" y="236"/>
                  <a:pt x="946" y="237"/>
                </a:cubicBezTo>
                <a:cubicBezTo>
                  <a:pt x="945" y="236"/>
                  <a:pt x="945" y="237"/>
                  <a:pt x="945" y="238"/>
                </a:cubicBezTo>
                <a:cubicBezTo>
                  <a:pt x="944" y="238"/>
                  <a:pt x="944" y="238"/>
                  <a:pt x="944" y="239"/>
                </a:cubicBezTo>
                <a:cubicBezTo>
                  <a:pt x="944" y="239"/>
                  <a:pt x="944" y="239"/>
                  <a:pt x="943" y="240"/>
                </a:cubicBezTo>
                <a:cubicBezTo>
                  <a:pt x="943" y="240"/>
                  <a:pt x="943" y="239"/>
                  <a:pt x="942" y="240"/>
                </a:cubicBezTo>
                <a:cubicBezTo>
                  <a:pt x="942" y="240"/>
                  <a:pt x="941" y="241"/>
                  <a:pt x="941" y="241"/>
                </a:cubicBezTo>
                <a:cubicBezTo>
                  <a:pt x="942" y="243"/>
                  <a:pt x="940" y="244"/>
                  <a:pt x="939" y="245"/>
                </a:cubicBezTo>
                <a:cubicBezTo>
                  <a:pt x="939" y="245"/>
                  <a:pt x="939" y="245"/>
                  <a:pt x="938" y="245"/>
                </a:cubicBezTo>
                <a:cubicBezTo>
                  <a:pt x="938" y="245"/>
                  <a:pt x="938" y="246"/>
                  <a:pt x="938" y="246"/>
                </a:cubicBezTo>
                <a:cubicBezTo>
                  <a:pt x="937" y="247"/>
                  <a:pt x="937" y="248"/>
                  <a:pt x="938" y="248"/>
                </a:cubicBezTo>
                <a:cubicBezTo>
                  <a:pt x="938" y="249"/>
                  <a:pt x="939" y="249"/>
                  <a:pt x="940" y="249"/>
                </a:cubicBezTo>
                <a:cubicBezTo>
                  <a:pt x="941" y="249"/>
                  <a:pt x="942" y="250"/>
                  <a:pt x="943" y="250"/>
                </a:cubicBezTo>
                <a:cubicBezTo>
                  <a:pt x="944" y="250"/>
                  <a:pt x="944" y="251"/>
                  <a:pt x="944" y="251"/>
                </a:cubicBezTo>
                <a:cubicBezTo>
                  <a:pt x="945" y="251"/>
                  <a:pt x="945" y="251"/>
                  <a:pt x="946" y="251"/>
                </a:cubicBezTo>
                <a:cubicBezTo>
                  <a:pt x="947" y="251"/>
                  <a:pt x="948" y="250"/>
                  <a:pt x="949" y="250"/>
                </a:cubicBezTo>
                <a:cubicBezTo>
                  <a:pt x="949" y="250"/>
                  <a:pt x="951" y="251"/>
                  <a:pt x="951" y="250"/>
                </a:cubicBezTo>
                <a:cubicBezTo>
                  <a:pt x="951" y="249"/>
                  <a:pt x="951" y="251"/>
                  <a:pt x="952" y="250"/>
                </a:cubicBezTo>
                <a:cubicBezTo>
                  <a:pt x="952" y="250"/>
                  <a:pt x="953" y="251"/>
                  <a:pt x="954" y="251"/>
                </a:cubicBezTo>
                <a:cubicBezTo>
                  <a:pt x="954" y="251"/>
                  <a:pt x="954" y="252"/>
                  <a:pt x="954" y="252"/>
                </a:cubicBezTo>
                <a:cubicBezTo>
                  <a:pt x="954" y="252"/>
                  <a:pt x="954" y="252"/>
                  <a:pt x="954" y="252"/>
                </a:cubicBezTo>
                <a:cubicBezTo>
                  <a:pt x="954" y="253"/>
                  <a:pt x="955" y="253"/>
                  <a:pt x="955" y="253"/>
                </a:cubicBezTo>
                <a:cubicBezTo>
                  <a:pt x="956" y="254"/>
                  <a:pt x="955" y="254"/>
                  <a:pt x="955" y="254"/>
                </a:cubicBezTo>
                <a:cubicBezTo>
                  <a:pt x="956" y="254"/>
                  <a:pt x="957" y="256"/>
                  <a:pt x="957" y="256"/>
                </a:cubicBezTo>
                <a:cubicBezTo>
                  <a:pt x="956" y="257"/>
                  <a:pt x="959" y="259"/>
                  <a:pt x="959" y="259"/>
                </a:cubicBezTo>
                <a:cubicBezTo>
                  <a:pt x="960" y="259"/>
                  <a:pt x="959" y="258"/>
                  <a:pt x="960" y="258"/>
                </a:cubicBezTo>
                <a:cubicBezTo>
                  <a:pt x="961" y="258"/>
                  <a:pt x="961" y="259"/>
                  <a:pt x="962" y="259"/>
                </a:cubicBezTo>
                <a:cubicBezTo>
                  <a:pt x="963" y="259"/>
                  <a:pt x="962" y="256"/>
                  <a:pt x="961" y="256"/>
                </a:cubicBezTo>
                <a:cubicBezTo>
                  <a:pt x="960" y="256"/>
                  <a:pt x="960" y="256"/>
                  <a:pt x="959" y="256"/>
                </a:cubicBezTo>
                <a:cubicBezTo>
                  <a:pt x="959" y="255"/>
                  <a:pt x="959" y="255"/>
                  <a:pt x="959" y="254"/>
                </a:cubicBezTo>
                <a:cubicBezTo>
                  <a:pt x="960" y="254"/>
                  <a:pt x="960" y="253"/>
                  <a:pt x="961" y="254"/>
                </a:cubicBezTo>
                <a:cubicBezTo>
                  <a:pt x="962" y="254"/>
                  <a:pt x="962" y="253"/>
                  <a:pt x="963" y="253"/>
                </a:cubicBezTo>
                <a:cubicBezTo>
                  <a:pt x="963" y="253"/>
                  <a:pt x="963" y="254"/>
                  <a:pt x="963" y="255"/>
                </a:cubicBezTo>
                <a:cubicBezTo>
                  <a:pt x="963" y="255"/>
                  <a:pt x="962" y="255"/>
                  <a:pt x="963" y="256"/>
                </a:cubicBezTo>
                <a:cubicBezTo>
                  <a:pt x="962" y="256"/>
                  <a:pt x="962" y="255"/>
                  <a:pt x="962" y="255"/>
                </a:cubicBezTo>
                <a:cubicBezTo>
                  <a:pt x="961" y="255"/>
                  <a:pt x="961" y="256"/>
                  <a:pt x="961" y="256"/>
                </a:cubicBezTo>
                <a:cubicBezTo>
                  <a:pt x="962" y="256"/>
                  <a:pt x="962" y="256"/>
                  <a:pt x="963" y="257"/>
                </a:cubicBezTo>
                <a:cubicBezTo>
                  <a:pt x="963" y="257"/>
                  <a:pt x="964" y="257"/>
                  <a:pt x="965" y="257"/>
                </a:cubicBezTo>
                <a:cubicBezTo>
                  <a:pt x="965" y="257"/>
                  <a:pt x="966" y="257"/>
                  <a:pt x="966" y="257"/>
                </a:cubicBezTo>
                <a:cubicBezTo>
                  <a:pt x="967" y="257"/>
                  <a:pt x="967" y="258"/>
                  <a:pt x="967" y="258"/>
                </a:cubicBezTo>
                <a:cubicBezTo>
                  <a:pt x="966" y="258"/>
                  <a:pt x="966" y="258"/>
                  <a:pt x="966" y="259"/>
                </a:cubicBezTo>
                <a:cubicBezTo>
                  <a:pt x="966" y="259"/>
                  <a:pt x="966" y="259"/>
                  <a:pt x="966" y="260"/>
                </a:cubicBezTo>
                <a:cubicBezTo>
                  <a:pt x="966" y="260"/>
                  <a:pt x="965" y="260"/>
                  <a:pt x="965" y="260"/>
                </a:cubicBezTo>
                <a:cubicBezTo>
                  <a:pt x="965" y="260"/>
                  <a:pt x="965" y="261"/>
                  <a:pt x="965" y="261"/>
                </a:cubicBezTo>
                <a:cubicBezTo>
                  <a:pt x="965" y="262"/>
                  <a:pt x="967" y="262"/>
                  <a:pt x="967" y="262"/>
                </a:cubicBezTo>
                <a:cubicBezTo>
                  <a:pt x="968" y="261"/>
                  <a:pt x="970" y="262"/>
                  <a:pt x="971" y="261"/>
                </a:cubicBezTo>
                <a:cubicBezTo>
                  <a:pt x="971" y="260"/>
                  <a:pt x="971" y="260"/>
                  <a:pt x="972" y="260"/>
                </a:cubicBezTo>
                <a:cubicBezTo>
                  <a:pt x="972" y="259"/>
                  <a:pt x="972" y="259"/>
                  <a:pt x="972" y="258"/>
                </a:cubicBezTo>
                <a:cubicBezTo>
                  <a:pt x="971" y="258"/>
                  <a:pt x="972" y="256"/>
                  <a:pt x="973" y="257"/>
                </a:cubicBezTo>
                <a:cubicBezTo>
                  <a:pt x="973" y="258"/>
                  <a:pt x="974" y="258"/>
                  <a:pt x="974" y="259"/>
                </a:cubicBezTo>
                <a:cubicBezTo>
                  <a:pt x="974" y="259"/>
                  <a:pt x="974" y="259"/>
                  <a:pt x="973" y="260"/>
                </a:cubicBezTo>
                <a:cubicBezTo>
                  <a:pt x="973" y="260"/>
                  <a:pt x="974" y="261"/>
                  <a:pt x="974" y="261"/>
                </a:cubicBezTo>
                <a:cubicBezTo>
                  <a:pt x="973" y="261"/>
                  <a:pt x="974" y="262"/>
                  <a:pt x="974" y="262"/>
                </a:cubicBezTo>
                <a:cubicBezTo>
                  <a:pt x="974" y="262"/>
                  <a:pt x="975" y="262"/>
                  <a:pt x="975" y="262"/>
                </a:cubicBezTo>
                <a:cubicBezTo>
                  <a:pt x="976" y="261"/>
                  <a:pt x="975" y="260"/>
                  <a:pt x="975" y="259"/>
                </a:cubicBezTo>
                <a:cubicBezTo>
                  <a:pt x="975" y="259"/>
                  <a:pt x="975" y="258"/>
                  <a:pt x="974" y="258"/>
                </a:cubicBezTo>
                <a:cubicBezTo>
                  <a:pt x="974" y="258"/>
                  <a:pt x="974" y="257"/>
                  <a:pt x="974" y="257"/>
                </a:cubicBezTo>
                <a:cubicBezTo>
                  <a:pt x="974" y="256"/>
                  <a:pt x="973" y="256"/>
                  <a:pt x="973" y="256"/>
                </a:cubicBezTo>
                <a:cubicBezTo>
                  <a:pt x="973" y="256"/>
                  <a:pt x="972" y="256"/>
                  <a:pt x="972" y="256"/>
                </a:cubicBezTo>
                <a:cubicBezTo>
                  <a:pt x="972" y="255"/>
                  <a:pt x="971" y="254"/>
                  <a:pt x="970" y="254"/>
                </a:cubicBezTo>
                <a:cubicBezTo>
                  <a:pt x="971" y="253"/>
                  <a:pt x="973" y="254"/>
                  <a:pt x="973" y="254"/>
                </a:cubicBezTo>
                <a:cubicBezTo>
                  <a:pt x="974" y="255"/>
                  <a:pt x="976" y="255"/>
                  <a:pt x="977" y="255"/>
                </a:cubicBezTo>
                <a:cubicBezTo>
                  <a:pt x="978" y="254"/>
                  <a:pt x="978" y="254"/>
                  <a:pt x="979" y="254"/>
                </a:cubicBezTo>
                <a:cubicBezTo>
                  <a:pt x="979" y="254"/>
                  <a:pt x="979" y="254"/>
                  <a:pt x="979" y="254"/>
                </a:cubicBezTo>
                <a:cubicBezTo>
                  <a:pt x="980" y="253"/>
                  <a:pt x="980" y="254"/>
                  <a:pt x="980" y="254"/>
                </a:cubicBezTo>
                <a:cubicBezTo>
                  <a:pt x="980" y="254"/>
                  <a:pt x="981" y="255"/>
                  <a:pt x="981" y="255"/>
                </a:cubicBezTo>
                <a:cubicBezTo>
                  <a:pt x="982" y="255"/>
                  <a:pt x="983" y="256"/>
                  <a:pt x="984" y="256"/>
                </a:cubicBezTo>
                <a:cubicBezTo>
                  <a:pt x="985" y="256"/>
                  <a:pt x="986" y="256"/>
                  <a:pt x="987" y="257"/>
                </a:cubicBezTo>
                <a:cubicBezTo>
                  <a:pt x="987" y="258"/>
                  <a:pt x="987" y="258"/>
                  <a:pt x="987" y="258"/>
                </a:cubicBezTo>
                <a:cubicBezTo>
                  <a:pt x="988" y="259"/>
                  <a:pt x="989" y="259"/>
                  <a:pt x="989" y="259"/>
                </a:cubicBezTo>
                <a:cubicBezTo>
                  <a:pt x="991" y="260"/>
                  <a:pt x="992" y="260"/>
                  <a:pt x="993" y="261"/>
                </a:cubicBezTo>
                <a:cubicBezTo>
                  <a:pt x="994" y="261"/>
                  <a:pt x="996" y="262"/>
                  <a:pt x="997" y="262"/>
                </a:cubicBezTo>
                <a:cubicBezTo>
                  <a:pt x="997" y="262"/>
                  <a:pt x="996" y="262"/>
                  <a:pt x="996" y="262"/>
                </a:cubicBezTo>
                <a:cubicBezTo>
                  <a:pt x="996" y="263"/>
                  <a:pt x="996" y="262"/>
                  <a:pt x="997" y="263"/>
                </a:cubicBezTo>
                <a:cubicBezTo>
                  <a:pt x="998" y="263"/>
                  <a:pt x="999" y="264"/>
                  <a:pt x="1000" y="264"/>
                </a:cubicBezTo>
                <a:cubicBezTo>
                  <a:pt x="1001" y="264"/>
                  <a:pt x="1002" y="264"/>
                  <a:pt x="1002" y="264"/>
                </a:cubicBezTo>
                <a:cubicBezTo>
                  <a:pt x="1002" y="264"/>
                  <a:pt x="1002" y="265"/>
                  <a:pt x="1002" y="265"/>
                </a:cubicBezTo>
                <a:cubicBezTo>
                  <a:pt x="1002" y="265"/>
                  <a:pt x="1003" y="265"/>
                  <a:pt x="1003" y="266"/>
                </a:cubicBezTo>
                <a:cubicBezTo>
                  <a:pt x="1003" y="266"/>
                  <a:pt x="1003" y="266"/>
                  <a:pt x="1003" y="266"/>
                </a:cubicBezTo>
                <a:cubicBezTo>
                  <a:pt x="1003" y="266"/>
                  <a:pt x="1002" y="266"/>
                  <a:pt x="1002" y="267"/>
                </a:cubicBezTo>
                <a:cubicBezTo>
                  <a:pt x="1002" y="267"/>
                  <a:pt x="1003" y="267"/>
                  <a:pt x="1003" y="267"/>
                </a:cubicBezTo>
                <a:cubicBezTo>
                  <a:pt x="1003" y="267"/>
                  <a:pt x="1002" y="267"/>
                  <a:pt x="1002" y="267"/>
                </a:cubicBezTo>
                <a:cubicBezTo>
                  <a:pt x="1001" y="267"/>
                  <a:pt x="999" y="266"/>
                  <a:pt x="997" y="266"/>
                </a:cubicBezTo>
                <a:cubicBezTo>
                  <a:pt x="998" y="267"/>
                  <a:pt x="999" y="267"/>
                  <a:pt x="1000" y="267"/>
                </a:cubicBezTo>
                <a:cubicBezTo>
                  <a:pt x="1000" y="267"/>
                  <a:pt x="1000" y="267"/>
                  <a:pt x="1001" y="268"/>
                </a:cubicBezTo>
                <a:cubicBezTo>
                  <a:pt x="1001" y="268"/>
                  <a:pt x="1002" y="268"/>
                  <a:pt x="1002" y="268"/>
                </a:cubicBezTo>
                <a:cubicBezTo>
                  <a:pt x="1002" y="268"/>
                  <a:pt x="1003" y="269"/>
                  <a:pt x="1003" y="269"/>
                </a:cubicBezTo>
                <a:cubicBezTo>
                  <a:pt x="1004" y="269"/>
                  <a:pt x="1004" y="269"/>
                  <a:pt x="1004" y="269"/>
                </a:cubicBezTo>
                <a:cubicBezTo>
                  <a:pt x="1004" y="269"/>
                  <a:pt x="1004" y="269"/>
                  <a:pt x="1005" y="270"/>
                </a:cubicBezTo>
                <a:cubicBezTo>
                  <a:pt x="1005" y="270"/>
                  <a:pt x="1005" y="270"/>
                  <a:pt x="1006" y="270"/>
                </a:cubicBezTo>
                <a:cubicBezTo>
                  <a:pt x="1006" y="271"/>
                  <a:pt x="1007" y="272"/>
                  <a:pt x="1006" y="273"/>
                </a:cubicBezTo>
                <a:cubicBezTo>
                  <a:pt x="1006" y="273"/>
                  <a:pt x="1007" y="274"/>
                  <a:pt x="1008" y="274"/>
                </a:cubicBezTo>
                <a:cubicBezTo>
                  <a:pt x="1008" y="274"/>
                  <a:pt x="1009" y="275"/>
                  <a:pt x="1010" y="275"/>
                </a:cubicBezTo>
                <a:cubicBezTo>
                  <a:pt x="1011" y="276"/>
                  <a:pt x="1012" y="275"/>
                  <a:pt x="1012" y="276"/>
                </a:cubicBezTo>
                <a:cubicBezTo>
                  <a:pt x="1012" y="276"/>
                  <a:pt x="1011" y="276"/>
                  <a:pt x="1011" y="277"/>
                </a:cubicBezTo>
                <a:cubicBezTo>
                  <a:pt x="1012" y="278"/>
                  <a:pt x="1013" y="278"/>
                  <a:pt x="1013" y="278"/>
                </a:cubicBezTo>
                <a:cubicBezTo>
                  <a:pt x="1014" y="279"/>
                  <a:pt x="1013" y="279"/>
                  <a:pt x="1012" y="279"/>
                </a:cubicBezTo>
                <a:cubicBezTo>
                  <a:pt x="1012" y="279"/>
                  <a:pt x="1013" y="281"/>
                  <a:pt x="1013" y="281"/>
                </a:cubicBezTo>
                <a:cubicBezTo>
                  <a:pt x="1012" y="281"/>
                  <a:pt x="1011" y="282"/>
                  <a:pt x="1012" y="282"/>
                </a:cubicBezTo>
                <a:cubicBezTo>
                  <a:pt x="1013" y="283"/>
                  <a:pt x="1013" y="283"/>
                  <a:pt x="1012" y="283"/>
                </a:cubicBezTo>
                <a:cubicBezTo>
                  <a:pt x="1012" y="283"/>
                  <a:pt x="1013" y="284"/>
                  <a:pt x="1013" y="284"/>
                </a:cubicBezTo>
                <a:cubicBezTo>
                  <a:pt x="1013" y="285"/>
                  <a:pt x="1012" y="285"/>
                  <a:pt x="1012" y="285"/>
                </a:cubicBezTo>
                <a:cubicBezTo>
                  <a:pt x="1012" y="285"/>
                  <a:pt x="1013" y="285"/>
                  <a:pt x="1013" y="286"/>
                </a:cubicBezTo>
                <a:cubicBezTo>
                  <a:pt x="1013" y="286"/>
                  <a:pt x="1013" y="286"/>
                  <a:pt x="1013" y="286"/>
                </a:cubicBezTo>
                <a:cubicBezTo>
                  <a:pt x="1013" y="286"/>
                  <a:pt x="1013" y="287"/>
                  <a:pt x="1013" y="287"/>
                </a:cubicBezTo>
                <a:cubicBezTo>
                  <a:pt x="1014" y="287"/>
                  <a:pt x="1014" y="287"/>
                  <a:pt x="1014" y="288"/>
                </a:cubicBezTo>
                <a:cubicBezTo>
                  <a:pt x="1015" y="288"/>
                  <a:pt x="1014" y="288"/>
                  <a:pt x="1015" y="288"/>
                </a:cubicBezTo>
                <a:cubicBezTo>
                  <a:pt x="1015" y="289"/>
                  <a:pt x="1015" y="289"/>
                  <a:pt x="1015" y="289"/>
                </a:cubicBezTo>
                <a:cubicBezTo>
                  <a:pt x="1015" y="289"/>
                  <a:pt x="1014" y="289"/>
                  <a:pt x="1015" y="290"/>
                </a:cubicBezTo>
                <a:cubicBezTo>
                  <a:pt x="1015" y="290"/>
                  <a:pt x="1015" y="290"/>
                  <a:pt x="1015" y="290"/>
                </a:cubicBezTo>
                <a:cubicBezTo>
                  <a:pt x="1015" y="291"/>
                  <a:pt x="1015" y="291"/>
                  <a:pt x="1015" y="291"/>
                </a:cubicBezTo>
                <a:cubicBezTo>
                  <a:pt x="1016" y="292"/>
                  <a:pt x="1016" y="292"/>
                  <a:pt x="1016" y="292"/>
                </a:cubicBezTo>
                <a:cubicBezTo>
                  <a:pt x="1016" y="293"/>
                  <a:pt x="1016" y="293"/>
                  <a:pt x="1017" y="294"/>
                </a:cubicBezTo>
                <a:cubicBezTo>
                  <a:pt x="1018" y="294"/>
                  <a:pt x="1019" y="295"/>
                  <a:pt x="1020" y="296"/>
                </a:cubicBezTo>
                <a:cubicBezTo>
                  <a:pt x="1020" y="297"/>
                  <a:pt x="1020" y="297"/>
                  <a:pt x="1021" y="298"/>
                </a:cubicBezTo>
                <a:cubicBezTo>
                  <a:pt x="1021" y="298"/>
                  <a:pt x="1022" y="298"/>
                  <a:pt x="1022" y="299"/>
                </a:cubicBezTo>
                <a:cubicBezTo>
                  <a:pt x="1022" y="299"/>
                  <a:pt x="1021" y="299"/>
                  <a:pt x="1021" y="299"/>
                </a:cubicBezTo>
                <a:cubicBezTo>
                  <a:pt x="1021" y="300"/>
                  <a:pt x="1021" y="300"/>
                  <a:pt x="1021" y="300"/>
                </a:cubicBezTo>
                <a:cubicBezTo>
                  <a:pt x="1022" y="301"/>
                  <a:pt x="1023" y="301"/>
                  <a:pt x="1023" y="302"/>
                </a:cubicBezTo>
                <a:cubicBezTo>
                  <a:pt x="1024" y="303"/>
                  <a:pt x="1025" y="303"/>
                  <a:pt x="1025" y="304"/>
                </a:cubicBezTo>
                <a:cubicBezTo>
                  <a:pt x="1025" y="304"/>
                  <a:pt x="1025" y="306"/>
                  <a:pt x="1026" y="306"/>
                </a:cubicBezTo>
                <a:cubicBezTo>
                  <a:pt x="1025" y="306"/>
                  <a:pt x="1025" y="306"/>
                  <a:pt x="1025" y="306"/>
                </a:cubicBezTo>
                <a:cubicBezTo>
                  <a:pt x="1025" y="307"/>
                  <a:pt x="1026" y="306"/>
                  <a:pt x="1026" y="307"/>
                </a:cubicBezTo>
                <a:cubicBezTo>
                  <a:pt x="1026" y="307"/>
                  <a:pt x="1026" y="307"/>
                  <a:pt x="1026" y="307"/>
                </a:cubicBezTo>
                <a:cubicBezTo>
                  <a:pt x="1026" y="308"/>
                  <a:pt x="1027" y="309"/>
                  <a:pt x="1026" y="309"/>
                </a:cubicBezTo>
                <a:cubicBezTo>
                  <a:pt x="1027" y="309"/>
                  <a:pt x="1027" y="309"/>
                  <a:pt x="1026" y="309"/>
                </a:cubicBezTo>
                <a:cubicBezTo>
                  <a:pt x="1027" y="309"/>
                  <a:pt x="1027" y="310"/>
                  <a:pt x="1027" y="310"/>
                </a:cubicBezTo>
                <a:cubicBezTo>
                  <a:pt x="1027" y="309"/>
                  <a:pt x="1028" y="309"/>
                  <a:pt x="1028" y="310"/>
                </a:cubicBezTo>
                <a:cubicBezTo>
                  <a:pt x="1028" y="310"/>
                  <a:pt x="1028" y="311"/>
                  <a:pt x="1028" y="311"/>
                </a:cubicBezTo>
                <a:cubicBezTo>
                  <a:pt x="1027" y="312"/>
                  <a:pt x="1029" y="314"/>
                  <a:pt x="1029" y="314"/>
                </a:cubicBezTo>
                <a:cubicBezTo>
                  <a:pt x="1030" y="315"/>
                  <a:pt x="1030" y="316"/>
                  <a:pt x="1029" y="317"/>
                </a:cubicBezTo>
                <a:cubicBezTo>
                  <a:pt x="1029" y="318"/>
                  <a:pt x="1028" y="318"/>
                  <a:pt x="1028" y="319"/>
                </a:cubicBezTo>
                <a:cubicBezTo>
                  <a:pt x="1028" y="319"/>
                  <a:pt x="1028" y="320"/>
                  <a:pt x="1028" y="320"/>
                </a:cubicBezTo>
                <a:cubicBezTo>
                  <a:pt x="1028" y="321"/>
                  <a:pt x="1027" y="321"/>
                  <a:pt x="1027" y="322"/>
                </a:cubicBezTo>
                <a:cubicBezTo>
                  <a:pt x="1027" y="323"/>
                  <a:pt x="1027" y="323"/>
                  <a:pt x="1027" y="324"/>
                </a:cubicBezTo>
                <a:cubicBezTo>
                  <a:pt x="1027" y="325"/>
                  <a:pt x="1027" y="325"/>
                  <a:pt x="1027" y="326"/>
                </a:cubicBezTo>
                <a:cubicBezTo>
                  <a:pt x="1028" y="327"/>
                  <a:pt x="1028" y="327"/>
                  <a:pt x="1028" y="328"/>
                </a:cubicBezTo>
                <a:cubicBezTo>
                  <a:pt x="1027" y="328"/>
                  <a:pt x="1027" y="328"/>
                  <a:pt x="1027" y="328"/>
                </a:cubicBezTo>
                <a:cubicBezTo>
                  <a:pt x="1027" y="328"/>
                  <a:pt x="1027" y="328"/>
                  <a:pt x="1027" y="329"/>
                </a:cubicBezTo>
                <a:cubicBezTo>
                  <a:pt x="1027" y="329"/>
                  <a:pt x="1026" y="330"/>
                  <a:pt x="1026" y="330"/>
                </a:cubicBezTo>
                <a:cubicBezTo>
                  <a:pt x="1026" y="331"/>
                  <a:pt x="1026" y="332"/>
                  <a:pt x="1027" y="332"/>
                </a:cubicBezTo>
                <a:cubicBezTo>
                  <a:pt x="1027" y="333"/>
                  <a:pt x="1027" y="333"/>
                  <a:pt x="1027" y="334"/>
                </a:cubicBezTo>
                <a:cubicBezTo>
                  <a:pt x="1027" y="334"/>
                  <a:pt x="1027" y="335"/>
                  <a:pt x="1027" y="336"/>
                </a:cubicBezTo>
                <a:cubicBezTo>
                  <a:pt x="1028" y="336"/>
                  <a:pt x="1027" y="336"/>
                  <a:pt x="1027" y="336"/>
                </a:cubicBezTo>
                <a:cubicBezTo>
                  <a:pt x="1027" y="337"/>
                  <a:pt x="1028" y="339"/>
                  <a:pt x="1028" y="340"/>
                </a:cubicBezTo>
                <a:cubicBezTo>
                  <a:pt x="1028" y="340"/>
                  <a:pt x="1027" y="340"/>
                  <a:pt x="1027" y="340"/>
                </a:cubicBezTo>
                <a:cubicBezTo>
                  <a:pt x="1027" y="341"/>
                  <a:pt x="1027" y="341"/>
                  <a:pt x="1027" y="341"/>
                </a:cubicBezTo>
                <a:cubicBezTo>
                  <a:pt x="1027" y="342"/>
                  <a:pt x="1027" y="342"/>
                  <a:pt x="1027" y="343"/>
                </a:cubicBezTo>
                <a:cubicBezTo>
                  <a:pt x="1027" y="344"/>
                  <a:pt x="1027" y="344"/>
                  <a:pt x="1027" y="345"/>
                </a:cubicBezTo>
                <a:cubicBezTo>
                  <a:pt x="1026" y="345"/>
                  <a:pt x="1026" y="346"/>
                  <a:pt x="1026" y="346"/>
                </a:cubicBezTo>
                <a:cubicBezTo>
                  <a:pt x="1025" y="347"/>
                  <a:pt x="1025" y="348"/>
                  <a:pt x="1025" y="348"/>
                </a:cubicBezTo>
                <a:cubicBezTo>
                  <a:pt x="1025" y="349"/>
                  <a:pt x="1024" y="349"/>
                  <a:pt x="1024" y="350"/>
                </a:cubicBezTo>
                <a:cubicBezTo>
                  <a:pt x="1024" y="350"/>
                  <a:pt x="1024" y="351"/>
                  <a:pt x="1024" y="351"/>
                </a:cubicBezTo>
                <a:cubicBezTo>
                  <a:pt x="1024" y="352"/>
                  <a:pt x="1023" y="352"/>
                  <a:pt x="1023" y="353"/>
                </a:cubicBezTo>
                <a:cubicBezTo>
                  <a:pt x="1023" y="353"/>
                  <a:pt x="1023" y="353"/>
                  <a:pt x="1023" y="354"/>
                </a:cubicBezTo>
                <a:cubicBezTo>
                  <a:pt x="1023" y="354"/>
                  <a:pt x="1023" y="354"/>
                  <a:pt x="1023" y="354"/>
                </a:cubicBezTo>
                <a:cubicBezTo>
                  <a:pt x="1023" y="355"/>
                  <a:pt x="1023" y="355"/>
                  <a:pt x="1023" y="355"/>
                </a:cubicBezTo>
                <a:cubicBezTo>
                  <a:pt x="1023" y="355"/>
                  <a:pt x="1022" y="354"/>
                  <a:pt x="1022" y="355"/>
                </a:cubicBezTo>
                <a:cubicBezTo>
                  <a:pt x="1022" y="356"/>
                  <a:pt x="1022" y="355"/>
                  <a:pt x="1022" y="356"/>
                </a:cubicBezTo>
                <a:cubicBezTo>
                  <a:pt x="1022" y="356"/>
                  <a:pt x="1022" y="356"/>
                  <a:pt x="1022" y="356"/>
                </a:cubicBezTo>
                <a:cubicBezTo>
                  <a:pt x="1022" y="356"/>
                  <a:pt x="1022" y="357"/>
                  <a:pt x="1022" y="357"/>
                </a:cubicBezTo>
                <a:cubicBezTo>
                  <a:pt x="1022" y="357"/>
                  <a:pt x="1023" y="358"/>
                  <a:pt x="1022" y="358"/>
                </a:cubicBezTo>
                <a:cubicBezTo>
                  <a:pt x="1022" y="359"/>
                  <a:pt x="1021" y="358"/>
                  <a:pt x="1021" y="359"/>
                </a:cubicBezTo>
                <a:cubicBezTo>
                  <a:pt x="1020" y="359"/>
                  <a:pt x="1021" y="359"/>
                  <a:pt x="1021" y="360"/>
                </a:cubicBezTo>
                <a:cubicBezTo>
                  <a:pt x="1021" y="360"/>
                  <a:pt x="1020" y="361"/>
                  <a:pt x="1020" y="361"/>
                </a:cubicBezTo>
                <a:cubicBezTo>
                  <a:pt x="1020" y="362"/>
                  <a:pt x="1020" y="362"/>
                  <a:pt x="1020" y="362"/>
                </a:cubicBezTo>
                <a:cubicBezTo>
                  <a:pt x="1021" y="363"/>
                  <a:pt x="1021" y="363"/>
                  <a:pt x="1020" y="363"/>
                </a:cubicBezTo>
                <a:cubicBezTo>
                  <a:pt x="1020" y="363"/>
                  <a:pt x="1020" y="364"/>
                  <a:pt x="1020" y="364"/>
                </a:cubicBezTo>
                <a:cubicBezTo>
                  <a:pt x="1020" y="364"/>
                  <a:pt x="1020" y="364"/>
                  <a:pt x="1020" y="364"/>
                </a:cubicBezTo>
                <a:cubicBezTo>
                  <a:pt x="1020" y="364"/>
                  <a:pt x="1021" y="365"/>
                  <a:pt x="1021" y="365"/>
                </a:cubicBezTo>
                <a:cubicBezTo>
                  <a:pt x="1021" y="365"/>
                  <a:pt x="1021" y="366"/>
                  <a:pt x="1021" y="366"/>
                </a:cubicBezTo>
                <a:cubicBezTo>
                  <a:pt x="1021" y="366"/>
                  <a:pt x="1020" y="367"/>
                  <a:pt x="1020" y="367"/>
                </a:cubicBezTo>
                <a:cubicBezTo>
                  <a:pt x="1020" y="366"/>
                  <a:pt x="1019" y="366"/>
                  <a:pt x="1019" y="366"/>
                </a:cubicBezTo>
                <a:cubicBezTo>
                  <a:pt x="1020" y="367"/>
                  <a:pt x="1020" y="369"/>
                  <a:pt x="1019" y="369"/>
                </a:cubicBezTo>
                <a:cubicBezTo>
                  <a:pt x="1019" y="369"/>
                  <a:pt x="1018" y="370"/>
                  <a:pt x="1018" y="370"/>
                </a:cubicBezTo>
                <a:cubicBezTo>
                  <a:pt x="1018" y="370"/>
                  <a:pt x="1018" y="371"/>
                  <a:pt x="1017" y="371"/>
                </a:cubicBezTo>
                <a:cubicBezTo>
                  <a:pt x="1017" y="371"/>
                  <a:pt x="1017" y="372"/>
                  <a:pt x="1016" y="373"/>
                </a:cubicBezTo>
                <a:cubicBezTo>
                  <a:pt x="1015" y="373"/>
                  <a:pt x="1014" y="373"/>
                  <a:pt x="1014" y="374"/>
                </a:cubicBezTo>
                <a:cubicBezTo>
                  <a:pt x="1014" y="374"/>
                  <a:pt x="1014" y="374"/>
                  <a:pt x="1014" y="375"/>
                </a:cubicBezTo>
                <a:cubicBezTo>
                  <a:pt x="1013" y="375"/>
                  <a:pt x="1013" y="375"/>
                  <a:pt x="1013" y="375"/>
                </a:cubicBezTo>
                <a:cubicBezTo>
                  <a:pt x="1012" y="375"/>
                  <a:pt x="1012" y="375"/>
                  <a:pt x="1012" y="376"/>
                </a:cubicBezTo>
                <a:cubicBezTo>
                  <a:pt x="1012" y="376"/>
                  <a:pt x="1012" y="376"/>
                  <a:pt x="1011" y="376"/>
                </a:cubicBezTo>
                <a:cubicBezTo>
                  <a:pt x="1011" y="376"/>
                  <a:pt x="1010" y="376"/>
                  <a:pt x="1010" y="376"/>
                </a:cubicBezTo>
                <a:cubicBezTo>
                  <a:pt x="1009" y="376"/>
                  <a:pt x="1009" y="377"/>
                  <a:pt x="1009" y="377"/>
                </a:cubicBezTo>
                <a:cubicBezTo>
                  <a:pt x="1008" y="377"/>
                  <a:pt x="1008" y="377"/>
                  <a:pt x="1008" y="377"/>
                </a:cubicBezTo>
                <a:cubicBezTo>
                  <a:pt x="1008" y="378"/>
                  <a:pt x="1007" y="378"/>
                  <a:pt x="1006" y="378"/>
                </a:cubicBezTo>
                <a:cubicBezTo>
                  <a:pt x="1006" y="377"/>
                  <a:pt x="1006" y="377"/>
                  <a:pt x="1006" y="377"/>
                </a:cubicBezTo>
                <a:cubicBezTo>
                  <a:pt x="1006" y="377"/>
                  <a:pt x="1005" y="376"/>
                  <a:pt x="1004" y="376"/>
                </a:cubicBezTo>
                <a:cubicBezTo>
                  <a:pt x="1004" y="376"/>
                  <a:pt x="1005" y="377"/>
                  <a:pt x="1005" y="377"/>
                </a:cubicBezTo>
                <a:cubicBezTo>
                  <a:pt x="1004" y="377"/>
                  <a:pt x="1004" y="376"/>
                  <a:pt x="1003" y="376"/>
                </a:cubicBezTo>
                <a:cubicBezTo>
                  <a:pt x="1003" y="376"/>
                  <a:pt x="1003" y="375"/>
                  <a:pt x="1002" y="375"/>
                </a:cubicBezTo>
                <a:cubicBezTo>
                  <a:pt x="1002" y="376"/>
                  <a:pt x="1002" y="376"/>
                  <a:pt x="1001" y="376"/>
                </a:cubicBezTo>
                <a:cubicBezTo>
                  <a:pt x="1001" y="376"/>
                  <a:pt x="1000" y="375"/>
                  <a:pt x="1000" y="375"/>
                </a:cubicBezTo>
                <a:cubicBezTo>
                  <a:pt x="999" y="375"/>
                  <a:pt x="999" y="375"/>
                  <a:pt x="999" y="376"/>
                </a:cubicBezTo>
                <a:cubicBezTo>
                  <a:pt x="998" y="376"/>
                  <a:pt x="998" y="373"/>
                  <a:pt x="997" y="372"/>
                </a:cubicBezTo>
                <a:cubicBezTo>
                  <a:pt x="997" y="372"/>
                  <a:pt x="997" y="372"/>
                  <a:pt x="998" y="372"/>
                </a:cubicBezTo>
                <a:cubicBezTo>
                  <a:pt x="998" y="372"/>
                  <a:pt x="997" y="372"/>
                  <a:pt x="997" y="372"/>
                </a:cubicBezTo>
                <a:cubicBezTo>
                  <a:pt x="997" y="371"/>
                  <a:pt x="997" y="371"/>
                  <a:pt x="997" y="371"/>
                </a:cubicBezTo>
                <a:cubicBezTo>
                  <a:pt x="997" y="371"/>
                  <a:pt x="996" y="371"/>
                  <a:pt x="996" y="371"/>
                </a:cubicBezTo>
                <a:cubicBezTo>
                  <a:pt x="997" y="371"/>
                  <a:pt x="995" y="372"/>
                  <a:pt x="995" y="373"/>
                </a:cubicBezTo>
                <a:cubicBezTo>
                  <a:pt x="995" y="373"/>
                  <a:pt x="995" y="373"/>
                  <a:pt x="994" y="373"/>
                </a:cubicBezTo>
                <a:cubicBezTo>
                  <a:pt x="994" y="373"/>
                  <a:pt x="994" y="373"/>
                  <a:pt x="994" y="373"/>
                </a:cubicBezTo>
                <a:cubicBezTo>
                  <a:pt x="994" y="373"/>
                  <a:pt x="993" y="373"/>
                  <a:pt x="994" y="373"/>
                </a:cubicBezTo>
                <a:cubicBezTo>
                  <a:pt x="993" y="373"/>
                  <a:pt x="994" y="372"/>
                  <a:pt x="994" y="372"/>
                </a:cubicBezTo>
                <a:cubicBezTo>
                  <a:pt x="994" y="371"/>
                  <a:pt x="994" y="371"/>
                  <a:pt x="994" y="371"/>
                </a:cubicBezTo>
                <a:cubicBezTo>
                  <a:pt x="994" y="371"/>
                  <a:pt x="994" y="371"/>
                  <a:pt x="994" y="371"/>
                </a:cubicBezTo>
                <a:cubicBezTo>
                  <a:pt x="994" y="371"/>
                  <a:pt x="994" y="371"/>
                  <a:pt x="993" y="371"/>
                </a:cubicBezTo>
                <a:cubicBezTo>
                  <a:pt x="993" y="371"/>
                  <a:pt x="993" y="371"/>
                  <a:pt x="993" y="371"/>
                </a:cubicBezTo>
                <a:cubicBezTo>
                  <a:pt x="992" y="371"/>
                  <a:pt x="992" y="371"/>
                  <a:pt x="992" y="371"/>
                </a:cubicBezTo>
                <a:cubicBezTo>
                  <a:pt x="992" y="370"/>
                  <a:pt x="992" y="372"/>
                  <a:pt x="992" y="372"/>
                </a:cubicBezTo>
                <a:cubicBezTo>
                  <a:pt x="992" y="372"/>
                  <a:pt x="992" y="372"/>
                  <a:pt x="992" y="372"/>
                </a:cubicBezTo>
                <a:cubicBezTo>
                  <a:pt x="992" y="372"/>
                  <a:pt x="991" y="372"/>
                  <a:pt x="991" y="372"/>
                </a:cubicBezTo>
                <a:cubicBezTo>
                  <a:pt x="991" y="372"/>
                  <a:pt x="992" y="372"/>
                  <a:pt x="992" y="372"/>
                </a:cubicBezTo>
                <a:cubicBezTo>
                  <a:pt x="992" y="372"/>
                  <a:pt x="992" y="374"/>
                  <a:pt x="992" y="374"/>
                </a:cubicBezTo>
                <a:cubicBezTo>
                  <a:pt x="991" y="374"/>
                  <a:pt x="990" y="374"/>
                  <a:pt x="991" y="375"/>
                </a:cubicBezTo>
                <a:cubicBezTo>
                  <a:pt x="991" y="375"/>
                  <a:pt x="990" y="375"/>
                  <a:pt x="990" y="375"/>
                </a:cubicBezTo>
                <a:cubicBezTo>
                  <a:pt x="990" y="375"/>
                  <a:pt x="991" y="376"/>
                  <a:pt x="991" y="376"/>
                </a:cubicBezTo>
                <a:cubicBezTo>
                  <a:pt x="991" y="376"/>
                  <a:pt x="991" y="376"/>
                  <a:pt x="991" y="377"/>
                </a:cubicBezTo>
                <a:cubicBezTo>
                  <a:pt x="990" y="376"/>
                  <a:pt x="991" y="379"/>
                  <a:pt x="991" y="379"/>
                </a:cubicBezTo>
                <a:cubicBezTo>
                  <a:pt x="991" y="379"/>
                  <a:pt x="990" y="378"/>
                  <a:pt x="990" y="378"/>
                </a:cubicBezTo>
                <a:cubicBezTo>
                  <a:pt x="990" y="378"/>
                  <a:pt x="990" y="378"/>
                  <a:pt x="990" y="378"/>
                </a:cubicBezTo>
                <a:cubicBezTo>
                  <a:pt x="989" y="378"/>
                  <a:pt x="989" y="378"/>
                  <a:pt x="988" y="378"/>
                </a:cubicBezTo>
                <a:cubicBezTo>
                  <a:pt x="988" y="379"/>
                  <a:pt x="988" y="378"/>
                  <a:pt x="987" y="378"/>
                </a:cubicBezTo>
                <a:cubicBezTo>
                  <a:pt x="988" y="378"/>
                  <a:pt x="988" y="379"/>
                  <a:pt x="988" y="378"/>
                </a:cubicBezTo>
                <a:cubicBezTo>
                  <a:pt x="989" y="378"/>
                  <a:pt x="987" y="378"/>
                  <a:pt x="987" y="378"/>
                </a:cubicBezTo>
                <a:cubicBezTo>
                  <a:pt x="987" y="378"/>
                  <a:pt x="987" y="378"/>
                  <a:pt x="987" y="378"/>
                </a:cubicBezTo>
                <a:cubicBezTo>
                  <a:pt x="987" y="377"/>
                  <a:pt x="985" y="377"/>
                  <a:pt x="986" y="378"/>
                </a:cubicBezTo>
                <a:cubicBezTo>
                  <a:pt x="987" y="379"/>
                  <a:pt x="988" y="379"/>
                  <a:pt x="988" y="379"/>
                </a:cubicBezTo>
                <a:cubicBezTo>
                  <a:pt x="988" y="379"/>
                  <a:pt x="988" y="381"/>
                  <a:pt x="988" y="381"/>
                </a:cubicBezTo>
                <a:cubicBezTo>
                  <a:pt x="988" y="383"/>
                  <a:pt x="987" y="381"/>
                  <a:pt x="987" y="381"/>
                </a:cubicBezTo>
                <a:cubicBezTo>
                  <a:pt x="986" y="380"/>
                  <a:pt x="986" y="380"/>
                  <a:pt x="986" y="379"/>
                </a:cubicBezTo>
                <a:cubicBezTo>
                  <a:pt x="986" y="379"/>
                  <a:pt x="986" y="379"/>
                  <a:pt x="985" y="378"/>
                </a:cubicBezTo>
                <a:cubicBezTo>
                  <a:pt x="985" y="378"/>
                  <a:pt x="983" y="378"/>
                  <a:pt x="983" y="377"/>
                </a:cubicBezTo>
                <a:cubicBezTo>
                  <a:pt x="984" y="377"/>
                  <a:pt x="984" y="376"/>
                  <a:pt x="984" y="376"/>
                </a:cubicBezTo>
                <a:cubicBezTo>
                  <a:pt x="985" y="376"/>
                  <a:pt x="985" y="376"/>
                  <a:pt x="986" y="376"/>
                </a:cubicBezTo>
                <a:cubicBezTo>
                  <a:pt x="986" y="375"/>
                  <a:pt x="988" y="376"/>
                  <a:pt x="988" y="375"/>
                </a:cubicBezTo>
                <a:cubicBezTo>
                  <a:pt x="987" y="375"/>
                  <a:pt x="988" y="375"/>
                  <a:pt x="988" y="375"/>
                </a:cubicBezTo>
                <a:cubicBezTo>
                  <a:pt x="988" y="374"/>
                  <a:pt x="987" y="374"/>
                  <a:pt x="987" y="374"/>
                </a:cubicBezTo>
                <a:cubicBezTo>
                  <a:pt x="987" y="373"/>
                  <a:pt x="988" y="373"/>
                  <a:pt x="988" y="373"/>
                </a:cubicBezTo>
                <a:cubicBezTo>
                  <a:pt x="987" y="372"/>
                  <a:pt x="987" y="372"/>
                  <a:pt x="987" y="371"/>
                </a:cubicBezTo>
                <a:cubicBezTo>
                  <a:pt x="987" y="370"/>
                  <a:pt x="987" y="370"/>
                  <a:pt x="986" y="369"/>
                </a:cubicBezTo>
                <a:cubicBezTo>
                  <a:pt x="986" y="369"/>
                  <a:pt x="985" y="369"/>
                  <a:pt x="985" y="368"/>
                </a:cubicBezTo>
                <a:cubicBezTo>
                  <a:pt x="985" y="367"/>
                  <a:pt x="984" y="367"/>
                  <a:pt x="984" y="367"/>
                </a:cubicBezTo>
                <a:cubicBezTo>
                  <a:pt x="984" y="366"/>
                  <a:pt x="983" y="365"/>
                  <a:pt x="983" y="365"/>
                </a:cubicBezTo>
                <a:cubicBezTo>
                  <a:pt x="983" y="364"/>
                  <a:pt x="982" y="363"/>
                  <a:pt x="983" y="363"/>
                </a:cubicBezTo>
                <a:cubicBezTo>
                  <a:pt x="983" y="363"/>
                  <a:pt x="982" y="361"/>
                  <a:pt x="981" y="361"/>
                </a:cubicBezTo>
                <a:cubicBezTo>
                  <a:pt x="980" y="360"/>
                  <a:pt x="979" y="358"/>
                  <a:pt x="978" y="357"/>
                </a:cubicBezTo>
                <a:cubicBezTo>
                  <a:pt x="977" y="356"/>
                  <a:pt x="977" y="356"/>
                  <a:pt x="976" y="355"/>
                </a:cubicBezTo>
                <a:cubicBezTo>
                  <a:pt x="976" y="355"/>
                  <a:pt x="975" y="355"/>
                  <a:pt x="975" y="354"/>
                </a:cubicBezTo>
                <a:cubicBezTo>
                  <a:pt x="975" y="354"/>
                  <a:pt x="975" y="354"/>
                  <a:pt x="975" y="354"/>
                </a:cubicBezTo>
                <a:cubicBezTo>
                  <a:pt x="976" y="354"/>
                  <a:pt x="975" y="354"/>
                  <a:pt x="976" y="353"/>
                </a:cubicBezTo>
                <a:cubicBezTo>
                  <a:pt x="976" y="353"/>
                  <a:pt x="976" y="353"/>
                  <a:pt x="976" y="353"/>
                </a:cubicBezTo>
                <a:cubicBezTo>
                  <a:pt x="977" y="353"/>
                  <a:pt x="977" y="353"/>
                  <a:pt x="977" y="353"/>
                </a:cubicBezTo>
                <a:cubicBezTo>
                  <a:pt x="978" y="353"/>
                  <a:pt x="978" y="353"/>
                  <a:pt x="979" y="352"/>
                </a:cubicBezTo>
                <a:cubicBezTo>
                  <a:pt x="979" y="352"/>
                  <a:pt x="979" y="351"/>
                  <a:pt x="979" y="351"/>
                </a:cubicBezTo>
                <a:cubicBezTo>
                  <a:pt x="979" y="351"/>
                  <a:pt x="978" y="350"/>
                  <a:pt x="979" y="350"/>
                </a:cubicBezTo>
                <a:cubicBezTo>
                  <a:pt x="979" y="350"/>
                  <a:pt x="979" y="350"/>
                  <a:pt x="979" y="349"/>
                </a:cubicBezTo>
                <a:cubicBezTo>
                  <a:pt x="979" y="349"/>
                  <a:pt x="980" y="349"/>
                  <a:pt x="980" y="349"/>
                </a:cubicBezTo>
                <a:cubicBezTo>
                  <a:pt x="981" y="350"/>
                  <a:pt x="982" y="350"/>
                  <a:pt x="982" y="350"/>
                </a:cubicBezTo>
                <a:cubicBezTo>
                  <a:pt x="983" y="350"/>
                  <a:pt x="984" y="351"/>
                  <a:pt x="984" y="351"/>
                </a:cubicBezTo>
                <a:cubicBezTo>
                  <a:pt x="985" y="351"/>
                  <a:pt x="987" y="351"/>
                  <a:pt x="988" y="351"/>
                </a:cubicBezTo>
                <a:cubicBezTo>
                  <a:pt x="989" y="352"/>
                  <a:pt x="992" y="353"/>
                  <a:pt x="992" y="351"/>
                </a:cubicBezTo>
                <a:cubicBezTo>
                  <a:pt x="992" y="351"/>
                  <a:pt x="991" y="350"/>
                  <a:pt x="991" y="350"/>
                </a:cubicBezTo>
                <a:cubicBezTo>
                  <a:pt x="990" y="349"/>
                  <a:pt x="990" y="349"/>
                  <a:pt x="990" y="348"/>
                </a:cubicBezTo>
                <a:cubicBezTo>
                  <a:pt x="990" y="347"/>
                  <a:pt x="991" y="347"/>
                  <a:pt x="991" y="346"/>
                </a:cubicBezTo>
                <a:cubicBezTo>
                  <a:pt x="992" y="345"/>
                  <a:pt x="991" y="345"/>
                  <a:pt x="991" y="345"/>
                </a:cubicBezTo>
                <a:cubicBezTo>
                  <a:pt x="991" y="344"/>
                  <a:pt x="991" y="344"/>
                  <a:pt x="991" y="344"/>
                </a:cubicBezTo>
                <a:cubicBezTo>
                  <a:pt x="990" y="343"/>
                  <a:pt x="991" y="343"/>
                  <a:pt x="991" y="343"/>
                </a:cubicBezTo>
                <a:cubicBezTo>
                  <a:pt x="991" y="342"/>
                  <a:pt x="991" y="342"/>
                  <a:pt x="991" y="342"/>
                </a:cubicBezTo>
                <a:cubicBezTo>
                  <a:pt x="991" y="341"/>
                  <a:pt x="990" y="341"/>
                  <a:pt x="990" y="340"/>
                </a:cubicBezTo>
                <a:cubicBezTo>
                  <a:pt x="990" y="340"/>
                  <a:pt x="991" y="340"/>
                  <a:pt x="991" y="339"/>
                </a:cubicBezTo>
                <a:cubicBezTo>
                  <a:pt x="991" y="339"/>
                  <a:pt x="991" y="340"/>
                  <a:pt x="991" y="340"/>
                </a:cubicBezTo>
                <a:cubicBezTo>
                  <a:pt x="991" y="339"/>
                  <a:pt x="991" y="338"/>
                  <a:pt x="991" y="338"/>
                </a:cubicBezTo>
                <a:cubicBezTo>
                  <a:pt x="990" y="338"/>
                  <a:pt x="991" y="338"/>
                  <a:pt x="991" y="337"/>
                </a:cubicBezTo>
                <a:cubicBezTo>
                  <a:pt x="990" y="337"/>
                  <a:pt x="990" y="337"/>
                  <a:pt x="989" y="336"/>
                </a:cubicBezTo>
                <a:cubicBezTo>
                  <a:pt x="989" y="336"/>
                  <a:pt x="989" y="336"/>
                  <a:pt x="990" y="335"/>
                </a:cubicBezTo>
                <a:cubicBezTo>
                  <a:pt x="990" y="334"/>
                  <a:pt x="989" y="334"/>
                  <a:pt x="989" y="333"/>
                </a:cubicBezTo>
                <a:cubicBezTo>
                  <a:pt x="988" y="333"/>
                  <a:pt x="988" y="332"/>
                  <a:pt x="988" y="331"/>
                </a:cubicBezTo>
                <a:cubicBezTo>
                  <a:pt x="988" y="331"/>
                  <a:pt x="988" y="331"/>
                  <a:pt x="988" y="330"/>
                </a:cubicBezTo>
                <a:cubicBezTo>
                  <a:pt x="988" y="330"/>
                  <a:pt x="988" y="329"/>
                  <a:pt x="987" y="329"/>
                </a:cubicBezTo>
                <a:cubicBezTo>
                  <a:pt x="987" y="328"/>
                  <a:pt x="986" y="328"/>
                  <a:pt x="987" y="327"/>
                </a:cubicBezTo>
                <a:cubicBezTo>
                  <a:pt x="987" y="327"/>
                  <a:pt x="987" y="326"/>
                  <a:pt x="987" y="326"/>
                </a:cubicBezTo>
                <a:cubicBezTo>
                  <a:pt x="988" y="326"/>
                  <a:pt x="988" y="327"/>
                  <a:pt x="989" y="326"/>
                </a:cubicBezTo>
                <a:cubicBezTo>
                  <a:pt x="989" y="325"/>
                  <a:pt x="989" y="325"/>
                  <a:pt x="989" y="324"/>
                </a:cubicBezTo>
                <a:cubicBezTo>
                  <a:pt x="989" y="323"/>
                  <a:pt x="989" y="323"/>
                  <a:pt x="988" y="323"/>
                </a:cubicBezTo>
                <a:cubicBezTo>
                  <a:pt x="987" y="322"/>
                  <a:pt x="987" y="322"/>
                  <a:pt x="987" y="321"/>
                </a:cubicBezTo>
                <a:cubicBezTo>
                  <a:pt x="986" y="321"/>
                  <a:pt x="985" y="320"/>
                  <a:pt x="985" y="320"/>
                </a:cubicBezTo>
                <a:cubicBezTo>
                  <a:pt x="985" y="319"/>
                  <a:pt x="986" y="319"/>
                  <a:pt x="985" y="318"/>
                </a:cubicBezTo>
                <a:cubicBezTo>
                  <a:pt x="985" y="318"/>
                  <a:pt x="985" y="318"/>
                  <a:pt x="985" y="317"/>
                </a:cubicBezTo>
                <a:cubicBezTo>
                  <a:pt x="984" y="318"/>
                  <a:pt x="983" y="317"/>
                  <a:pt x="983" y="316"/>
                </a:cubicBezTo>
                <a:cubicBezTo>
                  <a:pt x="983" y="316"/>
                  <a:pt x="982" y="316"/>
                  <a:pt x="982" y="316"/>
                </a:cubicBezTo>
                <a:cubicBezTo>
                  <a:pt x="982" y="316"/>
                  <a:pt x="981" y="316"/>
                  <a:pt x="981" y="316"/>
                </a:cubicBezTo>
                <a:cubicBezTo>
                  <a:pt x="981" y="316"/>
                  <a:pt x="980" y="316"/>
                  <a:pt x="980" y="316"/>
                </a:cubicBezTo>
                <a:cubicBezTo>
                  <a:pt x="979" y="317"/>
                  <a:pt x="978" y="316"/>
                  <a:pt x="978" y="317"/>
                </a:cubicBezTo>
                <a:cubicBezTo>
                  <a:pt x="978" y="317"/>
                  <a:pt x="977" y="318"/>
                  <a:pt x="977" y="318"/>
                </a:cubicBezTo>
                <a:cubicBezTo>
                  <a:pt x="976" y="317"/>
                  <a:pt x="977" y="318"/>
                  <a:pt x="976" y="318"/>
                </a:cubicBezTo>
                <a:cubicBezTo>
                  <a:pt x="976" y="319"/>
                  <a:pt x="976" y="318"/>
                  <a:pt x="976" y="319"/>
                </a:cubicBezTo>
                <a:cubicBezTo>
                  <a:pt x="976" y="319"/>
                  <a:pt x="975" y="319"/>
                  <a:pt x="975" y="319"/>
                </a:cubicBezTo>
                <a:cubicBezTo>
                  <a:pt x="974" y="319"/>
                  <a:pt x="973" y="319"/>
                  <a:pt x="972" y="319"/>
                </a:cubicBezTo>
                <a:cubicBezTo>
                  <a:pt x="972" y="319"/>
                  <a:pt x="972" y="320"/>
                  <a:pt x="972" y="320"/>
                </a:cubicBezTo>
                <a:cubicBezTo>
                  <a:pt x="971" y="320"/>
                  <a:pt x="971" y="320"/>
                  <a:pt x="971" y="320"/>
                </a:cubicBezTo>
                <a:cubicBezTo>
                  <a:pt x="971" y="320"/>
                  <a:pt x="971" y="320"/>
                  <a:pt x="971" y="321"/>
                </a:cubicBezTo>
                <a:cubicBezTo>
                  <a:pt x="970" y="321"/>
                  <a:pt x="970" y="321"/>
                  <a:pt x="970" y="321"/>
                </a:cubicBezTo>
                <a:cubicBezTo>
                  <a:pt x="970" y="321"/>
                  <a:pt x="969" y="321"/>
                  <a:pt x="969" y="321"/>
                </a:cubicBezTo>
                <a:cubicBezTo>
                  <a:pt x="969" y="321"/>
                  <a:pt x="970" y="321"/>
                  <a:pt x="970" y="321"/>
                </a:cubicBezTo>
                <a:cubicBezTo>
                  <a:pt x="970" y="322"/>
                  <a:pt x="970" y="322"/>
                  <a:pt x="970" y="322"/>
                </a:cubicBezTo>
                <a:cubicBezTo>
                  <a:pt x="970" y="323"/>
                  <a:pt x="970" y="323"/>
                  <a:pt x="970" y="323"/>
                </a:cubicBezTo>
                <a:cubicBezTo>
                  <a:pt x="969" y="323"/>
                  <a:pt x="968" y="323"/>
                  <a:pt x="968" y="323"/>
                </a:cubicBezTo>
                <a:cubicBezTo>
                  <a:pt x="967" y="323"/>
                  <a:pt x="967" y="323"/>
                  <a:pt x="967" y="323"/>
                </a:cubicBezTo>
                <a:cubicBezTo>
                  <a:pt x="966" y="324"/>
                  <a:pt x="966" y="323"/>
                  <a:pt x="966" y="323"/>
                </a:cubicBezTo>
                <a:cubicBezTo>
                  <a:pt x="965" y="324"/>
                  <a:pt x="964" y="324"/>
                  <a:pt x="963" y="324"/>
                </a:cubicBezTo>
                <a:cubicBezTo>
                  <a:pt x="963" y="324"/>
                  <a:pt x="963" y="323"/>
                  <a:pt x="963" y="324"/>
                </a:cubicBezTo>
                <a:cubicBezTo>
                  <a:pt x="962" y="324"/>
                  <a:pt x="962" y="324"/>
                  <a:pt x="962" y="324"/>
                </a:cubicBezTo>
                <a:cubicBezTo>
                  <a:pt x="961" y="324"/>
                  <a:pt x="961" y="323"/>
                  <a:pt x="960" y="323"/>
                </a:cubicBezTo>
                <a:cubicBezTo>
                  <a:pt x="960" y="323"/>
                  <a:pt x="959" y="323"/>
                  <a:pt x="958" y="324"/>
                </a:cubicBezTo>
                <a:cubicBezTo>
                  <a:pt x="958" y="324"/>
                  <a:pt x="957" y="324"/>
                  <a:pt x="956" y="323"/>
                </a:cubicBezTo>
                <a:cubicBezTo>
                  <a:pt x="956" y="323"/>
                  <a:pt x="956" y="323"/>
                  <a:pt x="955" y="322"/>
                </a:cubicBezTo>
                <a:cubicBezTo>
                  <a:pt x="955" y="322"/>
                  <a:pt x="954" y="321"/>
                  <a:pt x="954" y="321"/>
                </a:cubicBezTo>
                <a:cubicBezTo>
                  <a:pt x="953" y="320"/>
                  <a:pt x="952" y="320"/>
                  <a:pt x="951" y="319"/>
                </a:cubicBezTo>
                <a:cubicBezTo>
                  <a:pt x="951" y="319"/>
                  <a:pt x="952" y="318"/>
                  <a:pt x="951" y="318"/>
                </a:cubicBezTo>
                <a:cubicBezTo>
                  <a:pt x="951" y="318"/>
                  <a:pt x="951" y="317"/>
                  <a:pt x="951" y="317"/>
                </a:cubicBezTo>
                <a:cubicBezTo>
                  <a:pt x="951" y="316"/>
                  <a:pt x="950" y="316"/>
                  <a:pt x="950" y="316"/>
                </a:cubicBezTo>
                <a:cubicBezTo>
                  <a:pt x="950" y="316"/>
                  <a:pt x="949" y="315"/>
                  <a:pt x="949" y="315"/>
                </a:cubicBezTo>
                <a:cubicBezTo>
                  <a:pt x="949" y="315"/>
                  <a:pt x="949" y="315"/>
                  <a:pt x="948" y="315"/>
                </a:cubicBezTo>
                <a:cubicBezTo>
                  <a:pt x="948" y="315"/>
                  <a:pt x="948" y="315"/>
                  <a:pt x="948" y="314"/>
                </a:cubicBezTo>
                <a:cubicBezTo>
                  <a:pt x="948" y="314"/>
                  <a:pt x="947" y="314"/>
                  <a:pt x="947" y="314"/>
                </a:cubicBezTo>
                <a:cubicBezTo>
                  <a:pt x="946" y="313"/>
                  <a:pt x="947" y="312"/>
                  <a:pt x="946" y="311"/>
                </a:cubicBezTo>
                <a:cubicBezTo>
                  <a:pt x="946" y="311"/>
                  <a:pt x="945" y="311"/>
                  <a:pt x="944" y="311"/>
                </a:cubicBezTo>
                <a:cubicBezTo>
                  <a:pt x="944" y="311"/>
                  <a:pt x="943" y="311"/>
                  <a:pt x="943" y="311"/>
                </a:cubicBezTo>
                <a:cubicBezTo>
                  <a:pt x="942" y="311"/>
                  <a:pt x="941" y="310"/>
                  <a:pt x="941" y="310"/>
                </a:cubicBezTo>
                <a:cubicBezTo>
                  <a:pt x="940" y="310"/>
                  <a:pt x="939" y="310"/>
                  <a:pt x="939" y="309"/>
                </a:cubicBezTo>
                <a:cubicBezTo>
                  <a:pt x="938" y="309"/>
                  <a:pt x="938" y="309"/>
                  <a:pt x="938" y="309"/>
                </a:cubicBezTo>
                <a:cubicBezTo>
                  <a:pt x="938" y="308"/>
                  <a:pt x="937" y="308"/>
                  <a:pt x="937" y="308"/>
                </a:cubicBezTo>
                <a:cubicBezTo>
                  <a:pt x="937" y="308"/>
                  <a:pt x="936" y="308"/>
                  <a:pt x="936" y="307"/>
                </a:cubicBezTo>
                <a:cubicBezTo>
                  <a:pt x="935" y="307"/>
                  <a:pt x="935" y="307"/>
                  <a:pt x="934" y="307"/>
                </a:cubicBezTo>
                <a:cubicBezTo>
                  <a:pt x="934" y="307"/>
                  <a:pt x="933" y="306"/>
                  <a:pt x="933" y="306"/>
                </a:cubicBezTo>
                <a:cubicBezTo>
                  <a:pt x="933" y="305"/>
                  <a:pt x="932" y="305"/>
                  <a:pt x="932" y="305"/>
                </a:cubicBezTo>
                <a:cubicBezTo>
                  <a:pt x="931" y="305"/>
                  <a:pt x="931" y="305"/>
                  <a:pt x="932" y="306"/>
                </a:cubicBezTo>
                <a:cubicBezTo>
                  <a:pt x="932" y="306"/>
                  <a:pt x="931" y="306"/>
                  <a:pt x="931" y="306"/>
                </a:cubicBezTo>
                <a:cubicBezTo>
                  <a:pt x="930" y="305"/>
                  <a:pt x="930" y="305"/>
                  <a:pt x="930" y="306"/>
                </a:cubicBezTo>
                <a:cubicBezTo>
                  <a:pt x="929" y="306"/>
                  <a:pt x="929" y="305"/>
                  <a:pt x="928" y="305"/>
                </a:cubicBezTo>
                <a:cubicBezTo>
                  <a:pt x="928" y="305"/>
                  <a:pt x="927" y="304"/>
                  <a:pt x="926" y="305"/>
                </a:cubicBezTo>
                <a:cubicBezTo>
                  <a:pt x="925" y="305"/>
                  <a:pt x="926" y="304"/>
                  <a:pt x="926" y="304"/>
                </a:cubicBezTo>
                <a:cubicBezTo>
                  <a:pt x="925" y="303"/>
                  <a:pt x="924" y="303"/>
                  <a:pt x="924" y="303"/>
                </a:cubicBezTo>
                <a:cubicBezTo>
                  <a:pt x="924" y="304"/>
                  <a:pt x="923" y="303"/>
                  <a:pt x="922" y="303"/>
                </a:cubicBezTo>
                <a:cubicBezTo>
                  <a:pt x="922" y="303"/>
                  <a:pt x="922" y="304"/>
                  <a:pt x="921" y="304"/>
                </a:cubicBezTo>
                <a:cubicBezTo>
                  <a:pt x="920" y="304"/>
                  <a:pt x="920" y="304"/>
                  <a:pt x="919" y="303"/>
                </a:cubicBezTo>
                <a:cubicBezTo>
                  <a:pt x="918" y="303"/>
                  <a:pt x="918" y="303"/>
                  <a:pt x="917" y="303"/>
                </a:cubicBezTo>
                <a:cubicBezTo>
                  <a:pt x="916" y="303"/>
                  <a:pt x="915" y="302"/>
                  <a:pt x="914" y="301"/>
                </a:cubicBezTo>
                <a:cubicBezTo>
                  <a:pt x="913" y="301"/>
                  <a:pt x="913" y="301"/>
                  <a:pt x="912" y="300"/>
                </a:cubicBezTo>
                <a:cubicBezTo>
                  <a:pt x="912" y="299"/>
                  <a:pt x="911" y="299"/>
                  <a:pt x="911" y="298"/>
                </a:cubicBezTo>
                <a:cubicBezTo>
                  <a:pt x="911" y="298"/>
                  <a:pt x="911" y="297"/>
                  <a:pt x="910" y="297"/>
                </a:cubicBezTo>
                <a:cubicBezTo>
                  <a:pt x="910" y="296"/>
                  <a:pt x="909" y="296"/>
                  <a:pt x="909" y="296"/>
                </a:cubicBezTo>
                <a:cubicBezTo>
                  <a:pt x="908" y="296"/>
                  <a:pt x="908" y="295"/>
                  <a:pt x="907" y="295"/>
                </a:cubicBezTo>
                <a:cubicBezTo>
                  <a:pt x="907" y="294"/>
                  <a:pt x="907" y="294"/>
                  <a:pt x="906" y="293"/>
                </a:cubicBezTo>
                <a:cubicBezTo>
                  <a:pt x="906" y="292"/>
                  <a:pt x="906" y="292"/>
                  <a:pt x="905" y="292"/>
                </a:cubicBezTo>
                <a:cubicBezTo>
                  <a:pt x="904" y="291"/>
                  <a:pt x="904" y="291"/>
                  <a:pt x="904" y="291"/>
                </a:cubicBezTo>
                <a:cubicBezTo>
                  <a:pt x="902" y="290"/>
                  <a:pt x="901" y="289"/>
                  <a:pt x="900" y="288"/>
                </a:cubicBezTo>
                <a:cubicBezTo>
                  <a:pt x="899" y="287"/>
                  <a:pt x="898" y="287"/>
                  <a:pt x="898" y="286"/>
                </a:cubicBezTo>
                <a:cubicBezTo>
                  <a:pt x="898" y="286"/>
                  <a:pt x="898" y="285"/>
                  <a:pt x="897" y="285"/>
                </a:cubicBezTo>
                <a:cubicBezTo>
                  <a:pt x="896" y="285"/>
                  <a:pt x="898" y="286"/>
                  <a:pt x="897" y="286"/>
                </a:cubicBezTo>
                <a:cubicBezTo>
                  <a:pt x="897" y="286"/>
                  <a:pt x="896" y="285"/>
                  <a:pt x="896" y="285"/>
                </a:cubicBezTo>
                <a:cubicBezTo>
                  <a:pt x="896" y="285"/>
                  <a:pt x="897" y="285"/>
                  <a:pt x="897" y="284"/>
                </a:cubicBezTo>
                <a:cubicBezTo>
                  <a:pt x="897" y="284"/>
                  <a:pt x="896" y="284"/>
                  <a:pt x="895" y="284"/>
                </a:cubicBezTo>
                <a:cubicBezTo>
                  <a:pt x="895" y="284"/>
                  <a:pt x="895" y="283"/>
                  <a:pt x="895" y="283"/>
                </a:cubicBezTo>
                <a:cubicBezTo>
                  <a:pt x="894" y="282"/>
                  <a:pt x="893" y="282"/>
                  <a:pt x="893" y="282"/>
                </a:cubicBezTo>
                <a:cubicBezTo>
                  <a:pt x="893" y="282"/>
                  <a:pt x="893" y="281"/>
                  <a:pt x="893" y="281"/>
                </a:cubicBezTo>
                <a:cubicBezTo>
                  <a:pt x="891" y="280"/>
                  <a:pt x="890" y="279"/>
                  <a:pt x="889" y="278"/>
                </a:cubicBezTo>
                <a:cubicBezTo>
                  <a:pt x="888" y="277"/>
                  <a:pt x="889" y="277"/>
                  <a:pt x="888" y="277"/>
                </a:cubicBezTo>
                <a:cubicBezTo>
                  <a:pt x="888" y="276"/>
                  <a:pt x="888" y="276"/>
                  <a:pt x="887" y="276"/>
                </a:cubicBezTo>
                <a:cubicBezTo>
                  <a:pt x="887" y="276"/>
                  <a:pt x="886" y="276"/>
                  <a:pt x="886" y="276"/>
                </a:cubicBezTo>
                <a:cubicBezTo>
                  <a:pt x="885" y="275"/>
                  <a:pt x="886" y="275"/>
                  <a:pt x="886" y="275"/>
                </a:cubicBezTo>
                <a:cubicBezTo>
                  <a:pt x="886" y="275"/>
                  <a:pt x="885" y="275"/>
                  <a:pt x="885" y="275"/>
                </a:cubicBezTo>
                <a:cubicBezTo>
                  <a:pt x="885" y="275"/>
                  <a:pt x="885" y="274"/>
                  <a:pt x="885" y="274"/>
                </a:cubicBezTo>
                <a:cubicBezTo>
                  <a:pt x="884" y="273"/>
                  <a:pt x="883" y="273"/>
                  <a:pt x="883" y="273"/>
                </a:cubicBezTo>
                <a:cubicBezTo>
                  <a:pt x="882" y="272"/>
                  <a:pt x="882" y="272"/>
                  <a:pt x="881" y="272"/>
                </a:cubicBezTo>
                <a:cubicBezTo>
                  <a:pt x="880" y="272"/>
                  <a:pt x="880" y="271"/>
                  <a:pt x="880" y="271"/>
                </a:cubicBezTo>
                <a:cubicBezTo>
                  <a:pt x="879" y="271"/>
                  <a:pt x="880" y="271"/>
                  <a:pt x="880" y="271"/>
                </a:cubicBezTo>
                <a:cubicBezTo>
                  <a:pt x="880" y="270"/>
                  <a:pt x="879" y="270"/>
                  <a:pt x="880" y="270"/>
                </a:cubicBezTo>
                <a:cubicBezTo>
                  <a:pt x="880" y="270"/>
                  <a:pt x="880" y="270"/>
                  <a:pt x="879" y="269"/>
                </a:cubicBezTo>
                <a:cubicBezTo>
                  <a:pt x="879" y="269"/>
                  <a:pt x="879" y="270"/>
                  <a:pt x="879" y="270"/>
                </a:cubicBezTo>
                <a:cubicBezTo>
                  <a:pt x="878" y="270"/>
                  <a:pt x="878" y="269"/>
                  <a:pt x="878" y="269"/>
                </a:cubicBezTo>
                <a:cubicBezTo>
                  <a:pt x="877" y="269"/>
                  <a:pt x="877" y="268"/>
                  <a:pt x="876" y="268"/>
                </a:cubicBezTo>
                <a:cubicBezTo>
                  <a:pt x="875" y="269"/>
                  <a:pt x="875" y="268"/>
                  <a:pt x="875" y="268"/>
                </a:cubicBezTo>
                <a:cubicBezTo>
                  <a:pt x="875" y="267"/>
                  <a:pt x="874" y="267"/>
                  <a:pt x="874" y="267"/>
                </a:cubicBezTo>
                <a:cubicBezTo>
                  <a:pt x="873" y="266"/>
                  <a:pt x="873" y="267"/>
                  <a:pt x="872" y="266"/>
                </a:cubicBezTo>
                <a:cubicBezTo>
                  <a:pt x="872" y="266"/>
                  <a:pt x="872" y="266"/>
                  <a:pt x="871" y="266"/>
                </a:cubicBezTo>
                <a:cubicBezTo>
                  <a:pt x="871" y="266"/>
                  <a:pt x="867" y="264"/>
                  <a:pt x="867" y="266"/>
                </a:cubicBezTo>
                <a:cubicBezTo>
                  <a:pt x="867" y="266"/>
                  <a:pt x="868" y="267"/>
                  <a:pt x="867" y="266"/>
                </a:cubicBezTo>
                <a:cubicBezTo>
                  <a:pt x="866" y="266"/>
                  <a:pt x="866" y="266"/>
                  <a:pt x="865" y="265"/>
                </a:cubicBezTo>
                <a:cubicBezTo>
                  <a:pt x="864" y="265"/>
                  <a:pt x="863" y="265"/>
                  <a:pt x="863" y="265"/>
                </a:cubicBezTo>
                <a:cubicBezTo>
                  <a:pt x="862" y="265"/>
                  <a:pt x="861" y="264"/>
                  <a:pt x="860" y="264"/>
                </a:cubicBezTo>
                <a:cubicBezTo>
                  <a:pt x="860" y="263"/>
                  <a:pt x="860" y="263"/>
                  <a:pt x="859" y="264"/>
                </a:cubicBezTo>
                <a:cubicBezTo>
                  <a:pt x="859" y="264"/>
                  <a:pt x="859" y="263"/>
                  <a:pt x="858" y="263"/>
                </a:cubicBezTo>
                <a:cubicBezTo>
                  <a:pt x="857" y="263"/>
                  <a:pt x="857" y="262"/>
                  <a:pt x="856" y="262"/>
                </a:cubicBezTo>
                <a:cubicBezTo>
                  <a:pt x="855" y="262"/>
                  <a:pt x="854" y="261"/>
                  <a:pt x="853" y="262"/>
                </a:cubicBezTo>
                <a:cubicBezTo>
                  <a:pt x="853" y="262"/>
                  <a:pt x="853" y="262"/>
                  <a:pt x="853" y="262"/>
                </a:cubicBezTo>
                <a:cubicBezTo>
                  <a:pt x="853" y="262"/>
                  <a:pt x="853" y="261"/>
                  <a:pt x="852" y="262"/>
                </a:cubicBezTo>
                <a:cubicBezTo>
                  <a:pt x="852" y="262"/>
                  <a:pt x="853" y="262"/>
                  <a:pt x="852" y="262"/>
                </a:cubicBezTo>
                <a:cubicBezTo>
                  <a:pt x="852" y="262"/>
                  <a:pt x="851" y="261"/>
                  <a:pt x="851" y="261"/>
                </a:cubicBezTo>
                <a:cubicBezTo>
                  <a:pt x="850" y="261"/>
                  <a:pt x="850" y="262"/>
                  <a:pt x="849" y="262"/>
                </a:cubicBezTo>
                <a:cubicBezTo>
                  <a:pt x="849" y="262"/>
                  <a:pt x="849" y="262"/>
                  <a:pt x="848" y="262"/>
                </a:cubicBezTo>
                <a:cubicBezTo>
                  <a:pt x="847" y="263"/>
                  <a:pt x="846" y="262"/>
                  <a:pt x="846" y="262"/>
                </a:cubicBezTo>
                <a:cubicBezTo>
                  <a:pt x="845" y="263"/>
                  <a:pt x="844" y="263"/>
                  <a:pt x="844" y="262"/>
                </a:cubicBezTo>
                <a:cubicBezTo>
                  <a:pt x="843" y="262"/>
                  <a:pt x="842" y="263"/>
                  <a:pt x="841" y="263"/>
                </a:cubicBezTo>
                <a:cubicBezTo>
                  <a:pt x="840" y="263"/>
                  <a:pt x="839" y="263"/>
                  <a:pt x="839" y="263"/>
                </a:cubicBezTo>
                <a:cubicBezTo>
                  <a:pt x="838" y="264"/>
                  <a:pt x="837" y="264"/>
                  <a:pt x="837" y="264"/>
                </a:cubicBezTo>
                <a:cubicBezTo>
                  <a:pt x="836" y="264"/>
                  <a:pt x="836" y="264"/>
                  <a:pt x="835" y="264"/>
                </a:cubicBezTo>
                <a:cubicBezTo>
                  <a:pt x="835" y="264"/>
                  <a:pt x="834" y="264"/>
                  <a:pt x="834" y="264"/>
                </a:cubicBezTo>
                <a:cubicBezTo>
                  <a:pt x="833" y="264"/>
                  <a:pt x="833" y="264"/>
                  <a:pt x="833" y="264"/>
                </a:cubicBezTo>
                <a:cubicBezTo>
                  <a:pt x="833" y="264"/>
                  <a:pt x="833" y="265"/>
                  <a:pt x="833" y="265"/>
                </a:cubicBezTo>
                <a:cubicBezTo>
                  <a:pt x="833" y="265"/>
                  <a:pt x="832" y="265"/>
                  <a:pt x="832" y="265"/>
                </a:cubicBezTo>
                <a:cubicBezTo>
                  <a:pt x="832" y="266"/>
                  <a:pt x="832" y="267"/>
                  <a:pt x="831" y="267"/>
                </a:cubicBezTo>
                <a:cubicBezTo>
                  <a:pt x="831" y="267"/>
                  <a:pt x="831" y="268"/>
                  <a:pt x="831" y="268"/>
                </a:cubicBezTo>
                <a:cubicBezTo>
                  <a:pt x="831" y="269"/>
                  <a:pt x="829" y="269"/>
                  <a:pt x="830" y="270"/>
                </a:cubicBezTo>
                <a:cubicBezTo>
                  <a:pt x="830" y="271"/>
                  <a:pt x="831" y="271"/>
                  <a:pt x="831" y="272"/>
                </a:cubicBezTo>
                <a:cubicBezTo>
                  <a:pt x="832" y="272"/>
                  <a:pt x="832" y="271"/>
                  <a:pt x="833" y="271"/>
                </a:cubicBezTo>
                <a:cubicBezTo>
                  <a:pt x="834" y="271"/>
                  <a:pt x="834" y="271"/>
                  <a:pt x="835" y="271"/>
                </a:cubicBezTo>
                <a:cubicBezTo>
                  <a:pt x="835" y="272"/>
                  <a:pt x="836" y="272"/>
                  <a:pt x="836" y="272"/>
                </a:cubicBezTo>
                <a:cubicBezTo>
                  <a:pt x="837" y="272"/>
                  <a:pt x="837" y="273"/>
                  <a:pt x="838" y="274"/>
                </a:cubicBezTo>
                <a:cubicBezTo>
                  <a:pt x="838" y="275"/>
                  <a:pt x="840" y="275"/>
                  <a:pt x="840" y="276"/>
                </a:cubicBezTo>
                <a:cubicBezTo>
                  <a:pt x="840" y="276"/>
                  <a:pt x="840" y="277"/>
                  <a:pt x="840" y="277"/>
                </a:cubicBezTo>
                <a:cubicBezTo>
                  <a:pt x="840" y="277"/>
                  <a:pt x="840" y="277"/>
                  <a:pt x="840" y="277"/>
                </a:cubicBezTo>
                <a:cubicBezTo>
                  <a:pt x="841" y="278"/>
                  <a:pt x="841" y="278"/>
                  <a:pt x="841" y="278"/>
                </a:cubicBezTo>
                <a:cubicBezTo>
                  <a:pt x="841" y="279"/>
                  <a:pt x="840" y="279"/>
                  <a:pt x="840" y="279"/>
                </a:cubicBezTo>
                <a:cubicBezTo>
                  <a:pt x="840" y="279"/>
                  <a:pt x="840" y="279"/>
                  <a:pt x="840" y="279"/>
                </a:cubicBezTo>
                <a:cubicBezTo>
                  <a:pt x="839" y="280"/>
                  <a:pt x="839" y="280"/>
                  <a:pt x="839" y="281"/>
                </a:cubicBezTo>
                <a:cubicBezTo>
                  <a:pt x="839" y="281"/>
                  <a:pt x="838" y="281"/>
                  <a:pt x="838" y="282"/>
                </a:cubicBezTo>
                <a:cubicBezTo>
                  <a:pt x="838" y="282"/>
                  <a:pt x="838" y="283"/>
                  <a:pt x="838" y="283"/>
                </a:cubicBezTo>
                <a:cubicBezTo>
                  <a:pt x="838" y="283"/>
                  <a:pt x="839" y="284"/>
                  <a:pt x="839" y="284"/>
                </a:cubicBezTo>
                <a:cubicBezTo>
                  <a:pt x="838" y="284"/>
                  <a:pt x="838" y="284"/>
                  <a:pt x="838" y="284"/>
                </a:cubicBezTo>
                <a:cubicBezTo>
                  <a:pt x="839" y="285"/>
                  <a:pt x="838" y="285"/>
                  <a:pt x="839" y="286"/>
                </a:cubicBezTo>
                <a:cubicBezTo>
                  <a:pt x="838" y="286"/>
                  <a:pt x="839" y="287"/>
                  <a:pt x="839" y="287"/>
                </a:cubicBezTo>
                <a:cubicBezTo>
                  <a:pt x="839" y="288"/>
                  <a:pt x="839" y="288"/>
                  <a:pt x="839" y="288"/>
                </a:cubicBezTo>
                <a:cubicBezTo>
                  <a:pt x="838" y="289"/>
                  <a:pt x="839" y="290"/>
                  <a:pt x="839" y="290"/>
                </a:cubicBezTo>
                <a:cubicBezTo>
                  <a:pt x="839" y="291"/>
                  <a:pt x="839" y="291"/>
                  <a:pt x="839" y="292"/>
                </a:cubicBezTo>
                <a:cubicBezTo>
                  <a:pt x="838" y="293"/>
                  <a:pt x="838" y="293"/>
                  <a:pt x="839" y="294"/>
                </a:cubicBezTo>
                <a:cubicBezTo>
                  <a:pt x="839" y="294"/>
                  <a:pt x="839" y="294"/>
                  <a:pt x="838" y="295"/>
                </a:cubicBezTo>
                <a:cubicBezTo>
                  <a:pt x="838" y="295"/>
                  <a:pt x="841" y="295"/>
                  <a:pt x="841" y="296"/>
                </a:cubicBezTo>
                <a:cubicBezTo>
                  <a:pt x="841" y="296"/>
                  <a:pt x="841" y="296"/>
                  <a:pt x="841" y="297"/>
                </a:cubicBezTo>
                <a:cubicBezTo>
                  <a:pt x="841" y="297"/>
                  <a:pt x="842" y="297"/>
                  <a:pt x="842" y="297"/>
                </a:cubicBezTo>
                <a:cubicBezTo>
                  <a:pt x="842" y="298"/>
                  <a:pt x="842" y="298"/>
                  <a:pt x="841" y="299"/>
                </a:cubicBezTo>
                <a:cubicBezTo>
                  <a:pt x="841" y="299"/>
                  <a:pt x="840" y="299"/>
                  <a:pt x="839" y="299"/>
                </a:cubicBezTo>
                <a:cubicBezTo>
                  <a:pt x="838" y="299"/>
                  <a:pt x="837" y="299"/>
                  <a:pt x="837" y="300"/>
                </a:cubicBezTo>
                <a:cubicBezTo>
                  <a:pt x="837" y="300"/>
                  <a:pt x="836" y="301"/>
                  <a:pt x="836" y="301"/>
                </a:cubicBezTo>
                <a:cubicBezTo>
                  <a:pt x="836" y="301"/>
                  <a:pt x="836" y="301"/>
                  <a:pt x="835" y="302"/>
                </a:cubicBezTo>
                <a:cubicBezTo>
                  <a:pt x="835" y="302"/>
                  <a:pt x="835" y="303"/>
                  <a:pt x="834" y="303"/>
                </a:cubicBezTo>
                <a:cubicBezTo>
                  <a:pt x="834" y="303"/>
                  <a:pt x="834" y="304"/>
                  <a:pt x="833" y="304"/>
                </a:cubicBezTo>
                <a:cubicBezTo>
                  <a:pt x="833" y="304"/>
                  <a:pt x="833" y="304"/>
                  <a:pt x="833" y="304"/>
                </a:cubicBezTo>
                <a:cubicBezTo>
                  <a:pt x="833" y="304"/>
                  <a:pt x="833" y="304"/>
                  <a:pt x="833" y="304"/>
                </a:cubicBezTo>
                <a:cubicBezTo>
                  <a:pt x="833" y="304"/>
                  <a:pt x="832" y="304"/>
                  <a:pt x="832" y="304"/>
                </a:cubicBezTo>
                <a:cubicBezTo>
                  <a:pt x="831" y="304"/>
                  <a:pt x="830" y="303"/>
                  <a:pt x="830" y="303"/>
                </a:cubicBezTo>
                <a:cubicBezTo>
                  <a:pt x="829" y="303"/>
                  <a:pt x="828" y="303"/>
                  <a:pt x="827" y="302"/>
                </a:cubicBezTo>
                <a:cubicBezTo>
                  <a:pt x="826" y="302"/>
                  <a:pt x="825" y="302"/>
                  <a:pt x="825" y="302"/>
                </a:cubicBezTo>
                <a:cubicBezTo>
                  <a:pt x="824" y="302"/>
                  <a:pt x="823" y="301"/>
                  <a:pt x="822" y="301"/>
                </a:cubicBezTo>
                <a:cubicBezTo>
                  <a:pt x="821" y="300"/>
                  <a:pt x="821" y="300"/>
                  <a:pt x="820" y="300"/>
                </a:cubicBezTo>
                <a:cubicBezTo>
                  <a:pt x="819" y="299"/>
                  <a:pt x="817" y="298"/>
                  <a:pt x="815" y="299"/>
                </a:cubicBezTo>
                <a:cubicBezTo>
                  <a:pt x="815" y="299"/>
                  <a:pt x="814" y="300"/>
                  <a:pt x="813" y="300"/>
                </a:cubicBezTo>
                <a:cubicBezTo>
                  <a:pt x="812" y="300"/>
                  <a:pt x="812" y="300"/>
                  <a:pt x="811" y="300"/>
                </a:cubicBezTo>
                <a:cubicBezTo>
                  <a:pt x="810" y="300"/>
                  <a:pt x="808" y="299"/>
                  <a:pt x="807" y="298"/>
                </a:cubicBezTo>
                <a:cubicBezTo>
                  <a:pt x="806" y="298"/>
                  <a:pt x="805" y="297"/>
                  <a:pt x="805" y="297"/>
                </a:cubicBezTo>
                <a:cubicBezTo>
                  <a:pt x="804" y="297"/>
                  <a:pt x="803" y="296"/>
                  <a:pt x="803" y="296"/>
                </a:cubicBezTo>
                <a:cubicBezTo>
                  <a:pt x="802" y="296"/>
                  <a:pt x="801" y="296"/>
                  <a:pt x="800" y="296"/>
                </a:cubicBezTo>
                <a:cubicBezTo>
                  <a:pt x="800" y="296"/>
                  <a:pt x="799" y="296"/>
                  <a:pt x="798" y="296"/>
                </a:cubicBezTo>
                <a:cubicBezTo>
                  <a:pt x="797" y="296"/>
                  <a:pt x="797" y="297"/>
                  <a:pt x="796" y="298"/>
                </a:cubicBezTo>
                <a:cubicBezTo>
                  <a:pt x="795" y="298"/>
                  <a:pt x="795" y="298"/>
                  <a:pt x="794" y="299"/>
                </a:cubicBezTo>
                <a:cubicBezTo>
                  <a:pt x="793" y="299"/>
                  <a:pt x="792" y="301"/>
                  <a:pt x="792" y="302"/>
                </a:cubicBezTo>
                <a:cubicBezTo>
                  <a:pt x="792" y="302"/>
                  <a:pt x="793" y="303"/>
                  <a:pt x="792" y="303"/>
                </a:cubicBezTo>
                <a:cubicBezTo>
                  <a:pt x="791" y="303"/>
                  <a:pt x="791" y="304"/>
                  <a:pt x="790" y="304"/>
                </a:cubicBezTo>
                <a:cubicBezTo>
                  <a:pt x="790" y="304"/>
                  <a:pt x="789" y="304"/>
                  <a:pt x="788" y="304"/>
                </a:cubicBezTo>
                <a:cubicBezTo>
                  <a:pt x="787" y="304"/>
                  <a:pt x="787" y="304"/>
                  <a:pt x="786" y="305"/>
                </a:cubicBezTo>
                <a:cubicBezTo>
                  <a:pt x="785" y="305"/>
                  <a:pt x="784" y="305"/>
                  <a:pt x="783" y="305"/>
                </a:cubicBezTo>
                <a:cubicBezTo>
                  <a:pt x="783" y="305"/>
                  <a:pt x="782" y="305"/>
                  <a:pt x="781" y="305"/>
                </a:cubicBezTo>
                <a:cubicBezTo>
                  <a:pt x="781" y="306"/>
                  <a:pt x="780" y="306"/>
                  <a:pt x="780" y="306"/>
                </a:cubicBezTo>
                <a:cubicBezTo>
                  <a:pt x="779" y="305"/>
                  <a:pt x="779" y="306"/>
                  <a:pt x="778" y="306"/>
                </a:cubicBezTo>
                <a:cubicBezTo>
                  <a:pt x="778" y="306"/>
                  <a:pt x="777" y="307"/>
                  <a:pt x="777" y="308"/>
                </a:cubicBezTo>
                <a:cubicBezTo>
                  <a:pt x="776" y="308"/>
                  <a:pt x="775" y="308"/>
                  <a:pt x="774" y="308"/>
                </a:cubicBezTo>
                <a:cubicBezTo>
                  <a:pt x="773" y="308"/>
                  <a:pt x="773" y="307"/>
                  <a:pt x="772" y="307"/>
                </a:cubicBezTo>
                <a:cubicBezTo>
                  <a:pt x="772" y="307"/>
                  <a:pt x="772" y="307"/>
                  <a:pt x="771" y="308"/>
                </a:cubicBezTo>
                <a:cubicBezTo>
                  <a:pt x="771" y="308"/>
                  <a:pt x="769" y="307"/>
                  <a:pt x="769" y="307"/>
                </a:cubicBezTo>
                <a:cubicBezTo>
                  <a:pt x="768" y="307"/>
                  <a:pt x="767" y="307"/>
                  <a:pt x="766" y="307"/>
                </a:cubicBezTo>
                <a:cubicBezTo>
                  <a:pt x="766" y="307"/>
                  <a:pt x="765" y="307"/>
                  <a:pt x="764" y="307"/>
                </a:cubicBezTo>
                <a:cubicBezTo>
                  <a:pt x="764" y="307"/>
                  <a:pt x="763" y="306"/>
                  <a:pt x="762" y="306"/>
                </a:cubicBezTo>
                <a:cubicBezTo>
                  <a:pt x="761" y="306"/>
                  <a:pt x="761" y="306"/>
                  <a:pt x="760" y="305"/>
                </a:cubicBezTo>
                <a:cubicBezTo>
                  <a:pt x="759" y="305"/>
                  <a:pt x="758" y="306"/>
                  <a:pt x="757" y="306"/>
                </a:cubicBezTo>
                <a:cubicBezTo>
                  <a:pt x="756" y="306"/>
                  <a:pt x="754" y="306"/>
                  <a:pt x="753" y="305"/>
                </a:cubicBezTo>
                <a:cubicBezTo>
                  <a:pt x="752" y="304"/>
                  <a:pt x="752" y="304"/>
                  <a:pt x="751" y="304"/>
                </a:cubicBezTo>
                <a:cubicBezTo>
                  <a:pt x="750" y="303"/>
                  <a:pt x="750" y="303"/>
                  <a:pt x="749" y="303"/>
                </a:cubicBezTo>
                <a:cubicBezTo>
                  <a:pt x="749" y="302"/>
                  <a:pt x="749" y="302"/>
                  <a:pt x="749" y="302"/>
                </a:cubicBezTo>
                <a:cubicBezTo>
                  <a:pt x="748" y="302"/>
                  <a:pt x="749" y="302"/>
                  <a:pt x="748" y="302"/>
                </a:cubicBezTo>
                <a:cubicBezTo>
                  <a:pt x="748" y="301"/>
                  <a:pt x="748" y="301"/>
                  <a:pt x="747" y="300"/>
                </a:cubicBezTo>
                <a:cubicBezTo>
                  <a:pt x="747" y="299"/>
                  <a:pt x="746" y="299"/>
                  <a:pt x="745" y="299"/>
                </a:cubicBezTo>
                <a:cubicBezTo>
                  <a:pt x="745" y="299"/>
                  <a:pt x="744" y="299"/>
                  <a:pt x="743" y="299"/>
                </a:cubicBezTo>
                <a:cubicBezTo>
                  <a:pt x="742" y="299"/>
                  <a:pt x="741" y="299"/>
                  <a:pt x="741" y="299"/>
                </a:cubicBezTo>
                <a:cubicBezTo>
                  <a:pt x="741" y="299"/>
                  <a:pt x="740" y="298"/>
                  <a:pt x="739" y="298"/>
                </a:cubicBezTo>
                <a:cubicBezTo>
                  <a:pt x="738" y="297"/>
                  <a:pt x="736" y="296"/>
                  <a:pt x="734" y="296"/>
                </a:cubicBezTo>
                <a:cubicBezTo>
                  <a:pt x="733" y="295"/>
                  <a:pt x="732" y="296"/>
                  <a:pt x="730" y="295"/>
                </a:cubicBezTo>
                <a:cubicBezTo>
                  <a:pt x="730" y="295"/>
                  <a:pt x="729" y="295"/>
                  <a:pt x="729" y="295"/>
                </a:cubicBezTo>
                <a:cubicBezTo>
                  <a:pt x="729" y="295"/>
                  <a:pt x="729" y="295"/>
                  <a:pt x="728" y="295"/>
                </a:cubicBezTo>
                <a:cubicBezTo>
                  <a:pt x="727" y="294"/>
                  <a:pt x="726" y="294"/>
                  <a:pt x="726" y="294"/>
                </a:cubicBezTo>
                <a:cubicBezTo>
                  <a:pt x="725" y="294"/>
                  <a:pt x="724" y="294"/>
                  <a:pt x="723" y="294"/>
                </a:cubicBezTo>
                <a:cubicBezTo>
                  <a:pt x="722" y="294"/>
                  <a:pt x="722" y="294"/>
                  <a:pt x="721" y="294"/>
                </a:cubicBezTo>
                <a:cubicBezTo>
                  <a:pt x="720" y="295"/>
                  <a:pt x="719" y="295"/>
                  <a:pt x="719" y="295"/>
                </a:cubicBezTo>
                <a:cubicBezTo>
                  <a:pt x="718" y="295"/>
                  <a:pt x="718" y="295"/>
                  <a:pt x="718" y="295"/>
                </a:cubicBezTo>
                <a:cubicBezTo>
                  <a:pt x="717" y="295"/>
                  <a:pt x="717" y="295"/>
                  <a:pt x="717" y="295"/>
                </a:cubicBezTo>
                <a:cubicBezTo>
                  <a:pt x="716" y="296"/>
                  <a:pt x="716" y="295"/>
                  <a:pt x="715" y="296"/>
                </a:cubicBezTo>
                <a:cubicBezTo>
                  <a:pt x="715" y="296"/>
                  <a:pt x="715" y="297"/>
                  <a:pt x="714" y="297"/>
                </a:cubicBezTo>
                <a:cubicBezTo>
                  <a:pt x="713" y="297"/>
                  <a:pt x="713" y="297"/>
                  <a:pt x="712" y="297"/>
                </a:cubicBezTo>
                <a:cubicBezTo>
                  <a:pt x="711" y="297"/>
                  <a:pt x="711" y="297"/>
                  <a:pt x="710" y="297"/>
                </a:cubicBezTo>
                <a:cubicBezTo>
                  <a:pt x="710" y="298"/>
                  <a:pt x="709" y="297"/>
                  <a:pt x="709" y="297"/>
                </a:cubicBezTo>
                <a:cubicBezTo>
                  <a:pt x="708" y="297"/>
                  <a:pt x="708" y="297"/>
                  <a:pt x="707" y="297"/>
                </a:cubicBezTo>
                <a:cubicBezTo>
                  <a:pt x="706" y="297"/>
                  <a:pt x="706" y="296"/>
                  <a:pt x="705" y="296"/>
                </a:cubicBezTo>
                <a:cubicBezTo>
                  <a:pt x="704" y="295"/>
                  <a:pt x="704" y="296"/>
                  <a:pt x="703" y="296"/>
                </a:cubicBezTo>
                <a:cubicBezTo>
                  <a:pt x="702" y="296"/>
                  <a:pt x="702" y="295"/>
                  <a:pt x="701" y="295"/>
                </a:cubicBezTo>
                <a:cubicBezTo>
                  <a:pt x="700" y="295"/>
                  <a:pt x="700" y="295"/>
                  <a:pt x="699" y="294"/>
                </a:cubicBezTo>
                <a:cubicBezTo>
                  <a:pt x="698" y="293"/>
                  <a:pt x="698" y="293"/>
                  <a:pt x="697" y="293"/>
                </a:cubicBezTo>
                <a:cubicBezTo>
                  <a:pt x="696" y="293"/>
                  <a:pt x="696" y="292"/>
                  <a:pt x="696" y="292"/>
                </a:cubicBezTo>
                <a:cubicBezTo>
                  <a:pt x="695" y="292"/>
                  <a:pt x="696" y="292"/>
                  <a:pt x="696" y="291"/>
                </a:cubicBezTo>
                <a:cubicBezTo>
                  <a:pt x="695" y="291"/>
                  <a:pt x="695" y="291"/>
                  <a:pt x="695" y="291"/>
                </a:cubicBezTo>
                <a:cubicBezTo>
                  <a:pt x="694" y="290"/>
                  <a:pt x="694" y="290"/>
                  <a:pt x="694" y="289"/>
                </a:cubicBezTo>
                <a:cubicBezTo>
                  <a:pt x="693" y="288"/>
                  <a:pt x="693" y="288"/>
                  <a:pt x="692" y="287"/>
                </a:cubicBezTo>
                <a:cubicBezTo>
                  <a:pt x="692" y="287"/>
                  <a:pt x="691" y="286"/>
                  <a:pt x="691" y="286"/>
                </a:cubicBezTo>
                <a:cubicBezTo>
                  <a:pt x="691" y="285"/>
                  <a:pt x="691" y="285"/>
                  <a:pt x="691" y="285"/>
                </a:cubicBezTo>
                <a:cubicBezTo>
                  <a:pt x="690" y="284"/>
                  <a:pt x="689" y="284"/>
                  <a:pt x="688" y="284"/>
                </a:cubicBezTo>
                <a:cubicBezTo>
                  <a:pt x="687" y="284"/>
                  <a:pt x="685" y="283"/>
                  <a:pt x="684" y="283"/>
                </a:cubicBezTo>
                <a:cubicBezTo>
                  <a:pt x="683" y="283"/>
                  <a:pt x="683" y="283"/>
                  <a:pt x="682" y="283"/>
                </a:cubicBezTo>
                <a:cubicBezTo>
                  <a:pt x="681" y="283"/>
                  <a:pt x="681" y="282"/>
                  <a:pt x="680" y="282"/>
                </a:cubicBezTo>
                <a:cubicBezTo>
                  <a:pt x="679" y="282"/>
                  <a:pt x="678" y="282"/>
                  <a:pt x="677" y="281"/>
                </a:cubicBezTo>
                <a:cubicBezTo>
                  <a:pt x="676" y="281"/>
                  <a:pt x="675" y="281"/>
                  <a:pt x="675" y="281"/>
                </a:cubicBezTo>
                <a:cubicBezTo>
                  <a:pt x="673" y="280"/>
                  <a:pt x="671" y="281"/>
                  <a:pt x="670" y="280"/>
                </a:cubicBezTo>
                <a:cubicBezTo>
                  <a:pt x="669" y="280"/>
                  <a:pt x="668" y="279"/>
                  <a:pt x="667" y="279"/>
                </a:cubicBezTo>
                <a:cubicBezTo>
                  <a:pt x="666" y="279"/>
                  <a:pt x="665" y="279"/>
                  <a:pt x="665" y="278"/>
                </a:cubicBezTo>
                <a:cubicBezTo>
                  <a:pt x="663" y="278"/>
                  <a:pt x="661" y="278"/>
                  <a:pt x="660" y="277"/>
                </a:cubicBezTo>
                <a:cubicBezTo>
                  <a:pt x="660" y="277"/>
                  <a:pt x="659" y="276"/>
                  <a:pt x="659" y="276"/>
                </a:cubicBezTo>
                <a:cubicBezTo>
                  <a:pt x="659" y="277"/>
                  <a:pt x="659" y="277"/>
                  <a:pt x="659" y="278"/>
                </a:cubicBezTo>
                <a:cubicBezTo>
                  <a:pt x="659" y="279"/>
                  <a:pt x="659" y="279"/>
                  <a:pt x="659" y="280"/>
                </a:cubicBezTo>
                <a:cubicBezTo>
                  <a:pt x="658" y="280"/>
                  <a:pt x="657" y="280"/>
                  <a:pt x="657" y="281"/>
                </a:cubicBezTo>
                <a:cubicBezTo>
                  <a:pt x="656" y="281"/>
                  <a:pt x="658" y="283"/>
                  <a:pt x="657" y="283"/>
                </a:cubicBezTo>
                <a:cubicBezTo>
                  <a:pt x="657" y="284"/>
                  <a:pt x="656" y="283"/>
                  <a:pt x="656" y="283"/>
                </a:cubicBezTo>
                <a:cubicBezTo>
                  <a:pt x="655" y="283"/>
                  <a:pt x="655" y="284"/>
                  <a:pt x="656" y="285"/>
                </a:cubicBezTo>
                <a:cubicBezTo>
                  <a:pt x="656" y="286"/>
                  <a:pt x="656" y="286"/>
                  <a:pt x="656" y="287"/>
                </a:cubicBezTo>
                <a:cubicBezTo>
                  <a:pt x="656" y="287"/>
                  <a:pt x="656" y="288"/>
                  <a:pt x="656" y="289"/>
                </a:cubicBezTo>
                <a:cubicBezTo>
                  <a:pt x="657" y="289"/>
                  <a:pt x="658" y="289"/>
                  <a:pt x="658" y="290"/>
                </a:cubicBezTo>
                <a:cubicBezTo>
                  <a:pt x="659" y="290"/>
                  <a:pt x="659" y="291"/>
                  <a:pt x="659" y="291"/>
                </a:cubicBezTo>
                <a:cubicBezTo>
                  <a:pt x="659" y="292"/>
                  <a:pt x="660" y="292"/>
                  <a:pt x="661" y="293"/>
                </a:cubicBezTo>
                <a:cubicBezTo>
                  <a:pt x="661" y="293"/>
                  <a:pt x="662" y="293"/>
                  <a:pt x="663" y="293"/>
                </a:cubicBezTo>
                <a:cubicBezTo>
                  <a:pt x="663" y="294"/>
                  <a:pt x="663" y="294"/>
                  <a:pt x="663" y="295"/>
                </a:cubicBezTo>
                <a:cubicBezTo>
                  <a:pt x="664" y="295"/>
                  <a:pt x="664" y="296"/>
                  <a:pt x="664" y="297"/>
                </a:cubicBezTo>
                <a:cubicBezTo>
                  <a:pt x="664" y="298"/>
                  <a:pt x="663" y="299"/>
                  <a:pt x="662" y="299"/>
                </a:cubicBezTo>
                <a:cubicBezTo>
                  <a:pt x="662" y="300"/>
                  <a:pt x="662" y="299"/>
                  <a:pt x="661" y="299"/>
                </a:cubicBezTo>
                <a:cubicBezTo>
                  <a:pt x="661" y="299"/>
                  <a:pt x="661" y="299"/>
                  <a:pt x="661" y="300"/>
                </a:cubicBezTo>
                <a:cubicBezTo>
                  <a:pt x="660" y="300"/>
                  <a:pt x="660" y="300"/>
                  <a:pt x="660" y="300"/>
                </a:cubicBezTo>
                <a:cubicBezTo>
                  <a:pt x="660" y="301"/>
                  <a:pt x="659" y="301"/>
                  <a:pt x="659" y="302"/>
                </a:cubicBezTo>
                <a:cubicBezTo>
                  <a:pt x="658" y="302"/>
                  <a:pt x="657" y="301"/>
                  <a:pt x="657" y="301"/>
                </a:cubicBezTo>
                <a:cubicBezTo>
                  <a:pt x="656" y="300"/>
                  <a:pt x="654" y="300"/>
                  <a:pt x="653" y="300"/>
                </a:cubicBezTo>
                <a:cubicBezTo>
                  <a:pt x="652" y="300"/>
                  <a:pt x="652" y="301"/>
                  <a:pt x="651" y="300"/>
                </a:cubicBezTo>
                <a:cubicBezTo>
                  <a:pt x="651" y="299"/>
                  <a:pt x="651" y="300"/>
                  <a:pt x="650" y="300"/>
                </a:cubicBezTo>
                <a:cubicBezTo>
                  <a:pt x="649" y="300"/>
                  <a:pt x="648" y="299"/>
                  <a:pt x="647" y="299"/>
                </a:cubicBezTo>
                <a:cubicBezTo>
                  <a:pt x="646" y="299"/>
                  <a:pt x="646" y="300"/>
                  <a:pt x="646" y="299"/>
                </a:cubicBezTo>
                <a:cubicBezTo>
                  <a:pt x="646" y="299"/>
                  <a:pt x="645" y="299"/>
                  <a:pt x="645" y="299"/>
                </a:cubicBezTo>
                <a:cubicBezTo>
                  <a:pt x="645" y="298"/>
                  <a:pt x="644" y="299"/>
                  <a:pt x="644" y="299"/>
                </a:cubicBezTo>
                <a:cubicBezTo>
                  <a:pt x="644" y="300"/>
                  <a:pt x="643" y="299"/>
                  <a:pt x="643" y="300"/>
                </a:cubicBezTo>
                <a:cubicBezTo>
                  <a:pt x="642" y="300"/>
                  <a:pt x="642" y="300"/>
                  <a:pt x="642" y="300"/>
                </a:cubicBezTo>
                <a:cubicBezTo>
                  <a:pt x="641" y="299"/>
                  <a:pt x="640" y="299"/>
                  <a:pt x="639" y="299"/>
                </a:cubicBezTo>
                <a:cubicBezTo>
                  <a:pt x="638" y="299"/>
                  <a:pt x="638" y="299"/>
                  <a:pt x="637" y="298"/>
                </a:cubicBezTo>
                <a:cubicBezTo>
                  <a:pt x="636" y="298"/>
                  <a:pt x="635" y="299"/>
                  <a:pt x="634" y="298"/>
                </a:cubicBezTo>
                <a:cubicBezTo>
                  <a:pt x="633" y="297"/>
                  <a:pt x="631" y="297"/>
                  <a:pt x="631" y="295"/>
                </a:cubicBezTo>
                <a:cubicBezTo>
                  <a:pt x="630" y="294"/>
                  <a:pt x="629" y="293"/>
                  <a:pt x="628" y="293"/>
                </a:cubicBezTo>
                <a:cubicBezTo>
                  <a:pt x="626" y="293"/>
                  <a:pt x="624" y="293"/>
                  <a:pt x="621" y="292"/>
                </a:cubicBezTo>
                <a:cubicBezTo>
                  <a:pt x="620" y="292"/>
                  <a:pt x="619" y="293"/>
                  <a:pt x="618" y="292"/>
                </a:cubicBezTo>
                <a:cubicBezTo>
                  <a:pt x="617" y="292"/>
                  <a:pt x="617" y="291"/>
                  <a:pt x="617" y="290"/>
                </a:cubicBezTo>
                <a:cubicBezTo>
                  <a:pt x="616" y="290"/>
                  <a:pt x="615" y="290"/>
                  <a:pt x="615" y="291"/>
                </a:cubicBezTo>
                <a:cubicBezTo>
                  <a:pt x="615" y="291"/>
                  <a:pt x="615" y="292"/>
                  <a:pt x="615" y="292"/>
                </a:cubicBezTo>
                <a:cubicBezTo>
                  <a:pt x="614" y="292"/>
                  <a:pt x="614" y="291"/>
                  <a:pt x="613" y="291"/>
                </a:cubicBezTo>
                <a:cubicBezTo>
                  <a:pt x="612" y="291"/>
                  <a:pt x="611" y="289"/>
                  <a:pt x="611" y="290"/>
                </a:cubicBezTo>
                <a:cubicBezTo>
                  <a:pt x="611" y="292"/>
                  <a:pt x="610" y="292"/>
                  <a:pt x="609" y="291"/>
                </a:cubicBezTo>
                <a:cubicBezTo>
                  <a:pt x="608" y="291"/>
                  <a:pt x="607" y="291"/>
                  <a:pt x="607" y="292"/>
                </a:cubicBezTo>
                <a:cubicBezTo>
                  <a:pt x="606" y="292"/>
                  <a:pt x="606" y="293"/>
                  <a:pt x="606" y="293"/>
                </a:cubicBezTo>
                <a:cubicBezTo>
                  <a:pt x="605" y="293"/>
                  <a:pt x="606" y="294"/>
                  <a:pt x="605" y="294"/>
                </a:cubicBezTo>
                <a:cubicBezTo>
                  <a:pt x="604" y="294"/>
                  <a:pt x="604" y="294"/>
                  <a:pt x="603" y="294"/>
                </a:cubicBezTo>
                <a:cubicBezTo>
                  <a:pt x="602" y="294"/>
                  <a:pt x="602" y="294"/>
                  <a:pt x="601" y="295"/>
                </a:cubicBezTo>
                <a:cubicBezTo>
                  <a:pt x="601" y="296"/>
                  <a:pt x="600" y="296"/>
                  <a:pt x="600" y="296"/>
                </a:cubicBezTo>
                <a:cubicBezTo>
                  <a:pt x="601" y="297"/>
                  <a:pt x="600" y="297"/>
                  <a:pt x="600" y="297"/>
                </a:cubicBezTo>
                <a:cubicBezTo>
                  <a:pt x="599" y="297"/>
                  <a:pt x="598" y="297"/>
                  <a:pt x="598" y="297"/>
                </a:cubicBezTo>
                <a:cubicBezTo>
                  <a:pt x="597" y="297"/>
                  <a:pt x="597" y="298"/>
                  <a:pt x="596" y="298"/>
                </a:cubicBezTo>
                <a:cubicBezTo>
                  <a:pt x="596" y="298"/>
                  <a:pt x="596" y="298"/>
                  <a:pt x="595" y="298"/>
                </a:cubicBezTo>
                <a:cubicBezTo>
                  <a:pt x="595" y="299"/>
                  <a:pt x="596" y="299"/>
                  <a:pt x="595" y="299"/>
                </a:cubicBezTo>
                <a:cubicBezTo>
                  <a:pt x="594" y="300"/>
                  <a:pt x="594" y="299"/>
                  <a:pt x="593" y="300"/>
                </a:cubicBezTo>
                <a:cubicBezTo>
                  <a:pt x="593" y="300"/>
                  <a:pt x="593" y="301"/>
                  <a:pt x="594" y="301"/>
                </a:cubicBezTo>
                <a:cubicBezTo>
                  <a:pt x="594" y="301"/>
                  <a:pt x="595" y="301"/>
                  <a:pt x="594" y="302"/>
                </a:cubicBezTo>
                <a:cubicBezTo>
                  <a:pt x="594" y="302"/>
                  <a:pt x="593" y="302"/>
                  <a:pt x="593" y="303"/>
                </a:cubicBezTo>
                <a:cubicBezTo>
                  <a:pt x="592" y="303"/>
                  <a:pt x="592" y="303"/>
                  <a:pt x="592" y="303"/>
                </a:cubicBezTo>
                <a:cubicBezTo>
                  <a:pt x="591" y="303"/>
                  <a:pt x="591" y="302"/>
                  <a:pt x="591" y="303"/>
                </a:cubicBezTo>
                <a:cubicBezTo>
                  <a:pt x="590" y="303"/>
                  <a:pt x="591" y="303"/>
                  <a:pt x="591" y="304"/>
                </a:cubicBezTo>
                <a:cubicBezTo>
                  <a:pt x="591" y="304"/>
                  <a:pt x="590" y="304"/>
                  <a:pt x="590" y="304"/>
                </a:cubicBezTo>
                <a:cubicBezTo>
                  <a:pt x="589" y="304"/>
                  <a:pt x="589" y="304"/>
                  <a:pt x="588" y="304"/>
                </a:cubicBezTo>
                <a:cubicBezTo>
                  <a:pt x="588" y="304"/>
                  <a:pt x="589" y="305"/>
                  <a:pt x="589" y="305"/>
                </a:cubicBezTo>
                <a:cubicBezTo>
                  <a:pt x="588" y="305"/>
                  <a:pt x="587" y="305"/>
                  <a:pt x="587" y="304"/>
                </a:cubicBezTo>
                <a:cubicBezTo>
                  <a:pt x="586" y="304"/>
                  <a:pt x="586" y="304"/>
                  <a:pt x="585" y="305"/>
                </a:cubicBezTo>
                <a:cubicBezTo>
                  <a:pt x="585" y="305"/>
                  <a:pt x="585" y="304"/>
                  <a:pt x="584" y="304"/>
                </a:cubicBezTo>
                <a:cubicBezTo>
                  <a:pt x="584" y="304"/>
                  <a:pt x="582" y="305"/>
                  <a:pt x="583" y="306"/>
                </a:cubicBezTo>
                <a:cubicBezTo>
                  <a:pt x="583" y="307"/>
                  <a:pt x="583" y="307"/>
                  <a:pt x="583" y="307"/>
                </a:cubicBezTo>
                <a:cubicBezTo>
                  <a:pt x="582" y="308"/>
                  <a:pt x="582" y="308"/>
                  <a:pt x="581" y="308"/>
                </a:cubicBezTo>
                <a:cubicBezTo>
                  <a:pt x="580" y="308"/>
                  <a:pt x="579" y="308"/>
                  <a:pt x="579" y="308"/>
                </a:cubicBezTo>
                <a:cubicBezTo>
                  <a:pt x="578" y="308"/>
                  <a:pt x="578" y="309"/>
                  <a:pt x="577" y="309"/>
                </a:cubicBezTo>
                <a:cubicBezTo>
                  <a:pt x="577" y="308"/>
                  <a:pt x="577" y="308"/>
                  <a:pt x="576" y="307"/>
                </a:cubicBezTo>
                <a:cubicBezTo>
                  <a:pt x="576" y="307"/>
                  <a:pt x="575" y="307"/>
                  <a:pt x="574" y="307"/>
                </a:cubicBezTo>
                <a:cubicBezTo>
                  <a:pt x="573" y="306"/>
                  <a:pt x="573" y="306"/>
                  <a:pt x="573" y="306"/>
                </a:cubicBezTo>
                <a:cubicBezTo>
                  <a:pt x="573" y="306"/>
                  <a:pt x="573" y="306"/>
                  <a:pt x="573" y="305"/>
                </a:cubicBezTo>
                <a:cubicBezTo>
                  <a:pt x="572" y="305"/>
                  <a:pt x="571" y="305"/>
                  <a:pt x="571" y="304"/>
                </a:cubicBezTo>
                <a:cubicBezTo>
                  <a:pt x="571" y="304"/>
                  <a:pt x="571" y="304"/>
                  <a:pt x="570" y="304"/>
                </a:cubicBezTo>
                <a:cubicBezTo>
                  <a:pt x="569" y="304"/>
                  <a:pt x="568" y="303"/>
                  <a:pt x="569" y="303"/>
                </a:cubicBezTo>
                <a:cubicBezTo>
                  <a:pt x="569" y="302"/>
                  <a:pt x="570" y="302"/>
                  <a:pt x="570" y="302"/>
                </a:cubicBezTo>
                <a:cubicBezTo>
                  <a:pt x="570" y="302"/>
                  <a:pt x="569" y="300"/>
                  <a:pt x="568" y="301"/>
                </a:cubicBezTo>
                <a:cubicBezTo>
                  <a:pt x="568" y="301"/>
                  <a:pt x="568" y="301"/>
                  <a:pt x="568" y="302"/>
                </a:cubicBezTo>
                <a:cubicBezTo>
                  <a:pt x="568" y="302"/>
                  <a:pt x="567" y="302"/>
                  <a:pt x="567" y="302"/>
                </a:cubicBezTo>
                <a:cubicBezTo>
                  <a:pt x="567" y="303"/>
                  <a:pt x="567" y="303"/>
                  <a:pt x="566" y="303"/>
                </a:cubicBezTo>
                <a:cubicBezTo>
                  <a:pt x="566" y="303"/>
                  <a:pt x="566" y="304"/>
                  <a:pt x="566" y="304"/>
                </a:cubicBezTo>
                <a:cubicBezTo>
                  <a:pt x="566" y="304"/>
                  <a:pt x="565" y="304"/>
                  <a:pt x="565" y="304"/>
                </a:cubicBezTo>
                <a:cubicBezTo>
                  <a:pt x="564" y="304"/>
                  <a:pt x="564" y="305"/>
                  <a:pt x="563" y="304"/>
                </a:cubicBezTo>
                <a:cubicBezTo>
                  <a:pt x="563" y="303"/>
                  <a:pt x="563" y="304"/>
                  <a:pt x="562" y="304"/>
                </a:cubicBezTo>
                <a:cubicBezTo>
                  <a:pt x="562" y="304"/>
                  <a:pt x="562" y="303"/>
                  <a:pt x="562" y="303"/>
                </a:cubicBezTo>
                <a:cubicBezTo>
                  <a:pt x="561" y="303"/>
                  <a:pt x="561" y="303"/>
                  <a:pt x="561" y="303"/>
                </a:cubicBezTo>
                <a:cubicBezTo>
                  <a:pt x="560" y="303"/>
                  <a:pt x="560" y="303"/>
                  <a:pt x="559" y="303"/>
                </a:cubicBezTo>
                <a:cubicBezTo>
                  <a:pt x="559" y="303"/>
                  <a:pt x="559" y="303"/>
                  <a:pt x="558" y="303"/>
                </a:cubicBezTo>
                <a:cubicBezTo>
                  <a:pt x="558" y="303"/>
                  <a:pt x="558" y="303"/>
                  <a:pt x="558" y="303"/>
                </a:cubicBezTo>
                <a:cubicBezTo>
                  <a:pt x="557" y="303"/>
                  <a:pt x="557" y="303"/>
                  <a:pt x="557" y="302"/>
                </a:cubicBezTo>
                <a:cubicBezTo>
                  <a:pt x="556" y="302"/>
                  <a:pt x="556" y="301"/>
                  <a:pt x="555" y="301"/>
                </a:cubicBezTo>
                <a:cubicBezTo>
                  <a:pt x="555" y="301"/>
                  <a:pt x="555" y="300"/>
                  <a:pt x="555" y="300"/>
                </a:cubicBezTo>
                <a:cubicBezTo>
                  <a:pt x="554" y="300"/>
                  <a:pt x="554" y="300"/>
                  <a:pt x="554" y="300"/>
                </a:cubicBezTo>
                <a:cubicBezTo>
                  <a:pt x="553" y="300"/>
                  <a:pt x="553" y="299"/>
                  <a:pt x="553" y="299"/>
                </a:cubicBezTo>
                <a:cubicBezTo>
                  <a:pt x="553" y="299"/>
                  <a:pt x="554" y="299"/>
                  <a:pt x="554" y="299"/>
                </a:cubicBezTo>
                <a:cubicBezTo>
                  <a:pt x="554" y="298"/>
                  <a:pt x="553" y="298"/>
                  <a:pt x="553" y="298"/>
                </a:cubicBezTo>
                <a:cubicBezTo>
                  <a:pt x="553" y="298"/>
                  <a:pt x="552" y="298"/>
                  <a:pt x="552" y="298"/>
                </a:cubicBezTo>
                <a:cubicBezTo>
                  <a:pt x="552" y="298"/>
                  <a:pt x="552" y="298"/>
                  <a:pt x="551" y="298"/>
                </a:cubicBezTo>
                <a:cubicBezTo>
                  <a:pt x="551" y="297"/>
                  <a:pt x="550" y="297"/>
                  <a:pt x="549" y="297"/>
                </a:cubicBezTo>
                <a:cubicBezTo>
                  <a:pt x="549" y="297"/>
                  <a:pt x="548" y="296"/>
                  <a:pt x="548" y="296"/>
                </a:cubicBezTo>
                <a:cubicBezTo>
                  <a:pt x="547" y="297"/>
                  <a:pt x="547" y="297"/>
                  <a:pt x="546" y="296"/>
                </a:cubicBezTo>
                <a:cubicBezTo>
                  <a:pt x="546" y="296"/>
                  <a:pt x="546" y="295"/>
                  <a:pt x="545" y="295"/>
                </a:cubicBezTo>
                <a:cubicBezTo>
                  <a:pt x="545" y="294"/>
                  <a:pt x="545" y="294"/>
                  <a:pt x="544" y="293"/>
                </a:cubicBezTo>
                <a:cubicBezTo>
                  <a:pt x="544" y="293"/>
                  <a:pt x="543" y="292"/>
                  <a:pt x="543" y="292"/>
                </a:cubicBezTo>
                <a:cubicBezTo>
                  <a:pt x="542" y="292"/>
                  <a:pt x="541" y="292"/>
                  <a:pt x="541" y="291"/>
                </a:cubicBezTo>
                <a:cubicBezTo>
                  <a:pt x="541" y="290"/>
                  <a:pt x="541" y="290"/>
                  <a:pt x="540" y="290"/>
                </a:cubicBezTo>
                <a:cubicBezTo>
                  <a:pt x="540" y="289"/>
                  <a:pt x="539" y="290"/>
                  <a:pt x="538" y="289"/>
                </a:cubicBezTo>
                <a:cubicBezTo>
                  <a:pt x="538" y="289"/>
                  <a:pt x="537" y="289"/>
                  <a:pt x="537" y="289"/>
                </a:cubicBezTo>
                <a:cubicBezTo>
                  <a:pt x="537" y="289"/>
                  <a:pt x="536" y="288"/>
                  <a:pt x="536" y="288"/>
                </a:cubicBezTo>
                <a:cubicBezTo>
                  <a:pt x="535" y="288"/>
                  <a:pt x="534" y="288"/>
                  <a:pt x="533" y="288"/>
                </a:cubicBezTo>
                <a:cubicBezTo>
                  <a:pt x="533" y="288"/>
                  <a:pt x="533" y="289"/>
                  <a:pt x="533" y="289"/>
                </a:cubicBezTo>
                <a:cubicBezTo>
                  <a:pt x="533" y="290"/>
                  <a:pt x="532" y="290"/>
                  <a:pt x="532" y="289"/>
                </a:cubicBezTo>
                <a:cubicBezTo>
                  <a:pt x="529" y="289"/>
                  <a:pt x="531" y="290"/>
                  <a:pt x="530" y="291"/>
                </a:cubicBezTo>
                <a:cubicBezTo>
                  <a:pt x="530" y="291"/>
                  <a:pt x="529" y="291"/>
                  <a:pt x="529" y="291"/>
                </a:cubicBezTo>
                <a:cubicBezTo>
                  <a:pt x="528" y="291"/>
                  <a:pt x="528" y="291"/>
                  <a:pt x="527" y="291"/>
                </a:cubicBezTo>
                <a:cubicBezTo>
                  <a:pt x="526" y="292"/>
                  <a:pt x="524" y="291"/>
                  <a:pt x="523" y="291"/>
                </a:cubicBezTo>
                <a:cubicBezTo>
                  <a:pt x="522" y="291"/>
                  <a:pt x="523" y="291"/>
                  <a:pt x="523" y="291"/>
                </a:cubicBezTo>
                <a:cubicBezTo>
                  <a:pt x="522" y="291"/>
                  <a:pt x="522" y="291"/>
                  <a:pt x="522" y="291"/>
                </a:cubicBezTo>
                <a:cubicBezTo>
                  <a:pt x="521" y="291"/>
                  <a:pt x="520" y="291"/>
                  <a:pt x="520" y="291"/>
                </a:cubicBezTo>
                <a:cubicBezTo>
                  <a:pt x="520" y="290"/>
                  <a:pt x="520" y="289"/>
                  <a:pt x="519" y="289"/>
                </a:cubicBezTo>
                <a:cubicBezTo>
                  <a:pt x="519" y="288"/>
                  <a:pt x="518" y="289"/>
                  <a:pt x="517" y="289"/>
                </a:cubicBezTo>
                <a:cubicBezTo>
                  <a:pt x="516" y="289"/>
                  <a:pt x="516" y="288"/>
                  <a:pt x="516" y="287"/>
                </a:cubicBezTo>
                <a:cubicBezTo>
                  <a:pt x="516" y="286"/>
                  <a:pt x="516" y="286"/>
                  <a:pt x="515" y="286"/>
                </a:cubicBezTo>
                <a:cubicBezTo>
                  <a:pt x="515" y="286"/>
                  <a:pt x="514" y="286"/>
                  <a:pt x="514" y="286"/>
                </a:cubicBezTo>
                <a:cubicBezTo>
                  <a:pt x="514" y="285"/>
                  <a:pt x="513" y="286"/>
                  <a:pt x="513" y="285"/>
                </a:cubicBezTo>
                <a:cubicBezTo>
                  <a:pt x="512" y="285"/>
                  <a:pt x="512" y="285"/>
                  <a:pt x="511" y="285"/>
                </a:cubicBezTo>
                <a:cubicBezTo>
                  <a:pt x="511" y="286"/>
                  <a:pt x="512" y="286"/>
                  <a:pt x="511" y="286"/>
                </a:cubicBezTo>
                <a:cubicBezTo>
                  <a:pt x="511" y="286"/>
                  <a:pt x="510" y="286"/>
                  <a:pt x="510" y="286"/>
                </a:cubicBezTo>
                <a:cubicBezTo>
                  <a:pt x="509" y="287"/>
                  <a:pt x="511" y="288"/>
                  <a:pt x="511" y="289"/>
                </a:cubicBezTo>
                <a:cubicBezTo>
                  <a:pt x="511" y="289"/>
                  <a:pt x="510" y="289"/>
                  <a:pt x="509" y="289"/>
                </a:cubicBezTo>
                <a:cubicBezTo>
                  <a:pt x="509" y="290"/>
                  <a:pt x="509" y="290"/>
                  <a:pt x="509" y="290"/>
                </a:cubicBezTo>
                <a:cubicBezTo>
                  <a:pt x="509" y="290"/>
                  <a:pt x="508" y="290"/>
                  <a:pt x="508" y="290"/>
                </a:cubicBezTo>
                <a:cubicBezTo>
                  <a:pt x="508" y="290"/>
                  <a:pt x="509" y="291"/>
                  <a:pt x="509" y="291"/>
                </a:cubicBezTo>
                <a:cubicBezTo>
                  <a:pt x="508" y="291"/>
                  <a:pt x="508" y="290"/>
                  <a:pt x="507" y="290"/>
                </a:cubicBezTo>
                <a:cubicBezTo>
                  <a:pt x="507" y="289"/>
                  <a:pt x="505" y="288"/>
                  <a:pt x="505" y="288"/>
                </a:cubicBezTo>
                <a:cubicBezTo>
                  <a:pt x="499" y="282"/>
                  <a:pt x="495" y="277"/>
                  <a:pt x="489" y="272"/>
                </a:cubicBezTo>
                <a:cubicBezTo>
                  <a:pt x="486" y="270"/>
                  <a:pt x="483" y="267"/>
                  <a:pt x="480" y="265"/>
                </a:cubicBezTo>
                <a:cubicBezTo>
                  <a:pt x="477" y="262"/>
                  <a:pt x="473" y="261"/>
                  <a:pt x="470" y="259"/>
                </a:cubicBezTo>
                <a:cubicBezTo>
                  <a:pt x="468" y="258"/>
                  <a:pt x="466" y="258"/>
                  <a:pt x="465" y="257"/>
                </a:cubicBezTo>
                <a:cubicBezTo>
                  <a:pt x="465" y="256"/>
                  <a:pt x="464" y="256"/>
                  <a:pt x="464" y="255"/>
                </a:cubicBezTo>
                <a:cubicBezTo>
                  <a:pt x="463" y="255"/>
                  <a:pt x="464" y="255"/>
                  <a:pt x="465" y="255"/>
                </a:cubicBezTo>
                <a:cubicBezTo>
                  <a:pt x="465" y="255"/>
                  <a:pt x="466" y="255"/>
                  <a:pt x="466" y="255"/>
                </a:cubicBezTo>
                <a:cubicBezTo>
                  <a:pt x="466" y="255"/>
                  <a:pt x="467" y="254"/>
                  <a:pt x="466" y="253"/>
                </a:cubicBezTo>
                <a:cubicBezTo>
                  <a:pt x="466" y="253"/>
                  <a:pt x="466" y="253"/>
                  <a:pt x="466" y="253"/>
                </a:cubicBezTo>
                <a:cubicBezTo>
                  <a:pt x="466" y="253"/>
                  <a:pt x="467" y="252"/>
                  <a:pt x="466" y="252"/>
                </a:cubicBezTo>
                <a:cubicBezTo>
                  <a:pt x="466" y="252"/>
                  <a:pt x="465" y="252"/>
                  <a:pt x="465" y="252"/>
                </a:cubicBezTo>
                <a:cubicBezTo>
                  <a:pt x="465" y="253"/>
                  <a:pt x="465" y="253"/>
                  <a:pt x="464" y="253"/>
                </a:cubicBezTo>
                <a:cubicBezTo>
                  <a:pt x="463" y="253"/>
                  <a:pt x="463" y="253"/>
                  <a:pt x="462" y="253"/>
                </a:cubicBezTo>
                <a:cubicBezTo>
                  <a:pt x="462" y="253"/>
                  <a:pt x="461" y="253"/>
                  <a:pt x="461" y="254"/>
                </a:cubicBezTo>
                <a:cubicBezTo>
                  <a:pt x="461" y="254"/>
                  <a:pt x="460" y="255"/>
                  <a:pt x="460" y="255"/>
                </a:cubicBezTo>
                <a:cubicBezTo>
                  <a:pt x="459" y="255"/>
                  <a:pt x="458" y="256"/>
                  <a:pt x="457" y="256"/>
                </a:cubicBezTo>
                <a:cubicBezTo>
                  <a:pt x="457" y="256"/>
                  <a:pt x="456" y="255"/>
                  <a:pt x="456" y="256"/>
                </a:cubicBezTo>
                <a:cubicBezTo>
                  <a:pt x="455" y="256"/>
                  <a:pt x="456" y="257"/>
                  <a:pt x="456" y="257"/>
                </a:cubicBezTo>
                <a:cubicBezTo>
                  <a:pt x="456" y="257"/>
                  <a:pt x="454" y="259"/>
                  <a:pt x="453" y="259"/>
                </a:cubicBezTo>
                <a:cubicBezTo>
                  <a:pt x="453" y="258"/>
                  <a:pt x="452" y="258"/>
                  <a:pt x="452" y="258"/>
                </a:cubicBezTo>
                <a:cubicBezTo>
                  <a:pt x="452" y="259"/>
                  <a:pt x="452" y="259"/>
                  <a:pt x="451" y="259"/>
                </a:cubicBezTo>
                <a:cubicBezTo>
                  <a:pt x="451" y="259"/>
                  <a:pt x="451" y="259"/>
                  <a:pt x="451" y="260"/>
                </a:cubicBezTo>
                <a:cubicBezTo>
                  <a:pt x="451" y="260"/>
                  <a:pt x="450" y="260"/>
                  <a:pt x="450" y="260"/>
                </a:cubicBezTo>
                <a:cubicBezTo>
                  <a:pt x="450" y="260"/>
                  <a:pt x="451" y="262"/>
                  <a:pt x="450" y="262"/>
                </a:cubicBezTo>
                <a:cubicBezTo>
                  <a:pt x="449" y="262"/>
                  <a:pt x="449" y="261"/>
                  <a:pt x="447" y="261"/>
                </a:cubicBezTo>
                <a:cubicBezTo>
                  <a:pt x="447" y="261"/>
                  <a:pt x="447" y="261"/>
                  <a:pt x="446" y="261"/>
                </a:cubicBezTo>
                <a:cubicBezTo>
                  <a:pt x="446" y="260"/>
                  <a:pt x="445" y="260"/>
                  <a:pt x="445" y="261"/>
                </a:cubicBezTo>
                <a:cubicBezTo>
                  <a:pt x="445" y="261"/>
                  <a:pt x="444" y="260"/>
                  <a:pt x="444" y="261"/>
                </a:cubicBezTo>
                <a:cubicBezTo>
                  <a:pt x="444" y="261"/>
                  <a:pt x="444" y="261"/>
                  <a:pt x="443" y="261"/>
                </a:cubicBezTo>
                <a:cubicBezTo>
                  <a:pt x="443" y="261"/>
                  <a:pt x="443" y="261"/>
                  <a:pt x="443" y="262"/>
                </a:cubicBezTo>
                <a:cubicBezTo>
                  <a:pt x="443" y="262"/>
                  <a:pt x="442" y="263"/>
                  <a:pt x="442" y="263"/>
                </a:cubicBezTo>
                <a:cubicBezTo>
                  <a:pt x="442" y="262"/>
                  <a:pt x="442" y="262"/>
                  <a:pt x="441" y="262"/>
                </a:cubicBezTo>
                <a:cubicBezTo>
                  <a:pt x="441" y="261"/>
                  <a:pt x="440" y="261"/>
                  <a:pt x="440" y="261"/>
                </a:cubicBezTo>
                <a:cubicBezTo>
                  <a:pt x="440" y="260"/>
                  <a:pt x="440" y="260"/>
                  <a:pt x="440" y="260"/>
                </a:cubicBezTo>
                <a:cubicBezTo>
                  <a:pt x="440" y="260"/>
                  <a:pt x="440" y="259"/>
                  <a:pt x="440" y="259"/>
                </a:cubicBezTo>
                <a:cubicBezTo>
                  <a:pt x="440" y="259"/>
                  <a:pt x="441" y="259"/>
                  <a:pt x="441" y="259"/>
                </a:cubicBezTo>
                <a:cubicBezTo>
                  <a:pt x="440" y="258"/>
                  <a:pt x="441" y="258"/>
                  <a:pt x="441" y="258"/>
                </a:cubicBezTo>
                <a:cubicBezTo>
                  <a:pt x="442" y="258"/>
                  <a:pt x="442" y="258"/>
                  <a:pt x="443" y="258"/>
                </a:cubicBezTo>
                <a:cubicBezTo>
                  <a:pt x="443" y="258"/>
                  <a:pt x="442" y="256"/>
                  <a:pt x="442" y="256"/>
                </a:cubicBezTo>
                <a:cubicBezTo>
                  <a:pt x="442" y="256"/>
                  <a:pt x="442" y="256"/>
                  <a:pt x="441" y="256"/>
                </a:cubicBezTo>
                <a:cubicBezTo>
                  <a:pt x="441" y="256"/>
                  <a:pt x="441" y="257"/>
                  <a:pt x="441" y="257"/>
                </a:cubicBezTo>
                <a:cubicBezTo>
                  <a:pt x="441" y="257"/>
                  <a:pt x="441" y="257"/>
                  <a:pt x="441" y="257"/>
                </a:cubicBezTo>
                <a:cubicBezTo>
                  <a:pt x="441" y="257"/>
                  <a:pt x="440" y="257"/>
                  <a:pt x="440" y="257"/>
                </a:cubicBezTo>
                <a:cubicBezTo>
                  <a:pt x="440" y="257"/>
                  <a:pt x="439" y="257"/>
                  <a:pt x="439" y="257"/>
                </a:cubicBezTo>
                <a:cubicBezTo>
                  <a:pt x="437" y="257"/>
                  <a:pt x="437" y="257"/>
                  <a:pt x="436" y="256"/>
                </a:cubicBezTo>
                <a:cubicBezTo>
                  <a:pt x="436" y="255"/>
                  <a:pt x="434" y="255"/>
                  <a:pt x="433" y="255"/>
                </a:cubicBezTo>
                <a:cubicBezTo>
                  <a:pt x="433" y="255"/>
                  <a:pt x="432" y="256"/>
                  <a:pt x="432" y="256"/>
                </a:cubicBezTo>
                <a:cubicBezTo>
                  <a:pt x="433" y="256"/>
                  <a:pt x="433" y="256"/>
                  <a:pt x="434" y="256"/>
                </a:cubicBezTo>
                <a:cubicBezTo>
                  <a:pt x="434" y="256"/>
                  <a:pt x="434" y="257"/>
                  <a:pt x="434" y="257"/>
                </a:cubicBezTo>
                <a:cubicBezTo>
                  <a:pt x="434" y="257"/>
                  <a:pt x="433" y="257"/>
                  <a:pt x="433" y="257"/>
                </a:cubicBezTo>
                <a:cubicBezTo>
                  <a:pt x="433" y="257"/>
                  <a:pt x="433" y="258"/>
                  <a:pt x="432" y="258"/>
                </a:cubicBezTo>
                <a:cubicBezTo>
                  <a:pt x="432" y="257"/>
                  <a:pt x="432" y="257"/>
                  <a:pt x="432" y="257"/>
                </a:cubicBezTo>
                <a:cubicBezTo>
                  <a:pt x="432" y="256"/>
                  <a:pt x="431" y="256"/>
                  <a:pt x="431" y="256"/>
                </a:cubicBezTo>
                <a:cubicBezTo>
                  <a:pt x="431" y="256"/>
                  <a:pt x="431" y="256"/>
                  <a:pt x="432" y="255"/>
                </a:cubicBezTo>
                <a:cubicBezTo>
                  <a:pt x="431" y="255"/>
                  <a:pt x="431" y="255"/>
                  <a:pt x="430" y="255"/>
                </a:cubicBezTo>
                <a:cubicBezTo>
                  <a:pt x="430" y="254"/>
                  <a:pt x="430" y="254"/>
                  <a:pt x="430" y="254"/>
                </a:cubicBezTo>
                <a:cubicBezTo>
                  <a:pt x="429" y="253"/>
                  <a:pt x="428" y="253"/>
                  <a:pt x="427" y="253"/>
                </a:cubicBezTo>
                <a:cubicBezTo>
                  <a:pt x="427" y="253"/>
                  <a:pt x="428" y="253"/>
                  <a:pt x="428" y="253"/>
                </a:cubicBezTo>
                <a:cubicBezTo>
                  <a:pt x="428" y="254"/>
                  <a:pt x="428" y="254"/>
                  <a:pt x="428" y="254"/>
                </a:cubicBezTo>
                <a:cubicBezTo>
                  <a:pt x="428" y="254"/>
                  <a:pt x="430" y="255"/>
                  <a:pt x="429" y="255"/>
                </a:cubicBezTo>
                <a:cubicBezTo>
                  <a:pt x="429" y="255"/>
                  <a:pt x="428" y="255"/>
                  <a:pt x="428" y="254"/>
                </a:cubicBezTo>
                <a:cubicBezTo>
                  <a:pt x="427" y="254"/>
                  <a:pt x="426" y="254"/>
                  <a:pt x="426" y="254"/>
                </a:cubicBezTo>
                <a:cubicBezTo>
                  <a:pt x="425" y="254"/>
                  <a:pt x="426" y="256"/>
                  <a:pt x="424" y="255"/>
                </a:cubicBezTo>
                <a:cubicBezTo>
                  <a:pt x="424" y="255"/>
                  <a:pt x="424" y="256"/>
                  <a:pt x="424" y="255"/>
                </a:cubicBezTo>
                <a:cubicBezTo>
                  <a:pt x="423" y="255"/>
                  <a:pt x="423" y="255"/>
                  <a:pt x="423" y="255"/>
                </a:cubicBezTo>
                <a:cubicBezTo>
                  <a:pt x="423" y="255"/>
                  <a:pt x="422" y="254"/>
                  <a:pt x="422" y="255"/>
                </a:cubicBezTo>
                <a:cubicBezTo>
                  <a:pt x="422" y="255"/>
                  <a:pt x="421" y="256"/>
                  <a:pt x="421" y="255"/>
                </a:cubicBezTo>
                <a:cubicBezTo>
                  <a:pt x="420" y="255"/>
                  <a:pt x="420" y="255"/>
                  <a:pt x="420" y="254"/>
                </a:cubicBezTo>
                <a:cubicBezTo>
                  <a:pt x="420" y="254"/>
                  <a:pt x="419" y="254"/>
                  <a:pt x="419" y="253"/>
                </a:cubicBezTo>
                <a:cubicBezTo>
                  <a:pt x="419" y="253"/>
                  <a:pt x="419" y="253"/>
                  <a:pt x="420" y="253"/>
                </a:cubicBezTo>
                <a:cubicBezTo>
                  <a:pt x="421" y="254"/>
                  <a:pt x="420" y="253"/>
                  <a:pt x="420" y="252"/>
                </a:cubicBezTo>
                <a:cubicBezTo>
                  <a:pt x="419" y="252"/>
                  <a:pt x="419" y="251"/>
                  <a:pt x="419" y="251"/>
                </a:cubicBezTo>
                <a:cubicBezTo>
                  <a:pt x="419" y="250"/>
                  <a:pt x="420" y="250"/>
                  <a:pt x="420" y="250"/>
                </a:cubicBezTo>
                <a:cubicBezTo>
                  <a:pt x="419" y="249"/>
                  <a:pt x="417" y="249"/>
                  <a:pt x="417" y="248"/>
                </a:cubicBezTo>
                <a:cubicBezTo>
                  <a:pt x="417" y="248"/>
                  <a:pt x="416" y="248"/>
                  <a:pt x="416" y="247"/>
                </a:cubicBezTo>
                <a:cubicBezTo>
                  <a:pt x="416" y="247"/>
                  <a:pt x="416" y="247"/>
                  <a:pt x="416" y="247"/>
                </a:cubicBezTo>
                <a:cubicBezTo>
                  <a:pt x="416" y="246"/>
                  <a:pt x="416" y="245"/>
                  <a:pt x="415" y="245"/>
                </a:cubicBezTo>
                <a:cubicBezTo>
                  <a:pt x="415" y="245"/>
                  <a:pt x="414" y="244"/>
                  <a:pt x="413" y="244"/>
                </a:cubicBezTo>
                <a:cubicBezTo>
                  <a:pt x="413" y="244"/>
                  <a:pt x="413" y="243"/>
                  <a:pt x="413" y="243"/>
                </a:cubicBezTo>
                <a:cubicBezTo>
                  <a:pt x="412" y="243"/>
                  <a:pt x="412" y="243"/>
                  <a:pt x="411" y="243"/>
                </a:cubicBezTo>
                <a:cubicBezTo>
                  <a:pt x="410" y="243"/>
                  <a:pt x="411" y="244"/>
                  <a:pt x="410" y="244"/>
                </a:cubicBezTo>
                <a:cubicBezTo>
                  <a:pt x="409" y="245"/>
                  <a:pt x="408" y="244"/>
                  <a:pt x="407" y="244"/>
                </a:cubicBezTo>
                <a:cubicBezTo>
                  <a:pt x="406" y="244"/>
                  <a:pt x="406" y="243"/>
                  <a:pt x="405" y="243"/>
                </a:cubicBezTo>
                <a:cubicBezTo>
                  <a:pt x="404" y="243"/>
                  <a:pt x="403" y="243"/>
                  <a:pt x="403" y="243"/>
                </a:cubicBezTo>
                <a:cubicBezTo>
                  <a:pt x="402" y="243"/>
                  <a:pt x="401" y="242"/>
                  <a:pt x="401" y="243"/>
                </a:cubicBezTo>
                <a:cubicBezTo>
                  <a:pt x="400" y="243"/>
                  <a:pt x="400" y="242"/>
                  <a:pt x="399" y="242"/>
                </a:cubicBezTo>
                <a:cubicBezTo>
                  <a:pt x="399" y="242"/>
                  <a:pt x="398" y="242"/>
                  <a:pt x="398" y="242"/>
                </a:cubicBezTo>
                <a:cubicBezTo>
                  <a:pt x="397" y="242"/>
                  <a:pt x="398" y="242"/>
                  <a:pt x="398" y="243"/>
                </a:cubicBezTo>
                <a:cubicBezTo>
                  <a:pt x="399" y="243"/>
                  <a:pt x="399" y="244"/>
                  <a:pt x="398" y="243"/>
                </a:cubicBezTo>
                <a:cubicBezTo>
                  <a:pt x="397" y="243"/>
                  <a:pt x="397" y="243"/>
                  <a:pt x="396" y="243"/>
                </a:cubicBezTo>
                <a:cubicBezTo>
                  <a:pt x="396" y="243"/>
                  <a:pt x="396" y="243"/>
                  <a:pt x="396" y="243"/>
                </a:cubicBezTo>
                <a:cubicBezTo>
                  <a:pt x="396" y="244"/>
                  <a:pt x="396" y="244"/>
                  <a:pt x="396" y="244"/>
                </a:cubicBezTo>
                <a:cubicBezTo>
                  <a:pt x="396" y="244"/>
                  <a:pt x="395" y="244"/>
                  <a:pt x="395" y="244"/>
                </a:cubicBezTo>
                <a:cubicBezTo>
                  <a:pt x="395" y="244"/>
                  <a:pt x="393" y="244"/>
                  <a:pt x="393" y="245"/>
                </a:cubicBezTo>
                <a:cubicBezTo>
                  <a:pt x="393" y="245"/>
                  <a:pt x="394" y="246"/>
                  <a:pt x="394" y="246"/>
                </a:cubicBezTo>
                <a:cubicBezTo>
                  <a:pt x="394" y="246"/>
                  <a:pt x="394" y="246"/>
                  <a:pt x="393" y="247"/>
                </a:cubicBezTo>
                <a:cubicBezTo>
                  <a:pt x="393" y="247"/>
                  <a:pt x="392" y="247"/>
                  <a:pt x="391" y="247"/>
                </a:cubicBezTo>
                <a:cubicBezTo>
                  <a:pt x="390" y="246"/>
                  <a:pt x="391" y="247"/>
                  <a:pt x="390" y="248"/>
                </a:cubicBezTo>
                <a:cubicBezTo>
                  <a:pt x="389" y="248"/>
                  <a:pt x="389" y="248"/>
                  <a:pt x="388" y="248"/>
                </a:cubicBezTo>
                <a:cubicBezTo>
                  <a:pt x="388" y="248"/>
                  <a:pt x="387" y="248"/>
                  <a:pt x="386" y="248"/>
                </a:cubicBezTo>
                <a:cubicBezTo>
                  <a:pt x="386" y="248"/>
                  <a:pt x="386" y="248"/>
                  <a:pt x="386" y="248"/>
                </a:cubicBezTo>
                <a:cubicBezTo>
                  <a:pt x="386" y="248"/>
                  <a:pt x="385" y="248"/>
                  <a:pt x="385" y="248"/>
                </a:cubicBezTo>
                <a:cubicBezTo>
                  <a:pt x="384" y="249"/>
                  <a:pt x="383" y="249"/>
                  <a:pt x="383" y="249"/>
                </a:cubicBezTo>
                <a:cubicBezTo>
                  <a:pt x="382" y="249"/>
                  <a:pt x="382" y="249"/>
                  <a:pt x="381" y="249"/>
                </a:cubicBezTo>
                <a:cubicBezTo>
                  <a:pt x="380" y="249"/>
                  <a:pt x="379" y="250"/>
                  <a:pt x="377" y="250"/>
                </a:cubicBezTo>
                <a:cubicBezTo>
                  <a:pt x="376" y="250"/>
                  <a:pt x="377" y="249"/>
                  <a:pt x="376" y="249"/>
                </a:cubicBezTo>
                <a:cubicBezTo>
                  <a:pt x="375" y="250"/>
                  <a:pt x="375" y="251"/>
                  <a:pt x="375" y="250"/>
                </a:cubicBezTo>
                <a:cubicBezTo>
                  <a:pt x="374" y="250"/>
                  <a:pt x="372" y="250"/>
                  <a:pt x="373" y="251"/>
                </a:cubicBezTo>
                <a:cubicBezTo>
                  <a:pt x="373" y="251"/>
                  <a:pt x="372" y="251"/>
                  <a:pt x="372" y="251"/>
                </a:cubicBezTo>
                <a:cubicBezTo>
                  <a:pt x="371" y="251"/>
                  <a:pt x="371" y="251"/>
                  <a:pt x="371" y="252"/>
                </a:cubicBezTo>
                <a:cubicBezTo>
                  <a:pt x="371" y="252"/>
                  <a:pt x="372" y="253"/>
                  <a:pt x="371" y="253"/>
                </a:cubicBezTo>
                <a:cubicBezTo>
                  <a:pt x="371" y="254"/>
                  <a:pt x="370" y="253"/>
                  <a:pt x="370" y="253"/>
                </a:cubicBezTo>
                <a:cubicBezTo>
                  <a:pt x="369" y="252"/>
                  <a:pt x="369" y="253"/>
                  <a:pt x="368" y="253"/>
                </a:cubicBezTo>
                <a:cubicBezTo>
                  <a:pt x="367" y="253"/>
                  <a:pt x="367" y="253"/>
                  <a:pt x="366" y="253"/>
                </a:cubicBezTo>
                <a:cubicBezTo>
                  <a:pt x="366" y="253"/>
                  <a:pt x="365" y="253"/>
                  <a:pt x="364" y="253"/>
                </a:cubicBezTo>
                <a:cubicBezTo>
                  <a:pt x="364" y="253"/>
                  <a:pt x="363" y="253"/>
                  <a:pt x="362" y="253"/>
                </a:cubicBezTo>
                <a:cubicBezTo>
                  <a:pt x="362" y="253"/>
                  <a:pt x="361" y="254"/>
                  <a:pt x="362" y="254"/>
                </a:cubicBezTo>
                <a:cubicBezTo>
                  <a:pt x="362" y="254"/>
                  <a:pt x="362" y="255"/>
                  <a:pt x="361" y="255"/>
                </a:cubicBezTo>
                <a:cubicBezTo>
                  <a:pt x="361" y="254"/>
                  <a:pt x="360" y="254"/>
                  <a:pt x="359" y="254"/>
                </a:cubicBezTo>
                <a:cubicBezTo>
                  <a:pt x="359" y="255"/>
                  <a:pt x="358" y="255"/>
                  <a:pt x="357" y="255"/>
                </a:cubicBezTo>
                <a:cubicBezTo>
                  <a:pt x="357" y="255"/>
                  <a:pt x="356" y="255"/>
                  <a:pt x="356" y="255"/>
                </a:cubicBezTo>
                <a:cubicBezTo>
                  <a:pt x="355" y="255"/>
                  <a:pt x="356" y="255"/>
                  <a:pt x="355" y="256"/>
                </a:cubicBezTo>
                <a:cubicBezTo>
                  <a:pt x="355" y="256"/>
                  <a:pt x="354" y="256"/>
                  <a:pt x="354" y="256"/>
                </a:cubicBezTo>
                <a:cubicBezTo>
                  <a:pt x="353" y="256"/>
                  <a:pt x="353" y="256"/>
                  <a:pt x="353" y="256"/>
                </a:cubicBezTo>
                <a:cubicBezTo>
                  <a:pt x="353" y="256"/>
                  <a:pt x="352" y="256"/>
                  <a:pt x="352" y="256"/>
                </a:cubicBezTo>
                <a:cubicBezTo>
                  <a:pt x="352" y="256"/>
                  <a:pt x="351" y="256"/>
                  <a:pt x="351" y="257"/>
                </a:cubicBezTo>
                <a:cubicBezTo>
                  <a:pt x="352" y="257"/>
                  <a:pt x="351" y="257"/>
                  <a:pt x="351" y="257"/>
                </a:cubicBezTo>
                <a:cubicBezTo>
                  <a:pt x="352" y="259"/>
                  <a:pt x="350" y="257"/>
                  <a:pt x="350" y="257"/>
                </a:cubicBezTo>
                <a:cubicBezTo>
                  <a:pt x="351" y="256"/>
                  <a:pt x="348" y="256"/>
                  <a:pt x="348" y="256"/>
                </a:cubicBezTo>
                <a:cubicBezTo>
                  <a:pt x="348" y="257"/>
                  <a:pt x="347" y="256"/>
                  <a:pt x="347" y="257"/>
                </a:cubicBezTo>
                <a:cubicBezTo>
                  <a:pt x="346" y="257"/>
                  <a:pt x="347" y="257"/>
                  <a:pt x="346" y="257"/>
                </a:cubicBezTo>
                <a:cubicBezTo>
                  <a:pt x="346" y="257"/>
                  <a:pt x="346" y="257"/>
                  <a:pt x="346" y="257"/>
                </a:cubicBezTo>
                <a:cubicBezTo>
                  <a:pt x="345" y="257"/>
                  <a:pt x="345" y="257"/>
                  <a:pt x="345" y="257"/>
                </a:cubicBezTo>
                <a:cubicBezTo>
                  <a:pt x="345" y="257"/>
                  <a:pt x="344" y="257"/>
                  <a:pt x="344" y="257"/>
                </a:cubicBezTo>
                <a:cubicBezTo>
                  <a:pt x="344" y="257"/>
                  <a:pt x="344" y="257"/>
                  <a:pt x="343" y="257"/>
                </a:cubicBezTo>
                <a:cubicBezTo>
                  <a:pt x="343" y="257"/>
                  <a:pt x="343" y="257"/>
                  <a:pt x="343" y="257"/>
                </a:cubicBezTo>
                <a:cubicBezTo>
                  <a:pt x="343" y="257"/>
                  <a:pt x="342" y="256"/>
                  <a:pt x="341" y="256"/>
                </a:cubicBezTo>
                <a:cubicBezTo>
                  <a:pt x="341" y="256"/>
                  <a:pt x="340" y="256"/>
                  <a:pt x="340" y="257"/>
                </a:cubicBezTo>
                <a:cubicBezTo>
                  <a:pt x="340" y="257"/>
                  <a:pt x="341" y="258"/>
                  <a:pt x="340" y="258"/>
                </a:cubicBezTo>
                <a:cubicBezTo>
                  <a:pt x="340" y="257"/>
                  <a:pt x="340" y="257"/>
                  <a:pt x="339" y="257"/>
                </a:cubicBezTo>
                <a:cubicBezTo>
                  <a:pt x="339" y="257"/>
                  <a:pt x="338" y="257"/>
                  <a:pt x="339" y="258"/>
                </a:cubicBezTo>
                <a:cubicBezTo>
                  <a:pt x="339" y="258"/>
                  <a:pt x="339" y="258"/>
                  <a:pt x="340" y="258"/>
                </a:cubicBezTo>
                <a:cubicBezTo>
                  <a:pt x="340" y="258"/>
                  <a:pt x="340" y="258"/>
                  <a:pt x="341" y="259"/>
                </a:cubicBezTo>
                <a:cubicBezTo>
                  <a:pt x="341" y="259"/>
                  <a:pt x="340" y="259"/>
                  <a:pt x="340" y="260"/>
                </a:cubicBezTo>
                <a:cubicBezTo>
                  <a:pt x="340" y="260"/>
                  <a:pt x="340" y="260"/>
                  <a:pt x="340" y="260"/>
                </a:cubicBezTo>
                <a:cubicBezTo>
                  <a:pt x="340" y="260"/>
                  <a:pt x="340" y="260"/>
                  <a:pt x="340" y="260"/>
                </a:cubicBezTo>
                <a:cubicBezTo>
                  <a:pt x="340" y="261"/>
                  <a:pt x="340" y="260"/>
                  <a:pt x="339" y="260"/>
                </a:cubicBezTo>
                <a:cubicBezTo>
                  <a:pt x="339" y="260"/>
                  <a:pt x="339" y="261"/>
                  <a:pt x="339" y="261"/>
                </a:cubicBezTo>
                <a:cubicBezTo>
                  <a:pt x="340" y="261"/>
                  <a:pt x="341" y="261"/>
                  <a:pt x="342" y="261"/>
                </a:cubicBezTo>
                <a:cubicBezTo>
                  <a:pt x="342" y="262"/>
                  <a:pt x="343" y="262"/>
                  <a:pt x="343" y="261"/>
                </a:cubicBezTo>
                <a:cubicBezTo>
                  <a:pt x="343" y="260"/>
                  <a:pt x="345" y="262"/>
                  <a:pt x="345" y="262"/>
                </a:cubicBezTo>
                <a:cubicBezTo>
                  <a:pt x="344" y="262"/>
                  <a:pt x="344" y="263"/>
                  <a:pt x="343" y="262"/>
                </a:cubicBezTo>
                <a:cubicBezTo>
                  <a:pt x="343" y="262"/>
                  <a:pt x="343" y="262"/>
                  <a:pt x="342" y="262"/>
                </a:cubicBezTo>
                <a:cubicBezTo>
                  <a:pt x="342" y="262"/>
                  <a:pt x="342" y="263"/>
                  <a:pt x="342" y="263"/>
                </a:cubicBezTo>
                <a:cubicBezTo>
                  <a:pt x="342" y="263"/>
                  <a:pt x="342" y="264"/>
                  <a:pt x="342" y="264"/>
                </a:cubicBezTo>
                <a:cubicBezTo>
                  <a:pt x="343" y="264"/>
                  <a:pt x="343" y="264"/>
                  <a:pt x="343" y="264"/>
                </a:cubicBezTo>
                <a:cubicBezTo>
                  <a:pt x="344" y="264"/>
                  <a:pt x="344" y="265"/>
                  <a:pt x="345" y="265"/>
                </a:cubicBezTo>
                <a:cubicBezTo>
                  <a:pt x="346" y="265"/>
                  <a:pt x="346" y="265"/>
                  <a:pt x="346" y="265"/>
                </a:cubicBezTo>
                <a:cubicBezTo>
                  <a:pt x="347" y="265"/>
                  <a:pt x="347" y="265"/>
                  <a:pt x="348" y="265"/>
                </a:cubicBezTo>
                <a:cubicBezTo>
                  <a:pt x="348" y="266"/>
                  <a:pt x="351" y="265"/>
                  <a:pt x="351" y="267"/>
                </a:cubicBezTo>
                <a:cubicBezTo>
                  <a:pt x="351" y="268"/>
                  <a:pt x="349" y="267"/>
                  <a:pt x="348" y="267"/>
                </a:cubicBezTo>
                <a:cubicBezTo>
                  <a:pt x="348" y="267"/>
                  <a:pt x="347" y="268"/>
                  <a:pt x="346" y="267"/>
                </a:cubicBezTo>
                <a:cubicBezTo>
                  <a:pt x="346" y="267"/>
                  <a:pt x="346" y="267"/>
                  <a:pt x="345" y="267"/>
                </a:cubicBezTo>
                <a:cubicBezTo>
                  <a:pt x="345" y="267"/>
                  <a:pt x="344" y="267"/>
                  <a:pt x="343" y="267"/>
                </a:cubicBezTo>
                <a:cubicBezTo>
                  <a:pt x="343" y="267"/>
                  <a:pt x="342" y="267"/>
                  <a:pt x="342" y="267"/>
                </a:cubicBezTo>
                <a:cubicBezTo>
                  <a:pt x="344" y="269"/>
                  <a:pt x="339" y="270"/>
                  <a:pt x="340" y="271"/>
                </a:cubicBezTo>
                <a:cubicBezTo>
                  <a:pt x="341" y="271"/>
                  <a:pt x="342" y="271"/>
                  <a:pt x="342" y="271"/>
                </a:cubicBezTo>
                <a:cubicBezTo>
                  <a:pt x="342" y="272"/>
                  <a:pt x="342" y="272"/>
                  <a:pt x="342" y="272"/>
                </a:cubicBezTo>
                <a:cubicBezTo>
                  <a:pt x="343" y="273"/>
                  <a:pt x="344" y="273"/>
                  <a:pt x="344" y="274"/>
                </a:cubicBezTo>
                <a:cubicBezTo>
                  <a:pt x="344" y="274"/>
                  <a:pt x="343" y="275"/>
                  <a:pt x="343" y="275"/>
                </a:cubicBezTo>
                <a:cubicBezTo>
                  <a:pt x="342" y="276"/>
                  <a:pt x="342" y="276"/>
                  <a:pt x="341" y="276"/>
                </a:cubicBezTo>
                <a:cubicBezTo>
                  <a:pt x="340" y="276"/>
                  <a:pt x="340" y="277"/>
                  <a:pt x="339" y="277"/>
                </a:cubicBezTo>
                <a:cubicBezTo>
                  <a:pt x="338" y="278"/>
                  <a:pt x="337" y="277"/>
                  <a:pt x="337" y="278"/>
                </a:cubicBezTo>
                <a:cubicBezTo>
                  <a:pt x="337" y="279"/>
                  <a:pt x="338" y="279"/>
                  <a:pt x="338" y="279"/>
                </a:cubicBezTo>
                <a:cubicBezTo>
                  <a:pt x="338" y="279"/>
                  <a:pt x="340" y="280"/>
                  <a:pt x="341" y="280"/>
                </a:cubicBezTo>
                <a:cubicBezTo>
                  <a:pt x="341" y="280"/>
                  <a:pt x="342" y="280"/>
                  <a:pt x="341" y="281"/>
                </a:cubicBezTo>
                <a:cubicBezTo>
                  <a:pt x="341" y="281"/>
                  <a:pt x="341" y="281"/>
                  <a:pt x="341" y="281"/>
                </a:cubicBezTo>
                <a:cubicBezTo>
                  <a:pt x="341" y="281"/>
                  <a:pt x="342" y="281"/>
                  <a:pt x="342" y="282"/>
                </a:cubicBezTo>
                <a:cubicBezTo>
                  <a:pt x="343" y="282"/>
                  <a:pt x="345" y="281"/>
                  <a:pt x="346" y="282"/>
                </a:cubicBezTo>
                <a:cubicBezTo>
                  <a:pt x="346" y="283"/>
                  <a:pt x="347" y="283"/>
                  <a:pt x="348" y="283"/>
                </a:cubicBezTo>
                <a:cubicBezTo>
                  <a:pt x="349" y="283"/>
                  <a:pt x="350" y="283"/>
                  <a:pt x="351" y="284"/>
                </a:cubicBezTo>
                <a:cubicBezTo>
                  <a:pt x="352" y="284"/>
                  <a:pt x="352" y="285"/>
                  <a:pt x="353" y="285"/>
                </a:cubicBezTo>
                <a:cubicBezTo>
                  <a:pt x="351" y="286"/>
                  <a:pt x="352" y="287"/>
                  <a:pt x="352" y="288"/>
                </a:cubicBezTo>
                <a:cubicBezTo>
                  <a:pt x="353" y="290"/>
                  <a:pt x="352" y="291"/>
                  <a:pt x="351" y="291"/>
                </a:cubicBezTo>
                <a:cubicBezTo>
                  <a:pt x="348" y="292"/>
                  <a:pt x="346" y="292"/>
                  <a:pt x="344" y="292"/>
                </a:cubicBezTo>
                <a:cubicBezTo>
                  <a:pt x="343" y="292"/>
                  <a:pt x="343" y="291"/>
                  <a:pt x="342" y="291"/>
                </a:cubicBezTo>
                <a:cubicBezTo>
                  <a:pt x="342" y="291"/>
                  <a:pt x="342" y="290"/>
                  <a:pt x="342" y="290"/>
                </a:cubicBezTo>
                <a:cubicBezTo>
                  <a:pt x="341" y="290"/>
                  <a:pt x="340" y="290"/>
                  <a:pt x="340" y="290"/>
                </a:cubicBezTo>
                <a:cubicBezTo>
                  <a:pt x="340" y="290"/>
                  <a:pt x="340" y="290"/>
                  <a:pt x="340" y="290"/>
                </a:cubicBezTo>
                <a:cubicBezTo>
                  <a:pt x="340" y="291"/>
                  <a:pt x="340" y="292"/>
                  <a:pt x="340" y="293"/>
                </a:cubicBezTo>
                <a:cubicBezTo>
                  <a:pt x="339" y="293"/>
                  <a:pt x="339" y="293"/>
                  <a:pt x="338" y="293"/>
                </a:cubicBezTo>
                <a:cubicBezTo>
                  <a:pt x="338" y="294"/>
                  <a:pt x="338" y="294"/>
                  <a:pt x="337" y="294"/>
                </a:cubicBezTo>
                <a:cubicBezTo>
                  <a:pt x="336" y="293"/>
                  <a:pt x="338" y="293"/>
                  <a:pt x="337" y="293"/>
                </a:cubicBezTo>
                <a:cubicBezTo>
                  <a:pt x="337" y="292"/>
                  <a:pt x="336" y="292"/>
                  <a:pt x="336" y="292"/>
                </a:cubicBezTo>
                <a:cubicBezTo>
                  <a:pt x="335" y="292"/>
                  <a:pt x="335" y="292"/>
                  <a:pt x="334" y="292"/>
                </a:cubicBezTo>
                <a:cubicBezTo>
                  <a:pt x="334" y="292"/>
                  <a:pt x="333" y="292"/>
                  <a:pt x="333" y="292"/>
                </a:cubicBezTo>
                <a:cubicBezTo>
                  <a:pt x="332" y="292"/>
                  <a:pt x="331" y="292"/>
                  <a:pt x="331" y="291"/>
                </a:cubicBezTo>
                <a:cubicBezTo>
                  <a:pt x="330" y="291"/>
                  <a:pt x="330" y="290"/>
                  <a:pt x="330" y="290"/>
                </a:cubicBezTo>
                <a:cubicBezTo>
                  <a:pt x="329" y="290"/>
                  <a:pt x="329" y="290"/>
                  <a:pt x="329" y="290"/>
                </a:cubicBezTo>
                <a:cubicBezTo>
                  <a:pt x="327" y="290"/>
                  <a:pt x="329" y="288"/>
                  <a:pt x="328" y="288"/>
                </a:cubicBezTo>
                <a:cubicBezTo>
                  <a:pt x="327" y="287"/>
                  <a:pt x="327" y="288"/>
                  <a:pt x="326" y="287"/>
                </a:cubicBezTo>
                <a:cubicBezTo>
                  <a:pt x="326" y="287"/>
                  <a:pt x="326" y="287"/>
                  <a:pt x="325" y="287"/>
                </a:cubicBezTo>
                <a:cubicBezTo>
                  <a:pt x="324" y="286"/>
                  <a:pt x="325" y="288"/>
                  <a:pt x="324" y="287"/>
                </a:cubicBezTo>
                <a:cubicBezTo>
                  <a:pt x="323" y="287"/>
                  <a:pt x="323" y="288"/>
                  <a:pt x="322" y="287"/>
                </a:cubicBezTo>
                <a:cubicBezTo>
                  <a:pt x="322" y="287"/>
                  <a:pt x="321" y="287"/>
                  <a:pt x="321" y="287"/>
                </a:cubicBezTo>
                <a:cubicBezTo>
                  <a:pt x="320" y="287"/>
                  <a:pt x="322" y="289"/>
                  <a:pt x="321" y="289"/>
                </a:cubicBezTo>
                <a:cubicBezTo>
                  <a:pt x="320" y="289"/>
                  <a:pt x="320" y="289"/>
                  <a:pt x="319" y="289"/>
                </a:cubicBezTo>
                <a:cubicBezTo>
                  <a:pt x="319" y="290"/>
                  <a:pt x="319" y="290"/>
                  <a:pt x="318" y="290"/>
                </a:cubicBezTo>
                <a:cubicBezTo>
                  <a:pt x="318" y="289"/>
                  <a:pt x="318" y="289"/>
                  <a:pt x="317" y="289"/>
                </a:cubicBezTo>
                <a:cubicBezTo>
                  <a:pt x="317" y="288"/>
                  <a:pt x="316" y="288"/>
                  <a:pt x="316" y="287"/>
                </a:cubicBezTo>
                <a:cubicBezTo>
                  <a:pt x="316" y="287"/>
                  <a:pt x="315" y="287"/>
                  <a:pt x="315" y="288"/>
                </a:cubicBezTo>
                <a:cubicBezTo>
                  <a:pt x="314" y="288"/>
                  <a:pt x="314" y="288"/>
                  <a:pt x="313" y="288"/>
                </a:cubicBezTo>
                <a:cubicBezTo>
                  <a:pt x="312" y="287"/>
                  <a:pt x="312" y="287"/>
                  <a:pt x="312" y="288"/>
                </a:cubicBezTo>
                <a:cubicBezTo>
                  <a:pt x="312" y="289"/>
                  <a:pt x="311" y="288"/>
                  <a:pt x="311" y="288"/>
                </a:cubicBezTo>
                <a:cubicBezTo>
                  <a:pt x="311" y="288"/>
                  <a:pt x="310" y="287"/>
                  <a:pt x="310" y="288"/>
                </a:cubicBezTo>
                <a:cubicBezTo>
                  <a:pt x="310" y="288"/>
                  <a:pt x="310" y="288"/>
                  <a:pt x="310" y="289"/>
                </a:cubicBezTo>
                <a:cubicBezTo>
                  <a:pt x="309" y="289"/>
                  <a:pt x="310" y="290"/>
                  <a:pt x="309" y="289"/>
                </a:cubicBezTo>
                <a:cubicBezTo>
                  <a:pt x="309" y="289"/>
                  <a:pt x="308" y="289"/>
                  <a:pt x="308" y="290"/>
                </a:cubicBezTo>
                <a:cubicBezTo>
                  <a:pt x="308" y="290"/>
                  <a:pt x="308" y="291"/>
                  <a:pt x="308" y="291"/>
                </a:cubicBezTo>
                <a:cubicBezTo>
                  <a:pt x="307" y="292"/>
                  <a:pt x="307" y="292"/>
                  <a:pt x="306" y="292"/>
                </a:cubicBezTo>
                <a:cubicBezTo>
                  <a:pt x="306" y="293"/>
                  <a:pt x="305" y="293"/>
                  <a:pt x="305" y="293"/>
                </a:cubicBezTo>
                <a:cubicBezTo>
                  <a:pt x="304" y="293"/>
                  <a:pt x="304" y="292"/>
                  <a:pt x="303" y="292"/>
                </a:cubicBezTo>
                <a:cubicBezTo>
                  <a:pt x="302" y="292"/>
                  <a:pt x="302" y="292"/>
                  <a:pt x="301" y="291"/>
                </a:cubicBezTo>
                <a:cubicBezTo>
                  <a:pt x="300" y="291"/>
                  <a:pt x="300" y="291"/>
                  <a:pt x="299" y="290"/>
                </a:cubicBezTo>
                <a:cubicBezTo>
                  <a:pt x="299" y="290"/>
                  <a:pt x="299" y="289"/>
                  <a:pt x="299" y="289"/>
                </a:cubicBezTo>
                <a:cubicBezTo>
                  <a:pt x="298" y="289"/>
                  <a:pt x="298" y="289"/>
                  <a:pt x="297" y="289"/>
                </a:cubicBezTo>
                <a:cubicBezTo>
                  <a:pt x="296" y="288"/>
                  <a:pt x="296" y="288"/>
                  <a:pt x="294" y="288"/>
                </a:cubicBezTo>
                <a:cubicBezTo>
                  <a:pt x="294" y="288"/>
                  <a:pt x="294" y="289"/>
                  <a:pt x="295" y="289"/>
                </a:cubicBezTo>
                <a:cubicBezTo>
                  <a:pt x="296" y="289"/>
                  <a:pt x="296" y="291"/>
                  <a:pt x="296" y="292"/>
                </a:cubicBezTo>
                <a:cubicBezTo>
                  <a:pt x="296" y="292"/>
                  <a:pt x="297" y="293"/>
                  <a:pt x="296" y="293"/>
                </a:cubicBezTo>
                <a:cubicBezTo>
                  <a:pt x="295" y="293"/>
                  <a:pt x="295" y="293"/>
                  <a:pt x="294" y="293"/>
                </a:cubicBezTo>
                <a:cubicBezTo>
                  <a:pt x="294" y="292"/>
                  <a:pt x="294" y="291"/>
                  <a:pt x="294" y="291"/>
                </a:cubicBezTo>
                <a:cubicBezTo>
                  <a:pt x="294" y="289"/>
                  <a:pt x="293" y="289"/>
                  <a:pt x="292" y="289"/>
                </a:cubicBezTo>
                <a:cubicBezTo>
                  <a:pt x="291" y="289"/>
                  <a:pt x="291" y="288"/>
                  <a:pt x="291" y="288"/>
                </a:cubicBezTo>
                <a:cubicBezTo>
                  <a:pt x="290" y="287"/>
                  <a:pt x="290" y="287"/>
                  <a:pt x="290" y="287"/>
                </a:cubicBezTo>
                <a:cubicBezTo>
                  <a:pt x="289" y="287"/>
                  <a:pt x="289" y="286"/>
                  <a:pt x="288" y="286"/>
                </a:cubicBezTo>
                <a:cubicBezTo>
                  <a:pt x="287" y="286"/>
                  <a:pt x="287" y="286"/>
                  <a:pt x="286" y="286"/>
                </a:cubicBezTo>
                <a:cubicBezTo>
                  <a:pt x="286" y="285"/>
                  <a:pt x="286" y="285"/>
                  <a:pt x="285" y="285"/>
                </a:cubicBezTo>
                <a:cubicBezTo>
                  <a:pt x="285" y="285"/>
                  <a:pt x="285" y="284"/>
                  <a:pt x="285" y="284"/>
                </a:cubicBezTo>
                <a:cubicBezTo>
                  <a:pt x="285" y="284"/>
                  <a:pt x="285" y="284"/>
                  <a:pt x="284" y="284"/>
                </a:cubicBezTo>
                <a:cubicBezTo>
                  <a:pt x="284" y="284"/>
                  <a:pt x="284" y="283"/>
                  <a:pt x="283" y="283"/>
                </a:cubicBezTo>
                <a:cubicBezTo>
                  <a:pt x="283" y="283"/>
                  <a:pt x="282" y="283"/>
                  <a:pt x="282" y="283"/>
                </a:cubicBezTo>
                <a:cubicBezTo>
                  <a:pt x="282" y="283"/>
                  <a:pt x="281" y="283"/>
                  <a:pt x="281" y="283"/>
                </a:cubicBezTo>
                <a:cubicBezTo>
                  <a:pt x="281" y="283"/>
                  <a:pt x="280" y="283"/>
                  <a:pt x="280" y="283"/>
                </a:cubicBezTo>
                <a:cubicBezTo>
                  <a:pt x="280" y="283"/>
                  <a:pt x="280" y="284"/>
                  <a:pt x="279" y="283"/>
                </a:cubicBezTo>
                <a:cubicBezTo>
                  <a:pt x="279" y="283"/>
                  <a:pt x="278" y="283"/>
                  <a:pt x="278" y="283"/>
                </a:cubicBezTo>
                <a:cubicBezTo>
                  <a:pt x="276" y="284"/>
                  <a:pt x="275" y="282"/>
                  <a:pt x="275" y="282"/>
                </a:cubicBezTo>
                <a:cubicBezTo>
                  <a:pt x="274" y="281"/>
                  <a:pt x="274" y="281"/>
                  <a:pt x="274" y="280"/>
                </a:cubicBezTo>
                <a:cubicBezTo>
                  <a:pt x="273" y="280"/>
                  <a:pt x="273" y="281"/>
                  <a:pt x="273" y="281"/>
                </a:cubicBezTo>
                <a:cubicBezTo>
                  <a:pt x="272" y="281"/>
                  <a:pt x="272" y="281"/>
                  <a:pt x="271" y="281"/>
                </a:cubicBezTo>
                <a:cubicBezTo>
                  <a:pt x="271" y="281"/>
                  <a:pt x="270" y="281"/>
                  <a:pt x="270" y="282"/>
                </a:cubicBezTo>
                <a:cubicBezTo>
                  <a:pt x="269" y="282"/>
                  <a:pt x="270" y="283"/>
                  <a:pt x="270" y="283"/>
                </a:cubicBezTo>
                <a:cubicBezTo>
                  <a:pt x="269" y="284"/>
                  <a:pt x="269" y="283"/>
                  <a:pt x="268" y="283"/>
                </a:cubicBezTo>
                <a:cubicBezTo>
                  <a:pt x="268" y="282"/>
                  <a:pt x="266" y="284"/>
                  <a:pt x="266" y="283"/>
                </a:cubicBezTo>
                <a:cubicBezTo>
                  <a:pt x="265" y="282"/>
                  <a:pt x="266" y="282"/>
                  <a:pt x="266" y="282"/>
                </a:cubicBezTo>
                <a:cubicBezTo>
                  <a:pt x="267" y="282"/>
                  <a:pt x="265" y="281"/>
                  <a:pt x="265" y="281"/>
                </a:cubicBezTo>
                <a:cubicBezTo>
                  <a:pt x="265" y="281"/>
                  <a:pt x="263" y="281"/>
                  <a:pt x="263" y="281"/>
                </a:cubicBezTo>
                <a:cubicBezTo>
                  <a:pt x="262" y="281"/>
                  <a:pt x="261" y="280"/>
                  <a:pt x="261" y="280"/>
                </a:cubicBezTo>
                <a:cubicBezTo>
                  <a:pt x="260" y="281"/>
                  <a:pt x="261" y="281"/>
                  <a:pt x="261" y="282"/>
                </a:cubicBezTo>
                <a:cubicBezTo>
                  <a:pt x="261" y="282"/>
                  <a:pt x="260" y="282"/>
                  <a:pt x="260" y="282"/>
                </a:cubicBezTo>
                <a:cubicBezTo>
                  <a:pt x="261" y="282"/>
                  <a:pt x="260" y="281"/>
                  <a:pt x="259" y="282"/>
                </a:cubicBezTo>
                <a:cubicBezTo>
                  <a:pt x="259" y="282"/>
                  <a:pt x="259" y="282"/>
                  <a:pt x="259" y="283"/>
                </a:cubicBezTo>
                <a:cubicBezTo>
                  <a:pt x="259" y="283"/>
                  <a:pt x="260" y="283"/>
                  <a:pt x="259" y="283"/>
                </a:cubicBezTo>
                <a:cubicBezTo>
                  <a:pt x="259" y="284"/>
                  <a:pt x="259" y="284"/>
                  <a:pt x="258" y="284"/>
                </a:cubicBezTo>
                <a:cubicBezTo>
                  <a:pt x="258" y="284"/>
                  <a:pt x="258" y="284"/>
                  <a:pt x="258" y="285"/>
                </a:cubicBezTo>
                <a:cubicBezTo>
                  <a:pt x="258" y="286"/>
                  <a:pt x="257" y="286"/>
                  <a:pt x="256" y="286"/>
                </a:cubicBezTo>
                <a:cubicBezTo>
                  <a:pt x="255" y="286"/>
                  <a:pt x="255" y="286"/>
                  <a:pt x="254" y="287"/>
                </a:cubicBezTo>
                <a:cubicBezTo>
                  <a:pt x="253" y="287"/>
                  <a:pt x="252" y="287"/>
                  <a:pt x="252" y="287"/>
                </a:cubicBezTo>
                <a:cubicBezTo>
                  <a:pt x="251" y="287"/>
                  <a:pt x="251" y="288"/>
                  <a:pt x="251" y="288"/>
                </a:cubicBezTo>
                <a:cubicBezTo>
                  <a:pt x="251" y="289"/>
                  <a:pt x="252" y="289"/>
                  <a:pt x="251" y="290"/>
                </a:cubicBezTo>
                <a:cubicBezTo>
                  <a:pt x="251" y="290"/>
                  <a:pt x="250" y="290"/>
                  <a:pt x="249" y="291"/>
                </a:cubicBezTo>
                <a:cubicBezTo>
                  <a:pt x="249" y="292"/>
                  <a:pt x="248" y="292"/>
                  <a:pt x="247" y="292"/>
                </a:cubicBezTo>
                <a:cubicBezTo>
                  <a:pt x="247" y="292"/>
                  <a:pt x="246" y="292"/>
                  <a:pt x="246" y="292"/>
                </a:cubicBezTo>
                <a:cubicBezTo>
                  <a:pt x="246" y="292"/>
                  <a:pt x="245" y="292"/>
                  <a:pt x="245" y="292"/>
                </a:cubicBezTo>
                <a:cubicBezTo>
                  <a:pt x="246" y="292"/>
                  <a:pt x="246" y="292"/>
                  <a:pt x="246" y="293"/>
                </a:cubicBezTo>
                <a:cubicBezTo>
                  <a:pt x="246" y="293"/>
                  <a:pt x="246" y="294"/>
                  <a:pt x="246" y="294"/>
                </a:cubicBezTo>
                <a:cubicBezTo>
                  <a:pt x="247" y="295"/>
                  <a:pt x="247" y="296"/>
                  <a:pt x="248" y="297"/>
                </a:cubicBezTo>
                <a:cubicBezTo>
                  <a:pt x="248" y="297"/>
                  <a:pt x="248" y="297"/>
                  <a:pt x="248" y="298"/>
                </a:cubicBezTo>
                <a:cubicBezTo>
                  <a:pt x="249" y="298"/>
                  <a:pt x="249" y="298"/>
                  <a:pt x="249" y="298"/>
                </a:cubicBezTo>
                <a:cubicBezTo>
                  <a:pt x="250" y="300"/>
                  <a:pt x="247" y="300"/>
                  <a:pt x="246" y="301"/>
                </a:cubicBezTo>
                <a:cubicBezTo>
                  <a:pt x="246" y="301"/>
                  <a:pt x="245" y="301"/>
                  <a:pt x="245" y="300"/>
                </a:cubicBezTo>
                <a:cubicBezTo>
                  <a:pt x="244" y="300"/>
                  <a:pt x="244" y="300"/>
                  <a:pt x="244" y="300"/>
                </a:cubicBezTo>
                <a:cubicBezTo>
                  <a:pt x="244" y="300"/>
                  <a:pt x="244" y="300"/>
                  <a:pt x="244" y="300"/>
                </a:cubicBezTo>
                <a:cubicBezTo>
                  <a:pt x="243" y="299"/>
                  <a:pt x="243" y="299"/>
                  <a:pt x="243" y="299"/>
                </a:cubicBezTo>
                <a:cubicBezTo>
                  <a:pt x="243" y="298"/>
                  <a:pt x="242" y="298"/>
                  <a:pt x="242" y="298"/>
                </a:cubicBezTo>
                <a:cubicBezTo>
                  <a:pt x="242" y="297"/>
                  <a:pt x="241" y="297"/>
                  <a:pt x="240" y="296"/>
                </a:cubicBezTo>
                <a:cubicBezTo>
                  <a:pt x="240" y="296"/>
                  <a:pt x="239" y="295"/>
                  <a:pt x="239" y="295"/>
                </a:cubicBezTo>
                <a:cubicBezTo>
                  <a:pt x="238" y="295"/>
                  <a:pt x="238" y="294"/>
                  <a:pt x="238" y="294"/>
                </a:cubicBezTo>
                <a:cubicBezTo>
                  <a:pt x="237" y="294"/>
                  <a:pt x="236" y="294"/>
                  <a:pt x="236" y="295"/>
                </a:cubicBezTo>
                <a:cubicBezTo>
                  <a:pt x="236" y="296"/>
                  <a:pt x="235" y="296"/>
                  <a:pt x="235" y="296"/>
                </a:cubicBezTo>
                <a:cubicBezTo>
                  <a:pt x="236" y="297"/>
                  <a:pt x="235" y="297"/>
                  <a:pt x="235" y="297"/>
                </a:cubicBezTo>
                <a:cubicBezTo>
                  <a:pt x="236" y="298"/>
                  <a:pt x="236" y="298"/>
                  <a:pt x="236" y="298"/>
                </a:cubicBezTo>
                <a:cubicBezTo>
                  <a:pt x="235" y="299"/>
                  <a:pt x="235" y="299"/>
                  <a:pt x="234" y="300"/>
                </a:cubicBezTo>
                <a:cubicBezTo>
                  <a:pt x="234" y="300"/>
                  <a:pt x="233" y="300"/>
                  <a:pt x="233" y="300"/>
                </a:cubicBezTo>
                <a:cubicBezTo>
                  <a:pt x="233" y="301"/>
                  <a:pt x="233" y="302"/>
                  <a:pt x="233" y="302"/>
                </a:cubicBezTo>
                <a:cubicBezTo>
                  <a:pt x="233" y="303"/>
                  <a:pt x="233" y="304"/>
                  <a:pt x="233" y="305"/>
                </a:cubicBezTo>
                <a:cubicBezTo>
                  <a:pt x="233" y="307"/>
                  <a:pt x="234" y="306"/>
                  <a:pt x="235" y="307"/>
                </a:cubicBezTo>
                <a:cubicBezTo>
                  <a:pt x="236" y="309"/>
                  <a:pt x="235" y="309"/>
                  <a:pt x="234" y="310"/>
                </a:cubicBezTo>
                <a:cubicBezTo>
                  <a:pt x="233" y="311"/>
                  <a:pt x="233" y="312"/>
                  <a:pt x="233" y="312"/>
                </a:cubicBezTo>
                <a:cubicBezTo>
                  <a:pt x="233" y="313"/>
                  <a:pt x="233" y="313"/>
                  <a:pt x="233" y="314"/>
                </a:cubicBezTo>
                <a:cubicBezTo>
                  <a:pt x="232" y="315"/>
                  <a:pt x="232" y="316"/>
                  <a:pt x="234" y="316"/>
                </a:cubicBezTo>
                <a:cubicBezTo>
                  <a:pt x="235" y="316"/>
                  <a:pt x="236" y="317"/>
                  <a:pt x="238" y="317"/>
                </a:cubicBezTo>
                <a:cubicBezTo>
                  <a:pt x="238" y="317"/>
                  <a:pt x="238" y="318"/>
                  <a:pt x="238" y="318"/>
                </a:cubicBezTo>
                <a:cubicBezTo>
                  <a:pt x="238" y="318"/>
                  <a:pt x="238" y="318"/>
                  <a:pt x="238" y="319"/>
                </a:cubicBezTo>
                <a:cubicBezTo>
                  <a:pt x="239" y="319"/>
                  <a:pt x="239" y="319"/>
                  <a:pt x="239" y="319"/>
                </a:cubicBezTo>
                <a:cubicBezTo>
                  <a:pt x="239" y="320"/>
                  <a:pt x="238" y="320"/>
                  <a:pt x="238" y="320"/>
                </a:cubicBezTo>
                <a:cubicBezTo>
                  <a:pt x="238" y="320"/>
                  <a:pt x="239" y="321"/>
                  <a:pt x="239" y="321"/>
                </a:cubicBezTo>
                <a:cubicBezTo>
                  <a:pt x="239" y="322"/>
                  <a:pt x="239" y="322"/>
                  <a:pt x="239" y="322"/>
                </a:cubicBezTo>
                <a:cubicBezTo>
                  <a:pt x="240" y="323"/>
                  <a:pt x="241" y="323"/>
                  <a:pt x="241" y="324"/>
                </a:cubicBezTo>
                <a:cubicBezTo>
                  <a:pt x="242" y="322"/>
                  <a:pt x="241" y="322"/>
                  <a:pt x="243" y="322"/>
                </a:cubicBezTo>
                <a:cubicBezTo>
                  <a:pt x="244" y="323"/>
                  <a:pt x="246" y="322"/>
                  <a:pt x="247" y="323"/>
                </a:cubicBezTo>
                <a:cubicBezTo>
                  <a:pt x="248" y="323"/>
                  <a:pt x="249" y="325"/>
                  <a:pt x="250" y="326"/>
                </a:cubicBezTo>
                <a:cubicBezTo>
                  <a:pt x="251" y="326"/>
                  <a:pt x="251" y="326"/>
                  <a:pt x="252" y="327"/>
                </a:cubicBezTo>
                <a:cubicBezTo>
                  <a:pt x="252" y="327"/>
                  <a:pt x="253" y="328"/>
                  <a:pt x="253" y="328"/>
                </a:cubicBezTo>
                <a:cubicBezTo>
                  <a:pt x="254" y="329"/>
                  <a:pt x="254" y="330"/>
                  <a:pt x="255" y="331"/>
                </a:cubicBezTo>
                <a:cubicBezTo>
                  <a:pt x="256" y="332"/>
                  <a:pt x="257" y="333"/>
                  <a:pt x="257" y="333"/>
                </a:cubicBezTo>
                <a:cubicBezTo>
                  <a:pt x="257" y="334"/>
                  <a:pt x="255" y="334"/>
                  <a:pt x="255" y="334"/>
                </a:cubicBezTo>
                <a:cubicBezTo>
                  <a:pt x="255" y="334"/>
                  <a:pt x="254" y="333"/>
                  <a:pt x="254" y="333"/>
                </a:cubicBezTo>
                <a:cubicBezTo>
                  <a:pt x="253" y="334"/>
                  <a:pt x="253" y="334"/>
                  <a:pt x="253" y="335"/>
                </a:cubicBezTo>
                <a:cubicBezTo>
                  <a:pt x="254" y="335"/>
                  <a:pt x="254" y="336"/>
                  <a:pt x="255" y="336"/>
                </a:cubicBezTo>
                <a:cubicBezTo>
                  <a:pt x="256" y="336"/>
                  <a:pt x="256" y="337"/>
                  <a:pt x="257" y="337"/>
                </a:cubicBezTo>
                <a:cubicBezTo>
                  <a:pt x="258" y="337"/>
                  <a:pt x="259" y="337"/>
                  <a:pt x="259" y="338"/>
                </a:cubicBezTo>
                <a:cubicBezTo>
                  <a:pt x="260" y="338"/>
                  <a:pt x="261" y="339"/>
                  <a:pt x="261" y="339"/>
                </a:cubicBezTo>
                <a:cubicBezTo>
                  <a:pt x="260" y="339"/>
                  <a:pt x="260" y="339"/>
                  <a:pt x="260" y="339"/>
                </a:cubicBezTo>
                <a:cubicBezTo>
                  <a:pt x="260" y="339"/>
                  <a:pt x="259" y="338"/>
                  <a:pt x="259" y="338"/>
                </a:cubicBezTo>
                <a:cubicBezTo>
                  <a:pt x="259" y="338"/>
                  <a:pt x="259" y="339"/>
                  <a:pt x="259" y="339"/>
                </a:cubicBezTo>
                <a:cubicBezTo>
                  <a:pt x="259" y="339"/>
                  <a:pt x="259" y="339"/>
                  <a:pt x="259" y="340"/>
                </a:cubicBezTo>
                <a:cubicBezTo>
                  <a:pt x="259" y="340"/>
                  <a:pt x="259" y="340"/>
                  <a:pt x="259" y="340"/>
                </a:cubicBezTo>
                <a:cubicBezTo>
                  <a:pt x="258" y="340"/>
                  <a:pt x="258" y="340"/>
                  <a:pt x="258" y="340"/>
                </a:cubicBezTo>
                <a:cubicBezTo>
                  <a:pt x="258" y="340"/>
                  <a:pt x="258" y="341"/>
                  <a:pt x="258" y="341"/>
                </a:cubicBezTo>
                <a:cubicBezTo>
                  <a:pt x="258" y="341"/>
                  <a:pt x="258" y="340"/>
                  <a:pt x="257" y="340"/>
                </a:cubicBezTo>
                <a:cubicBezTo>
                  <a:pt x="257" y="340"/>
                  <a:pt x="257" y="340"/>
                  <a:pt x="258" y="341"/>
                </a:cubicBezTo>
                <a:cubicBezTo>
                  <a:pt x="257" y="340"/>
                  <a:pt x="257" y="340"/>
                  <a:pt x="257" y="340"/>
                </a:cubicBezTo>
                <a:cubicBezTo>
                  <a:pt x="257" y="340"/>
                  <a:pt x="258" y="341"/>
                  <a:pt x="257" y="341"/>
                </a:cubicBezTo>
                <a:cubicBezTo>
                  <a:pt x="257" y="341"/>
                  <a:pt x="257" y="340"/>
                  <a:pt x="257" y="340"/>
                </a:cubicBezTo>
                <a:cubicBezTo>
                  <a:pt x="257" y="340"/>
                  <a:pt x="257" y="341"/>
                  <a:pt x="257" y="341"/>
                </a:cubicBezTo>
                <a:cubicBezTo>
                  <a:pt x="257" y="341"/>
                  <a:pt x="256" y="341"/>
                  <a:pt x="256" y="340"/>
                </a:cubicBezTo>
                <a:cubicBezTo>
                  <a:pt x="256" y="340"/>
                  <a:pt x="256" y="341"/>
                  <a:pt x="255" y="341"/>
                </a:cubicBezTo>
                <a:cubicBezTo>
                  <a:pt x="256" y="341"/>
                  <a:pt x="257" y="341"/>
                  <a:pt x="256" y="342"/>
                </a:cubicBezTo>
                <a:cubicBezTo>
                  <a:pt x="257" y="342"/>
                  <a:pt x="256" y="342"/>
                  <a:pt x="257" y="343"/>
                </a:cubicBezTo>
                <a:cubicBezTo>
                  <a:pt x="258" y="344"/>
                  <a:pt x="257" y="343"/>
                  <a:pt x="257" y="344"/>
                </a:cubicBezTo>
                <a:cubicBezTo>
                  <a:pt x="256" y="343"/>
                  <a:pt x="257" y="343"/>
                  <a:pt x="256" y="343"/>
                </a:cubicBezTo>
                <a:cubicBezTo>
                  <a:pt x="256" y="343"/>
                  <a:pt x="256" y="343"/>
                  <a:pt x="256" y="343"/>
                </a:cubicBezTo>
                <a:cubicBezTo>
                  <a:pt x="255" y="342"/>
                  <a:pt x="255" y="342"/>
                  <a:pt x="255" y="342"/>
                </a:cubicBezTo>
                <a:cubicBezTo>
                  <a:pt x="255" y="342"/>
                  <a:pt x="254" y="342"/>
                  <a:pt x="254" y="343"/>
                </a:cubicBezTo>
                <a:cubicBezTo>
                  <a:pt x="254" y="343"/>
                  <a:pt x="253" y="343"/>
                  <a:pt x="253" y="343"/>
                </a:cubicBezTo>
                <a:cubicBezTo>
                  <a:pt x="253" y="343"/>
                  <a:pt x="254" y="343"/>
                  <a:pt x="254" y="343"/>
                </a:cubicBezTo>
                <a:cubicBezTo>
                  <a:pt x="254" y="344"/>
                  <a:pt x="253" y="343"/>
                  <a:pt x="253" y="344"/>
                </a:cubicBezTo>
                <a:cubicBezTo>
                  <a:pt x="253" y="344"/>
                  <a:pt x="252" y="344"/>
                  <a:pt x="253" y="345"/>
                </a:cubicBezTo>
                <a:cubicBezTo>
                  <a:pt x="252" y="344"/>
                  <a:pt x="252" y="345"/>
                  <a:pt x="251" y="345"/>
                </a:cubicBezTo>
                <a:cubicBezTo>
                  <a:pt x="251" y="344"/>
                  <a:pt x="251" y="345"/>
                  <a:pt x="251" y="345"/>
                </a:cubicBezTo>
                <a:cubicBezTo>
                  <a:pt x="250" y="345"/>
                  <a:pt x="249" y="345"/>
                  <a:pt x="249" y="345"/>
                </a:cubicBezTo>
                <a:cubicBezTo>
                  <a:pt x="249" y="345"/>
                  <a:pt x="250" y="346"/>
                  <a:pt x="249" y="346"/>
                </a:cubicBezTo>
                <a:cubicBezTo>
                  <a:pt x="249" y="346"/>
                  <a:pt x="249" y="345"/>
                  <a:pt x="248" y="345"/>
                </a:cubicBezTo>
                <a:cubicBezTo>
                  <a:pt x="248" y="345"/>
                  <a:pt x="247" y="344"/>
                  <a:pt x="247" y="344"/>
                </a:cubicBezTo>
                <a:cubicBezTo>
                  <a:pt x="247" y="344"/>
                  <a:pt x="247" y="345"/>
                  <a:pt x="247" y="345"/>
                </a:cubicBezTo>
                <a:cubicBezTo>
                  <a:pt x="247" y="345"/>
                  <a:pt x="247" y="346"/>
                  <a:pt x="248" y="346"/>
                </a:cubicBezTo>
                <a:cubicBezTo>
                  <a:pt x="248" y="346"/>
                  <a:pt x="248" y="346"/>
                  <a:pt x="248" y="346"/>
                </a:cubicBezTo>
                <a:cubicBezTo>
                  <a:pt x="247" y="347"/>
                  <a:pt x="247" y="346"/>
                  <a:pt x="247" y="345"/>
                </a:cubicBezTo>
                <a:cubicBezTo>
                  <a:pt x="246" y="345"/>
                  <a:pt x="246" y="345"/>
                  <a:pt x="246" y="345"/>
                </a:cubicBezTo>
                <a:cubicBezTo>
                  <a:pt x="246" y="345"/>
                  <a:pt x="246" y="345"/>
                  <a:pt x="246" y="345"/>
                </a:cubicBezTo>
                <a:cubicBezTo>
                  <a:pt x="246" y="345"/>
                  <a:pt x="246" y="345"/>
                  <a:pt x="245" y="344"/>
                </a:cubicBezTo>
                <a:cubicBezTo>
                  <a:pt x="245" y="345"/>
                  <a:pt x="246" y="345"/>
                  <a:pt x="247" y="346"/>
                </a:cubicBezTo>
                <a:cubicBezTo>
                  <a:pt x="247" y="346"/>
                  <a:pt x="247" y="347"/>
                  <a:pt x="247" y="346"/>
                </a:cubicBezTo>
                <a:cubicBezTo>
                  <a:pt x="246" y="346"/>
                  <a:pt x="247" y="347"/>
                  <a:pt x="247" y="347"/>
                </a:cubicBezTo>
                <a:cubicBezTo>
                  <a:pt x="247" y="348"/>
                  <a:pt x="246" y="348"/>
                  <a:pt x="246" y="348"/>
                </a:cubicBezTo>
                <a:cubicBezTo>
                  <a:pt x="246" y="348"/>
                  <a:pt x="247" y="348"/>
                  <a:pt x="246" y="348"/>
                </a:cubicBezTo>
                <a:cubicBezTo>
                  <a:pt x="246" y="349"/>
                  <a:pt x="246" y="350"/>
                  <a:pt x="246" y="350"/>
                </a:cubicBezTo>
                <a:cubicBezTo>
                  <a:pt x="246" y="351"/>
                  <a:pt x="246" y="350"/>
                  <a:pt x="246" y="350"/>
                </a:cubicBezTo>
                <a:cubicBezTo>
                  <a:pt x="246" y="351"/>
                  <a:pt x="246" y="351"/>
                  <a:pt x="246" y="351"/>
                </a:cubicBezTo>
                <a:cubicBezTo>
                  <a:pt x="245" y="352"/>
                  <a:pt x="245" y="353"/>
                  <a:pt x="245" y="353"/>
                </a:cubicBezTo>
                <a:cubicBezTo>
                  <a:pt x="245" y="353"/>
                  <a:pt x="245" y="353"/>
                  <a:pt x="244" y="353"/>
                </a:cubicBezTo>
                <a:cubicBezTo>
                  <a:pt x="244" y="353"/>
                  <a:pt x="245" y="355"/>
                  <a:pt x="244" y="355"/>
                </a:cubicBezTo>
                <a:cubicBezTo>
                  <a:pt x="244" y="355"/>
                  <a:pt x="243" y="354"/>
                  <a:pt x="243" y="353"/>
                </a:cubicBezTo>
                <a:cubicBezTo>
                  <a:pt x="243" y="354"/>
                  <a:pt x="244" y="354"/>
                  <a:pt x="244" y="354"/>
                </a:cubicBezTo>
                <a:cubicBezTo>
                  <a:pt x="244" y="355"/>
                  <a:pt x="243" y="355"/>
                  <a:pt x="243" y="355"/>
                </a:cubicBezTo>
                <a:cubicBezTo>
                  <a:pt x="243" y="355"/>
                  <a:pt x="243" y="356"/>
                  <a:pt x="242" y="356"/>
                </a:cubicBezTo>
                <a:cubicBezTo>
                  <a:pt x="242" y="356"/>
                  <a:pt x="242" y="356"/>
                  <a:pt x="242" y="356"/>
                </a:cubicBezTo>
                <a:cubicBezTo>
                  <a:pt x="241" y="357"/>
                  <a:pt x="242" y="357"/>
                  <a:pt x="242" y="358"/>
                </a:cubicBezTo>
                <a:cubicBezTo>
                  <a:pt x="241" y="358"/>
                  <a:pt x="242" y="359"/>
                  <a:pt x="242" y="359"/>
                </a:cubicBezTo>
                <a:cubicBezTo>
                  <a:pt x="243" y="359"/>
                  <a:pt x="244" y="359"/>
                  <a:pt x="245" y="360"/>
                </a:cubicBezTo>
                <a:cubicBezTo>
                  <a:pt x="245" y="360"/>
                  <a:pt x="245" y="361"/>
                  <a:pt x="246" y="361"/>
                </a:cubicBezTo>
                <a:cubicBezTo>
                  <a:pt x="246" y="361"/>
                  <a:pt x="247" y="361"/>
                  <a:pt x="247" y="361"/>
                </a:cubicBezTo>
                <a:cubicBezTo>
                  <a:pt x="248" y="362"/>
                  <a:pt x="247" y="363"/>
                  <a:pt x="248" y="363"/>
                </a:cubicBezTo>
                <a:cubicBezTo>
                  <a:pt x="249" y="363"/>
                  <a:pt x="249" y="364"/>
                  <a:pt x="249" y="364"/>
                </a:cubicBezTo>
                <a:cubicBezTo>
                  <a:pt x="249" y="364"/>
                  <a:pt x="249" y="365"/>
                  <a:pt x="250" y="365"/>
                </a:cubicBezTo>
                <a:cubicBezTo>
                  <a:pt x="250" y="365"/>
                  <a:pt x="250" y="366"/>
                  <a:pt x="250" y="366"/>
                </a:cubicBezTo>
                <a:cubicBezTo>
                  <a:pt x="250" y="366"/>
                  <a:pt x="250" y="366"/>
                  <a:pt x="250" y="366"/>
                </a:cubicBezTo>
                <a:cubicBezTo>
                  <a:pt x="250" y="366"/>
                  <a:pt x="250" y="367"/>
                  <a:pt x="250" y="367"/>
                </a:cubicBezTo>
                <a:cubicBezTo>
                  <a:pt x="250" y="367"/>
                  <a:pt x="250" y="368"/>
                  <a:pt x="249" y="368"/>
                </a:cubicBezTo>
                <a:cubicBezTo>
                  <a:pt x="249" y="368"/>
                  <a:pt x="250" y="369"/>
                  <a:pt x="250" y="368"/>
                </a:cubicBezTo>
                <a:cubicBezTo>
                  <a:pt x="250" y="367"/>
                  <a:pt x="250" y="367"/>
                  <a:pt x="250" y="366"/>
                </a:cubicBezTo>
                <a:cubicBezTo>
                  <a:pt x="250" y="366"/>
                  <a:pt x="250" y="365"/>
                  <a:pt x="250" y="365"/>
                </a:cubicBezTo>
                <a:cubicBezTo>
                  <a:pt x="251" y="364"/>
                  <a:pt x="252" y="364"/>
                  <a:pt x="251" y="365"/>
                </a:cubicBezTo>
                <a:cubicBezTo>
                  <a:pt x="251" y="365"/>
                  <a:pt x="251" y="366"/>
                  <a:pt x="251" y="366"/>
                </a:cubicBezTo>
                <a:cubicBezTo>
                  <a:pt x="251" y="367"/>
                  <a:pt x="251" y="368"/>
                  <a:pt x="251" y="369"/>
                </a:cubicBezTo>
                <a:cubicBezTo>
                  <a:pt x="251" y="370"/>
                  <a:pt x="251" y="371"/>
                  <a:pt x="251" y="371"/>
                </a:cubicBezTo>
                <a:cubicBezTo>
                  <a:pt x="251" y="371"/>
                  <a:pt x="252" y="370"/>
                  <a:pt x="252" y="371"/>
                </a:cubicBezTo>
                <a:cubicBezTo>
                  <a:pt x="252" y="371"/>
                  <a:pt x="251" y="372"/>
                  <a:pt x="251" y="372"/>
                </a:cubicBezTo>
                <a:cubicBezTo>
                  <a:pt x="250" y="373"/>
                  <a:pt x="251" y="374"/>
                  <a:pt x="252" y="375"/>
                </a:cubicBezTo>
                <a:cubicBezTo>
                  <a:pt x="253" y="375"/>
                  <a:pt x="254" y="376"/>
                  <a:pt x="254" y="377"/>
                </a:cubicBezTo>
                <a:cubicBezTo>
                  <a:pt x="254" y="377"/>
                  <a:pt x="254" y="378"/>
                  <a:pt x="254" y="378"/>
                </a:cubicBezTo>
                <a:cubicBezTo>
                  <a:pt x="255" y="378"/>
                  <a:pt x="255" y="378"/>
                  <a:pt x="255" y="379"/>
                </a:cubicBezTo>
                <a:cubicBezTo>
                  <a:pt x="256" y="379"/>
                  <a:pt x="256" y="379"/>
                  <a:pt x="256" y="379"/>
                </a:cubicBezTo>
                <a:cubicBezTo>
                  <a:pt x="257" y="380"/>
                  <a:pt x="257" y="380"/>
                  <a:pt x="258" y="381"/>
                </a:cubicBezTo>
                <a:cubicBezTo>
                  <a:pt x="259" y="382"/>
                  <a:pt x="260" y="383"/>
                  <a:pt x="261" y="384"/>
                </a:cubicBezTo>
                <a:cubicBezTo>
                  <a:pt x="261" y="385"/>
                  <a:pt x="261" y="386"/>
                  <a:pt x="262" y="386"/>
                </a:cubicBezTo>
                <a:cubicBezTo>
                  <a:pt x="263" y="386"/>
                  <a:pt x="264" y="387"/>
                  <a:pt x="263" y="387"/>
                </a:cubicBezTo>
                <a:cubicBezTo>
                  <a:pt x="262" y="389"/>
                  <a:pt x="262" y="390"/>
                  <a:pt x="261" y="390"/>
                </a:cubicBezTo>
                <a:cubicBezTo>
                  <a:pt x="260" y="391"/>
                  <a:pt x="260" y="391"/>
                  <a:pt x="259" y="391"/>
                </a:cubicBezTo>
                <a:cubicBezTo>
                  <a:pt x="259" y="391"/>
                  <a:pt x="259" y="392"/>
                  <a:pt x="259" y="392"/>
                </a:cubicBezTo>
                <a:cubicBezTo>
                  <a:pt x="259" y="392"/>
                  <a:pt x="259" y="392"/>
                  <a:pt x="259" y="392"/>
                </a:cubicBezTo>
                <a:cubicBezTo>
                  <a:pt x="258" y="393"/>
                  <a:pt x="259" y="394"/>
                  <a:pt x="258" y="394"/>
                </a:cubicBezTo>
                <a:cubicBezTo>
                  <a:pt x="257" y="394"/>
                  <a:pt x="257" y="393"/>
                  <a:pt x="256" y="393"/>
                </a:cubicBezTo>
                <a:cubicBezTo>
                  <a:pt x="256" y="393"/>
                  <a:pt x="256" y="394"/>
                  <a:pt x="255" y="394"/>
                </a:cubicBezTo>
                <a:cubicBezTo>
                  <a:pt x="255" y="394"/>
                  <a:pt x="255" y="393"/>
                  <a:pt x="255" y="393"/>
                </a:cubicBezTo>
                <a:cubicBezTo>
                  <a:pt x="255" y="393"/>
                  <a:pt x="254" y="393"/>
                  <a:pt x="254" y="393"/>
                </a:cubicBezTo>
                <a:cubicBezTo>
                  <a:pt x="253" y="393"/>
                  <a:pt x="253" y="392"/>
                  <a:pt x="252" y="392"/>
                </a:cubicBezTo>
                <a:cubicBezTo>
                  <a:pt x="252" y="391"/>
                  <a:pt x="252" y="391"/>
                  <a:pt x="251" y="390"/>
                </a:cubicBezTo>
                <a:cubicBezTo>
                  <a:pt x="251" y="390"/>
                  <a:pt x="251" y="390"/>
                  <a:pt x="251" y="390"/>
                </a:cubicBezTo>
                <a:cubicBezTo>
                  <a:pt x="251" y="390"/>
                  <a:pt x="250" y="390"/>
                  <a:pt x="250" y="390"/>
                </a:cubicBezTo>
                <a:cubicBezTo>
                  <a:pt x="250" y="390"/>
                  <a:pt x="250" y="389"/>
                  <a:pt x="249" y="389"/>
                </a:cubicBezTo>
                <a:cubicBezTo>
                  <a:pt x="249" y="388"/>
                  <a:pt x="249" y="388"/>
                  <a:pt x="248" y="388"/>
                </a:cubicBezTo>
                <a:cubicBezTo>
                  <a:pt x="248" y="388"/>
                  <a:pt x="248" y="388"/>
                  <a:pt x="247" y="387"/>
                </a:cubicBezTo>
                <a:cubicBezTo>
                  <a:pt x="247" y="387"/>
                  <a:pt x="247" y="387"/>
                  <a:pt x="247" y="387"/>
                </a:cubicBezTo>
                <a:cubicBezTo>
                  <a:pt x="247" y="386"/>
                  <a:pt x="246" y="387"/>
                  <a:pt x="246" y="387"/>
                </a:cubicBezTo>
                <a:cubicBezTo>
                  <a:pt x="245" y="387"/>
                  <a:pt x="246" y="387"/>
                  <a:pt x="245" y="386"/>
                </a:cubicBezTo>
                <a:cubicBezTo>
                  <a:pt x="245" y="386"/>
                  <a:pt x="245" y="386"/>
                  <a:pt x="245" y="386"/>
                </a:cubicBezTo>
                <a:cubicBezTo>
                  <a:pt x="244" y="386"/>
                  <a:pt x="244" y="386"/>
                  <a:pt x="244" y="386"/>
                </a:cubicBezTo>
                <a:cubicBezTo>
                  <a:pt x="243" y="386"/>
                  <a:pt x="243" y="386"/>
                  <a:pt x="243" y="385"/>
                </a:cubicBezTo>
                <a:cubicBezTo>
                  <a:pt x="243" y="385"/>
                  <a:pt x="242" y="385"/>
                  <a:pt x="242" y="385"/>
                </a:cubicBezTo>
                <a:cubicBezTo>
                  <a:pt x="242" y="385"/>
                  <a:pt x="241" y="385"/>
                  <a:pt x="241" y="385"/>
                </a:cubicBezTo>
                <a:cubicBezTo>
                  <a:pt x="240" y="385"/>
                  <a:pt x="240" y="385"/>
                  <a:pt x="240" y="384"/>
                </a:cubicBezTo>
                <a:cubicBezTo>
                  <a:pt x="239" y="384"/>
                  <a:pt x="236" y="383"/>
                  <a:pt x="237" y="382"/>
                </a:cubicBezTo>
                <a:cubicBezTo>
                  <a:pt x="237" y="381"/>
                  <a:pt x="238" y="380"/>
                  <a:pt x="236" y="379"/>
                </a:cubicBezTo>
                <a:cubicBezTo>
                  <a:pt x="236" y="379"/>
                  <a:pt x="235" y="379"/>
                  <a:pt x="234" y="379"/>
                </a:cubicBezTo>
                <a:cubicBezTo>
                  <a:pt x="234" y="379"/>
                  <a:pt x="233" y="379"/>
                  <a:pt x="233" y="379"/>
                </a:cubicBezTo>
                <a:cubicBezTo>
                  <a:pt x="233" y="378"/>
                  <a:pt x="232" y="378"/>
                  <a:pt x="232" y="378"/>
                </a:cubicBezTo>
                <a:cubicBezTo>
                  <a:pt x="231" y="377"/>
                  <a:pt x="231" y="378"/>
                  <a:pt x="230" y="377"/>
                </a:cubicBezTo>
                <a:cubicBezTo>
                  <a:pt x="230" y="377"/>
                  <a:pt x="229" y="376"/>
                  <a:pt x="229" y="377"/>
                </a:cubicBezTo>
                <a:cubicBezTo>
                  <a:pt x="229" y="377"/>
                  <a:pt x="229" y="378"/>
                  <a:pt x="228" y="378"/>
                </a:cubicBezTo>
                <a:cubicBezTo>
                  <a:pt x="228" y="378"/>
                  <a:pt x="227" y="377"/>
                  <a:pt x="227" y="377"/>
                </a:cubicBezTo>
                <a:cubicBezTo>
                  <a:pt x="227" y="377"/>
                  <a:pt x="226" y="377"/>
                  <a:pt x="226" y="377"/>
                </a:cubicBezTo>
                <a:cubicBezTo>
                  <a:pt x="225" y="377"/>
                  <a:pt x="224" y="377"/>
                  <a:pt x="224" y="377"/>
                </a:cubicBezTo>
                <a:cubicBezTo>
                  <a:pt x="223" y="377"/>
                  <a:pt x="223" y="378"/>
                  <a:pt x="223" y="378"/>
                </a:cubicBezTo>
                <a:cubicBezTo>
                  <a:pt x="223" y="378"/>
                  <a:pt x="222" y="378"/>
                  <a:pt x="222" y="378"/>
                </a:cubicBezTo>
                <a:cubicBezTo>
                  <a:pt x="222" y="379"/>
                  <a:pt x="222" y="379"/>
                  <a:pt x="221" y="379"/>
                </a:cubicBezTo>
                <a:cubicBezTo>
                  <a:pt x="221" y="379"/>
                  <a:pt x="220" y="379"/>
                  <a:pt x="220" y="379"/>
                </a:cubicBezTo>
                <a:cubicBezTo>
                  <a:pt x="220" y="379"/>
                  <a:pt x="219" y="378"/>
                  <a:pt x="219" y="378"/>
                </a:cubicBezTo>
                <a:cubicBezTo>
                  <a:pt x="219" y="378"/>
                  <a:pt x="220" y="377"/>
                  <a:pt x="220" y="377"/>
                </a:cubicBezTo>
                <a:cubicBezTo>
                  <a:pt x="220" y="377"/>
                  <a:pt x="219" y="377"/>
                  <a:pt x="218" y="376"/>
                </a:cubicBezTo>
                <a:cubicBezTo>
                  <a:pt x="218" y="376"/>
                  <a:pt x="218" y="376"/>
                  <a:pt x="217" y="376"/>
                </a:cubicBezTo>
                <a:cubicBezTo>
                  <a:pt x="216" y="375"/>
                  <a:pt x="216" y="375"/>
                  <a:pt x="215" y="375"/>
                </a:cubicBezTo>
                <a:cubicBezTo>
                  <a:pt x="214" y="375"/>
                  <a:pt x="214" y="375"/>
                  <a:pt x="213" y="375"/>
                </a:cubicBezTo>
                <a:cubicBezTo>
                  <a:pt x="212" y="374"/>
                  <a:pt x="212" y="373"/>
                  <a:pt x="211" y="373"/>
                </a:cubicBezTo>
                <a:cubicBezTo>
                  <a:pt x="210" y="372"/>
                  <a:pt x="210" y="372"/>
                  <a:pt x="209" y="372"/>
                </a:cubicBezTo>
                <a:cubicBezTo>
                  <a:pt x="208" y="373"/>
                  <a:pt x="207" y="372"/>
                  <a:pt x="207" y="372"/>
                </a:cubicBezTo>
                <a:cubicBezTo>
                  <a:pt x="206" y="372"/>
                  <a:pt x="205" y="371"/>
                  <a:pt x="205" y="372"/>
                </a:cubicBezTo>
                <a:cubicBezTo>
                  <a:pt x="204" y="372"/>
                  <a:pt x="204" y="372"/>
                  <a:pt x="203" y="372"/>
                </a:cubicBezTo>
                <a:cubicBezTo>
                  <a:pt x="203" y="372"/>
                  <a:pt x="202" y="372"/>
                  <a:pt x="201" y="372"/>
                </a:cubicBezTo>
                <a:cubicBezTo>
                  <a:pt x="200" y="372"/>
                  <a:pt x="199" y="372"/>
                  <a:pt x="198" y="371"/>
                </a:cubicBezTo>
                <a:cubicBezTo>
                  <a:pt x="197" y="370"/>
                  <a:pt x="197" y="370"/>
                  <a:pt x="196" y="370"/>
                </a:cubicBezTo>
                <a:cubicBezTo>
                  <a:pt x="196" y="370"/>
                  <a:pt x="195" y="370"/>
                  <a:pt x="195" y="370"/>
                </a:cubicBezTo>
                <a:cubicBezTo>
                  <a:pt x="194" y="370"/>
                  <a:pt x="193" y="370"/>
                  <a:pt x="193" y="369"/>
                </a:cubicBezTo>
                <a:cubicBezTo>
                  <a:pt x="192" y="369"/>
                  <a:pt x="192" y="369"/>
                  <a:pt x="191" y="369"/>
                </a:cubicBezTo>
                <a:cubicBezTo>
                  <a:pt x="190" y="368"/>
                  <a:pt x="190" y="369"/>
                  <a:pt x="189" y="369"/>
                </a:cubicBezTo>
                <a:cubicBezTo>
                  <a:pt x="188" y="368"/>
                  <a:pt x="187" y="368"/>
                  <a:pt x="186" y="368"/>
                </a:cubicBezTo>
                <a:cubicBezTo>
                  <a:pt x="185" y="368"/>
                  <a:pt x="185" y="369"/>
                  <a:pt x="185" y="370"/>
                </a:cubicBezTo>
                <a:cubicBezTo>
                  <a:pt x="184" y="370"/>
                  <a:pt x="184" y="370"/>
                  <a:pt x="184" y="369"/>
                </a:cubicBezTo>
                <a:cubicBezTo>
                  <a:pt x="184" y="369"/>
                  <a:pt x="183" y="369"/>
                  <a:pt x="183" y="368"/>
                </a:cubicBezTo>
                <a:cubicBezTo>
                  <a:pt x="181" y="368"/>
                  <a:pt x="180" y="367"/>
                  <a:pt x="179" y="366"/>
                </a:cubicBezTo>
                <a:cubicBezTo>
                  <a:pt x="178" y="365"/>
                  <a:pt x="177" y="364"/>
                  <a:pt x="176" y="363"/>
                </a:cubicBezTo>
                <a:cubicBezTo>
                  <a:pt x="176" y="363"/>
                  <a:pt x="175" y="362"/>
                  <a:pt x="175" y="362"/>
                </a:cubicBezTo>
                <a:cubicBezTo>
                  <a:pt x="174" y="361"/>
                  <a:pt x="174" y="361"/>
                  <a:pt x="173" y="361"/>
                </a:cubicBezTo>
                <a:cubicBezTo>
                  <a:pt x="172" y="359"/>
                  <a:pt x="169" y="360"/>
                  <a:pt x="167" y="359"/>
                </a:cubicBezTo>
                <a:cubicBezTo>
                  <a:pt x="167" y="358"/>
                  <a:pt x="167" y="358"/>
                  <a:pt x="166" y="358"/>
                </a:cubicBezTo>
                <a:cubicBezTo>
                  <a:pt x="166" y="358"/>
                  <a:pt x="166" y="357"/>
                  <a:pt x="166" y="357"/>
                </a:cubicBezTo>
                <a:cubicBezTo>
                  <a:pt x="166" y="357"/>
                  <a:pt x="166" y="357"/>
                  <a:pt x="166" y="357"/>
                </a:cubicBezTo>
                <a:cubicBezTo>
                  <a:pt x="165" y="357"/>
                  <a:pt x="165" y="357"/>
                  <a:pt x="165" y="357"/>
                </a:cubicBezTo>
                <a:cubicBezTo>
                  <a:pt x="165" y="356"/>
                  <a:pt x="164" y="356"/>
                  <a:pt x="164" y="356"/>
                </a:cubicBezTo>
                <a:cubicBezTo>
                  <a:pt x="164" y="356"/>
                  <a:pt x="164" y="356"/>
                  <a:pt x="164" y="357"/>
                </a:cubicBezTo>
                <a:cubicBezTo>
                  <a:pt x="163" y="357"/>
                  <a:pt x="163" y="356"/>
                  <a:pt x="163" y="356"/>
                </a:cubicBezTo>
                <a:cubicBezTo>
                  <a:pt x="161" y="356"/>
                  <a:pt x="160" y="356"/>
                  <a:pt x="160" y="355"/>
                </a:cubicBezTo>
                <a:cubicBezTo>
                  <a:pt x="159" y="354"/>
                  <a:pt x="159" y="353"/>
                  <a:pt x="158" y="352"/>
                </a:cubicBezTo>
                <a:cubicBezTo>
                  <a:pt x="156" y="352"/>
                  <a:pt x="155" y="351"/>
                  <a:pt x="154" y="351"/>
                </a:cubicBezTo>
                <a:cubicBezTo>
                  <a:pt x="154" y="351"/>
                  <a:pt x="153" y="351"/>
                  <a:pt x="153" y="351"/>
                </a:cubicBezTo>
                <a:cubicBezTo>
                  <a:pt x="152" y="350"/>
                  <a:pt x="153" y="350"/>
                  <a:pt x="153" y="350"/>
                </a:cubicBezTo>
                <a:cubicBezTo>
                  <a:pt x="153" y="350"/>
                  <a:pt x="154" y="350"/>
                  <a:pt x="155" y="350"/>
                </a:cubicBezTo>
                <a:cubicBezTo>
                  <a:pt x="155" y="350"/>
                  <a:pt x="156" y="349"/>
                  <a:pt x="155" y="349"/>
                </a:cubicBezTo>
                <a:cubicBezTo>
                  <a:pt x="155" y="349"/>
                  <a:pt x="154" y="349"/>
                  <a:pt x="154" y="349"/>
                </a:cubicBezTo>
                <a:cubicBezTo>
                  <a:pt x="154" y="349"/>
                  <a:pt x="154" y="349"/>
                  <a:pt x="154" y="349"/>
                </a:cubicBezTo>
                <a:cubicBezTo>
                  <a:pt x="154" y="349"/>
                  <a:pt x="154" y="349"/>
                  <a:pt x="154" y="349"/>
                </a:cubicBezTo>
                <a:cubicBezTo>
                  <a:pt x="154" y="349"/>
                  <a:pt x="154" y="349"/>
                  <a:pt x="154" y="349"/>
                </a:cubicBezTo>
                <a:cubicBezTo>
                  <a:pt x="154" y="349"/>
                  <a:pt x="154" y="348"/>
                  <a:pt x="154" y="349"/>
                </a:cubicBezTo>
                <a:cubicBezTo>
                  <a:pt x="153" y="349"/>
                  <a:pt x="153" y="349"/>
                  <a:pt x="153" y="349"/>
                </a:cubicBezTo>
                <a:cubicBezTo>
                  <a:pt x="153" y="349"/>
                  <a:pt x="154" y="348"/>
                  <a:pt x="154" y="348"/>
                </a:cubicBezTo>
                <a:cubicBezTo>
                  <a:pt x="154" y="348"/>
                  <a:pt x="155" y="348"/>
                  <a:pt x="155" y="348"/>
                </a:cubicBezTo>
                <a:cubicBezTo>
                  <a:pt x="156" y="348"/>
                  <a:pt x="157" y="349"/>
                  <a:pt x="157" y="349"/>
                </a:cubicBezTo>
                <a:cubicBezTo>
                  <a:pt x="157" y="350"/>
                  <a:pt x="157" y="349"/>
                  <a:pt x="157" y="350"/>
                </a:cubicBezTo>
                <a:cubicBezTo>
                  <a:pt x="156" y="350"/>
                  <a:pt x="159" y="350"/>
                  <a:pt x="159" y="350"/>
                </a:cubicBezTo>
                <a:cubicBezTo>
                  <a:pt x="158" y="349"/>
                  <a:pt x="158" y="349"/>
                  <a:pt x="157" y="349"/>
                </a:cubicBezTo>
                <a:cubicBezTo>
                  <a:pt x="157" y="349"/>
                  <a:pt x="159" y="349"/>
                  <a:pt x="159" y="349"/>
                </a:cubicBezTo>
                <a:cubicBezTo>
                  <a:pt x="160" y="349"/>
                  <a:pt x="160" y="349"/>
                  <a:pt x="160" y="349"/>
                </a:cubicBezTo>
                <a:cubicBezTo>
                  <a:pt x="160" y="349"/>
                  <a:pt x="162" y="349"/>
                  <a:pt x="161" y="349"/>
                </a:cubicBezTo>
                <a:cubicBezTo>
                  <a:pt x="161" y="349"/>
                  <a:pt x="161" y="349"/>
                  <a:pt x="162" y="349"/>
                </a:cubicBezTo>
                <a:cubicBezTo>
                  <a:pt x="162" y="349"/>
                  <a:pt x="162" y="349"/>
                  <a:pt x="162" y="349"/>
                </a:cubicBezTo>
                <a:cubicBezTo>
                  <a:pt x="162" y="349"/>
                  <a:pt x="162" y="349"/>
                  <a:pt x="162" y="348"/>
                </a:cubicBezTo>
                <a:cubicBezTo>
                  <a:pt x="162" y="348"/>
                  <a:pt x="162" y="348"/>
                  <a:pt x="162" y="348"/>
                </a:cubicBezTo>
                <a:cubicBezTo>
                  <a:pt x="162" y="347"/>
                  <a:pt x="162" y="347"/>
                  <a:pt x="162" y="347"/>
                </a:cubicBezTo>
                <a:cubicBezTo>
                  <a:pt x="162" y="346"/>
                  <a:pt x="161" y="346"/>
                  <a:pt x="161" y="346"/>
                </a:cubicBezTo>
                <a:cubicBezTo>
                  <a:pt x="161" y="346"/>
                  <a:pt x="161" y="346"/>
                  <a:pt x="161" y="347"/>
                </a:cubicBezTo>
                <a:cubicBezTo>
                  <a:pt x="161" y="347"/>
                  <a:pt x="161" y="347"/>
                  <a:pt x="161" y="347"/>
                </a:cubicBezTo>
                <a:cubicBezTo>
                  <a:pt x="161" y="347"/>
                  <a:pt x="161" y="348"/>
                  <a:pt x="161" y="348"/>
                </a:cubicBezTo>
                <a:cubicBezTo>
                  <a:pt x="161" y="348"/>
                  <a:pt x="160" y="345"/>
                  <a:pt x="161" y="345"/>
                </a:cubicBezTo>
                <a:cubicBezTo>
                  <a:pt x="161" y="345"/>
                  <a:pt x="161" y="346"/>
                  <a:pt x="162" y="346"/>
                </a:cubicBezTo>
                <a:cubicBezTo>
                  <a:pt x="161" y="345"/>
                  <a:pt x="162" y="345"/>
                  <a:pt x="162" y="345"/>
                </a:cubicBezTo>
                <a:cubicBezTo>
                  <a:pt x="163" y="344"/>
                  <a:pt x="163" y="344"/>
                  <a:pt x="163" y="343"/>
                </a:cubicBezTo>
                <a:cubicBezTo>
                  <a:pt x="163" y="343"/>
                  <a:pt x="163" y="342"/>
                  <a:pt x="163" y="341"/>
                </a:cubicBezTo>
                <a:cubicBezTo>
                  <a:pt x="163" y="341"/>
                  <a:pt x="164" y="341"/>
                  <a:pt x="164" y="341"/>
                </a:cubicBezTo>
                <a:cubicBezTo>
                  <a:pt x="164" y="341"/>
                  <a:pt x="164" y="341"/>
                  <a:pt x="164" y="341"/>
                </a:cubicBezTo>
                <a:cubicBezTo>
                  <a:pt x="164" y="341"/>
                  <a:pt x="164" y="342"/>
                  <a:pt x="164" y="342"/>
                </a:cubicBezTo>
                <a:cubicBezTo>
                  <a:pt x="164" y="342"/>
                  <a:pt x="164" y="342"/>
                  <a:pt x="164" y="342"/>
                </a:cubicBezTo>
                <a:cubicBezTo>
                  <a:pt x="164" y="343"/>
                  <a:pt x="163" y="344"/>
                  <a:pt x="164" y="344"/>
                </a:cubicBezTo>
                <a:cubicBezTo>
                  <a:pt x="164" y="344"/>
                  <a:pt x="165" y="342"/>
                  <a:pt x="165" y="342"/>
                </a:cubicBezTo>
                <a:cubicBezTo>
                  <a:pt x="165" y="341"/>
                  <a:pt x="165" y="340"/>
                  <a:pt x="166" y="340"/>
                </a:cubicBezTo>
                <a:cubicBezTo>
                  <a:pt x="166" y="341"/>
                  <a:pt x="167" y="342"/>
                  <a:pt x="168" y="341"/>
                </a:cubicBezTo>
                <a:cubicBezTo>
                  <a:pt x="169" y="341"/>
                  <a:pt x="167" y="340"/>
                  <a:pt x="167" y="340"/>
                </a:cubicBezTo>
                <a:cubicBezTo>
                  <a:pt x="166" y="339"/>
                  <a:pt x="165" y="338"/>
                  <a:pt x="163" y="337"/>
                </a:cubicBezTo>
                <a:cubicBezTo>
                  <a:pt x="163" y="338"/>
                  <a:pt x="163" y="338"/>
                  <a:pt x="163" y="338"/>
                </a:cubicBezTo>
                <a:cubicBezTo>
                  <a:pt x="163" y="337"/>
                  <a:pt x="162" y="337"/>
                  <a:pt x="162" y="337"/>
                </a:cubicBezTo>
                <a:cubicBezTo>
                  <a:pt x="161" y="337"/>
                  <a:pt x="160" y="335"/>
                  <a:pt x="160" y="335"/>
                </a:cubicBezTo>
                <a:cubicBezTo>
                  <a:pt x="160" y="335"/>
                  <a:pt x="162" y="335"/>
                  <a:pt x="162" y="335"/>
                </a:cubicBezTo>
                <a:cubicBezTo>
                  <a:pt x="162" y="335"/>
                  <a:pt x="163" y="335"/>
                  <a:pt x="163" y="335"/>
                </a:cubicBezTo>
                <a:cubicBezTo>
                  <a:pt x="164" y="334"/>
                  <a:pt x="165" y="334"/>
                  <a:pt x="165" y="334"/>
                </a:cubicBezTo>
                <a:cubicBezTo>
                  <a:pt x="166" y="335"/>
                  <a:pt x="168" y="335"/>
                  <a:pt x="168" y="334"/>
                </a:cubicBezTo>
                <a:cubicBezTo>
                  <a:pt x="167" y="334"/>
                  <a:pt x="166" y="333"/>
                  <a:pt x="166" y="334"/>
                </a:cubicBezTo>
                <a:cubicBezTo>
                  <a:pt x="165" y="334"/>
                  <a:pt x="166" y="332"/>
                  <a:pt x="167" y="332"/>
                </a:cubicBezTo>
                <a:cubicBezTo>
                  <a:pt x="167" y="333"/>
                  <a:pt x="168" y="333"/>
                  <a:pt x="169" y="332"/>
                </a:cubicBezTo>
                <a:cubicBezTo>
                  <a:pt x="169" y="332"/>
                  <a:pt x="169" y="332"/>
                  <a:pt x="170" y="332"/>
                </a:cubicBezTo>
                <a:cubicBezTo>
                  <a:pt x="171" y="331"/>
                  <a:pt x="171" y="331"/>
                  <a:pt x="171" y="331"/>
                </a:cubicBezTo>
                <a:cubicBezTo>
                  <a:pt x="171" y="331"/>
                  <a:pt x="172" y="331"/>
                  <a:pt x="172" y="331"/>
                </a:cubicBezTo>
                <a:cubicBezTo>
                  <a:pt x="173" y="331"/>
                  <a:pt x="173" y="331"/>
                  <a:pt x="173" y="330"/>
                </a:cubicBezTo>
                <a:cubicBezTo>
                  <a:pt x="173" y="330"/>
                  <a:pt x="173" y="330"/>
                  <a:pt x="174" y="330"/>
                </a:cubicBezTo>
                <a:cubicBezTo>
                  <a:pt x="174" y="329"/>
                  <a:pt x="173" y="330"/>
                  <a:pt x="173" y="330"/>
                </a:cubicBezTo>
                <a:cubicBezTo>
                  <a:pt x="173" y="330"/>
                  <a:pt x="173" y="329"/>
                  <a:pt x="173" y="328"/>
                </a:cubicBezTo>
                <a:cubicBezTo>
                  <a:pt x="172" y="328"/>
                  <a:pt x="171" y="328"/>
                  <a:pt x="170" y="328"/>
                </a:cubicBezTo>
                <a:cubicBezTo>
                  <a:pt x="170" y="328"/>
                  <a:pt x="170" y="328"/>
                  <a:pt x="170" y="328"/>
                </a:cubicBezTo>
                <a:cubicBezTo>
                  <a:pt x="170" y="328"/>
                  <a:pt x="170" y="329"/>
                  <a:pt x="170" y="329"/>
                </a:cubicBezTo>
                <a:cubicBezTo>
                  <a:pt x="169" y="329"/>
                  <a:pt x="168" y="329"/>
                  <a:pt x="168" y="329"/>
                </a:cubicBezTo>
                <a:cubicBezTo>
                  <a:pt x="167" y="330"/>
                  <a:pt x="167" y="330"/>
                  <a:pt x="166" y="330"/>
                </a:cubicBezTo>
                <a:cubicBezTo>
                  <a:pt x="166" y="329"/>
                  <a:pt x="167" y="328"/>
                  <a:pt x="167" y="328"/>
                </a:cubicBezTo>
                <a:cubicBezTo>
                  <a:pt x="168" y="328"/>
                  <a:pt x="169" y="329"/>
                  <a:pt x="169" y="328"/>
                </a:cubicBezTo>
                <a:cubicBezTo>
                  <a:pt x="168" y="328"/>
                  <a:pt x="167" y="328"/>
                  <a:pt x="167" y="328"/>
                </a:cubicBezTo>
                <a:cubicBezTo>
                  <a:pt x="166" y="329"/>
                  <a:pt x="166" y="329"/>
                  <a:pt x="165" y="330"/>
                </a:cubicBezTo>
                <a:cubicBezTo>
                  <a:pt x="165" y="330"/>
                  <a:pt x="164" y="330"/>
                  <a:pt x="164" y="329"/>
                </a:cubicBezTo>
                <a:cubicBezTo>
                  <a:pt x="164" y="329"/>
                  <a:pt x="164" y="329"/>
                  <a:pt x="164" y="328"/>
                </a:cubicBezTo>
                <a:cubicBezTo>
                  <a:pt x="165" y="328"/>
                  <a:pt x="164" y="328"/>
                  <a:pt x="164" y="327"/>
                </a:cubicBezTo>
                <a:cubicBezTo>
                  <a:pt x="163" y="327"/>
                  <a:pt x="164" y="327"/>
                  <a:pt x="164" y="327"/>
                </a:cubicBezTo>
                <a:cubicBezTo>
                  <a:pt x="164" y="326"/>
                  <a:pt x="164" y="325"/>
                  <a:pt x="164" y="325"/>
                </a:cubicBezTo>
                <a:cubicBezTo>
                  <a:pt x="165" y="324"/>
                  <a:pt x="165" y="324"/>
                  <a:pt x="166" y="324"/>
                </a:cubicBezTo>
                <a:cubicBezTo>
                  <a:pt x="167" y="324"/>
                  <a:pt x="167" y="324"/>
                  <a:pt x="167" y="324"/>
                </a:cubicBezTo>
                <a:cubicBezTo>
                  <a:pt x="168" y="324"/>
                  <a:pt x="168" y="322"/>
                  <a:pt x="168" y="322"/>
                </a:cubicBezTo>
                <a:cubicBezTo>
                  <a:pt x="169" y="321"/>
                  <a:pt x="170" y="322"/>
                  <a:pt x="171" y="322"/>
                </a:cubicBezTo>
                <a:cubicBezTo>
                  <a:pt x="172" y="322"/>
                  <a:pt x="173" y="322"/>
                  <a:pt x="174" y="322"/>
                </a:cubicBezTo>
                <a:cubicBezTo>
                  <a:pt x="174" y="322"/>
                  <a:pt x="175" y="322"/>
                  <a:pt x="176" y="322"/>
                </a:cubicBezTo>
                <a:cubicBezTo>
                  <a:pt x="177" y="321"/>
                  <a:pt x="175" y="320"/>
                  <a:pt x="176" y="320"/>
                </a:cubicBezTo>
                <a:cubicBezTo>
                  <a:pt x="176" y="319"/>
                  <a:pt x="176" y="318"/>
                  <a:pt x="177" y="318"/>
                </a:cubicBezTo>
                <a:cubicBezTo>
                  <a:pt x="177" y="318"/>
                  <a:pt x="178" y="317"/>
                  <a:pt x="177" y="317"/>
                </a:cubicBezTo>
                <a:cubicBezTo>
                  <a:pt x="177" y="317"/>
                  <a:pt x="176" y="317"/>
                  <a:pt x="176" y="317"/>
                </a:cubicBezTo>
                <a:cubicBezTo>
                  <a:pt x="176" y="317"/>
                  <a:pt x="176" y="316"/>
                  <a:pt x="176" y="316"/>
                </a:cubicBezTo>
                <a:cubicBezTo>
                  <a:pt x="176" y="316"/>
                  <a:pt x="176" y="316"/>
                  <a:pt x="176" y="316"/>
                </a:cubicBezTo>
                <a:cubicBezTo>
                  <a:pt x="176" y="315"/>
                  <a:pt x="175" y="315"/>
                  <a:pt x="176" y="315"/>
                </a:cubicBezTo>
                <a:cubicBezTo>
                  <a:pt x="176" y="315"/>
                  <a:pt x="176" y="315"/>
                  <a:pt x="175" y="314"/>
                </a:cubicBezTo>
                <a:cubicBezTo>
                  <a:pt x="175" y="314"/>
                  <a:pt x="173" y="315"/>
                  <a:pt x="174" y="313"/>
                </a:cubicBezTo>
                <a:cubicBezTo>
                  <a:pt x="174" y="313"/>
                  <a:pt x="174" y="312"/>
                  <a:pt x="175" y="312"/>
                </a:cubicBezTo>
                <a:cubicBezTo>
                  <a:pt x="175" y="312"/>
                  <a:pt x="175" y="312"/>
                  <a:pt x="176" y="312"/>
                </a:cubicBezTo>
                <a:cubicBezTo>
                  <a:pt x="176" y="312"/>
                  <a:pt x="177" y="312"/>
                  <a:pt x="177" y="311"/>
                </a:cubicBezTo>
                <a:cubicBezTo>
                  <a:pt x="177" y="311"/>
                  <a:pt x="177" y="311"/>
                  <a:pt x="176" y="311"/>
                </a:cubicBezTo>
                <a:cubicBezTo>
                  <a:pt x="175" y="311"/>
                  <a:pt x="174" y="311"/>
                  <a:pt x="173" y="310"/>
                </a:cubicBezTo>
                <a:cubicBezTo>
                  <a:pt x="173" y="309"/>
                  <a:pt x="175" y="309"/>
                  <a:pt x="175" y="309"/>
                </a:cubicBezTo>
                <a:cubicBezTo>
                  <a:pt x="175" y="309"/>
                  <a:pt x="175" y="308"/>
                  <a:pt x="176" y="308"/>
                </a:cubicBezTo>
                <a:cubicBezTo>
                  <a:pt x="176" y="308"/>
                  <a:pt x="176" y="308"/>
                  <a:pt x="176" y="308"/>
                </a:cubicBezTo>
                <a:cubicBezTo>
                  <a:pt x="177" y="307"/>
                  <a:pt x="177" y="307"/>
                  <a:pt x="177" y="306"/>
                </a:cubicBezTo>
                <a:cubicBezTo>
                  <a:pt x="177" y="305"/>
                  <a:pt x="176" y="305"/>
                  <a:pt x="176" y="305"/>
                </a:cubicBezTo>
                <a:cubicBezTo>
                  <a:pt x="175" y="304"/>
                  <a:pt x="176" y="304"/>
                  <a:pt x="176" y="303"/>
                </a:cubicBezTo>
                <a:cubicBezTo>
                  <a:pt x="177" y="303"/>
                  <a:pt x="175" y="303"/>
                  <a:pt x="175" y="303"/>
                </a:cubicBezTo>
                <a:cubicBezTo>
                  <a:pt x="174" y="303"/>
                  <a:pt x="174" y="304"/>
                  <a:pt x="173" y="304"/>
                </a:cubicBezTo>
                <a:cubicBezTo>
                  <a:pt x="173" y="303"/>
                  <a:pt x="172" y="303"/>
                  <a:pt x="172" y="303"/>
                </a:cubicBezTo>
                <a:cubicBezTo>
                  <a:pt x="171" y="302"/>
                  <a:pt x="171" y="302"/>
                  <a:pt x="171" y="302"/>
                </a:cubicBezTo>
                <a:cubicBezTo>
                  <a:pt x="170" y="302"/>
                  <a:pt x="169" y="302"/>
                  <a:pt x="169" y="302"/>
                </a:cubicBezTo>
                <a:cubicBezTo>
                  <a:pt x="168" y="301"/>
                  <a:pt x="168" y="301"/>
                  <a:pt x="168" y="300"/>
                </a:cubicBezTo>
                <a:cubicBezTo>
                  <a:pt x="167" y="300"/>
                  <a:pt x="167" y="301"/>
                  <a:pt x="167" y="301"/>
                </a:cubicBezTo>
                <a:cubicBezTo>
                  <a:pt x="166" y="301"/>
                  <a:pt x="166" y="301"/>
                  <a:pt x="165" y="300"/>
                </a:cubicBezTo>
                <a:cubicBezTo>
                  <a:pt x="165" y="300"/>
                  <a:pt x="164" y="300"/>
                  <a:pt x="164" y="300"/>
                </a:cubicBezTo>
                <a:cubicBezTo>
                  <a:pt x="163" y="300"/>
                  <a:pt x="163" y="299"/>
                  <a:pt x="163" y="299"/>
                </a:cubicBezTo>
                <a:cubicBezTo>
                  <a:pt x="163" y="299"/>
                  <a:pt x="162" y="299"/>
                  <a:pt x="162" y="299"/>
                </a:cubicBezTo>
                <a:cubicBezTo>
                  <a:pt x="162" y="299"/>
                  <a:pt x="161" y="299"/>
                  <a:pt x="161" y="299"/>
                </a:cubicBezTo>
                <a:cubicBezTo>
                  <a:pt x="160" y="299"/>
                  <a:pt x="160" y="298"/>
                  <a:pt x="160" y="298"/>
                </a:cubicBezTo>
                <a:cubicBezTo>
                  <a:pt x="159" y="298"/>
                  <a:pt x="159" y="298"/>
                  <a:pt x="159" y="299"/>
                </a:cubicBezTo>
                <a:cubicBezTo>
                  <a:pt x="159" y="300"/>
                  <a:pt x="159" y="299"/>
                  <a:pt x="158" y="300"/>
                </a:cubicBezTo>
                <a:cubicBezTo>
                  <a:pt x="158" y="300"/>
                  <a:pt x="158" y="300"/>
                  <a:pt x="157" y="299"/>
                </a:cubicBezTo>
                <a:cubicBezTo>
                  <a:pt x="157" y="299"/>
                  <a:pt x="156" y="299"/>
                  <a:pt x="156" y="298"/>
                </a:cubicBezTo>
                <a:cubicBezTo>
                  <a:pt x="155" y="298"/>
                  <a:pt x="154" y="297"/>
                  <a:pt x="154" y="297"/>
                </a:cubicBezTo>
                <a:cubicBezTo>
                  <a:pt x="154" y="297"/>
                  <a:pt x="154" y="296"/>
                  <a:pt x="154" y="296"/>
                </a:cubicBezTo>
                <a:cubicBezTo>
                  <a:pt x="153" y="295"/>
                  <a:pt x="153" y="295"/>
                  <a:pt x="152" y="295"/>
                </a:cubicBezTo>
                <a:cubicBezTo>
                  <a:pt x="152" y="294"/>
                  <a:pt x="152" y="294"/>
                  <a:pt x="152" y="294"/>
                </a:cubicBezTo>
                <a:cubicBezTo>
                  <a:pt x="151" y="294"/>
                  <a:pt x="150" y="295"/>
                  <a:pt x="149" y="295"/>
                </a:cubicBezTo>
                <a:cubicBezTo>
                  <a:pt x="148" y="295"/>
                  <a:pt x="148" y="295"/>
                  <a:pt x="147" y="296"/>
                </a:cubicBezTo>
                <a:cubicBezTo>
                  <a:pt x="146" y="296"/>
                  <a:pt x="146" y="296"/>
                  <a:pt x="146" y="297"/>
                </a:cubicBezTo>
                <a:cubicBezTo>
                  <a:pt x="145" y="297"/>
                  <a:pt x="145" y="297"/>
                  <a:pt x="145" y="296"/>
                </a:cubicBezTo>
                <a:cubicBezTo>
                  <a:pt x="145" y="296"/>
                  <a:pt x="145" y="296"/>
                  <a:pt x="145" y="296"/>
                </a:cubicBezTo>
                <a:cubicBezTo>
                  <a:pt x="145" y="296"/>
                  <a:pt x="144" y="296"/>
                  <a:pt x="144" y="296"/>
                </a:cubicBezTo>
                <a:cubicBezTo>
                  <a:pt x="144" y="295"/>
                  <a:pt x="144" y="296"/>
                  <a:pt x="143" y="296"/>
                </a:cubicBezTo>
                <a:cubicBezTo>
                  <a:pt x="142" y="296"/>
                  <a:pt x="142" y="295"/>
                  <a:pt x="142" y="295"/>
                </a:cubicBezTo>
                <a:cubicBezTo>
                  <a:pt x="141" y="294"/>
                  <a:pt x="139" y="294"/>
                  <a:pt x="138" y="295"/>
                </a:cubicBezTo>
                <a:cubicBezTo>
                  <a:pt x="137" y="295"/>
                  <a:pt x="137" y="295"/>
                  <a:pt x="136" y="294"/>
                </a:cubicBezTo>
                <a:cubicBezTo>
                  <a:pt x="136" y="294"/>
                  <a:pt x="135" y="294"/>
                  <a:pt x="135" y="293"/>
                </a:cubicBezTo>
                <a:cubicBezTo>
                  <a:pt x="135" y="293"/>
                  <a:pt x="134" y="292"/>
                  <a:pt x="135" y="292"/>
                </a:cubicBezTo>
                <a:cubicBezTo>
                  <a:pt x="135" y="292"/>
                  <a:pt x="135" y="291"/>
                  <a:pt x="135" y="291"/>
                </a:cubicBezTo>
                <a:cubicBezTo>
                  <a:pt x="134" y="290"/>
                  <a:pt x="134" y="289"/>
                  <a:pt x="133" y="289"/>
                </a:cubicBezTo>
                <a:cubicBezTo>
                  <a:pt x="133" y="289"/>
                  <a:pt x="133" y="288"/>
                  <a:pt x="134" y="288"/>
                </a:cubicBezTo>
                <a:cubicBezTo>
                  <a:pt x="134" y="288"/>
                  <a:pt x="132" y="288"/>
                  <a:pt x="132" y="288"/>
                </a:cubicBezTo>
                <a:cubicBezTo>
                  <a:pt x="131" y="287"/>
                  <a:pt x="132" y="286"/>
                  <a:pt x="131" y="286"/>
                </a:cubicBezTo>
                <a:cubicBezTo>
                  <a:pt x="130" y="285"/>
                  <a:pt x="128" y="287"/>
                  <a:pt x="127" y="286"/>
                </a:cubicBezTo>
                <a:cubicBezTo>
                  <a:pt x="127" y="286"/>
                  <a:pt x="126" y="286"/>
                  <a:pt x="125" y="286"/>
                </a:cubicBezTo>
                <a:cubicBezTo>
                  <a:pt x="125" y="285"/>
                  <a:pt x="125" y="286"/>
                  <a:pt x="124" y="286"/>
                </a:cubicBezTo>
                <a:cubicBezTo>
                  <a:pt x="124" y="286"/>
                  <a:pt x="124" y="286"/>
                  <a:pt x="124" y="286"/>
                </a:cubicBezTo>
                <a:cubicBezTo>
                  <a:pt x="124" y="285"/>
                  <a:pt x="124" y="285"/>
                  <a:pt x="124" y="285"/>
                </a:cubicBezTo>
                <a:cubicBezTo>
                  <a:pt x="124" y="284"/>
                  <a:pt x="124" y="284"/>
                  <a:pt x="124" y="284"/>
                </a:cubicBezTo>
                <a:cubicBezTo>
                  <a:pt x="123" y="284"/>
                  <a:pt x="124" y="283"/>
                  <a:pt x="123" y="283"/>
                </a:cubicBezTo>
                <a:cubicBezTo>
                  <a:pt x="123" y="282"/>
                  <a:pt x="123" y="282"/>
                  <a:pt x="123" y="282"/>
                </a:cubicBezTo>
                <a:cubicBezTo>
                  <a:pt x="123" y="282"/>
                  <a:pt x="122" y="281"/>
                  <a:pt x="122" y="281"/>
                </a:cubicBezTo>
                <a:cubicBezTo>
                  <a:pt x="122" y="281"/>
                  <a:pt x="123" y="281"/>
                  <a:pt x="123" y="281"/>
                </a:cubicBezTo>
                <a:cubicBezTo>
                  <a:pt x="124" y="281"/>
                  <a:pt x="125" y="281"/>
                  <a:pt x="125" y="280"/>
                </a:cubicBezTo>
                <a:cubicBezTo>
                  <a:pt x="125" y="280"/>
                  <a:pt x="124" y="279"/>
                  <a:pt x="123" y="279"/>
                </a:cubicBezTo>
                <a:cubicBezTo>
                  <a:pt x="123" y="279"/>
                  <a:pt x="122" y="278"/>
                  <a:pt x="122" y="278"/>
                </a:cubicBezTo>
                <a:cubicBezTo>
                  <a:pt x="121" y="277"/>
                  <a:pt x="122" y="276"/>
                  <a:pt x="121" y="275"/>
                </a:cubicBezTo>
                <a:cubicBezTo>
                  <a:pt x="120" y="275"/>
                  <a:pt x="119" y="274"/>
                  <a:pt x="119" y="274"/>
                </a:cubicBezTo>
                <a:cubicBezTo>
                  <a:pt x="118" y="274"/>
                  <a:pt x="118" y="274"/>
                  <a:pt x="117" y="274"/>
                </a:cubicBezTo>
                <a:cubicBezTo>
                  <a:pt x="117" y="274"/>
                  <a:pt x="117" y="275"/>
                  <a:pt x="116" y="275"/>
                </a:cubicBezTo>
                <a:cubicBezTo>
                  <a:pt x="116" y="274"/>
                  <a:pt x="116" y="274"/>
                  <a:pt x="116" y="274"/>
                </a:cubicBezTo>
                <a:cubicBezTo>
                  <a:pt x="115" y="274"/>
                  <a:pt x="115" y="274"/>
                  <a:pt x="114" y="274"/>
                </a:cubicBezTo>
                <a:cubicBezTo>
                  <a:pt x="113" y="274"/>
                  <a:pt x="113" y="275"/>
                  <a:pt x="112" y="275"/>
                </a:cubicBezTo>
                <a:cubicBezTo>
                  <a:pt x="111" y="275"/>
                  <a:pt x="110" y="275"/>
                  <a:pt x="109" y="274"/>
                </a:cubicBezTo>
                <a:cubicBezTo>
                  <a:pt x="108" y="274"/>
                  <a:pt x="107" y="274"/>
                  <a:pt x="107" y="275"/>
                </a:cubicBezTo>
                <a:cubicBezTo>
                  <a:pt x="107" y="275"/>
                  <a:pt x="107" y="276"/>
                  <a:pt x="106" y="276"/>
                </a:cubicBezTo>
                <a:cubicBezTo>
                  <a:pt x="106" y="277"/>
                  <a:pt x="105" y="277"/>
                  <a:pt x="104" y="277"/>
                </a:cubicBezTo>
                <a:cubicBezTo>
                  <a:pt x="104" y="277"/>
                  <a:pt x="103" y="277"/>
                  <a:pt x="103" y="277"/>
                </a:cubicBezTo>
                <a:cubicBezTo>
                  <a:pt x="103" y="277"/>
                  <a:pt x="103" y="277"/>
                  <a:pt x="102" y="277"/>
                </a:cubicBezTo>
                <a:cubicBezTo>
                  <a:pt x="102" y="276"/>
                  <a:pt x="101" y="276"/>
                  <a:pt x="101" y="275"/>
                </a:cubicBezTo>
                <a:cubicBezTo>
                  <a:pt x="101" y="275"/>
                  <a:pt x="101" y="275"/>
                  <a:pt x="101" y="275"/>
                </a:cubicBezTo>
                <a:cubicBezTo>
                  <a:pt x="100" y="274"/>
                  <a:pt x="101" y="275"/>
                  <a:pt x="101" y="274"/>
                </a:cubicBezTo>
                <a:cubicBezTo>
                  <a:pt x="100" y="273"/>
                  <a:pt x="100" y="273"/>
                  <a:pt x="100" y="272"/>
                </a:cubicBezTo>
                <a:cubicBezTo>
                  <a:pt x="100" y="272"/>
                  <a:pt x="100" y="272"/>
                  <a:pt x="100" y="272"/>
                </a:cubicBezTo>
                <a:cubicBezTo>
                  <a:pt x="100" y="271"/>
                  <a:pt x="99" y="271"/>
                  <a:pt x="99" y="270"/>
                </a:cubicBezTo>
                <a:cubicBezTo>
                  <a:pt x="100" y="270"/>
                  <a:pt x="100" y="269"/>
                  <a:pt x="99" y="269"/>
                </a:cubicBezTo>
                <a:cubicBezTo>
                  <a:pt x="98" y="268"/>
                  <a:pt x="98" y="268"/>
                  <a:pt x="97" y="267"/>
                </a:cubicBezTo>
                <a:cubicBezTo>
                  <a:pt x="97" y="267"/>
                  <a:pt x="98" y="266"/>
                  <a:pt x="97" y="266"/>
                </a:cubicBezTo>
                <a:cubicBezTo>
                  <a:pt x="97" y="265"/>
                  <a:pt x="98" y="265"/>
                  <a:pt x="99" y="265"/>
                </a:cubicBezTo>
                <a:cubicBezTo>
                  <a:pt x="100" y="265"/>
                  <a:pt x="100" y="265"/>
                  <a:pt x="101" y="266"/>
                </a:cubicBezTo>
                <a:cubicBezTo>
                  <a:pt x="101" y="266"/>
                  <a:pt x="103" y="266"/>
                  <a:pt x="104" y="266"/>
                </a:cubicBezTo>
                <a:cubicBezTo>
                  <a:pt x="104" y="266"/>
                  <a:pt x="105" y="266"/>
                  <a:pt x="105" y="266"/>
                </a:cubicBezTo>
                <a:cubicBezTo>
                  <a:pt x="106" y="265"/>
                  <a:pt x="106" y="265"/>
                  <a:pt x="106" y="265"/>
                </a:cubicBezTo>
                <a:cubicBezTo>
                  <a:pt x="106" y="264"/>
                  <a:pt x="106" y="264"/>
                  <a:pt x="106" y="264"/>
                </a:cubicBezTo>
                <a:cubicBezTo>
                  <a:pt x="106" y="264"/>
                  <a:pt x="108" y="264"/>
                  <a:pt x="108" y="264"/>
                </a:cubicBezTo>
                <a:cubicBezTo>
                  <a:pt x="109" y="264"/>
                  <a:pt x="108" y="263"/>
                  <a:pt x="108" y="262"/>
                </a:cubicBezTo>
                <a:cubicBezTo>
                  <a:pt x="108" y="262"/>
                  <a:pt x="105" y="261"/>
                  <a:pt x="105" y="260"/>
                </a:cubicBezTo>
                <a:cubicBezTo>
                  <a:pt x="106" y="260"/>
                  <a:pt x="106" y="260"/>
                  <a:pt x="105" y="260"/>
                </a:cubicBezTo>
                <a:cubicBezTo>
                  <a:pt x="104" y="259"/>
                  <a:pt x="103" y="259"/>
                  <a:pt x="102" y="259"/>
                </a:cubicBezTo>
                <a:cubicBezTo>
                  <a:pt x="102" y="259"/>
                  <a:pt x="100" y="259"/>
                  <a:pt x="100" y="259"/>
                </a:cubicBezTo>
                <a:cubicBezTo>
                  <a:pt x="100" y="258"/>
                  <a:pt x="101" y="257"/>
                  <a:pt x="100" y="256"/>
                </a:cubicBezTo>
                <a:cubicBezTo>
                  <a:pt x="99" y="256"/>
                  <a:pt x="98" y="256"/>
                  <a:pt x="98" y="255"/>
                </a:cubicBezTo>
                <a:cubicBezTo>
                  <a:pt x="97" y="255"/>
                  <a:pt x="96" y="255"/>
                  <a:pt x="96" y="254"/>
                </a:cubicBezTo>
                <a:cubicBezTo>
                  <a:pt x="95" y="254"/>
                  <a:pt x="95" y="252"/>
                  <a:pt x="94" y="252"/>
                </a:cubicBezTo>
                <a:cubicBezTo>
                  <a:pt x="94" y="252"/>
                  <a:pt x="93" y="252"/>
                  <a:pt x="93" y="251"/>
                </a:cubicBezTo>
                <a:cubicBezTo>
                  <a:pt x="93" y="251"/>
                  <a:pt x="93" y="251"/>
                  <a:pt x="94" y="251"/>
                </a:cubicBezTo>
                <a:cubicBezTo>
                  <a:pt x="94" y="250"/>
                  <a:pt x="93" y="250"/>
                  <a:pt x="92" y="250"/>
                </a:cubicBezTo>
                <a:cubicBezTo>
                  <a:pt x="92" y="249"/>
                  <a:pt x="91" y="249"/>
                  <a:pt x="90" y="249"/>
                </a:cubicBezTo>
                <a:cubicBezTo>
                  <a:pt x="90" y="248"/>
                  <a:pt x="91" y="248"/>
                  <a:pt x="91" y="248"/>
                </a:cubicBezTo>
                <a:cubicBezTo>
                  <a:pt x="91" y="247"/>
                  <a:pt x="90" y="247"/>
                  <a:pt x="91" y="247"/>
                </a:cubicBezTo>
                <a:cubicBezTo>
                  <a:pt x="91" y="247"/>
                  <a:pt x="91" y="247"/>
                  <a:pt x="91" y="247"/>
                </a:cubicBezTo>
                <a:cubicBezTo>
                  <a:pt x="91" y="246"/>
                  <a:pt x="91" y="246"/>
                  <a:pt x="91" y="246"/>
                </a:cubicBezTo>
                <a:cubicBezTo>
                  <a:pt x="91" y="246"/>
                  <a:pt x="92" y="246"/>
                  <a:pt x="92" y="246"/>
                </a:cubicBezTo>
                <a:cubicBezTo>
                  <a:pt x="92" y="245"/>
                  <a:pt x="91" y="245"/>
                  <a:pt x="91" y="244"/>
                </a:cubicBezTo>
                <a:cubicBezTo>
                  <a:pt x="91" y="244"/>
                  <a:pt x="91" y="244"/>
                  <a:pt x="90" y="244"/>
                </a:cubicBezTo>
                <a:cubicBezTo>
                  <a:pt x="90" y="244"/>
                  <a:pt x="90" y="244"/>
                  <a:pt x="90" y="243"/>
                </a:cubicBezTo>
                <a:cubicBezTo>
                  <a:pt x="90" y="243"/>
                  <a:pt x="90" y="243"/>
                  <a:pt x="90" y="242"/>
                </a:cubicBezTo>
                <a:cubicBezTo>
                  <a:pt x="91" y="242"/>
                  <a:pt x="90" y="240"/>
                  <a:pt x="90" y="240"/>
                </a:cubicBezTo>
                <a:cubicBezTo>
                  <a:pt x="90" y="240"/>
                  <a:pt x="89" y="240"/>
                  <a:pt x="89" y="240"/>
                </a:cubicBezTo>
                <a:cubicBezTo>
                  <a:pt x="89" y="239"/>
                  <a:pt x="88" y="240"/>
                  <a:pt x="88" y="239"/>
                </a:cubicBezTo>
                <a:cubicBezTo>
                  <a:pt x="87" y="239"/>
                  <a:pt x="88" y="239"/>
                  <a:pt x="88" y="239"/>
                </a:cubicBezTo>
                <a:cubicBezTo>
                  <a:pt x="87" y="239"/>
                  <a:pt x="87" y="239"/>
                  <a:pt x="87" y="238"/>
                </a:cubicBezTo>
                <a:cubicBezTo>
                  <a:pt x="86" y="238"/>
                  <a:pt x="87" y="238"/>
                  <a:pt x="86" y="238"/>
                </a:cubicBezTo>
                <a:cubicBezTo>
                  <a:pt x="86" y="238"/>
                  <a:pt x="86" y="238"/>
                  <a:pt x="85" y="238"/>
                </a:cubicBezTo>
                <a:cubicBezTo>
                  <a:pt x="85" y="238"/>
                  <a:pt x="84" y="237"/>
                  <a:pt x="84" y="238"/>
                </a:cubicBezTo>
                <a:cubicBezTo>
                  <a:pt x="83" y="238"/>
                  <a:pt x="83" y="237"/>
                  <a:pt x="82" y="237"/>
                </a:cubicBezTo>
                <a:cubicBezTo>
                  <a:pt x="81" y="238"/>
                  <a:pt x="81" y="238"/>
                  <a:pt x="81" y="238"/>
                </a:cubicBezTo>
                <a:cubicBezTo>
                  <a:pt x="80" y="238"/>
                  <a:pt x="80" y="238"/>
                  <a:pt x="79" y="239"/>
                </a:cubicBezTo>
                <a:cubicBezTo>
                  <a:pt x="78" y="240"/>
                  <a:pt x="77" y="238"/>
                  <a:pt x="77" y="238"/>
                </a:cubicBezTo>
                <a:cubicBezTo>
                  <a:pt x="78" y="237"/>
                  <a:pt x="78" y="237"/>
                  <a:pt x="78" y="237"/>
                </a:cubicBezTo>
                <a:cubicBezTo>
                  <a:pt x="78" y="236"/>
                  <a:pt x="77" y="236"/>
                  <a:pt x="77" y="236"/>
                </a:cubicBezTo>
                <a:cubicBezTo>
                  <a:pt x="76" y="236"/>
                  <a:pt x="75" y="236"/>
                  <a:pt x="75" y="236"/>
                </a:cubicBezTo>
                <a:cubicBezTo>
                  <a:pt x="74" y="236"/>
                  <a:pt x="73" y="237"/>
                  <a:pt x="73" y="237"/>
                </a:cubicBezTo>
                <a:cubicBezTo>
                  <a:pt x="72" y="237"/>
                  <a:pt x="72" y="236"/>
                  <a:pt x="71" y="235"/>
                </a:cubicBezTo>
                <a:cubicBezTo>
                  <a:pt x="71" y="235"/>
                  <a:pt x="70" y="235"/>
                  <a:pt x="70" y="235"/>
                </a:cubicBezTo>
                <a:cubicBezTo>
                  <a:pt x="69" y="235"/>
                  <a:pt x="69" y="235"/>
                  <a:pt x="69" y="235"/>
                </a:cubicBezTo>
                <a:cubicBezTo>
                  <a:pt x="69" y="235"/>
                  <a:pt x="69" y="236"/>
                  <a:pt x="68" y="235"/>
                </a:cubicBezTo>
                <a:cubicBezTo>
                  <a:pt x="68" y="235"/>
                  <a:pt x="68" y="235"/>
                  <a:pt x="67" y="235"/>
                </a:cubicBezTo>
                <a:cubicBezTo>
                  <a:pt x="67" y="234"/>
                  <a:pt x="68" y="234"/>
                  <a:pt x="68" y="233"/>
                </a:cubicBezTo>
                <a:cubicBezTo>
                  <a:pt x="68" y="233"/>
                  <a:pt x="67" y="232"/>
                  <a:pt x="67" y="232"/>
                </a:cubicBezTo>
                <a:cubicBezTo>
                  <a:pt x="67" y="231"/>
                  <a:pt x="67" y="231"/>
                  <a:pt x="67" y="231"/>
                </a:cubicBezTo>
                <a:cubicBezTo>
                  <a:pt x="66" y="231"/>
                  <a:pt x="67" y="231"/>
                  <a:pt x="67" y="231"/>
                </a:cubicBezTo>
                <a:cubicBezTo>
                  <a:pt x="66" y="230"/>
                  <a:pt x="66" y="230"/>
                  <a:pt x="66" y="230"/>
                </a:cubicBezTo>
                <a:cubicBezTo>
                  <a:pt x="66" y="230"/>
                  <a:pt x="66" y="230"/>
                  <a:pt x="66" y="230"/>
                </a:cubicBezTo>
                <a:cubicBezTo>
                  <a:pt x="65" y="229"/>
                  <a:pt x="65" y="229"/>
                  <a:pt x="65" y="229"/>
                </a:cubicBezTo>
                <a:cubicBezTo>
                  <a:pt x="65" y="229"/>
                  <a:pt x="64" y="228"/>
                  <a:pt x="65" y="228"/>
                </a:cubicBezTo>
                <a:cubicBezTo>
                  <a:pt x="65" y="227"/>
                  <a:pt x="62" y="227"/>
                  <a:pt x="62" y="227"/>
                </a:cubicBezTo>
                <a:cubicBezTo>
                  <a:pt x="62" y="227"/>
                  <a:pt x="63" y="226"/>
                  <a:pt x="63" y="225"/>
                </a:cubicBezTo>
                <a:cubicBezTo>
                  <a:pt x="63" y="225"/>
                  <a:pt x="62" y="225"/>
                  <a:pt x="63" y="224"/>
                </a:cubicBezTo>
                <a:cubicBezTo>
                  <a:pt x="65" y="223"/>
                  <a:pt x="62" y="222"/>
                  <a:pt x="61" y="222"/>
                </a:cubicBezTo>
                <a:cubicBezTo>
                  <a:pt x="61" y="221"/>
                  <a:pt x="61" y="221"/>
                  <a:pt x="61" y="221"/>
                </a:cubicBezTo>
                <a:cubicBezTo>
                  <a:pt x="61" y="221"/>
                  <a:pt x="61" y="220"/>
                  <a:pt x="60" y="220"/>
                </a:cubicBezTo>
                <a:cubicBezTo>
                  <a:pt x="60" y="220"/>
                  <a:pt x="59" y="221"/>
                  <a:pt x="59" y="220"/>
                </a:cubicBezTo>
                <a:cubicBezTo>
                  <a:pt x="59" y="219"/>
                  <a:pt x="60" y="220"/>
                  <a:pt x="59" y="219"/>
                </a:cubicBezTo>
                <a:cubicBezTo>
                  <a:pt x="59" y="219"/>
                  <a:pt x="60" y="219"/>
                  <a:pt x="60" y="218"/>
                </a:cubicBezTo>
                <a:cubicBezTo>
                  <a:pt x="60" y="218"/>
                  <a:pt x="61" y="218"/>
                  <a:pt x="60" y="217"/>
                </a:cubicBezTo>
                <a:cubicBezTo>
                  <a:pt x="61" y="217"/>
                  <a:pt x="62" y="217"/>
                  <a:pt x="62" y="217"/>
                </a:cubicBezTo>
                <a:cubicBezTo>
                  <a:pt x="63" y="217"/>
                  <a:pt x="62" y="216"/>
                  <a:pt x="62" y="216"/>
                </a:cubicBezTo>
                <a:cubicBezTo>
                  <a:pt x="61" y="216"/>
                  <a:pt x="61" y="216"/>
                  <a:pt x="61" y="215"/>
                </a:cubicBezTo>
                <a:cubicBezTo>
                  <a:pt x="61" y="215"/>
                  <a:pt x="61" y="215"/>
                  <a:pt x="61" y="215"/>
                </a:cubicBezTo>
                <a:cubicBezTo>
                  <a:pt x="61" y="215"/>
                  <a:pt x="61" y="215"/>
                  <a:pt x="61" y="215"/>
                </a:cubicBezTo>
                <a:cubicBezTo>
                  <a:pt x="61" y="214"/>
                  <a:pt x="60" y="214"/>
                  <a:pt x="60" y="214"/>
                </a:cubicBezTo>
                <a:cubicBezTo>
                  <a:pt x="59" y="213"/>
                  <a:pt x="59" y="213"/>
                  <a:pt x="59" y="212"/>
                </a:cubicBezTo>
                <a:cubicBezTo>
                  <a:pt x="60" y="211"/>
                  <a:pt x="59" y="209"/>
                  <a:pt x="58" y="208"/>
                </a:cubicBezTo>
                <a:cubicBezTo>
                  <a:pt x="58" y="207"/>
                  <a:pt x="58" y="207"/>
                  <a:pt x="59" y="206"/>
                </a:cubicBezTo>
                <a:cubicBezTo>
                  <a:pt x="60" y="205"/>
                  <a:pt x="61" y="205"/>
                  <a:pt x="61" y="203"/>
                </a:cubicBezTo>
                <a:cubicBezTo>
                  <a:pt x="61" y="202"/>
                  <a:pt x="62" y="202"/>
                  <a:pt x="63" y="202"/>
                </a:cubicBezTo>
                <a:cubicBezTo>
                  <a:pt x="62" y="202"/>
                  <a:pt x="62" y="202"/>
                  <a:pt x="62" y="202"/>
                </a:cubicBezTo>
                <a:cubicBezTo>
                  <a:pt x="63" y="202"/>
                  <a:pt x="64" y="202"/>
                  <a:pt x="63" y="201"/>
                </a:cubicBezTo>
                <a:cubicBezTo>
                  <a:pt x="62" y="201"/>
                  <a:pt x="62" y="201"/>
                  <a:pt x="62" y="200"/>
                </a:cubicBezTo>
                <a:cubicBezTo>
                  <a:pt x="62" y="200"/>
                  <a:pt x="62" y="200"/>
                  <a:pt x="62" y="199"/>
                </a:cubicBezTo>
                <a:cubicBezTo>
                  <a:pt x="62" y="199"/>
                  <a:pt x="61" y="198"/>
                  <a:pt x="62" y="197"/>
                </a:cubicBezTo>
                <a:cubicBezTo>
                  <a:pt x="62" y="197"/>
                  <a:pt x="63" y="198"/>
                  <a:pt x="63" y="198"/>
                </a:cubicBezTo>
                <a:cubicBezTo>
                  <a:pt x="64" y="199"/>
                  <a:pt x="65" y="198"/>
                  <a:pt x="65" y="198"/>
                </a:cubicBezTo>
                <a:cubicBezTo>
                  <a:pt x="65" y="197"/>
                  <a:pt x="65" y="197"/>
                  <a:pt x="66" y="197"/>
                </a:cubicBezTo>
                <a:cubicBezTo>
                  <a:pt x="67" y="197"/>
                  <a:pt x="67" y="198"/>
                  <a:pt x="68" y="197"/>
                </a:cubicBezTo>
                <a:cubicBezTo>
                  <a:pt x="69" y="197"/>
                  <a:pt x="70" y="196"/>
                  <a:pt x="69" y="196"/>
                </a:cubicBezTo>
                <a:cubicBezTo>
                  <a:pt x="69" y="196"/>
                  <a:pt x="70" y="195"/>
                  <a:pt x="70" y="195"/>
                </a:cubicBezTo>
                <a:cubicBezTo>
                  <a:pt x="71" y="195"/>
                  <a:pt x="72" y="195"/>
                  <a:pt x="73" y="195"/>
                </a:cubicBezTo>
                <a:cubicBezTo>
                  <a:pt x="74" y="196"/>
                  <a:pt x="74" y="196"/>
                  <a:pt x="75" y="196"/>
                </a:cubicBezTo>
                <a:cubicBezTo>
                  <a:pt x="76" y="196"/>
                  <a:pt x="77" y="196"/>
                  <a:pt x="78" y="197"/>
                </a:cubicBezTo>
                <a:cubicBezTo>
                  <a:pt x="78" y="197"/>
                  <a:pt x="78" y="196"/>
                  <a:pt x="78" y="196"/>
                </a:cubicBezTo>
                <a:cubicBezTo>
                  <a:pt x="78" y="195"/>
                  <a:pt x="77" y="195"/>
                  <a:pt x="77" y="195"/>
                </a:cubicBezTo>
                <a:cubicBezTo>
                  <a:pt x="76" y="195"/>
                  <a:pt x="76" y="194"/>
                  <a:pt x="74" y="193"/>
                </a:cubicBezTo>
                <a:cubicBezTo>
                  <a:pt x="74" y="193"/>
                  <a:pt x="73" y="193"/>
                  <a:pt x="73" y="193"/>
                </a:cubicBezTo>
                <a:cubicBezTo>
                  <a:pt x="72" y="193"/>
                  <a:pt x="72" y="194"/>
                  <a:pt x="71" y="194"/>
                </a:cubicBezTo>
                <a:cubicBezTo>
                  <a:pt x="70" y="194"/>
                  <a:pt x="69" y="194"/>
                  <a:pt x="68" y="193"/>
                </a:cubicBezTo>
                <a:cubicBezTo>
                  <a:pt x="68" y="193"/>
                  <a:pt x="67" y="192"/>
                  <a:pt x="67" y="192"/>
                </a:cubicBezTo>
                <a:cubicBezTo>
                  <a:pt x="67" y="192"/>
                  <a:pt x="65" y="191"/>
                  <a:pt x="65" y="191"/>
                </a:cubicBezTo>
                <a:cubicBezTo>
                  <a:pt x="65" y="191"/>
                  <a:pt x="64" y="190"/>
                  <a:pt x="64" y="190"/>
                </a:cubicBezTo>
                <a:cubicBezTo>
                  <a:pt x="64" y="190"/>
                  <a:pt x="65" y="190"/>
                  <a:pt x="66" y="191"/>
                </a:cubicBezTo>
                <a:cubicBezTo>
                  <a:pt x="66" y="191"/>
                  <a:pt x="65" y="189"/>
                  <a:pt x="65" y="189"/>
                </a:cubicBezTo>
                <a:cubicBezTo>
                  <a:pt x="64" y="190"/>
                  <a:pt x="64" y="189"/>
                  <a:pt x="65" y="189"/>
                </a:cubicBezTo>
                <a:cubicBezTo>
                  <a:pt x="66" y="189"/>
                  <a:pt x="65" y="188"/>
                  <a:pt x="65" y="188"/>
                </a:cubicBezTo>
                <a:cubicBezTo>
                  <a:pt x="66" y="188"/>
                  <a:pt x="66" y="189"/>
                  <a:pt x="66" y="188"/>
                </a:cubicBezTo>
                <a:cubicBezTo>
                  <a:pt x="66" y="188"/>
                  <a:pt x="65" y="188"/>
                  <a:pt x="65" y="188"/>
                </a:cubicBezTo>
                <a:cubicBezTo>
                  <a:pt x="65" y="188"/>
                  <a:pt x="64" y="188"/>
                  <a:pt x="63" y="189"/>
                </a:cubicBezTo>
                <a:cubicBezTo>
                  <a:pt x="63" y="189"/>
                  <a:pt x="62" y="190"/>
                  <a:pt x="61" y="190"/>
                </a:cubicBezTo>
                <a:cubicBezTo>
                  <a:pt x="61" y="190"/>
                  <a:pt x="60" y="190"/>
                  <a:pt x="60" y="190"/>
                </a:cubicBezTo>
                <a:cubicBezTo>
                  <a:pt x="59" y="190"/>
                  <a:pt x="59" y="190"/>
                  <a:pt x="59" y="190"/>
                </a:cubicBezTo>
                <a:cubicBezTo>
                  <a:pt x="60" y="189"/>
                  <a:pt x="61" y="188"/>
                  <a:pt x="61" y="188"/>
                </a:cubicBezTo>
                <a:cubicBezTo>
                  <a:pt x="62" y="187"/>
                  <a:pt x="63" y="186"/>
                  <a:pt x="64" y="186"/>
                </a:cubicBezTo>
                <a:cubicBezTo>
                  <a:pt x="65" y="186"/>
                  <a:pt x="65" y="185"/>
                  <a:pt x="65" y="184"/>
                </a:cubicBezTo>
                <a:cubicBezTo>
                  <a:pt x="66" y="184"/>
                  <a:pt x="66" y="184"/>
                  <a:pt x="67" y="184"/>
                </a:cubicBezTo>
                <a:cubicBezTo>
                  <a:pt x="68" y="183"/>
                  <a:pt x="69" y="183"/>
                  <a:pt x="69" y="182"/>
                </a:cubicBezTo>
                <a:cubicBezTo>
                  <a:pt x="70" y="181"/>
                  <a:pt x="71" y="180"/>
                  <a:pt x="72" y="180"/>
                </a:cubicBezTo>
                <a:cubicBezTo>
                  <a:pt x="73" y="179"/>
                  <a:pt x="73" y="179"/>
                  <a:pt x="74" y="178"/>
                </a:cubicBezTo>
                <a:cubicBezTo>
                  <a:pt x="75" y="177"/>
                  <a:pt x="75" y="176"/>
                  <a:pt x="76" y="175"/>
                </a:cubicBezTo>
                <a:cubicBezTo>
                  <a:pt x="77" y="175"/>
                  <a:pt x="78" y="174"/>
                  <a:pt x="79" y="173"/>
                </a:cubicBezTo>
                <a:cubicBezTo>
                  <a:pt x="80" y="172"/>
                  <a:pt x="80" y="172"/>
                  <a:pt x="81" y="171"/>
                </a:cubicBezTo>
                <a:cubicBezTo>
                  <a:pt x="82" y="170"/>
                  <a:pt x="83" y="169"/>
                  <a:pt x="83" y="168"/>
                </a:cubicBezTo>
                <a:cubicBezTo>
                  <a:pt x="83" y="167"/>
                  <a:pt x="84" y="167"/>
                  <a:pt x="84" y="166"/>
                </a:cubicBezTo>
                <a:cubicBezTo>
                  <a:pt x="83" y="165"/>
                  <a:pt x="82" y="165"/>
                  <a:pt x="82" y="164"/>
                </a:cubicBezTo>
                <a:cubicBezTo>
                  <a:pt x="81" y="164"/>
                  <a:pt x="81" y="163"/>
                  <a:pt x="81" y="163"/>
                </a:cubicBezTo>
                <a:cubicBezTo>
                  <a:pt x="80" y="163"/>
                  <a:pt x="80" y="163"/>
                  <a:pt x="80" y="163"/>
                </a:cubicBezTo>
                <a:cubicBezTo>
                  <a:pt x="79" y="162"/>
                  <a:pt x="78" y="161"/>
                  <a:pt x="77" y="161"/>
                </a:cubicBezTo>
                <a:cubicBezTo>
                  <a:pt x="76" y="161"/>
                  <a:pt x="75" y="160"/>
                  <a:pt x="73" y="160"/>
                </a:cubicBezTo>
                <a:cubicBezTo>
                  <a:pt x="72" y="159"/>
                  <a:pt x="71" y="158"/>
                  <a:pt x="71" y="158"/>
                </a:cubicBezTo>
                <a:cubicBezTo>
                  <a:pt x="71" y="158"/>
                  <a:pt x="72" y="158"/>
                  <a:pt x="72" y="157"/>
                </a:cubicBezTo>
                <a:cubicBezTo>
                  <a:pt x="73" y="157"/>
                  <a:pt x="74" y="156"/>
                  <a:pt x="74" y="155"/>
                </a:cubicBezTo>
                <a:cubicBezTo>
                  <a:pt x="75" y="155"/>
                  <a:pt x="75" y="155"/>
                  <a:pt x="74" y="154"/>
                </a:cubicBezTo>
                <a:cubicBezTo>
                  <a:pt x="74" y="153"/>
                  <a:pt x="75" y="153"/>
                  <a:pt x="74" y="153"/>
                </a:cubicBezTo>
                <a:cubicBezTo>
                  <a:pt x="74" y="153"/>
                  <a:pt x="73" y="153"/>
                  <a:pt x="73" y="153"/>
                </a:cubicBezTo>
                <a:cubicBezTo>
                  <a:pt x="72" y="152"/>
                  <a:pt x="71" y="152"/>
                  <a:pt x="70" y="152"/>
                </a:cubicBezTo>
                <a:cubicBezTo>
                  <a:pt x="70" y="151"/>
                  <a:pt x="71" y="151"/>
                  <a:pt x="70" y="151"/>
                </a:cubicBezTo>
                <a:cubicBezTo>
                  <a:pt x="70" y="150"/>
                  <a:pt x="70" y="150"/>
                  <a:pt x="70" y="150"/>
                </a:cubicBezTo>
                <a:cubicBezTo>
                  <a:pt x="69" y="149"/>
                  <a:pt x="71" y="150"/>
                  <a:pt x="71" y="149"/>
                </a:cubicBezTo>
                <a:cubicBezTo>
                  <a:pt x="71" y="149"/>
                  <a:pt x="71" y="149"/>
                  <a:pt x="71" y="149"/>
                </a:cubicBezTo>
                <a:cubicBezTo>
                  <a:pt x="70" y="148"/>
                  <a:pt x="70" y="148"/>
                  <a:pt x="70" y="148"/>
                </a:cubicBezTo>
                <a:cubicBezTo>
                  <a:pt x="70" y="147"/>
                  <a:pt x="69" y="148"/>
                  <a:pt x="68" y="148"/>
                </a:cubicBezTo>
                <a:cubicBezTo>
                  <a:pt x="67" y="148"/>
                  <a:pt x="67" y="147"/>
                  <a:pt x="66" y="146"/>
                </a:cubicBezTo>
                <a:cubicBezTo>
                  <a:pt x="66" y="145"/>
                  <a:pt x="66" y="145"/>
                  <a:pt x="67" y="145"/>
                </a:cubicBezTo>
                <a:cubicBezTo>
                  <a:pt x="67" y="145"/>
                  <a:pt x="68" y="145"/>
                  <a:pt x="68" y="145"/>
                </a:cubicBezTo>
                <a:cubicBezTo>
                  <a:pt x="68" y="144"/>
                  <a:pt x="67" y="145"/>
                  <a:pt x="67" y="144"/>
                </a:cubicBezTo>
                <a:cubicBezTo>
                  <a:pt x="68" y="144"/>
                  <a:pt x="68" y="144"/>
                  <a:pt x="68" y="144"/>
                </a:cubicBezTo>
                <a:cubicBezTo>
                  <a:pt x="67" y="144"/>
                  <a:pt x="67" y="144"/>
                  <a:pt x="66" y="144"/>
                </a:cubicBezTo>
                <a:cubicBezTo>
                  <a:pt x="65" y="144"/>
                  <a:pt x="66" y="143"/>
                  <a:pt x="66" y="143"/>
                </a:cubicBezTo>
                <a:cubicBezTo>
                  <a:pt x="67" y="142"/>
                  <a:pt x="66" y="141"/>
                  <a:pt x="67" y="141"/>
                </a:cubicBezTo>
                <a:cubicBezTo>
                  <a:pt x="67" y="140"/>
                  <a:pt x="66" y="140"/>
                  <a:pt x="66" y="140"/>
                </a:cubicBezTo>
                <a:cubicBezTo>
                  <a:pt x="67" y="139"/>
                  <a:pt x="68" y="139"/>
                  <a:pt x="68" y="139"/>
                </a:cubicBezTo>
                <a:cubicBezTo>
                  <a:pt x="69" y="139"/>
                  <a:pt x="68" y="137"/>
                  <a:pt x="68" y="137"/>
                </a:cubicBezTo>
                <a:cubicBezTo>
                  <a:pt x="67" y="136"/>
                  <a:pt x="67" y="135"/>
                  <a:pt x="66" y="134"/>
                </a:cubicBezTo>
                <a:cubicBezTo>
                  <a:pt x="65" y="134"/>
                  <a:pt x="64" y="133"/>
                  <a:pt x="64" y="132"/>
                </a:cubicBezTo>
                <a:cubicBezTo>
                  <a:pt x="63" y="131"/>
                  <a:pt x="62" y="130"/>
                  <a:pt x="61" y="130"/>
                </a:cubicBezTo>
                <a:cubicBezTo>
                  <a:pt x="61" y="129"/>
                  <a:pt x="59" y="128"/>
                  <a:pt x="59" y="127"/>
                </a:cubicBezTo>
                <a:cubicBezTo>
                  <a:pt x="60" y="126"/>
                  <a:pt x="61" y="125"/>
                  <a:pt x="62" y="124"/>
                </a:cubicBezTo>
                <a:cubicBezTo>
                  <a:pt x="62" y="124"/>
                  <a:pt x="63" y="123"/>
                  <a:pt x="64" y="122"/>
                </a:cubicBezTo>
                <a:cubicBezTo>
                  <a:pt x="65" y="122"/>
                  <a:pt x="65" y="121"/>
                  <a:pt x="64" y="120"/>
                </a:cubicBezTo>
                <a:cubicBezTo>
                  <a:pt x="64" y="119"/>
                  <a:pt x="63" y="119"/>
                  <a:pt x="62" y="119"/>
                </a:cubicBezTo>
                <a:cubicBezTo>
                  <a:pt x="61" y="118"/>
                  <a:pt x="60" y="117"/>
                  <a:pt x="60" y="116"/>
                </a:cubicBezTo>
                <a:cubicBezTo>
                  <a:pt x="59" y="116"/>
                  <a:pt x="57" y="116"/>
                  <a:pt x="56" y="116"/>
                </a:cubicBezTo>
                <a:cubicBezTo>
                  <a:pt x="55" y="116"/>
                  <a:pt x="55" y="115"/>
                  <a:pt x="54" y="114"/>
                </a:cubicBezTo>
                <a:cubicBezTo>
                  <a:pt x="53" y="114"/>
                  <a:pt x="52" y="113"/>
                  <a:pt x="53" y="112"/>
                </a:cubicBezTo>
                <a:cubicBezTo>
                  <a:pt x="53" y="111"/>
                  <a:pt x="55" y="110"/>
                  <a:pt x="54" y="109"/>
                </a:cubicBezTo>
                <a:cubicBezTo>
                  <a:pt x="54" y="109"/>
                  <a:pt x="52" y="109"/>
                  <a:pt x="52" y="109"/>
                </a:cubicBezTo>
                <a:cubicBezTo>
                  <a:pt x="53" y="109"/>
                  <a:pt x="53" y="108"/>
                  <a:pt x="54" y="108"/>
                </a:cubicBezTo>
                <a:cubicBezTo>
                  <a:pt x="55" y="108"/>
                  <a:pt x="56" y="108"/>
                  <a:pt x="56" y="108"/>
                </a:cubicBezTo>
                <a:cubicBezTo>
                  <a:pt x="57" y="107"/>
                  <a:pt x="58" y="107"/>
                  <a:pt x="58" y="106"/>
                </a:cubicBezTo>
                <a:cubicBezTo>
                  <a:pt x="58" y="105"/>
                  <a:pt x="57" y="105"/>
                  <a:pt x="58" y="105"/>
                </a:cubicBezTo>
                <a:cubicBezTo>
                  <a:pt x="60" y="105"/>
                  <a:pt x="62" y="105"/>
                  <a:pt x="63" y="104"/>
                </a:cubicBezTo>
                <a:cubicBezTo>
                  <a:pt x="63" y="104"/>
                  <a:pt x="63" y="103"/>
                  <a:pt x="63" y="103"/>
                </a:cubicBezTo>
                <a:cubicBezTo>
                  <a:pt x="64" y="102"/>
                  <a:pt x="63" y="102"/>
                  <a:pt x="63" y="102"/>
                </a:cubicBezTo>
                <a:cubicBezTo>
                  <a:pt x="63" y="102"/>
                  <a:pt x="64" y="102"/>
                  <a:pt x="65" y="103"/>
                </a:cubicBezTo>
                <a:cubicBezTo>
                  <a:pt x="66" y="103"/>
                  <a:pt x="66" y="103"/>
                  <a:pt x="67" y="103"/>
                </a:cubicBezTo>
                <a:cubicBezTo>
                  <a:pt x="69" y="103"/>
                  <a:pt x="68" y="101"/>
                  <a:pt x="67" y="101"/>
                </a:cubicBezTo>
                <a:cubicBezTo>
                  <a:pt x="68" y="101"/>
                  <a:pt x="73" y="101"/>
                  <a:pt x="71" y="102"/>
                </a:cubicBezTo>
                <a:cubicBezTo>
                  <a:pt x="71" y="102"/>
                  <a:pt x="72" y="101"/>
                  <a:pt x="73" y="102"/>
                </a:cubicBezTo>
                <a:cubicBezTo>
                  <a:pt x="73" y="102"/>
                  <a:pt x="74" y="102"/>
                  <a:pt x="74" y="102"/>
                </a:cubicBezTo>
                <a:cubicBezTo>
                  <a:pt x="74" y="101"/>
                  <a:pt x="73" y="101"/>
                  <a:pt x="73" y="100"/>
                </a:cubicBezTo>
                <a:cubicBezTo>
                  <a:pt x="74" y="100"/>
                  <a:pt x="76" y="101"/>
                  <a:pt x="76" y="101"/>
                </a:cubicBezTo>
                <a:cubicBezTo>
                  <a:pt x="76" y="100"/>
                  <a:pt x="75" y="100"/>
                  <a:pt x="75" y="99"/>
                </a:cubicBezTo>
                <a:cubicBezTo>
                  <a:pt x="74" y="99"/>
                  <a:pt x="76" y="99"/>
                  <a:pt x="76" y="99"/>
                </a:cubicBezTo>
                <a:cubicBezTo>
                  <a:pt x="77" y="100"/>
                  <a:pt x="78" y="100"/>
                  <a:pt x="78" y="100"/>
                </a:cubicBezTo>
                <a:cubicBezTo>
                  <a:pt x="79" y="100"/>
                  <a:pt x="79" y="100"/>
                  <a:pt x="79" y="101"/>
                </a:cubicBezTo>
                <a:cubicBezTo>
                  <a:pt x="80" y="101"/>
                  <a:pt x="80" y="101"/>
                  <a:pt x="81" y="101"/>
                </a:cubicBezTo>
                <a:cubicBezTo>
                  <a:pt x="82" y="101"/>
                  <a:pt x="83" y="101"/>
                  <a:pt x="83" y="101"/>
                </a:cubicBezTo>
                <a:cubicBezTo>
                  <a:pt x="84" y="102"/>
                  <a:pt x="82" y="102"/>
                  <a:pt x="81" y="102"/>
                </a:cubicBezTo>
                <a:cubicBezTo>
                  <a:pt x="80" y="102"/>
                  <a:pt x="79" y="102"/>
                  <a:pt x="78" y="102"/>
                </a:cubicBezTo>
                <a:cubicBezTo>
                  <a:pt x="77" y="102"/>
                  <a:pt x="77" y="102"/>
                  <a:pt x="77" y="102"/>
                </a:cubicBezTo>
                <a:cubicBezTo>
                  <a:pt x="77" y="102"/>
                  <a:pt x="77" y="101"/>
                  <a:pt x="76" y="101"/>
                </a:cubicBezTo>
                <a:cubicBezTo>
                  <a:pt x="76" y="101"/>
                  <a:pt x="76" y="101"/>
                  <a:pt x="76" y="102"/>
                </a:cubicBezTo>
                <a:cubicBezTo>
                  <a:pt x="76" y="102"/>
                  <a:pt x="76" y="102"/>
                  <a:pt x="75" y="102"/>
                </a:cubicBezTo>
                <a:cubicBezTo>
                  <a:pt x="76" y="102"/>
                  <a:pt x="76" y="102"/>
                  <a:pt x="76" y="103"/>
                </a:cubicBezTo>
                <a:cubicBezTo>
                  <a:pt x="76" y="102"/>
                  <a:pt x="77" y="102"/>
                  <a:pt x="78" y="103"/>
                </a:cubicBezTo>
                <a:cubicBezTo>
                  <a:pt x="78" y="103"/>
                  <a:pt x="79" y="103"/>
                  <a:pt x="79" y="103"/>
                </a:cubicBezTo>
                <a:cubicBezTo>
                  <a:pt x="79" y="103"/>
                  <a:pt x="78" y="104"/>
                  <a:pt x="77" y="104"/>
                </a:cubicBezTo>
                <a:cubicBezTo>
                  <a:pt x="78" y="104"/>
                  <a:pt x="79" y="103"/>
                  <a:pt x="80" y="103"/>
                </a:cubicBezTo>
                <a:cubicBezTo>
                  <a:pt x="81" y="104"/>
                  <a:pt x="81" y="103"/>
                  <a:pt x="82" y="104"/>
                </a:cubicBezTo>
                <a:cubicBezTo>
                  <a:pt x="82" y="104"/>
                  <a:pt x="81" y="104"/>
                  <a:pt x="81" y="104"/>
                </a:cubicBezTo>
                <a:cubicBezTo>
                  <a:pt x="82" y="104"/>
                  <a:pt x="83" y="103"/>
                  <a:pt x="83" y="104"/>
                </a:cubicBezTo>
                <a:cubicBezTo>
                  <a:pt x="83" y="104"/>
                  <a:pt x="82" y="104"/>
                  <a:pt x="82" y="105"/>
                </a:cubicBezTo>
                <a:cubicBezTo>
                  <a:pt x="83" y="105"/>
                  <a:pt x="82" y="105"/>
                  <a:pt x="83" y="104"/>
                </a:cubicBezTo>
                <a:cubicBezTo>
                  <a:pt x="83" y="104"/>
                  <a:pt x="84" y="104"/>
                  <a:pt x="85" y="104"/>
                </a:cubicBezTo>
                <a:cubicBezTo>
                  <a:pt x="85" y="104"/>
                  <a:pt x="87" y="104"/>
                  <a:pt x="86" y="104"/>
                </a:cubicBezTo>
                <a:cubicBezTo>
                  <a:pt x="87" y="104"/>
                  <a:pt x="85" y="105"/>
                  <a:pt x="85" y="105"/>
                </a:cubicBezTo>
                <a:cubicBezTo>
                  <a:pt x="85" y="105"/>
                  <a:pt x="86" y="105"/>
                  <a:pt x="87" y="105"/>
                </a:cubicBezTo>
                <a:cubicBezTo>
                  <a:pt x="87" y="106"/>
                  <a:pt x="86" y="106"/>
                  <a:pt x="86" y="106"/>
                </a:cubicBezTo>
                <a:cubicBezTo>
                  <a:pt x="86" y="106"/>
                  <a:pt x="86" y="106"/>
                  <a:pt x="86" y="106"/>
                </a:cubicBezTo>
                <a:cubicBezTo>
                  <a:pt x="87" y="106"/>
                  <a:pt x="87" y="106"/>
                  <a:pt x="87" y="106"/>
                </a:cubicBezTo>
                <a:cubicBezTo>
                  <a:pt x="87" y="106"/>
                  <a:pt x="85" y="107"/>
                  <a:pt x="85" y="107"/>
                </a:cubicBezTo>
                <a:cubicBezTo>
                  <a:pt x="85" y="107"/>
                  <a:pt x="84" y="107"/>
                  <a:pt x="84" y="107"/>
                </a:cubicBezTo>
                <a:cubicBezTo>
                  <a:pt x="84" y="108"/>
                  <a:pt x="84" y="108"/>
                  <a:pt x="84" y="108"/>
                </a:cubicBezTo>
                <a:cubicBezTo>
                  <a:pt x="84" y="108"/>
                  <a:pt x="84" y="107"/>
                  <a:pt x="85" y="107"/>
                </a:cubicBezTo>
                <a:cubicBezTo>
                  <a:pt x="85" y="107"/>
                  <a:pt x="86" y="107"/>
                  <a:pt x="87" y="107"/>
                </a:cubicBezTo>
                <a:cubicBezTo>
                  <a:pt x="87" y="106"/>
                  <a:pt x="87" y="106"/>
                  <a:pt x="87" y="105"/>
                </a:cubicBezTo>
                <a:cubicBezTo>
                  <a:pt x="87" y="105"/>
                  <a:pt x="88" y="105"/>
                  <a:pt x="88" y="105"/>
                </a:cubicBezTo>
                <a:cubicBezTo>
                  <a:pt x="89" y="105"/>
                  <a:pt x="89" y="105"/>
                  <a:pt x="90" y="105"/>
                </a:cubicBezTo>
                <a:cubicBezTo>
                  <a:pt x="91" y="105"/>
                  <a:pt x="91" y="105"/>
                  <a:pt x="92" y="105"/>
                </a:cubicBezTo>
                <a:cubicBezTo>
                  <a:pt x="93" y="105"/>
                  <a:pt x="94" y="105"/>
                  <a:pt x="95" y="106"/>
                </a:cubicBezTo>
                <a:cubicBezTo>
                  <a:pt x="96" y="106"/>
                  <a:pt x="96" y="106"/>
                  <a:pt x="97" y="106"/>
                </a:cubicBezTo>
                <a:cubicBezTo>
                  <a:pt x="97" y="106"/>
                  <a:pt x="97" y="106"/>
                  <a:pt x="97" y="106"/>
                </a:cubicBezTo>
                <a:cubicBezTo>
                  <a:pt x="98" y="106"/>
                  <a:pt x="98" y="106"/>
                  <a:pt x="98" y="106"/>
                </a:cubicBezTo>
                <a:cubicBezTo>
                  <a:pt x="99" y="106"/>
                  <a:pt x="99" y="106"/>
                  <a:pt x="99" y="106"/>
                </a:cubicBezTo>
                <a:cubicBezTo>
                  <a:pt x="99" y="106"/>
                  <a:pt x="99" y="106"/>
                  <a:pt x="99" y="106"/>
                </a:cubicBezTo>
                <a:cubicBezTo>
                  <a:pt x="99" y="106"/>
                  <a:pt x="99" y="106"/>
                  <a:pt x="98" y="105"/>
                </a:cubicBezTo>
                <a:cubicBezTo>
                  <a:pt x="100" y="105"/>
                  <a:pt x="101" y="106"/>
                  <a:pt x="102" y="106"/>
                </a:cubicBezTo>
                <a:cubicBezTo>
                  <a:pt x="103" y="106"/>
                  <a:pt x="104" y="106"/>
                  <a:pt x="104" y="106"/>
                </a:cubicBezTo>
                <a:cubicBezTo>
                  <a:pt x="105" y="106"/>
                  <a:pt x="105" y="107"/>
                  <a:pt x="106" y="107"/>
                </a:cubicBezTo>
                <a:cubicBezTo>
                  <a:pt x="106" y="107"/>
                  <a:pt x="107" y="107"/>
                  <a:pt x="107" y="107"/>
                </a:cubicBezTo>
                <a:cubicBezTo>
                  <a:pt x="108" y="108"/>
                  <a:pt x="109" y="108"/>
                  <a:pt x="110" y="108"/>
                </a:cubicBezTo>
                <a:cubicBezTo>
                  <a:pt x="111" y="108"/>
                  <a:pt x="112" y="109"/>
                  <a:pt x="113" y="109"/>
                </a:cubicBezTo>
                <a:cubicBezTo>
                  <a:pt x="115" y="110"/>
                  <a:pt x="116" y="110"/>
                  <a:pt x="117" y="111"/>
                </a:cubicBezTo>
                <a:cubicBezTo>
                  <a:pt x="119" y="111"/>
                  <a:pt x="120" y="112"/>
                  <a:pt x="121" y="112"/>
                </a:cubicBezTo>
                <a:cubicBezTo>
                  <a:pt x="121" y="113"/>
                  <a:pt x="123" y="113"/>
                  <a:pt x="123" y="114"/>
                </a:cubicBezTo>
                <a:cubicBezTo>
                  <a:pt x="123" y="114"/>
                  <a:pt x="126" y="114"/>
                  <a:pt x="126" y="115"/>
                </a:cubicBezTo>
                <a:cubicBezTo>
                  <a:pt x="126" y="114"/>
                  <a:pt x="125" y="114"/>
                  <a:pt x="124" y="114"/>
                </a:cubicBezTo>
                <a:cubicBezTo>
                  <a:pt x="125" y="114"/>
                  <a:pt x="125" y="114"/>
                  <a:pt x="126" y="114"/>
                </a:cubicBezTo>
                <a:cubicBezTo>
                  <a:pt x="126" y="114"/>
                  <a:pt x="127" y="114"/>
                  <a:pt x="127" y="114"/>
                </a:cubicBezTo>
                <a:cubicBezTo>
                  <a:pt x="128" y="115"/>
                  <a:pt x="128" y="115"/>
                  <a:pt x="128" y="115"/>
                </a:cubicBezTo>
                <a:cubicBezTo>
                  <a:pt x="130" y="115"/>
                  <a:pt x="132" y="117"/>
                  <a:pt x="135" y="117"/>
                </a:cubicBezTo>
                <a:cubicBezTo>
                  <a:pt x="134" y="116"/>
                  <a:pt x="134" y="116"/>
                  <a:pt x="133" y="116"/>
                </a:cubicBezTo>
                <a:cubicBezTo>
                  <a:pt x="134" y="115"/>
                  <a:pt x="135" y="117"/>
                  <a:pt x="136" y="117"/>
                </a:cubicBezTo>
                <a:cubicBezTo>
                  <a:pt x="137" y="118"/>
                  <a:pt x="137" y="118"/>
                  <a:pt x="138" y="118"/>
                </a:cubicBezTo>
                <a:cubicBezTo>
                  <a:pt x="139" y="118"/>
                  <a:pt x="139" y="119"/>
                  <a:pt x="138" y="119"/>
                </a:cubicBezTo>
                <a:cubicBezTo>
                  <a:pt x="138" y="119"/>
                  <a:pt x="140" y="120"/>
                  <a:pt x="140" y="119"/>
                </a:cubicBezTo>
                <a:cubicBezTo>
                  <a:pt x="140" y="119"/>
                  <a:pt x="142" y="120"/>
                  <a:pt x="142" y="120"/>
                </a:cubicBezTo>
                <a:cubicBezTo>
                  <a:pt x="143" y="120"/>
                  <a:pt x="144" y="120"/>
                  <a:pt x="144" y="121"/>
                </a:cubicBezTo>
                <a:cubicBezTo>
                  <a:pt x="144" y="121"/>
                  <a:pt x="144" y="121"/>
                  <a:pt x="144" y="121"/>
                </a:cubicBezTo>
                <a:cubicBezTo>
                  <a:pt x="144" y="122"/>
                  <a:pt x="144" y="122"/>
                  <a:pt x="144" y="122"/>
                </a:cubicBezTo>
                <a:cubicBezTo>
                  <a:pt x="144" y="123"/>
                  <a:pt x="145" y="122"/>
                  <a:pt x="145" y="123"/>
                </a:cubicBezTo>
                <a:cubicBezTo>
                  <a:pt x="146" y="124"/>
                  <a:pt x="145" y="125"/>
                  <a:pt x="146" y="125"/>
                </a:cubicBezTo>
                <a:cubicBezTo>
                  <a:pt x="147" y="125"/>
                  <a:pt x="147" y="125"/>
                  <a:pt x="148" y="126"/>
                </a:cubicBezTo>
                <a:cubicBezTo>
                  <a:pt x="148" y="126"/>
                  <a:pt x="148" y="126"/>
                  <a:pt x="148" y="127"/>
                </a:cubicBezTo>
                <a:cubicBezTo>
                  <a:pt x="148" y="127"/>
                  <a:pt x="147" y="127"/>
                  <a:pt x="147" y="127"/>
                </a:cubicBezTo>
                <a:cubicBezTo>
                  <a:pt x="147" y="127"/>
                  <a:pt x="147" y="127"/>
                  <a:pt x="147" y="127"/>
                </a:cubicBezTo>
                <a:cubicBezTo>
                  <a:pt x="147" y="127"/>
                  <a:pt x="147" y="128"/>
                  <a:pt x="147" y="128"/>
                </a:cubicBezTo>
                <a:cubicBezTo>
                  <a:pt x="147" y="128"/>
                  <a:pt x="147" y="129"/>
                  <a:pt x="146" y="129"/>
                </a:cubicBezTo>
                <a:cubicBezTo>
                  <a:pt x="146" y="130"/>
                  <a:pt x="145" y="130"/>
                  <a:pt x="144" y="131"/>
                </a:cubicBezTo>
                <a:cubicBezTo>
                  <a:pt x="144" y="131"/>
                  <a:pt x="143" y="132"/>
                  <a:pt x="142" y="132"/>
                </a:cubicBezTo>
                <a:cubicBezTo>
                  <a:pt x="142" y="133"/>
                  <a:pt x="141" y="133"/>
                  <a:pt x="141" y="133"/>
                </a:cubicBezTo>
                <a:cubicBezTo>
                  <a:pt x="141" y="133"/>
                  <a:pt x="140" y="134"/>
                  <a:pt x="140" y="134"/>
                </a:cubicBezTo>
                <a:cubicBezTo>
                  <a:pt x="138" y="134"/>
                  <a:pt x="137" y="134"/>
                  <a:pt x="136" y="135"/>
                </a:cubicBezTo>
                <a:cubicBezTo>
                  <a:pt x="134" y="135"/>
                  <a:pt x="133" y="135"/>
                  <a:pt x="132" y="135"/>
                </a:cubicBezTo>
                <a:cubicBezTo>
                  <a:pt x="129" y="136"/>
                  <a:pt x="126" y="136"/>
                  <a:pt x="124" y="135"/>
                </a:cubicBezTo>
                <a:cubicBezTo>
                  <a:pt x="122" y="135"/>
                  <a:pt x="121" y="134"/>
                  <a:pt x="119" y="134"/>
                </a:cubicBezTo>
                <a:cubicBezTo>
                  <a:pt x="118" y="134"/>
                  <a:pt x="117" y="133"/>
                  <a:pt x="115" y="133"/>
                </a:cubicBezTo>
                <a:cubicBezTo>
                  <a:pt x="114" y="133"/>
                  <a:pt x="112" y="133"/>
                  <a:pt x="111" y="133"/>
                </a:cubicBezTo>
                <a:cubicBezTo>
                  <a:pt x="109" y="133"/>
                  <a:pt x="108" y="133"/>
                  <a:pt x="107" y="133"/>
                </a:cubicBezTo>
                <a:cubicBezTo>
                  <a:pt x="106" y="132"/>
                  <a:pt x="105" y="131"/>
                  <a:pt x="103" y="131"/>
                </a:cubicBezTo>
                <a:cubicBezTo>
                  <a:pt x="102" y="131"/>
                  <a:pt x="101" y="130"/>
                  <a:pt x="100" y="131"/>
                </a:cubicBezTo>
                <a:cubicBezTo>
                  <a:pt x="99" y="131"/>
                  <a:pt x="99" y="131"/>
                  <a:pt x="98" y="131"/>
                </a:cubicBezTo>
                <a:cubicBezTo>
                  <a:pt x="98" y="130"/>
                  <a:pt x="98" y="130"/>
                  <a:pt x="99" y="130"/>
                </a:cubicBezTo>
                <a:cubicBezTo>
                  <a:pt x="99" y="130"/>
                  <a:pt x="98" y="130"/>
                  <a:pt x="98" y="130"/>
                </a:cubicBezTo>
                <a:cubicBezTo>
                  <a:pt x="97" y="130"/>
                  <a:pt x="97" y="130"/>
                  <a:pt x="96" y="130"/>
                </a:cubicBezTo>
                <a:cubicBezTo>
                  <a:pt x="96" y="130"/>
                  <a:pt x="96" y="129"/>
                  <a:pt x="96" y="129"/>
                </a:cubicBezTo>
                <a:cubicBezTo>
                  <a:pt x="96" y="129"/>
                  <a:pt x="96" y="129"/>
                  <a:pt x="96" y="130"/>
                </a:cubicBezTo>
                <a:cubicBezTo>
                  <a:pt x="95" y="130"/>
                  <a:pt x="95" y="130"/>
                  <a:pt x="95" y="130"/>
                </a:cubicBezTo>
                <a:cubicBezTo>
                  <a:pt x="94" y="129"/>
                  <a:pt x="94" y="129"/>
                  <a:pt x="93" y="129"/>
                </a:cubicBezTo>
                <a:cubicBezTo>
                  <a:pt x="93" y="129"/>
                  <a:pt x="92" y="129"/>
                  <a:pt x="92" y="128"/>
                </a:cubicBezTo>
                <a:cubicBezTo>
                  <a:pt x="92" y="129"/>
                  <a:pt x="92" y="129"/>
                  <a:pt x="92" y="128"/>
                </a:cubicBezTo>
                <a:cubicBezTo>
                  <a:pt x="92" y="129"/>
                  <a:pt x="92" y="129"/>
                  <a:pt x="92" y="129"/>
                </a:cubicBezTo>
                <a:cubicBezTo>
                  <a:pt x="92" y="129"/>
                  <a:pt x="92" y="129"/>
                  <a:pt x="92" y="129"/>
                </a:cubicBezTo>
                <a:cubicBezTo>
                  <a:pt x="92" y="129"/>
                  <a:pt x="92" y="129"/>
                  <a:pt x="92" y="129"/>
                </a:cubicBezTo>
                <a:cubicBezTo>
                  <a:pt x="92" y="129"/>
                  <a:pt x="92" y="129"/>
                  <a:pt x="92" y="129"/>
                </a:cubicBezTo>
                <a:cubicBezTo>
                  <a:pt x="92" y="129"/>
                  <a:pt x="92" y="129"/>
                  <a:pt x="92" y="129"/>
                </a:cubicBezTo>
                <a:cubicBezTo>
                  <a:pt x="91" y="130"/>
                  <a:pt x="90" y="129"/>
                  <a:pt x="90" y="129"/>
                </a:cubicBezTo>
                <a:cubicBezTo>
                  <a:pt x="89" y="128"/>
                  <a:pt x="88" y="128"/>
                  <a:pt x="88" y="128"/>
                </a:cubicBezTo>
                <a:cubicBezTo>
                  <a:pt x="87" y="127"/>
                  <a:pt x="86" y="127"/>
                  <a:pt x="86" y="126"/>
                </a:cubicBezTo>
                <a:cubicBezTo>
                  <a:pt x="86" y="126"/>
                  <a:pt x="87" y="126"/>
                  <a:pt x="87" y="126"/>
                </a:cubicBezTo>
                <a:cubicBezTo>
                  <a:pt x="87" y="126"/>
                  <a:pt x="86" y="126"/>
                  <a:pt x="86" y="126"/>
                </a:cubicBezTo>
                <a:cubicBezTo>
                  <a:pt x="86" y="126"/>
                  <a:pt x="85" y="126"/>
                  <a:pt x="85" y="126"/>
                </a:cubicBezTo>
                <a:cubicBezTo>
                  <a:pt x="84" y="125"/>
                  <a:pt x="83" y="125"/>
                  <a:pt x="83" y="125"/>
                </a:cubicBezTo>
                <a:cubicBezTo>
                  <a:pt x="82" y="125"/>
                  <a:pt x="81" y="125"/>
                  <a:pt x="81" y="125"/>
                </a:cubicBezTo>
                <a:cubicBezTo>
                  <a:pt x="80" y="125"/>
                  <a:pt x="79" y="125"/>
                  <a:pt x="79" y="125"/>
                </a:cubicBezTo>
                <a:cubicBezTo>
                  <a:pt x="80" y="125"/>
                  <a:pt x="80" y="126"/>
                  <a:pt x="81" y="126"/>
                </a:cubicBezTo>
                <a:cubicBezTo>
                  <a:pt x="81" y="126"/>
                  <a:pt x="82" y="126"/>
                  <a:pt x="83" y="126"/>
                </a:cubicBezTo>
                <a:cubicBezTo>
                  <a:pt x="83" y="126"/>
                  <a:pt x="82" y="126"/>
                  <a:pt x="82" y="126"/>
                </a:cubicBezTo>
                <a:cubicBezTo>
                  <a:pt x="83" y="126"/>
                  <a:pt x="84" y="126"/>
                  <a:pt x="84" y="127"/>
                </a:cubicBezTo>
                <a:cubicBezTo>
                  <a:pt x="84" y="127"/>
                  <a:pt x="83" y="127"/>
                  <a:pt x="83" y="127"/>
                </a:cubicBezTo>
                <a:cubicBezTo>
                  <a:pt x="84" y="127"/>
                  <a:pt x="84" y="128"/>
                  <a:pt x="84" y="128"/>
                </a:cubicBezTo>
                <a:cubicBezTo>
                  <a:pt x="84" y="128"/>
                  <a:pt x="85" y="128"/>
                  <a:pt x="85" y="128"/>
                </a:cubicBezTo>
                <a:cubicBezTo>
                  <a:pt x="86" y="129"/>
                  <a:pt x="86" y="129"/>
                  <a:pt x="87" y="129"/>
                </a:cubicBezTo>
                <a:cubicBezTo>
                  <a:pt x="88" y="129"/>
                  <a:pt x="87" y="129"/>
                  <a:pt x="86" y="129"/>
                </a:cubicBezTo>
                <a:cubicBezTo>
                  <a:pt x="87" y="130"/>
                  <a:pt x="90" y="129"/>
                  <a:pt x="90" y="130"/>
                </a:cubicBezTo>
                <a:cubicBezTo>
                  <a:pt x="90" y="130"/>
                  <a:pt x="89" y="130"/>
                  <a:pt x="89" y="130"/>
                </a:cubicBezTo>
                <a:cubicBezTo>
                  <a:pt x="88" y="131"/>
                  <a:pt x="88" y="130"/>
                  <a:pt x="87" y="131"/>
                </a:cubicBezTo>
                <a:cubicBezTo>
                  <a:pt x="88" y="131"/>
                  <a:pt x="89" y="131"/>
                  <a:pt x="89" y="131"/>
                </a:cubicBezTo>
                <a:cubicBezTo>
                  <a:pt x="89" y="130"/>
                  <a:pt x="90" y="131"/>
                  <a:pt x="90" y="130"/>
                </a:cubicBezTo>
                <a:cubicBezTo>
                  <a:pt x="90" y="130"/>
                  <a:pt x="92" y="131"/>
                  <a:pt x="92" y="131"/>
                </a:cubicBezTo>
                <a:cubicBezTo>
                  <a:pt x="91" y="131"/>
                  <a:pt x="90" y="131"/>
                  <a:pt x="89" y="131"/>
                </a:cubicBezTo>
                <a:cubicBezTo>
                  <a:pt x="90" y="131"/>
                  <a:pt x="88" y="131"/>
                  <a:pt x="88" y="131"/>
                </a:cubicBezTo>
                <a:cubicBezTo>
                  <a:pt x="89" y="132"/>
                  <a:pt x="89" y="131"/>
                  <a:pt x="90" y="131"/>
                </a:cubicBezTo>
                <a:cubicBezTo>
                  <a:pt x="90" y="131"/>
                  <a:pt x="91" y="132"/>
                  <a:pt x="91" y="132"/>
                </a:cubicBezTo>
                <a:cubicBezTo>
                  <a:pt x="91" y="132"/>
                  <a:pt x="93" y="132"/>
                  <a:pt x="93" y="132"/>
                </a:cubicBezTo>
                <a:cubicBezTo>
                  <a:pt x="93" y="132"/>
                  <a:pt x="93" y="132"/>
                  <a:pt x="93" y="132"/>
                </a:cubicBezTo>
                <a:cubicBezTo>
                  <a:pt x="93" y="132"/>
                  <a:pt x="93" y="132"/>
                  <a:pt x="94" y="132"/>
                </a:cubicBezTo>
                <a:cubicBezTo>
                  <a:pt x="93" y="132"/>
                  <a:pt x="93" y="132"/>
                  <a:pt x="92" y="132"/>
                </a:cubicBezTo>
                <a:cubicBezTo>
                  <a:pt x="93" y="133"/>
                  <a:pt x="93" y="133"/>
                  <a:pt x="93" y="133"/>
                </a:cubicBezTo>
                <a:cubicBezTo>
                  <a:pt x="93" y="133"/>
                  <a:pt x="92" y="133"/>
                  <a:pt x="91" y="133"/>
                </a:cubicBezTo>
                <a:cubicBezTo>
                  <a:pt x="92" y="133"/>
                  <a:pt x="93" y="133"/>
                  <a:pt x="95" y="134"/>
                </a:cubicBezTo>
                <a:cubicBezTo>
                  <a:pt x="95" y="134"/>
                  <a:pt x="95" y="134"/>
                  <a:pt x="96" y="134"/>
                </a:cubicBezTo>
                <a:cubicBezTo>
                  <a:pt x="97" y="134"/>
                  <a:pt x="97" y="134"/>
                  <a:pt x="97" y="134"/>
                </a:cubicBezTo>
                <a:cubicBezTo>
                  <a:pt x="98" y="135"/>
                  <a:pt x="99" y="135"/>
                  <a:pt x="99" y="135"/>
                </a:cubicBezTo>
                <a:cubicBezTo>
                  <a:pt x="100" y="135"/>
                  <a:pt x="100" y="135"/>
                  <a:pt x="101" y="136"/>
                </a:cubicBezTo>
                <a:cubicBezTo>
                  <a:pt x="101" y="136"/>
                  <a:pt x="102" y="136"/>
                  <a:pt x="102" y="136"/>
                </a:cubicBezTo>
                <a:cubicBezTo>
                  <a:pt x="102" y="137"/>
                  <a:pt x="101" y="137"/>
                  <a:pt x="102" y="137"/>
                </a:cubicBezTo>
                <a:cubicBezTo>
                  <a:pt x="102" y="137"/>
                  <a:pt x="103" y="137"/>
                  <a:pt x="103" y="137"/>
                </a:cubicBezTo>
                <a:cubicBezTo>
                  <a:pt x="103" y="138"/>
                  <a:pt x="103" y="138"/>
                  <a:pt x="103" y="138"/>
                </a:cubicBezTo>
                <a:cubicBezTo>
                  <a:pt x="104" y="138"/>
                  <a:pt x="103" y="138"/>
                  <a:pt x="103" y="138"/>
                </a:cubicBezTo>
                <a:cubicBezTo>
                  <a:pt x="103" y="139"/>
                  <a:pt x="104" y="139"/>
                  <a:pt x="104" y="139"/>
                </a:cubicBezTo>
                <a:cubicBezTo>
                  <a:pt x="104" y="139"/>
                  <a:pt x="103" y="139"/>
                  <a:pt x="103" y="139"/>
                </a:cubicBezTo>
                <a:cubicBezTo>
                  <a:pt x="103" y="139"/>
                  <a:pt x="103" y="138"/>
                  <a:pt x="102" y="138"/>
                </a:cubicBezTo>
                <a:cubicBezTo>
                  <a:pt x="102" y="138"/>
                  <a:pt x="102" y="138"/>
                  <a:pt x="102" y="139"/>
                </a:cubicBezTo>
                <a:cubicBezTo>
                  <a:pt x="102" y="139"/>
                  <a:pt x="103" y="139"/>
                  <a:pt x="102" y="139"/>
                </a:cubicBezTo>
                <a:cubicBezTo>
                  <a:pt x="103" y="140"/>
                  <a:pt x="103" y="140"/>
                  <a:pt x="103" y="141"/>
                </a:cubicBezTo>
                <a:cubicBezTo>
                  <a:pt x="103" y="141"/>
                  <a:pt x="102" y="141"/>
                  <a:pt x="102" y="141"/>
                </a:cubicBezTo>
                <a:cubicBezTo>
                  <a:pt x="102" y="141"/>
                  <a:pt x="103" y="141"/>
                  <a:pt x="103" y="141"/>
                </a:cubicBezTo>
                <a:cubicBezTo>
                  <a:pt x="103" y="142"/>
                  <a:pt x="102" y="141"/>
                  <a:pt x="101" y="141"/>
                </a:cubicBezTo>
                <a:cubicBezTo>
                  <a:pt x="101" y="141"/>
                  <a:pt x="101" y="142"/>
                  <a:pt x="101" y="142"/>
                </a:cubicBezTo>
                <a:cubicBezTo>
                  <a:pt x="101" y="142"/>
                  <a:pt x="101" y="142"/>
                  <a:pt x="100" y="142"/>
                </a:cubicBezTo>
                <a:cubicBezTo>
                  <a:pt x="101" y="142"/>
                  <a:pt x="100" y="142"/>
                  <a:pt x="100" y="142"/>
                </a:cubicBezTo>
                <a:cubicBezTo>
                  <a:pt x="100" y="142"/>
                  <a:pt x="101" y="142"/>
                  <a:pt x="101" y="143"/>
                </a:cubicBezTo>
                <a:cubicBezTo>
                  <a:pt x="101" y="143"/>
                  <a:pt x="101" y="143"/>
                  <a:pt x="102" y="143"/>
                </a:cubicBezTo>
                <a:cubicBezTo>
                  <a:pt x="102" y="143"/>
                  <a:pt x="104" y="144"/>
                  <a:pt x="103" y="144"/>
                </a:cubicBezTo>
                <a:cubicBezTo>
                  <a:pt x="103" y="144"/>
                  <a:pt x="103" y="145"/>
                  <a:pt x="103" y="145"/>
                </a:cubicBezTo>
                <a:cubicBezTo>
                  <a:pt x="103" y="145"/>
                  <a:pt x="104" y="145"/>
                  <a:pt x="104" y="145"/>
                </a:cubicBezTo>
                <a:cubicBezTo>
                  <a:pt x="104" y="145"/>
                  <a:pt x="104" y="145"/>
                  <a:pt x="104" y="145"/>
                </a:cubicBezTo>
                <a:cubicBezTo>
                  <a:pt x="104" y="145"/>
                  <a:pt x="104" y="146"/>
                  <a:pt x="104" y="145"/>
                </a:cubicBezTo>
                <a:cubicBezTo>
                  <a:pt x="104" y="146"/>
                  <a:pt x="104" y="146"/>
                  <a:pt x="104" y="146"/>
                </a:cubicBezTo>
                <a:cubicBezTo>
                  <a:pt x="104" y="146"/>
                  <a:pt x="106" y="147"/>
                  <a:pt x="106" y="147"/>
                </a:cubicBezTo>
                <a:cubicBezTo>
                  <a:pt x="106" y="148"/>
                  <a:pt x="105" y="148"/>
                  <a:pt x="105" y="148"/>
                </a:cubicBezTo>
                <a:cubicBezTo>
                  <a:pt x="105" y="148"/>
                  <a:pt x="105" y="148"/>
                  <a:pt x="105" y="148"/>
                </a:cubicBezTo>
                <a:cubicBezTo>
                  <a:pt x="106" y="148"/>
                  <a:pt x="106" y="148"/>
                  <a:pt x="106" y="148"/>
                </a:cubicBezTo>
                <a:cubicBezTo>
                  <a:pt x="106" y="149"/>
                  <a:pt x="105" y="148"/>
                  <a:pt x="106" y="149"/>
                </a:cubicBezTo>
                <a:cubicBezTo>
                  <a:pt x="106" y="149"/>
                  <a:pt x="105" y="150"/>
                  <a:pt x="105" y="150"/>
                </a:cubicBezTo>
                <a:cubicBezTo>
                  <a:pt x="105" y="150"/>
                  <a:pt x="106" y="150"/>
                  <a:pt x="107" y="151"/>
                </a:cubicBezTo>
                <a:cubicBezTo>
                  <a:pt x="107" y="151"/>
                  <a:pt x="108" y="152"/>
                  <a:pt x="108" y="152"/>
                </a:cubicBezTo>
                <a:cubicBezTo>
                  <a:pt x="109" y="152"/>
                  <a:pt x="110" y="152"/>
                  <a:pt x="110" y="152"/>
                </a:cubicBezTo>
                <a:cubicBezTo>
                  <a:pt x="111" y="152"/>
                  <a:pt x="112" y="152"/>
                  <a:pt x="111" y="152"/>
                </a:cubicBezTo>
                <a:cubicBezTo>
                  <a:pt x="112" y="152"/>
                  <a:pt x="113" y="152"/>
                  <a:pt x="113" y="152"/>
                </a:cubicBezTo>
                <a:cubicBezTo>
                  <a:pt x="114" y="152"/>
                  <a:pt x="114" y="153"/>
                  <a:pt x="114" y="153"/>
                </a:cubicBezTo>
                <a:cubicBezTo>
                  <a:pt x="114" y="153"/>
                  <a:pt x="115" y="154"/>
                  <a:pt x="115" y="154"/>
                </a:cubicBezTo>
                <a:cubicBezTo>
                  <a:pt x="115" y="153"/>
                  <a:pt x="115" y="153"/>
                  <a:pt x="115" y="153"/>
                </a:cubicBezTo>
                <a:cubicBezTo>
                  <a:pt x="116" y="153"/>
                  <a:pt x="117" y="154"/>
                  <a:pt x="117" y="154"/>
                </a:cubicBezTo>
                <a:cubicBezTo>
                  <a:pt x="116" y="155"/>
                  <a:pt x="118" y="156"/>
                  <a:pt x="118" y="156"/>
                </a:cubicBezTo>
                <a:cubicBezTo>
                  <a:pt x="119" y="156"/>
                  <a:pt x="120" y="156"/>
                  <a:pt x="120" y="156"/>
                </a:cubicBezTo>
                <a:cubicBezTo>
                  <a:pt x="121" y="156"/>
                  <a:pt x="122" y="157"/>
                  <a:pt x="122" y="156"/>
                </a:cubicBezTo>
                <a:cubicBezTo>
                  <a:pt x="123" y="156"/>
                  <a:pt x="123" y="157"/>
                  <a:pt x="124" y="157"/>
                </a:cubicBezTo>
                <a:cubicBezTo>
                  <a:pt x="124" y="157"/>
                  <a:pt x="124" y="157"/>
                  <a:pt x="125" y="157"/>
                </a:cubicBezTo>
                <a:cubicBezTo>
                  <a:pt x="125" y="157"/>
                  <a:pt x="127" y="158"/>
                  <a:pt x="127" y="157"/>
                </a:cubicBezTo>
                <a:cubicBezTo>
                  <a:pt x="127" y="156"/>
                  <a:pt x="128" y="156"/>
                  <a:pt x="129" y="156"/>
                </a:cubicBezTo>
                <a:cubicBezTo>
                  <a:pt x="130" y="156"/>
                  <a:pt x="131" y="156"/>
                  <a:pt x="130" y="155"/>
                </a:cubicBezTo>
                <a:cubicBezTo>
                  <a:pt x="130" y="154"/>
                  <a:pt x="129" y="153"/>
                  <a:pt x="129" y="153"/>
                </a:cubicBezTo>
                <a:cubicBezTo>
                  <a:pt x="129" y="153"/>
                  <a:pt x="130" y="153"/>
                  <a:pt x="129" y="152"/>
                </a:cubicBezTo>
                <a:cubicBezTo>
                  <a:pt x="129" y="152"/>
                  <a:pt x="129" y="152"/>
                  <a:pt x="128" y="152"/>
                </a:cubicBezTo>
                <a:cubicBezTo>
                  <a:pt x="128" y="152"/>
                  <a:pt x="128" y="152"/>
                  <a:pt x="128" y="151"/>
                </a:cubicBezTo>
                <a:cubicBezTo>
                  <a:pt x="127" y="151"/>
                  <a:pt x="127" y="152"/>
                  <a:pt x="127" y="152"/>
                </a:cubicBezTo>
                <a:cubicBezTo>
                  <a:pt x="126" y="152"/>
                  <a:pt x="126" y="152"/>
                  <a:pt x="125" y="152"/>
                </a:cubicBezTo>
                <a:cubicBezTo>
                  <a:pt x="124" y="152"/>
                  <a:pt x="123" y="152"/>
                  <a:pt x="122" y="151"/>
                </a:cubicBezTo>
                <a:cubicBezTo>
                  <a:pt x="121" y="150"/>
                  <a:pt x="120" y="150"/>
                  <a:pt x="119" y="149"/>
                </a:cubicBezTo>
                <a:cubicBezTo>
                  <a:pt x="119" y="148"/>
                  <a:pt x="118" y="148"/>
                  <a:pt x="118" y="148"/>
                </a:cubicBezTo>
                <a:cubicBezTo>
                  <a:pt x="118" y="148"/>
                  <a:pt x="117" y="147"/>
                  <a:pt x="118" y="147"/>
                </a:cubicBezTo>
                <a:cubicBezTo>
                  <a:pt x="118" y="147"/>
                  <a:pt x="116" y="146"/>
                  <a:pt x="117" y="146"/>
                </a:cubicBezTo>
                <a:cubicBezTo>
                  <a:pt x="118" y="146"/>
                  <a:pt x="119" y="147"/>
                  <a:pt x="119" y="146"/>
                </a:cubicBezTo>
                <a:cubicBezTo>
                  <a:pt x="120" y="146"/>
                  <a:pt x="119" y="144"/>
                  <a:pt x="119" y="144"/>
                </a:cubicBezTo>
                <a:cubicBezTo>
                  <a:pt x="120" y="144"/>
                  <a:pt x="121" y="144"/>
                  <a:pt x="122" y="144"/>
                </a:cubicBezTo>
                <a:cubicBezTo>
                  <a:pt x="123" y="144"/>
                  <a:pt x="124" y="145"/>
                  <a:pt x="125" y="145"/>
                </a:cubicBezTo>
                <a:cubicBezTo>
                  <a:pt x="126" y="145"/>
                  <a:pt x="126" y="146"/>
                  <a:pt x="127" y="147"/>
                </a:cubicBezTo>
                <a:cubicBezTo>
                  <a:pt x="128" y="147"/>
                  <a:pt x="129" y="147"/>
                  <a:pt x="130" y="147"/>
                </a:cubicBezTo>
                <a:cubicBezTo>
                  <a:pt x="132" y="147"/>
                  <a:pt x="131" y="148"/>
                  <a:pt x="131" y="148"/>
                </a:cubicBezTo>
                <a:cubicBezTo>
                  <a:pt x="131" y="148"/>
                  <a:pt x="131" y="148"/>
                  <a:pt x="130" y="148"/>
                </a:cubicBezTo>
                <a:cubicBezTo>
                  <a:pt x="130" y="148"/>
                  <a:pt x="130" y="148"/>
                  <a:pt x="129" y="148"/>
                </a:cubicBezTo>
                <a:cubicBezTo>
                  <a:pt x="128" y="148"/>
                  <a:pt x="130" y="149"/>
                  <a:pt x="129" y="149"/>
                </a:cubicBezTo>
                <a:cubicBezTo>
                  <a:pt x="129" y="149"/>
                  <a:pt x="129" y="150"/>
                  <a:pt x="129" y="149"/>
                </a:cubicBezTo>
                <a:cubicBezTo>
                  <a:pt x="130" y="149"/>
                  <a:pt x="130" y="149"/>
                  <a:pt x="130" y="149"/>
                </a:cubicBezTo>
                <a:cubicBezTo>
                  <a:pt x="130" y="148"/>
                  <a:pt x="132" y="149"/>
                  <a:pt x="132" y="148"/>
                </a:cubicBezTo>
                <a:cubicBezTo>
                  <a:pt x="132" y="148"/>
                  <a:pt x="131" y="148"/>
                  <a:pt x="132" y="148"/>
                </a:cubicBezTo>
                <a:cubicBezTo>
                  <a:pt x="132" y="147"/>
                  <a:pt x="134" y="148"/>
                  <a:pt x="134" y="148"/>
                </a:cubicBezTo>
                <a:cubicBezTo>
                  <a:pt x="136" y="148"/>
                  <a:pt x="136" y="149"/>
                  <a:pt x="137" y="149"/>
                </a:cubicBezTo>
                <a:cubicBezTo>
                  <a:pt x="139" y="150"/>
                  <a:pt x="141" y="151"/>
                  <a:pt x="143" y="150"/>
                </a:cubicBezTo>
                <a:cubicBezTo>
                  <a:pt x="143" y="149"/>
                  <a:pt x="142" y="150"/>
                  <a:pt x="142" y="150"/>
                </a:cubicBezTo>
                <a:cubicBezTo>
                  <a:pt x="142" y="149"/>
                  <a:pt x="142" y="149"/>
                  <a:pt x="142" y="149"/>
                </a:cubicBezTo>
                <a:cubicBezTo>
                  <a:pt x="144" y="149"/>
                  <a:pt x="145" y="150"/>
                  <a:pt x="146" y="150"/>
                </a:cubicBezTo>
                <a:cubicBezTo>
                  <a:pt x="147" y="150"/>
                  <a:pt x="148" y="151"/>
                  <a:pt x="147" y="149"/>
                </a:cubicBezTo>
                <a:cubicBezTo>
                  <a:pt x="147" y="149"/>
                  <a:pt x="146" y="148"/>
                  <a:pt x="147" y="148"/>
                </a:cubicBezTo>
                <a:cubicBezTo>
                  <a:pt x="147" y="148"/>
                  <a:pt x="146" y="148"/>
                  <a:pt x="146" y="147"/>
                </a:cubicBezTo>
                <a:cubicBezTo>
                  <a:pt x="146" y="147"/>
                  <a:pt x="146" y="147"/>
                  <a:pt x="145" y="146"/>
                </a:cubicBezTo>
                <a:cubicBezTo>
                  <a:pt x="145" y="146"/>
                  <a:pt x="144" y="146"/>
                  <a:pt x="143" y="145"/>
                </a:cubicBezTo>
                <a:cubicBezTo>
                  <a:pt x="143" y="145"/>
                  <a:pt x="142" y="144"/>
                  <a:pt x="142" y="144"/>
                </a:cubicBezTo>
                <a:cubicBezTo>
                  <a:pt x="141" y="143"/>
                  <a:pt x="141" y="143"/>
                  <a:pt x="140" y="143"/>
                </a:cubicBezTo>
                <a:cubicBezTo>
                  <a:pt x="139" y="142"/>
                  <a:pt x="140" y="140"/>
                  <a:pt x="141" y="140"/>
                </a:cubicBezTo>
                <a:cubicBezTo>
                  <a:pt x="142" y="139"/>
                  <a:pt x="144" y="139"/>
                  <a:pt x="145" y="137"/>
                </a:cubicBezTo>
                <a:cubicBezTo>
                  <a:pt x="146" y="136"/>
                  <a:pt x="147" y="136"/>
                  <a:pt x="149" y="136"/>
                </a:cubicBezTo>
                <a:cubicBezTo>
                  <a:pt x="150" y="136"/>
                  <a:pt x="152" y="135"/>
                  <a:pt x="153" y="134"/>
                </a:cubicBezTo>
                <a:cubicBezTo>
                  <a:pt x="154" y="133"/>
                  <a:pt x="154" y="131"/>
                  <a:pt x="156" y="131"/>
                </a:cubicBezTo>
                <a:cubicBezTo>
                  <a:pt x="157" y="131"/>
                  <a:pt x="157" y="132"/>
                  <a:pt x="158" y="132"/>
                </a:cubicBezTo>
                <a:cubicBezTo>
                  <a:pt x="159" y="132"/>
                  <a:pt x="158" y="132"/>
                  <a:pt x="158" y="132"/>
                </a:cubicBezTo>
                <a:cubicBezTo>
                  <a:pt x="159" y="133"/>
                  <a:pt x="160" y="132"/>
                  <a:pt x="161" y="132"/>
                </a:cubicBezTo>
                <a:cubicBezTo>
                  <a:pt x="162" y="132"/>
                  <a:pt x="163" y="132"/>
                  <a:pt x="163" y="132"/>
                </a:cubicBezTo>
                <a:cubicBezTo>
                  <a:pt x="164" y="133"/>
                  <a:pt x="165" y="133"/>
                  <a:pt x="166" y="133"/>
                </a:cubicBezTo>
                <a:cubicBezTo>
                  <a:pt x="168" y="134"/>
                  <a:pt x="166" y="134"/>
                  <a:pt x="165" y="135"/>
                </a:cubicBezTo>
                <a:cubicBezTo>
                  <a:pt x="165" y="135"/>
                  <a:pt x="164" y="135"/>
                  <a:pt x="164" y="136"/>
                </a:cubicBezTo>
                <a:cubicBezTo>
                  <a:pt x="165" y="136"/>
                  <a:pt x="165" y="136"/>
                  <a:pt x="166" y="136"/>
                </a:cubicBezTo>
                <a:cubicBezTo>
                  <a:pt x="166" y="136"/>
                  <a:pt x="165" y="136"/>
                  <a:pt x="165" y="136"/>
                </a:cubicBezTo>
                <a:cubicBezTo>
                  <a:pt x="165" y="135"/>
                  <a:pt x="167" y="135"/>
                  <a:pt x="167" y="135"/>
                </a:cubicBezTo>
                <a:cubicBezTo>
                  <a:pt x="168" y="134"/>
                  <a:pt x="169" y="135"/>
                  <a:pt x="170" y="135"/>
                </a:cubicBezTo>
                <a:cubicBezTo>
                  <a:pt x="170" y="136"/>
                  <a:pt x="170" y="136"/>
                  <a:pt x="170" y="136"/>
                </a:cubicBezTo>
                <a:cubicBezTo>
                  <a:pt x="170" y="137"/>
                  <a:pt x="171" y="137"/>
                  <a:pt x="171" y="137"/>
                </a:cubicBezTo>
                <a:cubicBezTo>
                  <a:pt x="171" y="137"/>
                  <a:pt x="171" y="137"/>
                  <a:pt x="171" y="136"/>
                </a:cubicBezTo>
                <a:cubicBezTo>
                  <a:pt x="170" y="136"/>
                  <a:pt x="171" y="136"/>
                  <a:pt x="171" y="136"/>
                </a:cubicBezTo>
                <a:cubicBezTo>
                  <a:pt x="170" y="135"/>
                  <a:pt x="170" y="135"/>
                  <a:pt x="170" y="135"/>
                </a:cubicBezTo>
                <a:cubicBezTo>
                  <a:pt x="170" y="134"/>
                  <a:pt x="170" y="134"/>
                  <a:pt x="170" y="133"/>
                </a:cubicBezTo>
                <a:cubicBezTo>
                  <a:pt x="170" y="133"/>
                  <a:pt x="170" y="132"/>
                  <a:pt x="170" y="132"/>
                </a:cubicBezTo>
                <a:cubicBezTo>
                  <a:pt x="170" y="132"/>
                  <a:pt x="171" y="132"/>
                  <a:pt x="171" y="131"/>
                </a:cubicBezTo>
                <a:cubicBezTo>
                  <a:pt x="171" y="131"/>
                  <a:pt x="171" y="131"/>
                  <a:pt x="171" y="130"/>
                </a:cubicBezTo>
                <a:cubicBezTo>
                  <a:pt x="171" y="130"/>
                  <a:pt x="172" y="130"/>
                  <a:pt x="172" y="130"/>
                </a:cubicBezTo>
                <a:cubicBezTo>
                  <a:pt x="171" y="130"/>
                  <a:pt x="170" y="129"/>
                  <a:pt x="170" y="129"/>
                </a:cubicBezTo>
                <a:cubicBezTo>
                  <a:pt x="170" y="129"/>
                  <a:pt x="171" y="128"/>
                  <a:pt x="171" y="128"/>
                </a:cubicBezTo>
                <a:cubicBezTo>
                  <a:pt x="171" y="128"/>
                  <a:pt x="170" y="128"/>
                  <a:pt x="171" y="127"/>
                </a:cubicBezTo>
                <a:cubicBezTo>
                  <a:pt x="170" y="127"/>
                  <a:pt x="170" y="127"/>
                  <a:pt x="169" y="126"/>
                </a:cubicBezTo>
                <a:cubicBezTo>
                  <a:pt x="169" y="126"/>
                  <a:pt x="169" y="126"/>
                  <a:pt x="169" y="126"/>
                </a:cubicBezTo>
                <a:cubicBezTo>
                  <a:pt x="168" y="126"/>
                  <a:pt x="168" y="125"/>
                  <a:pt x="167" y="125"/>
                </a:cubicBezTo>
                <a:cubicBezTo>
                  <a:pt x="167" y="125"/>
                  <a:pt x="166" y="125"/>
                  <a:pt x="165" y="125"/>
                </a:cubicBezTo>
                <a:cubicBezTo>
                  <a:pt x="164" y="125"/>
                  <a:pt x="164" y="123"/>
                  <a:pt x="165" y="122"/>
                </a:cubicBezTo>
                <a:cubicBezTo>
                  <a:pt x="165" y="121"/>
                  <a:pt x="165" y="120"/>
                  <a:pt x="166" y="120"/>
                </a:cubicBezTo>
                <a:cubicBezTo>
                  <a:pt x="167" y="121"/>
                  <a:pt x="165" y="120"/>
                  <a:pt x="166" y="120"/>
                </a:cubicBezTo>
                <a:cubicBezTo>
                  <a:pt x="165" y="120"/>
                  <a:pt x="166" y="119"/>
                  <a:pt x="166" y="119"/>
                </a:cubicBezTo>
                <a:cubicBezTo>
                  <a:pt x="165" y="119"/>
                  <a:pt x="165" y="119"/>
                  <a:pt x="165" y="118"/>
                </a:cubicBezTo>
                <a:cubicBezTo>
                  <a:pt x="165" y="118"/>
                  <a:pt x="166" y="118"/>
                  <a:pt x="166" y="118"/>
                </a:cubicBezTo>
                <a:cubicBezTo>
                  <a:pt x="166" y="118"/>
                  <a:pt x="166" y="118"/>
                  <a:pt x="166" y="118"/>
                </a:cubicBezTo>
                <a:cubicBezTo>
                  <a:pt x="165" y="118"/>
                  <a:pt x="165" y="117"/>
                  <a:pt x="166" y="117"/>
                </a:cubicBezTo>
                <a:cubicBezTo>
                  <a:pt x="166" y="117"/>
                  <a:pt x="165" y="117"/>
                  <a:pt x="165" y="117"/>
                </a:cubicBezTo>
                <a:cubicBezTo>
                  <a:pt x="165" y="117"/>
                  <a:pt x="166" y="117"/>
                  <a:pt x="166" y="117"/>
                </a:cubicBezTo>
                <a:cubicBezTo>
                  <a:pt x="165" y="117"/>
                  <a:pt x="165" y="117"/>
                  <a:pt x="165" y="116"/>
                </a:cubicBezTo>
                <a:cubicBezTo>
                  <a:pt x="165" y="115"/>
                  <a:pt x="165" y="114"/>
                  <a:pt x="164" y="114"/>
                </a:cubicBezTo>
                <a:cubicBezTo>
                  <a:pt x="163" y="113"/>
                  <a:pt x="161" y="113"/>
                  <a:pt x="160" y="112"/>
                </a:cubicBezTo>
                <a:cubicBezTo>
                  <a:pt x="159" y="112"/>
                  <a:pt x="158" y="112"/>
                  <a:pt x="157" y="111"/>
                </a:cubicBezTo>
                <a:cubicBezTo>
                  <a:pt x="158" y="110"/>
                  <a:pt x="160" y="111"/>
                  <a:pt x="161" y="111"/>
                </a:cubicBezTo>
                <a:cubicBezTo>
                  <a:pt x="161" y="112"/>
                  <a:pt x="162" y="112"/>
                  <a:pt x="163" y="112"/>
                </a:cubicBezTo>
                <a:cubicBezTo>
                  <a:pt x="164" y="112"/>
                  <a:pt x="165" y="112"/>
                  <a:pt x="166" y="112"/>
                </a:cubicBezTo>
                <a:cubicBezTo>
                  <a:pt x="168" y="112"/>
                  <a:pt x="170" y="112"/>
                  <a:pt x="172" y="112"/>
                </a:cubicBezTo>
                <a:cubicBezTo>
                  <a:pt x="173" y="112"/>
                  <a:pt x="174" y="112"/>
                  <a:pt x="176" y="113"/>
                </a:cubicBezTo>
                <a:cubicBezTo>
                  <a:pt x="176" y="113"/>
                  <a:pt x="177" y="113"/>
                  <a:pt x="177" y="113"/>
                </a:cubicBezTo>
                <a:cubicBezTo>
                  <a:pt x="176" y="113"/>
                  <a:pt x="177" y="114"/>
                  <a:pt x="177" y="114"/>
                </a:cubicBezTo>
                <a:cubicBezTo>
                  <a:pt x="178" y="114"/>
                  <a:pt x="179" y="115"/>
                  <a:pt x="179" y="115"/>
                </a:cubicBezTo>
                <a:cubicBezTo>
                  <a:pt x="179" y="115"/>
                  <a:pt x="182" y="116"/>
                  <a:pt x="182" y="116"/>
                </a:cubicBezTo>
                <a:cubicBezTo>
                  <a:pt x="182" y="116"/>
                  <a:pt x="183" y="117"/>
                  <a:pt x="183" y="118"/>
                </a:cubicBezTo>
                <a:cubicBezTo>
                  <a:pt x="184" y="118"/>
                  <a:pt x="185" y="119"/>
                  <a:pt x="184" y="119"/>
                </a:cubicBezTo>
                <a:cubicBezTo>
                  <a:pt x="182" y="119"/>
                  <a:pt x="182" y="119"/>
                  <a:pt x="180" y="119"/>
                </a:cubicBezTo>
                <a:cubicBezTo>
                  <a:pt x="179" y="119"/>
                  <a:pt x="178" y="119"/>
                  <a:pt x="177" y="119"/>
                </a:cubicBezTo>
                <a:cubicBezTo>
                  <a:pt x="177" y="119"/>
                  <a:pt x="175" y="119"/>
                  <a:pt x="174" y="120"/>
                </a:cubicBezTo>
                <a:cubicBezTo>
                  <a:pt x="174" y="120"/>
                  <a:pt x="175" y="121"/>
                  <a:pt x="175" y="121"/>
                </a:cubicBezTo>
                <a:cubicBezTo>
                  <a:pt x="174" y="121"/>
                  <a:pt x="174" y="121"/>
                  <a:pt x="174" y="121"/>
                </a:cubicBezTo>
                <a:cubicBezTo>
                  <a:pt x="173" y="121"/>
                  <a:pt x="173" y="122"/>
                  <a:pt x="173" y="122"/>
                </a:cubicBezTo>
                <a:cubicBezTo>
                  <a:pt x="172" y="122"/>
                  <a:pt x="172" y="123"/>
                  <a:pt x="173" y="123"/>
                </a:cubicBezTo>
                <a:cubicBezTo>
                  <a:pt x="173" y="124"/>
                  <a:pt x="175" y="124"/>
                  <a:pt x="176" y="124"/>
                </a:cubicBezTo>
                <a:cubicBezTo>
                  <a:pt x="176" y="125"/>
                  <a:pt x="177" y="125"/>
                  <a:pt x="177" y="125"/>
                </a:cubicBezTo>
                <a:cubicBezTo>
                  <a:pt x="178" y="125"/>
                  <a:pt x="178" y="126"/>
                  <a:pt x="179" y="126"/>
                </a:cubicBezTo>
                <a:cubicBezTo>
                  <a:pt x="180" y="128"/>
                  <a:pt x="182" y="129"/>
                  <a:pt x="184" y="128"/>
                </a:cubicBezTo>
                <a:cubicBezTo>
                  <a:pt x="184" y="128"/>
                  <a:pt x="186" y="127"/>
                  <a:pt x="186" y="128"/>
                </a:cubicBezTo>
                <a:cubicBezTo>
                  <a:pt x="186" y="128"/>
                  <a:pt x="185" y="129"/>
                  <a:pt x="185" y="129"/>
                </a:cubicBezTo>
                <a:cubicBezTo>
                  <a:pt x="186" y="129"/>
                  <a:pt x="187" y="128"/>
                  <a:pt x="188" y="128"/>
                </a:cubicBezTo>
                <a:cubicBezTo>
                  <a:pt x="188" y="128"/>
                  <a:pt x="189" y="128"/>
                  <a:pt x="190" y="128"/>
                </a:cubicBezTo>
                <a:cubicBezTo>
                  <a:pt x="191" y="128"/>
                  <a:pt x="193" y="127"/>
                  <a:pt x="193" y="128"/>
                </a:cubicBezTo>
                <a:cubicBezTo>
                  <a:pt x="193" y="127"/>
                  <a:pt x="193" y="127"/>
                  <a:pt x="194" y="127"/>
                </a:cubicBezTo>
                <a:cubicBezTo>
                  <a:pt x="194" y="127"/>
                  <a:pt x="194" y="126"/>
                  <a:pt x="194" y="126"/>
                </a:cubicBezTo>
                <a:cubicBezTo>
                  <a:pt x="194" y="126"/>
                  <a:pt x="193" y="125"/>
                  <a:pt x="193" y="125"/>
                </a:cubicBezTo>
                <a:cubicBezTo>
                  <a:pt x="193" y="125"/>
                  <a:pt x="193" y="125"/>
                  <a:pt x="193" y="124"/>
                </a:cubicBezTo>
                <a:cubicBezTo>
                  <a:pt x="194" y="124"/>
                  <a:pt x="193" y="124"/>
                  <a:pt x="193" y="123"/>
                </a:cubicBezTo>
                <a:cubicBezTo>
                  <a:pt x="193" y="123"/>
                  <a:pt x="194" y="123"/>
                  <a:pt x="194" y="123"/>
                </a:cubicBezTo>
                <a:cubicBezTo>
                  <a:pt x="194" y="122"/>
                  <a:pt x="194" y="122"/>
                  <a:pt x="193" y="122"/>
                </a:cubicBezTo>
                <a:cubicBezTo>
                  <a:pt x="193" y="122"/>
                  <a:pt x="193" y="121"/>
                  <a:pt x="193" y="121"/>
                </a:cubicBezTo>
                <a:cubicBezTo>
                  <a:pt x="193" y="121"/>
                  <a:pt x="194" y="121"/>
                  <a:pt x="194" y="121"/>
                </a:cubicBezTo>
                <a:cubicBezTo>
                  <a:pt x="194" y="121"/>
                  <a:pt x="195" y="121"/>
                  <a:pt x="195" y="121"/>
                </a:cubicBezTo>
                <a:cubicBezTo>
                  <a:pt x="195" y="121"/>
                  <a:pt x="195" y="120"/>
                  <a:pt x="196" y="120"/>
                </a:cubicBezTo>
                <a:cubicBezTo>
                  <a:pt x="196" y="120"/>
                  <a:pt x="196" y="120"/>
                  <a:pt x="197" y="120"/>
                </a:cubicBezTo>
                <a:cubicBezTo>
                  <a:pt x="197" y="120"/>
                  <a:pt x="198" y="120"/>
                  <a:pt x="198" y="120"/>
                </a:cubicBezTo>
                <a:cubicBezTo>
                  <a:pt x="198" y="120"/>
                  <a:pt x="199" y="120"/>
                  <a:pt x="199" y="120"/>
                </a:cubicBezTo>
                <a:cubicBezTo>
                  <a:pt x="199" y="120"/>
                  <a:pt x="200" y="120"/>
                  <a:pt x="200" y="120"/>
                </a:cubicBezTo>
                <a:cubicBezTo>
                  <a:pt x="201" y="120"/>
                  <a:pt x="201" y="121"/>
                  <a:pt x="202" y="121"/>
                </a:cubicBezTo>
                <a:cubicBezTo>
                  <a:pt x="201" y="121"/>
                  <a:pt x="199" y="120"/>
                  <a:pt x="199" y="120"/>
                </a:cubicBezTo>
                <a:cubicBezTo>
                  <a:pt x="199" y="118"/>
                  <a:pt x="198" y="119"/>
                  <a:pt x="197" y="118"/>
                </a:cubicBezTo>
                <a:cubicBezTo>
                  <a:pt x="198" y="118"/>
                  <a:pt x="199" y="119"/>
                  <a:pt x="200" y="119"/>
                </a:cubicBezTo>
                <a:cubicBezTo>
                  <a:pt x="201" y="119"/>
                  <a:pt x="202" y="118"/>
                  <a:pt x="203" y="118"/>
                </a:cubicBezTo>
                <a:cubicBezTo>
                  <a:pt x="204" y="118"/>
                  <a:pt x="205" y="117"/>
                  <a:pt x="206" y="117"/>
                </a:cubicBezTo>
                <a:cubicBezTo>
                  <a:pt x="206" y="117"/>
                  <a:pt x="207" y="116"/>
                  <a:pt x="207" y="117"/>
                </a:cubicBezTo>
                <a:cubicBezTo>
                  <a:pt x="207" y="117"/>
                  <a:pt x="206" y="117"/>
                  <a:pt x="206" y="117"/>
                </a:cubicBezTo>
                <a:cubicBezTo>
                  <a:pt x="206" y="117"/>
                  <a:pt x="207" y="117"/>
                  <a:pt x="207" y="116"/>
                </a:cubicBezTo>
                <a:cubicBezTo>
                  <a:pt x="208" y="116"/>
                  <a:pt x="208" y="116"/>
                  <a:pt x="209" y="115"/>
                </a:cubicBezTo>
                <a:cubicBezTo>
                  <a:pt x="209" y="115"/>
                  <a:pt x="210" y="115"/>
                  <a:pt x="210" y="115"/>
                </a:cubicBezTo>
                <a:cubicBezTo>
                  <a:pt x="211" y="114"/>
                  <a:pt x="211" y="114"/>
                  <a:pt x="212" y="114"/>
                </a:cubicBezTo>
                <a:cubicBezTo>
                  <a:pt x="213" y="114"/>
                  <a:pt x="214" y="114"/>
                  <a:pt x="215" y="114"/>
                </a:cubicBezTo>
                <a:cubicBezTo>
                  <a:pt x="215" y="114"/>
                  <a:pt x="215" y="113"/>
                  <a:pt x="216" y="113"/>
                </a:cubicBezTo>
                <a:cubicBezTo>
                  <a:pt x="216" y="113"/>
                  <a:pt x="217" y="113"/>
                  <a:pt x="217" y="113"/>
                </a:cubicBezTo>
                <a:cubicBezTo>
                  <a:pt x="217" y="113"/>
                  <a:pt x="216" y="113"/>
                  <a:pt x="217" y="113"/>
                </a:cubicBezTo>
                <a:cubicBezTo>
                  <a:pt x="218" y="113"/>
                  <a:pt x="218" y="113"/>
                  <a:pt x="219" y="112"/>
                </a:cubicBezTo>
                <a:cubicBezTo>
                  <a:pt x="219" y="112"/>
                  <a:pt x="221" y="112"/>
                  <a:pt x="221" y="112"/>
                </a:cubicBezTo>
                <a:cubicBezTo>
                  <a:pt x="221" y="112"/>
                  <a:pt x="220" y="112"/>
                  <a:pt x="220" y="113"/>
                </a:cubicBezTo>
                <a:cubicBezTo>
                  <a:pt x="220" y="113"/>
                  <a:pt x="221" y="113"/>
                  <a:pt x="221" y="113"/>
                </a:cubicBezTo>
                <a:cubicBezTo>
                  <a:pt x="221" y="113"/>
                  <a:pt x="222" y="112"/>
                  <a:pt x="222" y="113"/>
                </a:cubicBezTo>
                <a:cubicBezTo>
                  <a:pt x="222" y="113"/>
                  <a:pt x="222" y="113"/>
                  <a:pt x="222" y="113"/>
                </a:cubicBezTo>
                <a:cubicBezTo>
                  <a:pt x="222" y="113"/>
                  <a:pt x="221" y="114"/>
                  <a:pt x="221" y="114"/>
                </a:cubicBezTo>
                <a:cubicBezTo>
                  <a:pt x="222" y="115"/>
                  <a:pt x="223" y="114"/>
                  <a:pt x="224" y="113"/>
                </a:cubicBezTo>
                <a:cubicBezTo>
                  <a:pt x="226" y="113"/>
                  <a:pt x="224" y="112"/>
                  <a:pt x="223" y="112"/>
                </a:cubicBezTo>
                <a:cubicBezTo>
                  <a:pt x="222" y="111"/>
                  <a:pt x="224" y="112"/>
                  <a:pt x="224" y="111"/>
                </a:cubicBezTo>
                <a:cubicBezTo>
                  <a:pt x="224" y="111"/>
                  <a:pt x="222" y="112"/>
                  <a:pt x="222" y="112"/>
                </a:cubicBezTo>
                <a:cubicBezTo>
                  <a:pt x="220" y="112"/>
                  <a:pt x="223" y="111"/>
                  <a:pt x="223" y="111"/>
                </a:cubicBezTo>
                <a:cubicBezTo>
                  <a:pt x="224" y="110"/>
                  <a:pt x="226" y="110"/>
                  <a:pt x="227" y="109"/>
                </a:cubicBezTo>
                <a:cubicBezTo>
                  <a:pt x="229" y="109"/>
                  <a:pt x="230" y="108"/>
                  <a:pt x="232" y="108"/>
                </a:cubicBezTo>
                <a:cubicBezTo>
                  <a:pt x="232" y="108"/>
                  <a:pt x="236" y="107"/>
                  <a:pt x="236" y="108"/>
                </a:cubicBezTo>
                <a:cubicBezTo>
                  <a:pt x="236" y="108"/>
                  <a:pt x="233" y="109"/>
                  <a:pt x="233" y="109"/>
                </a:cubicBezTo>
                <a:cubicBezTo>
                  <a:pt x="232" y="109"/>
                  <a:pt x="231" y="108"/>
                  <a:pt x="230" y="109"/>
                </a:cubicBezTo>
                <a:cubicBezTo>
                  <a:pt x="230" y="109"/>
                  <a:pt x="230" y="109"/>
                  <a:pt x="231" y="109"/>
                </a:cubicBezTo>
                <a:cubicBezTo>
                  <a:pt x="230" y="109"/>
                  <a:pt x="233" y="109"/>
                  <a:pt x="232" y="110"/>
                </a:cubicBezTo>
                <a:cubicBezTo>
                  <a:pt x="232" y="110"/>
                  <a:pt x="232" y="110"/>
                  <a:pt x="232" y="111"/>
                </a:cubicBezTo>
                <a:cubicBezTo>
                  <a:pt x="232" y="111"/>
                  <a:pt x="231" y="111"/>
                  <a:pt x="231" y="111"/>
                </a:cubicBezTo>
                <a:cubicBezTo>
                  <a:pt x="232" y="112"/>
                  <a:pt x="233" y="112"/>
                  <a:pt x="234" y="113"/>
                </a:cubicBezTo>
                <a:cubicBezTo>
                  <a:pt x="234" y="114"/>
                  <a:pt x="233" y="114"/>
                  <a:pt x="233" y="114"/>
                </a:cubicBezTo>
                <a:cubicBezTo>
                  <a:pt x="232" y="114"/>
                  <a:pt x="232" y="113"/>
                  <a:pt x="231" y="113"/>
                </a:cubicBezTo>
                <a:cubicBezTo>
                  <a:pt x="231" y="114"/>
                  <a:pt x="232" y="114"/>
                  <a:pt x="232" y="114"/>
                </a:cubicBezTo>
                <a:cubicBezTo>
                  <a:pt x="231" y="114"/>
                  <a:pt x="230" y="113"/>
                  <a:pt x="229" y="114"/>
                </a:cubicBezTo>
                <a:cubicBezTo>
                  <a:pt x="228" y="115"/>
                  <a:pt x="230" y="115"/>
                  <a:pt x="231" y="115"/>
                </a:cubicBezTo>
                <a:cubicBezTo>
                  <a:pt x="232" y="115"/>
                  <a:pt x="233" y="115"/>
                  <a:pt x="234" y="115"/>
                </a:cubicBezTo>
                <a:cubicBezTo>
                  <a:pt x="235" y="115"/>
                  <a:pt x="235" y="115"/>
                  <a:pt x="235" y="115"/>
                </a:cubicBezTo>
                <a:cubicBezTo>
                  <a:pt x="236" y="115"/>
                  <a:pt x="236" y="114"/>
                  <a:pt x="236" y="114"/>
                </a:cubicBezTo>
                <a:cubicBezTo>
                  <a:pt x="236" y="115"/>
                  <a:pt x="236" y="115"/>
                  <a:pt x="236" y="115"/>
                </a:cubicBezTo>
                <a:cubicBezTo>
                  <a:pt x="237" y="115"/>
                  <a:pt x="237" y="115"/>
                  <a:pt x="237" y="115"/>
                </a:cubicBezTo>
                <a:cubicBezTo>
                  <a:pt x="238" y="114"/>
                  <a:pt x="239" y="115"/>
                  <a:pt x="239" y="115"/>
                </a:cubicBezTo>
                <a:cubicBezTo>
                  <a:pt x="240" y="116"/>
                  <a:pt x="241" y="116"/>
                  <a:pt x="241" y="115"/>
                </a:cubicBezTo>
                <a:cubicBezTo>
                  <a:pt x="241" y="115"/>
                  <a:pt x="241" y="115"/>
                  <a:pt x="241" y="114"/>
                </a:cubicBezTo>
                <a:cubicBezTo>
                  <a:pt x="241" y="114"/>
                  <a:pt x="241" y="113"/>
                  <a:pt x="241" y="113"/>
                </a:cubicBezTo>
                <a:cubicBezTo>
                  <a:pt x="242" y="113"/>
                  <a:pt x="243" y="112"/>
                  <a:pt x="244" y="112"/>
                </a:cubicBezTo>
                <a:cubicBezTo>
                  <a:pt x="245" y="112"/>
                  <a:pt x="245" y="112"/>
                  <a:pt x="246" y="112"/>
                </a:cubicBezTo>
                <a:cubicBezTo>
                  <a:pt x="246" y="112"/>
                  <a:pt x="247" y="111"/>
                  <a:pt x="247" y="111"/>
                </a:cubicBezTo>
                <a:cubicBezTo>
                  <a:pt x="248" y="111"/>
                  <a:pt x="249" y="112"/>
                  <a:pt x="250" y="112"/>
                </a:cubicBezTo>
                <a:cubicBezTo>
                  <a:pt x="250" y="111"/>
                  <a:pt x="251" y="111"/>
                  <a:pt x="251" y="112"/>
                </a:cubicBezTo>
                <a:cubicBezTo>
                  <a:pt x="252" y="111"/>
                  <a:pt x="254" y="112"/>
                  <a:pt x="255" y="112"/>
                </a:cubicBezTo>
                <a:cubicBezTo>
                  <a:pt x="256" y="112"/>
                  <a:pt x="257" y="112"/>
                  <a:pt x="257" y="112"/>
                </a:cubicBezTo>
                <a:cubicBezTo>
                  <a:pt x="258" y="112"/>
                  <a:pt x="258" y="112"/>
                  <a:pt x="258" y="111"/>
                </a:cubicBezTo>
                <a:cubicBezTo>
                  <a:pt x="258" y="111"/>
                  <a:pt x="258" y="111"/>
                  <a:pt x="258" y="111"/>
                </a:cubicBezTo>
                <a:cubicBezTo>
                  <a:pt x="259" y="110"/>
                  <a:pt x="259" y="110"/>
                  <a:pt x="259" y="110"/>
                </a:cubicBezTo>
                <a:cubicBezTo>
                  <a:pt x="260" y="110"/>
                  <a:pt x="260" y="110"/>
                  <a:pt x="261" y="110"/>
                </a:cubicBezTo>
                <a:cubicBezTo>
                  <a:pt x="261" y="110"/>
                  <a:pt x="261" y="110"/>
                  <a:pt x="261" y="110"/>
                </a:cubicBezTo>
                <a:cubicBezTo>
                  <a:pt x="261" y="109"/>
                  <a:pt x="261" y="109"/>
                  <a:pt x="262" y="109"/>
                </a:cubicBezTo>
                <a:cubicBezTo>
                  <a:pt x="262" y="109"/>
                  <a:pt x="262" y="109"/>
                  <a:pt x="262" y="109"/>
                </a:cubicBezTo>
                <a:cubicBezTo>
                  <a:pt x="262" y="110"/>
                  <a:pt x="263" y="110"/>
                  <a:pt x="264" y="110"/>
                </a:cubicBezTo>
                <a:cubicBezTo>
                  <a:pt x="264" y="110"/>
                  <a:pt x="264" y="110"/>
                  <a:pt x="264" y="110"/>
                </a:cubicBezTo>
                <a:cubicBezTo>
                  <a:pt x="264" y="110"/>
                  <a:pt x="264" y="110"/>
                  <a:pt x="264" y="110"/>
                </a:cubicBezTo>
                <a:cubicBezTo>
                  <a:pt x="263" y="110"/>
                  <a:pt x="263" y="110"/>
                  <a:pt x="263" y="109"/>
                </a:cubicBezTo>
                <a:cubicBezTo>
                  <a:pt x="262" y="109"/>
                  <a:pt x="268" y="107"/>
                  <a:pt x="269" y="108"/>
                </a:cubicBezTo>
                <a:cubicBezTo>
                  <a:pt x="268" y="108"/>
                  <a:pt x="267" y="108"/>
                  <a:pt x="267" y="109"/>
                </a:cubicBezTo>
                <a:cubicBezTo>
                  <a:pt x="268" y="109"/>
                  <a:pt x="269" y="109"/>
                  <a:pt x="271" y="110"/>
                </a:cubicBezTo>
                <a:cubicBezTo>
                  <a:pt x="272" y="110"/>
                  <a:pt x="272" y="111"/>
                  <a:pt x="271" y="111"/>
                </a:cubicBezTo>
                <a:cubicBezTo>
                  <a:pt x="270" y="111"/>
                  <a:pt x="269" y="111"/>
                  <a:pt x="270" y="112"/>
                </a:cubicBezTo>
                <a:cubicBezTo>
                  <a:pt x="270" y="112"/>
                  <a:pt x="270" y="113"/>
                  <a:pt x="271" y="114"/>
                </a:cubicBezTo>
                <a:cubicBezTo>
                  <a:pt x="272" y="114"/>
                  <a:pt x="273" y="114"/>
                  <a:pt x="274" y="114"/>
                </a:cubicBezTo>
                <a:cubicBezTo>
                  <a:pt x="275" y="114"/>
                  <a:pt x="277" y="114"/>
                  <a:pt x="276" y="112"/>
                </a:cubicBezTo>
                <a:cubicBezTo>
                  <a:pt x="276" y="112"/>
                  <a:pt x="274" y="111"/>
                  <a:pt x="274" y="111"/>
                </a:cubicBezTo>
                <a:cubicBezTo>
                  <a:pt x="274" y="111"/>
                  <a:pt x="275" y="110"/>
                  <a:pt x="276" y="111"/>
                </a:cubicBezTo>
                <a:cubicBezTo>
                  <a:pt x="276" y="111"/>
                  <a:pt x="279" y="111"/>
                  <a:pt x="279" y="111"/>
                </a:cubicBezTo>
                <a:cubicBezTo>
                  <a:pt x="280" y="110"/>
                  <a:pt x="280" y="109"/>
                  <a:pt x="281" y="109"/>
                </a:cubicBezTo>
                <a:cubicBezTo>
                  <a:pt x="281" y="109"/>
                  <a:pt x="281" y="107"/>
                  <a:pt x="280" y="107"/>
                </a:cubicBezTo>
                <a:cubicBezTo>
                  <a:pt x="280" y="107"/>
                  <a:pt x="279" y="106"/>
                  <a:pt x="279" y="106"/>
                </a:cubicBezTo>
                <a:cubicBezTo>
                  <a:pt x="279" y="107"/>
                  <a:pt x="279" y="107"/>
                  <a:pt x="279" y="107"/>
                </a:cubicBezTo>
                <a:cubicBezTo>
                  <a:pt x="279" y="107"/>
                  <a:pt x="279" y="107"/>
                  <a:pt x="278" y="107"/>
                </a:cubicBezTo>
                <a:cubicBezTo>
                  <a:pt x="278" y="107"/>
                  <a:pt x="278" y="106"/>
                  <a:pt x="277" y="106"/>
                </a:cubicBezTo>
                <a:cubicBezTo>
                  <a:pt x="277" y="104"/>
                  <a:pt x="275" y="104"/>
                  <a:pt x="274" y="103"/>
                </a:cubicBezTo>
                <a:cubicBezTo>
                  <a:pt x="274" y="103"/>
                  <a:pt x="272" y="102"/>
                  <a:pt x="273" y="102"/>
                </a:cubicBezTo>
                <a:cubicBezTo>
                  <a:pt x="274" y="102"/>
                  <a:pt x="274" y="102"/>
                  <a:pt x="274" y="102"/>
                </a:cubicBezTo>
                <a:cubicBezTo>
                  <a:pt x="275" y="102"/>
                  <a:pt x="277" y="102"/>
                  <a:pt x="276" y="101"/>
                </a:cubicBezTo>
                <a:cubicBezTo>
                  <a:pt x="276" y="101"/>
                  <a:pt x="276" y="101"/>
                  <a:pt x="276" y="101"/>
                </a:cubicBezTo>
                <a:cubicBezTo>
                  <a:pt x="275" y="100"/>
                  <a:pt x="277" y="100"/>
                  <a:pt x="277" y="100"/>
                </a:cubicBezTo>
                <a:cubicBezTo>
                  <a:pt x="278" y="100"/>
                  <a:pt x="279" y="100"/>
                  <a:pt x="280" y="100"/>
                </a:cubicBezTo>
                <a:cubicBezTo>
                  <a:pt x="282" y="101"/>
                  <a:pt x="283" y="101"/>
                  <a:pt x="285" y="101"/>
                </a:cubicBezTo>
                <a:cubicBezTo>
                  <a:pt x="287" y="101"/>
                  <a:pt x="289" y="101"/>
                  <a:pt x="291" y="101"/>
                </a:cubicBezTo>
                <a:cubicBezTo>
                  <a:pt x="292" y="101"/>
                  <a:pt x="294" y="102"/>
                  <a:pt x="296" y="102"/>
                </a:cubicBezTo>
                <a:cubicBezTo>
                  <a:pt x="297" y="102"/>
                  <a:pt x="299" y="102"/>
                  <a:pt x="301" y="102"/>
                </a:cubicBezTo>
                <a:cubicBezTo>
                  <a:pt x="303" y="103"/>
                  <a:pt x="304" y="104"/>
                  <a:pt x="306" y="104"/>
                </a:cubicBezTo>
                <a:cubicBezTo>
                  <a:pt x="306" y="104"/>
                  <a:pt x="308" y="105"/>
                  <a:pt x="308" y="105"/>
                </a:cubicBezTo>
                <a:cubicBezTo>
                  <a:pt x="308" y="105"/>
                  <a:pt x="307" y="105"/>
                  <a:pt x="307" y="105"/>
                </a:cubicBezTo>
                <a:cubicBezTo>
                  <a:pt x="307" y="106"/>
                  <a:pt x="307" y="106"/>
                  <a:pt x="307" y="106"/>
                </a:cubicBezTo>
                <a:cubicBezTo>
                  <a:pt x="307" y="107"/>
                  <a:pt x="308" y="106"/>
                  <a:pt x="308" y="106"/>
                </a:cubicBezTo>
                <a:cubicBezTo>
                  <a:pt x="308" y="106"/>
                  <a:pt x="308" y="106"/>
                  <a:pt x="308" y="105"/>
                </a:cubicBezTo>
                <a:cubicBezTo>
                  <a:pt x="309" y="105"/>
                  <a:pt x="310" y="106"/>
                  <a:pt x="311" y="106"/>
                </a:cubicBezTo>
                <a:cubicBezTo>
                  <a:pt x="311" y="106"/>
                  <a:pt x="312" y="106"/>
                  <a:pt x="312" y="106"/>
                </a:cubicBezTo>
                <a:cubicBezTo>
                  <a:pt x="313" y="107"/>
                  <a:pt x="315" y="106"/>
                  <a:pt x="315" y="107"/>
                </a:cubicBezTo>
                <a:cubicBezTo>
                  <a:pt x="315" y="107"/>
                  <a:pt x="314" y="107"/>
                  <a:pt x="314" y="107"/>
                </a:cubicBezTo>
                <a:cubicBezTo>
                  <a:pt x="314" y="107"/>
                  <a:pt x="316" y="107"/>
                  <a:pt x="316" y="107"/>
                </a:cubicBezTo>
                <a:cubicBezTo>
                  <a:pt x="317" y="108"/>
                  <a:pt x="318" y="108"/>
                  <a:pt x="319" y="108"/>
                </a:cubicBezTo>
                <a:cubicBezTo>
                  <a:pt x="321" y="109"/>
                  <a:pt x="322" y="109"/>
                  <a:pt x="323" y="109"/>
                </a:cubicBezTo>
                <a:cubicBezTo>
                  <a:pt x="324" y="109"/>
                  <a:pt x="325" y="109"/>
                  <a:pt x="325" y="109"/>
                </a:cubicBezTo>
                <a:cubicBezTo>
                  <a:pt x="324" y="110"/>
                  <a:pt x="327" y="111"/>
                  <a:pt x="327" y="111"/>
                </a:cubicBezTo>
                <a:cubicBezTo>
                  <a:pt x="328" y="111"/>
                  <a:pt x="329" y="111"/>
                  <a:pt x="330" y="112"/>
                </a:cubicBezTo>
                <a:cubicBezTo>
                  <a:pt x="330" y="112"/>
                  <a:pt x="332" y="113"/>
                  <a:pt x="331" y="112"/>
                </a:cubicBezTo>
                <a:cubicBezTo>
                  <a:pt x="332" y="113"/>
                  <a:pt x="336" y="113"/>
                  <a:pt x="336" y="115"/>
                </a:cubicBezTo>
                <a:cubicBezTo>
                  <a:pt x="336" y="115"/>
                  <a:pt x="337" y="115"/>
                  <a:pt x="337" y="115"/>
                </a:cubicBezTo>
                <a:cubicBezTo>
                  <a:pt x="337" y="115"/>
                  <a:pt x="338" y="114"/>
                  <a:pt x="339" y="114"/>
                </a:cubicBezTo>
                <a:cubicBezTo>
                  <a:pt x="338" y="114"/>
                  <a:pt x="338" y="114"/>
                  <a:pt x="338" y="113"/>
                </a:cubicBezTo>
                <a:cubicBezTo>
                  <a:pt x="339" y="112"/>
                  <a:pt x="339" y="112"/>
                  <a:pt x="339" y="111"/>
                </a:cubicBezTo>
                <a:cubicBezTo>
                  <a:pt x="339" y="111"/>
                  <a:pt x="339" y="110"/>
                  <a:pt x="339" y="110"/>
                </a:cubicBezTo>
                <a:cubicBezTo>
                  <a:pt x="339" y="110"/>
                  <a:pt x="339" y="110"/>
                  <a:pt x="339" y="109"/>
                </a:cubicBezTo>
                <a:cubicBezTo>
                  <a:pt x="339" y="109"/>
                  <a:pt x="338" y="109"/>
                  <a:pt x="338" y="109"/>
                </a:cubicBezTo>
                <a:cubicBezTo>
                  <a:pt x="338" y="109"/>
                  <a:pt x="340" y="109"/>
                  <a:pt x="339" y="109"/>
                </a:cubicBezTo>
                <a:cubicBezTo>
                  <a:pt x="339" y="108"/>
                  <a:pt x="339" y="108"/>
                  <a:pt x="340" y="108"/>
                </a:cubicBezTo>
                <a:cubicBezTo>
                  <a:pt x="338" y="108"/>
                  <a:pt x="337" y="109"/>
                  <a:pt x="336" y="109"/>
                </a:cubicBezTo>
                <a:cubicBezTo>
                  <a:pt x="335" y="108"/>
                  <a:pt x="334" y="108"/>
                  <a:pt x="332" y="107"/>
                </a:cubicBezTo>
                <a:cubicBezTo>
                  <a:pt x="332" y="107"/>
                  <a:pt x="329" y="105"/>
                  <a:pt x="330" y="104"/>
                </a:cubicBezTo>
                <a:cubicBezTo>
                  <a:pt x="330" y="104"/>
                  <a:pt x="329" y="103"/>
                  <a:pt x="329" y="103"/>
                </a:cubicBezTo>
                <a:cubicBezTo>
                  <a:pt x="329" y="103"/>
                  <a:pt x="328" y="103"/>
                  <a:pt x="329" y="103"/>
                </a:cubicBezTo>
                <a:cubicBezTo>
                  <a:pt x="327" y="104"/>
                  <a:pt x="326" y="103"/>
                  <a:pt x="325" y="102"/>
                </a:cubicBezTo>
                <a:cubicBezTo>
                  <a:pt x="324" y="102"/>
                  <a:pt x="323" y="102"/>
                  <a:pt x="322" y="102"/>
                </a:cubicBezTo>
                <a:cubicBezTo>
                  <a:pt x="322" y="102"/>
                  <a:pt x="321" y="101"/>
                  <a:pt x="320" y="101"/>
                </a:cubicBezTo>
                <a:cubicBezTo>
                  <a:pt x="321" y="102"/>
                  <a:pt x="320" y="102"/>
                  <a:pt x="320" y="102"/>
                </a:cubicBezTo>
                <a:cubicBezTo>
                  <a:pt x="320" y="102"/>
                  <a:pt x="321" y="103"/>
                  <a:pt x="321" y="103"/>
                </a:cubicBezTo>
                <a:cubicBezTo>
                  <a:pt x="319" y="103"/>
                  <a:pt x="319" y="101"/>
                  <a:pt x="318" y="100"/>
                </a:cubicBezTo>
                <a:cubicBezTo>
                  <a:pt x="318" y="100"/>
                  <a:pt x="318" y="99"/>
                  <a:pt x="318" y="98"/>
                </a:cubicBezTo>
                <a:cubicBezTo>
                  <a:pt x="319" y="98"/>
                  <a:pt x="319" y="98"/>
                  <a:pt x="319" y="99"/>
                </a:cubicBezTo>
                <a:cubicBezTo>
                  <a:pt x="319" y="99"/>
                  <a:pt x="320" y="99"/>
                  <a:pt x="321" y="99"/>
                </a:cubicBezTo>
                <a:cubicBezTo>
                  <a:pt x="321" y="98"/>
                  <a:pt x="321" y="97"/>
                  <a:pt x="320" y="97"/>
                </a:cubicBezTo>
                <a:cubicBezTo>
                  <a:pt x="320" y="97"/>
                  <a:pt x="320" y="97"/>
                  <a:pt x="320" y="97"/>
                </a:cubicBezTo>
                <a:cubicBezTo>
                  <a:pt x="320" y="97"/>
                  <a:pt x="319" y="97"/>
                  <a:pt x="319" y="97"/>
                </a:cubicBezTo>
                <a:cubicBezTo>
                  <a:pt x="319" y="96"/>
                  <a:pt x="319" y="95"/>
                  <a:pt x="319" y="95"/>
                </a:cubicBezTo>
                <a:cubicBezTo>
                  <a:pt x="319" y="95"/>
                  <a:pt x="319" y="95"/>
                  <a:pt x="319" y="94"/>
                </a:cubicBezTo>
                <a:cubicBezTo>
                  <a:pt x="319" y="94"/>
                  <a:pt x="319" y="94"/>
                  <a:pt x="318" y="94"/>
                </a:cubicBezTo>
                <a:cubicBezTo>
                  <a:pt x="318" y="94"/>
                  <a:pt x="318" y="94"/>
                  <a:pt x="318" y="93"/>
                </a:cubicBezTo>
                <a:cubicBezTo>
                  <a:pt x="318" y="93"/>
                  <a:pt x="318" y="92"/>
                  <a:pt x="318" y="91"/>
                </a:cubicBezTo>
                <a:cubicBezTo>
                  <a:pt x="317" y="91"/>
                  <a:pt x="316" y="91"/>
                  <a:pt x="316" y="91"/>
                </a:cubicBezTo>
                <a:cubicBezTo>
                  <a:pt x="315" y="91"/>
                  <a:pt x="314" y="91"/>
                  <a:pt x="314" y="92"/>
                </a:cubicBezTo>
                <a:cubicBezTo>
                  <a:pt x="313" y="92"/>
                  <a:pt x="313" y="91"/>
                  <a:pt x="312" y="91"/>
                </a:cubicBezTo>
                <a:cubicBezTo>
                  <a:pt x="312" y="91"/>
                  <a:pt x="313" y="90"/>
                  <a:pt x="313" y="90"/>
                </a:cubicBezTo>
                <a:cubicBezTo>
                  <a:pt x="313" y="89"/>
                  <a:pt x="313" y="89"/>
                  <a:pt x="313" y="89"/>
                </a:cubicBezTo>
                <a:cubicBezTo>
                  <a:pt x="313" y="89"/>
                  <a:pt x="313" y="89"/>
                  <a:pt x="312" y="89"/>
                </a:cubicBezTo>
                <a:cubicBezTo>
                  <a:pt x="312" y="89"/>
                  <a:pt x="313" y="90"/>
                  <a:pt x="312" y="89"/>
                </a:cubicBezTo>
                <a:cubicBezTo>
                  <a:pt x="311" y="89"/>
                  <a:pt x="312" y="88"/>
                  <a:pt x="312" y="88"/>
                </a:cubicBezTo>
                <a:cubicBezTo>
                  <a:pt x="312" y="87"/>
                  <a:pt x="312" y="87"/>
                  <a:pt x="313" y="87"/>
                </a:cubicBezTo>
                <a:cubicBezTo>
                  <a:pt x="315" y="87"/>
                  <a:pt x="316" y="86"/>
                  <a:pt x="318" y="85"/>
                </a:cubicBezTo>
                <a:cubicBezTo>
                  <a:pt x="318" y="85"/>
                  <a:pt x="318" y="85"/>
                  <a:pt x="319" y="84"/>
                </a:cubicBezTo>
                <a:cubicBezTo>
                  <a:pt x="319" y="84"/>
                  <a:pt x="320" y="83"/>
                  <a:pt x="320" y="83"/>
                </a:cubicBezTo>
                <a:cubicBezTo>
                  <a:pt x="320" y="83"/>
                  <a:pt x="320" y="83"/>
                  <a:pt x="320" y="83"/>
                </a:cubicBezTo>
                <a:cubicBezTo>
                  <a:pt x="320" y="82"/>
                  <a:pt x="320" y="82"/>
                  <a:pt x="320" y="81"/>
                </a:cubicBezTo>
                <a:cubicBezTo>
                  <a:pt x="320" y="80"/>
                  <a:pt x="320" y="80"/>
                  <a:pt x="320" y="79"/>
                </a:cubicBezTo>
                <a:cubicBezTo>
                  <a:pt x="320" y="78"/>
                  <a:pt x="320" y="77"/>
                  <a:pt x="320" y="76"/>
                </a:cubicBezTo>
                <a:cubicBezTo>
                  <a:pt x="320" y="76"/>
                  <a:pt x="320" y="76"/>
                  <a:pt x="320" y="76"/>
                </a:cubicBezTo>
                <a:cubicBezTo>
                  <a:pt x="320" y="76"/>
                  <a:pt x="320" y="76"/>
                  <a:pt x="320" y="75"/>
                </a:cubicBezTo>
                <a:cubicBezTo>
                  <a:pt x="320" y="75"/>
                  <a:pt x="319" y="75"/>
                  <a:pt x="320" y="75"/>
                </a:cubicBezTo>
                <a:cubicBezTo>
                  <a:pt x="319" y="75"/>
                  <a:pt x="321" y="74"/>
                  <a:pt x="321" y="73"/>
                </a:cubicBezTo>
                <a:cubicBezTo>
                  <a:pt x="321" y="72"/>
                  <a:pt x="320" y="72"/>
                  <a:pt x="321" y="72"/>
                </a:cubicBezTo>
                <a:cubicBezTo>
                  <a:pt x="322" y="72"/>
                  <a:pt x="323" y="72"/>
                  <a:pt x="323" y="72"/>
                </a:cubicBezTo>
                <a:cubicBezTo>
                  <a:pt x="323" y="72"/>
                  <a:pt x="322" y="72"/>
                  <a:pt x="322" y="73"/>
                </a:cubicBezTo>
                <a:cubicBezTo>
                  <a:pt x="322" y="73"/>
                  <a:pt x="324" y="73"/>
                  <a:pt x="324" y="73"/>
                </a:cubicBezTo>
                <a:cubicBezTo>
                  <a:pt x="325" y="73"/>
                  <a:pt x="325" y="73"/>
                  <a:pt x="326" y="73"/>
                </a:cubicBezTo>
                <a:cubicBezTo>
                  <a:pt x="328" y="73"/>
                  <a:pt x="329" y="73"/>
                  <a:pt x="331" y="73"/>
                </a:cubicBezTo>
                <a:cubicBezTo>
                  <a:pt x="332" y="73"/>
                  <a:pt x="334" y="72"/>
                  <a:pt x="335" y="72"/>
                </a:cubicBezTo>
                <a:cubicBezTo>
                  <a:pt x="336" y="73"/>
                  <a:pt x="336" y="73"/>
                  <a:pt x="337" y="73"/>
                </a:cubicBezTo>
                <a:cubicBezTo>
                  <a:pt x="338" y="73"/>
                  <a:pt x="338" y="73"/>
                  <a:pt x="339" y="73"/>
                </a:cubicBezTo>
                <a:cubicBezTo>
                  <a:pt x="339" y="73"/>
                  <a:pt x="338" y="73"/>
                  <a:pt x="338" y="73"/>
                </a:cubicBezTo>
                <a:cubicBezTo>
                  <a:pt x="339" y="74"/>
                  <a:pt x="339" y="73"/>
                  <a:pt x="340" y="73"/>
                </a:cubicBezTo>
                <a:cubicBezTo>
                  <a:pt x="341" y="73"/>
                  <a:pt x="341" y="73"/>
                  <a:pt x="342" y="74"/>
                </a:cubicBezTo>
                <a:cubicBezTo>
                  <a:pt x="343" y="74"/>
                  <a:pt x="344" y="74"/>
                  <a:pt x="345" y="74"/>
                </a:cubicBezTo>
                <a:cubicBezTo>
                  <a:pt x="345" y="74"/>
                  <a:pt x="345" y="74"/>
                  <a:pt x="345" y="74"/>
                </a:cubicBezTo>
                <a:cubicBezTo>
                  <a:pt x="345" y="75"/>
                  <a:pt x="345" y="75"/>
                  <a:pt x="345" y="75"/>
                </a:cubicBezTo>
                <a:cubicBezTo>
                  <a:pt x="346" y="75"/>
                  <a:pt x="345" y="75"/>
                  <a:pt x="345" y="75"/>
                </a:cubicBezTo>
                <a:cubicBezTo>
                  <a:pt x="345" y="76"/>
                  <a:pt x="346" y="76"/>
                  <a:pt x="346" y="76"/>
                </a:cubicBezTo>
                <a:cubicBezTo>
                  <a:pt x="347" y="76"/>
                  <a:pt x="346" y="76"/>
                  <a:pt x="346" y="76"/>
                </a:cubicBezTo>
                <a:cubicBezTo>
                  <a:pt x="347" y="77"/>
                  <a:pt x="347" y="77"/>
                  <a:pt x="347" y="77"/>
                </a:cubicBezTo>
                <a:cubicBezTo>
                  <a:pt x="347" y="77"/>
                  <a:pt x="348" y="78"/>
                  <a:pt x="348" y="78"/>
                </a:cubicBezTo>
                <a:cubicBezTo>
                  <a:pt x="347" y="79"/>
                  <a:pt x="347" y="79"/>
                  <a:pt x="348" y="79"/>
                </a:cubicBezTo>
                <a:cubicBezTo>
                  <a:pt x="348" y="80"/>
                  <a:pt x="348" y="80"/>
                  <a:pt x="347" y="80"/>
                </a:cubicBezTo>
                <a:cubicBezTo>
                  <a:pt x="347" y="80"/>
                  <a:pt x="348" y="81"/>
                  <a:pt x="347" y="81"/>
                </a:cubicBezTo>
                <a:cubicBezTo>
                  <a:pt x="347" y="82"/>
                  <a:pt x="346" y="82"/>
                  <a:pt x="347" y="83"/>
                </a:cubicBezTo>
                <a:cubicBezTo>
                  <a:pt x="348" y="83"/>
                  <a:pt x="347" y="83"/>
                  <a:pt x="347" y="84"/>
                </a:cubicBezTo>
                <a:cubicBezTo>
                  <a:pt x="347" y="84"/>
                  <a:pt x="346" y="84"/>
                  <a:pt x="346" y="84"/>
                </a:cubicBezTo>
                <a:cubicBezTo>
                  <a:pt x="345" y="85"/>
                  <a:pt x="345" y="85"/>
                  <a:pt x="346" y="86"/>
                </a:cubicBezTo>
                <a:cubicBezTo>
                  <a:pt x="347" y="86"/>
                  <a:pt x="348" y="87"/>
                  <a:pt x="349" y="87"/>
                </a:cubicBezTo>
                <a:cubicBezTo>
                  <a:pt x="350" y="87"/>
                  <a:pt x="351" y="88"/>
                  <a:pt x="352" y="88"/>
                </a:cubicBezTo>
                <a:cubicBezTo>
                  <a:pt x="353" y="88"/>
                  <a:pt x="353" y="88"/>
                  <a:pt x="353" y="89"/>
                </a:cubicBezTo>
                <a:cubicBezTo>
                  <a:pt x="353" y="90"/>
                  <a:pt x="354" y="90"/>
                  <a:pt x="354" y="90"/>
                </a:cubicBezTo>
                <a:cubicBezTo>
                  <a:pt x="355" y="91"/>
                  <a:pt x="355" y="91"/>
                  <a:pt x="356" y="92"/>
                </a:cubicBezTo>
                <a:cubicBezTo>
                  <a:pt x="356" y="93"/>
                  <a:pt x="355" y="93"/>
                  <a:pt x="356" y="94"/>
                </a:cubicBezTo>
                <a:cubicBezTo>
                  <a:pt x="356" y="94"/>
                  <a:pt x="357" y="95"/>
                  <a:pt x="357" y="95"/>
                </a:cubicBezTo>
                <a:cubicBezTo>
                  <a:pt x="357" y="95"/>
                  <a:pt x="355" y="95"/>
                  <a:pt x="356" y="96"/>
                </a:cubicBezTo>
                <a:cubicBezTo>
                  <a:pt x="356" y="97"/>
                  <a:pt x="358" y="97"/>
                  <a:pt x="358" y="97"/>
                </a:cubicBezTo>
                <a:cubicBezTo>
                  <a:pt x="357" y="98"/>
                  <a:pt x="357" y="98"/>
                  <a:pt x="357" y="99"/>
                </a:cubicBezTo>
                <a:cubicBezTo>
                  <a:pt x="358" y="99"/>
                  <a:pt x="358" y="99"/>
                  <a:pt x="359" y="99"/>
                </a:cubicBezTo>
                <a:cubicBezTo>
                  <a:pt x="359" y="100"/>
                  <a:pt x="360" y="100"/>
                  <a:pt x="360" y="101"/>
                </a:cubicBezTo>
                <a:cubicBezTo>
                  <a:pt x="360" y="101"/>
                  <a:pt x="360" y="102"/>
                  <a:pt x="359" y="102"/>
                </a:cubicBezTo>
                <a:cubicBezTo>
                  <a:pt x="360" y="102"/>
                  <a:pt x="362" y="104"/>
                  <a:pt x="360" y="104"/>
                </a:cubicBezTo>
                <a:cubicBezTo>
                  <a:pt x="361" y="104"/>
                  <a:pt x="362" y="105"/>
                  <a:pt x="362" y="105"/>
                </a:cubicBezTo>
                <a:cubicBezTo>
                  <a:pt x="362" y="105"/>
                  <a:pt x="362" y="106"/>
                  <a:pt x="362" y="106"/>
                </a:cubicBezTo>
                <a:cubicBezTo>
                  <a:pt x="361" y="107"/>
                  <a:pt x="363" y="108"/>
                  <a:pt x="363" y="108"/>
                </a:cubicBezTo>
                <a:cubicBezTo>
                  <a:pt x="365" y="109"/>
                  <a:pt x="366" y="110"/>
                  <a:pt x="367" y="110"/>
                </a:cubicBezTo>
                <a:cubicBezTo>
                  <a:pt x="369" y="111"/>
                  <a:pt x="370" y="111"/>
                  <a:pt x="371" y="111"/>
                </a:cubicBezTo>
                <a:cubicBezTo>
                  <a:pt x="371" y="112"/>
                  <a:pt x="374" y="113"/>
                  <a:pt x="373" y="113"/>
                </a:cubicBezTo>
                <a:cubicBezTo>
                  <a:pt x="373" y="113"/>
                  <a:pt x="373" y="113"/>
                  <a:pt x="373" y="113"/>
                </a:cubicBezTo>
                <a:cubicBezTo>
                  <a:pt x="372" y="113"/>
                  <a:pt x="372" y="113"/>
                  <a:pt x="372" y="114"/>
                </a:cubicBezTo>
                <a:cubicBezTo>
                  <a:pt x="372" y="114"/>
                  <a:pt x="370" y="115"/>
                  <a:pt x="371" y="116"/>
                </a:cubicBezTo>
                <a:cubicBezTo>
                  <a:pt x="372" y="116"/>
                  <a:pt x="371" y="116"/>
                  <a:pt x="372" y="117"/>
                </a:cubicBezTo>
                <a:cubicBezTo>
                  <a:pt x="372" y="117"/>
                  <a:pt x="373" y="117"/>
                  <a:pt x="373" y="118"/>
                </a:cubicBezTo>
                <a:cubicBezTo>
                  <a:pt x="373" y="118"/>
                  <a:pt x="374" y="119"/>
                  <a:pt x="373" y="119"/>
                </a:cubicBezTo>
                <a:cubicBezTo>
                  <a:pt x="373" y="119"/>
                  <a:pt x="373" y="119"/>
                  <a:pt x="373" y="119"/>
                </a:cubicBezTo>
                <a:cubicBezTo>
                  <a:pt x="373" y="119"/>
                  <a:pt x="373" y="119"/>
                  <a:pt x="374" y="120"/>
                </a:cubicBezTo>
                <a:cubicBezTo>
                  <a:pt x="374" y="120"/>
                  <a:pt x="374" y="120"/>
                  <a:pt x="373" y="120"/>
                </a:cubicBezTo>
                <a:cubicBezTo>
                  <a:pt x="373" y="120"/>
                  <a:pt x="372" y="120"/>
                  <a:pt x="372" y="120"/>
                </a:cubicBezTo>
                <a:cubicBezTo>
                  <a:pt x="372" y="121"/>
                  <a:pt x="372" y="121"/>
                  <a:pt x="371" y="121"/>
                </a:cubicBezTo>
                <a:cubicBezTo>
                  <a:pt x="371" y="121"/>
                  <a:pt x="370" y="121"/>
                  <a:pt x="370" y="121"/>
                </a:cubicBezTo>
                <a:cubicBezTo>
                  <a:pt x="370" y="121"/>
                  <a:pt x="371" y="122"/>
                  <a:pt x="370" y="122"/>
                </a:cubicBezTo>
                <a:cubicBezTo>
                  <a:pt x="370" y="122"/>
                  <a:pt x="369" y="122"/>
                  <a:pt x="370" y="123"/>
                </a:cubicBezTo>
                <a:cubicBezTo>
                  <a:pt x="370" y="123"/>
                  <a:pt x="370" y="123"/>
                  <a:pt x="370" y="123"/>
                </a:cubicBezTo>
                <a:cubicBezTo>
                  <a:pt x="370" y="124"/>
                  <a:pt x="369" y="124"/>
                  <a:pt x="368" y="124"/>
                </a:cubicBezTo>
                <a:cubicBezTo>
                  <a:pt x="367" y="124"/>
                  <a:pt x="369" y="124"/>
                  <a:pt x="369" y="124"/>
                </a:cubicBezTo>
                <a:cubicBezTo>
                  <a:pt x="369" y="125"/>
                  <a:pt x="370" y="125"/>
                  <a:pt x="370" y="125"/>
                </a:cubicBezTo>
                <a:cubicBezTo>
                  <a:pt x="370" y="125"/>
                  <a:pt x="369" y="125"/>
                  <a:pt x="369" y="125"/>
                </a:cubicBezTo>
                <a:cubicBezTo>
                  <a:pt x="369" y="125"/>
                  <a:pt x="369" y="125"/>
                  <a:pt x="369" y="125"/>
                </a:cubicBezTo>
                <a:cubicBezTo>
                  <a:pt x="369" y="125"/>
                  <a:pt x="368" y="125"/>
                  <a:pt x="368" y="125"/>
                </a:cubicBezTo>
                <a:cubicBezTo>
                  <a:pt x="368" y="126"/>
                  <a:pt x="369" y="126"/>
                  <a:pt x="369" y="126"/>
                </a:cubicBezTo>
                <a:cubicBezTo>
                  <a:pt x="369" y="126"/>
                  <a:pt x="368" y="126"/>
                  <a:pt x="368" y="126"/>
                </a:cubicBezTo>
                <a:cubicBezTo>
                  <a:pt x="368" y="127"/>
                  <a:pt x="368" y="128"/>
                  <a:pt x="367" y="127"/>
                </a:cubicBezTo>
                <a:cubicBezTo>
                  <a:pt x="367" y="127"/>
                  <a:pt x="367" y="127"/>
                  <a:pt x="366" y="127"/>
                </a:cubicBezTo>
                <a:cubicBezTo>
                  <a:pt x="366" y="127"/>
                  <a:pt x="366" y="127"/>
                  <a:pt x="366" y="127"/>
                </a:cubicBezTo>
                <a:cubicBezTo>
                  <a:pt x="365" y="127"/>
                  <a:pt x="365" y="127"/>
                  <a:pt x="364" y="127"/>
                </a:cubicBezTo>
                <a:cubicBezTo>
                  <a:pt x="365" y="127"/>
                  <a:pt x="365" y="127"/>
                  <a:pt x="365" y="128"/>
                </a:cubicBezTo>
                <a:cubicBezTo>
                  <a:pt x="365" y="128"/>
                  <a:pt x="364" y="128"/>
                  <a:pt x="364" y="128"/>
                </a:cubicBezTo>
                <a:cubicBezTo>
                  <a:pt x="363" y="128"/>
                  <a:pt x="363" y="128"/>
                  <a:pt x="362" y="128"/>
                </a:cubicBezTo>
                <a:cubicBezTo>
                  <a:pt x="362" y="128"/>
                  <a:pt x="362" y="128"/>
                  <a:pt x="361" y="129"/>
                </a:cubicBezTo>
                <a:cubicBezTo>
                  <a:pt x="361" y="129"/>
                  <a:pt x="360" y="129"/>
                  <a:pt x="360" y="129"/>
                </a:cubicBezTo>
                <a:cubicBezTo>
                  <a:pt x="360" y="129"/>
                  <a:pt x="360" y="129"/>
                  <a:pt x="360" y="129"/>
                </a:cubicBezTo>
                <a:cubicBezTo>
                  <a:pt x="360" y="129"/>
                  <a:pt x="360" y="129"/>
                  <a:pt x="359" y="129"/>
                </a:cubicBezTo>
                <a:cubicBezTo>
                  <a:pt x="360" y="129"/>
                  <a:pt x="360" y="129"/>
                  <a:pt x="360" y="130"/>
                </a:cubicBezTo>
                <a:cubicBezTo>
                  <a:pt x="359" y="130"/>
                  <a:pt x="357" y="130"/>
                  <a:pt x="357" y="129"/>
                </a:cubicBezTo>
                <a:cubicBezTo>
                  <a:pt x="357" y="129"/>
                  <a:pt x="356" y="129"/>
                  <a:pt x="355" y="128"/>
                </a:cubicBezTo>
                <a:cubicBezTo>
                  <a:pt x="355" y="128"/>
                  <a:pt x="355" y="128"/>
                  <a:pt x="354" y="128"/>
                </a:cubicBezTo>
                <a:cubicBezTo>
                  <a:pt x="354" y="129"/>
                  <a:pt x="353" y="128"/>
                  <a:pt x="352" y="128"/>
                </a:cubicBezTo>
                <a:cubicBezTo>
                  <a:pt x="353" y="128"/>
                  <a:pt x="353" y="128"/>
                  <a:pt x="353" y="129"/>
                </a:cubicBezTo>
                <a:cubicBezTo>
                  <a:pt x="352" y="129"/>
                  <a:pt x="351" y="128"/>
                  <a:pt x="351" y="128"/>
                </a:cubicBezTo>
                <a:cubicBezTo>
                  <a:pt x="350" y="128"/>
                  <a:pt x="349" y="128"/>
                  <a:pt x="348" y="129"/>
                </a:cubicBezTo>
                <a:cubicBezTo>
                  <a:pt x="348" y="129"/>
                  <a:pt x="349" y="129"/>
                  <a:pt x="349" y="129"/>
                </a:cubicBezTo>
                <a:cubicBezTo>
                  <a:pt x="350" y="130"/>
                  <a:pt x="350" y="130"/>
                  <a:pt x="350" y="131"/>
                </a:cubicBezTo>
                <a:cubicBezTo>
                  <a:pt x="352" y="131"/>
                  <a:pt x="353" y="131"/>
                  <a:pt x="355" y="132"/>
                </a:cubicBezTo>
                <a:cubicBezTo>
                  <a:pt x="356" y="132"/>
                  <a:pt x="358" y="132"/>
                  <a:pt x="359" y="133"/>
                </a:cubicBezTo>
                <a:cubicBezTo>
                  <a:pt x="361" y="133"/>
                  <a:pt x="362" y="133"/>
                  <a:pt x="364" y="133"/>
                </a:cubicBezTo>
                <a:cubicBezTo>
                  <a:pt x="365" y="133"/>
                  <a:pt x="367" y="133"/>
                  <a:pt x="369" y="133"/>
                </a:cubicBezTo>
                <a:cubicBezTo>
                  <a:pt x="370" y="133"/>
                  <a:pt x="370" y="133"/>
                  <a:pt x="371" y="134"/>
                </a:cubicBezTo>
                <a:cubicBezTo>
                  <a:pt x="372" y="134"/>
                  <a:pt x="372" y="134"/>
                  <a:pt x="373" y="134"/>
                </a:cubicBezTo>
                <a:cubicBezTo>
                  <a:pt x="373" y="134"/>
                  <a:pt x="375" y="134"/>
                  <a:pt x="375" y="133"/>
                </a:cubicBezTo>
                <a:cubicBezTo>
                  <a:pt x="375" y="133"/>
                  <a:pt x="374" y="131"/>
                  <a:pt x="374" y="131"/>
                </a:cubicBezTo>
                <a:cubicBezTo>
                  <a:pt x="374" y="131"/>
                  <a:pt x="374" y="131"/>
                  <a:pt x="374" y="131"/>
                </a:cubicBezTo>
                <a:cubicBezTo>
                  <a:pt x="374" y="131"/>
                  <a:pt x="374" y="130"/>
                  <a:pt x="375" y="130"/>
                </a:cubicBezTo>
                <a:cubicBezTo>
                  <a:pt x="375" y="130"/>
                  <a:pt x="376" y="130"/>
                  <a:pt x="376" y="130"/>
                </a:cubicBezTo>
                <a:cubicBezTo>
                  <a:pt x="377" y="130"/>
                  <a:pt x="377" y="130"/>
                  <a:pt x="378" y="130"/>
                </a:cubicBezTo>
                <a:cubicBezTo>
                  <a:pt x="378" y="129"/>
                  <a:pt x="377" y="129"/>
                  <a:pt x="378" y="129"/>
                </a:cubicBezTo>
                <a:cubicBezTo>
                  <a:pt x="379" y="129"/>
                  <a:pt x="381" y="129"/>
                  <a:pt x="381" y="128"/>
                </a:cubicBezTo>
                <a:cubicBezTo>
                  <a:pt x="381" y="127"/>
                  <a:pt x="383" y="127"/>
                  <a:pt x="382" y="126"/>
                </a:cubicBezTo>
                <a:cubicBezTo>
                  <a:pt x="382" y="125"/>
                  <a:pt x="382" y="125"/>
                  <a:pt x="382" y="124"/>
                </a:cubicBezTo>
                <a:cubicBezTo>
                  <a:pt x="381" y="124"/>
                  <a:pt x="381" y="124"/>
                  <a:pt x="382" y="123"/>
                </a:cubicBezTo>
                <a:cubicBezTo>
                  <a:pt x="382" y="122"/>
                  <a:pt x="383" y="122"/>
                  <a:pt x="384" y="121"/>
                </a:cubicBezTo>
                <a:cubicBezTo>
                  <a:pt x="387" y="119"/>
                  <a:pt x="383" y="116"/>
                  <a:pt x="382" y="115"/>
                </a:cubicBezTo>
                <a:cubicBezTo>
                  <a:pt x="381" y="115"/>
                  <a:pt x="379" y="114"/>
                  <a:pt x="379" y="113"/>
                </a:cubicBezTo>
                <a:cubicBezTo>
                  <a:pt x="379" y="113"/>
                  <a:pt x="379" y="113"/>
                  <a:pt x="379" y="112"/>
                </a:cubicBezTo>
                <a:cubicBezTo>
                  <a:pt x="378" y="112"/>
                  <a:pt x="378" y="112"/>
                  <a:pt x="378" y="111"/>
                </a:cubicBezTo>
                <a:cubicBezTo>
                  <a:pt x="378" y="109"/>
                  <a:pt x="384" y="109"/>
                  <a:pt x="385" y="109"/>
                </a:cubicBezTo>
                <a:cubicBezTo>
                  <a:pt x="388" y="108"/>
                  <a:pt x="391" y="107"/>
                  <a:pt x="393" y="109"/>
                </a:cubicBezTo>
                <a:cubicBezTo>
                  <a:pt x="393" y="109"/>
                  <a:pt x="393" y="110"/>
                  <a:pt x="393" y="110"/>
                </a:cubicBezTo>
                <a:cubicBezTo>
                  <a:pt x="394" y="110"/>
                  <a:pt x="394" y="111"/>
                  <a:pt x="395" y="111"/>
                </a:cubicBezTo>
                <a:cubicBezTo>
                  <a:pt x="395" y="111"/>
                  <a:pt x="396" y="111"/>
                  <a:pt x="396" y="111"/>
                </a:cubicBezTo>
                <a:cubicBezTo>
                  <a:pt x="397" y="112"/>
                  <a:pt x="397" y="112"/>
                  <a:pt x="398" y="112"/>
                </a:cubicBezTo>
                <a:cubicBezTo>
                  <a:pt x="397" y="111"/>
                  <a:pt x="398" y="112"/>
                  <a:pt x="398" y="112"/>
                </a:cubicBezTo>
                <a:cubicBezTo>
                  <a:pt x="398" y="112"/>
                  <a:pt x="399" y="112"/>
                  <a:pt x="399" y="112"/>
                </a:cubicBezTo>
                <a:cubicBezTo>
                  <a:pt x="399" y="112"/>
                  <a:pt x="399" y="113"/>
                  <a:pt x="399" y="113"/>
                </a:cubicBezTo>
                <a:cubicBezTo>
                  <a:pt x="400" y="114"/>
                  <a:pt x="400" y="114"/>
                  <a:pt x="399" y="114"/>
                </a:cubicBezTo>
                <a:cubicBezTo>
                  <a:pt x="399" y="115"/>
                  <a:pt x="400" y="115"/>
                  <a:pt x="400" y="115"/>
                </a:cubicBezTo>
                <a:cubicBezTo>
                  <a:pt x="401" y="115"/>
                  <a:pt x="401" y="115"/>
                  <a:pt x="401" y="116"/>
                </a:cubicBezTo>
                <a:cubicBezTo>
                  <a:pt x="401" y="116"/>
                  <a:pt x="401" y="116"/>
                  <a:pt x="401" y="117"/>
                </a:cubicBezTo>
                <a:cubicBezTo>
                  <a:pt x="401" y="117"/>
                  <a:pt x="401" y="117"/>
                  <a:pt x="401" y="117"/>
                </a:cubicBezTo>
                <a:cubicBezTo>
                  <a:pt x="401" y="118"/>
                  <a:pt x="402" y="118"/>
                  <a:pt x="402" y="118"/>
                </a:cubicBezTo>
                <a:cubicBezTo>
                  <a:pt x="402" y="119"/>
                  <a:pt x="402" y="119"/>
                  <a:pt x="402" y="119"/>
                </a:cubicBezTo>
                <a:cubicBezTo>
                  <a:pt x="400" y="119"/>
                  <a:pt x="404" y="120"/>
                  <a:pt x="404" y="120"/>
                </a:cubicBezTo>
                <a:cubicBezTo>
                  <a:pt x="405" y="120"/>
                  <a:pt x="406" y="120"/>
                  <a:pt x="406" y="121"/>
                </a:cubicBezTo>
                <a:cubicBezTo>
                  <a:pt x="407" y="121"/>
                  <a:pt x="407" y="122"/>
                  <a:pt x="407" y="121"/>
                </a:cubicBezTo>
                <a:cubicBezTo>
                  <a:pt x="408" y="121"/>
                  <a:pt x="409" y="122"/>
                  <a:pt x="410" y="121"/>
                </a:cubicBezTo>
                <a:cubicBezTo>
                  <a:pt x="411" y="121"/>
                  <a:pt x="411" y="121"/>
                  <a:pt x="412" y="122"/>
                </a:cubicBezTo>
                <a:cubicBezTo>
                  <a:pt x="413" y="122"/>
                  <a:pt x="414" y="121"/>
                  <a:pt x="415" y="121"/>
                </a:cubicBezTo>
                <a:cubicBezTo>
                  <a:pt x="415" y="121"/>
                  <a:pt x="416" y="122"/>
                  <a:pt x="417" y="121"/>
                </a:cubicBezTo>
                <a:cubicBezTo>
                  <a:pt x="417" y="121"/>
                  <a:pt x="414" y="121"/>
                  <a:pt x="415" y="121"/>
                </a:cubicBezTo>
                <a:cubicBezTo>
                  <a:pt x="414" y="120"/>
                  <a:pt x="413" y="121"/>
                  <a:pt x="412" y="121"/>
                </a:cubicBezTo>
                <a:cubicBezTo>
                  <a:pt x="412" y="121"/>
                  <a:pt x="413" y="121"/>
                  <a:pt x="413" y="121"/>
                </a:cubicBezTo>
                <a:cubicBezTo>
                  <a:pt x="413" y="120"/>
                  <a:pt x="413" y="120"/>
                  <a:pt x="412" y="120"/>
                </a:cubicBezTo>
                <a:cubicBezTo>
                  <a:pt x="412" y="120"/>
                  <a:pt x="412" y="120"/>
                  <a:pt x="412" y="120"/>
                </a:cubicBezTo>
                <a:cubicBezTo>
                  <a:pt x="412" y="120"/>
                  <a:pt x="412" y="120"/>
                  <a:pt x="412" y="121"/>
                </a:cubicBezTo>
                <a:cubicBezTo>
                  <a:pt x="412" y="120"/>
                  <a:pt x="410" y="120"/>
                  <a:pt x="409" y="120"/>
                </a:cubicBezTo>
                <a:cubicBezTo>
                  <a:pt x="409" y="120"/>
                  <a:pt x="408" y="120"/>
                  <a:pt x="408" y="120"/>
                </a:cubicBezTo>
                <a:cubicBezTo>
                  <a:pt x="408" y="120"/>
                  <a:pt x="408" y="120"/>
                  <a:pt x="408" y="120"/>
                </a:cubicBezTo>
                <a:cubicBezTo>
                  <a:pt x="408" y="120"/>
                  <a:pt x="407" y="120"/>
                  <a:pt x="407" y="120"/>
                </a:cubicBezTo>
                <a:cubicBezTo>
                  <a:pt x="407" y="120"/>
                  <a:pt x="407" y="119"/>
                  <a:pt x="406" y="119"/>
                </a:cubicBezTo>
                <a:cubicBezTo>
                  <a:pt x="407" y="120"/>
                  <a:pt x="405" y="120"/>
                  <a:pt x="405" y="120"/>
                </a:cubicBezTo>
                <a:cubicBezTo>
                  <a:pt x="404" y="119"/>
                  <a:pt x="403" y="118"/>
                  <a:pt x="404" y="118"/>
                </a:cubicBezTo>
                <a:cubicBezTo>
                  <a:pt x="403" y="118"/>
                  <a:pt x="403" y="117"/>
                  <a:pt x="403" y="116"/>
                </a:cubicBezTo>
                <a:cubicBezTo>
                  <a:pt x="403" y="115"/>
                  <a:pt x="404" y="115"/>
                  <a:pt x="405" y="115"/>
                </a:cubicBezTo>
                <a:cubicBezTo>
                  <a:pt x="405" y="115"/>
                  <a:pt x="406" y="115"/>
                  <a:pt x="406" y="115"/>
                </a:cubicBezTo>
                <a:cubicBezTo>
                  <a:pt x="407" y="115"/>
                  <a:pt x="405" y="114"/>
                  <a:pt x="405" y="114"/>
                </a:cubicBezTo>
                <a:cubicBezTo>
                  <a:pt x="404" y="114"/>
                  <a:pt x="404" y="113"/>
                  <a:pt x="403" y="112"/>
                </a:cubicBezTo>
                <a:cubicBezTo>
                  <a:pt x="403" y="112"/>
                  <a:pt x="403" y="113"/>
                  <a:pt x="402" y="112"/>
                </a:cubicBezTo>
                <a:cubicBezTo>
                  <a:pt x="402" y="112"/>
                  <a:pt x="402" y="112"/>
                  <a:pt x="402" y="111"/>
                </a:cubicBezTo>
                <a:cubicBezTo>
                  <a:pt x="401" y="111"/>
                  <a:pt x="401" y="110"/>
                  <a:pt x="400" y="110"/>
                </a:cubicBezTo>
                <a:cubicBezTo>
                  <a:pt x="400" y="109"/>
                  <a:pt x="399" y="109"/>
                  <a:pt x="398" y="109"/>
                </a:cubicBezTo>
                <a:cubicBezTo>
                  <a:pt x="396" y="109"/>
                  <a:pt x="394" y="108"/>
                  <a:pt x="393" y="107"/>
                </a:cubicBezTo>
                <a:cubicBezTo>
                  <a:pt x="392" y="107"/>
                  <a:pt x="391" y="107"/>
                  <a:pt x="390" y="107"/>
                </a:cubicBezTo>
                <a:cubicBezTo>
                  <a:pt x="389" y="107"/>
                  <a:pt x="388" y="106"/>
                  <a:pt x="387" y="106"/>
                </a:cubicBezTo>
                <a:cubicBezTo>
                  <a:pt x="386" y="106"/>
                  <a:pt x="385" y="106"/>
                  <a:pt x="384" y="106"/>
                </a:cubicBezTo>
                <a:cubicBezTo>
                  <a:pt x="384" y="106"/>
                  <a:pt x="383" y="105"/>
                  <a:pt x="382" y="106"/>
                </a:cubicBezTo>
                <a:cubicBezTo>
                  <a:pt x="382" y="106"/>
                  <a:pt x="380" y="107"/>
                  <a:pt x="381" y="107"/>
                </a:cubicBezTo>
                <a:cubicBezTo>
                  <a:pt x="380" y="107"/>
                  <a:pt x="378" y="107"/>
                  <a:pt x="377" y="107"/>
                </a:cubicBezTo>
                <a:cubicBezTo>
                  <a:pt x="376" y="107"/>
                  <a:pt x="375" y="106"/>
                  <a:pt x="373" y="107"/>
                </a:cubicBezTo>
                <a:cubicBezTo>
                  <a:pt x="372" y="107"/>
                  <a:pt x="371" y="107"/>
                  <a:pt x="371" y="106"/>
                </a:cubicBezTo>
                <a:cubicBezTo>
                  <a:pt x="370" y="106"/>
                  <a:pt x="371" y="105"/>
                  <a:pt x="370" y="104"/>
                </a:cubicBezTo>
                <a:cubicBezTo>
                  <a:pt x="370" y="103"/>
                  <a:pt x="368" y="103"/>
                  <a:pt x="367" y="102"/>
                </a:cubicBezTo>
                <a:cubicBezTo>
                  <a:pt x="367" y="102"/>
                  <a:pt x="366" y="102"/>
                  <a:pt x="366" y="101"/>
                </a:cubicBezTo>
                <a:cubicBezTo>
                  <a:pt x="366" y="101"/>
                  <a:pt x="366" y="100"/>
                  <a:pt x="366" y="100"/>
                </a:cubicBezTo>
                <a:cubicBezTo>
                  <a:pt x="366" y="99"/>
                  <a:pt x="366" y="98"/>
                  <a:pt x="366" y="98"/>
                </a:cubicBezTo>
                <a:cubicBezTo>
                  <a:pt x="365" y="98"/>
                  <a:pt x="365" y="98"/>
                  <a:pt x="365" y="97"/>
                </a:cubicBezTo>
                <a:cubicBezTo>
                  <a:pt x="365" y="97"/>
                  <a:pt x="365" y="97"/>
                  <a:pt x="366" y="97"/>
                </a:cubicBezTo>
                <a:cubicBezTo>
                  <a:pt x="366" y="96"/>
                  <a:pt x="368" y="94"/>
                  <a:pt x="367" y="93"/>
                </a:cubicBezTo>
                <a:cubicBezTo>
                  <a:pt x="367" y="92"/>
                  <a:pt x="365" y="92"/>
                  <a:pt x="363" y="91"/>
                </a:cubicBezTo>
                <a:cubicBezTo>
                  <a:pt x="363" y="91"/>
                  <a:pt x="363" y="90"/>
                  <a:pt x="362" y="90"/>
                </a:cubicBezTo>
                <a:cubicBezTo>
                  <a:pt x="361" y="89"/>
                  <a:pt x="361" y="89"/>
                  <a:pt x="360" y="89"/>
                </a:cubicBezTo>
                <a:cubicBezTo>
                  <a:pt x="358" y="88"/>
                  <a:pt x="357" y="87"/>
                  <a:pt x="355" y="86"/>
                </a:cubicBezTo>
                <a:cubicBezTo>
                  <a:pt x="355" y="86"/>
                  <a:pt x="353" y="86"/>
                  <a:pt x="354" y="85"/>
                </a:cubicBezTo>
                <a:cubicBezTo>
                  <a:pt x="354" y="85"/>
                  <a:pt x="356" y="84"/>
                  <a:pt x="356" y="83"/>
                </a:cubicBezTo>
                <a:cubicBezTo>
                  <a:pt x="355" y="83"/>
                  <a:pt x="354" y="83"/>
                  <a:pt x="355" y="82"/>
                </a:cubicBezTo>
                <a:cubicBezTo>
                  <a:pt x="357" y="81"/>
                  <a:pt x="359" y="81"/>
                  <a:pt x="360" y="81"/>
                </a:cubicBezTo>
                <a:cubicBezTo>
                  <a:pt x="361" y="80"/>
                  <a:pt x="363" y="80"/>
                  <a:pt x="363" y="79"/>
                </a:cubicBezTo>
                <a:cubicBezTo>
                  <a:pt x="363" y="77"/>
                  <a:pt x="361" y="76"/>
                  <a:pt x="360" y="75"/>
                </a:cubicBezTo>
                <a:cubicBezTo>
                  <a:pt x="360" y="74"/>
                  <a:pt x="359" y="74"/>
                  <a:pt x="359" y="74"/>
                </a:cubicBezTo>
                <a:cubicBezTo>
                  <a:pt x="358" y="74"/>
                  <a:pt x="357" y="73"/>
                  <a:pt x="358" y="73"/>
                </a:cubicBezTo>
                <a:cubicBezTo>
                  <a:pt x="359" y="73"/>
                  <a:pt x="361" y="73"/>
                  <a:pt x="362" y="73"/>
                </a:cubicBezTo>
                <a:cubicBezTo>
                  <a:pt x="362" y="74"/>
                  <a:pt x="363" y="74"/>
                  <a:pt x="363" y="74"/>
                </a:cubicBezTo>
                <a:cubicBezTo>
                  <a:pt x="363" y="74"/>
                  <a:pt x="363" y="74"/>
                  <a:pt x="362" y="74"/>
                </a:cubicBezTo>
                <a:cubicBezTo>
                  <a:pt x="363" y="74"/>
                  <a:pt x="365" y="75"/>
                  <a:pt x="366" y="76"/>
                </a:cubicBezTo>
                <a:cubicBezTo>
                  <a:pt x="363" y="76"/>
                  <a:pt x="367" y="78"/>
                  <a:pt x="367" y="78"/>
                </a:cubicBezTo>
                <a:cubicBezTo>
                  <a:pt x="368" y="79"/>
                  <a:pt x="366" y="79"/>
                  <a:pt x="367" y="79"/>
                </a:cubicBezTo>
                <a:cubicBezTo>
                  <a:pt x="367" y="79"/>
                  <a:pt x="367" y="80"/>
                  <a:pt x="367" y="80"/>
                </a:cubicBezTo>
                <a:cubicBezTo>
                  <a:pt x="367" y="80"/>
                  <a:pt x="367" y="80"/>
                  <a:pt x="367" y="80"/>
                </a:cubicBezTo>
                <a:cubicBezTo>
                  <a:pt x="367" y="81"/>
                  <a:pt x="367" y="81"/>
                  <a:pt x="367" y="81"/>
                </a:cubicBezTo>
                <a:cubicBezTo>
                  <a:pt x="367" y="81"/>
                  <a:pt x="366" y="81"/>
                  <a:pt x="366" y="81"/>
                </a:cubicBezTo>
                <a:cubicBezTo>
                  <a:pt x="366" y="81"/>
                  <a:pt x="366" y="81"/>
                  <a:pt x="366" y="81"/>
                </a:cubicBezTo>
                <a:cubicBezTo>
                  <a:pt x="367" y="82"/>
                  <a:pt x="366" y="82"/>
                  <a:pt x="367" y="83"/>
                </a:cubicBezTo>
                <a:cubicBezTo>
                  <a:pt x="367" y="83"/>
                  <a:pt x="368" y="83"/>
                  <a:pt x="369" y="83"/>
                </a:cubicBezTo>
                <a:cubicBezTo>
                  <a:pt x="369" y="84"/>
                  <a:pt x="370" y="84"/>
                  <a:pt x="369" y="84"/>
                </a:cubicBezTo>
                <a:cubicBezTo>
                  <a:pt x="369" y="84"/>
                  <a:pt x="370" y="84"/>
                  <a:pt x="370" y="85"/>
                </a:cubicBezTo>
                <a:cubicBezTo>
                  <a:pt x="370" y="85"/>
                  <a:pt x="369" y="85"/>
                  <a:pt x="370" y="85"/>
                </a:cubicBezTo>
                <a:cubicBezTo>
                  <a:pt x="370" y="86"/>
                  <a:pt x="369" y="85"/>
                  <a:pt x="369" y="86"/>
                </a:cubicBezTo>
                <a:cubicBezTo>
                  <a:pt x="368" y="86"/>
                  <a:pt x="370" y="87"/>
                  <a:pt x="370" y="87"/>
                </a:cubicBezTo>
                <a:cubicBezTo>
                  <a:pt x="372" y="87"/>
                  <a:pt x="374" y="87"/>
                  <a:pt x="376" y="88"/>
                </a:cubicBezTo>
                <a:cubicBezTo>
                  <a:pt x="376" y="87"/>
                  <a:pt x="377" y="88"/>
                  <a:pt x="377" y="88"/>
                </a:cubicBezTo>
                <a:cubicBezTo>
                  <a:pt x="378" y="88"/>
                  <a:pt x="379" y="88"/>
                  <a:pt x="380" y="88"/>
                </a:cubicBezTo>
                <a:cubicBezTo>
                  <a:pt x="380" y="88"/>
                  <a:pt x="381" y="88"/>
                  <a:pt x="381" y="88"/>
                </a:cubicBezTo>
                <a:cubicBezTo>
                  <a:pt x="382" y="88"/>
                  <a:pt x="382" y="89"/>
                  <a:pt x="382" y="89"/>
                </a:cubicBezTo>
                <a:cubicBezTo>
                  <a:pt x="383" y="89"/>
                  <a:pt x="381" y="88"/>
                  <a:pt x="383" y="88"/>
                </a:cubicBezTo>
                <a:cubicBezTo>
                  <a:pt x="383" y="88"/>
                  <a:pt x="384" y="88"/>
                  <a:pt x="385" y="88"/>
                </a:cubicBezTo>
                <a:cubicBezTo>
                  <a:pt x="386" y="88"/>
                  <a:pt x="387" y="88"/>
                  <a:pt x="388" y="88"/>
                </a:cubicBezTo>
                <a:cubicBezTo>
                  <a:pt x="389" y="89"/>
                  <a:pt x="389" y="90"/>
                  <a:pt x="390" y="90"/>
                </a:cubicBezTo>
                <a:cubicBezTo>
                  <a:pt x="391" y="90"/>
                  <a:pt x="392" y="90"/>
                  <a:pt x="392" y="90"/>
                </a:cubicBezTo>
                <a:cubicBezTo>
                  <a:pt x="393" y="90"/>
                  <a:pt x="394" y="91"/>
                  <a:pt x="395" y="90"/>
                </a:cubicBezTo>
                <a:cubicBezTo>
                  <a:pt x="395" y="90"/>
                  <a:pt x="398" y="90"/>
                  <a:pt x="398" y="90"/>
                </a:cubicBezTo>
                <a:cubicBezTo>
                  <a:pt x="398" y="90"/>
                  <a:pt x="398" y="90"/>
                  <a:pt x="397" y="90"/>
                </a:cubicBezTo>
                <a:cubicBezTo>
                  <a:pt x="398" y="90"/>
                  <a:pt x="397" y="89"/>
                  <a:pt x="397" y="90"/>
                </a:cubicBezTo>
                <a:cubicBezTo>
                  <a:pt x="397" y="90"/>
                  <a:pt x="396" y="89"/>
                  <a:pt x="396" y="90"/>
                </a:cubicBezTo>
                <a:cubicBezTo>
                  <a:pt x="396" y="90"/>
                  <a:pt x="396" y="90"/>
                  <a:pt x="396" y="90"/>
                </a:cubicBezTo>
                <a:cubicBezTo>
                  <a:pt x="397" y="90"/>
                  <a:pt x="394" y="90"/>
                  <a:pt x="394" y="90"/>
                </a:cubicBezTo>
                <a:cubicBezTo>
                  <a:pt x="393" y="91"/>
                  <a:pt x="393" y="89"/>
                  <a:pt x="394" y="89"/>
                </a:cubicBezTo>
                <a:cubicBezTo>
                  <a:pt x="393" y="89"/>
                  <a:pt x="393" y="88"/>
                  <a:pt x="392" y="89"/>
                </a:cubicBezTo>
                <a:cubicBezTo>
                  <a:pt x="392" y="89"/>
                  <a:pt x="393" y="89"/>
                  <a:pt x="393" y="89"/>
                </a:cubicBezTo>
                <a:cubicBezTo>
                  <a:pt x="393" y="89"/>
                  <a:pt x="392" y="89"/>
                  <a:pt x="391" y="89"/>
                </a:cubicBezTo>
                <a:cubicBezTo>
                  <a:pt x="391" y="88"/>
                  <a:pt x="391" y="88"/>
                  <a:pt x="391" y="88"/>
                </a:cubicBezTo>
                <a:cubicBezTo>
                  <a:pt x="391" y="87"/>
                  <a:pt x="389" y="87"/>
                  <a:pt x="388" y="87"/>
                </a:cubicBezTo>
                <a:cubicBezTo>
                  <a:pt x="388" y="87"/>
                  <a:pt x="388" y="87"/>
                  <a:pt x="388" y="87"/>
                </a:cubicBezTo>
                <a:cubicBezTo>
                  <a:pt x="388" y="86"/>
                  <a:pt x="388" y="86"/>
                  <a:pt x="388" y="86"/>
                </a:cubicBezTo>
                <a:cubicBezTo>
                  <a:pt x="388" y="86"/>
                  <a:pt x="386" y="87"/>
                  <a:pt x="387" y="87"/>
                </a:cubicBezTo>
                <a:cubicBezTo>
                  <a:pt x="386" y="87"/>
                  <a:pt x="385" y="86"/>
                  <a:pt x="384" y="87"/>
                </a:cubicBezTo>
                <a:cubicBezTo>
                  <a:pt x="385" y="87"/>
                  <a:pt x="385" y="87"/>
                  <a:pt x="385" y="87"/>
                </a:cubicBezTo>
                <a:cubicBezTo>
                  <a:pt x="384" y="87"/>
                  <a:pt x="382" y="86"/>
                  <a:pt x="381" y="86"/>
                </a:cubicBezTo>
                <a:cubicBezTo>
                  <a:pt x="380" y="85"/>
                  <a:pt x="379" y="85"/>
                  <a:pt x="377" y="85"/>
                </a:cubicBezTo>
                <a:cubicBezTo>
                  <a:pt x="377" y="85"/>
                  <a:pt x="376" y="85"/>
                  <a:pt x="375" y="84"/>
                </a:cubicBezTo>
                <a:cubicBezTo>
                  <a:pt x="375" y="84"/>
                  <a:pt x="374" y="84"/>
                  <a:pt x="374" y="83"/>
                </a:cubicBezTo>
                <a:cubicBezTo>
                  <a:pt x="374" y="83"/>
                  <a:pt x="371" y="81"/>
                  <a:pt x="371" y="81"/>
                </a:cubicBezTo>
                <a:cubicBezTo>
                  <a:pt x="371" y="81"/>
                  <a:pt x="372" y="81"/>
                  <a:pt x="373" y="81"/>
                </a:cubicBezTo>
                <a:cubicBezTo>
                  <a:pt x="373" y="81"/>
                  <a:pt x="373" y="80"/>
                  <a:pt x="374" y="80"/>
                </a:cubicBezTo>
                <a:cubicBezTo>
                  <a:pt x="375" y="80"/>
                  <a:pt x="376" y="80"/>
                  <a:pt x="377" y="80"/>
                </a:cubicBezTo>
                <a:cubicBezTo>
                  <a:pt x="380" y="81"/>
                  <a:pt x="382" y="83"/>
                  <a:pt x="385" y="82"/>
                </a:cubicBezTo>
                <a:cubicBezTo>
                  <a:pt x="385" y="82"/>
                  <a:pt x="387" y="81"/>
                  <a:pt x="386" y="81"/>
                </a:cubicBezTo>
                <a:cubicBezTo>
                  <a:pt x="385" y="80"/>
                  <a:pt x="384" y="80"/>
                  <a:pt x="383" y="80"/>
                </a:cubicBezTo>
                <a:cubicBezTo>
                  <a:pt x="382" y="79"/>
                  <a:pt x="381" y="80"/>
                  <a:pt x="380" y="80"/>
                </a:cubicBezTo>
                <a:cubicBezTo>
                  <a:pt x="379" y="80"/>
                  <a:pt x="380" y="79"/>
                  <a:pt x="379" y="79"/>
                </a:cubicBezTo>
                <a:cubicBezTo>
                  <a:pt x="380" y="79"/>
                  <a:pt x="381" y="79"/>
                  <a:pt x="381" y="79"/>
                </a:cubicBezTo>
                <a:cubicBezTo>
                  <a:pt x="382" y="78"/>
                  <a:pt x="382" y="78"/>
                  <a:pt x="382" y="78"/>
                </a:cubicBezTo>
                <a:cubicBezTo>
                  <a:pt x="383" y="77"/>
                  <a:pt x="383" y="77"/>
                  <a:pt x="384" y="77"/>
                </a:cubicBezTo>
                <a:cubicBezTo>
                  <a:pt x="384" y="77"/>
                  <a:pt x="385" y="77"/>
                  <a:pt x="386" y="77"/>
                </a:cubicBezTo>
                <a:cubicBezTo>
                  <a:pt x="385" y="77"/>
                  <a:pt x="387" y="77"/>
                  <a:pt x="388" y="77"/>
                </a:cubicBezTo>
                <a:cubicBezTo>
                  <a:pt x="389" y="77"/>
                  <a:pt x="390" y="77"/>
                  <a:pt x="391" y="77"/>
                </a:cubicBezTo>
                <a:cubicBezTo>
                  <a:pt x="392" y="77"/>
                  <a:pt x="394" y="78"/>
                  <a:pt x="396" y="78"/>
                </a:cubicBezTo>
                <a:cubicBezTo>
                  <a:pt x="398" y="79"/>
                  <a:pt x="400" y="79"/>
                  <a:pt x="401" y="80"/>
                </a:cubicBezTo>
                <a:cubicBezTo>
                  <a:pt x="402" y="80"/>
                  <a:pt x="403" y="80"/>
                  <a:pt x="403" y="80"/>
                </a:cubicBezTo>
                <a:cubicBezTo>
                  <a:pt x="403" y="80"/>
                  <a:pt x="402" y="80"/>
                  <a:pt x="403" y="80"/>
                </a:cubicBezTo>
                <a:cubicBezTo>
                  <a:pt x="403" y="80"/>
                  <a:pt x="402" y="80"/>
                  <a:pt x="402" y="80"/>
                </a:cubicBezTo>
                <a:cubicBezTo>
                  <a:pt x="403" y="81"/>
                  <a:pt x="405" y="81"/>
                  <a:pt x="406" y="82"/>
                </a:cubicBezTo>
                <a:cubicBezTo>
                  <a:pt x="407" y="82"/>
                  <a:pt x="408" y="83"/>
                  <a:pt x="409" y="83"/>
                </a:cubicBezTo>
                <a:cubicBezTo>
                  <a:pt x="412" y="84"/>
                  <a:pt x="415" y="83"/>
                  <a:pt x="418" y="83"/>
                </a:cubicBezTo>
                <a:cubicBezTo>
                  <a:pt x="417" y="82"/>
                  <a:pt x="416" y="81"/>
                  <a:pt x="415" y="81"/>
                </a:cubicBezTo>
                <a:cubicBezTo>
                  <a:pt x="414" y="80"/>
                  <a:pt x="413" y="80"/>
                  <a:pt x="412" y="80"/>
                </a:cubicBezTo>
                <a:cubicBezTo>
                  <a:pt x="413" y="80"/>
                  <a:pt x="412" y="79"/>
                  <a:pt x="412" y="79"/>
                </a:cubicBezTo>
                <a:cubicBezTo>
                  <a:pt x="411" y="78"/>
                  <a:pt x="411" y="78"/>
                  <a:pt x="410" y="78"/>
                </a:cubicBezTo>
                <a:cubicBezTo>
                  <a:pt x="407" y="78"/>
                  <a:pt x="404" y="77"/>
                  <a:pt x="401" y="77"/>
                </a:cubicBezTo>
                <a:cubicBezTo>
                  <a:pt x="401" y="76"/>
                  <a:pt x="400" y="76"/>
                  <a:pt x="400" y="76"/>
                </a:cubicBezTo>
                <a:cubicBezTo>
                  <a:pt x="399" y="76"/>
                  <a:pt x="400" y="75"/>
                  <a:pt x="400" y="75"/>
                </a:cubicBezTo>
                <a:cubicBezTo>
                  <a:pt x="400" y="75"/>
                  <a:pt x="398" y="75"/>
                  <a:pt x="398" y="74"/>
                </a:cubicBezTo>
                <a:cubicBezTo>
                  <a:pt x="398" y="74"/>
                  <a:pt x="398" y="74"/>
                  <a:pt x="398" y="74"/>
                </a:cubicBezTo>
                <a:cubicBezTo>
                  <a:pt x="398" y="73"/>
                  <a:pt x="398" y="72"/>
                  <a:pt x="398" y="72"/>
                </a:cubicBezTo>
                <a:cubicBezTo>
                  <a:pt x="397" y="72"/>
                  <a:pt x="396" y="71"/>
                  <a:pt x="396" y="71"/>
                </a:cubicBezTo>
                <a:cubicBezTo>
                  <a:pt x="395" y="71"/>
                  <a:pt x="395" y="71"/>
                  <a:pt x="394" y="71"/>
                </a:cubicBezTo>
                <a:cubicBezTo>
                  <a:pt x="395" y="71"/>
                  <a:pt x="395" y="71"/>
                  <a:pt x="395" y="71"/>
                </a:cubicBezTo>
                <a:cubicBezTo>
                  <a:pt x="394" y="70"/>
                  <a:pt x="393" y="70"/>
                  <a:pt x="392" y="70"/>
                </a:cubicBezTo>
                <a:cubicBezTo>
                  <a:pt x="393" y="70"/>
                  <a:pt x="394" y="70"/>
                  <a:pt x="394" y="70"/>
                </a:cubicBezTo>
                <a:cubicBezTo>
                  <a:pt x="395" y="69"/>
                  <a:pt x="393" y="69"/>
                  <a:pt x="393" y="69"/>
                </a:cubicBezTo>
                <a:cubicBezTo>
                  <a:pt x="392" y="69"/>
                  <a:pt x="392" y="69"/>
                  <a:pt x="392" y="69"/>
                </a:cubicBezTo>
                <a:cubicBezTo>
                  <a:pt x="391" y="69"/>
                  <a:pt x="392" y="68"/>
                  <a:pt x="392" y="68"/>
                </a:cubicBezTo>
                <a:cubicBezTo>
                  <a:pt x="392" y="69"/>
                  <a:pt x="393" y="68"/>
                  <a:pt x="393" y="68"/>
                </a:cubicBezTo>
                <a:cubicBezTo>
                  <a:pt x="393" y="68"/>
                  <a:pt x="393" y="68"/>
                  <a:pt x="393" y="67"/>
                </a:cubicBezTo>
                <a:cubicBezTo>
                  <a:pt x="393" y="67"/>
                  <a:pt x="393" y="67"/>
                  <a:pt x="392" y="67"/>
                </a:cubicBezTo>
                <a:cubicBezTo>
                  <a:pt x="392" y="67"/>
                  <a:pt x="392" y="67"/>
                  <a:pt x="392" y="67"/>
                </a:cubicBezTo>
                <a:cubicBezTo>
                  <a:pt x="393" y="66"/>
                  <a:pt x="394" y="67"/>
                  <a:pt x="395" y="67"/>
                </a:cubicBezTo>
                <a:cubicBezTo>
                  <a:pt x="395" y="66"/>
                  <a:pt x="396" y="66"/>
                  <a:pt x="397" y="66"/>
                </a:cubicBezTo>
                <a:cubicBezTo>
                  <a:pt x="399" y="66"/>
                  <a:pt x="401" y="66"/>
                  <a:pt x="403" y="66"/>
                </a:cubicBezTo>
                <a:cubicBezTo>
                  <a:pt x="404" y="66"/>
                  <a:pt x="405" y="66"/>
                  <a:pt x="406" y="66"/>
                </a:cubicBezTo>
                <a:cubicBezTo>
                  <a:pt x="407" y="66"/>
                  <a:pt x="408" y="66"/>
                  <a:pt x="409" y="66"/>
                </a:cubicBezTo>
                <a:cubicBezTo>
                  <a:pt x="411" y="66"/>
                  <a:pt x="413" y="66"/>
                  <a:pt x="415" y="66"/>
                </a:cubicBezTo>
                <a:cubicBezTo>
                  <a:pt x="416" y="65"/>
                  <a:pt x="417" y="65"/>
                  <a:pt x="418" y="65"/>
                </a:cubicBezTo>
                <a:cubicBezTo>
                  <a:pt x="419" y="65"/>
                  <a:pt x="420" y="65"/>
                  <a:pt x="421" y="65"/>
                </a:cubicBezTo>
                <a:cubicBezTo>
                  <a:pt x="422" y="66"/>
                  <a:pt x="423" y="66"/>
                  <a:pt x="423" y="65"/>
                </a:cubicBezTo>
                <a:cubicBezTo>
                  <a:pt x="424" y="65"/>
                  <a:pt x="423" y="65"/>
                  <a:pt x="424" y="65"/>
                </a:cubicBezTo>
                <a:cubicBezTo>
                  <a:pt x="426" y="64"/>
                  <a:pt x="428" y="64"/>
                  <a:pt x="430" y="64"/>
                </a:cubicBezTo>
                <a:cubicBezTo>
                  <a:pt x="430" y="64"/>
                  <a:pt x="431" y="64"/>
                  <a:pt x="432" y="64"/>
                </a:cubicBezTo>
                <a:cubicBezTo>
                  <a:pt x="433" y="64"/>
                  <a:pt x="433" y="64"/>
                  <a:pt x="434" y="64"/>
                </a:cubicBezTo>
                <a:cubicBezTo>
                  <a:pt x="434" y="64"/>
                  <a:pt x="431" y="63"/>
                  <a:pt x="431" y="63"/>
                </a:cubicBezTo>
                <a:cubicBezTo>
                  <a:pt x="432" y="62"/>
                  <a:pt x="434" y="63"/>
                  <a:pt x="434" y="63"/>
                </a:cubicBezTo>
                <a:cubicBezTo>
                  <a:pt x="434" y="62"/>
                  <a:pt x="432" y="62"/>
                  <a:pt x="432" y="62"/>
                </a:cubicBezTo>
                <a:cubicBezTo>
                  <a:pt x="431" y="62"/>
                  <a:pt x="431" y="62"/>
                  <a:pt x="430" y="62"/>
                </a:cubicBezTo>
                <a:cubicBezTo>
                  <a:pt x="430" y="62"/>
                  <a:pt x="429" y="62"/>
                  <a:pt x="429" y="62"/>
                </a:cubicBezTo>
                <a:cubicBezTo>
                  <a:pt x="429" y="62"/>
                  <a:pt x="429" y="61"/>
                  <a:pt x="429" y="61"/>
                </a:cubicBezTo>
                <a:cubicBezTo>
                  <a:pt x="429" y="61"/>
                  <a:pt x="429" y="61"/>
                  <a:pt x="429" y="61"/>
                </a:cubicBezTo>
                <a:cubicBezTo>
                  <a:pt x="429" y="61"/>
                  <a:pt x="428" y="61"/>
                  <a:pt x="428" y="61"/>
                </a:cubicBezTo>
                <a:cubicBezTo>
                  <a:pt x="427" y="61"/>
                  <a:pt x="425" y="61"/>
                  <a:pt x="424" y="61"/>
                </a:cubicBezTo>
                <a:cubicBezTo>
                  <a:pt x="424" y="61"/>
                  <a:pt x="422" y="60"/>
                  <a:pt x="422" y="60"/>
                </a:cubicBezTo>
                <a:cubicBezTo>
                  <a:pt x="423" y="59"/>
                  <a:pt x="425" y="60"/>
                  <a:pt x="425" y="60"/>
                </a:cubicBezTo>
                <a:cubicBezTo>
                  <a:pt x="425" y="59"/>
                  <a:pt x="424" y="60"/>
                  <a:pt x="423" y="59"/>
                </a:cubicBezTo>
                <a:cubicBezTo>
                  <a:pt x="424" y="59"/>
                  <a:pt x="425" y="59"/>
                  <a:pt x="427" y="59"/>
                </a:cubicBezTo>
                <a:cubicBezTo>
                  <a:pt x="427" y="60"/>
                  <a:pt x="430" y="59"/>
                  <a:pt x="428" y="60"/>
                </a:cubicBezTo>
                <a:cubicBezTo>
                  <a:pt x="428" y="61"/>
                  <a:pt x="429" y="60"/>
                  <a:pt x="430" y="60"/>
                </a:cubicBezTo>
                <a:cubicBezTo>
                  <a:pt x="430" y="61"/>
                  <a:pt x="430" y="61"/>
                  <a:pt x="430" y="60"/>
                </a:cubicBezTo>
                <a:cubicBezTo>
                  <a:pt x="430" y="60"/>
                  <a:pt x="430" y="60"/>
                  <a:pt x="429" y="60"/>
                </a:cubicBezTo>
                <a:cubicBezTo>
                  <a:pt x="430" y="60"/>
                  <a:pt x="430" y="60"/>
                  <a:pt x="431" y="60"/>
                </a:cubicBezTo>
                <a:cubicBezTo>
                  <a:pt x="431" y="60"/>
                  <a:pt x="429" y="60"/>
                  <a:pt x="429" y="59"/>
                </a:cubicBezTo>
                <a:cubicBezTo>
                  <a:pt x="429" y="59"/>
                  <a:pt x="429" y="59"/>
                  <a:pt x="429" y="59"/>
                </a:cubicBezTo>
                <a:cubicBezTo>
                  <a:pt x="428" y="59"/>
                  <a:pt x="427" y="59"/>
                  <a:pt x="425" y="58"/>
                </a:cubicBezTo>
                <a:cubicBezTo>
                  <a:pt x="426" y="58"/>
                  <a:pt x="426" y="58"/>
                  <a:pt x="426" y="58"/>
                </a:cubicBezTo>
                <a:cubicBezTo>
                  <a:pt x="425" y="58"/>
                  <a:pt x="424" y="58"/>
                  <a:pt x="423" y="58"/>
                </a:cubicBezTo>
                <a:cubicBezTo>
                  <a:pt x="421" y="58"/>
                  <a:pt x="420" y="58"/>
                  <a:pt x="419" y="57"/>
                </a:cubicBezTo>
                <a:cubicBezTo>
                  <a:pt x="419" y="57"/>
                  <a:pt x="419" y="57"/>
                  <a:pt x="420" y="57"/>
                </a:cubicBezTo>
                <a:cubicBezTo>
                  <a:pt x="419" y="57"/>
                  <a:pt x="420" y="57"/>
                  <a:pt x="420" y="57"/>
                </a:cubicBezTo>
                <a:cubicBezTo>
                  <a:pt x="421" y="57"/>
                  <a:pt x="420" y="56"/>
                  <a:pt x="420" y="56"/>
                </a:cubicBezTo>
                <a:cubicBezTo>
                  <a:pt x="421" y="56"/>
                  <a:pt x="422" y="56"/>
                  <a:pt x="422" y="56"/>
                </a:cubicBezTo>
                <a:cubicBezTo>
                  <a:pt x="422" y="56"/>
                  <a:pt x="422" y="56"/>
                  <a:pt x="421" y="56"/>
                </a:cubicBezTo>
                <a:cubicBezTo>
                  <a:pt x="422" y="57"/>
                  <a:pt x="422" y="57"/>
                  <a:pt x="423" y="57"/>
                </a:cubicBezTo>
                <a:cubicBezTo>
                  <a:pt x="423" y="57"/>
                  <a:pt x="424" y="57"/>
                  <a:pt x="424" y="57"/>
                </a:cubicBezTo>
                <a:cubicBezTo>
                  <a:pt x="425" y="57"/>
                  <a:pt x="425" y="57"/>
                  <a:pt x="426" y="58"/>
                </a:cubicBezTo>
                <a:cubicBezTo>
                  <a:pt x="426" y="58"/>
                  <a:pt x="427" y="58"/>
                  <a:pt x="427" y="58"/>
                </a:cubicBezTo>
                <a:cubicBezTo>
                  <a:pt x="427" y="57"/>
                  <a:pt x="427" y="57"/>
                  <a:pt x="427" y="57"/>
                </a:cubicBezTo>
                <a:cubicBezTo>
                  <a:pt x="426" y="57"/>
                  <a:pt x="425" y="57"/>
                  <a:pt x="425" y="57"/>
                </a:cubicBezTo>
                <a:cubicBezTo>
                  <a:pt x="425" y="56"/>
                  <a:pt x="427" y="56"/>
                  <a:pt x="427" y="57"/>
                </a:cubicBezTo>
                <a:cubicBezTo>
                  <a:pt x="427" y="56"/>
                  <a:pt x="426" y="56"/>
                  <a:pt x="426" y="55"/>
                </a:cubicBezTo>
                <a:cubicBezTo>
                  <a:pt x="426" y="55"/>
                  <a:pt x="428" y="55"/>
                  <a:pt x="428" y="55"/>
                </a:cubicBezTo>
                <a:cubicBezTo>
                  <a:pt x="427" y="54"/>
                  <a:pt x="426" y="55"/>
                  <a:pt x="426" y="54"/>
                </a:cubicBezTo>
                <a:cubicBezTo>
                  <a:pt x="426" y="54"/>
                  <a:pt x="428" y="54"/>
                  <a:pt x="428" y="55"/>
                </a:cubicBezTo>
                <a:cubicBezTo>
                  <a:pt x="428" y="55"/>
                  <a:pt x="429" y="55"/>
                  <a:pt x="429" y="55"/>
                </a:cubicBezTo>
                <a:cubicBezTo>
                  <a:pt x="428" y="55"/>
                  <a:pt x="429" y="55"/>
                  <a:pt x="429" y="54"/>
                </a:cubicBezTo>
                <a:cubicBezTo>
                  <a:pt x="430" y="54"/>
                  <a:pt x="429" y="54"/>
                  <a:pt x="429" y="54"/>
                </a:cubicBezTo>
                <a:cubicBezTo>
                  <a:pt x="429" y="54"/>
                  <a:pt x="428" y="54"/>
                  <a:pt x="427" y="54"/>
                </a:cubicBezTo>
                <a:cubicBezTo>
                  <a:pt x="426" y="54"/>
                  <a:pt x="425" y="54"/>
                  <a:pt x="424" y="54"/>
                </a:cubicBezTo>
                <a:cubicBezTo>
                  <a:pt x="424" y="54"/>
                  <a:pt x="423" y="54"/>
                  <a:pt x="423" y="53"/>
                </a:cubicBezTo>
                <a:cubicBezTo>
                  <a:pt x="424" y="53"/>
                  <a:pt x="425" y="53"/>
                  <a:pt x="425" y="53"/>
                </a:cubicBezTo>
                <a:cubicBezTo>
                  <a:pt x="426" y="53"/>
                  <a:pt x="427" y="53"/>
                  <a:pt x="428" y="53"/>
                </a:cubicBezTo>
                <a:cubicBezTo>
                  <a:pt x="428" y="53"/>
                  <a:pt x="430" y="54"/>
                  <a:pt x="430" y="53"/>
                </a:cubicBezTo>
                <a:cubicBezTo>
                  <a:pt x="431" y="53"/>
                  <a:pt x="432" y="53"/>
                  <a:pt x="432" y="53"/>
                </a:cubicBezTo>
                <a:cubicBezTo>
                  <a:pt x="431" y="52"/>
                  <a:pt x="433" y="52"/>
                  <a:pt x="433" y="52"/>
                </a:cubicBezTo>
                <a:cubicBezTo>
                  <a:pt x="433" y="52"/>
                  <a:pt x="432" y="52"/>
                  <a:pt x="433" y="51"/>
                </a:cubicBezTo>
                <a:cubicBezTo>
                  <a:pt x="433" y="51"/>
                  <a:pt x="434" y="51"/>
                  <a:pt x="433" y="51"/>
                </a:cubicBezTo>
                <a:cubicBezTo>
                  <a:pt x="434" y="51"/>
                  <a:pt x="435" y="51"/>
                  <a:pt x="435" y="51"/>
                </a:cubicBezTo>
                <a:cubicBezTo>
                  <a:pt x="435" y="51"/>
                  <a:pt x="435" y="51"/>
                  <a:pt x="434" y="51"/>
                </a:cubicBezTo>
                <a:cubicBezTo>
                  <a:pt x="435" y="50"/>
                  <a:pt x="436" y="50"/>
                  <a:pt x="436" y="50"/>
                </a:cubicBezTo>
                <a:cubicBezTo>
                  <a:pt x="437" y="51"/>
                  <a:pt x="438" y="51"/>
                  <a:pt x="439" y="50"/>
                </a:cubicBezTo>
                <a:cubicBezTo>
                  <a:pt x="439" y="50"/>
                  <a:pt x="438" y="50"/>
                  <a:pt x="438" y="50"/>
                </a:cubicBezTo>
                <a:cubicBezTo>
                  <a:pt x="439" y="50"/>
                  <a:pt x="440" y="50"/>
                  <a:pt x="441" y="50"/>
                </a:cubicBezTo>
                <a:cubicBezTo>
                  <a:pt x="440" y="50"/>
                  <a:pt x="440" y="50"/>
                  <a:pt x="439" y="49"/>
                </a:cubicBezTo>
                <a:cubicBezTo>
                  <a:pt x="441" y="49"/>
                  <a:pt x="442" y="49"/>
                  <a:pt x="443" y="49"/>
                </a:cubicBezTo>
                <a:cubicBezTo>
                  <a:pt x="444" y="49"/>
                  <a:pt x="445" y="48"/>
                  <a:pt x="445" y="49"/>
                </a:cubicBezTo>
                <a:cubicBezTo>
                  <a:pt x="446" y="49"/>
                  <a:pt x="446" y="49"/>
                  <a:pt x="446" y="49"/>
                </a:cubicBezTo>
                <a:cubicBezTo>
                  <a:pt x="447" y="49"/>
                  <a:pt x="448" y="49"/>
                  <a:pt x="449" y="49"/>
                </a:cubicBezTo>
                <a:cubicBezTo>
                  <a:pt x="450" y="49"/>
                  <a:pt x="449" y="49"/>
                  <a:pt x="449" y="48"/>
                </a:cubicBezTo>
                <a:cubicBezTo>
                  <a:pt x="450" y="48"/>
                  <a:pt x="453" y="48"/>
                  <a:pt x="453" y="48"/>
                </a:cubicBezTo>
                <a:cubicBezTo>
                  <a:pt x="454" y="48"/>
                  <a:pt x="456" y="48"/>
                  <a:pt x="457" y="47"/>
                </a:cubicBezTo>
                <a:cubicBezTo>
                  <a:pt x="459" y="47"/>
                  <a:pt x="460" y="47"/>
                  <a:pt x="461" y="47"/>
                </a:cubicBezTo>
                <a:cubicBezTo>
                  <a:pt x="462" y="47"/>
                  <a:pt x="463" y="47"/>
                  <a:pt x="464" y="46"/>
                </a:cubicBezTo>
                <a:cubicBezTo>
                  <a:pt x="463" y="46"/>
                  <a:pt x="462" y="47"/>
                  <a:pt x="461" y="47"/>
                </a:cubicBezTo>
                <a:cubicBezTo>
                  <a:pt x="461" y="47"/>
                  <a:pt x="460" y="46"/>
                  <a:pt x="459" y="46"/>
                </a:cubicBezTo>
                <a:cubicBezTo>
                  <a:pt x="460" y="47"/>
                  <a:pt x="460" y="47"/>
                  <a:pt x="460" y="47"/>
                </a:cubicBezTo>
                <a:cubicBezTo>
                  <a:pt x="460" y="47"/>
                  <a:pt x="458" y="46"/>
                  <a:pt x="458" y="46"/>
                </a:cubicBezTo>
                <a:cubicBezTo>
                  <a:pt x="458" y="46"/>
                  <a:pt x="457" y="46"/>
                  <a:pt x="456" y="46"/>
                </a:cubicBezTo>
                <a:cubicBezTo>
                  <a:pt x="457" y="46"/>
                  <a:pt x="457" y="46"/>
                  <a:pt x="457" y="47"/>
                </a:cubicBezTo>
                <a:cubicBezTo>
                  <a:pt x="456" y="47"/>
                  <a:pt x="456" y="46"/>
                  <a:pt x="455" y="46"/>
                </a:cubicBezTo>
                <a:cubicBezTo>
                  <a:pt x="456" y="46"/>
                  <a:pt x="455" y="46"/>
                  <a:pt x="455" y="45"/>
                </a:cubicBezTo>
                <a:cubicBezTo>
                  <a:pt x="455" y="45"/>
                  <a:pt x="456" y="46"/>
                  <a:pt x="457" y="46"/>
                </a:cubicBezTo>
                <a:cubicBezTo>
                  <a:pt x="457" y="45"/>
                  <a:pt x="456" y="45"/>
                  <a:pt x="456" y="45"/>
                </a:cubicBezTo>
                <a:cubicBezTo>
                  <a:pt x="456" y="45"/>
                  <a:pt x="457" y="45"/>
                  <a:pt x="458" y="45"/>
                </a:cubicBezTo>
                <a:cubicBezTo>
                  <a:pt x="458" y="45"/>
                  <a:pt x="457" y="45"/>
                  <a:pt x="457" y="45"/>
                </a:cubicBezTo>
                <a:cubicBezTo>
                  <a:pt x="458" y="46"/>
                  <a:pt x="459" y="46"/>
                  <a:pt x="459" y="45"/>
                </a:cubicBezTo>
                <a:cubicBezTo>
                  <a:pt x="460" y="45"/>
                  <a:pt x="461" y="46"/>
                  <a:pt x="462" y="45"/>
                </a:cubicBezTo>
                <a:cubicBezTo>
                  <a:pt x="461" y="45"/>
                  <a:pt x="460" y="45"/>
                  <a:pt x="459" y="45"/>
                </a:cubicBezTo>
                <a:cubicBezTo>
                  <a:pt x="460" y="45"/>
                  <a:pt x="462" y="45"/>
                  <a:pt x="463" y="45"/>
                </a:cubicBezTo>
                <a:cubicBezTo>
                  <a:pt x="464" y="45"/>
                  <a:pt x="465" y="46"/>
                  <a:pt x="466" y="45"/>
                </a:cubicBezTo>
                <a:cubicBezTo>
                  <a:pt x="465" y="45"/>
                  <a:pt x="466" y="45"/>
                  <a:pt x="466" y="45"/>
                </a:cubicBezTo>
                <a:cubicBezTo>
                  <a:pt x="466" y="45"/>
                  <a:pt x="465" y="45"/>
                  <a:pt x="465" y="44"/>
                </a:cubicBezTo>
                <a:cubicBezTo>
                  <a:pt x="466" y="44"/>
                  <a:pt x="467" y="45"/>
                  <a:pt x="468" y="45"/>
                </a:cubicBezTo>
                <a:cubicBezTo>
                  <a:pt x="469" y="45"/>
                  <a:pt x="470" y="44"/>
                  <a:pt x="470" y="44"/>
                </a:cubicBezTo>
                <a:cubicBezTo>
                  <a:pt x="471" y="44"/>
                  <a:pt x="472" y="45"/>
                  <a:pt x="473" y="45"/>
                </a:cubicBezTo>
                <a:cubicBezTo>
                  <a:pt x="474" y="45"/>
                  <a:pt x="475" y="45"/>
                  <a:pt x="476" y="45"/>
                </a:cubicBezTo>
                <a:cubicBezTo>
                  <a:pt x="476" y="45"/>
                  <a:pt x="475" y="45"/>
                  <a:pt x="475" y="45"/>
                </a:cubicBezTo>
                <a:cubicBezTo>
                  <a:pt x="475" y="45"/>
                  <a:pt x="475" y="45"/>
                  <a:pt x="475" y="45"/>
                </a:cubicBezTo>
                <a:cubicBezTo>
                  <a:pt x="475" y="45"/>
                  <a:pt x="475" y="46"/>
                  <a:pt x="475" y="46"/>
                </a:cubicBezTo>
                <a:cubicBezTo>
                  <a:pt x="475" y="46"/>
                  <a:pt x="474" y="46"/>
                  <a:pt x="473" y="47"/>
                </a:cubicBezTo>
                <a:cubicBezTo>
                  <a:pt x="474" y="47"/>
                  <a:pt x="475" y="47"/>
                  <a:pt x="475" y="47"/>
                </a:cubicBezTo>
                <a:cubicBezTo>
                  <a:pt x="475" y="47"/>
                  <a:pt x="475" y="46"/>
                  <a:pt x="475" y="46"/>
                </a:cubicBezTo>
                <a:cubicBezTo>
                  <a:pt x="476" y="46"/>
                  <a:pt x="477" y="46"/>
                  <a:pt x="478" y="46"/>
                </a:cubicBezTo>
                <a:cubicBezTo>
                  <a:pt x="477" y="46"/>
                  <a:pt x="477" y="46"/>
                  <a:pt x="477" y="46"/>
                </a:cubicBezTo>
                <a:cubicBezTo>
                  <a:pt x="477" y="46"/>
                  <a:pt x="478" y="46"/>
                  <a:pt x="478" y="46"/>
                </a:cubicBezTo>
                <a:cubicBezTo>
                  <a:pt x="479" y="46"/>
                  <a:pt x="478" y="46"/>
                  <a:pt x="479" y="46"/>
                </a:cubicBezTo>
                <a:cubicBezTo>
                  <a:pt x="480" y="46"/>
                  <a:pt x="479" y="46"/>
                  <a:pt x="479" y="47"/>
                </a:cubicBezTo>
                <a:cubicBezTo>
                  <a:pt x="480" y="47"/>
                  <a:pt x="480" y="47"/>
                  <a:pt x="481" y="47"/>
                </a:cubicBezTo>
                <a:cubicBezTo>
                  <a:pt x="481" y="47"/>
                  <a:pt x="481" y="47"/>
                  <a:pt x="482" y="46"/>
                </a:cubicBezTo>
                <a:cubicBezTo>
                  <a:pt x="482" y="46"/>
                  <a:pt x="483" y="45"/>
                  <a:pt x="484" y="45"/>
                </a:cubicBezTo>
                <a:cubicBezTo>
                  <a:pt x="484" y="46"/>
                  <a:pt x="483" y="46"/>
                  <a:pt x="483" y="46"/>
                </a:cubicBezTo>
                <a:cubicBezTo>
                  <a:pt x="483" y="46"/>
                  <a:pt x="484" y="46"/>
                  <a:pt x="483" y="46"/>
                </a:cubicBezTo>
                <a:cubicBezTo>
                  <a:pt x="484" y="46"/>
                  <a:pt x="484" y="46"/>
                  <a:pt x="485" y="46"/>
                </a:cubicBezTo>
                <a:cubicBezTo>
                  <a:pt x="485" y="46"/>
                  <a:pt x="487" y="46"/>
                  <a:pt x="487" y="46"/>
                </a:cubicBezTo>
                <a:cubicBezTo>
                  <a:pt x="487" y="46"/>
                  <a:pt x="485" y="45"/>
                  <a:pt x="485" y="45"/>
                </a:cubicBezTo>
                <a:cubicBezTo>
                  <a:pt x="485" y="45"/>
                  <a:pt x="486" y="45"/>
                  <a:pt x="487" y="45"/>
                </a:cubicBezTo>
                <a:cubicBezTo>
                  <a:pt x="487" y="45"/>
                  <a:pt x="488" y="45"/>
                  <a:pt x="488" y="45"/>
                </a:cubicBezTo>
                <a:cubicBezTo>
                  <a:pt x="488" y="45"/>
                  <a:pt x="487" y="45"/>
                  <a:pt x="486" y="45"/>
                </a:cubicBezTo>
                <a:cubicBezTo>
                  <a:pt x="487" y="44"/>
                  <a:pt x="488" y="44"/>
                  <a:pt x="488" y="44"/>
                </a:cubicBezTo>
                <a:cubicBezTo>
                  <a:pt x="489" y="44"/>
                  <a:pt x="489" y="44"/>
                  <a:pt x="489" y="44"/>
                </a:cubicBezTo>
                <a:cubicBezTo>
                  <a:pt x="490" y="44"/>
                  <a:pt x="491" y="43"/>
                  <a:pt x="491" y="44"/>
                </a:cubicBezTo>
                <a:cubicBezTo>
                  <a:pt x="492" y="44"/>
                  <a:pt x="493" y="44"/>
                  <a:pt x="493" y="44"/>
                </a:cubicBezTo>
                <a:cubicBezTo>
                  <a:pt x="494" y="44"/>
                  <a:pt x="494" y="44"/>
                  <a:pt x="494" y="44"/>
                </a:cubicBezTo>
                <a:cubicBezTo>
                  <a:pt x="494" y="44"/>
                  <a:pt x="494" y="44"/>
                  <a:pt x="494" y="44"/>
                </a:cubicBezTo>
                <a:cubicBezTo>
                  <a:pt x="494" y="45"/>
                  <a:pt x="495" y="45"/>
                  <a:pt x="496" y="45"/>
                </a:cubicBezTo>
                <a:cubicBezTo>
                  <a:pt x="496" y="44"/>
                  <a:pt x="497" y="44"/>
                  <a:pt x="497" y="45"/>
                </a:cubicBezTo>
                <a:cubicBezTo>
                  <a:pt x="497" y="45"/>
                  <a:pt x="497" y="45"/>
                  <a:pt x="497" y="45"/>
                </a:cubicBezTo>
                <a:cubicBezTo>
                  <a:pt x="497" y="45"/>
                  <a:pt x="499" y="45"/>
                  <a:pt x="499" y="45"/>
                </a:cubicBezTo>
                <a:cubicBezTo>
                  <a:pt x="499" y="44"/>
                  <a:pt x="497" y="44"/>
                  <a:pt x="497" y="44"/>
                </a:cubicBezTo>
                <a:cubicBezTo>
                  <a:pt x="496" y="44"/>
                  <a:pt x="496" y="43"/>
                  <a:pt x="495" y="43"/>
                </a:cubicBezTo>
                <a:cubicBezTo>
                  <a:pt x="495" y="43"/>
                  <a:pt x="494" y="43"/>
                  <a:pt x="493" y="43"/>
                </a:cubicBezTo>
                <a:cubicBezTo>
                  <a:pt x="492" y="43"/>
                  <a:pt x="492" y="43"/>
                  <a:pt x="491" y="42"/>
                </a:cubicBezTo>
                <a:cubicBezTo>
                  <a:pt x="490" y="42"/>
                  <a:pt x="490" y="42"/>
                  <a:pt x="489" y="42"/>
                </a:cubicBezTo>
                <a:cubicBezTo>
                  <a:pt x="488" y="41"/>
                  <a:pt x="490" y="42"/>
                  <a:pt x="491" y="42"/>
                </a:cubicBezTo>
                <a:cubicBezTo>
                  <a:pt x="493" y="42"/>
                  <a:pt x="495" y="42"/>
                  <a:pt x="497" y="42"/>
                </a:cubicBezTo>
                <a:cubicBezTo>
                  <a:pt x="498" y="42"/>
                  <a:pt x="498" y="42"/>
                  <a:pt x="499" y="42"/>
                </a:cubicBezTo>
                <a:cubicBezTo>
                  <a:pt x="500" y="42"/>
                  <a:pt x="501" y="41"/>
                  <a:pt x="502" y="41"/>
                </a:cubicBezTo>
                <a:cubicBezTo>
                  <a:pt x="503" y="41"/>
                  <a:pt x="503" y="42"/>
                  <a:pt x="504" y="42"/>
                </a:cubicBezTo>
                <a:cubicBezTo>
                  <a:pt x="505" y="42"/>
                  <a:pt x="506" y="42"/>
                  <a:pt x="507" y="42"/>
                </a:cubicBezTo>
                <a:cubicBezTo>
                  <a:pt x="508" y="42"/>
                  <a:pt x="510" y="43"/>
                  <a:pt x="512" y="43"/>
                </a:cubicBezTo>
                <a:cubicBezTo>
                  <a:pt x="511" y="42"/>
                  <a:pt x="509" y="42"/>
                  <a:pt x="508" y="42"/>
                </a:cubicBezTo>
                <a:cubicBezTo>
                  <a:pt x="507" y="42"/>
                  <a:pt x="506" y="42"/>
                  <a:pt x="505" y="41"/>
                </a:cubicBezTo>
                <a:cubicBezTo>
                  <a:pt x="504" y="41"/>
                  <a:pt x="502" y="42"/>
                  <a:pt x="502" y="41"/>
                </a:cubicBezTo>
                <a:cubicBezTo>
                  <a:pt x="502" y="41"/>
                  <a:pt x="502" y="41"/>
                  <a:pt x="502" y="41"/>
                </a:cubicBezTo>
                <a:cubicBezTo>
                  <a:pt x="503" y="41"/>
                  <a:pt x="502" y="40"/>
                  <a:pt x="502" y="40"/>
                </a:cubicBezTo>
                <a:cubicBezTo>
                  <a:pt x="502" y="40"/>
                  <a:pt x="502" y="39"/>
                  <a:pt x="501" y="39"/>
                </a:cubicBezTo>
                <a:cubicBezTo>
                  <a:pt x="501" y="39"/>
                  <a:pt x="500" y="39"/>
                  <a:pt x="499" y="39"/>
                </a:cubicBezTo>
                <a:cubicBezTo>
                  <a:pt x="499" y="39"/>
                  <a:pt x="499" y="39"/>
                  <a:pt x="498" y="38"/>
                </a:cubicBezTo>
                <a:cubicBezTo>
                  <a:pt x="498" y="38"/>
                  <a:pt x="498" y="38"/>
                  <a:pt x="498" y="38"/>
                </a:cubicBezTo>
                <a:cubicBezTo>
                  <a:pt x="498" y="37"/>
                  <a:pt x="499" y="38"/>
                  <a:pt x="500" y="37"/>
                </a:cubicBezTo>
                <a:cubicBezTo>
                  <a:pt x="499" y="37"/>
                  <a:pt x="498" y="37"/>
                  <a:pt x="499" y="36"/>
                </a:cubicBezTo>
                <a:cubicBezTo>
                  <a:pt x="500" y="36"/>
                  <a:pt x="500" y="36"/>
                  <a:pt x="500" y="35"/>
                </a:cubicBezTo>
                <a:cubicBezTo>
                  <a:pt x="501" y="35"/>
                  <a:pt x="501" y="35"/>
                  <a:pt x="501" y="35"/>
                </a:cubicBezTo>
                <a:cubicBezTo>
                  <a:pt x="501" y="35"/>
                  <a:pt x="499" y="35"/>
                  <a:pt x="500" y="34"/>
                </a:cubicBezTo>
                <a:cubicBezTo>
                  <a:pt x="500" y="34"/>
                  <a:pt x="500" y="34"/>
                  <a:pt x="501" y="34"/>
                </a:cubicBezTo>
                <a:cubicBezTo>
                  <a:pt x="501" y="34"/>
                  <a:pt x="502" y="34"/>
                  <a:pt x="502" y="33"/>
                </a:cubicBezTo>
                <a:cubicBezTo>
                  <a:pt x="503" y="33"/>
                  <a:pt x="503" y="33"/>
                  <a:pt x="504" y="33"/>
                </a:cubicBezTo>
                <a:cubicBezTo>
                  <a:pt x="503" y="33"/>
                  <a:pt x="505" y="32"/>
                  <a:pt x="505" y="32"/>
                </a:cubicBezTo>
                <a:cubicBezTo>
                  <a:pt x="506" y="33"/>
                  <a:pt x="507" y="32"/>
                  <a:pt x="508" y="32"/>
                </a:cubicBezTo>
                <a:cubicBezTo>
                  <a:pt x="509" y="31"/>
                  <a:pt x="511" y="31"/>
                  <a:pt x="511" y="32"/>
                </a:cubicBezTo>
                <a:cubicBezTo>
                  <a:pt x="511" y="32"/>
                  <a:pt x="513" y="32"/>
                  <a:pt x="513" y="32"/>
                </a:cubicBezTo>
                <a:cubicBezTo>
                  <a:pt x="513" y="32"/>
                  <a:pt x="514" y="32"/>
                  <a:pt x="514" y="32"/>
                </a:cubicBezTo>
                <a:cubicBezTo>
                  <a:pt x="515" y="32"/>
                  <a:pt x="516" y="32"/>
                  <a:pt x="516" y="32"/>
                </a:cubicBezTo>
                <a:cubicBezTo>
                  <a:pt x="517" y="33"/>
                  <a:pt x="519" y="33"/>
                  <a:pt x="520" y="33"/>
                </a:cubicBezTo>
                <a:cubicBezTo>
                  <a:pt x="522" y="33"/>
                  <a:pt x="523" y="33"/>
                  <a:pt x="524" y="34"/>
                </a:cubicBezTo>
                <a:cubicBezTo>
                  <a:pt x="525" y="34"/>
                  <a:pt x="527" y="34"/>
                  <a:pt x="528" y="34"/>
                </a:cubicBezTo>
                <a:cubicBezTo>
                  <a:pt x="527" y="35"/>
                  <a:pt x="526" y="35"/>
                  <a:pt x="525" y="34"/>
                </a:cubicBezTo>
                <a:cubicBezTo>
                  <a:pt x="524" y="34"/>
                  <a:pt x="524" y="35"/>
                  <a:pt x="523" y="35"/>
                </a:cubicBezTo>
                <a:cubicBezTo>
                  <a:pt x="523" y="35"/>
                  <a:pt x="523" y="35"/>
                  <a:pt x="524" y="35"/>
                </a:cubicBezTo>
                <a:cubicBezTo>
                  <a:pt x="523" y="36"/>
                  <a:pt x="521" y="36"/>
                  <a:pt x="520" y="36"/>
                </a:cubicBezTo>
                <a:cubicBezTo>
                  <a:pt x="519" y="36"/>
                  <a:pt x="519" y="36"/>
                  <a:pt x="518" y="36"/>
                </a:cubicBezTo>
                <a:cubicBezTo>
                  <a:pt x="517" y="36"/>
                  <a:pt x="517" y="36"/>
                  <a:pt x="516" y="37"/>
                </a:cubicBezTo>
                <a:cubicBezTo>
                  <a:pt x="518" y="37"/>
                  <a:pt x="519" y="36"/>
                  <a:pt x="520" y="37"/>
                </a:cubicBezTo>
                <a:cubicBezTo>
                  <a:pt x="521" y="37"/>
                  <a:pt x="523" y="37"/>
                  <a:pt x="524" y="37"/>
                </a:cubicBezTo>
                <a:cubicBezTo>
                  <a:pt x="525" y="37"/>
                  <a:pt x="526" y="37"/>
                  <a:pt x="527" y="36"/>
                </a:cubicBezTo>
                <a:cubicBezTo>
                  <a:pt x="528" y="36"/>
                  <a:pt x="528" y="37"/>
                  <a:pt x="527" y="37"/>
                </a:cubicBezTo>
                <a:cubicBezTo>
                  <a:pt x="527" y="37"/>
                  <a:pt x="527" y="37"/>
                  <a:pt x="527" y="37"/>
                </a:cubicBezTo>
                <a:cubicBezTo>
                  <a:pt x="527" y="37"/>
                  <a:pt x="526" y="37"/>
                  <a:pt x="526" y="37"/>
                </a:cubicBezTo>
                <a:cubicBezTo>
                  <a:pt x="525" y="38"/>
                  <a:pt x="527" y="38"/>
                  <a:pt x="527" y="38"/>
                </a:cubicBezTo>
                <a:cubicBezTo>
                  <a:pt x="528" y="38"/>
                  <a:pt x="529" y="38"/>
                  <a:pt x="530" y="37"/>
                </a:cubicBezTo>
                <a:cubicBezTo>
                  <a:pt x="531" y="36"/>
                  <a:pt x="533" y="38"/>
                  <a:pt x="534" y="37"/>
                </a:cubicBezTo>
                <a:cubicBezTo>
                  <a:pt x="534" y="37"/>
                  <a:pt x="534" y="37"/>
                  <a:pt x="533" y="37"/>
                </a:cubicBezTo>
                <a:cubicBezTo>
                  <a:pt x="534" y="37"/>
                  <a:pt x="534" y="37"/>
                  <a:pt x="535" y="37"/>
                </a:cubicBezTo>
                <a:cubicBezTo>
                  <a:pt x="535" y="37"/>
                  <a:pt x="535" y="37"/>
                  <a:pt x="536" y="37"/>
                </a:cubicBezTo>
                <a:cubicBezTo>
                  <a:pt x="536" y="37"/>
                  <a:pt x="537" y="37"/>
                  <a:pt x="537" y="37"/>
                </a:cubicBezTo>
                <a:cubicBezTo>
                  <a:pt x="538" y="38"/>
                  <a:pt x="539" y="38"/>
                  <a:pt x="540" y="38"/>
                </a:cubicBezTo>
                <a:cubicBezTo>
                  <a:pt x="539" y="38"/>
                  <a:pt x="539" y="38"/>
                  <a:pt x="539" y="38"/>
                </a:cubicBezTo>
                <a:cubicBezTo>
                  <a:pt x="539" y="38"/>
                  <a:pt x="539" y="38"/>
                  <a:pt x="539" y="39"/>
                </a:cubicBezTo>
                <a:cubicBezTo>
                  <a:pt x="539" y="39"/>
                  <a:pt x="539" y="39"/>
                  <a:pt x="539" y="39"/>
                </a:cubicBezTo>
                <a:cubicBezTo>
                  <a:pt x="539" y="39"/>
                  <a:pt x="539" y="39"/>
                  <a:pt x="539" y="39"/>
                </a:cubicBezTo>
                <a:cubicBezTo>
                  <a:pt x="539" y="39"/>
                  <a:pt x="539" y="39"/>
                  <a:pt x="538" y="39"/>
                </a:cubicBezTo>
                <a:cubicBezTo>
                  <a:pt x="538" y="39"/>
                  <a:pt x="538" y="39"/>
                  <a:pt x="538" y="40"/>
                </a:cubicBezTo>
                <a:cubicBezTo>
                  <a:pt x="538" y="40"/>
                  <a:pt x="537" y="40"/>
                  <a:pt x="537" y="40"/>
                </a:cubicBezTo>
                <a:cubicBezTo>
                  <a:pt x="537" y="40"/>
                  <a:pt x="538" y="40"/>
                  <a:pt x="538" y="41"/>
                </a:cubicBezTo>
                <a:cubicBezTo>
                  <a:pt x="538" y="41"/>
                  <a:pt x="538" y="41"/>
                  <a:pt x="537" y="41"/>
                </a:cubicBezTo>
                <a:cubicBezTo>
                  <a:pt x="537" y="41"/>
                  <a:pt x="536" y="41"/>
                  <a:pt x="536" y="41"/>
                </a:cubicBezTo>
                <a:cubicBezTo>
                  <a:pt x="535" y="41"/>
                  <a:pt x="538" y="42"/>
                  <a:pt x="538" y="42"/>
                </a:cubicBezTo>
                <a:cubicBezTo>
                  <a:pt x="538" y="42"/>
                  <a:pt x="540" y="42"/>
                  <a:pt x="540" y="42"/>
                </a:cubicBezTo>
                <a:cubicBezTo>
                  <a:pt x="542" y="41"/>
                  <a:pt x="543" y="42"/>
                  <a:pt x="545" y="42"/>
                </a:cubicBezTo>
                <a:cubicBezTo>
                  <a:pt x="546" y="41"/>
                  <a:pt x="546" y="41"/>
                  <a:pt x="546" y="40"/>
                </a:cubicBezTo>
                <a:cubicBezTo>
                  <a:pt x="546" y="40"/>
                  <a:pt x="545" y="40"/>
                  <a:pt x="545" y="40"/>
                </a:cubicBezTo>
                <a:cubicBezTo>
                  <a:pt x="545" y="40"/>
                  <a:pt x="545" y="40"/>
                  <a:pt x="544" y="40"/>
                </a:cubicBezTo>
                <a:cubicBezTo>
                  <a:pt x="545" y="39"/>
                  <a:pt x="546" y="40"/>
                  <a:pt x="547" y="40"/>
                </a:cubicBezTo>
                <a:cubicBezTo>
                  <a:pt x="548" y="40"/>
                  <a:pt x="549" y="40"/>
                  <a:pt x="549" y="40"/>
                </a:cubicBezTo>
                <a:cubicBezTo>
                  <a:pt x="551" y="40"/>
                  <a:pt x="553" y="40"/>
                  <a:pt x="555" y="40"/>
                </a:cubicBezTo>
                <a:cubicBezTo>
                  <a:pt x="556" y="40"/>
                  <a:pt x="558" y="40"/>
                  <a:pt x="559" y="40"/>
                </a:cubicBezTo>
                <a:cubicBezTo>
                  <a:pt x="560" y="40"/>
                  <a:pt x="561" y="39"/>
                  <a:pt x="562" y="39"/>
                </a:cubicBezTo>
                <a:cubicBezTo>
                  <a:pt x="562" y="40"/>
                  <a:pt x="563" y="40"/>
                  <a:pt x="564" y="40"/>
                </a:cubicBezTo>
                <a:cubicBezTo>
                  <a:pt x="563" y="39"/>
                  <a:pt x="564" y="39"/>
                  <a:pt x="565" y="39"/>
                </a:cubicBezTo>
                <a:cubicBezTo>
                  <a:pt x="565" y="39"/>
                  <a:pt x="565" y="40"/>
                  <a:pt x="565" y="40"/>
                </a:cubicBezTo>
                <a:cubicBezTo>
                  <a:pt x="566" y="40"/>
                  <a:pt x="566" y="40"/>
                  <a:pt x="566" y="40"/>
                </a:cubicBezTo>
                <a:cubicBezTo>
                  <a:pt x="567" y="40"/>
                  <a:pt x="568" y="40"/>
                  <a:pt x="568" y="40"/>
                </a:cubicBezTo>
                <a:cubicBezTo>
                  <a:pt x="568" y="40"/>
                  <a:pt x="568" y="40"/>
                  <a:pt x="568" y="40"/>
                </a:cubicBezTo>
                <a:cubicBezTo>
                  <a:pt x="568" y="40"/>
                  <a:pt x="568" y="40"/>
                  <a:pt x="568" y="40"/>
                </a:cubicBezTo>
                <a:cubicBezTo>
                  <a:pt x="568" y="41"/>
                  <a:pt x="570" y="41"/>
                  <a:pt x="571" y="41"/>
                </a:cubicBezTo>
                <a:cubicBezTo>
                  <a:pt x="572" y="41"/>
                  <a:pt x="573" y="41"/>
                  <a:pt x="574" y="42"/>
                </a:cubicBezTo>
                <a:cubicBezTo>
                  <a:pt x="574" y="42"/>
                  <a:pt x="574" y="42"/>
                  <a:pt x="574" y="42"/>
                </a:cubicBezTo>
                <a:cubicBezTo>
                  <a:pt x="574" y="43"/>
                  <a:pt x="574" y="43"/>
                  <a:pt x="574" y="43"/>
                </a:cubicBezTo>
                <a:cubicBezTo>
                  <a:pt x="575" y="42"/>
                  <a:pt x="575" y="42"/>
                  <a:pt x="576" y="42"/>
                </a:cubicBezTo>
                <a:cubicBezTo>
                  <a:pt x="577" y="42"/>
                  <a:pt x="578" y="43"/>
                  <a:pt x="579" y="43"/>
                </a:cubicBezTo>
                <a:cubicBezTo>
                  <a:pt x="579" y="43"/>
                  <a:pt x="579" y="43"/>
                  <a:pt x="579" y="43"/>
                </a:cubicBezTo>
                <a:cubicBezTo>
                  <a:pt x="580" y="43"/>
                  <a:pt x="580" y="43"/>
                  <a:pt x="580" y="44"/>
                </a:cubicBezTo>
                <a:cubicBezTo>
                  <a:pt x="580" y="44"/>
                  <a:pt x="579" y="44"/>
                  <a:pt x="579" y="44"/>
                </a:cubicBezTo>
                <a:cubicBezTo>
                  <a:pt x="580" y="44"/>
                  <a:pt x="581" y="44"/>
                  <a:pt x="582" y="44"/>
                </a:cubicBezTo>
                <a:cubicBezTo>
                  <a:pt x="583" y="45"/>
                  <a:pt x="582" y="45"/>
                  <a:pt x="581" y="45"/>
                </a:cubicBezTo>
                <a:cubicBezTo>
                  <a:pt x="582" y="45"/>
                  <a:pt x="583" y="45"/>
                  <a:pt x="583" y="45"/>
                </a:cubicBezTo>
                <a:cubicBezTo>
                  <a:pt x="584" y="45"/>
                  <a:pt x="583" y="45"/>
                  <a:pt x="583" y="45"/>
                </a:cubicBezTo>
                <a:cubicBezTo>
                  <a:pt x="584" y="44"/>
                  <a:pt x="584" y="44"/>
                  <a:pt x="585" y="45"/>
                </a:cubicBezTo>
                <a:cubicBezTo>
                  <a:pt x="584" y="44"/>
                  <a:pt x="584" y="44"/>
                  <a:pt x="583" y="44"/>
                </a:cubicBezTo>
                <a:cubicBezTo>
                  <a:pt x="583" y="44"/>
                  <a:pt x="582" y="44"/>
                  <a:pt x="582" y="44"/>
                </a:cubicBezTo>
                <a:cubicBezTo>
                  <a:pt x="582" y="44"/>
                  <a:pt x="583" y="43"/>
                  <a:pt x="584" y="44"/>
                </a:cubicBezTo>
                <a:cubicBezTo>
                  <a:pt x="584" y="44"/>
                  <a:pt x="584" y="44"/>
                  <a:pt x="584" y="44"/>
                </a:cubicBezTo>
                <a:cubicBezTo>
                  <a:pt x="585" y="44"/>
                  <a:pt x="585" y="44"/>
                  <a:pt x="586" y="44"/>
                </a:cubicBezTo>
                <a:cubicBezTo>
                  <a:pt x="586" y="45"/>
                  <a:pt x="587" y="45"/>
                  <a:pt x="587" y="46"/>
                </a:cubicBezTo>
                <a:cubicBezTo>
                  <a:pt x="588" y="46"/>
                  <a:pt x="589" y="46"/>
                  <a:pt x="588" y="46"/>
                </a:cubicBezTo>
                <a:cubicBezTo>
                  <a:pt x="588" y="46"/>
                  <a:pt x="590" y="47"/>
                  <a:pt x="589" y="47"/>
                </a:cubicBezTo>
                <a:cubicBezTo>
                  <a:pt x="589" y="47"/>
                  <a:pt x="590" y="47"/>
                  <a:pt x="590" y="47"/>
                </a:cubicBezTo>
                <a:cubicBezTo>
                  <a:pt x="590" y="47"/>
                  <a:pt x="590" y="47"/>
                  <a:pt x="589" y="46"/>
                </a:cubicBezTo>
                <a:cubicBezTo>
                  <a:pt x="591" y="46"/>
                  <a:pt x="592" y="47"/>
                  <a:pt x="592" y="48"/>
                </a:cubicBezTo>
                <a:cubicBezTo>
                  <a:pt x="593" y="49"/>
                  <a:pt x="594" y="49"/>
                  <a:pt x="592" y="50"/>
                </a:cubicBezTo>
                <a:cubicBezTo>
                  <a:pt x="592" y="50"/>
                  <a:pt x="592" y="49"/>
                  <a:pt x="592" y="49"/>
                </a:cubicBezTo>
                <a:cubicBezTo>
                  <a:pt x="592" y="49"/>
                  <a:pt x="592" y="49"/>
                  <a:pt x="591" y="49"/>
                </a:cubicBezTo>
                <a:cubicBezTo>
                  <a:pt x="590" y="48"/>
                  <a:pt x="589" y="48"/>
                  <a:pt x="588" y="49"/>
                </a:cubicBezTo>
                <a:cubicBezTo>
                  <a:pt x="589" y="48"/>
                  <a:pt x="586" y="48"/>
                  <a:pt x="586" y="48"/>
                </a:cubicBezTo>
                <a:cubicBezTo>
                  <a:pt x="585" y="47"/>
                  <a:pt x="583" y="47"/>
                  <a:pt x="582" y="47"/>
                </a:cubicBezTo>
                <a:cubicBezTo>
                  <a:pt x="583" y="48"/>
                  <a:pt x="584" y="48"/>
                  <a:pt x="585" y="48"/>
                </a:cubicBezTo>
                <a:cubicBezTo>
                  <a:pt x="585" y="48"/>
                  <a:pt x="586" y="48"/>
                  <a:pt x="586" y="48"/>
                </a:cubicBezTo>
                <a:cubicBezTo>
                  <a:pt x="586" y="48"/>
                  <a:pt x="587" y="48"/>
                  <a:pt x="586" y="48"/>
                </a:cubicBezTo>
                <a:cubicBezTo>
                  <a:pt x="587" y="49"/>
                  <a:pt x="587" y="49"/>
                  <a:pt x="587" y="49"/>
                </a:cubicBezTo>
                <a:cubicBezTo>
                  <a:pt x="588" y="49"/>
                  <a:pt x="587" y="49"/>
                  <a:pt x="588" y="49"/>
                </a:cubicBezTo>
                <a:cubicBezTo>
                  <a:pt x="588" y="50"/>
                  <a:pt x="589" y="50"/>
                  <a:pt x="589" y="50"/>
                </a:cubicBezTo>
                <a:cubicBezTo>
                  <a:pt x="589" y="49"/>
                  <a:pt x="588" y="49"/>
                  <a:pt x="589" y="49"/>
                </a:cubicBezTo>
                <a:cubicBezTo>
                  <a:pt x="590" y="49"/>
                  <a:pt x="590" y="49"/>
                  <a:pt x="591" y="49"/>
                </a:cubicBezTo>
                <a:cubicBezTo>
                  <a:pt x="592" y="50"/>
                  <a:pt x="594" y="49"/>
                  <a:pt x="595" y="51"/>
                </a:cubicBezTo>
                <a:cubicBezTo>
                  <a:pt x="595" y="51"/>
                  <a:pt x="594" y="51"/>
                  <a:pt x="594" y="51"/>
                </a:cubicBezTo>
                <a:cubicBezTo>
                  <a:pt x="594" y="51"/>
                  <a:pt x="595" y="51"/>
                  <a:pt x="596" y="52"/>
                </a:cubicBezTo>
                <a:cubicBezTo>
                  <a:pt x="596" y="52"/>
                  <a:pt x="595" y="53"/>
                  <a:pt x="594" y="54"/>
                </a:cubicBezTo>
                <a:cubicBezTo>
                  <a:pt x="594" y="54"/>
                  <a:pt x="594" y="54"/>
                  <a:pt x="594" y="54"/>
                </a:cubicBezTo>
                <a:cubicBezTo>
                  <a:pt x="593" y="55"/>
                  <a:pt x="593" y="55"/>
                  <a:pt x="593" y="55"/>
                </a:cubicBezTo>
                <a:cubicBezTo>
                  <a:pt x="592" y="55"/>
                  <a:pt x="591" y="55"/>
                  <a:pt x="591" y="55"/>
                </a:cubicBezTo>
                <a:cubicBezTo>
                  <a:pt x="591" y="55"/>
                  <a:pt x="590" y="55"/>
                  <a:pt x="590" y="55"/>
                </a:cubicBezTo>
                <a:cubicBezTo>
                  <a:pt x="590" y="56"/>
                  <a:pt x="590" y="56"/>
                  <a:pt x="590" y="56"/>
                </a:cubicBezTo>
                <a:cubicBezTo>
                  <a:pt x="590" y="56"/>
                  <a:pt x="590" y="56"/>
                  <a:pt x="590" y="56"/>
                </a:cubicBezTo>
                <a:cubicBezTo>
                  <a:pt x="590" y="57"/>
                  <a:pt x="590" y="57"/>
                  <a:pt x="590" y="57"/>
                </a:cubicBezTo>
                <a:cubicBezTo>
                  <a:pt x="589" y="57"/>
                  <a:pt x="588" y="57"/>
                  <a:pt x="587" y="57"/>
                </a:cubicBezTo>
                <a:cubicBezTo>
                  <a:pt x="587" y="57"/>
                  <a:pt x="586" y="58"/>
                  <a:pt x="585" y="58"/>
                </a:cubicBezTo>
                <a:cubicBezTo>
                  <a:pt x="586" y="58"/>
                  <a:pt x="585" y="58"/>
                  <a:pt x="584" y="58"/>
                </a:cubicBezTo>
                <a:cubicBezTo>
                  <a:pt x="584" y="59"/>
                  <a:pt x="584" y="59"/>
                  <a:pt x="583" y="59"/>
                </a:cubicBezTo>
                <a:cubicBezTo>
                  <a:pt x="583" y="59"/>
                  <a:pt x="582" y="59"/>
                  <a:pt x="582" y="59"/>
                </a:cubicBezTo>
                <a:cubicBezTo>
                  <a:pt x="583" y="59"/>
                  <a:pt x="583" y="60"/>
                  <a:pt x="581" y="60"/>
                </a:cubicBezTo>
                <a:cubicBezTo>
                  <a:pt x="581" y="60"/>
                  <a:pt x="581" y="60"/>
                  <a:pt x="580" y="60"/>
                </a:cubicBezTo>
                <a:cubicBezTo>
                  <a:pt x="580" y="60"/>
                  <a:pt x="579" y="60"/>
                  <a:pt x="579" y="60"/>
                </a:cubicBezTo>
                <a:cubicBezTo>
                  <a:pt x="579" y="60"/>
                  <a:pt x="582" y="60"/>
                  <a:pt x="582" y="61"/>
                </a:cubicBezTo>
                <a:cubicBezTo>
                  <a:pt x="582" y="61"/>
                  <a:pt x="581" y="62"/>
                  <a:pt x="580" y="62"/>
                </a:cubicBezTo>
                <a:cubicBezTo>
                  <a:pt x="579" y="62"/>
                  <a:pt x="578" y="62"/>
                  <a:pt x="577" y="63"/>
                </a:cubicBezTo>
                <a:cubicBezTo>
                  <a:pt x="577" y="63"/>
                  <a:pt x="576" y="64"/>
                  <a:pt x="576" y="64"/>
                </a:cubicBezTo>
                <a:cubicBezTo>
                  <a:pt x="576" y="65"/>
                  <a:pt x="576" y="65"/>
                  <a:pt x="575" y="65"/>
                </a:cubicBezTo>
                <a:cubicBezTo>
                  <a:pt x="576" y="65"/>
                  <a:pt x="576" y="65"/>
                  <a:pt x="576" y="65"/>
                </a:cubicBezTo>
                <a:cubicBezTo>
                  <a:pt x="576" y="65"/>
                  <a:pt x="575" y="66"/>
                  <a:pt x="575" y="66"/>
                </a:cubicBezTo>
                <a:cubicBezTo>
                  <a:pt x="574" y="66"/>
                  <a:pt x="574" y="66"/>
                  <a:pt x="573" y="66"/>
                </a:cubicBezTo>
                <a:cubicBezTo>
                  <a:pt x="572" y="66"/>
                  <a:pt x="571" y="66"/>
                  <a:pt x="569" y="66"/>
                </a:cubicBezTo>
                <a:cubicBezTo>
                  <a:pt x="569" y="66"/>
                  <a:pt x="568" y="66"/>
                  <a:pt x="569" y="67"/>
                </a:cubicBezTo>
                <a:cubicBezTo>
                  <a:pt x="569" y="67"/>
                  <a:pt x="569" y="67"/>
                  <a:pt x="569" y="67"/>
                </a:cubicBezTo>
                <a:cubicBezTo>
                  <a:pt x="569" y="67"/>
                  <a:pt x="568" y="68"/>
                  <a:pt x="568" y="68"/>
                </a:cubicBezTo>
                <a:cubicBezTo>
                  <a:pt x="568" y="69"/>
                  <a:pt x="569" y="69"/>
                  <a:pt x="568" y="69"/>
                </a:cubicBezTo>
                <a:cubicBezTo>
                  <a:pt x="567" y="69"/>
                  <a:pt x="566" y="69"/>
                  <a:pt x="565" y="69"/>
                </a:cubicBezTo>
                <a:cubicBezTo>
                  <a:pt x="563" y="70"/>
                  <a:pt x="565" y="70"/>
                  <a:pt x="565" y="70"/>
                </a:cubicBezTo>
                <a:cubicBezTo>
                  <a:pt x="564" y="71"/>
                  <a:pt x="564" y="71"/>
                  <a:pt x="564" y="71"/>
                </a:cubicBezTo>
                <a:cubicBezTo>
                  <a:pt x="565" y="72"/>
                  <a:pt x="565" y="72"/>
                  <a:pt x="564" y="72"/>
                </a:cubicBezTo>
                <a:cubicBezTo>
                  <a:pt x="564" y="73"/>
                  <a:pt x="562" y="74"/>
                  <a:pt x="561" y="74"/>
                </a:cubicBezTo>
                <a:cubicBezTo>
                  <a:pt x="562" y="74"/>
                  <a:pt x="565" y="74"/>
                  <a:pt x="565" y="73"/>
                </a:cubicBezTo>
                <a:cubicBezTo>
                  <a:pt x="565" y="73"/>
                  <a:pt x="566" y="73"/>
                  <a:pt x="566" y="72"/>
                </a:cubicBezTo>
                <a:cubicBezTo>
                  <a:pt x="566" y="72"/>
                  <a:pt x="568" y="72"/>
                  <a:pt x="568" y="72"/>
                </a:cubicBezTo>
                <a:cubicBezTo>
                  <a:pt x="567" y="72"/>
                  <a:pt x="565" y="70"/>
                  <a:pt x="567" y="70"/>
                </a:cubicBezTo>
                <a:cubicBezTo>
                  <a:pt x="568" y="70"/>
                  <a:pt x="569" y="70"/>
                  <a:pt x="570" y="70"/>
                </a:cubicBezTo>
                <a:cubicBezTo>
                  <a:pt x="571" y="71"/>
                  <a:pt x="571" y="70"/>
                  <a:pt x="572" y="70"/>
                </a:cubicBezTo>
                <a:cubicBezTo>
                  <a:pt x="574" y="70"/>
                  <a:pt x="575" y="70"/>
                  <a:pt x="576" y="70"/>
                </a:cubicBezTo>
                <a:cubicBezTo>
                  <a:pt x="577" y="70"/>
                  <a:pt x="578" y="69"/>
                  <a:pt x="579" y="70"/>
                </a:cubicBezTo>
                <a:cubicBezTo>
                  <a:pt x="579" y="70"/>
                  <a:pt x="580" y="70"/>
                  <a:pt x="580" y="70"/>
                </a:cubicBezTo>
                <a:cubicBezTo>
                  <a:pt x="580" y="69"/>
                  <a:pt x="579" y="69"/>
                  <a:pt x="579" y="69"/>
                </a:cubicBezTo>
                <a:cubicBezTo>
                  <a:pt x="579" y="69"/>
                  <a:pt x="580" y="69"/>
                  <a:pt x="580" y="69"/>
                </a:cubicBezTo>
                <a:cubicBezTo>
                  <a:pt x="581" y="69"/>
                  <a:pt x="582" y="69"/>
                  <a:pt x="583" y="69"/>
                </a:cubicBezTo>
                <a:cubicBezTo>
                  <a:pt x="583" y="69"/>
                  <a:pt x="584" y="69"/>
                  <a:pt x="584" y="68"/>
                </a:cubicBezTo>
                <a:cubicBezTo>
                  <a:pt x="585" y="68"/>
                  <a:pt x="584" y="68"/>
                  <a:pt x="584" y="68"/>
                </a:cubicBezTo>
                <a:cubicBezTo>
                  <a:pt x="584" y="68"/>
                  <a:pt x="585" y="68"/>
                  <a:pt x="585" y="68"/>
                </a:cubicBezTo>
                <a:cubicBezTo>
                  <a:pt x="586" y="68"/>
                  <a:pt x="583" y="67"/>
                  <a:pt x="583" y="67"/>
                </a:cubicBezTo>
                <a:cubicBezTo>
                  <a:pt x="584" y="67"/>
                  <a:pt x="586" y="68"/>
                  <a:pt x="587" y="68"/>
                </a:cubicBezTo>
                <a:cubicBezTo>
                  <a:pt x="588" y="68"/>
                  <a:pt x="590" y="67"/>
                  <a:pt x="589" y="67"/>
                </a:cubicBezTo>
                <a:cubicBezTo>
                  <a:pt x="589" y="67"/>
                  <a:pt x="591" y="67"/>
                  <a:pt x="590" y="66"/>
                </a:cubicBezTo>
                <a:cubicBezTo>
                  <a:pt x="590" y="66"/>
                  <a:pt x="591" y="66"/>
                  <a:pt x="592" y="66"/>
                </a:cubicBezTo>
                <a:cubicBezTo>
                  <a:pt x="592" y="66"/>
                  <a:pt x="593" y="66"/>
                  <a:pt x="593" y="66"/>
                </a:cubicBezTo>
                <a:cubicBezTo>
                  <a:pt x="593" y="65"/>
                  <a:pt x="592" y="65"/>
                  <a:pt x="592" y="65"/>
                </a:cubicBezTo>
                <a:cubicBezTo>
                  <a:pt x="591" y="65"/>
                  <a:pt x="591" y="65"/>
                  <a:pt x="590" y="65"/>
                </a:cubicBezTo>
                <a:cubicBezTo>
                  <a:pt x="590" y="65"/>
                  <a:pt x="589" y="65"/>
                  <a:pt x="589" y="65"/>
                </a:cubicBezTo>
                <a:cubicBezTo>
                  <a:pt x="588" y="66"/>
                  <a:pt x="587" y="65"/>
                  <a:pt x="587" y="65"/>
                </a:cubicBezTo>
                <a:cubicBezTo>
                  <a:pt x="586" y="65"/>
                  <a:pt x="585" y="65"/>
                  <a:pt x="586" y="66"/>
                </a:cubicBezTo>
                <a:cubicBezTo>
                  <a:pt x="585" y="66"/>
                  <a:pt x="582" y="65"/>
                  <a:pt x="583" y="64"/>
                </a:cubicBezTo>
                <a:cubicBezTo>
                  <a:pt x="583" y="64"/>
                  <a:pt x="584" y="64"/>
                  <a:pt x="584" y="64"/>
                </a:cubicBezTo>
                <a:cubicBezTo>
                  <a:pt x="584" y="64"/>
                  <a:pt x="584" y="64"/>
                  <a:pt x="584" y="63"/>
                </a:cubicBezTo>
                <a:cubicBezTo>
                  <a:pt x="584" y="63"/>
                  <a:pt x="586" y="63"/>
                  <a:pt x="587" y="63"/>
                </a:cubicBezTo>
                <a:cubicBezTo>
                  <a:pt x="588" y="63"/>
                  <a:pt x="589" y="63"/>
                  <a:pt x="590" y="63"/>
                </a:cubicBezTo>
                <a:cubicBezTo>
                  <a:pt x="590" y="63"/>
                  <a:pt x="593" y="64"/>
                  <a:pt x="592" y="63"/>
                </a:cubicBezTo>
                <a:cubicBezTo>
                  <a:pt x="592" y="63"/>
                  <a:pt x="592" y="63"/>
                  <a:pt x="592" y="63"/>
                </a:cubicBezTo>
                <a:cubicBezTo>
                  <a:pt x="592" y="63"/>
                  <a:pt x="592" y="62"/>
                  <a:pt x="592" y="62"/>
                </a:cubicBezTo>
                <a:cubicBezTo>
                  <a:pt x="593" y="62"/>
                  <a:pt x="593" y="62"/>
                  <a:pt x="594" y="62"/>
                </a:cubicBezTo>
                <a:cubicBezTo>
                  <a:pt x="595" y="63"/>
                  <a:pt x="593" y="63"/>
                  <a:pt x="593" y="63"/>
                </a:cubicBezTo>
                <a:cubicBezTo>
                  <a:pt x="593" y="64"/>
                  <a:pt x="596" y="65"/>
                  <a:pt x="596" y="65"/>
                </a:cubicBezTo>
                <a:cubicBezTo>
                  <a:pt x="598" y="65"/>
                  <a:pt x="601" y="66"/>
                  <a:pt x="603" y="65"/>
                </a:cubicBezTo>
                <a:cubicBezTo>
                  <a:pt x="604" y="65"/>
                  <a:pt x="607" y="66"/>
                  <a:pt x="606" y="65"/>
                </a:cubicBezTo>
                <a:cubicBezTo>
                  <a:pt x="605" y="64"/>
                  <a:pt x="604" y="64"/>
                  <a:pt x="603" y="63"/>
                </a:cubicBezTo>
                <a:cubicBezTo>
                  <a:pt x="604" y="63"/>
                  <a:pt x="605" y="64"/>
                  <a:pt x="606" y="64"/>
                </a:cubicBezTo>
                <a:cubicBezTo>
                  <a:pt x="607" y="64"/>
                  <a:pt x="608" y="65"/>
                  <a:pt x="609" y="65"/>
                </a:cubicBezTo>
                <a:cubicBezTo>
                  <a:pt x="610" y="65"/>
                  <a:pt x="611" y="66"/>
                  <a:pt x="611" y="66"/>
                </a:cubicBezTo>
                <a:cubicBezTo>
                  <a:pt x="611" y="66"/>
                  <a:pt x="610" y="67"/>
                  <a:pt x="610" y="67"/>
                </a:cubicBezTo>
                <a:cubicBezTo>
                  <a:pt x="610" y="68"/>
                  <a:pt x="614" y="68"/>
                  <a:pt x="614" y="69"/>
                </a:cubicBezTo>
                <a:cubicBezTo>
                  <a:pt x="615" y="69"/>
                  <a:pt x="615" y="70"/>
                  <a:pt x="615" y="69"/>
                </a:cubicBezTo>
                <a:cubicBezTo>
                  <a:pt x="616" y="69"/>
                  <a:pt x="617" y="69"/>
                  <a:pt x="617" y="69"/>
                </a:cubicBezTo>
                <a:cubicBezTo>
                  <a:pt x="616" y="68"/>
                  <a:pt x="615" y="69"/>
                  <a:pt x="615" y="68"/>
                </a:cubicBezTo>
                <a:cubicBezTo>
                  <a:pt x="614" y="68"/>
                  <a:pt x="613" y="68"/>
                  <a:pt x="612" y="67"/>
                </a:cubicBezTo>
                <a:cubicBezTo>
                  <a:pt x="613" y="67"/>
                  <a:pt x="613" y="67"/>
                  <a:pt x="614" y="67"/>
                </a:cubicBezTo>
                <a:cubicBezTo>
                  <a:pt x="615" y="67"/>
                  <a:pt x="615" y="67"/>
                  <a:pt x="616" y="66"/>
                </a:cubicBezTo>
                <a:cubicBezTo>
                  <a:pt x="617" y="66"/>
                  <a:pt x="619" y="67"/>
                  <a:pt x="620" y="66"/>
                </a:cubicBezTo>
                <a:cubicBezTo>
                  <a:pt x="622" y="66"/>
                  <a:pt x="623" y="65"/>
                  <a:pt x="625" y="65"/>
                </a:cubicBezTo>
                <a:cubicBezTo>
                  <a:pt x="626" y="66"/>
                  <a:pt x="628" y="66"/>
                  <a:pt x="630" y="66"/>
                </a:cubicBezTo>
                <a:cubicBezTo>
                  <a:pt x="631" y="66"/>
                  <a:pt x="633" y="66"/>
                  <a:pt x="634" y="66"/>
                </a:cubicBezTo>
                <a:cubicBezTo>
                  <a:pt x="636" y="66"/>
                  <a:pt x="638" y="67"/>
                  <a:pt x="640" y="67"/>
                </a:cubicBezTo>
                <a:cubicBezTo>
                  <a:pt x="642" y="67"/>
                  <a:pt x="644" y="67"/>
                  <a:pt x="645" y="67"/>
                </a:cubicBezTo>
                <a:cubicBezTo>
                  <a:pt x="646" y="67"/>
                  <a:pt x="649" y="67"/>
                  <a:pt x="649" y="68"/>
                </a:cubicBezTo>
                <a:cubicBezTo>
                  <a:pt x="649" y="68"/>
                  <a:pt x="647" y="67"/>
                  <a:pt x="646" y="67"/>
                </a:cubicBezTo>
                <a:cubicBezTo>
                  <a:pt x="646" y="67"/>
                  <a:pt x="646" y="68"/>
                  <a:pt x="646" y="68"/>
                </a:cubicBezTo>
                <a:cubicBezTo>
                  <a:pt x="646" y="68"/>
                  <a:pt x="646" y="68"/>
                  <a:pt x="646" y="68"/>
                </a:cubicBezTo>
                <a:cubicBezTo>
                  <a:pt x="647" y="69"/>
                  <a:pt x="647" y="69"/>
                  <a:pt x="647" y="70"/>
                </a:cubicBezTo>
                <a:cubicBezTo>
                  <a:pt x="648" y="70"/>
                  <a:pt x="649" y="70"/>
                  <a:pt x="650" y="70"/>
                </a:cubicBezTo>
                <a:cubicBezTo>
                  <a:pt x="652" y="71"/>
                  <a:pt x="654" y="71"/>
                  <a:pt x="656" y="71"/>
                </a:cubicBezTo>
                <a:cubicBezTo>
                  <a:pt x="657" y="71"/>
                  <a:pt x="658" y="72"/>
                  <a:pt x="659" y="72"/>
                </a:cubicBezTo>
                <a:cubicBezTo>
                  <a:pt x="659" y="72"/>
                  <a:pt x="660" y="71"/>
                  <a:pt x="661" y="72"/>
                </a:cubicBezTo>
                <a:cubicBezTo>
                  <a:pt x="662" y="72"/>
                  <a:pt x="665" y="72"/>
                  <a:pt x="667" y="72"/>
                </a:cubicBezTo>
                <a:cubicBezTo>
                  <a:pt x="669" y="72"/>
                  <a:pt x="670" y="72"/>
                  <a:pt x="672" y="72"/>
                </a:cubicBezTo>
                <a:cubicBezTo>
                  <a:pt x="673" y="72"/>
                  <a:pt x="674" y="72"/>
                  <a:pt x="675" y="72"/>
                </a:cubicBezTo>
                <a:cubicBezTo>
                  <a:pt x="676" y="72"/>
                  <a:pt x="676" y="72"/>
                  <a:pt x="677" y="72"/>
                </a:cubicBezTo>
                <a:cubicBezTo>
                  <a:pt x="677" y="72"/>
                  <a:pt x="677" y="72"/>
                  <a:pt x="678" y="72"/>
                </a:cubicBezTo>
                <a:cubicBezTo>
                  <a:pt x="677" y="71"/>
                  <a:pt x="678" y="71"/>
                  <a:pt x="678" y="71"/>
                </a:cubicBezTo>
                <a:cubicBezTo>
                  <a:pt x="678" y="71"/>
                  <a:pt x="679" y="72"/>
                  <a:pt x="679" y="72"/>
                </a:cubicBezTo>
                <a:cubicBezTo>
                  <a:pt x="680" y="72"/>
                  <a:pt x="681" y="72"/>
                  <a:pt x="682" y="72"/>
                </a:cubicBezTo>
                <a:cubicBezTo>
                  <a:pt x="683" y="73"/>
                  <a:pt x="683" y="72"/>
                  <a:pt x="683" y="72"/>
                </a:cubicBezTo>
                <a:cubicBezTo>
                  <a:pt x="683" y="71"/>
                  <a:pt x="682" y="70"/>
                  <a:pt x="683" y="71"/>
                </a:cubicBezTo>
                <a:cubicBezTo>
                  <a:pt x="683" y="71"/>
                  <a:pt x="682" y="71"/>
                  <a:pt x="682" y="70"/>
                </a:cubicBezTo>
                <a:cubicBezTo>
                  <a:pt x="682" y="70"/>
                  <a:pt x="683" y="70"/>
                  <a:pt x="683" y="70"/>
                </a:cubicBezTo>
                <a:cubicBezTo>
                  <a:pt x="683" y="70"/>
                  <a:pt x="682" y="70"/>
                  <a:pt x="682" y="70"/>
                </a:cubicBezTo>
                <a:cubicBezTo>
                  <a:pt x="681" y="69"/>
                  <a:pt x="681" y="69"/>
                  <a:pt x="680" y="69"/>
                </a:cubicBezTo>
                <a:cubicBezTo>
                  <a:pt x="680" y="69"/>
                  <a:pt x="680" y="68"/>
                  <a:pt x="679" y="68"/>
                </a:cubicBezTo>
                <a:cubicBezTo>
                  <a:pt x="679" y="68"/>
                  <a:pt x="679" y="68"/>
                  <a:pt x="678" y="68"/>
                </a:cubicBezTo>
                <a:cubicBezTo>
                  <a:pt x="678" y="68"/>
                  <a:pt x="678" y="68"/>
                  <a:pt x="678" y="68"/>
                </a:cubicBezTo>
                <a:cubicBezTo>
                  <a:pt x="678" y="68"/>
                  <a:pt x="678" y="68"/>
                  <a:pt x="678" y="68"/>
                </a:cubicBezTo>
                <a:cubicBezTo>
                  <a:pt x="678" y="68"/>
                  <a:pt x="679" y="68"/>
                  <a:pt x="679" y="68"/>
                </a:cubicBezTo>
                <a:cubicBezTo>
                  <a:pt x="679" y="67"/>
                  <a:pt x="677" y="67"/>
                  <a:pt x="677" y="67"/>
                </a:cubicBezTo>
                <a:cubicBezTo>
                  <a:pt x="677" y="67"/>
                  <a:pt x="677" y="67"/>
                  <a:pt x="677" y="67"/>
                </a:cubicBezTo>
                <a:cubicBezTo>
                  <a:pt x="677" y="67"/>
                  <a:pt x="677" y="67"/>
                  <a:pt x="677" y="66"/>
                </a:cubicBezTo>
                <a:cubicBezTo>
                  <a:pt x="677" y="67"/>
                  <a:pt x="677" y="67"/>
                  <a:pt x="678" y="67"/>
                </a:cubicBezTo>
                <a:cubicBezTo>
                  <a:pt x="677" y="66"/>
                  <a:pt x="677" y="66"/>
                  <a:pt x="677" y="66"/>
                </a:cubicBezTo>
                <a:cubicBezTo>
                  <a:pt x="677" y="66"/>
                  <a:pt x="677" y="65"/>
                  <a:pt x="678" y="66"/>
                </a:cubicBezTo>
                <a:cubicBezTo>
                  <a:pt x="678" y="66"/>
                  <a:pt x="678" y="66"/>
                  <a:pt x="678" y="66"/>
                </a:cubicBezTo>
                <a:cubicBezTo>
                  <a:pt x="678" y="66"/>
                  <a:pt x="678" y="66"/>
                  <a:pt x="679" y="66"/>
                </a:cubicBezTo>
                <a:cubicBezTo>
                  <a:pt x="679" y="67"/>
                  <a:pt x="680" y="66"/>
                  <a:pt x="681" y="66"/>
                </a:cubicBezTo>
                <a:cubicBezTo>
                  <a:pt x="681" y="66"/>
                  <a:pt x="680" y="66"/>
                  <a:pt x="680" y="66"/>
                </a:cubicBezTo>
                <a:cubicBezTo>
                  <a:pt x="680" y="65"/>
                  <a:pt x="679" y="65"/>
                  <a:pt x="679" y="65"/>
                </a:cubicBezTo>
                <a:cubicBezTo>
                  <a:pt x="679" y="65"/>
                  <a:pt x="680" y="65"/>
                  <a:pt x="680" y="65"/>
                </a:cubicBezTo>
                <a:cubicBezTo>
                  <a:pt x="680" y="65"/>
                  <a:pt x="680" y="66"/>
                  <a:pt x="680" y="66"/>
                </a:cubicBezTo>
                <a:cubicBezTo>
                  <a:pt x="681" y="66"/>
                  <a:pt x="681" y="65"/>
                  <a:pt x="682" y="65"/>
                </a:cubicBezTo>
                <a:cubicBezTo>
                  <a:pt x="681" y="65"/>
                  <a:pt x="681" y="65"/>
                  <a:pt x="682" y="65"/>
                </a:cubicBezTo>
                <a:cubicBezTo>
                  <a:pt x="682" y="65"/>
                  <a:pt x="682" y="65"/>
                  <a:pt x="682" y="65"/>
                </a:cubicBezTo>
                <a:cubicBezTo>
                  <a:pt x="683" y="65"/>
                  <a:pt x="684" y="65"/>
                  <a:pt x="685" y="65"/>
                </a:cubicBezTo>
                <a:cubicBezTo>
                  <a:pt x="686" y="65"/>
                  <a:pt x="686" y="66"/>
                  <a:pt x="687" y="66"/>
                </a:cubicBezTo>
                <a:cubicBezTo>
                  <a:pt x="687" y="66"/>
                  <a:pt x="688" y="66"/>
                  <a:pt x="688" y="66"/>
                </a:cubicBezTo>
                <a:cubicBezTo>
                  <a:pt x="688" y="66"/>
                  <a:pt x="688" y="66"/>
                  <a:pt x="688" y="66"/>
                </a:cubicBezTo>
                <a:cubicBezTo>
                  <a:pt x="688" y="65"/>
                  <a:pt x="689" y="66"/>
                  <a:pt x="690" y="67"/>
                </a:cubicBezTo>
                <a:cubicBezTo>
                  <a:pt x="690" y="67"/>
                  <a:pt x="691" y="67"/>
                  <a:pt x="691" y="67"/>
                </a:cubicBezTo>
                <a:cubicBezTo>
                  <a:pt x="691" y="67"/>
                  <a:pt x="693" y="66"/>
                  <a:pt x="693" y="67"/>
                </a:cubicBezTo>
                <a:cubicBezTo>
                  <a:pt x="693" y="68"/>
                  <a:pt x="693" y="68"/>
                  <a:pt x="693" y="68"/>
                </a:cubicBezTo>
                <a:cubicBezTo>
                  <a:pt x="693" y="68"/>
                  <a:pt x="694" y="68"/>
                  <a:pt x="694" y="68"/>
                </a:cubicBezTo>
                <a:cubicBezTo>
                  <a:pt x="694" y="68"/>
                  <a:pt x="694" y="68"/>
                  <a:pt x="694" y="68"/>
                </a:cubicBezTo>
                <a:cubicBezTo>
                  <a:pt x="694" y="68"/>
                  <a:pt x="695" y="68"/>
                  <a:pt x="695" y="68"/>
                </a:cubicBezTo>
                <a:cubicBezTo>
                  <a:pt x="695" y="68"/>
                  <a:pt x="695" y="67"/>
                  <a:pt x="695" y="67"/>
                </a:cubicBezTo>
                <a:cubicBezTo>
                  <a:pt x="695" y="67"/>
                  <a:pt x="695" y="67"/>
                  <a:pt x="695" y="67"/>
                </a:cubicBezTo>
                <a:cubicBezTo>
                  <a:pt x="696" y="67"/>
                  <a:pt x="696" y="68"/>
                  <a:pt x="696" y="68"/>
                </a:cubicBezTo>
                <a:cubicBezTo>
                  <a:pt x="697" y="68"/>
                  <a:pt x="696" y="68"/>
                  <a:pt x="696" y="67"/>
                </a:cubicBezTo>
                <a:cubicBezTo>
                  <a:pt x="697" y="67"/>
                  <a:pt x="697" y="67"/>
                  <a:pt x="698" y="67"/>
                </a:cubicBezTo>
                <a:cubicBezTo>
                  <a:pt x="698" y="67"/>
                  <a:pt x="699" y="68"/>
                  <a:pt x="698" y="68"/>
                </a:cubicBezTo>
                <a:cubicBezTo>
                  <a:pt x="698" y="68"/>
                  <a:pt x="697" y="68"/>
                  <a:pt x="697" y="68"/>
                </a:cubicBezTo>
                <a:cubicBezTo>
                  <a:pt x="697" y="68"/>
                  <a:pt x="699" y="68"/>
                  <a:pt x="698" y="68"/>
                </a:cubicBezTo>
                <a:cubicBezTo>
                  <a:pt x="698" y="68"/>
                  <a:pt x="700" y="68"/>
                  <a:pt x="700" y="69"/>
                </a:cubicBezTo>
                <a:cubicBezTo>
                  <a:pt x="700" y="68"/>
                  <a:pt x="701" y="68"/>
                  <a:pt x="701" y="68"/>
                </a:cubicBezTo>
                <a:cubicBezTo>
                  <a:pt x="700" y="68"/>
                  <a:pt x="702" y="68"/>
                  <a:pt x="702" y="68"/>
                </a:cubicBezTo>
                <a:cubicBezTo>
                  <a:pt x="702" y="68"/>
                  <a:pt x="702" y="68"/>
                  <a:pt x="702" y="68"/>
                </a:cubicBezTo>
                <a:cubicBezTo>
                  <a:pt x="702" y="68"/>
                  <a:pt x="702" y="68"/>
                  <a:pt x="703" y="68"/>
                </a:cubicBezTo>
                <a:cubicBezTo>
                  <a:pt x="702" y="68"/>
                  <a:pt x="702" y="67"/>
                  <a:pt x="701" y="67"/>
                </a:cubicBezTo>
                <a:cubicBezTo>
                  <a:pt x="702" y="67"/>
                  <a:pt x="703" y="67"/>
                  <a:pt x="704" y="67"/>
                </a:cubicBezTo>
                <a:cubicBezTo>
                  <a:pt x="706" y="67"/>
                  <a:pt x="707" y="67"/>
                  <a:pt x="708" y="67"/>
                </a:cubicBezTo>
                <a:cubicBezTo>
                  <a:pt x="708" y="67"/>
                  <a:pt x="709" y="67"/>
                  <a:pt x="709" y="68"/>
                </a:cubicBezTo>
                <a:cubicBezTo>
                  <a:pt x="709" y="68"/>
                  <a:pt x="709" y="68"/>
                  <a:pt x="710" y="68"/>
                </a:cubicBezTo>
                <a:cubicBezTo>
                  <a:pt x="710" y="68"/>
                  <a:pt x="710" y="68"/>
                  <a:pt x="710" y="68"/>
                </a:cubicBezTo>
                <a:cubicBezTo>
                  <a:pt x="711" y="69"/>
                  <a:pt x="712" y="69"/>
                  <a:pt x="713" y="69"/>
                </a:cubicBezTo>
                <a:cubicBezTo>
                  <a:pt x="713" y="69"/>
                  <a:pt x="713" y="69"/>
                  <a:pt x="713" y="69"/>
                </a:cubicBezTo>
                <a:cubicBezTo>
                  <a:pt x="714" y="69"/>
                  <a:pt x="714" y="69"/>
                  <a:pt x="714" y="69"/>
                </a:cubicBezTo>
                <a:cubicBezTo>
                  <a:pt x="715" y="70"/>
                  <a:pt x="716" y="69"/>
                  <a:pt x="717" y="70"/>
                </a:cubicBezTo>
                <a:cubicBezTo>
                  <a:pt x="718" y="70"/>
                  <a:pt x="719" y="70"/>
                  <a:pt x="719" y="70"/>
                </a:cubicBezTo>
                <a:cubicBezTo>
                  <a:pt x="719" y="70"/>
                  <a:pt x="719" y="70"/>
                  <a:pt x="719" y="70"/>
                </a:cubicBezTo>
                <a:cubicBezTo>
                  <a:pt x="719" y="71"/>
                  <a:pt x="719" y="72"/>
                  <a:pt x="719" y="71"/>
                </a:cubicBezTo>
                <a:cubicBezTo>
                  <a:pt x="720" y="70"/>
                  <a:pt x="721" y="71"/>
                  <a:pt x="721" y="71"/>
                </a:cubicBezTo>
                <a:cubicBezTo>
                  <a:pt x="722" y="72"/>
                  <a:pt x="719" y="72"/>
                  <a:pt x="718" y="72"/>
                </a:cubicBezTo>
                <a:cubicBezTo>
                  <a:pt x="719" y="73"/>
                  <a:pt x="721" y="73"/>
                  <a:pt x="721" y="73"/>
                </a:cubicBezTo>
                <a:cubicBezTo>
                  <a:pt x="722" y="73"/>
                  <a:pt x="724" y="73"/>
                  <a:pt x="725" y="73"/>
                </a:cubicBezTo>
                <a:cubicBezTo>
                  <a:pt x="724" y="74"/>
                  <a:pt x="723" y="73"/>
                  <a:pt x="722" y="74"/>
                </a:cubicBezTo>
                <a:cubicBezTo>
                  <a:pt x="723" y="75"/>
                  <a:pt x="725" y="74"/>
                  <a:pt x="727" y="74"/>
                </a:cubicBezTo>
                <a:cubicBezTo>
                  <a:pt x="726" y="74"/>
                  <a:pt x="726" y="74"/>
                  <a:pt x="726" y="75"/>
                </a:cubicBezTo>
                <a:cubicBezTo>
                  <a:pt x="726" y="75"/>
                  <a:pt x="725" y="74"/>
                  <a:pt x="724" y="75"/>
                </a:cubicBezTo>
                <a:cubicBezTo>
                  <a:pt x="724" y="75"/>
                  <a:pt x="725" y="75"/>
                  <a:pt x="725" y="75"/>
                </a:cubicBezTo>
                <a:cubicBezTo>
                  <a:pt x="724" y="75"/>
                  <a:pt x="724" y="76"/>
                  <a:pt x="724" y="76"/>
                </a:cubicBezTo>
                <a:cubicBezTo>
                  <a:pt x="723" y="76"/>
                  <a:pt x="722" y="76"/>
                  <a:pt x="722" y="76"/>
                </a:cubicBezTo>
                <a:cubicBezTo>
                  <a:pt x="722" y="77"/>
                  <a:pt x="725" y="76"/>
                  <a:pt x="726" y="76"/>
                </a:cubicBezTo>
                <a:cubicBezTo>
                  <a:pt x="727" y="76"/>
                  <a:pt x="728" y="76"/>
                  <a:pt x="729" y="77"/>
                </a:cubicBezTo>
                <a:cubicBezTo>
                  <a:pt x="730" y="77"/>
                  <a:pt x="731" y="77"/>
                  <a:pt x="732" y="78"/>
                </a:cubicBezTo>
                <a:cubicBezTo>
                  <a:pt x="731" y="78"/>
                  <a:pt x="731" y="78"/>
                  <a:pt x="731" y="78"/>
                </a:cubicBezTo>
                <a:cubicBezTo>
                  <a:pt x="731" y="78"/>
                  <a:pt x="733" y="78"/>
                  <a:pt x="733" y="79"/>
                </a:cubicBezTo>
                <a:cubicBezTo>
                  <a:pt x="733" y="79"/>
                  <a:pt x="732" y="79"/>
                  <a:pt x="732" y="79"/>
                </a:cubicBezTo>
                <a:cubicBezTo>
                  <a:pt x="732" y="80"/>
                  <a:pt x="733" y="79"/>
                  <a:pt x="733" y="79"/>
                </a:cubicBezTo>
                <a:cubicBezTo>
                  <a:pt x="733" y="80"/>
                  <a:pt x="732" y="80"/>
                  <a:pt x="731" y="80"/>
                </a:cubicBezTo>
                <a:cubicBezTo>
                  <a:pt x="731" y="80"/>
                  <a:pt x="730" y="80"/>
                  <a:pt x="729" y="80"/>
                </a:cubicBezTo>
                <a:cubicBezTo>
                  <a:pt x="729" y="80"/>
                  <a:pt x="726" y="79"/>
                  <a:pt x="727" y="79"/>
                </a:cubicBezTo>
                <a:cubicBezTo>
                  <a:pt x="726" y="79"/>
                  <a:pt x="725" y="78"/>
                  <a:pt x="724" y="78"/>
                </a:cubicBezTo>
                <a:cubicBezTo>
                  <a:pt x="725" y="80"/>
                  <a:pt x="727" y="80"/>
                  <a:pt x="728" y="81"/>
                </a:cubicBezTo>
                <a:cubicBezTo>
                  <a:pt x="729" y="81"/>
                  <a:pt x="731" y="82"/>
                  <a:pt x="732" y="83"/>
                </a:cubicBezTo>
                <a:cubicBezTo>
                  <a:pt x="733" y="83"/>
                  <a:pt x="734" y="83"/>
                  <a:pt x="734" y="83"/>
                </a:cubicBezTo>
                <a:cubicBezTo>
                  <a:pt x="735" y="83"/>
                  <a:pt x="735" y="82"/>
                  <a:pt x="734" y="82"/>
                </a:cubicBezTo>
                <a:cubicBezTo>
                  <a:pt x="734" y="82"/>
                  <a:pt x="732" y="81"/>
                  <a:pt x="732" y="80"/>
                </a:cubicBezTo>
                <a:cubicBezTo>
                  <a:pt x="732" y="80"/>
                  <a:pt x="733" y="81"/>
                  <a:pt x="733" y="81"/>
                </a:cubicBezTo>
                <a:cubicBezTo>
                  <a:pt x="734" y="81"/>
                  <a:pt x="734" y="81"/>
                  <a:pt x="735" y="82"/>
                </a:cubicBezTo>
                <a:cubicBezTo>
                  <a:pt x="735" y="82"/>
                  <a:pt x="736" y="82"/>
                  <a:pt x="736" y="82"/>
                </a:cubicBezTo>
                <a:cubicBezTo>
                  <a:pt x="737" y="83"/>
                  <a:pt x="737" y="83"/>
                  <a:pt x="738" y="83"/>
                </a:cubicBezTo>
                <a:cubicBezTo>
                  <a:pt x="737" y="83"/>
                  <a:pt x="736" y="83"/>
                  <a:pt x="735" y="83"/>
                </a:cubicBezTo>
                <a:cubicBezTo>
                  <a:pt x="735" y="83"/>
                  <a:pt x="733" y="83"/>
                  <a:pt x="734" y="84"/>
                </a:cubicBezTo>
                <a:cubicBezTo>
                  <a:pt x="734" y="84"/>
                  <a:pt x="736" y="84"/>
                  <a:pt x="736" y="84"/>
                </a:cubicBezTo>
                <a:cubicBezTo>
                  <a:pt x="737" y="84"/>
                  <a:pt x="738" y="85"/>
                  <a:pt x="738" y="85"/>
                </a:cubicBezTo>
                <a:cubicBezTo>
                  <a:pt x="739" y="86"/>
                  <a:pt x="740" y="86"/>
                  <a:pt x="741" y="86"/>
                </a:cubicBezTo>
                <a:cubicBezTo>
                  <a:pt x="741" y="87"/>
                  <a:pt x="742" y="87"/>
                  <a:pt x="743" y="87"/>
                </a:cubicBezTo>
                <a:cubicBezTo>
                  <a:pt x="743" y="87"/>
                  <a:pt x="746" y="88"/>
                  <a:pt x="745" y="89"/>
                </a:cubicBezTo>
                <a:cubicBezTo>
                  <a:pt x="746" y="89"/>
                  <a:pt x="746" y="89"/>
                  <a:pt x="747" y="89"/>
                </a:cubicBezTo>
                <a:cubicBezTo>
                  <a:pt x="747" y="89"/>
                  <a:pt x="747" y="89"/>
                  <a:pt x="748" y="89"/>
                </a:cubicBezTo>
                <a:cubicBezTo>
                  <a:pt x="749" y="89"/>
                  <a:pt x="750" y="89"/>
                  <a:pt x="751" y="90"/>
                </a:cubicBezTo>
                <a:cubicBezTo>
                  <a:pt x="751" y="90"/>
                  <a:pt x="752" y="90"/>
                  <a:pt x="752" y="90"/>
                </a:cubicBezTo>
                <a:cubicBezTo>
                  <a:pt x="753" y="90"/>
                  <a:pt x="753" y="91"/>
                  <a:pt x="754" y="91"/>
                </a:cubicBezTo>
                <a:cubicBezTo>
                  <a:pt x="755" y="91"/>
                  <a:pt x="754" y="90"/>
                  <a:pt x="754" y="90"/>
                </a:cubicBezTo>
                <a:cubicBezTo>
                  <a:pt x="754" y="90"/>
                  <a:pt x="756" y="91"/>
                  <a:pt x="757" y="91"/>
                </a:cubicBezTo>
                <a:cubicBezTo>
                  <a:pt x="757" y="92"/>
                  <a:pt x="758" y="92"/>
                  <a:pt x="759" y="92"/>
                </a:cubicBezTo>
                <a:cubicBezTo>
                  <a:pt x="760" y="92"/>
                  <a:pt x="760" y="90"/>
                  <a:pt x="760" y="90"/>
                </a:cubicBezTo>
                <a:cubicBezTo>
                  <a:pt x="760" y="89"/>
                  <a:pt x="759" y="88"/>
                  <a:pt x="760" y="88"/>
                </a:cubicBezTo>
                <a:cubicBezTo>
                  <a:pt x="760" y="88"/>
                  <a:pt x="759" y="88"/>
                  <a:pt x="759" y="88"/>
                </a:cubicBezTo>
                <a:cubicBezTo>
                  <a:pt x="760" y="87"/>
                  <a:pt x="761" y="88"/>
                  <a:pt x="761" y="88"/>
                </a:cubicBezTo>
                <a:cubicBezTo>
                  <a:pt x="761" y="87"/>
                  <a:pt x="760" y="88"/>
                  <a:pt x="759" y="87"/>
                </a:cubicBezTo>
                <a:cubicBezTo>
                  <a:pt x="759" y="87"/>
                  <a:pt x="759" y="86"/>
                  <a:pt x="759" y="86"/>
                </a:cubicBezTo>
                <a:cubicBezTo>
                  <a:pt x="758" y="85"/>
                  <a:pt x="757" y="84"/>
                  <a:pt x="757" y="82"/>
                </a:cubicBezTo>
                <a:cubicBezTo>
                  <a:pt x="757" y="81"/>
                  <a:pt x="758" y="81"/>
                  <a:pt x="759" y="82"/>
                </a:cubicBezTo>
                <a:cubicBezTo>
                  <a:pt x="759" y="83"/>
                  <a:pt x="761" y="83"/>
                  <a:pt x="762" y="83"/>
                </a:cubicBezTo>
                <a:cubicBezTo>
                  <a:pt x="765" y="85"/>
                  <a:pt x="768" y="85"/>
                  <a:pt x="771" y="86"/>
                </a:cubicBezTo>
                <a:cubicBezTo>
                  <a:pt x="773" y="86"/>
                  <a:pt x="774" y="86"/>
                  <a:pt x="776" y="86"/>
                </a:cubicBezTo>
                <a:cubicBezTo>
                  <a:pt x="776" y="86"/>
                  <a:pt x="777" y="86"/>
                  <a:pt x="778" y="87"/>
                </a:cubicBezTo>
                <a:cubicBezTo>
                  <a:pt x="778" y="87"/>
                  <a:pt x="777" y="87"/>
                  <a:pt x="778" y="87"/>
                </a:cubicBezTo>
                <a:cubicBezTo>
                  <a:pt x="778" y="87"/>
                  <a:pt x="778" y="86"/>
                  <a:pt x="778" y="86"/>
                </a:cubicBezTo>
                <a:cubicBezTo>
                  <a:pt x="777" y="86"/>
                  <a:pt x="777" y="86"/>
                  <a:pt x="777" y="86"/>
                </a:cubicBezTo>
                <a:cubicBezTo>
                  <a:pt x="777" y="86"/>
                  <a:pt x="777" y="85"/>
                  <a:pt x="777" y="85"/>
                </a:cubicBezTo>
                <a:cubicBezTo>
                  <a:pt x="777" y="85"/>
                  <a:pt x="778" y="85"/>
                  <a:pt x="778" y="85"/>
                </a:cubicBezTo>
                <a:cubicBezTo>
                  <a:pt x="778" y="85"/>
                  <a:pt x="778" y="85"/>
                  <a:pt x="779" y="85"/>
                </a:cubicBezTo>
                <a:cubicBezTo>
                  <a:pt x="779" y="85"/>
                  <a:pt x="780" y="85"/>
                  <a:pt x="780" y="85"/>
                </a:cubicBezTo>
                <a:cubicBezTo>
                  <a:pt x="780" y="85"/>
                  <a:pt x="780" y="85"/>
                  <a:pt x="779" y="84"/>
                </a:cubicBezTo>
                <a:cubicBezTo>
                  <a:pt x="780" y="84"/>
                  <a:pt x="782" y="84"/>
                  <a:pt x="783" y="84"/>
                </a:cubicBezTo>
                <a:cubicBezTo>
                  <a:pt x="785" y="84"/>
                  <a:pt x="787" y="84"/>
                  <a:pt x="788" y="85"/>
                </a:cubicBezTo>
                <a:cubicBezTo>
                  <a:pt x="789" y="85"/>
                  <a:pt x="788" y="85"/>
                  <a:pt x="789" y="85"/>
                </a:cubicBezTo>
                <a:cubicBezTo>
                  <a:pt x="790" y="85"/>
                  <a:pt x="791" y="85"/>
                  <a:pt x="791" y="85"/>
                </a:cubicBezTo>
                <a:cubicBezTo>
                  <a:pt x="792" y="86"/>
                  <a:pt x="794" y="86"/>
                  <a:pt x="796" y="86"/>
                </a:cubicBezTo>
                <a:cubicBezTo>
                  <a:pt x="795" y="86"/>
                  <a:pt x="796" y="86"/>
                  <a:pt x="796" y="87"/>
                </a:cubicBezTo>
                <a:cubicBezTo>
                  <a:pt x="797" y="87"/>
                  <a:pt x="797" y="87"/>
                  <a:pt x="797" y="87"/>
                </a:cubicBezTo>
                <a:cubicBezTo>
                  <a:pt x="797" y="87"/>
                  <a:pt x="798" y="88"/>
                  <a:pt x="798" y="87"/>
                </a:cubicBezTo>
                <a:cubicBezTo>
                  <a:pt x="798" y="87"/>
                  <a:pt x="799" y="87"/>
                  <a:pt x="799" y="87"/>
                </a:cubicBezTo>
                <a:cubicBezTo>
                  <a:pt x="799" y="88"/>
                  <a:pt x="798" y="88"/>
                  <a:pt x="798" y="88"/>
                </a:cubicBezTo>
                <a:cubicBezTo>
                  <a:pt x="799" y="88"/>
                  <a:pt x="800" y="88"/>
                  <a:pt x="800" y="88"/>
                </a:cubicBezTo>
                <a:cubicBezTo>
                  <a:pt x="800" y="88"/>
                  <a:pt x="801" y="88"/>
                  <a:pt x="801" y="88"/>
                </a:cubicBezTo>
                <a:cubicBezTo>
                  <a:pt x="801" y="89"/>
                  <a:pt x="803" y="88"/>
                  <a:pt x="803" y="88"/>
                </a:cubicBezTo>
                <a:cubicBezTo>
                  <a:pt x="803" y="88"/>
                  <a:pt x="801" y="88"/>
                  <a:pt x="801" y="88"/>
                </a:cubicBezTo>
                <a:cubicBezTo>
                  <a:pt x="801" y="88"/>
                  <a:pt x="800" y="88"/>
                  <a:pt x="800" y="87"/>
                </a:cubicBezTo>
                <a:cubicBezTo>
                  <a:pt x="800" y="87"/>
                  <a:pt x="801" y="87"/>
                  <a:pt x="801" y="87"/>
                </a:cubicBezTo>
                <a:cubicBezTo>
                  <a:pt x="801" y="88"/>
                  <a:pt x="803" y="87"/>
                  <a:pt x="802" y="87"/>
                </a:cubicBezTo>
                <a:cubicBezTo>
                  <a:pt x="802" y="87"/>
                  <a:pt x="801" y="87"/>
                  <a:pt x="800" y="87"/>
                </a:cubicBezTo>
                <a:cubicBezTo>
                  <a:pt x="801" y="87"/>
                  <a:pt x="802" y="87"/>
                  <a:pt x="803" y="87"/>
                </a:cubicBezTo>
                <a:cubicBezTo>
                  <a:pt x="801" y="86"/>
                  <a:pt x="800" y="87"/>
                  <a:pt x="798" y="86"/>
                </a:cubicBezTo>
                <a:cubicBezTo>
                  <a:pt x="799" y="86"/>
                  <a:pt x="798" y="85"/>
                  <a:pt x="798" y="85"/>
                </a:cubicBezTo>
                <a:cubicBezTo>
                  <a:pt x="798" y="84"/>
                  <a:pt x="800" y="84"/>
                  <a:pt x="800" y="84"/>
                </a:cubicBezTo>
                <a:cubicBezTo>
                  <a:pt x="800" y="85"/>
                  <a:pt x="801" y="85"/>
                  <a:pt x="802" y="85"/>
                </a:cubicBezTo>
                <a:cubicBezTo>
                  <a:pt x="802" y="84"/>
                  <a:pt x="801" y="84"/>
                  <a:pt x="802" y="84"/>
                </a:cubicBezTo>
                <a:cubicBezTo>
                  <a:pt x="802" y="84"/>
                  <a:pt x="803" y="84"/>
                  <a:pt x="803" y="84"/>
                </a:cubicBezTo>
                <a:cubicBezTo>
                  <a:pt x="805" y="85"/>
                  <a:pt x="806" y="85"/>
                  <a:pt x="807" y="86"/>
                </a:cubicBezTo>
                <a:cubicBezTo>
                  <a:pt x="808" y="86"/>
                  <a:pt x="808" y="86"/>
                  <a:pt x="808" y="85"/>
                </a:cubicBezTo>
                <a:cubicBezTo>
                  <a:pt x="808" y="85"/>
                  <a:pt x="809" y="85"/>
                  <a:pt x="810" y="85"/>
                </a:cubicBezTo>
                <a:cubicBezTo>
                  <a:pt x="810" y="85"/>
                  <a:pt x="810" y="85"/>
                  <a:pt x="811" y="85"/>
                </a:cubicBezTo>
                <a:cubicBezTo>
                  <a:pt x="811" y="85"/>
                  <a:pt x="811" y="85"/>
                  <a:pt x="811" y="85"/>
                </a:cubicBezTo>
                <a:cubicBezTo>
                  <a:pt x="812" y="85"/>
                  <a:pt x="812" y="85"/>
                  <a:pt x="812" y="85"/>
                </a:cubicBezTo>
                <a:cubicBezTo>
                  <a:pt x="812" y="85"/>
                  <a:pt x="806" y="83"/>
                  <a:pt x="807" y="82"/>
                </a:cubicBezTo>
                <a:cubicBezTo>
                  <a:pt x="806" y="82"/>
                  <a:pt x="805" y="81"/>
                  <a:pt x="805" y="81"/>
                </a:cubicBezTo>
                <a:cubicBezTo>
                  <a:pt x="804" y="81"/>
                  <a:pt x="803" y="81"/>
                  <a:pt x="803" y="81"/>
                </a:cubicBezTo>
                <a:cubicBezTo>
                  <a:pt x="803" y="81"/>
                  <a:pt x="805" y="81"/>
                  <a:pt x="805" y="81"/>
                </a:cubicBezTo>
                <a:cubicBezTo>
                  <a:pt x="804" y="80"/>
                  <a:pt x="804" y="80"/>
                  <a:pt x="804" y="80"/>
                </a:cubicBezTo>
                <a:cubicBezTo>
                  <a:pt x="803" y="78"/>
                  <a:pt x="806" y="80"/>
                  <a:pt x="806" y="79"/>
                </a:cubicBezTo>
                <a:cubicBezTo>
                  <a:pt x="806" y="78"/>
                  <a:pt x="803" y="78"/>
                  <a:pt x="803" y="78"/>
                </a:cubicBezTo>
                <a:cubicBezTo>
                  <a:pt x="802" y="79"/>
                  <a:pt x="802" y="78"/>
                  <a:pt x="801" y="78"/>
                </a:cubicBezTo>
                <a:cubicBezTo>
                  <a:pt x="801" y="78"/>
                  <a:pt x="800" y="79"/>
                  <a:pt x="801" y="79"/>
                </a:cubicBezTo>
                <a:cubicBezTo>
                  <a:pt x="801" y="79"/>
                  <a:pt x="801" y="79"/>
                  <a:pt x="801" y="79"/>
                </a:cubicBezTo>
                <a:cubicBezTo>
                  <a:pt x="801" y="79"/>
                  <a:pt x="800" y="79"/>
                  <a:pt x="799" y="79"/>
                </a:cubicBezTo>
                <a:cubicBezTo>
                  <a:pt x="800" y="79"/>
                  <a:pt x="800" y="79"/>
                  <a:pt x="800" y="79"/>
                </a:cubicBezTo>
                <a:cubicBezTo>
                  <a:pt x="799" y="80"/>
                  <a:pt x="798" y="79"/>
                  <a:pt x="798" y="78"/>
                </a:cubicBezTo>
                <a:cubicBezTo>
                  <a:pt x="797" y="78"/>
                  <a:pt x="797" y="76"/>
                  <a:pt x="798" y="76"/>
                </a:cubicBezTo>
                <a:cubicBezTo>
                  <a:pt x="800" y="76"/>
                  <a:pt x="801" y="76"/>
                  <a:pt x="803" y="76"/>
                </a:cubicBezTo>
                <a:cubicBezTo>
                  <a:pt x="805" y="76"/>
                  <a:pt x="806" y="76"/>
                  <a:pt x="807" y="75"/>
                </a:cubicBezTo>
                <a:cubicBezTo>
                  <a:pt x="807" y="75"/>
                  <a:pt x="806" y="76"/>
                  <a:pt x="806" y="75"/>
                </a:cubicBezTo>
                <a:cubicBezTo>
                  <a:pt x="806" y="74"/>
                  <a:pt x="805" y="74"/>
                  <a:pt x="804" y="74"/>
                </a:cubicBezTo>
                <a:cubicBezTo>
                  <a:pt x="803" y="74"/>
                  <a:pt x="802" y="73"/>
                  <a:pt x="800" y="73"/>
                </a:cubicBezTo>
                <a:cubicBezTo>
                  <a:pt x="801" y="72"/>
                  <a:pt x="803" y="73"/>
                  <a:pt x="804" y="73"/>
                </a:cubicBezTo>
                <a:cubicBezTo>
                  <a:pt x="805" y="73"/>
                  <a:pt x="806" y="73"/>
                  <a:pt x="807" y="73"/>
                </a:cubicBezTo>
                <a:cubicBezTo>
                  <a:pt x="808" y="74"/>
                  <a:pt x="809" y="74"/>
                  <a:pt x="810" y="74"/>
                </a:cubicBezTo>
                <a:cubicBezTo>
                  <a:pt x="814" y="74"/>
                  <a:pt x="819" y="74"/>
                  <a:pt x="823" y="75"/>
                </a:cubicBezTo>
                <a:cubicBezTo>
                  <a:pt x="828" y="75"/>
                  <a:pt x="832" y="75"/>
                  <a:pt x="837" y="76"/>
                </a:cubicBezTo>
                <a:cubicBezTo>
                  <a:pt x="839" y="76"/>
                  <a:pt x="841" y="76"/>
                  <a:pt x="843" y="77"/>
                </a:cubicBezTo>
                <a:cubicBezTo>
                  <a:pt x="845" y="77"/>
                  <a:pt x="846" y="77"/>
                  <a:pt x="847" y="77"/>
                </a:cubicBezTo>
                <a:cubicBezTo>
                  <a:pt x="847" y="77"/>
                  <a:pt x="848" y="77"/>
                  <a:pt x="849" y="78"/>
                </a:cubicBezTo>
                <a:cubicBezTo>
                  <a:pt x="848" y="78"/>
                  <a:pt x="847" y="77"/>
                  <a:pt x="846" y="77"/>
                </a:cubicBezTo>
                <a:cubicBezTo>
                  <a:pt x="845" y="77"/>
                  <a:pt x="845" y="77"/>
                  <a:pt x="844" y="77"/>
                </a:cubicBezTo>
                <a:cubicBezTo>
                  <a:pt x="842" y="77"/>
                  <a:pt x="841" y="77"/>
                  <a:pt x="839" y="77"/>
                </a:cubicBezTo>
                <a:cubicBezTo>
                  <a:pt x="838" y="77"/>
                  <a:pt x="833" y="76"/>
                  <a:pt x="835" y="78"/>
                </a:cubicBezTo>
                <a:cubicBezTo>
                  <a:pt x="834" y="79"/>
                  <a:pt x="833" y="78"/>
                  <a:pt x="833" y="78"/>
                </a:cubicBezTo>
                <a:cubicBezTo>
                  <a:pt x="832" y="78"/>
                  <a:pt x="832" y="78"/>
                  <a:pt x="831" y="78"/>
                </a:cubicBezTo>
                <a:cubicBezTo>
                  <a:pt x="832" y="79"/>
                  <a:pt x="833" y="79"/>
                  <a:pt x="834" y="79"/>
                </a:cubicBezTo>
                <a:cubicBezTo>
                  <a:pt x="835" y="79"/>
                  <a:pt x="835" y="79"/>
                  <a:pt x="836" y="79"/>
                </a:cubicBezTo>
                <a:cubicBezTo>
                  <a:pt x="836" y="79"/>
                  <a:pt x="836" y="78"/>
                  <a:pt x="836" y="78"/>
                </a:cubicBezTo>
                <a:cubicBezTo>
                  <a:pt x="839" y="78"/>
                  <a:pt x="842" y="78"/>
                  <a:pt x="845" y="78"/>
                </a:cubicBezTo>
                <a:cubicBezTo>
                  <a:pt x="847" y="78"/>
                  <a:pt x="848" y="78"/>
                  <a:pt x="850" y="78"/>
                </a:cubicBezTo>
                <a:cubicBezTo>
                  <a:pt x="850" y="78"/>
                  <a:pt x="850" y="79"/>
                  <a:pt x="850" y="80"/>
                </a:cubicBezTo>
                <a:cubicBezTo>
                  <a:pt x="850" y="80"/>
                  <a:pt x="849" y="82"/>
                  <a:pt x="849" y="82"/>
                </a:cubicBezTo>
                <a:cubicBezTo>
                  <a:pt x="849" y="82"/>
                  <a:pt x="847" y="81"/>
                  <a:pt x="847" y="80"/>
                </a:cubicBezTo>
                <a:cubicBezTo>
                  <a:pt x="847" y="80"/>
                  <a:pt x="848" y="80"/>
                  <a:pt x="848" y="80"/>
                </a:cubicBezTo>
                <a:cubicBezTo>
                  <a:pt x="848" y="80"/>
                  <a:pt x="848" y="80"/>
                  <a:pt x="848" y="79"/>
                </a:cubicBezTo>
                <a:cubicBezTo>
                  <a:pt x="848" y="79"/>
                  <a:pt x="846" y="79"/>
                  <a:pt x="846" y="79"/>
                </a:cubicBezTo>
                <a:cubicBezTo>
                  <a:pt x="846" y="79"/>
                  <a:pt x="846" y="79"/>
                  <a:pt x="846" y="80"/>
                </a:cubicBezTo>
                <a:cubicBezTo>
                  <a:pt x="846" y="80"/>
                  <a:pt x="846" y="80"/>
                  <a:pt x="846" y="80"/>
                </a:cubicBezTo>
                <a:cubicBezTo>
                  <a:pt x="846" y="80"/>
                  <a:pt x="846" y="79"/>
                  <a:pt x="845" y="79"/>
                </a:cubicBezTo>
                <a:cubicBezTo>
                  <a:pt x="845" y="79"/>
                  <a:pt x="844" y="79"/>
                  <a:pt x="844" y="79"/>
                </a:cubicBezTo>
                <a:cubicBezTo>
                  <a:pt x="844" y="78"/>
                  <a:pt x="842" y="78"/>
                  <a:pt x="842" y="78"/>
                </a:cubicBezTo>
                <a:cubicBezTo>
                  <a:pt x="842" y="79"/>
                  <a:pt x="843" y="79"/>
                  <a:pt x="843" y="79"/>
                </a:cubicBezTo>
                <a:cubicBezTo>
                  <a:pt x="844" y="79"/>
                  <a:pt x="844" y="80"/>
                  <a:pt x="844" y="80"/>
                </a:cubicBezTo>
                <a:cubicBezTo>
                  <a:pt x="845" y="81"/>
                  <a:pt x="846" y="80"/>
                  <a:pt x="847" y="81"/>
                </a:cubicBezTo>
                <a:cubicBezTo>
                  <a:pt x="847" y="81"/>
                  <a:pt x="844" y="82"/>
                  <a:pt x="844" y="82"/>
                </a:cubicBezTo>
                <a:cubicBezTo>
                  <a:pt x="843" y="82"/>
                  <a:pt x="842" y="81"/>
                  <a:pt x="841" y="81"/>
                </a:cubicBezTo>
                <a:cubicBezTo>
                  <a:pt x="841" y="82"/>
                  <a:pt x="842" y="82"/>
                  <a:pt x="843" y="82"/>
                </a:cubicBezTo>
                <a:cubicBezTo>
                  <a:pt x="845" y="82"/>
                  <a:pt x="843" y="82"/>
                  <a:pt x="842" y="83"/>
                </a:cubicBezTo>
                <a:cubicBezTo>
                  <a:pt x="843" y="83"/>
                  <a:pt x="843" y="83"/>
                  <a:pt x="843" y="83"/>
                </a:cubicBezTo>
                <a:cubicBezTo>
                  <a:pt x="844" y="83"/>
                  <a:pt x="844" y="83"/>
                  <a:pt x="844" y="83"/>
                </a:cubicBezTo>
                <a:cubicBezTo>
                  <a:pt x="844" y="84"/>
                  <a:pt x="845" y="83"/>
                  <a:pt x="845" y="83"/>
                </a:cubicBezTo>
                <a:cubicBezTo>
                  <a:pt x="845" y="83"/>
                  <a:pt x="846" y="84"/>
                  <a:pt x="847" y="84"/>
                </a:cubicBezTo>
                <a:cubicBezTo>
                  <a:pt x="847" y="83"/>
                  <a:pt x="847" y="83"/>
                  <a:pt x="848" y="83"/>
                </a:cubicBezTo>
                <a:cubicBezTo>
                  <a:pt x="848" y="83"/>
                  <a:pt x="848" y="83"/>
                  <a:pt x="849" y="83"/>
                </a:cubicBezTo>
                <a:cubicBezTo>
                  <a:pt x="850" y="83"/>
                  <a:pt x="850" y="82"/>
                  <a:pt x="851" y="82"/>
                </a:cubicBezTo>
                <a:cubicBezTo>
                  <a:pt x="851" y="81"/>
                  <a:pt x="850" y="78"/>
                  <a:pt x="852" y="78"/>
                </a:cubicBezTo>
                <a:cubicBezTo>
                  <a:pt x="854" y="78"/>
                  <a:pt x="856" y="78"/>
                  <a:pt x="858" y="78"/>
                </a:cubicBezTo>
                <a:cubicBezTo>
                  <a:pt x="861" y="78"/>
                  <a:pt x="864" y="78"/>
                  <a:pt x="866" y="79"/>
                </a:cubicBezTo>
                <a:cubicBezTo>
                  <a:pt x="868" y="79"/>
                  <a:pt x="870" y="79"/>
                  <a:pt x="872" y="80"/>
                </a:cubicBezTo>
                <a:cubicBezTo>
                  <a:pt x="874" y="80"/>
                  <a:pt x="875" y="81"/>
                  <a:pt x="876" y="81"/>
                </a:cubicBezTo>
                <a:cubicBezTo>
                  <a:pt x="876" y="82"/>
                  <a:pt x="877" y="82"/>
                  <a:pt x="876" y="82"/>
                </a:cubicBezTo>
                <a:cubicBezTo>
                  <a:pt x="875" y="83"/>
                  <a:pt x="874" y="82"/>
                  <a:pt x="874" y="82"/>
                </a:cubicBezTo>
                <a:cubicBezTo>
                  <a:pt x="873" y="82"/>
                  <a:pt x="872" y="81"/>
                  <a:pt x="871" y="81"/>
                </a:cubicBezTo>
                <a:cubicBezTo>
                  <a:pt x="871" y="81"/>
                  <a:pt x="871" y="82"/>
                  <a:pt x="871" y="83"/>
                </a:cubicBezTo>
                <a:cubicBezTo>
                  <a:pt x="871" y="83"/>
                  <a:pt x="869" y="82"/>
                  <a:pt x="869" y="82"/>
                </a:cubicBezTo>
                <a:cubicBezTo>
                  <a:pt x="870" y="83"/>
                  <a:pt x="871" y="83"/>
                  <a:pt x="871" y="83"/>
                </a:cubicBezTo>
                <a:cubicBezTo>
                  <a:pt x="871" y="83"/>
                  <a:pt x="870" y="83"/>
                  <a:pt x="870" y="83"/>
                </a:cubicBezTo>
                <a:cubicBezTo>
                  <a:pt x="871" y="84"/>
                  <a:pt x="872" y="83"/>
                  <a:pt x="873" y="83"/>
                </a:cubicBezTo>
                <a:cubicBezTo>
                  <a:pt x="874" y="83"/>
                  <a:pt x="875" y="84"/>
                  <a:pt x="876" y="84"/>
                </a:cubicBezTo>
                <a:cubicBezTo>
                  <a:pt x="877" y="84"/>
                  <a:pt x="878" y="83"/>
                  <a:pt x="879" y="84"/>
                </a:cubicBezTo>
                <a:cubicBezTo>
                  <a:pt x="879" y="84"/>
                  <a:pt x="880" y="84"/>
                  <a:pt x="880" y="84"/>
                </a:cubicBezTo>
                <a:cubicBezTo>
                  <a:pt x="880" y="85"/>
                  <a:pt x="879" y="84"/>
                  <a:pt x="879" y="84"/>
                </a:cubicBezTo>
                <a:cubicBezTo>
                  <a:pt x="879" y="84"/>
                  <a:pt x="880" y="85"/>
                  <a:pt x="880" y="85"/>
                </a:cubicBezTo>
                <a:cubicBezTo>
                  <a:pt x="880" y="85"/>
                  <a:pt x="880" y="85"/>
                  <a:pt x="880" y="85"/>
                </a:cubicBezTo>
                <a:cubicBezTo>
                  <a:pt x="882" y="85"/>
                  <a:pt x="883" y="85"/>
                  <a:pt x="884" y="85"/>
                </a:cubicBezTo>
                <a:cubicBezTo>
                  <a:pt x="885" y="85"/>
                  <a:pt x="885" y="85"/>
                  <a:pt x="886" y="86"/>
                </a:cubicBezTo>
                <a:cubicBezTo>
                  <a:pt x="886" y="86"/>
                  <a:pt x="886" y="86"/>
                  <a:pt x="886" y="86"/>
                </a:cubicBezTo>
                <a:cubicBezTo>
                  <a:pt x="886" y="87"/>
                  <a:pt x="884" y="88"/>
                  <a:pt x="884" y="88"/>
                </a:cubicBezTo>
                <a:cubicBezTo>
                  <a:pt x="885" y="88"/>
                  <a:pt x="885" y="87"/>
                  <a:pt x="885" y="87"/>
                </a:cubicBezTo>
                <a:cubicBezTo>
                  <a:pt x="886" y="87"/>
                  <a:pt x="886" y="87"/>
                  <a:pt x="886" y="87"/>
                </a:cubicBezTo>
                <a:cubicBezTo>
                  <a:pt x="886" y="87"/>
                  <a:pt x="886" y="86"/>
                  <a:pt x="887" y="86"/>
                </a:cubicBezTo>
                <a:cubicBezTo>
                  <a:pt x="887" y="86"/>
                  <a:pt x="887" y="87"/>
                  <a:pt x="888" y="87"/>
                </a:cubicBezTo>
                <a:cubicBezTo>
                  <a:pt x="888" y="86"/>
                  <a:pt x="889" y="86"/>
                  <a:pt x="890" y="86"/>
                </a:cubicBezTo>
                <a:cubicBezTo>
                  <a:pt x="892" y="86"/>
                  <a:pt x="894" y="87"/>
                  <a:pt x="896" y="88"/>
                </a:cubicBezTo>
                <a:cubicBezTo>
                  <a:pt x="897" y="88"/>
                  <a:pt x="898" y="88"/>
                  <a:pt x="899" y="89"/>
                </a:cubicBezTo>
                <a:cubicBezTo>
                  <a:pt x="900" y="89"/>
                  <a:pt x="901" y="89"/>
                  <a:pt x="901" y="90"/>
                </a:cubicBezTo>
                <a:cubicBezTo>
                  <a:pt x="900" y="90"/>
                  <a:pt x="899" y="90"/>
                  <a:pt x="898" y="90"/>
                </a:cubicBezTo>
                <a:cubicBezTo>
                  <a:pt x="900" y="90"/>
                  <a:pt x="901" y="90"/>
                  <a:pt x="903" y="91"/>
                </a:cubicBezTo>
                <a:cubicBezTo>
                  <a:pt x="904" y="91"/>
                  <a:pt x="906" y="91"/>
                  <a:pt x="906" y="91"/>
                </a:cubicBezTo>
                <a:cubicBezTo>
                  <a:pt x="906" y="91"/>
                  <a:pt x="909" y="91"/>
                  <a:pt x="909" y="91"/>
                </a:cubicBezTo>
                <a:cubicBezTo>
                  <a:pt x="909" y="91"/>
                  <a:pt x="910" y="91"/>
                  <a:pt x="911" y="91"/>
                </a:cubicBezTo>
                <a:cubicBezTo>
                  <a:pt x="912" y="91"/>
                  <a:pt x="910" y="91"/>
                  <a:pt x="911" y="91"/>
                </a:cubicBezTo>
                <a:cubicBezTo>
                  <a:pt x="912" y="91"/>
                  <a:pt x="913" y="91"/>
                  <a:pt x="914" y="91"/>
                </a:cubicBezTo>
                <a:cubicBezTo>
                  <a:pt x="915" y="90"/>
                  <a:pt x="916" y="90"/>
                  <a:pt x="917" y="90"/>
                </a:cubicBezTo>
                <a:cubicBezTo>
                  <a:pt x="918" y="90"/>
                  <a:pt x="919" y="90"/>
                  <a:pt x="920" y="89"/>
                </a:cubicBezTo>
                <a:cubicBezTo>
                  <a:pt x="921" y="89"/>
                  <a:pt x="922" y="89"/>
                  <a:pt x="923" y="89"/>
                </a:cubicBezTo>
                <a:cubicBezTo>
                  <a:pt x="923" y="89"/>
                  <a:pt x="924" y="89"/>
                  <a:pt x="924" y="89"/>
                </a:cubicBezTo>
                <a:cubicBezTo>
                  <a:pt x="924" y="90"/>
                  <a:pt x="925" y="90"/>
                  <a:pt x="925" y="90"/>
                </a:cubicBezTo>
                <a:cubicBezTo>
                  <a:pt x="924" y="89"/>
                  <a:pt x="926" y="89"/>
                  <a:pt x="926" y="89"/>
                </a:cubicBezTo>
                <a:cubicBezTo>
                  <a:pt x="928" y="89"/>
                  <a:pt x="930" y="89"/>
                  <a:pt x="932" y="89"/>
                </a:cubicBezTo>
                <a:cubicBezTo>
                  <a:pt x="937" y="89"/>
                  <a:pt x="941" y="89"/>
                  <a:pt x="945" y="90"/>
                </a:cubicBezTo>
                <a:cubicBezTo>
                  <a:pt x="949" y="90"/>
                  <a:pt x="953" y="91"/>
                  <a:pt x="957" y="92"/>
                </a:cubicBezTo>
                <a:cubicBezTo>
                  <a:pt x="959" y="93"/>
                  <a:pt x="961" y="94"/>
                  <a:pt x="963" y="95"/>
                </a:cubicBezTo>
                <a:cubicBezTo>
                  <a:pt x="964" y="95"/>
                  <a:pt x="964" y="96"/>
                  <a:pt x="965" y="96"/>
                </a:cubicBezTo>
                <a:cubicBezTo>
                  <a:pt x="965" y="96"/>
                  <a:pt x="965" y="96"/>
                  <a:pt x="965" y="97"/>
                </a:cubicBezTo>
                <a:cubicBezTo>
                  <a:pt x="966" y="97"/>
                  <a:pt x="966" y="97"/>
                  <a:pt x="966" y="98"/>
                </a:cubicBezTo>
                <a:cubicBezTo>
                  <a:pt x="966" y="98"/>
                  <a:pt x="965" y="97"/>
                  <a:pt x="964" y="97"/>
                </a:cubicBezTo>
                <a:cubicBezTo>
                  <a:pt x="965" y="98"/>
                  <a:pt x="966" y="98"/>
                  <a:pt x="966" y="98"/>
                </a:cubicBezTo>
                <a:cubicBezTo>
                  <a:pt x="967" y="98"/>
                  <a:pt x="967" y="98"/>
                  <a:pt x="967" y="99"/>
                </a:cubicBezTo>
                <a:cubicBezTo>
                  <a:pt x="967" y="99"/>
                  <a:pt x="967" y="99"/>
                  <a:pt x="967" y="99"/>
                </a:cubicBezTo>
                <a:cubicBezTo>
                  <a:pt x="967" y="100"/>
                  <a:pt x="969" y="100"/>
                  <a:pt x="969" y="101"/>
                </a:cubicBezTo>
                <a:cubicBezTo>
                  <a:pt x="970" y="100"/>
                  <a:pt x="971" y="101"/>
                  <a:pt x="971" y="101"/>
                </a:cubicBezTo>
                <a:cubicBezTo>
                  <a:pt x="972" y="101"/>
                  <a:pt x="973" y="101"/>
                  <a:pt x="974" y="102"/>
                </a:cubicBezTo>
                <a:cubicBezTo>
                  <a:pt x="975" y="102"/>
                  <a:pt x="975" y="102"/>
                  <a:pt x="976" y="102"/>
                </a:cubicBezTo>
                <a:cubicBezTo>
                  <a:pt x="977" y="102"/>
                  <a:pt x="978" y="102"/>
                  <a:pt x="979" y="102"/>
                </a:cubicBezTo>
                <a:cubicBezTo>
                  <a:pt x="981" y="103"/>
                  <a:pt x="981" y="103"/>
                  <a:pt x="983" y="102"/>
                </a:cubicBezTo>
                <a:cubicBezTo>
                  <a:pt x="983" y="102"/>
                  <a:pt x="983" y="102"/>
                  <a:pt x="984" y="102"/>
                </a:cubicBezTo>
                <a:cubicBezTo>
                  <a:pt x="984" y="102"/>
                  <a:pt x="985" y="102"/>
                  <a:pt x="985" y="102"/>
                </a:cubicBezTo>
                <a:cubicBezTo>
                  <a:pt x="986" y="102"/>
                  <a:pt x="986" y="102"/>
                  <a:pt x="987" y="102"/>
                </a:cubicBezTo>
                <a:cubicBezTo>
                  <a:pt x="988" y="102"/>
                  <a:pt x="989" y="102"/>
                  <a:pt x="988" y="102"/>
                </a:cubicBezTo>
                <a:cubicBezTo>
                  <a:pt x="989" y="102"/>
                  <a:pt x="990" y="102"/>
                  <a:pt x="991" y="102"/>
                </a:cubicBezTo>
                <a:cubicBezTo>
                  <a:pt x="992" y="102"/>
                  <a:pt x="993" y="101"/>
                  <a:pt x="994" y="101"/>
                </a:cubicBezTo>
                <a:cubicBezTo>
                  <a:pt x="995" y="101"/>
                  <a:pt x="996" y="102"/>
                  <a:pt x="997" y="102"/>
                </a:cubicBezTo>
                <a:cubicBezTo>
                  <a:pt x="997" y="102"/>
                  <a:pt x="998" y="101"/>
                  <a:pt x="999" y="101"/>
                </a:cubicBezTo>
                <a:cubicBezTo>
                  <a:pt x="999" y="101"/>
                  <a:pt x="1000" y="101"/>
                  <a:pt x="1001" y="102"/>
                </a:cubicBezTo>
                <a:cubicBezTo>
                  <a:pt x="1002" y="102"/>
                  <a:pt x="1003" y="102"/>
                  <a:pt x="1004" y="102"/>
                </a:cubicBezTo>
                <a:cubicBezTo>
                  <a:pt x="1006" y="103"/>
                  <a:pt x="1008" y="102"/>
                  <a:pt x="1010" y="102"/>
                </a:cubicBezTo>
                <a:cubicBezTo>
                  <a:pt x="1012" y="102"/>
                  <a:pt x="1014" y="103"/>
                  <a:pt x="1016" y="103"/>
                </a:cubicBezTo>
                <a:cubicBezTo>
                  <a:pt x="1018" y="103"/>
                  <a:pt x="1020" y="103"/>
                  <a:pt x="1021" y="103"/>
                </a:cubicBezTo>
                <a:cubicBezTo>
                  <a:pt x="1023" y="103"/>
                  <a:pt x="1024" y="103"/>
                  <a:pt x="1024" y="101"/>
                </a:cubicBezTo>
                <a:cubicBezTo>
                  <a:pt x="1025" y="100"/>
                  <a:pt x="1026" y="101"/>
                  <a:pt x="1026" y="101"/>
                </a:cubicBezTo>
                <a:cubicBezTo>
                  <a:pt x="1027" y="101"/>
                  <a:pt x="1027" y="101"/>
                  <a:pt x="1028" y="101"/>
                </a:cubicBezTo>
                <a:cubicBezTo>
                  <a:pt x="1027" y="102"/>
                  <a:pt x="1028" y="102"/>
                  <a:pt x="1028" y="102"/>
                </a:cubicBezTo>
                <a:cubicBezTo>
                  <a:pt x="1029" y="102"/>
                  <a:pt x="1030" y="102"/>
                  <a:pt x="1030" y="103"/>
                </a:cubicBezTo>
                <a:cubicBezTo>
                  <a:pt x="1031" y="103"/>
                  <a:pt x="1032" y="103"/>
                  <a:pt x="1033" y="104"/>
                </a:cubicBezTo>
                <a:cubicBezTo>
                  <a:pt x="1034" y="105"/>
                  <a:pt x="1036" y="106"/>
                  <a:pt x="1038" y="106"/>
                </a:cubicBezTo>
                <a:cubicBezTo>
                  <a:pt x="1039" y="106"/>
                  <a:pt x="1040" y="106"/>
                  <a:pt x="1041" y="106"/>
                </a:cubicBezTo>
                <a:cubicBezTo>
                  <a:pt x="1043" y="107"/>
                  <a:pt x="1044" y="107"/>
                  <a:pt x="1046" y="108"/>
                </a:cubicBezTo>
                <a:cubicBezTo>
                  <a:pt x="1047" y="108"/>
                  <a:pt x="1048" y="109"/>
                  <a:pt x="1049" y="110"/>
                </a:cubicBezTo>
                <a:cubicBezTo>
                  <a:pt x="1051" y="110"/>
                  <a:pt x="1053" y="110"/>
                  <a:pt x="1054" y="110"/>
                </a:cubicBezTo>
                <a:cubicBezTo>
                  <a:pt x="1055" y="110"/>
                  <a:pt x="1055" y="110"/>
                  <a:pt x="1056" y="110"/>
                </a:cubicBezTo>
                <a:cubicBezTo>
                  <a:pt x="1057" y="110"/>
                  <a:pt x="1057" y="110"/>
                  <a:pt x="1058" y="110"/>
                </a:cubicBezTo>
                <a:cubicBezTo>
                  <a:pt x="1058" y="110"/>
                  <a:pt x="1056" y="109"/>
                  <a:pt x="1056" y="109"/>
                </a:cubicBezTo>
                <a:cubicBezTo>
                  <a:pt x="1056" y="108"/>
                  <a:pt x="1058" y="109"/>
                  <a:pt x="1058" y="110"/>
                </a:cubicBezTo>
                <a:cubicBezTo>
                  <a:pt x="1058" y="109"/>
                  <a:pt x="1056" y="109"/>
                  <a:pt x="1057" y="108"/>
                </a:cubicBezTo>
                <a:cubicBezTo>
                  <a:pt x="1057" y="108"/>
                  <a:pt x="1057" y="107"/>
                  <a:pt x="1057" y="107"/>
                </a:cubicBezTo>
                <a:cubicBezTo>
                  <a:pt x="1058" y="107"/>
                  <a:pt x="1058" y="108"/>
                  <a:pt x="1058" y="108"/>
                </a:cubicBezTo>
                <a:cubicBezTo>
                  <a:pt x="1058" y="107"/>
                  <a:pt x="1057" y="107"/>
                  <a:pt x="1057" y="107"/>
                </a:cubicBezTo>
                <a:cubicBezTo>
                  <a:pt x="1056" y="107"/>
                  <a:pt x="1056" y="107"/>
                  <a:pt x="1055" y="106"/>
                </a:cubicBezTo>
                <a:cubicBezTo>
                  <a:pt x="1055" y="106"/>
                  <a:pt x="1054" y="106"/>
                  <a:pt x="1054" y="105"/>
                </a:cubicBezTo>
                <a:cubicBezTo>
                  <a:pt x="1053" y="105"/>
                  <a:pt x="1053" y="105"/>
                  <a:pt x="1052" y="105"/>
                </a:cubicBezTo>
                <a:cubicBezTo>
                  <a:pt x="1051" y="104"/>
                  <a:pt x="1049" y="103"/>
                  <a:pt x="1048" y="103"/>
                </a:cubicBezTo>
                <a:cubicBezTo>
                  <a:pt x="1047" y="102"/>
                  <a:pt x="1046" y="102"/>
                  <a:pt x="1045" y="102"/>
                </a:cubicBezTo>
                <a:cubicBezTo>
                  <a:pt x="1044" y="102"/>
                  <a:pt x="1043" y="102"/>
                  <a:pt x="1043" y="101"/>
                </a:cubicBezTo>
                <a:cubicBezTo>
                  <a:pt x="1043" y="101"/>
                  <a:pt x="1045" y="101"/>
                  <a:pt x="1044" y="101"/>
                </a:cubicBezTo>
                <a:cubicBezTo>
                  <a:pt x="1044" y="100"/>
                  <a:pt x="1043" y="100"/>
                  <a:pt x="1042" y="99"/>
                </a:cubicBezTo>
                <a:cubicBezTo>
                  <a:pt x="1041" y="99"/>
                  <a:pt x="1041" y="98"/>
                  <a:pt x="1040" y="98"/>
                </a:cubicBezTo>
                <a:cubicBezTo>
                  <a:pt x="1040" y="98"/>
                  <a:pt x="1039" y="98"/>
                  <a:pt x="1039" y="98"/>
                </a:cubicBezTo>
                <a:cubicBezTo>
                  <a:pt x="1040" y="97"/>
                  <a:pt x="1042" y="98"/>
                  <a:pt x="1043" y="98"/>
                </a:cubicBezTo>
                <a:cubicBezTo>
                  <a:pt x="1045" y="98"/>
                  <a:pt x="1046" y="98"/>
                  <a:pt x="1048" y="98"/>
                </a:cubicBezTo>
                <a:cubicBezTo>
                  <a:pt x="1050" y="99"/>
                  <a:pt x="1052" y="99"/>
                  <a:pt x="1054" y="99"/>
                </a:cubicBezTo>
                <a:cubicBezTo>
                  <a:pt x="1055" y="99"/>
                  <a:pt x="1056" y="99"/>
                  <a:pt x="1057" y="99"/>
                </a:cubicBezTo>
                <a:cubicBezTo>
                  <a:pt x="1057" y="99"/>
                  <a:pt x="1058" y="99"/>
                  <a:pt x="1058" y="99"/>
                </a:cubicBezTo>
                <a:cubicBezTo>
                  <a:pt x="1060" y="100"/>
                  <a:pt x="1061" y="100"/>
                  <a:pt x="1063" y="101"/>
                </a:cubicBezTo>
                <a:cubicBezTo>
                  <a:pt x="1063" y="101"/>
                  <a:pt x="1064" y="101"/>
                  <a:pt x="1064" y="100"/>
                </a:cubicBezTo>
                <a:cubicBezTo>
                  <a:pt x="1064" y="100"/>
                  <a:pt x="1061" y="100"/>
                  <a:pt x="1061" y="100"/>
                </a:cubicBezTo>
                <a:cubicBezTo>
                  <a:pt x="1060" y="100"/>
                  <a:pt x="1062" y="99"/>
                  <a:pt x="1062" y="99"/>
                </a:cubicBezTo>
                <a:cubicBezTo>
                  <a:pt x="1062" y="99"/>
                  <a:pt x="1063" y="99"/>
                  <a:pt x="1063" y="99"/>
                </a:cubicBezTo>
                <a:cubicBezTo>
                  <a:pt x="1064" y="99"/>
                  <a:pt x="1065" y="100"/>
                  <a:pt x="1066" y="100"/>
                </a:cubicBezTo>
                <a:cubicBezTo>
                  <a:pt x="1066" y="100"/>
                  <a:pt x="1066" y="100"/>
                  <a:pt x="1066" y="100"/>
                </a:cubicBezTo>
                <a:cubicBezTo>
                  <a:pt x="1066" y="100"/>
                  <a:pt x="1066" y="100"/>
                  <a:pt x="1067" y="100"/>
                </a:cubicBezTo>
                <a:cubicBezTo>
                  <a:pt x="1067" y="100"/>
                  <a:pt x="1067" y="100"/>
                  <a:pt x="1067" y="100"/>
                </a:cubicBezTo>
                <a:cubicBezTo>
                  <a:pt x="1068" y="100"/>
                  <a:pt x="1069" y="100"/>
                  <a:pt x="1070" y="100"/>
                </a:cubicBezTo>
                <a:cubicBezTo>
                  <a:pt x="1072" y="100"/>
                  <a:pt x="1074" y="100"/>
                  <a:pt x="1076" y="100"/>
                </a:cubicBezTo>
                <a:cubicBezTo>
                  <a:pt x="1076" y="100"/>
                  <a:pt x="1077" y="100"/>
                  <a:pt x="1078" y="100"/>
                </a:cubicBezTo>
                <a:cubicBezTo>
                  <a:pt x="1078" y="99"/>
                  <a:pt x="1079" y="100"/>
                  <a:pt x="1080" y="100"/>
                </a:cubicBezTo>
                <a:cubicBezTo>
                  <a:pt x="1080" y="100"/>
                  <a:pt x="1084" y="100"/>
                  <a:pt x="1084" y="101"/>
                </a:cubicBezTo>
                <a:cubicBezTo>
                  <a:pt x="1085" y="101"/>
                  <a:pt x="1086" y="101"/>
                  <a:pt x="1087" y="101"/>
                </a:cubicBezTo>
                <a:cubicBezTo>
                  <a:pt x="1088" y="101"/>
                  <a:pt x="1089" y="102"/>
                  <a:pt x="1090" y="102"/>
                </a:cubicBezTo>
                <a:cubicBezTo>
                  <a:pt x="1091" y="102"/>
                  <a:pt x="1093" y="102"/>
                  <a:pt x="1094" y="102"/>
                </a:cubicBezTo>
                <a:cubicBezTo>
                  <a:pt x="1095" y="102"/>
                  <a:pt x="1096" y="102"/>
                  <a:pt x="1097" y="103"/>
                </a:cubicBezTo>
                <a:cubicBezTo>
                  <a:pt x="1096" y="103"/>
                  <a:pt x="1098" y="103"/>
                  <a:pt x="1099" y="103"/>
                </a:cubicBezTo>
                <a:cubicBezTo>
                  <a:pt x="1099" y="103"/>
                  <a:pt x="1100" y="103"/>
                  <a:pt x="1100" y="103"/>
                </a:cubicBezTo>
                <a:cubicBezTo>
                  <a:pt x="1101" y="103"/>
                  <a:pt x="1103" y="104"/>
                  <a:pt x="1103" y="104"/>
                </a:cubicBezTo>
                <a:cubicBezTo>
                  <a:pt x="1103" y="104"/>
                  <a:pt x="1103" y="104"/>
                  <a:pt x="1103" y="104"/>
                </a:cubicBezTo>
                <a:cubicBezTo>
                  <a:pt x="1104" y="103"/>
                  <a:pt x="1105" y="104"/>
                  <a:pt x="1106" y="104"/>
                </a:cubicBezTo>
                <a:cubicBezTo>
                  <a:pt x="1108" y="104"/>
                  <a:pt x="1109" y="104"/>
                  <a:pt x="1110" y="105"/>
                </a:cubicBezTo>
                <a:cubicBezTo>
                  <a:pt x="1109" y="105"/>
                  <a:pt x="1108" y="105"/>
                  <a:pt x="1107" y="104"/>
                </a:cubicBezTo>
                <a:cubicBezTo>
                  <a:pt x="1108" y="105"/>
                  <a:pt x="1108" y="105"/>
                  <a:pt x="1110" y="105"/>
                </a:cubicBezTo>
                <a:cubicBezTo>
                  <a:pt x="1111" y="105"/>
                  <a:pt x="1113" y="105"/>
                  <a:pt x="1114" y="106"/>
                </a:cubicBezTo>
                <a:cubicBezTo>
                  <a:pt x="1115" y="106"/>
                  <a:pt x="1117" y="107"/>
                  <a:pt x="1118" y="107"/>
                </a:cubicBezTo>
                <a:cubicBezTo>
                  <a:pt x="1119" y="107"/>
                  <a:pt x="1120" y="108"/>
                  <a:pt x="1120" y="108"/>
                </a:cubicBezTo>
                <a:cubicBezTo>
                  <a:pt x="1121" y="108"/>
                  <a:pt x="1121" y="108"/>
                  <a:pt x="1122" y="108"/>
                </a:cubicBezTo>
                <a:cubicBezTo>
                  <a:pt x="1122" y="108"/>
                  <a:pt x="1122" y="108"/>
                  <a:pt x="1122" y="108"/>
                </a:cubicBezTo>
                <a:cubicBezTo>
                  <a:pt x="1123" y="108"/>
                  <a:pt x="1125" y="109"/>
                  <a:pt x="1126" y="109"/>
                </a:cubicBezTo>
                <a:cubicBezTo>
                  <a:pt x="1126" y="109"/>
                  <a:pt x="1125" y="108"/>
                  <a:pt x="1125" y="108"/>
                </a:cubicBezTo>
                <a:cubicBezTo>
                  <a:pt x="1126" y="108"/>
                  <a:pt x="1126" y="109"/>
                  <a:pt x="1127" y="109"/>
                </a:cubicBezTo>
                <a:cubicBezTo>
                  <a:pt x="1127" y="109"/>
                  <a:pt x="1128" y="109"/>
                  <a:pt x="1128" y="109"/>
                </a:cubicBezTo>
                <a:cubicBezTo>
                  <a:pt x="1128" y="110"/>
                  <a:pt x="1129" y="110"/>
                  <a:pt x="1130" y="110"/>
                </a:cubicBezTo>
                <a:cubicBezTo>
                  <a:pt x="1130" y="110"/>
                  <a:pt x="1131" y="110"/>
                  <a:pt x="1132" y="110"/>
                </a:cubicBezTo>
                <a:cubicBezTo>
                  <a:pt x="1134" y="110"/>
                  <a:pt x="1136" y="111"/>
                  <a:pt x="1137" y="112"/>
                </a:cubicBezTo>
                <a:cubicBezTo>
                  <a:pt x="1137" y="112"/>
                  <a:pt x="1136" y="111"/>
                  <a:pt x="1135" y="111"/>
                </a:cubicBezTo>
                <a:cubicBezTo>
                  <a:pt x="1136" y="112"/>
                  <a:pt x="1137" y="112"/>
                  <a:pt x="1138" y="112"/>
                </a:cubicBezTo>
                <a:cubicBezTo>
                  <a:pt x="1140" y="113"/>
                  <a:pt x="1141" y="113"/>
                  <a:pt x="1143" y="113"/>
                </a:cubicBezTo>
                <a:cubicBezTo>
                  <a:pt x="1143" y="113"/>
                  <a:pt x="1145" y="114"/>
                  <a:pt x="1145" y="114"/>
                </a:cubicBezTo>
                <a:cubicBezTo>
                  <a:pt x="1145" y="115"/>
                  <a:pt x="1146" y="114"/>
                  <a:pt x="1147" y="114"/>
                </a:cubicBezTo>
                <a:cubicBezTo>
                  <a:pt x="1147" y="114"/>
                  <a:pt x="1146" y="114"/>
                  <a:pt x="1146" y="114"/>
                </a:cubicBezTo>
                <a:cubicBezTo>
                  <a:pt x="1147" y="114"/>
                  <a:pt x="1148" y="114"/>
                  <a:pt x="1149" y="115"/>
                </a:cubicBezTo>
                <a:cubicBezTo>
                  <a:pt x="1148" y="115"/>
                  <a:pt x="1148" y="114"/>
                  <a:pt x="1148" y="115"/>
                </a:cubicBezTo>
                <a:cubicBezTo>
                  <a:pt x="1148" y="115"/>
                  <a:pt x="1149" y="116"/>
                  <a:pt x="1150" y="115"/>
                </a:cubicBezTo>
                <a:cubicBezTo>
                  <a:pt x="1150" y="114"/>
                  <a:pt x="1152" y="115"/>
                  <a:pt x="1152" y="115"/>
                </a:cubicBezTo>
                <a:cubicBezTo>
                  <a:pt x="1152" y="115"/>
                  <a:pt x="1152" y="115"/>
                  <a:pt x="1152" y="115"/>
                </a:cubicBezTo>
                <a:cubicBezTo>
                  <a:pt x="1152" y="116"/>
                  <a:pt x="1153" y="116"/>
                  <a:pt x="1153" y="116"/>
                </a:cubicBezTo>
                <a:cubicBezTo>
                  <a:pt x="1153" y="116"/>
                  <a:pt x="1154" y="116"/>
                  <a:pt x="1154" y="116"/>
                </a:cubicBezTo>
                <a:cubicBezTo>
                  <a:pt x="1155" y="116"/>
                  <a:pt x="1157" y="116"/>
                  <a:pt x="1159" y="117"/>
                </a:cubicBezTo>
                <a:cubicBezTo>
                  <a:pt x="1161" y="117"/>
                  <a:pt x="1162" y="117"/>
                  <a:pt x="1164" y="118"/>
                </a:cubicBezTo>
                <a:cubicBezTo>
                  <a:pt x="1166" y="118"/>
                  <a:pt x="1168" y="119"/>
                  <a:pt x="1170" y="119"/>
                </a:cubicBezTo>
                <a:cubicBezTo>
                  <a:pt x="1170" y="120"/>
                  <a:pt x="1171" y="120"/>
                  <a:pt x="1172" y="120"/>
                </a:cubicBezTo>
                <a:cubicBezTo>
                  <a:pt x="1172" y="120"/>
                  <a:pt x="1173" y="120"/>
                  <a:pt x="1173" y="121"/>
                </a:cubicBezTo>
                <a:cubicBezTo>
                  <a:pt x="1174" y="121"/>
                  <a:pt x="1174" y="121"/>
                  <a:pt x="1175" y="121"/>
                </a:cubicBezTo>
                <a:cubicBezTo>
                  <a:pt x="1176" y="122"/>
                  <a:pt x="1176" y="122"/>
                  <a:pt x="1177" y="122"/>
                </a:cubicBezTo>
                <a:cubicBezTo>
                  <a:pt x="1176" y="122"/>
                  <a:pt x="1176" y="122"/>
                  <a:pt x="1176" y="122"/>
                </a:cubicBezTo>
                <a:cubicBezTo>
                  <a:pt x="1176" y="122"/>
                  <a:pt x="1176" y="122"/>
                  <a:pt x="1177" y="123"/>
                </a:cubicBezTo>
                <a:cubicBezTo>
                  <a:pt x="1177" y="123"/>
                  <a:pt x="1177" y="123"/>
                  <a:pt x="1178" y="123"/>
                </a:cubicBezTo>
                <a:cubicBezTo>
                  <a:pt x="1179" y="123"/>
                  <a:pt x="1179" y="123"/>
                  <a:pt x="1178" y="122"/>
                </a:cubicBezTo>
                <a:cubicBezTo>
                  <a:pt x="1178" y="122"/>
                  <a:pt x="1179" y="123"/>
                  <a:pt x="1180" y="123"/>
                </a:cubicBezTo>
                <a:cubicBezTo>
                  <a:pt x="1181" y="123"/>
                  <a:pt x="1182" y="123"/>
                  <a:pt x="1182" y="124"/>
                </a:cubicBezTo>
                <a:cubicBezTo>
                  <a:pt x="1182" y="124"/>
                  <a:pt x="1182" y="124"/>
                  <a:pt x="1181" y="124"/>
                </a:cubicBezTo>
                <a:cubicBezTo>
                  <a:pt x="1181" y="124"/>
                  <a:pt x="1184" y="126"/>
                  <a:pt x="1184" y="126"/>
                </a:cubicBezTo>
                <a:cubicBezTo>
                  <a:pt x="1185" y="127"/>
                  <a:pt x="1186" y="127"/>
                  <a:pt x="1188" y="127"/>
                </a:cubicBezTo>
                <a:cubicBezTo>
                  <a:pt x="1187" y="127"/>
                  <a:pt x="1190" y="129"/>
                  <a:pt x="1190" y="129"/>
                </a:cubicBezTo>
                <a:cubicBezTo>
                  <a:pt x="1190" y="129"/>
                  <a:pt x="1190" y="129"/>
                  <a:pt x="1189" y="129"/>
                </a:cubicBezTo>
                <a:cubicBezTo>
                  <a:pt x="1190" y="129"/>
                  <a:pt x="1189" y="130"/>
                  <a:pt x="1189" y="130"/>
                </a:cubicBezTo>
                <a:cubicBezTo>
                  <a:pt x="1192" y="131"/>
                  <a:pt x="1194" y="130"/>
                  <a:pt x="1196" y="132"/>
                </a:cubicBezTo>
                <a:cubicBezTo>
                  <a:pt x="1196" y="132"/>
                  <a:pt x="1196" y="132"/>
                  <a:pt x="1196" y="132"/>
                </a:cubicBezTo>
                <a:cubicBezTo>
                  <a:pt x="1196" y="132"/>
                  <a:pt x="1197" y="132"/>
                  <a:pt x="1198" y="133"/>
                </a:cubicBezTo>
                <a:cubicBezTo>
                  <a:pt x="1198" y="133"/>
                  <a:pt x="1199" y="134"/>
                  <a:pt x="1199" y="133"/>
                </a:cubicBezTo>
                <a:cubicBezTo>
                  <a:pt x="1199" y="133"/>
                  <a:pt x="1197" y="132"/>
                  <a:pt x="1198" y="132"/>
                </a:cubicBezTo>
                <a:cubicBezTo>
                  <a:pt x="1199" y="132"/>
                  <a:pt x="1198" y="132"/>
                  <a:pt x="1197" y="132"/>
                </a:cubicBezTo>
                <a:cubicBezTo>
                  <a:pt x="1198" y="132"/>
                  <a:pt x="1199" y="131"/>
                  <a:pt x="1200" y="132"/>
                </a:cubicBezTo>
                <a:cubicBezTo>
                  <a:pt x="1200" y="132"/>
                  <a:pt x="1201" y="133"/>
                  <a:pt x="1201" y="133"/>
                </a:cubicBezTo>
                <a:cubicBezTo>
                  <a:pt x="1200" y="133"/>
                  <a:pt x="1202" y="134"/>
                  <a:pt x="1203" y="134"/>
                </a:cubicBezTo>
                <a:cubicBezTo>
                  <a:pt x="1202" y="134"/>
                  <a:pt x="1202" y="134"/>
                  <a:pt x="1202" y="133"/>
                </a:cubicBezTo>
                <a:cubicBezTo>
                  <a:pt x="1202" y="133"/>
                  <a:pt x="1202" y="133"/>
                  <a:pt x="1202" y="133"/>
                </a:cubicBezTo>
                <a:cubicBezTo>
                  <a:pt x="1202" y="133"/>
                  <a:pt x="1202" y="133"/>
                  <a:pt x="1202" y="133"/>
                </a:cubicBezTo>
                <a:cubicBezTo>
                  <a:pt x="1202" y="132"/>
                  <a:pt x="1201" y="132"/>
                  <a:pt x="1200" y="132"/>
                </a:cubicBezTo>
                <a:cubicBezTo>
                  <a:pt x="1200" y="131"/>
                  <a:pt x="1199" y="131"/>
                  <a:pt x="1198" y="131"/>
                </a:cubicBezTo>
                <a:cubicBezTo>
                  <a:pt x="1197" y="131"/>
                  <a:pt x="1196" y="131"/>
                  <a:pt x="1196" y="131"/>
                </a:cubicBezTo>
                <a:cubicBezTo>
                  <a:pt x="1195" y="130"/>
                  <a:pt x="1196" y="130"/>
                  <a:pt x="1197" y="130"/>
                </a:cubicBezTo>
                <a:cubicBezTo>
                  <a:pt x="1195" y="129"/>
                  <a:pt x="1193" y="127"/>
                  <a:pt x="1191" y="127"/>
                </a:cubicBezTo>
                <a:cubicBezTo>
                  <a:pt x="1191" y="127"/>
                  <a:pt x="1190" y="127"/>
                  <a:pt x="1190" y="127"/>
                </a:cubicBezTo>
                <a:cubicBezTo>
                  <a:pt x="1190" y="127"/>
                  <a:pt x="1190" y="126"/>
                  <a:pt x="1190" y="126"/>
                </a:cubicBezTo>
                <a:cubicBezTo>
                  <a:pt x="1189" y="126"/>
                  <a:pt x="1188" y="127"/>
                  <a:pt x="1187" y="126"/>
                </a:cubicBezTo>
                <a:cubicBezTo>
                  <a:pt x="1187" y="126"/>
                  <a:pt x="1188" y="126"/>
                  <a:pt x="1188" y="126"/>
                </a:cubicBezTo>
                <a:cubicBezTo>
                  <a:pt x="1188" y="126"/>
                  <a:pt x="1186" y="126"/>
                  <a:pt x="1186" y="126"/>
                </a:cubicBezTo>
                <a:cubicBezTo>
                  <a:pt x="1186" y="125"/>
                  <a:pt x="1190" y="126"/>
                  <a:pt x="1191" y="126"/>
                </a:cubicBezTo>
                <a:cubicBezTo>
                  <a:pt x="1191" y="126"/>
                  <a:pt x="1193" y="126"/>
                  <a:pt x="1192" y="125"/>
                </a:cubicBezTo>
                <a:cubicBezTo>
                  <a:pt x="1193" y="125"/>
                  <a:pt x="1194" y="126"/>
                  <a:pt x="1194" y="126"/>
                </a:cubicBezTo>
                <a:cubicBezTo>
                  <a:pt x="1194" y="126"/>
                  <a:pt x="1195" y="126"/>
                  <a:pt x="1195" y="126"/>
                </a:cubicBezTo>
                <a:cubicBezTo>
                  <a:pt x="1195" y="126"/>
                  <a:pt x="1195" y="126"/>
                  <a:pt x="1195" y="126"/>
                </a:cubicBezTo>
                <a:cubicBezTo>
                  <a:pt x="1196" y="126"/>
                  <a:pt x="1197" y="126"/>
                  <a:pt x="1197" y="126"/>
                </a:cubicBezTo>
                <a:cubicBezTo>
                  <a:pt x="1197" y="126"/>
                  <a:pt x="1197" y="126"/>
                  <a:pt x="1196" y="126"/>
                </a:cubicBezTo>
                <a:cubicBezTo>
                  <a:pt x="1196" y="126"/>
                  <a:pt x="1198" y="127"/>
                  <a:pt x="1198" y="127"/>
                </a:cubicBezTo>
                <a:cubicBezTo>
                  <a:pt x="1197" y="127"/>
                  <a:pt x="1197" y="126"/>
                  <a:pt x="1197" y="127"/>
                </a:cubicBezTo>
                <a:cubicBezTo>
                  <a:pt x="1197" y="127"/>
                  <a:pt x="1198" y="127"/>
                  <a:pt x="1198" y="128"/>
                </a:cubicBezTo>
                <a:cubicBezTo>
                  <a:pt x="1198" y="128"/>
                  <a:pt x="1200" y="129"/>
                  <a:pt x="1200" y="128"/>
                </a:cubicBezTo>
                <a:cubicBezTo>
                  <a:pt x="1200" y="128"/>
                  <a:pt x="1198" y="127"/>
                  <a:pt x="1198" y="127"/>
                </a:cubicBezTo>
                <a:cubicBezTo>
                  <a:pt x="1198" y="126"/>
                  <a:pt x="1200" y="127"/>
                  <a:pt x="1201" y="127"/>
                </a:cubicBezTo>
                <a:cubicBezTo>
                  <a:pt x="1202" y="128"/>
                  <a:pt x="1202" y="127"/>
                  <a:pt x="1203" y="127"/>
                </a:cubicBezTo>
                <a:cubicBezTo>
                  <a:pt x="1203" y="127"/>
                  <a:pt x="1204" y="127"/>
                  <a:pt x="1204" y="127"/>
                </a:cubicBezTo>
                <a:cubicBezTo>
                  <a:pt x="1203" y="127"/>
                  <a:pt x="1202" y="127"/>
                  <a:pt x="1201" y="127"/>
                </a:cubicBezTo>
                <a:cubicBezTo>
                  <a:pt x="1200" y="127"/>
                  <a:pt x="1198" y="127"/>
                  <a:pt x="1198" y="126"/>
                </a:cubicBezTo>
                <a:cubicBezTo>
                  <a:pt x="1199" y="126"/>
                  <a:pt x="1200" y="126"/>
                  <a:pt x="1200" y="126"/>
                </a:cubicBezTo>
                <a:cubicBezTo>
                  <a:pt x="1201" y="126"/>
                  <a:pt x="1202" y="126"/>
                  <a:pt x="1203" y="127"/>
                </a:cubicBezTo>
                <a:cubicBezTo>
                  <a:pt x="1202" y="127"/>
                  <a:pt x="1201" y="126"/>
                  <a:pt x="1201" y="126"/>
                </a:cubicBezTo>
                <a:cubicBezTo>
                  <a:pt x="1202" y="127"/>
                  <a:pt x="1204" y="127"/>
                  <a:pt x="1205" y="127"/>
                </a:cubicBezTo>
                <a:cubicBezTo>
                  <a:pt x="1205" y="127"/>
                  <a:pt x="1206" y="127"/>
                  <a:pt x="1207" y="127"/>
                </a:cubicBezTo>
                <a:cubicBezTo>
                  <a:pt x="1207" y="127"/>
                  <a:pt x="1208" y="127"/>
                  <a:pt x="1208" y="127"/>
                </a:cubicBezTo>
                <a:cubicBezTo>
                  <a:pt x="1209" y="127"/>
                  <a:pt x="1210" y="128"/>
                  <a:pt x="1211" y="128"/>
                </a:cubicBezTo>
                <a:cubicBezTo>
                  <a:pt x="1212" y="128"/>
                  <a:pt x="1212" y="129"/>
                  <a:pt x="1213" y="129"/>
                </a:cubicBezTo>
                <a:cubicBezTo>
                  <a:pt x="1214" y="129"/>
                  <a:pt x="1215" y="130"/>
                  <a:pt x="1216" y="130"/>
                </a:cubicBezTo>
                <a:cubicBezTo>
                  <a:pt x="1217" y="131"/>
                  <a:pt x="1219" y="131"/>
                  <a:pt x="1220" y="131"/>
                </a:cubicBezTo>
                <a:cubicBezTo>
                  <a:pt x="1221" y="131"/>
                  <a:pt x="1222" y="132"/>
                  <a:pt x="1224" y="132"/>
                </a:cubicBezTo>
                <a:cubicBezTo>
                  <a:pt x="1225" y="133"/>
                  <a:pt x="1226" y="133"/>
                  <a:pt x="1227" y="133"/>
                </a:cubicBezTo>
                <a:cubicBezTo>
                  <a:pt x="1227" y="133"/>
                  <a:pt x="1227" y="133"/>
                  <a:pt x="1227" y="133"/>
                </a:cubicBezTo>
                <a:cubicBezTo>
                  <a:pt x="1227" y="134"/>
                  <a:pt x="1227" y="134"/>
                  <a:pt x="1227" y="134"/>
                </a:cubicBezTo>
                <a:cubicBezTo>
                  <a:pt x="1228" y="134"/>
                  <a:pt x="1227" y="133"/>
                  <a:pt x="1228" y="133"/>
                </a:cubicBezTo>
                <a:cubicBezTo>
                  <a:pt x="1228" y="133"/>
                  <a:pt x="1231" y="134"/>
                  <a:pt x="1231" y="134"/>
                </a:cubicBezTo>
                <a:cubicBezTo>
                  <a:pt x="1231" y="134"/>
                  <a:pt x="1230" y="134"/>
                  <a:pt x="1230" y="134"/>
                </a:cubicBezTo>
                <a:cubicBezTo>
                  <a:pt x="1230" y="135"/>
                  <a:pt x="1231" y="135"/>
                  <a:pt x="1231" y="135"/>
                </a:cubicBezTo>
                <a:cubicBezTo>
                  <a:pt x="1232" y="134"/>
                  <a:pt x="1232" y="135"/>
                  <a:pt x="1233" y="135"/>
                </a:cubicBezTo>
                <a:cubicBezTo>
                  <a:pt x="1233" y="135"/>
                  <a:pt x="1233" y="135"/>
                  <a:pt x="1233" y="135"/>
                </a:cubicBezTo>
                <a:cubicBezTo>
                  <a:pt x="1233" y="134"/>
                  <a:pt x="1234" y="135"/>
                  <a:pt x="1234" y="135"/>
                </a:cubicBezTo>
                <a:cubicBezTo>
                  <a:pt x="1235" y="136"/>
                  <a:pt x="1234" y="136"/>
                  <a:pt x="1233" y="136"/>
                </a:cubicBezTo>
                <a:cubicBezTo>
                  <a:pt x="1233" y="137"/>
                  <a:pt x="1232" y="138"/>
                  <a:pt x="1233" y="138"/>
                </a:cubicBezTo>
                <a:cubicBezTo>
                  <a:pt x="1233" y="138"/>
                  <a:pt x="1233" y="138"/>
                  <a:pt x="1234" y="138"/>
                </a:cubicBezTo>
                <a:cubicBezTo>
                  <a:pt x="1234" y="138"/>
                  <a:pt x="1234" y="139"/>
                  <a:pt x="1235" y="139"/>
                </a:cubicBezTo>
                <a:cubicBezTo>
                  <a:pt x="1235" y="139"/>
                  <a:pt x="1236" y="140"/>
                  <a:pt x="1235" y="140"/>
                </a:cubicBezTo>
                <a:cubicBezTo>
                  <a:pt x="1234" y="140"/>
                  <a:pt x="1233" y="140"/>
                  <a:pt x="1232" y="139"/>
                </a:cubicBezTo>
                <a:cubicBezTo>
                  <a:pt x="1230" y="139"/>
                  <a:pt x="1228" y="138"/>
                  <a:pt x="1226" y="138"/>
                </a:cubicBezTo>
                <a:cubicBezTo>
                  <a:pt x="1227" y="138"/>
                  <a:pt x="1228" y="139"/>
                  <a:pt x="1229" y="139"/>
                </a:cubicBezTo>
                <a:cubicBezTo>
                  <a:pt x="1229" y="139"/>
                  <a:pt x="1230" y="139"/>
                  <a:pt x="1230" y="139"/>
                </a:cubicBezTo>
                <a:cubicBezTo>
                  <a:pt x="1231" y="139"/>
                  <a:pt x="1231" y="140"/>
                  <a:pt x="1232" y="140"/>
                </a:cubicBezTo>
                <a:cubicBezTo>
                  <a:pt x="1233" y="140"/>
                  <a:pt x="1234" y="140"/>
                  <a:pt x="1234" y="141"/>
                </a:cubicBezTo>
                <a:cubicBezTo>
                  <a:pt x="1233" y="141"/>
                  <a:pt x="1232" y="141"/>
                  <a:pt x="1231" y="141"/>
                </a:cubicBezTo>
                <a:cubicBezTo>
                  <a:pt x="1230" y="141"/>
                  <a:pt x="1228" y="141"/>
                  <a:pt x="1227" y="141"/>
                </a:cubicBezTo>
                <a:cubicBezTo>
                  <a:pt x="1228" y="141"/>
                  <a:pt x="1228" y="141"/>
                  <a:pt x="1228" y="141"/>
                </a:cubicBezTo>
                <a:cubicBezTo>
                  <a:pt x="1228" y="140"/>
                  <a:pt x="1227" y="141"/>
                  <a:pt x="1226" y="141"/>
                </a:cubicBezTo>
                <a:cubicBezTo>
                  <a:pt x="1225" y="140"/>
                  <a:pt x="1225" y="141"/>
                  <a:pt x="1224" y="140"/>
                </a:cubicBezTo>
                <a:cubicBezTo>
                  <a:pt x="1223" y="140"/>
                  <a:pt x="1222" y="139"/>
                  <a:pt x="1221" y="139"/>
                </a:cubicBezTo>
                <a:cubicBezTo>
                  <a:pt x="1220" y="139"/>
                  <a:pt x="1219" y="139"/>
                  <a:pt x="1219" y="139"/>
                </a:cubicBezTo>
                <a:cubicBezTo>
                  <a:pt x="1219" y="139"/>
                  <a:pt x="1220" y="139"/>
                  <a:pt x="1220" y="140"/>
                </a:cubicBezTo>
                <a:cubicBezTo>
                  <a:pt x="1221" y="140"/>
                  <a:pt x="1221" y="140"/>
                  <a:pt x="1222" y="140"/>
                </a:cubicBezTo>
                <a:cubicBezTo>
                  <a:pt x="1223" y="140"/>
                  <a:pt x="1223" y="140"/>
                  <a:pt x="1223" y="141"/>
                </a:cubicBezTo>
                <a:cubicBezTo>
                  <a:pt x="1224" y="141"/>
                  <a:pt x="1225" y="141"/>
                  <a:pt x="1225" y="141"/>
                </a:cubicBezTo>
                <a:cubicBezTo>
                  <a:pt x="1225" y="141"/>
                  <a:pt x="1225" y="141"/>
                  <a:pt x="1224" y="141"/>
                </a:cubicBezTo>
                <a:cubicBezTo>
                  <a:pt x="1225" y="141"/>
                  <a:pt x="1225" y="142"/>
                  <a:pt x="1226" y="142"/>
                </a:cubicBezTo>
                <a:cubicBezTo>
                  <a:pt x="1226" y="142"/>
                  <a:pt x="1226" y="141"/>
                  <a:pt x="1226" y="141"/>
                </a:cubicBezTo>
                <a:cubicBezTo>
                  <a:pt x="1226" y="141"/>
                  <a:pt x="1229" y="143"/>
                  <a:pt x="1229" y="144"/>
                </a:cubicBezTo>
                <a:cubicBezTo>
                  <a:pt x="1228" y="143"/>
                  <a:pt x="1228" y="143"/>
                  <a:pt x="1227" y="143"/>
                </a:cubicBezTo>
                <a:cubicBezTo>
                  <a:pt x="1226" y="144"/>
                  <a:pt x="1226" y="143"/>
                  <a:pt x="1226" y="143"/>
                </a:cubicBezTo>
                <a:cubicBezTo>
                  <a:pt x="1226" y="144"/>
                  <a:pt x="1228" y="144"/>
                  <a:pt x="1228" y="144"/>
                </a:cubicBezTo>
                <a:cubicBezTo>
                  <a:pt x="1229" y="144"/>
                  <a:pt x="1229" y="144"/>
                  <a:pt x="1230" y="144"/>
                </a:cubicBezTo>
                <a:cubicBezTo>
                  <a:pt x="1230" y="144"/>
                  <a:pt x="1231" y="145"/>
                  <a:pt x="1231" y="145"/>
                </a:cubicBezTo>
                <a:cubicBezTo>
                  <a:pt x="1231" y="145"/>
                  <a:pt x="1232" y="145"/>
                  <a:pt x="1232" y="146"/>
                </a:cubicBezTo>
                <a:cubicBezTo>
                  <a:pt x="1232" y="147"/>
                  <a:pt x="1231" y="147"/>
                  <a:pt x="1231" y="147"/>
                </a:cubicBezTo>
                <a:cubicBezTo>
                  <a:pt x="1230" y="147"/>
                  <a:pt x="1231" y="147"/>
                  <a:pt x="1230" y="147"/>
                </a:cubicBezTo>
                <a:cubicBezTo>
                  <a:pt x="1230" y="147"/>
                  <a:pt x="1229" y="147"/>
                  <a:pt x="1229" y="147"/>
                </a:cubicBezTo>
                <a:cubicBezTo>
                  <a:pt x="1228" y="147"/>
                  <a:pt x="1229" y="148"/>
                  <a:pt x="1228" y="148"/>
                </a:cubicBezTo>
                <a:cubicBezTo>
                  <a:pt x="1229" y="148"/>
                  <a:pt x="1229" y="148"/>
                  <a:pt x="1229" y="147"/>
                </a:cubicBezTo>
                <a:cubicBezTo>
                  <a:pt x="1229" y="147"/>
                  <a:pt x="1230" y="147"/>
                  <a:pt x="1230" y="148"/>
                </a:cubicBezTo>
                <a:cubicBezTo>
                  <a:pt x="1231" y="148"/>
                  <a:pt x="1231" y="148"/>
                  <a:pt x="1232" y="148"/>
                </a:cubicBezTo>
                <a:cubicBezTo>
                  <a:pt x="1232" y="148"/>
                  <a:pt x="1231" y="148"/>
                  <a:pt x="1232" y="149"/>
                </a:cubicBezTo>
                <a:cubicBezTo>
                  <a:pt x="1232" y="149"/>
                  <a:pt x="1231" y="149"/>
                  <a:pt x="1231" y="149"/>
                </a:cubicBezTo>
                <a:cubicBezTo>
                  <a:pt x="1231" y="149"/>
                  <a:pt x="1232" y="149"/>
                  <a:pt x="1232" y="149"/>
                </a:cubicBezTo>
                <a:cubicBezTo>
                  <a:pt x="1232" y="149"/>
                  <a:pt x="1233" y="150"/>
                  <a:pt x="1232" y="150"/>
                </a:cubicBezTo>
                <a:cubicBezTo>
                  <a:pt x="1233" y="150"/>
                  <a:pt x="1233" y="149"/>
                  <a:pt x="1234" y="149"/>
                </a:cubicBezTo>
                <a:cubicBezTo>
                  <a:pt x="1234" y="150"/>
                  <a:pt x="1235" y="150"/>
                  <a:pt x="1236" y="150"/>
                </a:cubicBezTo>
                <a:cubicBezTo>
                  <a:pt x="1237" y="150"/>
                  <a:pt x="1239" y="151"/>
                  <a:pt x="1240" y="151"/>
                </a:cubicBezTo>
                <a:cubicBezTo>
                  <a:pt x="1239" y="151"/>
                  <a:pt x="1238" y="152"/>
                  <a:pt x="1237" y="152"/>
                </a:cubicBezTo>
                <a:cubicBezTo>
                  <a:pt x="1237" y="152"/>
                  <a:pt x="1236" y="151"/>
                  <a:pt x="1235" y="151"/>
                </a:cubicBezTo>
                <a:cubicBezTo>
                  <a:pt x="1235" y="151"/>
                  <a:pt x="1234" y="150"/>
                  <a:pt x="1234" y="151"/>
                </a:cubicBezTo>
                <a:close/>
                <a:moveTo>
                  <a:pt x="98" y="189"/>
                </a:moveTo>
                <a:cubicBezTo>
                  <a:pt x="98" y="188"/>
                  <a:pt x="97" y="188"/>
                  <a:pt x="97" y="188"/>
                </a:cubicBezTo>
                <a:cubicBezTo>
                  <a:pt x="97" y="187"/>
                  <a:pt x="97" y="187"/>
                  <a:pt x="97" y="187"/>
                </a:cubicBezTo>
                <a:cubicBezTo>
                  <a:pt x="97" y="186"/>
                  <a:pt x="96" y="186"/>
                  <a:pt x="96" y="186"/>
                </a:cubicBezTo>
                <a:cubicBezTo>
                  <a:pt x="95" y="186"/>
                  <a:pt x="95" y="185"/>
                  <a:pt x="95" y="185"/>
                </a:cubicBezTo>
                <a:cubicBezTo>
                  <a:pt x="94" y="183"/>
                  <a:pt x="91" y="183"/>
                  <a:pt x="90" y="182"/>
                </a:cubicBezTo>
                <a:cubicBezTo>
                  <a:pt x="89" y="182"/>
                  <a:pt x="89" y="182"/>
                  <a:pt x="88" y="181"/>
                </a:cubicBezTo>
                <a:cubicBezTo>
                  <a:pt x="88" y="181"/>
                  <a:pt x="87" y="180"/>
                  <a:pt x="87" y="180"/>
                </a:cubicBezTo>
                <a:cubicBezTo>
                  <a:pt x="86" y="181"/>
                  <a:pt x="87" y="181"/>
                  <a:pt x="87" y="181"/>
                </a:cubicBezTo>
                <a:cubicBezTo>
                  <a:pt x="87" y="181"/>
                  <a:pt x="86" y="181"/>
                  <a:pt x="86" y="180"/>
                </a:cubicBezTo>
                <a:cubicBezTo>
                  <a:pt x="86" y="180"/>
                  <a:pt x="85" y="179"/>
                  <a:pt x="85" y="179"/>
                </a:cubicBezTo>
                <a:cubicBezTo>
                  <a:pt x="84" y="179"/>
                  <a:pt x="84" y="179"/>
                  <a:pt x="84" y="179"/>
                </a:cubicBezTo>
                <a:cubicBezTo>
                  <a:pt x="84" y="179"/>
                  <a:pt x="84" y="179"/>
                  <a:pt x="84" y="179"/>
                </a:cubicBezTo>
                <a:cubicBezTo>
                  <a:pt x="83" y="179"/>
                  <a:pt x="82" y="179"/>
                  <a:pt x="82" y="179"/>
                </a:cubicBezTo>
                <a:cubicBezTo>
                  <a:pt x="82" y="178"/>
                  <a:pt x="81" y="178"/>
                  <a:pt x="81" y="178"/>
                </a:cubicBezTo>
                <a:cubicBezTo>
                  <a:pt x="81" y="177"/>
                  <a:pt x="80" y="178"/>
                  <a:pt x="80" y="178"/>
                </a:cubicBezTo>
                <a:cubicBezTo>
                  <a:pt x="79" y="178"/>
                  <a:pt x="79" y="178"/>
                  <a:pt x="79" y="179"/>
                </a:cubicBezTo>
                <a:cubicBezTo>
                  <a:pt x="78" y="179"/>
                  <a:pt x="79" y="179"/>
                  <a:pt x="79" y="180"/>
                </a:cubicBezTo>
                <a:cubicBezTo>
                  <a:pt x="79" y="180"/>
                  <a:pt x="78" y="180"/>
                  <a:pt x="78" y="180"/>
                </a:cubicBezTo>
                <a:cubicBezTo>
                  <a:pt x="79" y="181"/>
                  <a:pt x="76" y="180"/>
                  <a:pt x="76" y="180"/>
                </a:cubicBezTo>
                <a:cubicBezTo>
                  <a:pt x="76" y="181"/>
                  <a:pt x="77" y="181"/>
                  <a:pt x="77" y="181"/>
                </a:cubicBezTo>
                <a:cubicBezTo>
                  <a:pt x="77" y="181"/>
                  <a:pt x="76" y="181"/>
                  <a:pt x="76" y="181"/>
                </a:cubicBezTo>
                <a:cubicBezTo>
                  <a:pt x="76" y="181"/>
                  <a:pt x="76" y="182"/>
                  <a:pt x="76" y="182"/>
                </a:cubicBezTo>
                <a:cubicBezTo>
                  <a:pt x="76" y="182"/>
                  <a:pt x="77" y="182"/>
                  <a:pt x="76" y="182"/>
                </a:cubicBezTo>
                <a:cubicBezTo>
                  <a:pt x="76" y="182"/>
                  <a:pt x="76" y="182"/>
                  <a:pt x="77" y="182"/>
                </a:cubicBezTo>
                <a:cubicBezTo>
                  <a:pt x="76" y="182"/>
                  <a:pt x="75" y="182"/>
                  <a:pt x="75" y="183"/>
                </a:cubicBezTo>
                <a:cubicBezTo>
                  <a:pt x="75" y="183"/>
                  <a:pt x="74" y="182"/>
                  <a:pt x="74" y="182"/>
                </a:cubicBezTo>
                <a:cubicBezTo>
                  <a:pt x="74" y="183"/>
                  <a:pt x="75" y="183"/>
                  <a:pt x="75" y="184"/>
                </a:cubicBezTo>
                <a:cubicBezTo>
                  <a:pt x="75" y="184"/>
                  <a:pt x="73" y="183"/>
                  <a:pt x="73" y="183"/>
                </a:cubicBezTo>
                <a:cubicBezTo>
                  <a:pt x="75" y="184"/>
                  <a:pt x="77" y="185"/>
                  <a:pt x="79" y="187"/>
                </a:cubicBezTo>
                <a:cubicBezTo>
                  <a:pt x="80" y="187"/>
                  <a:pt x="79" y="188"/>
                  <a:pt x="79" y="188"/>
                </a:cubicBezTo>
                <a:cubicBezTo>
                  <a:pt x="79" y="189"/>
                  <a:pt x="80" y="189"/>
                  <a:pt x="81" y="189"/>
                </a:cubicBezTo>
                <a:cubicBezTo>
                  <a:pt x="81" y="189"/>
                  <a:pt x="81" y="190"/>
                  <a:pt x="82" y="190"/>
                </a:cubicBezTo>
                <a:cubicBezTo>
                  <a:pt x="82" y="190"/>
                  <a:pt x="82" y="191"/>
                  <a:pt x="82" y="191"/>
                </a:cubicBezTo>
                <a:cubicBezTo>
                  <a:pt x="82" y="190"/>
                  <a:pt x="84" y="193"/>
                  <a:pt x="84" y="193"/>
                </a:cubicBezTo>
                <a:cubicBezTo>
                  <a:pt x="84" y="193"/>
                  <a:pt x="85" y="194"/>
                  <a:pt x="85" y="194"/>
                </a:cubicBezTo>
                <a:cubicBezTo>
                  <a:pt x="85" y="195"/>
                  <a:pt x="85" y="194"/>
                  <a:pt x="85" y="195"/>
                </a:cubicBezTo>
                <a:cubicBezTo>
                  <a:pt x="86" y="195"/>
                  <a:pt x="84" y="196"/>
                  <a:pt x="86" y="196"/>
                </a:cubicBezTo>
                <a:cubicBezTo>
                  <a:pt x="86" y="196"/>
                  <a:pt x="87" y="196"/>
                  <a:pt x="87" y="196"/>
                </a:cubicBezTo>
                <a:cubicBezTo>
                  <a:pt x="88" y="196"/>
                  <a:pt x="88" y="196"/>
                  <a:pt x="88" y="196"/>
                </a:cubicBezTo>
                <a:cubicBezTo>
                  <a:pt x="89" y="196"/>
                  <a:pt x="89" y="195"/>
                  <a:pt x="88" y="195"/>
                </a:cubicBezTo>
                <a:cubicBezTo>
                  <a:pt x="88" y="194"/>
                  <a:pt x="89" y="194"/>
                  <a:pt x="89" y="194"/>
                </a:cubicBezTo>
                <a:cubicBezTo>
                  <a:pt x="89" y="194"/>
                  <a:pt x="89" y="193"/>
                  <a:pt x="89" y="193"/>
                </a:cubicBezTo>
                <a:cubicBezTo>
                  <a:pt x="89" y="193"/>
                  <a:pt x="89" y="193"/>
                  <a:pt x="90" y="193"/>
                </a:cubicBezTo>
                <a:cubicBezTo>
                  <a:pt x="91" y="193"/>
                  <a:pt x="92" y="193"/>
                  <a:pt x="93" y="193"/>
                </a:cubicBezTo>
                <a:cubicBezTo>
                  <a:pt x="94" y="194"/>
                  <a:pt x="94" y="194"/>
                  <a:pt x="95" y="194"/>
                </a:cubicBezTo>
                <a:cubicBezTo>
                  <a:pt x="95" y="194"/>
                  <a:pt x="95" y="194"/>
                  <a:pt x="96" y="193"/>
                </a:cubicBezTo>
                <a:cubicBezTo>
                  <a:pt x="97" y="193"/>
                  <a:pt x="96" y="192"/>
                  <a:pt x="96" y="192"/>
                </a:cubicBezTo>
                <a:cubicBezTo>
                  <a:pt x="96" y="192"/>
                  <a:pt x="97" y="191"/>
                  <a:pt x="97" y="191"/>
                </a:cubicBezTo>
                <a:cubicBezTo>
                  <a:pt x="96" y="191"/>
                  <a:pt x="96" y="190"/>
                  <a:pt x="96" y="190"/>
                </a:cubicBezTo>
                <a:cubicBezTo>
                  <a:pt x="96" y="189"/>
                  <a:pt x="97" y="190"/>
                  <a:pt x="97" y="191"/>
                </a:cubicBezTo>
                <a:cubicBezTo>
                  <a:pt x="98" y="190"/>
                  <a:pt x="98" y="190"/>
                  <a:pt x="98" y="189"/>
                </a:cubicBezTo>
                <a:close/>
                <a:moveTo>
                  <a:pt x="124" y="183"/>
                </a:moveTo>
                <a:cubicBezTo>
                  <a:pt x="124" y="183"/>
                  <a:pt x="123" y="183"/>
                  <a:pt x="123" y="183"/>
                </a:cubicBezTo>
                <a:cubicBezTo>
                  <a:pt x="123" y="182"/>
                  <a:pt x="124" y="182"/>
                  <a:pt x="124" y="182"/>
                </a:cubicBezTo>
                <a:cubicBezTo>
                  <a:pt x="124" y="181"/>
                  <a:pt x="122" y="181"/>
                  <a:pt x="122" y="180"/>
                </a:cubicBezTo>
                <a:cubicBezTo>
                  <a:pt x="122" y="180"/>
                  <a:pt x="121" y="179"/>
                  <a:pt x="121" y="179"/>
                </a:cubicBezTo>
                <a:cubicBezTo>
                  <a:pt x="120" y="179"/>
                  <a:pt x="120" y="178"/>
                  <a:pt x="120" y="178"/>
                </a:cubicBezTo>
                <a:cubicBezTo>
                  <a:pt x="119" y="177"/>
                  <a:pt x="118" y="177"/>
                  <a:pt x="118" y="176"/>
                </a:cubicBezTo>
                <a:cubicBezTo>
                  <a:pt x="118" y="175"/>
                  <a:pt x="116" y="175"/>
                  <a:pt x="117" y="174"/>
                </a:cubicBezTo>
                <a:cubicBezTo>
                  <a:pt x="117" y="174"/>
                  <a:pt x="117" y="174"/>
                  <a:pt x="117" y="173"/>
                </a:cubicBezTo>
                <a:cubicBezTo>
                  <a:pt x="117" y="173"/>
                  <a:pt x="117" y="172"/>
                  <a:pt x="117" y="171"/>
                </a:cubicBezTo>
                <a:cubicBezTo>
                  <a:pt x="117" y="170"/>
                  <a:pt x="116" y="170"/>
                  <a:pt x="115" y="170"/>
                </a:cubicBezTo>
                <a:cubicBezTo>
                  <a:pt x="115" y="170"/>
                  <a:pt x="115" y="170"/>
                  <a:pt x="115" y="169"/>
                </a:cubicBezTo>
                <a:cubicBezTo>
                  <a:pt x="114" y="169"/>
                  <a:pt x="114" y="169"/>
                  <a:pt x="114" y="169"/>
                </a:cubicBezTo>
                <a:cubicBezTo>
                  <a:pt x="114" y="169"/>
                  <a:pt x="114" y="169"/>
                  <a:pt x="113" y="169"/>
                </a:cubicBezTo>
                <a:cubicBezTo>
                  <a:pt x="113" y="169"/>
                  <a:pt x="113" y="169"/>
                  <a:pt x="112" y="168"/>
                </a:cubicBezTo>
                <a:cubicBezTo>
                  <a:pt x="112" y="168"/>
                  <a:pt x="111" y="168"/>
                  <a:pt x="110" y="168"/>
                </a:cubicBezTo>
                <a:cubicBezTo>
                  <a:pt x="110" y="168"/>
                  <a:pt x="110" y="168"/>
                  <a:pt x="111" y="168"/>
                </a:cubicBezTo>
                <a:cubicBezTo>
                  <a:pt x="110" y="167"/>
                  <a:pt x="110" y="167"/>
                  <a:pt x="109" y="167"/>
                </a:cubicBezTo>
                <a:cubicBezTo>
                  <a:pt x="109" y="167"/>
                  <a:pt x="108" y="167"/>
                  <a:pt x="108" y="167"/>
                </a:cubicBezTo>
                <a:cubicBezTo>
                  <a:pt x="107" y="167"/>
                  <a:pt x="107" y="166"/>
                  <a:pt x="106" y="166"/>
                </a:cubicBezTo>
                <a:cubicBezTo>
                  <a:pt x="105" y="166"/>
                  <a:pt x="107" y="167"/>
                  <a:pt x="107" y="167"/>
                </a:cubicBezTo>
                <a:cubicBezTo>
                  <a:pt x="107" y="168"/>
                  <a:pt x="107" y="168"/>
                  <a:pt x="108" y="168"/>
                </a:cubicBezTo>
                <a:cubicBezTo>
                  <a:pt x="108" y="169"/>
                  <a:pt x="108" y="169"/>
                  <a:pt x="109" y="169"/>
                </a:cubicBezTo>
                <a:cubicBezTo>
                  <a:pt x="109" y="169"/>
                  <a:pt x="108" y="169"/>
                  <a:pt x="108" y="169"/>
                </a:cubicBezTo>
                <a:cubicBezTo>
                  <a:pt x="108" y="168"/>
                  <a:pt x="110" y="170"/>
                  <a:pt x="110" y="170"/>
                </a:cubicBezTo>
                <a:cubicBezTo>
                  <a:pt x="110" y="169"/>
                  <a:pt x="110" y="170"/>
                  <a:pt x="110" y="170"/>
                </a:cubicBezTo>
                <a:cubicBezTo>
                  <a:pt x="111" y="170"/>
                  <a:pt x="111" y="171"/>
                  <a:pt x="111" y="171"/>
                </a:cubicBezTo>
                <a:cubicBezTo>
                  <a:pt x="111" y="171"/>
                  <a:pt x="110" y="170"/>
                  <a:pt x="110" y="170"/>
                </a:cubicBezTo>
                <a:cubicBezTo>
                  <a:pt x="109" y="169"/>
                  <a:pt x="109" y="169"/>
                  <a:pt x="110" y="169"/>
                </a:cubicBezTo>
                <a:cubicBezTo>
                  <a:pt x="110" y="169"/>
                  <a:pt x="110" y="169"/>
                  <a:pt x="110" y="169"/>
                </a:cubicBezTo>
                <a:cubicBezTo>
                  <a:pt x="110" y="169"/>
                  <a:pt x="111" y="169"/>
                  <a:pt x="111" y="169"/>
                </a:cubicBezTo>
                <a:cubicBezTo>
                  <a:pt x="111" y="170"/>
                  <a:pt x="112" y="170"/>
                  <a:pt x="112" y="170"/>
                </a:cubicBezTo>
                <a:cubicBezTo>
                  <a:pt x="112" y="170"/>
                  <a:pt x="113" y="170"/>
                  <a:pt x="113" y="170"/>
                </a:cubicBezTo>
                <a:cubicBezTo>
                  <a:pt x="113" y="170"/>
                  <a:pt x="113" y="170"/>
                  <a:pt x="113" y="170"/>
                </a:cubicBezTo>
                <a:cubicBezTo>
                  <a:pt x="114" y="170"/>
                  <a:pt x="114" y="171"/>
                  <a:pt x="115" y="171"/>
                </a:cubicBezTo>
                <a:cubicBezTo>
                  <a:pt x="115" y="172"/>
                  <a:pt x="116" y="173"/>
                  <a:pt x="115" y="174"/>
                </a:cubicBezTo>
                <a:cubicBezTo>
                  <a:pt x="114" y="174"/>
                  <a:pt x="114" y="173"/>
                  <a:pt x="114" y="174"/>
                </a:cubicBezTo>
                <a:cubicBezTo>
                  <a:pt x="114" y="174"/>
                  <a:pt x="113" y="174"/>
                  <a:pt x="113" y="174"/>
                </a:cubicBezTo>
                <a:cubicBezTo>
                  <a:pt x="113" y="173"/>
                  <a:pt x="113" y="173"/>
                  <a:pt x="112" y="173"/>
                </a:cubicBezTo>
                <a:cubicBezTo>
                  <a:pt x="112" y="173"/>
                  <a:pt x="112" y="173"/>
                  <a:pt x="111" y="173"/>
                </a:cubicBezTo>
                <a:cubicBezTo>
                  <a:pt x="112" y="173"/>
                  <a:pt x="112" y="173"/>
                  <a:pt x="112" y="174"/>
                </a:cubicBezTo>
                <a:cubicBezTo>
                  <a:pt x="113" y="174"/>
                  <a:pt x="113" y="174"/>
                  <a:pt x="113" y="175"/>
                </a:cubicBezTo>
                <a:cubicBezTo>
                  <a:pt x="111" y="175"/>
                  <a:pt x="111" y="174"/>
                  <a:pt x="110" y="173"/>
                </a:cubicBezTo>
                <a:cubicBezTo>
                  <a:pt x="110" y="173"/>
                  <a:pt x="110" y="172"/>
                  <a:pt x="110" y="172"/>
                </a:cubicBezTo>
                <a:cubicBezTo>
                  <a:pt x="109" y="172"/>
                  <a:pt x="109" y="171"/>
                  <a:pt x="108" y="171"/>
                </a:cubicBezTo>
                <a:cubicBezTo>
                  <a:pt x="108" y="170"/>
                  <a:pt x="107" y="170"/>
                  <a:pt x="106" y="169"/>
                </a:cubicBezTo>
                <a:cubicBezTo>
                  <a:pt x="107" y="171"/>
                  <a:pt x="109" y="171"/>
                  <a:pt x="109" y="172"/>
                </a:cubicBezTo>
                <a:cubicBezTo>
                  <a:pt x="110" y="173"/>
                  <a:pt x="109" y="172"/>
                  <a:pt x="109" y="172"/>
                </a:cubicBezTo>
                <a:cubicBezTo>
                  <a:pt x="108" y="172"/>
                  <a:pt x="107" y="171"/>
                  <a:pt x="107" y="171"/>
                </a:cubicBezTo>
                <a:cubicBezTo>
                  <a:pt x="106" y="171"/>
                  <a:pt x="107" y="172"/>
                  <a:pt x="108" y="172"/>
                </a:cubicBezTo>
                <a:cubicBezTo>
                  <a:pt x="108" y="172"/>
                  <a:pt x="109" y="173"/>
                  <a:pt x="109" y="174"/>
                </a:cubicBezTo>
                <a:cubicBezTo>
                  <a:pt x="109" y="173"/>
                  <a:pt x="108" y="173"/>
                  <a:pt x="108" y="173"/>
                </a:cubicBezTo>
                <a:cubicBezTo>
                  <a:pt x="108" y="173"/>
                  <a:pt x="110" y="175"/>
                  <a:pt x="110" y="175"/>
                </a:cubicBezTo>
                <a:cubicBezTo>
                  <a:pt x="109" y="175"/>
                  <a:pt x="108" y="174"/>
                  <a:pt x="107" y="174"/>
                </a:cubicBezTo>
                <a:cubicBezTo>
                  <a:pt x="107" y="174"/>
                  <a:pt x="106" y="174"/>
                  <a:pt x="106" y="173"/>
                </a:cubicBezTo>
                <a:cubicBezTo>
                  <a:pt x="106" y="173"/>
                  <a:pt x="106" y="173"/>
                  <a:pt x="106" y="173"/>
                </a:cubicBezTo>
                <a:cubicBezTo>
                  <a:pt x="106" y="172"/>
                  <a:pt x="105" y="172"/>
                  <a:pt x="104" y="171"/>
                </a:cubicBezTo>
                <a:cubicBezTo>
                  <a:pt x="104" y="171"/>
                  <a:pt x="104" y="171"/>
                  <a:pt x="104" y="171"/>
                </a:cubicBezTo>
                <a:cubicBezTo>
                  <a:pt x="104" y="171"/>
                  <a:pt x="104" y="170"/>
                  <a:pt x="103" y="170"/>
                </a:cubicBezTo>
                <a:cubicBezTo>
                  <a:pt x="102" y="169"/>
                  <a:pt x="102" y="171"/>
                  <a:pt x="103" y="172"/>
                </a:cubicBezTo>
                <a:cubicBezTo>
                  <a:pt x="103" y="172"/>
                  <a:pt x="104" y="171"/>
                  <a:pt x="104" y="171"/>
                </a:cubicBezTo>
                <a:cubicBezTo>
                  <a:pt x="104" y="172"/>
                  <a:pt x="105" y="172"/>
                  <a:pt x="106" y="173"/>
                </a:cubicBezTo>
                <a:cubicBezTo>
                  <a:pt x="106" y="173"/>
                  <a:pt x="105" y="173"/>
                  <a:pt x="106" y="173"/>
                </a:cubicBezTo>
                <a:cubicBezTo>
                  <a:pt x="106" y="174"/>
                  <a:pt x="106" y="174"/>
                  <a:pt x="106" y="174"/>
                </a:cubicBezTo>
                <a:cubicBezTo>
                  <a:pt x="106" y="174"/>
                  <a:pt x="106" y="174"/>
                  <a:pt x="106" y="174"/>
                </a:cubicBezTo>
                <a:cubicBezTo>
                  <a:pt x="107" y="174"/>
                  <a:pt x="107" y="175"/>
                  <a:pt x="107" y="175"/>
                </a:cubicBezTo>
                <a:cubicBezTo>
                  <a:pt x="108" y="175"/>
                  <a:pt x="109" y="176"/>
                  <a:pt x="109" y="177"/>
                </a:cubicBezTo>
                <a:cubicBezTo>
                  <a:pt x="108" y="178"/>
                  <a:pt x="106" y="176"/>
                  <a:pt x="106" y="176"/>
                </a:cubicBezTo>
                <a:cubicBezTo>
                  <a:pt x="106" y="177"/>
                  <a:pt x="109" y="178"/>
                  <a:pt x="109" y="178"/>
                </a:cubicBezTo>
                <a:cubicBezTo>
                  <a:pt x="110" y="179"/>
                  <a:pt x="111" y="180"/>
                  <a:pt x="112" y="180"/>
                </a:cubicBezTo>
                <a:cubicBezTo>
                  <a:pt x="113" y="180"/>
                  <a:pt x="113" y="180"/>
                  <a:pt x="113" y="180"/>
                </a:cubicBezTo>
                <a:cubicBezTo>
                  <a:pt x="113" y="180"/>
                  <a:pt x="114" y="180"/>
                  <a:pt x="114" y="180"/>
                </a:cubicBezTo>
                <a:cubicBezTo>
                  <a:pt x="114" y="181"/>
                  <a:pt x="115" y="181"/>
                  <a:pt x="115" y="181"/>
                </a:cubicBezTo>
                <a:cubicBezTo>
                  <a:pt x="115" y="181"/>
                  <a:pt x="115" y="181"/>
                  <a:pt x="116" y="181"/>
                </a:cubicBezTo>
                <a:cubicBezTo>
                  <a:pt x="117" y="182"/>
                  <a:pt x="117" y="182"/>
                  <a:pt x="117" y="182"/>
                </a:cubicBezTo>
                <a:cubicBezTo>
                  <a:pt x="118" y="183"/>
                  <a:pt x="118" y="183"/>
                  <a:pt x="118" y="184"/>
                </a:cubicBezTo>
                <a:cubicBezTo>
                  <a:pt x="119" y="184"/>
                  <a:pt x="118" y="184"/>
                  <a:pt x="118" y="185"/>
                </a:cubicBezTo>
                <a:cubicBezTo>
                  <a:pt x="118" y="186"/>
                  <a:pt x="117" y="184"/>
                  <a:pt x="116" y="184"/>
                </a:cubicBezTo>
                <a:cubicBezTo>
                  <a:pt x="115" y="184"/>
                  <a:pt x="115" y="185"/>
                  <a:pt x="114" y="185"/>
                </a:cubicBezTo>
                <a:cubicBezTo>
                  <a:pt x="114" y="184"/>
                  <a:pt x="114" y="184"/>
                  <a:pt x="113" y="184"/>
                </a:cubicBezTo>
                <a:cubicBezTo>
                  <a:pt x="113" y="183"/>
                  <a:pt x="115" y="184"/>
                  <a:pt x="115" y="184"/>
                </a:cubicBezTo>
                <a:cubicBezTo>
                  <a:pt x="115" y="183"/>
                  <a:pt x="114" y="183"/>
                  <a:pt x="114" y="183"/>
                </a:cubicBezTo>
                <a:cubicBezTo>
                  <a:pt x="114" y="183"/>
                  <a:pt x="114" y="183"/>
                  <a:pt x="113" y="183"/>
                </a:cubicBezTo>
                <a:cubicBezTo>
                  <a:pt x="113" y="183"/>
                  <a:pt x="112" y="183"/>
                  <a:pt x="112" y="183"/>
                </a:cubicBezTo>
                <a:cubicBezTo>
                  <a:pt x="112" y="184"/>
                  <a:pt x="112" y="185"/>
                  <a:pt x="112" y="185"/>
                </a:cubicBezTo>
                <a:cubicBezTo>
                  <a:pt x="113" y="185"/>
                  <a:pt x="112" y="184"/>
                  <a:pt x="112" y="184"/>
                </a:cubicBezTo>
                <a:cubicBezTo>
                  <a:pt x="112" y="184"/>
                  <a:pt x="114" y="185"/>
                  <a:pt x="114" y="185"/>
                </a:cubicBezTo>
                <a:cubicBezTo>
                  <a:pt x="114" y="185"/>
                  <a:pt x="114" y="185"/>
                  <a:pt x="114" y="185"/>
                </a:cubicBezTo>
                <a:cubicBezTo>
                  <a:pt x="115" y="185"/>
                  <a:pt x="114" y="185"/>
                  <a:pt x="114" y="185"/>
                </a:cubicBezTo>
                <a:cubicBezTo>
                  <a:pt x="114" y="185"/>
                  <a:pt x="115" y="185"/>
                  <a:pt x="116" y="185"/>
                </a:cubicBezTo>
                <a:cubicBezTo>
                  <a:pt x="116" y="185"/>
                  <a:pt x="116" y="185"/>
                  <a:pt x="117" y="185"/>
                </a:cubicBezTo>
                <a:cubicBezTo>
                  <a:pt x="117" y="185"/>
                  <a:pt x="117" y="186"/>
                  <a:pt x="118" y="186"/>
                </a:cubicBezTo>
                <a:cubicBezTo>
                  <a:pt x="118" y="186"/>
                  <a:pt x="119" y="186"/>
                  <a:pt x="119" y="186"/>
                </a:cubicBezTo>
                <a:cubicBezTo>
                  <a:pt x="119" y="186"/>
                  <a:pt x="120" y="187"/>
                  <a:pt x="120" y="187"/>
                </a:cubicBezTo>
                <a:cubicBezTo>
                  <a:pt x="122" y="187"/>
                  <a:pt x="120" y="186"/>
                  <a:pt x="120" y="186"/>
                </a:cubicBezTo>
                <a:cubicBezTo>
                  <a:pt x="120" y="186"/>
                  <a:pt x="121" y="186"/>
                  <a:pt x="121" y="185"/>
                </a:cubicBezTo>
                <a:cubicBezTo>
                  <a:pt x="121" y="185"/>
                  <a:pt x="121" y="184"/>
                  <a:pt x="122" y="184"/>
                </a:cubicBezTo>
                <a:cubicBezTo>
                  <a:pt x="122" y="184"/>
                  <a:pt x="123" y="185"/>
                  <a:pt x="123" y="184"/>
                </a:cubicBezTo>
                <a:cubicBezTo>
                  <a:pt x="123" y="184"/>
                  <a:pt x="124" y="183"/>
                  <a:pt x="124" y="183"/>
                </a:cubicBezTo>
                <a:close/>
                <a:moveTo>
                  <a:pt x="733" y="261"/>
                </a:moveTo>
                <a:cubicBezTo>
                  <a:pt x="733" y="261"/>
                  <a:pt x="734" y="261"/>
                  <a:pt x="734" y="261"/>
                </a:cubicBezTo>
                <a:cubicBezTo>
                  <a:pt x="735" y="260"/>
                  <a:pt x="733" y="259"/>
                  <a:pt x="733" y="258"/>
                </a:cubicBezTo>
                <a:cubicBezTo>
                  <a:pt x="734" y="257"/>
                  <a:pt x="735" y="256"/>
                  <a:pt x="734" y="255"/>
                </a:cubicBezTo>
                <a:cubicBezTo>
                  <a:pt x="733" y="254"/>
                  <a:pt x="732" y="253"/>
                  <a:pt x="731" y="251"/>
                </a:cubicBezTo>
                <a:cubicBezTo>
                  <a:pt x="731" y="251"/>
                  <a:pt x="731" y="250"/>
                  <a:pt x="731" y="250"/>
                </a:cubicBezTo>
                <a:cubicBezTo>
                  <a:pt x="731" y="249"/>
                  <a:pt x="731" y="249"/>
                  <a:pt x="731" y="249"/>
                </a:cubicBezTo>
                <a:cubicBezTo>
                  <a:pt x="730" y="249"/>
                  <a:pt x="731" y="248"/>
                  <a:pt x="731" y="248"/>
                </a:cubicBezTo>
                <a:cubicBezTo>
                  <a:pt x="730" y="248"/>
                  <a:pt x="730" y="247"/>
                  <a:pt x="730" y="247"/>
                </a:cubicBezTo>
                <a:cubicBezTo>
                  <a:pt x="730" y="246"/>
                  <a:pt x="730" y="246"/>
                  <a:pt x="729" y="245"/>
                </a:cubicBezTo>
                <a:cubicBezTo>
                  <a:pt x="729" y="245"/>
                  <a:pt x="729" y="245"/>
                  <a:pt x="729" y="244"/>
                </a:cubicBezTo>
                <a:cubicBezTo>
                  <a:pt x="729" y="244"/>
                  <a:pt x="727" y="242"/>
                  <a:pt x="728" y="242"/>
                </a:cubicBezTo>
                <a:cubicBezTo>
                  <a:pt x="728" y="241"/>
                  <a:pt x="727" y="241"/>
                  <a:pt x="727" y="241"/>
                </a:cubicBezTo>
                <a:cubicBezTo>
                  <a:pt x="728" y="241"/>
                  <a:pt x="727" y="241"/>
                  <a:pt x="727" y="241"/>
                </a:cubicBezTo>
                <a:cubicBezTo>
                  <a:pt x="727" y="240"/>
                  <a:pt x="727" y="240"/>
                  <a:pt x="727" y="239"/>
                </a:cubicBezTo>
                <a:cubicBezTo>
                  <a:pt x="727" y="239"/>
                  <a:pt x="726" y="239"/>
                  <a:pt x="726" y="239"/>
                </a:cubicBezTo>
                <a:cubicBezTo>
                  <a:pt x="725" y="238"/>
                  <a:pt x="724" y="238"/>
                  <a:pt x="724" y="238"/>
                </a:cubicBezTo>
                <a:cubicBezTo>
                  <a:pt x="724" y="238"/>
                  <a:pt x="725" y="238"/>
                  <a:pt x="726" y="239"/>
                </a:cubicBezTo>
                <a:cubicBezTo>
                  <a:pt x="725" y="239"/>
                  <a:pt x="724" y="238"/>
                  <a:pt x="723" y="238"/>
                </a:cubicBezTo>
                <a:cubicBezTo>
                  <a:pt x="723" y="239"/>
                  <a:pt x="723" y="240"/>
                  <a:pt x="722" y="240"/>
                </a:cubicBezTo>
                <a:cubicBezTo>
                  <a:pt x="721" y="240"/>
                  <a:pt x="722" y="242"/>
                  <a:pt x="723" y="242"/>
                </a:cubicBezTo>
                <a:cubicBezTo>
                  <a:pt x="723" y="243"/>
                  <a:pt x="724" y="244"/>
                  <a:pt x="724" y="245"/>
                </a:cubicBezTo>
                <a:cubicBezTo>
                  <a:pt x="724" y="246"/>
                  <a:pt x="724" y="246"/>
                  <a:pt x="724" y="247"/>
                </a:cubicBezTo>
                <a:cubicBezTo>
                  <a:pt x="724" y="247"/>
                  <a:pt x="724" y="247"/>
                  <a:pt x="724" y="247"/>
                </a:cubicBezTo>
                <a:cubicBezTo>
                  <a:pt x="724" y="248"/>
                  <a:pt x="724" y="248"/>
                  <a:pt x="724" y="248"/>
                </a:cubicBezTo>
                <a:cubicBezTo>
                  <a:pt x="724" y="249"/>
                  <a:pt x="725" y="250"/>
                  <a:pt x="724" y="250"/>
                </a:cubicBezTo>
                <a:cubicBezTo>
                  <a:pt x="724" y="251"/>
                  <a:pt x="724" y="251"/>
                  <a:pt x="724" y="252"/>
                </a:cubicBezTo>
                <a:cubicBezTo>
                  <a:pt x="724" y="253"/>
                  <a:pt x="725" y="254"/>
                  <a:pt x="724" y="255"/>
                </a:cubicBezTo>
                <a:cubicBezTo>
                  <a:pt x="724" y="255"/>
                  <a:pt x="724" y="255"/>
                  <a:pt x="724" y="256"/>
                </a:cubicBezTo>
                <a:cubicBezTo>
                  <a:pt x="725" y="256"/>
                  <a:pt x="724" y="257"/>
                  <a:pt x="724" y="257"/>
                </a:cubicBezTo>
                <a:cubicBezTo>
                  <a:pt x="725" y="258"/>
                  <a:pt x="724" y="259"/>
                  <a:pt x="723" y="259"/>
                </a:cubicBezTo>
                <a:cubicBezTo>
                  <a:pt x="723" y="260"/>
                  <a:pt x="722" y="261"/>
                  <a:pt x="722" y="262"/>
                </a:cubicBezTo>
                <a:cubicBezTo>
                  <a:pt x="722" y="262"/>
                  <a:pt x="722" y="262"/>
                  <a:pt x="722" y="263"/>
                </a:cubicBezTo>
                <a:cubicBezTo>
                  <a:pt x="722" y="263"/>
                  <a:pt x="721" y="263"/>
                  <a:pt x="721" y="264"/>
                </a:cubicBezTo>
                <a:cubicBezTo>
                  <a:pt x="720" y="264"/>
                  <a:pt x="720" y="264"/>
                  <a:pt x="720" y="265"/>
                </a:cubicBezTo>
                <a:cubicBezTo>
                  <a:pt x="720" y="265"/>
                  <a:pt x="719" y="266"/>
                  <a:pt x="719" y="266"/>
                </a:cubicBezTo>
                <a:cubicBezTo>
                  <a:pt x="719" y="266"/>
                  <a:pt x="718" y="267"/>
                  <a:pt x="719" y="267"/>
                </a:cubicBezTo>
                <a:cubicBezTo>
                  <a:pt x="719" y="267"/>
                  <a:pt x="720" y="267"/>
                  <a:pt x="720" y="267"/>
                </a:cubicBezTo>
                <a:cubicBezTo>
                  <a:pt x="720" y="268"/>
                  <a:pt x="719" y="268"/>
                  <a:pt x="719" y="268"/>
                </a:cubicBezTo>
                <a:cubicBezTo>
                  <a:pt x="719" y="269"/>
                  <a:pt x="720" y="269"/>
                  <a:pt x="719" y="269"/>
                </a:cubicBezTo>
                <a:cubicBezTo>
                  <a:pt x="719" y="269"/>
                  <a:pt x="719" y="270"/>
                  <a:pt x="719" y="270"/>
                </a:cubicBezTo>
                <a:cubicBezTo>
                  <a:pt x="720" y="270"/>
                  <a:pt x="717" y="271"/>
                  <a:pt x="717" y="272"/>
                </a:cubicBezTo>
                <a:cubicBezTo>
                  <a:pt x="716" y="272"/>
                  <a:pt x="715" y="272"/>
                  <a:pt x="715" y="273"/>
                </a:cubicBezTo>
                <a:cubicBezTo>
                  <a:pt x="715" y="275"/>
                  <a:pt x="715" y="276"/>
                  <a:pt x="714" y="277"/>
                </a:cubicBezTo>
                <a:cubicBezTo>
                  <a:pt x="714" y="277"/>
                  <a:pt x="713" y="278"/>
                  <a:pt x="713" y="278"/>
                </a:cubicBezTo>
                <a:cubicBezTo>
                  <a:pt x="713" y="278"/>
                  <a:pt x="713" y="279"/>
                  <a:pt x="712" y="279"/>
                </a:cubicBezTo>
                <a:cubicBezTo>
                  <a:pt x="711" y="279"/>
                  <a:pt x="711" y="279"/>
                  <a:pt x="710" y="279"/>
                </a:cubicBezTo>
                <a:cubicBezTo>
                  <a:pt x="710" y="279"/>
                  <a:pt x="709" y="279"/>
                  <a:pt x="709" y="279"/>
                </a:cubicBezTo>
                <a:cubicBezTo>
                  <a:pt x="709" y="280"/>
                  <a:pt x="709" y="280"/>
                  <a:pt x="708" y="280"/>
                </a:cubicBezTo>
                <a:cubicBezTo>
                  <a:pt x="707" y="280"/>
                  <a:pt x="706" y="280"/>
                  <a:pt x="705" y="280"/>
                </a:cubicBezTo>
                <a:cubicBezTo>
                  <a:pt x="704" y="280"/>
                  <a:pt x="701" y="280"/>
                  <a:pt x="701" y="281"/>
                </a:cubicBezTo>
                <a:cubicBezTo>
                  <a:pt x="701" y="281"/>
                  <a:pt x="705" y="282"/>
                  <a:pt x="705" y="282"/>
                </a:cubicBezTo>
                <a:cubicBezTo>
                  <a:pt x="706" y="283"/>
                  <a:pt x="707" y="283"/>
                  <a:pt x="708" y="283"/>
                </a:cubicBezTo>
                <a:cubicBezTo>
                  <a:pt x="709" y="283"/>
                  <a:pt x="710" y="283"/>
                  <a:pt x="710" y="283"/>
                </a:cubicBezTo>
                <a:cubicBezTo>
                  <a:pt x="712" y="283"/>
                  <a:pt x="713" y="282"/>
                  <a:pt x="715" y="282"/>
                </a:cubicBezTo>
                <a:cubicBezTo>
                  <a:pt x="716" y="282"/>
                  <a:pt x="717" y="282"/>
                  <a:pt x="717" y="281"/>
                </a:cubicBezTo>
                <a:cubicBezTo>
                  <a:pt x="718" y="281"/>
                  <a:pt x="719" y="281"/>
                  <a:pt x="719" y="281"/>
                </a:cubicBezTo>
                <a:cubicBezTo>
                  <a:pt x="720" y="280"/>
                  <a:pt x="720" y="279"/>
                  <a:pt x="720" y="279"/>
                </a:cubicBezTo>
                <a:cubicBezTo>
                  <a:pt x="720" y="278"/>
                  <a:pt x="721" y="279"/>
                  <a:pt x="720" y="278"/>
                </a:cubicBezTo>
                <a:cubicBezTo>
                  <a:pt x="720" y="278"/>
                  <a:pt x="720" y="278"/>
                  <a:pt x="720" y="278"/>
                </a:cubicBezTo>
                <a:cubicBezTo>
                  <a:pt x="720" y="277"/>
                  <a:pt x="720" y="277"/>
                  <a:pt x="720" y="277"/>
                </a:cubicBezTo>
                <a:cubicBezTo>
                  <a:pt x="720" y="276"/>
                  <a:pt x="719" y="276"/>
                  <a:pt x="719" y="275"/>
                </a:cubicBezTo>
                <a:cubicBezTo>
                  <a:pt x="719" y="274"/>
                  <a:pt x="720" y="274"/>
                  <a:pt x="720" y="274"/>
                </a:cubicBezTo>
                <a:cubicBezTo>
                  <a:pt x="721" y="274"/>
                  <a:pt x="722" y="274"/>
                  <a:pt x="722" y="274"/>
                </a:cubicBezTo>
                <a:cubicBezTo>
                  <a:pt x="724" y="275"/>
                  <a:pt x="723" y="273"/>
                  <a:pt x="724" y="273"/>
                </a:cubicBezTo>
                <a:cubicBezTo>
                  <a:pt x="724" y="272"/>
                  <a:pt x="725" y="272"/>
                  <a:pt x="726" y="271"/>
                </a:cubicBezTo>
                <a:cubicBezTo>
                  <a:pt x="726" y="271"/>
                  <a:pt x="727" y="271"/>
                  <a:pt x="727" y="270"/>
                </a:cubicBezTo>
                <a:cubicBezTo>
                  <a:pt x="728" y="270"/>
                  <a:pt x="728" y="270"/>
                  <a:pt x="729" y="270"/>
                </a:cubicBezTo>
                <a:cubicBezTo>
                  <a:pt x="730" y="270"/>
                  <a:pt x="730" y="269"/>
                  <a:pt x="730" y="269"/>
                </a:cubicBezTo>
                <a:cubicBezTo>
                  <a:pt x="731" y="268"/>
                  <a:pt x="731" y="268"/>
                  <a:pt x="731" y="267"/>
                </a:cubicBezTo>
                <a:cubicBezTo>
                  <a:pt x="731" y="267"/>
                  <a:pt x="731" y="267"/>
                  <a:pt x="731" y="266"/>
                </a:cubicBezTo>
                <a:cubicBezTo>
                  <a:pt x="731" y="266"/>
                  <a:pt x="732" y="264"/>
                  <a:pt x="732" y="264"/>
                </a:cubicBezTo>
                <a:cubicBezTo>
                  <a:pt x="733" y="264"/>
                  <a:pt x="734" y="265"/>
                  <a:pt x="734" y="264"/>
                </a:cubicBezTo>
                <a:cubicBezTo>
                  <a:pt x="735" y="263"/>
                  <a:pt x="734" y="262"/>
                  <a:pt x="734" y="262"/>
                </a:cubicBezTo>
                <a:cubicBezTo>
                  <a:pt x="733" y="261"/>
                  <a:pt x="733" y="261"/>
                  <a:pt x="732" y="261"/>
                </a:cubicBezTo>
                <a:cubicBezTo>
                  <a:pt x="732" y="261"/>
                  <a:pt x="730" y="262"/>
                  <a:pt x="730" y="262"/>
                </a:cubicBezTo>
                <a:cubicBezTo>
                  <a:pt x="730" y="262"/>
                  <a:pt x="730" y="261"/>
                  <a:pt x="730" y="261"/>
                </a:cubicBezTo>
                <a:cubicBezTo>
                  <a:pt x="730" y="261"/>
                  <a:pt x="730" y="260"/>
                  <a:pt x="730" y="260"/>
                </a:cubicBezTo>
                <a:cubicBezTo>
                  <a:pt x="730" y="259"/>
                  <a:pt x="730" y="259"/>
                  <a:pt x="731" y="258"/>
                </a:cubicBezTo>
                <a:cubicBezTo>
                  <a:pt x="731" y="258"/>
                  <a:pt x="732" y="258"/>
                  <a:pt x="732" y="259"/>
                </a:cubicBezTo>
                <a:cubicBezTo>
                  <a:pt x="733" y="259"/>
                  <a:pt x="732" y="259"/>
                  <a:pt x="732" y="259"/>
                </a:cubicBezTo>
                <a:cubicBezTo>
                  <a:pt x="733" y="260"/>
                  <a:pt x="733" y="259"/>
                  <a:pt x="733" y="260"/>
                </a:cubicBezTo>
                <a:cubicBezTo>
                  <a:pt x="733" y="260"/>
                  <a:pt x="733" y="261"/>
                  <a:pt x="733" y="261"/>
                </a:cubicBezTo>
                <a:close/>
                <a:moveTo>
                  <a:pt x="1121" y="108"/>
                </a:moveTo>
                <a:cubicBezTo>
                  <a:pt x="1119" y="108"/>
                  <a:pt x="1118" y="107"/>
                  <a:pt x="1117" y="107"/>
                </a:cubicBezTo>
                <a:cubicBezTo>
                  <a:pt x="1118" y="108"/>
                  <a:pt x="1119" y="108"/>
                  <a:pt x="1121" y="108"/>
                </a:cubicBezTo>
                <a:close/>
                <a:moveTo>
                  <a:pt x="1164" y="184"/>
                </a:moveTo>
                <a:cubicBezTo>
                  <a:pt x="1165" y="184"/>
                  <a:pt x="1166" y="185"/>
                  <a:pt x="1166" y="185"/>
                </a:cubicBezTo>
                <a:cubicBezTo>
                  <a:pt x="1166" y="185"/>
                  <a:pt x="1165" y="184"/>
                  <a:pt x="1164" y="18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1" name="Romania"/>
          <p:cNvSpPr>
            <a:spLocks/>
          </p:cNvSpPr>
          <p:nvPr/>
        </p:nvSpPr>
        <p:spPr bwMode="auto">
          <a:xfrm>
            <a:off x="6464058" y="2750009"/>
            <a:ext cx="299988" cy="180994"/>
          </a:xfrm>
          <a:custGeom>
            <a:avLst/>
            <a:gdLst/>
            <a:ahLst/>
            <a:cxnLst>
              <a:cxn ang="0">
                <a:pos x="80" y="31"/>
              </a:cxn>
              <a:cxn ang="0">
                <a:pos x="75" y="32"/>
              </a:cxn>
              <a:cxn ang="0">
                <a:pos x="73" y="33"/>
              </a:cxn>
              <a:cxn ang="0">
                <a:pos x="69" y="30"/>
              </a:cxn>
              <a:cxn ang="0">
                <a:pos x="68" y="27"/>
              </a:cxn>
              <a:cxn ang="0">
                <a:pos x="68" y="22"/>
              </a:cxn>
              <a:cxn ang="0">
                <a:pos x="69" y="19"/>
              </a:cxn>
              <a:cxn ang="0">
                <a:pos x="66" y="14"/>
              </a:cxn>
              <a:cxn ang="0">
                <a:pos x="61" y="9"/>
              </a:cxn>
              <a:cxn ang="0">
                <a:pos x="59" y="6"/>
              </a:cxn>
              <a:cxn ang="0">
                <a:pos x="58" y="4"/>
              </a:cxn>
              <a:cxn ang="0">
                <a:pos x="56" y="2"/>
              </a:cxn>
              <a:cxn ang="0">
                <a:pos x="51" y="1"/>
              </a:cxn>
              <a:cxn ang="0">
                <a:pos x="43" y="4"/>
              </a:cxn>
              <a:cxn ang="0">
                <a:pos x="38" y="5"/>
              </a:cxn>
              <a:cxn ang="0">
                <a:pos x="32" y="4"/>
              </a:cxn>
              <a:cxn ang="0">
                <a:pos x="29" y="3"/>
              </a:cxn>
              <a:cxn ang="0">
                <a:pos x="23" y="3"/>
              </a:cxn>
              <a:cxn ang="0">
                <a:pos x="21" y="5"/>
              </a:cxn>
              <a:cxn ang="0">
                <a:pos x="18" y="5"/>
              </a:cxn>
              <a:cxn ang="0">
                <a:pos x="16" y="7"/>
              </a:cxn>
              <a:cxn ang="0">
                <a:pos x="14" y="10"/>
              </a:cxn>
              <a:cxn ang="0">
                <a:pos x="12" y="14"/>
              </a:cxn>
              <a:cxn ang="0">
                <a:pos x="11" y="15"/>
              </a:cxn>
              <a:cxn ang="0">
                <a:pos x="10" y="17"/>
              </a:cxn>
              <a:cxn ang="0">
                <a:pos x="8" y="21"/>
              </a:cxn>
              <a:cxn ang="0">
                <a:pos x="4" y="22"/>
              </a:cxn>
              <a:cxn ang="0">
                <a:pos x="0" y="23"/>
              </a:cxn>
              <a:cxn ang="0">
                <a:pos x="5" y="27"/>
              </a:cxn>
              <a:cxn ang="0">
                <a:pos x="6" y="31"/>
              </a:cxn>
              <a:cxn ang="0">
                <a:pos x="9" y="33"/>
              </a:cxn>
              <a:cxn ang="0">
                <a:pos x="10" y="35"/>
              </a:cxn>
              <a:cxn ang="0">
                <a:pos x="12" y="38"/>
              </a:cxn>
              <a:cxn ang="0">
                <a:pos x="16" y="39"/>
              </a:cxn>
              <a:cxn ang="0">
                <a:pos x="20" y="39"/>
              </a:cxn>
              <a:cxn ang="0">
                <a:pos x="21" y="41"/>
              </a:cxn>
              <a:cxn ang="0">
                <a:pos x="22" y="43"/>
              </a:cxn>
              <a:cxn ang="0">
                <a:pos x="25" y="45"/>
              </a:cxn>
              <a:cxn ang="0">
                <a:pos x="24" y="48"/>
              </a:cxn>
              <a:cxn ang="0">
                <a:pos x="32" y="49"/>
              </a:cxn>
              <a:cxn ang="0">
                <a:pos x="41" y="49"/>
              </a:cxn>
              <a:cxn ang="0">
                <a:pos x="48" y="50"/>
              </a:cxn>
              <a:cxn ang="0">
                <a:pos x="57" y="46"/>
              </a:cxn>
              <a:cxn ang="0">
                <a:pos x="62" y="45"/>
              </a:cxn>
              <a:cxn ang="0">
                <a:pos x="67" y="47"/>
              </a:cxn>
              <a:cxn ang="0">
                <a:pos x="71" y="49"/>
              </a:cxn>
              <a:cxn ang="0">
                <a:pos x="75" y="44"/>
              </a:cxn>
              <a:cxn ang="0">
                <a:pos x="76" y="40"/>
              </a:cxn>
              <a:cxn ang="0">
                <a:pos x="75" y="40"/>
              </a:cxn>
              <a:cxn ang="0">
                <a:pos x="77" y="39"/>
              </a:cxn>
              <a:cxn ang="0">
                <a:pos x="75" y="39"/>
              </a:cxn>
              <a:cxn ang="0">
                <a:pos x="76" y="36"/>
              </a:cxn>
              <a:cxn ang="0">
                <a:pos x="78" y="37"/>
              </a:cxn>
              <a:cxn ang="0">
                <a:pos x="79" y="38"/>
              </a:cxn>
            </a:cxnLst>
            <a:rect l="0" t="0" r="r" b="b"/>
            <a:pathLst>
              <a:path w="83" h="50">
                <a:moveTo>
                  <a:pt x="83" y="34"/>
                </a:moveTo>
                <a:cubicBezTo>
                  <a:pt x="82" y="34"/>
                  <a:pt x="82" y="32"/>
                  <a:pt x="82" y="32"/>
                </a:cubicBezTo>
                <a:cubicBezTo>
                  <a:pt x="82" y="31"/>
                  <a:pt x="81" y="31"/>
                  <a:pt x="80" y="31"/>
                </a:cubicBezTo>
                <a:cubicBezTo>
                  <a:pt x="78" y="31"/>
                  <a:pt x="78" y="32"/>
                  <a:pt x="76" y="32"/>
                </a:cubicBezTo>
                <a:cubicBezTo>
                  <a:pt x="76" y="32"/>
                  <a:pt x="76" y="33"/>
                  <a:pt x="76" y="32"/>
                </a:cubicBezTo>
                <a:cubicBezTo>
                  <a:pt x="75" y="32"/>
                  <a:pt x="75" y="32"/>
                  <a:pt x="75" y="32"/>
                </a:cubicBezTo>
                <a:cubicBezTo>
                  <a:pt x="75" y="32"/>
                  <a:pt x="75" y="33"/>
                  <a:pt x="75" y="33"/>
                </a:cubicBezTo>
                <a:cubicBezTo>
                  <a:pt x="75" y="33"/>
                  <a:pt x="74" y="33"/>
                  <a:pt x="74" y="33"/>
                </a:cubicBezTo>
                <a:cubicBezTo>
                  <a:pt x="74" y="33"/>
                  <a:pt x="73" y="33"/>
                  <a:pt x="73" y="33"/>
                </a:cubicBezTo>
                <a:cubicBezTo>
                  <a:pt x="73" y="33"/>
                  <a:pt x="72" y="33"/>
                  <a:pt x="71" y="32"/>
                </a:cubicBezTo>
                <a:cubicBezTo>
                  <a:pt x="71" y="32"/>
                  <a:pt x="70" y="32"/>
                  <a:pt x="70" y="31"/>
                </a:cubicBezTo>
                <a:cubicBezTo>
                  <a:pt x="70" y="31"/>
                  <a:pt x="70" y="31"/>
                  <a:pt x="69" y="30"/>
                </a:cubicBezTo>
                <a:cubicBezTo>
                  <a:pt x="69" y="30"/>
                  <a:pt x="69" y="30"/>
                  <a:pt x="68" y="29"/>
                </a:cubicBezTo>
                <a:cubicBezTo>
                  <a:pt x="68" y="29"/>
                  <a:pt x="68" y="29"/>
                  <a:pt x="69" y="29"/>
                </a:cubicBezTo>
                <a:cubicBezTo>
                  <a:pt x="69" y="29"/>
                  <a:pt x="69" y="27"/>
                  <a:pt x="68" y="27"/>
                </a:cubicBezTo>
                <a:cubicBezTo>
                  <a:pt x="68" y="26"/>
                  <a:pt x="68" y="26"/>
                  <a:pt x="68" y="26"/>
                </a:cubicBezTo>
                <a:cubicBezTo>
                  <a:pt x="68" y="25"/>
                  <a:pt x="68" y="25"/>
                  <a:pt x="68" y="24"/>
                </a:cubicBezTo>
                <a:cubicBezTo>
                  <a:pt x="68" y="24"/>
                  <a:pt x="68" y="23"/>
                  <a:pt x="68" y="22"/>
                </a:cubicBezTo>
                <a:cubicBezTo>
                  <a:pt x="68" y="22"/>
                  <a:pt x="68" y="22"/>
                  <a:pt x="68" y="22"/>
                </a:cubicBezTo>
                <a:cubicBezTo>
                  <a:pt x="69" y="21"/>
                  <a:pt x="69" y="21"/>
                  <a:pt x="69" y="20"/>
                </a:cubicBezTo>
                <a:cubicBezTo>
                  <a:pt x="69" y="20"/>
                  <a:pt x="69" y="20"/>
                  <a:pt x="69" y="19"/>
                </a:cubicBezTo>
                <a:cubicBezTo>
                  <a:pt x="69" y="19"/>
                  <a:pt x="69" y="18"/>
                  <a:pt x="68" y="18"/>
                </a:cubicBezTo>
                <a:cubicBezTo>
                  <a:pt x="68" y="17"/>
                  <a:pt x="68" y="17"/>
                  <a:pt x="68" y="16"/>
                </a:cubicBezTo>
                <a:cubicBezTo>
                  <a:pt x="67" y="15"/>
                  <a:pt x="68" y="14"/>
                  <a:pt x="66" y="14"/>
                </a:cubicBezTo>
                <a:cubicBezTo>
                  <a:pt x="65" y="13"/>
                  <a:pt x="64" y="12"/>
                  <a:pt x="64" y="11"/>
                </a:cubicBezTo>
                <a:cubicBezTo>
                  <a:pt x="63" y="11"/>
                  <a:pt x="62" y="10"/>
                  <a:pt x="62" y="9"/>
                </a:cubicBezTo>
                <a:cubicBezTo>
                  <a:pt x="62" y="9"/>
                  <a:pt x="61" y="9"/>
                  <a:pt x="61" y="9"/>
                </a:cubicBezTo>
                <a:cubicBezTo>
                  <a:pt x="61" y="8"/>
                  <a:pt x="61" y="8"/>
                  <a:pt x="61" y="8"/>
                </a:cubicBezTo>
                <a:cubicBezTo>
                  <a:pt x="60" y="7"/>
                  <a:pt x="60" y="7"/>
                  <a:pt x="59" y="7"/>
                </a:cubicBezTo>
                <a:cubicBezTo>
                  <a:pt x="59" y="6"/>
                  <a:pt x="59" y="6"/>
                  <a:pt x="59" y="6"/>
                </a:cubicBezTo>
                <a:cubicBezTo>
                  <a:pt x="59" y="5"/>
                  <a:pt x="59" y="5"/>
                  <a:pt x="58" y="4"/>
                </a:cubicBezTo>
                <a:cubicBezTo>
                  <a:pt x="58" y="4"/>
                  <a:pt x="58" y="4"/>
                  <a:pt x="58" y="4"/>
                </a:cubicBezTo>
                <a:cubicBezTo>
                  <a:pt x="58" y="4"/>
                  <a:pt x="58" y="4"/>
                  <a:pt x="58" y="4"/>
                </a:cubicBezTo>
                <a:cubicBezTo>
                  <a:pt x="58" y="3"/>
                  <a:pt x="58" y="3"/>
                  <a:pt x="57" y="3"/>
                </a:cubicBezTo>
                <a:cubicBezTo>
                  <a:pt x="57" y="3"/>
                  <a:pt x="57" y="2"/>
                  <a:pt x="57" y="2"/>
                </a:cubicBezTo>
                <a:cubicBezTo>
                  <a:pt x="57" y="2"/>
                  <a:pt x="56" y="2"/>
                  <a:pt x="56" y="2"/>
                </a:cubicBezTo>
                <a:cubicBezTo>
                  <a:pt x="57" y="2"/>
                  <a:pt x="55" y="1"/>
                  <a:pt x="55" y="1"/>
                </a:cubicBezTo>
                <a:cubicBezTo>
                  <a:pt x="55" y="0"/>
                  <a:pt x="54" y="1"/>
                  <a:pt x="53" y="0"/>
                </a:cubicBezTo>
                <a:cubicBezTo>
                  <a:pt x="53" y="1"/>
                  <a:pt x="51" y="1"/>
                  <a:pt x="51" y="1"/>
                </a:cubicBezTo>
                <a:cubicBezTo>
                  <a:pt x="50" y="2"/>
                  <a:pt x="50" y="3"/>
                  <a:pt x="50" y="3"/>
                </a:cubicBezTo>
                <a:cubicBezTo>
                  <a:pt x="49" y="4"/>
                  <a:pt x="47" y="3"/>
                  <a:pt x="47" y="4"/>
                </a:cubicBezTo>
                <a:cubicBezTo>
                  <a:pt x="46" y="4"/>
                  <a:pt x="45" y="4"/>
                  <a:pt x="43" y="4"/>
                </a:cubicBezTo>
                <a:cubicBezTo>
                  <a:pt x="42" y="4"/>
                  <a:pt x="42" y="4"/>
                  <a:pt x="41" y="5"/>
                </a:cubicBezTo>
                <a:cubicBezTo>
                  <a:pt x="41" y="6"/>
                  <a:pt x="40" y="7"/>
                  <a:pt x="39" y="6"/>
                </a:cubicBezTo>
                <a:cubicBezTo>
                  <a:pt x="39" y="6"/>
                  <a:pt x="38" y="5"/>
                  <a:pt x="38" y="5"/>
                </a:cubicBezTo>
                <a:cubicBezTo>
                  <a:pt x="37" y="5"/>
                  <a:pt x="37" y="5"/>
                  <a:pt x="37" y="4"/>
                </a:cubicBezTo>
                <a:cubicBezTo>
                  <a:pt x="36" y="4"/>
                  <a:pt x="35" y="4"/>
                  <a:pt x="34" y="4"/>
                </a:cubicBezTo>
                <a:cubicBezTo>
                  <a:pt x="33" y="4"/>
                  <a:pt x="33" y="4"/>
                  <a:pt x="32" y="4"/>
                </a:cubicBezTo>
                <a:cubicBezTo>
                  <a:pt x="31" y="4"/>
                  <a:pt x="31" y="4"/>
                  <a:pt x="31" y="4"/>
                </a:cubicBezTo>
                <a:cubicBezTo>
                  <a:pt x="30" y="4"/>
                  <a:pt x="30" y="4"/>
                  <a:pt x="30" y="4"/>
                </a:cubicBezTo>
                <a:cubicBezTo>
                  <a:pt x="30" y="4"/>
                  <a:pt x="29" y="4"/>
                  <a:pt x="29" y="3"/>
                </a:cubicBezTo>
                <a:cubicBezTo>
                  <a:pt x="28" y="3"/>
                  <a:pt x="27" y="3"/>
                  <a:pt x="26" y="3"/>
                </a:cubicBezTo>
                <a:cubicBezTo>
                  <a:pt x="25" y="3"/>
                  <a:pt x="24" y="1"/>
                  <a:pt x="23" y="2"/>
                </a:cubicBezTo>
                <a:cubicBezTo>
                  <a:pt x="23" y="3"/>
                  <a:pt x="23" y="3"/>
                  <a:pt x="23" y="3"/>
                </a:cubicBezTo>
                <a:cubicBezTo>
                  <a:pt x="23" y="3"/>
                  <a:pt x="22" y="3"/>
                  <a:pt x="22" y="3"/>
                </a:cubicBezTo>
                <a:cubicBezTo>
                  <a:pt x="22" y="4"/>
                  <a:pt x="21" y="4"/>
                  <a:pt x="21" y="4"/>
                </a:cubicBezTo>
                <a:cubicBezTo>
                  <a:pt x="21" y="4"/>
                  <a:pt x="21" y="5"/>
                  <a:pt x="21" y="5"/>
                </a:cubicBezTo>
                <a:cubicBezTo>
                  <a:pt x="21" y="5"/>
                  <a:pt x="20" y="5"/>
                  <a:pt x="20" y="5"/>
                </a:cubicBezTo>
                <a:cubicBezTo>
                  <a:pt x="20" y="6"/>
                  <a:pt x="19" y="6"/>
                  <a:pt x="19" y="6"/>
                </a:cubicBezTo>
                <a:cubicBezTo>
                  <a:pt x="19" y="6"/>
                  <a:pt x="18" y="5"/>
                  <a:pt x="18" y="5"/>
                </a:cubicBezTo>
                <a:cubicBezTo>
                  <a:pt x="18" y="6"/>
                  <a:pt x="18" y="6"/>
                  <a:pt x="18" y="6"/>
                </a:cubicBezTo>
                <a:cubicBezTo>
                  <a:pt x="17" y="6"/>
                  <a:pt x="17" y="6"/>
                  <a:pt x="17" y="6"/>
                </a:cubicBezTo>
                <a:cubicBezTo>
                  <a:pt x="16" y="6"/>
                  <a:pt x="16" y="7"/>
                  <a:pt x="16" y="7"/>
                </a:cubicBezTo>
                <a:cubicBezTo>
                  <a:pt x="16" y="8"/>
                  <a:pt x="15" y="8"/>
                  <a:pt x="15" y="8"/>
                </a:cubicBezTo>
                <a:cubicBezTo>
                  <a:pt x="14" y="9"/>
                  <a:pt x="15" y="9"/>
                  <a:pt x="14" y="10"/>
                </a:cubicBezTo>
                <a:cubicBezTo>
                  <a:pt x="14" y="10"/>
                  <a:pt x="14" y="10"/>
                  <a:pt x="14" y="10"/>
                </a:cubicBezTo>
                <a:cubicBezTo>
                  <a:pt x="14" y="10"/>
                  <a:pt x="13" y="11"/>
                  <a:pt x="13" y="11"/>
                </a:cubicBezTo>
                <a:cubicBezTo>
                  <a:pt x="13" y="11"/>
                  <a:pt x="13" y="12"/>
                  <a:pt x="13" y="13"/>
                </a:cubicBezTo>
                <a:cubicBezTo>
                  <a:pt x="13" y="13"/>
                  <a:pt x="11" y="13"/>
                  <a:pt x="12" y="14"/>
                </a:cubicBezTo>
                <a:cubicBezTo>
                  <a:pt x="12" y="14"/>
                  <a:pt x="12" y="14"/>
                  <a:pt x="12" y="15"/>
                </a:cubicBezTo>
                <a:cubicBezTo>
                  <a:pt x="11" y="15"/>
                  <a:pt x="11" y="15"/>
                  <a:pt x="11" y="15"/>
                </a:cubicBezTo>
                <a:cubicBezTo>
                  <a:pt x="11" y="15"/>
                  <a:pt x="11" y="15"/>
                  <a:pt x="11" y="15"/>
                </a:cubicBezTo>
                <a:cubicBezTo>
                  <a:pt x="11" y="15"/>
                  <a:pt x="11" y="16"/>
                  <a:pt x="11" y="16"/>
                </a:cubicBezTo>
                <a:cubicBezTo>
                  <a:pt x="10" y="16"/>
                  <a:pt x="10" y="17"/>
                  <a:pt x="11" y="17"/>
                </a:cubicBezTo>
                <a:cubicBezTo>
                  <a:pt x="11" y="17"/>
                  <a:pt x="10" y="17"/>
                  <a:pt x="10" y="17"/>
                </a:cubicBezTo>
                <a:cubicBezTo>
                  <a:pt x="10" y="18"/>
                  <a:pt x="9" y="18"/>
                  <a:pt x="9" y="18"/>
                </a:cubicBezTo>
                <a:cubicBezTo>
                  <a:pt x="9" y="19"/>
                  <a:pt x="8" y="19"/>
                  <a:pt x="9" y="20"/>
                </a:cubicBezTo>
                <a:cubicBezTo>
                  <a:pt x="9" y="20"/>
                  <a:pt x="8" y="20"/>
                  <a:pt x="8" y="21"/>
                </a:cubicBezTo>
                <a:cubicBezTo>
                  <a:pt x="8" y="21"/>
                  <a:pt x="8" y="21"/>
                  <a:pt x="7" y="22"/>
                </a:cubicBezTo>
                <a:cubicBezTo>
                  <a:pt x="7" y="22"/>
                  <a:pt x="7" y="22"/>
                  <a:pt x="6" y="22"/>
                </a:cubicBezTo>
                <a:cubicBezTo>
                  <a:pt x="6" y="22"/>
                  <a:pt x="4" y="22"/>
                  <a:pt x="4" y="22"/>
                </a:cubicBezTo>
                <a:cubicBezTo>
                  <a:pt x="4" y="23"/>
                  <a:pt x="4" y="23"/>
                  <a:pt x="3" y="23"/>
                </a:cubicBezTo>
                <a:cubicBezTo>
                  <a:pt x="3" y="23"/>
                  <a:pt x="2" y="23"/>
                  <a:pt x="2" y="23"/>
                </a:cubicBezTo>
                <a:cubicBezTo>
                  <a:pt x="1" y="23"/>
                  <a:pt x="1" y="23"/>
                  <a:pt x="0" y="23"/>
                </a:cubicBezTo>
                <a:cubicBezTo>
                  <a:pt x="0" y="24"/>
                  <a:pt x="2" y="26"/>
                  <a:pt x="3" y="26"/>
                </a:cubicBezTo>
                <a:cubicBezTo>
                  <a:pt x="4" y="26"/>
                  <a:pt x="4" y="27"/>
                  <a:pt x="4" y="27"/>
                </a:cubicBezTo>
                <a:cubicBezTo>
                  <a:pt x="4" y="28"/>
                  <a:pt x="5" y="27"/>
                  <a:pt x="5" y="27"/>
                </a:cubicBezTo>
                <a:cubicBezTo>
                  <a:pt x="5" y="28"/>
                  <a:pt x="5" y="28"/>
                  <a:pt x="5" y="29"/>
                </a:cubicBezTo>
                <a:cubicBezTo>
                  <a:pt x="5" y="29"/>
                  <a:pt x="6" y="30"/>
                  <a:pt x="5" y="30"/>
                </a:cubicBezTo>
                <a:cubicBezTo>
                  <a:pt x="5" y="30"/>
                  <a:pt x="6" y="31"/>
                  <a:pt x="6" y="31"/>
                </a:cubicBezTo>
                <a:cubicBezTo>
                  <a:pt x="7" y="31"/>
                  <a:pt x="7" y="32"/>
                  <a:pt x="8" y="32"/>
                </a:cubicBezTo>
                <a:cubicBezTo>
                  <a:pt x="8" y="32"/>
                  <a:pt x="8" y="32"/>
                  <a:pt x="9" y="32"/>
                </a:cubicBezTo>
                <a:cubicBezTo>
                  <a:pt x="9" y="33"/>
                  <a:pt x="9" y="33"/>
                  <a:pt x="9" y="33"/>
                </a:cubicBezTo>
                <a:cubicBezTo>
                  <a:pt x="10" y="33"/>
                  <a:pt x="11" y="33"/>
                  <a:pt x="11" y="34"/>
                </a:cubicBezTo>
                <a:cubicBezTo>
                  <a:pt x="12" y="34"/>
                  <a:pt x="11" y="34"/>
                  <a:pt x="11" y="35"/>
                </a:cubicBezTo>
                <a:cubicBezTo>
                  <a:pt x="11" y="35"/>
                  <a:pt x="11" y="35"/>
                  <a:pt x="10" y="35"/>
                </a:cubicBezTo>
                <a:cubicBezTo>
                  <a:pt x="10" y="36"/>
                  <a:pt x="13" y="36"/>
                  <a:pt x="12" y="37"/>
                </a:cubicBezTo>
                <a:cubicBezTo>
                  <a:pt x="11" y="37"/>
                  <a:pt x="11" y="37"/>
                  <a:pt x="10" y="37"/>
                </a:cubicBezTo>
                <a:cubicBezTo>
                  <a:pt x="10" y="38"/>
                  <a:pt x="11" y="38"/>
                  <a:pt x="12" y="38"/>
                </a:cubicBezTo>
                <a:cubicBezTo>
                  <a:pt x="13" y="38"/>
                  <a:pt x="13" y="38"/>
                  <a:pt x="13" y="39"/>
                </a:cubicBezTo>
                <a:cubicBezTo>
                  <a:pt x="13" y="39"/>
                  <a:pt x="14" y="39"/>
                  <a:pt x="14" y="39"/>
                </a:cubicBezTo>
                <a:cubicBezTo>
                  <a:pt x="15" y="39"/>
                  <a:pt x="15" y="39"/>
                  <a:pt x="16" y="39"/>
                </a:cubicBezTo>
                <a:cubicBezTo>
                  <a:pt x="16" y="40"/>
                  <a:pt x="16" y="40"/>
                  <a:pt x="17" y="41"/>
                </a:cubicBezTo>
                <a:cubicBezTo>
                  <a:pt x="18" y="42"/>
                  <a:pt x="18" y="40"/>
                  <a:pt x="19" y="39"/>
                </a:cubicBezTo>
                <a:cubicBezTo>
                  <a:pt x="19" y="39"/>
                  <a:pt x="20" y="38"/>
                  <a:pt x="20" y="39"/>
                </a:cubicBezTo>
                <a:cubicBezTo>
                  <a:pt x="21" y="39"/>
                  <a:pt x="21" y="40"/>
                  <a:pt x="22" y="40"/>
                </a:cubicBezTo>
                <a:cubicBezTo>
                  <a:pt x="22" y="40"/>
                  <a:pt x="23" y="41"/>
                  <a:pt x="22" y="41"/>
                </a:cubicBezTo>
                <a:cubicBezTo>
                  <a:pt x="22" y="41"/>
                  <a:pt x="21" y="40"/>
                  <a:pt x="21" y="41"/>
                </a:cubicBezTo>
                <a:cubicBezTo>
                  <a:pt x="21" y="41"/>
                  <a:pt x="20" y="41"/>
                  <a:pt x="20" y="41"/>
                </a:cubicBezTo>
                <a:cubicBezTo>
                  <a:pt x="20" y="42"/>
                  <a:pt x="21" y="42"/>
                  <a:pt x="21" y="42"/>
                </a:cubicBezTo>
                <a:cubicBezTo>
                  <a:pt x="21" y="43"/>
                  <a:pt x="22" y="43"/>
                  <a:pt x="22" y="43"/>
                </a:cubicBezTo>
                <a:cubicBezTo>
                  <a:pt x="23" y="43"/>
                  <a:pt x="22" y="44"/>
                  <a:pt x="22" y="44"/>
                </a:cubicBezTo>
                <a:cubicBezTo>
                  <a:pt x="22" y="44"/>
                  <a:pt x="23" y="44"/>
                  <a:pt x="23" y="44"/>
                </a:cubicBezTo>
                <a:cubicBezTo>
                  <a:pt x="24" y="44"/>
                  <a:pt x="24" y="45"/>
                  <a:pt x="25" y="45"/>
                </a:cubicBezTo>
                <a:cubicBezTo>
                  <a:pt x="25" y="45"/>
                  <a:pt x="26" y="45"/>
                  <a:pt x="25" y="46"/>
                </a:cubicBezTo>
                <a:cubicBezTo>
                  <a:pt x="25" y="46"/>
                  <a:pt x="24" y="46"/>
                  <a:pt x="24" y="47"/>
                </a:cubicBezTo>
                <a:cubicBezTo>
                  <a:pt x="24" y="47"/>
                  <a:pt x="24" y="48"/>
                  <a:pt x="24" y="48"/>
                </a:cubicBezTo>
                <a:cubicBezTo>
                  <a:pt x="25" y="49"/>
                  <a:pt x="27" y="48"/>
                  <a:pt x="28" y="48"/>
                </a:cubicBezTo>
                <a:cubicBezTo>
                  <a:pt x="29" y="48"/>
                  <a:pt x="29" y="48"/>
                  <a:pt x="30" y="48"/>
                </a:cubicBezTo>
                <a:cubicBezTo>
                  <a:pt x="31" y="49"/>
                  <a:pt x="31" y="48"/>
                  <a:pt x="32" y="49"/>
                </a:cubicBezTo>
                <a:cubicBezTo>
                  <a:pt x="34" y="49"/>
                  <a:pt x="35" y="50"/>
                  <a:pt x="37" y="50"/>
                </a:cubicBezTo>
                <a:cubicBezTo>
                  <a:pt x="38" y="49"/>
                  <a:pt x="38" y="49"/>
                  <a:pt x="39" y="49"/>
                </a:cubicBezTo>
                <a:cubicBezTo>
                  <a:pt x="40" y="49"/>
                  <a:pt x="41" y="49"/>
                  <a:pt x="41" y="49"/>
                </a:cubicBezTo>
                <a:cubicBezTo>
                  <a:pt x="42" y="49"/>
                  <a:pt x="43" y="49"/>
                  <a:pt x="44" y="50"/>
                </a:cubicBezTo>
                <a:cubicBezTo>
                  <a:pt x="44" y="50"/>
                  <a:pt x="45" y="50"/>
                  <a:pt x="46" y="50"/>
                </a:cubicBezTo>
                <a:cubicBezTo>
                  <a:pt x="46" y="50"/>
                  <a:pt x="47" y="50"/>
                  <a:pt x="48" y="50"/>
                </a:cubicBezTo>
                <a:cubicBezTo>
                  <a:pt x="49" y="50"/>
                  <a:pt x="50" y="50"/>
                  <a:pt x="50" y="49"/>
                </a:cubicBezTo>
                <a:cubicBezTo>
                  <a:pt x="51" y="48"/>
                  <a:pt x="52" y="47"/>
                  <a:pt x="53" y="46"/>
                </a:cubicBezTo>
                <a:cubicBezTo>
                  <a:pt x="54" y="46"/>
                  <a:pt x="55" y="46"/>
                  <a:pt x="57" y="46"/>
                </a:cubicBezTo>
                <a:cubicBezTo>
                  <a:pt x="57" y="46"/>
                  <a:pt x="58" y="45"/>
                  <a:pt x="58" y="45"/>
                </a:cubicBezTo>
                <a:cubicBezTo>
                  <a:pt x="59" y="45"/>
                  <a:pt x="60" y="45"/>
                  <a:pt x="61" y="45"/>
                </a:cubicBezTo>
                <a:cubicBezTo>
                  <a:pt x="61" y="45"/>
                  <a:pt x="62" y="45"/>
                  <a:pt x="62" y="45"/>
                </a:cubicBezTo>
                <a:cubicBezTo>
                  <a:pt x="63" y="45"/>
                  <a:pt x="63" y="46"/>
                  <a:pt x="64" y="46"/>
                </a:cubicBezTo>
                <a:cubicBezTo>
                  <a:pt x="64" y="46"/>
                  <a:pt x="65" y="46"/>
                  <a:pt x="66" y="46"/>
                </a:cubicBezTo>
                <a:cubicBezTo>
                  <a:pt x="66" y="46"/>
                  <a:pt x="66" y="47"/>
                  <a:pt x="67" y="47"/>
                </a:cubicBezTo>
                <a:cubicBezTo>
                  <a:pt x="67" y="47"/>
                  <a:pt x="68" y="46"/>
                  <a:pt x="68" y="46"/>
                </a:cubicBezTo>
                <a:cubicBezTo>
                  <a:pt x="69" y="46"/>
                  <a:pt x="69" y="47"/>
                  <a:pt x="69" y="48"/>
                </a:cubicBezTo>
                <a:cubicBezTo>
                  <a:pt x="69" y="48"/>
                  <a:pt x="70" y="48"/>
                  <a:pt x="71" y="49"/>
                </a:cubicBezTo>
                <a:cubicBezTo>
                  <a:pt x="72" y="49"/>
                  <a:pt x="73" y="49"/>
                  <a:pt x="74" y="49"/>
                </a:cubicBezTo>
                <a:cubicBezTo>
                  <a:pt x="74" y="48"/>
                  <a:pt x="75" y="47"/>
                  <a:pt x="75" y="46"/>
                </a:cubicBezTo>
                <a:cubicBezTo>
                  <a:pt x="75" y="46"/>
                  <a:pt x="74" y="44"/>
                  <a:pt x="75" y="44"/>
                </a:cubicBezTo>
                <a:cubicBezTo>
                  <a:pt x="75" y="44"/>
                  <a:pt x="74" y="44"/>
                  <a:pt x="74" y="43"/>
                </a:cubicBezTo>
                <a:cubicBezTo>
                  <a:pt x="74" y="43"/>
                  <a:pt x="75" y="43"/>
                  <a:pt x="75" y="42"/>
                </a:cubicBezTo>
                <a:cubicBezTo>
                  <a:pt x="75" y="42"/>
                  <a:pt x="76" y="41"/>
                  <a:pt x="76" y="40"/>
                </a:cubicBezTo>
                <a:cubicBezTo>
                  <a:pt x="76" y="40"/>
                  <a:pt x="75" y="41"/>
                  <a:pt x="75" y="41"/>
                </a:cubicBezTo>
                <a:cubicBezTo>
                  <a:pt x="75" y="41"/>
                  <a:pt x="75" y="40"/>
                  <a:pt x="75" y="40"/>
                </a:cubicBezTo>
                <a:cubicBezTo>
                  <a:pt x="75" y="40"/>
                  <a:pt x="75" y="40"/>
                  <a:pt x="75" y="40"/>
                </a:cubicBezTo>
                <a:cubicBezTo>
                  <a:pt x="75" y="40"/>
                  <a:pt x="75" y="39"/>
                  <a:pt x="75" y="40"/>
                </a:cubicBezTo>
                <a:cubicBezTo>
                  <a:pt x="75" y="40"/>
                  <a:pt x="75" y="40"/>
                  <a:pt x="75" y="40"/>
                </a:cubicBezTo>
                <a:cubicBezTo>
                  <a:pt x="76" y="40"/>
                  <a:pt x="76" y="39"/>
                  <a:pt x="77" y="39"/>
                </a:cubicBezTo>
                <a:cubicBezTo>
                  <a:pt x="77" y="39"/>
                  <a:pt x="77" y="40"/>
                  <a:pt x="77" y="39"/>
                </a:cubicBezTo>
                <a:cubicBezTo>
                  <a:pt x="77" y="39"/>
                  <a:pt x="76" y="39"/>
                  <a:pt x="76" y="39"/>
                </a:cubicBezTo>
                <a:cubicBezTo>
                  <a:pt x="76" y="40"/>
                  <a:pt x="75" y="39"/>
                  <a:pt x="75" y="39"/>
                </a:cubicBezTo>
                <a:cubicBezTo>
                  <a:pt x="75" y="39"/>
                  <a:pt x="76" y="38"/>
                  <a:pt x="76" y="38"/>
                </a:cubicBezTo>
                <a:cubicBezTo>
                  <a:pt x="77" y="38"/>
                  <a:pt x="76" y="37"/>
                  <a:pt x="76" y="37"/>
                </a:cubicBezTo>
                <a:cubicBezTo>
                  <a:pt x="76" y="37"/>
                  <a:pt x="76" y="36"/>
                  <a:pt x="76" y="36"/>
                </a:cubicBezTo>
                <a:cubicBezTo>
                  <a:pt x="76" y="36"/>
                  <a:pt x="78" y="35"/>
                  <a:pt x="78" y="36"/>
                </a:cubicBezTo>
                <a:cubicBezTo>
                  <a:pt x="78" y="36"/>
                  <a:pt x="77" y="36"/>
                  <a:pt x="77" y="37"/>
                </a:cubicBezTo>
                <a:cubicBezTo>
                  <a:pt x="77" y="37"/>
                  <a:pt x="78" y="37"/>
                  <a:pt x="78" y="37"/>
                </a:cubicBezTo>
                <a:cubicBezTo>
                  <a:pt x="79" y="38"/>
                  <a:pt x="78" y="38"/>
                  <a:pt x="77" y="38"/>
                </a:cubicBezTo>
                <a:cubicBezTo>
                  <a:pt x="77" y="38"/>
                  <a:pt x="77" y="39"/>
                  <a:pt x="77" y="39"/>
                </a:cubicBezTo>
                <a:cubicBezTo>
                  <a:pt x="78" y="38"/>
                  <a:pt x="78" y="38"/>
                  <a:pt x="79" y="38"/>
                </a:cubicBezTo>
                <a:cubicBezTo>
                  <a:pt x="80" y="38"/>
                  <a:pt x="82" y="38"/>
                  <a:pt x="82" y="37"/>
                </a:cubicBezTo>
                <a:cubicBezTo>
                  <a:pt x="83" y="36"/>
                  <a:pt x="82" y="35"/>
                  <a:pt x="83" y="3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2" name="Reunion"/>
          <p:cNvSpPr>
            <a:spLocks/>
          </p:cNvSpPr>
          <p:nvPr/>
        </p:nvSpPr>
        <p:spPr bwMode="auto">
          <a:xfrm>
            <a:off x="7699011" y="5495905"/>
            <a:ext cx="21999" cy="21000"/>
          </a:xfrm>
          <a:custGeom>
            <a:avLst/>
            <a:gdLst/>
            <a:ahLst/>
            <a:cxnLst>
              <a:cxn ang="0">
                <a:pos x="6" y="2"/>
              </a:cxn>
              <a:cxn ang="0">
                <a:pos x="5" y="1"/>
              </a:cxn>
              <a:cxn ang="0">
                <a:pos x="3" y="0"/>
              </a:cxn>
              <a:cxn ang="0">
                <a:pos x="1" y="0"/>
              </a:cxn>
              <a:cxn ang="0">
                <a:pos x="0" y="2"/>
              </a:cxn>
              <a:cxn ang="0">
                <a:pos x="1" y="4"/>
              </a:cxn>
              <a:cxn ang="0">
                <a:pos x="5" y="4"/>
              </a:cxn>
              <a:cxn ang="0">
                <a:pos x="6" y="2"/>
              </a:cxn>
            </a:cxnLst>
            <a:rect l="0" t="0" r="r" b="b"/>
            <a:pathLst>
              <a:path w="6" h="6">
                <a:moveTo>
                  <a:pt x="6" y="2"/>
                </a:moveTo>
                <a:cubicBezTo>
                  <a:pt x="5" y="2"/>
                  <a:pt x="5" y="1"/>
                  <a:pt x="5" y="1"/>
                </a:cubicBezTo>
                <a:cubicBezTo>
                  <a:pt x="4" y="0"/>
                  <a:pt x="3" y="0"/>
                  <a:pt x="3" y="0"/>
                </a:cubicBezTo>
                <a:cubicBezTo>
                  <a:pt x="2" y="0"/>
                  <a:pt x="1" y="0"/>
                  <a:pt x="1" y="0"/>
                </a:cubicBezTo>
                <a:cubicBezTo>
                  <a:pt x="1" y="1"/>
                  <a:pt x="0" y="1"/>
                  <a:pt x="0" y="2"/>
                </a:cubicBezTo>
                <a:cubicBezTo>
                  <a:pt x="1" y="3"/>
                  <a:pt x="0" y="3"/>
                  <a:pt x="1" y="4"/>
                </a:cubicBezTo>
                <a:cubicBezTo>
                  <a:pt x="2" y="5"/>
                  <a:pt x="5" y="6"/>
                  <a:pt x="5" y="4"/>
                </a:cubicBezTo>
                <a:cubicBezTo>
                  <a:pt x="5" y="4"/>
                  <a:pt x="6" y="3"/>
                  <a:pt x="6"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3" name="Republic of Congo"/>
          <p:cNvSpPr>
            <a:spLocks/>
          </p:cNvSpPr>
          <p:nvPr/>
        </p:nvSpPr>
        <p:spPr bwMode="auto">
          <a:xfrm>
            <a:off x="6182069" y="4514943"/>
            <a:ext cx="266990" cy="350987"/>
          </a:xfrm>
          <a:custGeom>
            <a:avLst/>
            <a:gdLst/>
            <a:ahLst/>
            <a:cxnLst>
              <a:cxn ang="0">
                <a:pos x="71" y="2"/>
              </a:cxn>
              <a:cxn ang="0">
                <a:pos x="67" y="2"/>
              </a:cxn>
              <a:cxn ang="0">
                <a:pos x="64" y="1"/>
              </a:cxn>
              <a:cxn ang="0">
                <a:pos x="60" y="2"/>
              </a:cxn>
              <a:cxn ang="0">
                <a:pos x="55" y="2"/>
              </a:cxn>
              <a:cxn ang="0">
                <a:pos x="53" y="7"/>
              </a:cxn>
              <a:cxn ang="0">
                <a:pos x="52" y="12"/>
              </a:cxn>
              <a:cxn ang="0">
                <a:pos x="49" y="17"/>
              </a:cxn>
              <a:cxn ang="0">
                <a:pos x="48" y="23"/>
              </a:cxn>
              <a:cxn ang="0">
                <a:pos x="45" y="20"/>
              </a:cxn>
              <a:cxn ang="0">
                <a:pos x="39" y="19"/>
              </a:cxn>
              <a:cxn ang="0">
                <a:pos x="37" y="18"/>
              </a:cxn>
              <a:cxn ang="0">
                <a:pos x="34" y="17"/>
              </a:cxn>
              <a:cxn ang="0">
                <a:pos x="31" y="17"/>
              </a:cxn>
              <a:cxn ang="0">
                <a:pos x="21" y="19"/>
              </a:cxn>
              <a:cxn ang="0">
                <a:pos x="20" y="22"/>
              </a:cxn>
              <a:cxn ang="0">
                <a:pos x="20" y="28"/>
              </a:cxn>
              <a:cxn ang="0">
                <a:pos x="25" y="26"/>
              </a:cxn>
              <a:cxn ang="0">
                <a:pos x="30" y="26"/>
              </a:cxn>
              <a:cxn ang="0">
                <a:pos x="32" y="30"/>
              </a:cxn>
              <a:cxn ang="0">
                <a:pos x="30" y="35"/>
              </a:cxn>
              <a:cxn ang="0">
                <a:pos x="27" y="40"/>
              </a:cxn>
              <a:cxn ang="0">
                <a:pos x="28" y="44"/>
              </a:cxn>
              <a:cxn ang="0">
                <a:pos x="32" y="46"/>
              </a:cxn>
              <a:cxn ang="0">
                <a:pos x="32" y="52"/>
              </a:cxn>
              <a:cxn ang="0">
                <a:pos x="33" y="57"/>
              </a:cxn>
              <a:cxn ang="0">
                <a:pos x="33" y="60"/>
              </a:cxn>
              <a:cxn ang="0">
                <a:pos x="31" y="64"/>
              </a:cxn>
              <a:cxn ang="0">
                <a:pos x="30" y="68"/>
              </a:cxn>
              <a:cxn ang="0">
                <a:pos x="27" y="66"/>
              </a:cxn>
              <a:cxn ang="0">
                <a:pos x="23" y="68"/>
              </a:cxn>
              <a:cxn ang="0">
                <a:pos x="19" y="67"/>
              </a:cxn>
              <a:cxn ang="0">
                <a:pos x="18" y="65"/>
              </a:cxn>
              <a:cxn ang="0">
                <a:pos x="13" y="62"/>
              </a:cxn>
              <a:cxn ang="0">
                <a:pos x="10" y="68"/>
              </a:cxn>
              <a:cxn ang="0">
                <a:pos x="6" y="67"/>
              </a:cxn>
              <a:cxn ang="0">
                <a:pos x="5" y="70"/>
              </a:cxn>
              <a:cxn ang="0">
                <a:pos x="7" y="74"/>
              </a:cxn>
              <a:cxn ang="0">
                <a:pos x="9" y="78"/>
              </a:cxn>
              <a:cxn ang="0">
                <a:pos x="6" y="82"/>
              </a:cxn>
              <a:cxn ang="0">
                <a:pos x="2" y="81"/>
              </a:cxn>
              <a:cxn ang="0">
                <a:pos x="2" y="86"/>
              </a:cxn>
              <a:cxn ang="0">
                <a:pos x="7" y="93"/>
              </a:cxn>
              <a:cxn ang="0">
                <a:pos x="8" y="96"/>
              </a:cxn>
              <a:cxn ang="0">
                <a:pos x="13" y="93"/>
              </a:cxn>
              <a:cxn ang="0">
                <a:pos x="15" y="91"/>
              </a:cxn>
              <a:cxn ang="0">
                <a:pos x="20" y="92"/>
              </a:cxn>
              <a:cxn ang="0">
                <a:pos x="23" y="95"/>
              </a:cxn>
              <a:cxn ang="0">
                <a:pos x="26" y="90"/>
              </a:cxn>
              <a:cxn ang="0">
                <a:pos x="32" y="88"/>
              </a:cxn>
              <a:cxn ang="0">
                <a:pos x="32" y="93"/>
              </a:cxn>
              <a:cxn ang="0">
                <a:pos x="35" y="95"/>
              </a:cxn>
              <a:cxn ang="0">
                <a:pos x="42" y="88"/>
              </a:cxn>
              <a:cxn ang="0">
                <a:pos x="47" y="83"/>
              </a:cxn>
              <a:cxn ang="0">
                <a:pos x="50" y="76"/>
              </a:cxn>
              <a:cxn ang="0">
                <a:pos x="50" y="65"/>
              </a:cxn>
              <a:cxn ang="0">
                <a:pos x="59" y="53"/>
              </a:cxn>
              <a:cxn ang="0">
                <a:pos x="65" y="46"/>
              </a:cxn>
              <a:cxn ang="0">
                <a:pos x="65" y="39"/>
              </a:cxn>
              <a:cxn ang="0">
                <a:pos x="66" y="32"/>
              </a:cxn>
              <a:cxn ang="0">
                <a:pos x="68" y="22"/>
              </a:cxn>
              <a:cxn ang="0">
                <a:pos x="70" y="13"/>
              </a:cxn>
              <a:cxn ang="0">
                <a:pos x="73" y="4"/>
              </a:cxn>
            </a:cxnLst>
            <a:rect l="0" t="0" r="r" b="b"/>
            <a:pathLst>
              <a:path w="74" h="97">
                <a:moveTo>
                  <a:pt x="73" y="4"/>
                </a:moveTo>
                <a:cubicBezTo>
                  <a:pt x="73" y="3"/>
                  <a:pt x="73" y="2"/>
                  <a:pt x="72" y="2"/>
                </a:cubicBezTo>
                <a:cubicBezTo>
                  <a:pt x="72" y="1"/>
                  <a:pt x="72" y="2"/>
                  <a:pt x="71" y="2"/>
                </a:cubicBezTo>
                <a:cubicBezTo>
                  <a:pt x="70" y="2"/>
                  <a:pt x="70" y="2"/>
                  <a:pt x="70" y="2"/>
                </a:cubicBezTo>
                <a:cubicBezTo>
                  <a:pt x="69" y="3"/>
                  <a:pt x="69" y="3"/>
                  <a:pt x="69" y="3"/>
                </a:cubicBezTo>
                <a:cubicBezTo>
                  <a:pt x="68" y="2"/>
                  <a:pt x="68" y="2"/>
                  <a:pt x="67" y="2"/>
                </a:cubicBezTo>
                <a:cubicBezTo>
                  <a:pt x="67" y="2"/>
                  <a:pt x="67" y="2"/>
                  <a:pt x="66" y="2"/>
                </a:cubicBezTo>
                <a:cubicBezTo>
                  <a:pt x="66" y="2"/>
                  <a:pt x="66" y="3"/>
                  <a:pt x="65" y="2"/>
                </a:cubicBezTo>
                <a:cubicBezTo>
                  <a:pt x="65" y="1"/>
                  <a:pt x="65" y="1"/>
                  <a:pt x="64" y="1"/>
                </a:cubicBezTo>
                <a:cubicBezTo>
                  <a:pt x="64" y="1"/>
                  <a:pt x="63" y="1"/>
                  <a:pt x="63" y="1"/>
                </a:cubicBezTo>
                <a:cubicBezTo>
                  <a:pt x="62" y="0"/>
                  <a:pt x="62" y="1"/>
                  <a:pt x="61" y="1"/>
                </a:cubicBezTo>
                <a:cubicBezTo>
                  <a:pt x="61" y="1"/>
                  <a:pt x="61" y="2"/>
                  <a:pt x="60" y="2"/>
                </a:cubicBezTo>
                <a:cubicBezTo>
                  <a:pt x="60" y="1"/>
                  <a:pt x="60" y="2"/>
                  <a:pt x="59" y="2"/>
                </a:cubicBezTo>
                <a:cubicBezTo>
                  <a:pt x="59" y="2"/>
                  <a:pt x="57" y="2"/>
                  <a:pt x="56" y="2"/>
                </a:cubicBezTo>
                <a:cubicBezTo>
                  <a:pt x="56" y="2"/>
                  <a:pt x="56" y="3"/>
                  <a:pt x="55" y="2"/>
                </a:cubicBezTo>
                <a:cubicBezTo>
                  <a:pt x="55" y="2"/>
                  <a:pt x="54" y="2"/>
                  <a:pt x="54" y="3"/>
                </a:cubicBezTo>
                <a:cubicBezTo>
                  <a:pt x="53" y="3"/>
                  <a:pt x="53" y="5"/>
                  <a:pt x="53" y="5"/>
                </a:cubicBezTo>
                <a:cubicBezTo>
                  <a:pt x="53" y="6"/>
                  <a:pt x="52" y="7"/>
                  <a:pt x="53" y="7"/>
                </a:cubicBezTo>
                <a:cubicBezTo>
                  <a:pt x="53" y="8"/>
                  <a:pt x="52" y="8"/>
                  <a:pt x="52" y="9"/>
                </a:cubicBezTo>
                <a:cubicBezTo>
                  <a:pt x="52" y="9"/>
                  <a:pt x="53" y="10"/>
                  <a:pt x="53" y="10"/>
                </a:cubicBezTo>
                <a:cubicBezTo>
                  <a:pt x="52" y="11"/>
                  <a:pt x="52" y="11"/>
                  <a:pt x="52" y="12"/>
                </a:cubicBezTo>
                <a:cubicBezTo>
                  <a:pt x="51" y="13"/>
                  <a:pt x="51" y="14"/>
                  <a:pt x="50" y="16"/>
                </a:cubicBezTo>
                <a:cubicBezTo>
                  <a:pt x="50" y="16"/>
                  <a:pt x="50" y="17"/>
                  <a:pt x="50" y="17"/>
                </a:cubicBezTo>
                <a:cubicBezTo>
                  <a:pt x="49" y="17"/>
                  <a:pt x="49" y="17"/>
                  <a:pt x="49" y="17"/>
                </a:cubicBezTo>
                <a:cubicBezTo>
                  <a:pt x="48" y="18"/>
                  <a:pt x="48" y="19"/>
                  <a:pt x="49" y="20"/>
                </a:cubicBezTo>
                <a:cubicBezTo>
                  <a:pt x="49" y="20"/>
                  <a:pt x="49" y="22"/>
                  <a:pt x="49" y="22"/>
                </a:cubicBezTo>
                <a:cubicBezTo>
                  <a:pt x="49" y="22"/>
                  <a:pt x="49" y="23"/>
                  <a:pt x="48" y="23"/>
                </a:cubicBezTo>
                <a:cubicBezTo>
                  <a:pt x="48" y="22"/>
                  <a:pt x="48" y="22"/>
                  <a:pt x="47" y="22"/>
                </a:cubicBezTo>
                <a:cubicBezTo>
                  <a:pt x="47" y="22"/>
                  <a:pt x="47" y="22"/>
                  <a:pt x="47" y="21"/>
                </a:cubicBezTo>
                <a:cubicBezTo>
                  <a:pt x="47" y="21"/>
                  <a:pt x="46" y="20"/>
                  <a:pt x="45" y="20"/>
                </a:cubicBezTo>
                <a:cubicBezTo>
                  <a:pt x="44" y="20"/>
                  <a:pt x="43" y="20"/>
                  <a:pt x="42" y="20"/>
                </a:cubicBezTo>
                <a:cubicBezTo>
                  <a:pt x="41" y="20"/>
                  <a:pt x="41" y="19"/>
                  <a:pt x="40" y="19"/>
                </a:cubicBezTo>
                <a:cubicBezTo>
                  <a:pt x="39" y="19"/>
                  <a:pt x="39" y="19"/>
                  <a:pt x="39" y="19"/>
                </a:cubicBezTo>
                <a:cubicBezTo>
                  <a:pt x="38" y="19"/>
                  <a:pt x="38" y="19"/>
                  <a:pt x="38" y="19"/>
                </a:cubicBezTo>
                <a:cubicBezTo>
                  <a:pt x="38" y="19"/>
                  <a:pt x="37" y="20"/>
                  <a:pt x="37" y="19"/>
                </a:cubicBezTo>
                <a:cubicBezTo>
                  <a:pt x="37" y="19"/>
                  <a:pt x="37" y="19"/>
                  <a:pt x="37" y="18"/>
                </a:cubicBezTo>
                <a:cubicBezTo>
                  <a:pt x="37" y="18"/>
                  <a:pt x="36" y="19"/>
                  <a:pt x="36" y="18"/>
                </a:cubicBezTo>
                <a:cubicBezTo>
                  <a:pt x="36" y="18"/>
                  <a:pt x="35" y="18"/>
                  <a:pt x="35" y="18"/>
                </a:cubicBezTo>
                <a:cubicBezTo>
                  <a:pt x="35" y="18"/>
                  <a:pt x="34" y="17"/>
                  <a:pt x="34" y="17"/>
                </a:cubicBezTo>
                <a:cubicBezTo>
                  <a:pt x="34" y="17"/>
                  <a:pt x="33" y="18"/>
                  <a:pt x="33" y="18"/>
                </a:cubicBezTo>
                <a:cubicBezTo>
                  <a:pt x="33" y="18"/>
                  <a:pt x="32" y="18"/>
                  <a:pt x="32" y="17"/>
                </a:cubicBezTo>
                <a:cubicBezTo>
                  <a:pt x="32" y="17"/>
                  <a:pt x="31" y="17"/>
                  <a:pt x="31" y="17"/>
                </a:cubicBezTo>
                <a:cubicBezTo>
                  <a:pt x="30" y="18"/>
                  <a:pt x="29" y="18"/>
                  <a:pt x="28" y="18"/>
                </a:cubicBezTo>
                <a:cubicBezTo>
                  <a:pt x="26" y="18"/>
                  <a:pt x="24" y="18"/>
                  <a:pt x="22" y="17"/>
                </a:cubicBezTo>
                <a:cubicBezTo>
                  <a:pt x="21" y="17"/>
                  <a:pt x="22" y="18"/>
                  <a:pt x="21" y="19"/>
                </a:cubicBezTo>
                <a:cubicBezTo>
                  <a:pt x="21" y="19"/>
                  <a:pt x="21" y="20"/>
                  <a:pt x="20" y="20"/>
                </a:cubicBezTo>
                <a:cubicBezTo>
                  <a:pt x="20" y="20"/>
                  <a:pt x="20" y="21"/>
                  <a:pt x="20" y="21"/>
                </a:cubicBezTo>
                <a:cubicBezTo>
                  <a:pt x="20" y="21"/>
                  <a:pt x="20" y="22"/>
                  <a:pt x="20" y="22"/>
                </a:cubicBezTo>
                <a:cubicBezTo>
                  <a:pt x="20" y="22"/>
                  <a:pt x="20" y="24"/>
                  <a:pt x="20" y="24"/>
                </a:cubicBezTo>
                <a:cubicBezTo>
                  <a:pt x="20" y="25"/>
                  <a:pt x="22" y="26"/>
                  <a:pt x="20" y="27"/>
                </a:cubicBezTo>
                <a:cubicBezTo>
                  <a:pt x="20" y="27"/>
                  <a:pt x="20" y="28"/>
                  <a:pt x="20" y="28"/>
                </a:cubicBezTo>
                <a:cubicBezTo>
                  <a:pt x="21" y="28"/>
                  <a:pt x="22" y="28"/>
                  <a:pt x="22" y="27"/>
                </a:cubicBezTo>
                <a:cubicBezTo>
                  <a:pt x="23" y="27"/>
                  <a:pt x="23" y="27"/>
                  <a:pt x="24" y="27"/>
                </a:cubicBezTo>
                <a:cubicBezTo>
                  <a:pt x="24" y="27"/>
                  <a:pt x="25" y="26"/>
                  <a:pt x="25" y="26"/>
                </a:cubicBezTo>
                <a:cubicBezTo>
                  <a:pt x="26" y="26"/>
                  <a:pt x="26" y="26"/>
                  <a:pt x="26" y="26"/>
                </a:cubicBezTo>
                <a:cubicBezTo>
                  <a:pt x="26" y="25"/>
                  <a:pt x="27" y="25"/>
                  <a:pt x="28" y="26"/>
                </a:cubicBezTo>
                <a:cubicBezTo>
                  <a:pt x="29" y="26"/>
                  <a:pt x="29" y="26"/>
                  <a:pt x="30" y="26"/>
                </a:cubicBezTo>
                <a:cubicBezTo>
                  <a:pt x="30" y="26"/>
                  <a:pt x="31" y="26"/>
                  <a:pt x="31" y="27"/>
                </a:cubicBezTo>
                <a:cubicBezTo>
                  <a:pt x="31" y="27"/>
                  <a:pt x="31" y="28"/>
                  <a:pt x="31" y="29"/>
                </a:cubicBezTo>
                <a:cubicBezTo>
                  <a:pt x="31" y="29"/>
                  <a:pt x="32" y="29"/>
                  <a:pt x="32" y="30"/>
                </a:cubicBezTo>
                <a:cubicBezTo>
                  <a:pt x="32" y="31"/>
                  <a:pt x="33" y="31"/>
                  <a:pt x="33" y="32"/>
                </a:cubicBezTo>
                <a:cubicBezTo>
                  <a:pt x="33" y="32"/>
                  <a:pt x="33" y="33"/>
                  <a:pt x="32" y="33"/>
                </a:cubicBezTo>
                <a:cubicBezTo>
                  <a:pt x="32" y="33"/>
                  <a:pt x="31" y="36"/>
                  <a:pt x="30" y="35"/>
                </a:cubicBezTo>
                <a:cubicBezTo>
                  <a:pt x="30" y="35"/>
                  <a:pt x="29" y="35"/>
                  <a:pt x="29" y="36"/>
                </a:cubicBezTo>
                <a:cubicBezTo>
                  <a:pt x="29" y="36"/>
                  <a:pt x="29" y="36"/>
                  <a:pt x="29" y="37"/>
                </a:cubicBezTo>
                <a:cubicBezTo>
                  <a:pt x="28" y="37"/>
                  <a:pt x="27" y="39"/>
                  <a:pt x="27" y="40"/>
                </a:cubicBezTo>
                <a:cubicBezTo>
                  <a:pt x="28" y="41"/>
                  <a:pt x="28" y="42"/>
                  <a:pt x="27" y="42"/>
                </a:cubicBezTo>
                <a:cubicBezTo>
                  <a:pt x="27" y="43"/>
                  <a:pt x="27" y="43"/>
                  <a:pt x="27" y="44"/>
                </a:cubicBezTo>
                <a:cubicBezTo>
                  <a:pt x="27" y="44"/>
                  <a:pt x="28" y="44"/>
                  <a:pt x="28" y="44"/>
                </a:cubicBezTo>
                <a:cubicBezTo>
                  <a:pt x="28" y="44"/>
                  <a:pt x="29" y="44"/>
                  <a:pt x="29" y="44"/>
                </a:cubicBezTo>
                <a:cubicBezTo>
                  <a:pt x="30" y="45"/>
                  <a:pt x="30" y="46"/>
                  <a:pt x="30" y="46"/>
                </a:cubicBezTo>
                <a:cubicBezTo>
                  <a:pt x="30" y="46"/>
                  <a:pt x="31" y="46"/>
                  <a:pt x="32" y="46"/>
                </a:cubicBezTo>
                <a:cubicBezTo>
                  <a:pt x="32" y="47"/>
                  <a:pt x="33" y="47"/>
                  <a:pt x="33" y="48"/>
                </a:cubicBezTo>
                <a:cubicBezTo>
                  <a:pt x="34" y="48"/>
                  <a:pt x="33" y="49"/>
                  <a:pt x="33" y="50"/>
                </a:cubicBezTo>
                <a:cubicBezTo>
                  <a:pt x="33" y="50"/>
                  <a:pt x="33" y="51"/>
                  <a:pt x="32" y="52"/>
                </a:cubicBezTo>
                <a:cubicBezTo>
                  <a:pt x="32" y="52"/>
                  <a:pt x="33" y="53"/>
                  <a:pt x="33" y="53"/>
                </a:cubicBezTo>
                <a:cubicBezTo>
                  <a:pt x="33" y="54"/>
                  <a:pt x="33" y="55"/>
                  <a:pt x="33" y="55"/>
                </a:cubicBezTo>
                <a:cubicBezTo>
                  <a:pt x="33" y="56"/>
                  <a:pt x="33" y="56"/>
                  <a:pt x="33" y="57"/>
                </a:cubicBezTo>
                <a:cubicBezTo>
                  <a:pt x="33" y="57"/>
                  <a:pt x="33" y="57"/>
                  <a:pt x="33" y="58"/>
                </a:cubicBezTo>
                <a:cubicBezTo>
                  <a:pt x="33" y="58"/>
                  <a:pt x="32" y="59"/>
                  <a:pt x="32" y="59"/>
                </a:cubicBezTo>
                <a:cubicBezTo>
                  <a:pt x="32" y="59"/>
                  <a:pt x="33" y="60"/>
                  <a:pt x="33" y="60"/>
                </a:cubicBezTo>
                <a:cubicBezTo>
                  <a:pt x="32" y="60"/>
                  <a:pt x="32" y="61"/>
                  <a:pt x="32" y="61"/>
                </a:cubicBezTo>
                <a:cubicBezTo>
                  <a:pt x="32" y="62"/>
                  <a:pt x="32" y="62"/>
                  <a:pt x="32" y="63"/>
                </a:cubicBezTo>
                <a:cubicBezTo>
                  <a:pt x="31" y="63"/>
                  <a:pt x="31" y="63"/>
                  <a:pt x="31" y="64"/>
                </a:cubicBezTo>
                <a:cubicBezTo>
                  <a:pt x="31" y="64"/>
                  <a:pt x="31" y="65"/>
                  <a:pt x="30" y="66"/>
                </a:cubicBezTo>
                <a:cubicBezTo>
                  <a:pt x="29" y="66"/>
                  <a:pt x="30" y="66"/>
                  <a:pt x="30" y="67"/>
                </a:cubicBezTo>
                <a:cubicBezTo>
                  <a:pt x="31" y="67"/>
                  <a:pt x="30" y="67"/>
                  <a:pt x="30" y="68"/>
                </a:cubicBezTo>
                <a:cubicBezTo>
                  <a:pt x="30" y="69"/>
                  <a:pt x="29" y="68"/>
                  <a:pt x="29" y="68"/>
                </a:cubicBezTo>
                <a:cubicBezTo>
                  <a:pt x="28" y="69"/>
                  <a:pt x="26" y="69"/>
                  <a:pt x="27" y="68"/>
                </a:cubicBezTo>
                <a:cubicBezTo>
                  <a:pt x="28" y="67"/>
                  <a:pt x="27" y="67"/>
                  <a:pt x="27" y="66"/>
                </a:cubicBezTo>
                <a:cubicBezTo>
                  <a:pt x="27" y="66"/>
                  <a:pt x="27" y="65"/>
                  <a:pt x="26" y="65"/>
                </a:cubicBezTo>
                <a:cubicBezTo>
                  <a:pt x="26" y="64"/>
                  <a:pt x="25" y="67"/>
                  <a:pt x="24" y="67"/>
                </a:cubicBezTo>
                <a:cubicBezTo>
                  <a:pt x="24" y="67"/>
                  <a:pt x="24" y="68"/>
                  <a:pt x="23" y="68"/>
                </a:cubicBezTo>
                <a:cubicBezTo>
                  <a:pt x="23" y="68"/>
                  <a:pt x="22" y="68"/>
                  <a:pt x="22" y="68"/>
                </a:cubicBezTo>
                <a:cubicBezTo>
                  <a:pt x="21" y="67"/>
                  <a:pt x="20" y="67"/>
                  <a:pt x="20" y="67"/>
                </a:cubicBezTo>
                <a:cubicBezTo>
                  <a:pt x="19" y="67"/>
                  <a:pt x="19" y="67"/>
                  <a:pt x="19" y="67"/>
                </a:cubicBezTo>
                <a:cubicBezTo>
                  <a:pt x="19" y="67"/>
                  <a:pt x="19" y="67"/>
                  <a:pt x="18" y="67"/>
                </a:cubicBezTo>
                <a:cubicBezTo>
                  <a:pt x="19" y="67"/>
                  <a:pt x="19" y="66"/>
                  <a:pt x="18" y="66"/>
                </a:cubicBezTo>
                <a:cubicBezTo>
                  <a:pt x="18" y="65"/>
                  <a:pt x="18" y="66"/>
                  <a:pt x="18" y="65"/>
                </a:cubicBezTo>
                <a:cubicBezTo>
                  <a:pt x="18" y="64"/>
                  <a:pt x="17" y="62"/>
                  <a:pt x="17" y="62"/>
                </a:cubicBezTo>
                <a:cubicBezTo>
                  <a:pt x="16" y="62"/>
                  <a:pt x="15" y="61"/>
                  <a:pt x="14" y="62"/>
                </a:cubicBezTo>
                <a:cubicBezTo>
                  <a:pt x="14" y="62"/>
                  <a:pt x="14" y="63"/>
                  <a:pt x="13" y="62"/>
                </a:cubicBezTo>
                <a:cubicBezTo>
                  <a:pt x="13" y="62"/>
                  <a:pt x="13" y="64"/>
                  <a:pt x="14" y="64"/>
                </a:cubicBezTo>
                <a:cubicBezTo>
                  <a:pt x="14" y="65"/>
                  <a:pt x="14" y="66"/>
                  <a:pt x="13" y="67"/>
                </a:cubicBezTo>
                <a:cubicBezTo>
                  <a:pt x="12" y="67"/>
                  <a:pt x="11" y="68"/>
                  <a:pt x="10" y="68"/>
                </a:cubicBezTo>
                <a:cubicBezTo>
                  <a:pt x="9" y="68"/>
                  <a:pt x="9" y="67"/>
                  <a:pt x="9" y="67"/>
                </a:cubicBezTo>
                <a:cubicBezTo>
                  <a:pt x="8" y="67"/>
                  <a:pt x="7" y="67"/>
                  <a:pt x="7" y="67"/>
                </a:cubicBezTo>
                <a:cubicBezTo>
                  <a:pt x="6" y="68"/>
                  <a:pt x="6" y="67"/>
                  <a:pt x="6" y="67"/>
                </a:cubicBezTo>
                <a:cubicBezTo>
                  <a:pt x="5" y="67"/>
                  <a:pt x="5" y="67"/>
                  <a:pt x="5" y="67"/>
                </a:cubicBezTo>
                <a:cubicBezTo>
                  <a:pt x="5" y="68"/>
                  <a:pt x="5" y="69"/>
                  <a:pt x="5" y="69"/>
                </a:cubicBezTo>
                <a:cubicBezTo>
                  <a:pt x="5" y="70"/>
                  <a:pt x="6" y="70"/>
                  <a:pt x="5" y="70"/>
                </a:cubicBezTo>
                <a:cubicBezTo>
                  <a:pt x="5" y="71"/>
                  <a:pt x="4" y="73"/>
                  <a:pt x="5" y="73"/>
                </a:cubicBezTo>
                <a:cubicBezTo>
                  <a:pt x="5" y="73"/>
                  <a:pt x="5" y="72"/>
                  <a:pt x="6" y="72"/>
                </a:cubicBezTo>
                <a:cubicBezTo>
                  <a:pt x="6" y="73"/>
                  <a:pt x="6" y="73"/>
                  <a:pt x="7" y="74"/>
                </a:cubicBezTo>
                <a:cubicBezTo>
                  <a:pt x="7" y="74"/>
                  <a:pt x="7" y="74"/>
                  <a:pt x="6" y="75"/>
                </a:cubicBezTo>
                <a:cubicBezTo>
                  <a:pt x="6" y="75"/>
                  <a:pt x="6" y="75"/>
                  <a:pt x="6" y="76"/>
                </a:cubicBezTo>
                <a:cubicBezTo>
                  <a:pt x="6" y="77"/>
                  <a:pt x="8" y="77"/>
                  <a:pt x="9" y="78"/>
                </a:cubicBezTo>
                <a:cubicBezTo>
                  <a:pt x="9" y="78"/>
                  <a:pt x="6" y="80"/>
                  <a:pt x="8" y="81"/>
                </a:cubicBezTo>
                <a:cubicBezTo>
                  <a:pt x="8" y="81"/>
                  <a:pt x="8" y="82"/>
                  <a:pt x="8" y="82"/>
                </a:cubicBezTo>
                <a:cubicBezTo>
                  <a:pt x="7" y="82"/>
                  <a:pt x="7" y="82"/>
                  <a:pt x="6" y="82"/>
                </a:cubicBezTo>
                <a:cubicBezTo>
                  <a:pt x="5" y="82"/>
                  <a:pt x="5" y="80"/>
                  <a:pt x="4" y="80"/>
                </a:cubicBezTo>
                <a:cubicBezTo>
                  <a:pt x="4" y="80"/>
                  <a:pt x="4" y="80"/>
                  <a:pt x="3" y="81"/>
                </a:cubicBezTo>
                <a:cubicBezTo>
                  <a:pt x="3" y="81"/>
                  <a:pt x="3" y="81"/>
                  <a:pt x="2" y="81"/>
                </a:cubicBezTo>
                <a:cubicBezTo>
                  <a:pt x="2" y="81"/>
                  <a:pt x="2" y="81"/>
                  <a:pt x="2" y="82"/>
                </a:cubicBezTo>
                <a:cubicBezTo>
                  <a:pt x="1" y="82"/>
                  <a:pt x="0" y="84"/>
                  <a:pt x="1" y="85"/>
                </a:cubicBezTo>
                <a:cubicBezTo>
                  <a:pt x="2" y="85"/>
                  <a:pt x="2" y="86"/>
                  <a:pt x="2" y="86"/>
                </a:cubicBezTo>
                <a:cubicBezTo>
                  <a:pt x="3" y="87"/>
                  <a:pt x="3" y="87"/>
                  <a:pt x="3" y="88"/>
                </a:cubicBezTo>
                <a:cubicBezTo>
                  <a:pt x="4" y="89"/>
                  <a:pt x="6" y="90"/>
                  <a:pt x="7" y="91"/>
                </a:cubicBezTo>
                <a:cubicBezTo>
                  <a:pt x="7" y="92"/>
                  <a:pt x="6" y="92"/>
                  <a:pt x="7" y="93"/>
                </a:cubicBezTo>
                <a:cubicBezTo>
                  <a:pt x="7" y="93"/>
                  <a:pt x="7" y="93"/>
                  <a:pt x="7" y="93"/>
                </a:cubicBezTo>
                <a:cubicBezTo>
                  <a:pt x="7" y="93"/>
                  <a:pt x="7" y="94"/>
                  <a:pt x="7" y="93"/>
                </a:cubicBezTo>
                <a:cubicBezTo>
                  <a:pt x="7" y="94"/>
                  <a:pt x="8" y="95"/>
                  <a:pt x="8" y="96"/>
                </a:cubicBezTo>
                <a:cubicBezTo>
                  <a:pt x="9" y="97"/>
                  <a:pt x="9" y="96"/>
                  <a:pt x="10" y="96"/>
                </a:cubicBezTo>
                <a:cubicBezTo>
                  <a:pt x="10" y="95"/>
                  <a:pt x="11" y="94"/>
                  <a:pt x="11" y="94"/>
                </a:cubicBezTo>
                <a:cubicBezTo>
                  <a:pt x="12" y="94"/>
                  <a:pt x="12" y="93"/>
                  <a:pt x="13" y="93"/>
                </a:cubicBezTo>
                <a:cubicBezTo>
                  <a:pt x="13" y="92"/>
                  <a:pt x="12" y="92"/>
                  <a:pt x="13" y="92"/>
                </a:cubicBezTo>
                <a:cubicBezTo>
                  <a:pt x="13" y="92"/>
                  <a:pt x="14" y="92"/>
                  <a:pt x="14" y="92"/>
                </a:cubicBezTo>
                <a:cubicBezTo>
                  <a:pt x="15" y="92"/>
                  <a:pt x="15" y="91"/>
                  <a:pt x="15" y="91"/>
                </a:cubicBezTo>
                <a:cubicBezTo>
                  <a:pt x="15" y="91"/>
                  <a:pt x="16" y="90"/>
                  <a:pt x="16" y="90"/>
                </a:cubicBezTo>
                <a:cubicBezTo>
                  <a:pt x="17" y="88"/>
                  <a:pt x="19" y="92"/>
                  <a:pt x="19" y="92"/>
                </a:cubicBezTo>
                <a:cubicBezTo>
                  <a:pt x="19" y="92"/>
                  <a:pt x="19" y="91"/>
                  <a:pt x="20" y="92"/>
                </a:cubicBezTo>
                <a:cubicBezTo>
                  <a:pt x="20" y="92"/>
                  <a:pt x="20" y="93"/>
                  <a:pt x="21" y="93"/>
                </a:cubicBezTo>
                <a:cubicBezTo>
                  <a:pt x="21" y="93"/>
                  <a:pt x="22" y="94"/>
                  <a:pt x="22" y="94"/>
                </a:cubicBezTo>
                <a:cubicBezTo>
                  <a:pt x="22" y="94"/>
                  <a:pt x="22" y="95"/>
                  <a:pt x="23" y="95"/>
                </a:cubicBezTo>
                <a:cubicBezTo>
                  <a:pt x="23" y="95"/>
                  <a:pt x="24" y="93"/>
                  <a:pt x="24" y="94"/>
                </a:cubicBezTo>
                <a:cubicBezTo>
                  <a:pt x="24" y="94"/>
                  <a:pt x="25" y="93"/>
                  <a:pt x="25" y="93"/>
                </a:cubicBezTo>
                <a:cubicBezTo>
                  <a:pt x="26" y="93"/>
                  <a:pt x="25" y="90"/>
                  <a:pt x="26" y="90"/>
                </a:cubicBezTo>
                <a:cubicBezTo>
                  <a:pt x="27" y="89"/>
                  <a:pt x="28" y="92"/>
                  <a:pt x="28" y="90"/>
                </a:cubicBezTo>
                <a:cubicBezTo>
                  <a:pt x="29" y="89"/>
                  <a:pt x="30" y="90"/>
                  <a:pt x="30" y="89"/>
                </a:cubicBezTo>
                <a:cubicBezTo>
                  <a:pt x="31" y="89"/>
                  <a:pt x="31" y="88"/>
                  <a:pt x="32" y="88"/>
                </a:cubicBezTo>
                <a:cubicBezTo>
                  <a:pt x="32" y="89"/>
                  <a:pt x="32" y="89"/>
                  <a:pt x="33" y="90"/>
                </a:cubicBezTo>
                <a:cubicBezTo>
                  <a:pt x="33" y="90"/>
                  <a:pt x="32" y="91"/>
                  <a:pt x="32" y="91"/>
                </a:cubicBezTo>
                <a:cubicBezTo>
                  <a:pt x="32" y="92"/>
                  <a:pt x="32" y="92"/>
                  <a:pt x="32" y="93"/>
                </a:cubicBezTo>
                <a:cubicBezTo>
                  <a:pt x="32" y="93"/>
                  <a:pt x="32" y="94"/>
                  <a:pt x="32" y="95"/>
                </a:cubicBezTo>
                <a:cubicBezTo>
                  <a:pt x="33" y="95"/>
                  <a:pt x="33" y="94"/>
                  <a:pt x="33" y="95"/>
                </a:cubicBezTo>
                <a:cubicBezTo>
                  <a:pt x="34" y="95"/>
                  <a:pt x="34" y="95"/>
                  <a:pt x="35" y="95"/>
                </a:cubicBezTo>
                <a:cubicBezTo>
                  <a:pt x="36" y="95"/>
                  <a:pt x="36" y="94"/>
                  <a:pt x="37" y="93"/>
                </a:cubicBezTo>
                <a:cubicBezTo>
                  <a:pt x="38" y="92"/>
                  <a:pt x="39" y="91"/>
                  <a:pt x="39" y="90"/>
                </a:cubicBezTo>
                <a:cubicBezTo>
                  <a:pt x="40" y="89"/>
                  <a:pt x="41" y="88"/>
                  <a:pt x="42" y="88"/>
                </a:cubicBezTo>
                <a:cubicBezTo>
                  <a:pt x="43" y="89"/>
                  <a:pt x="43" y="87"/>
                  <a:pt x="43" y="86"/>
                </a:cubicBezTo>
                <a:cubicBezTo>
                  <a:pt x="44" y="85"/>
                  <a:pt x="45" y="85"/>
                  <a:pt x="46" y="85"/>
                </a:cubicBezTo>
                <a:cubicBezTo>
                  <a:pt x="47" y="85"/>
                  <a:pt x="47" y="84"/>
                  <a:pt x="47" y="83"/>
                </a:cubicBezTo>
                <a:cubicBezTo>
                  <a:pt x="48" y="82"/>
                  <a:pt x="48" y="81"/>
                  <a:pt x="49" y="80"/>
                </a:cubicBezTo>
                <a:cubicBezTo>
                  <a:pt x="49" y="79"/>
                  <a:pt x="50" y="78"/>
                  <a:pt x="50" y="78"/>
                </a:cubicBezTo>
                <a:cubicBezTo>
                  <a:pt x="50" y="77"/>
                  <a:pt x="50" y="76"/>
                  <a:pt x="50" y="76"/>
                </a:cubicBezTo>
                <a:cubicBezTo>
                  <a:pt x="49" y="75"/>
                  <a:pt x="49" y="73"/>
                  <a:pt x="50" y="72"/>
                </a:cubicBezTo>
                <a:cubicBezTo>
                  <a:pt x="50" y="71"/>
                  <a:pt x="50" y="69"/>
                  <a:pt x="50" y="68"/>
                </a:cubicBezTo>
                <a:cubicBezTo>
                  <a:pt x="49" y="67"/>
                  <a:pt x="49" y="66"/>
                  <a:pt x="50" y="65"/>
                </a:cubicBezTo>
                <a:cubicBezTo>
                  <a:pt x="51" y="64"/>
                  <a:pt x="52" y="63"/>
                  <a:pt x="53" y="62"/>
                </a:cubicBezTo>
                <a:cubicBezTo>
                  <a:pt x="53" y="61"/>
                  <a:pt x="54" y="60"/>
                  <a:pt x="54" y="59"/>
                </a:cubicBezTo>
                <a:cubicBezTo>
                  <a:pt x="55" y="57"/>
                  <a:pt x="56" y="54"/>
                  <a:pt x="59" y="53"/>
                </a:cubicBezTo>
                <a:cubicBezTo>
                  <a:pt x="59" y="53"/>
                  <a:pt x="60" y="53"/>
                  <a:pt x="61" y="52"/>
                </a:cubicBezTo>
                <a:cubicBezTo>
                  <a:pt x="61" y="51"/>
                  <a:pt x="62" y="51"/>
                  <a:pt x="62" y="50"/>
                </a:cubicBezTo>
                <a:cubicBezTo>
                  <a:pt x="63" y="49"/>
                  <a:pt x="64" y="48"/>
                  <a:pt x="65" y="46"/>
                </a:cubicBezTo>
                <a:cubicBezTo>
                  <a:pt x="65" y="45"/>
                  <a:pt x="64" y="45"/>
                  <a:pt x="64" y="44"/>
                </a:cubicBezTo>
                <a:cubicBezTo>
                  <a:pt x="64" y="43"/>
                  <a:pt x="65" y="42"/>
                  <a:pt x="65" y="41"/>
                </a:cubicBezTo>
                <a:cubicBezTo>
                  <a:pt x="65" y="41"/>
                  <a:pt x="65" y="40"/>
                  <a:pt x="65" y="39"/>
                </a:cubicBezTo>
                <a:cubicBezTo>
                  <a:pt x="66" y="38"/>
                  <a:pt x="66" y="38"/>
                  <a:pt x="67" y="37"/>
                </a:cubicBezTo>
                <a:cubicBezTo>
                  <a:pt x="67" y="36"/>
                  <a:pt x="66" y="36"/>
                  <a:pt x="66" y="35"/>
                </a:cubicBezTo>
                <a:cubicBezTo>
                  <a:pt x="66" y="34"/>
                  <a:pt x="66" y="33"/>
                  <a:pt x="66" y="32"/>
                </a:cubicBezTo>
                <a:cubicBezTo>
                  <a:pt x="66" y="31"/>
                  <a:pt x="66" y="31"/>
                  <a:pt x="66" y="30"/>
                </a:cubicBezTo>
                <a:cubicBezTo>
                  <a:pt x="66" y="29"/>
                  <a:pt x="67" y="28"/>
                  <a:pt x="67" y="28"/>
                </a:cubicBezTo>
                <a:cubicBezTo>
                  <a:pt x="67" y="26"/>
                  <a:pt x="68" y="24"/>
                  <a:pt x="68" y="22"/>
                </a:cubicBezTo>
                <a:cubicBezTo>
                  <a:pt x="68" y="21"/>
                  <a:pt x="68" y="19"/>
                  <a:pt x="68" y="17"/>
                </a:cubicBezTo>
                <a:cubicBezTo>
                  <a:pt x="68" y="16"/>
                  <a:pt x="69" y="16"/>
                  <a:pt x="69" y="15"/>
                </a:cubicBezTo>
                <a:cubicBezTo>
                  <a:pt x="69" y="14"/>
                  <a:pt x="69" y="14"/>
                  <a:pt x="70" y="13"/>
                </a:cubicBezTo>
                <a:cubicBezTo>
                  <a:pt x="71" y="12"/>
                  <a:pt x="71" y="10"/>
                  <a:pt x="72" y="9"/>
                </a:cubicBezTo>
                <a:cubicBezTo>
                  <a:pt x="72" y="8"/>
                  <a:pt x="73" y="7"/>
                  <a:pt x="73" y="6"/>
                </a:cubicBezTo>
                <a:cubicBezTo>
                  <a:pt x="74" y="6"/>
                  <a:pt x="73" y="5"/>
                  <a:pt x="73" y="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4" name="Qatar"/>
          <p:cNvSpPr>
            <a:spLocks/>
          </p:cNvSpPr>
          <p:nvPr/>
        </p:nvSpPr>
        <p:spPr bwMode="auto">
          <a:xfrm>
            <a:off x="7533018" y="3625976"/>
            <a:ext cx="32999" cy="64998"/>
          </a:xfrm>
          <a:custGeom>
            <a:avLst/>
            <a:gdLst/>
            <a:ahLst/>
            <a:cxnLst>
              <a:cxn ang="0">
                <a:pos x="8" y="9"/>
              </a:cxn>
              <a:cxn ang="0">
                <a:pos x="7" y="8"/>
              </a:cxn>
              <a:cxn ang="0">
                <a:pos x="7" y="6"/>
              </a:cxn>
              <a:cxn ang="0">
                <a:pos x="7" y="5"/>
              </a:cxn>
              <a:cxn ang="0">
                <a:pos x="7" y="5"/>
              </a:cxn>
              <a:cxn ang="0">
                <a:pos x="7" y="4"/>
              </a:cxn>
              <a:cxn ang="0">
                <a:pos x="8" y="4"/>
              </a:cxn>
              <a:cxn ang="0">
                <a:pos x="7" y="2"/>
              </a:cxn>
              <a:cxn ang="0">
                <a:pos x="6" y="2"/>
              </a:cxn>
              <a:cxn ang="0">
                <a:pos x="5" y="1"/>
              </a:cxn>
              <a:cxn ang="0">
                <a:pos x="4" y="0"/>
              </a:cxn>
              <a:cxn ang="0">
                <a:pos x="3" y="1"/>
              </a:cxn>
              <a:cxn ang="0">
                <a:pos x="2" y="1"/>
              </a:cxn>
              <a:cxn ang="0">
                <a:pos x="2" y="2"/>
              </a:cxn>
              <a:cxn ang="0">
                <a:pos x="2" y="3"/>
              </a:cxn>
              <a:cxn ang="0">
                <a:pos x="2" y="4"/>
              </a:cxn>
              <a:cxn ang="0">
                <a:pos x="1" y="5"/>
              </a:cxn>
              <a:cxn ang="0">
                <a:pos x="2" y="5"/>
              </a:cxn>
              <a:cxn ang="0">
                <a:pos x="1" y="6"/>
              </a:cxn>
              <a:cxn ang="0">
                <a:pos x="1" y="6"/>
              </a:cxn>
              <a:cxn ang="0">
                <a:pos x="0" y="6"/>
              </a:cxn>
              <a:cxn ang="0">
                <a:pos x="1" y="7"/>
              </a:cxn>
              <a:cxn ang="0">
                <a:pos x="0" y="7"/>
              </a:cxn>
              <a:cxn ang="0">
                <a:pos x="0" y="9"/>
              </a:cxn>
              <a:cxn ang="0">
                <a:pos x="0" y="11"/>
              </a:cxn>
              <a:cxn ang="0">
                <a:pos x="1" y="12"/>
              </a:cxn>
              <a:cxn ang="0">
                <a:pos x="1" y="13"/>
              </a:cxn>
              <a:cxn ang="0">
                <a:pos x="1" y="15"/>
              </a:cxn>
              <a:cxn ang="0">
                <a:pos x="3" y="17"/>
              </a:cxn>
              <a:cxn ang="0">
                <a:pos x="4" y="17"/>
              </a:cxn>
              <a:cxn ang="0">
                <a:pos x="6" y="16"/>
              </a:cxn>
              <a:cxn ang="0">
                <a:pos x="7" y="17"/>
              </a:cxn>
              <a:cxn ang="0">
                <a:pos x="7" y="15"/>
              </a:cxn>
              <a:cxn ang="0">
                <a:pos x="8" y="12"/>
              </a:cxn>
              <a:cxn ang="0">
                <a:pos x="8" y="11"/>
              </a:cxn>
              <a:cxn ang="0">
                <a:pos x="8" y="9"/>
              </a:cxn>
            </a:cxnLst>
            <a:rect l="0" t="0" r="r" b="b"/>
            <a:pathLst>
              <a:path w="9" h="18">
                <a:moveTo>
                  <a:pt x="8" y="9"/>
                </a:moveTo>
                <a:cubicBezTo>
                  <a:pt x="7" y="9"/>
                  <a:pt x="7" y="9"/>
                  <a:pt x="7" y="8"/>
                </a:cubicBezTo>
                <a:cubicBezTo>
                  <a:pt x="7" y="7"/>
                  <a:pt x="7" y="7"/>
                  <a:pt x="7" y="6"/>
                </a:cubicBezTo>
                <a:cubicBezTo>
                  <a:pt x="7" y="6"/>
                  <a:pt x="8" y="5"/>
                  <a:pt x="7" y="5"/>
                </a:cubicBezTo>
                <a:cubicBezTo>
                  <a:pt x="7" y="5"/>
                  <a:pt x="7" y="5"/>
                  <a:pt x="7" y="5"/>
                </a:cubicBezTo>
                <a:cubicBezTo>
                  <a:pt x="8" y="5"/>
                  <a:pt x="7" y="5"/>
                  <a:pt x="7" y="4"/>
                </a:cubicBezTo>
                <a:cubicBezTo>
                  <a:pt x="7" y="4"/>
                  <a:pt x="8" y="4"/>
                  <a:pt x="8" y="4"/>
                </a:cubicBezTo>
                <a:cubicBezTo>
                  <a:pt x="8" y="3"/>
                  <a:pt x="7" y="3"/>
                  <a:pt x="7" y="2"/>
                </a:cubicBezTo>
                <a:cubicBezTo>
                  <a:pt x="7" y="2"/>
                  <a:pt x="6" y="2"/>
                  <a:pt x="6" y="2"/>
                </a:cubicBezTo>
                <a:cubicBezTo>
                  <a:pt x="6" y="2"/>
                  <a:pt x="5" y="1"/>
                  <a:pt x="5" y="1"/>
                </a:cubicBezTo>
                <a:cubicBezTo>
                  <a:pt x="5" y="1"/>
                  <a:pt x="5" y="0"/>
                  <a:pt x="4" y="0"/>
                </a:cubicBezTo>
                <a:cubicBezTo>
                  <a:pt x="4" y="0"/>
                  <a:pt x="3" y="0"/>
                  <a:pt x="3" y="1"/>
                </a:cubicBezTo>
                <a:cubicBezTo>
                  <a:pt x="3" y="1"/>
                  <a:pt x="2" y="1"/>
                  <a:pt x="2" y="1"/>
                </a:cubicBezTo>
                <a:cubicBezTo>
                  <a:pt x="2" y="2"/>
                  <a:pt x="2" y="2"/>
                  <a:pt x="2" y="2"/>
                </a:cubicBezTo>
                <a:cubicBezTo>
                  <a:pt x="2" y="2"/>
                  <a:pt x="1" y="3"/>
                  <a:pt x="2" y="3"/>
                </a:cubicBezTo>
                <a:cubicBezTo>
                  <a:pt x="2" y="4"/>
                  <a:pt x="2" y="4"/>
                  <a:pt x="2" y="4"/>
                </a:cubicBezTo>
                <a:cubicBezTo>
                  <a:pt x="1" y="3"/>
                  <a:pt x="1" y="4"/>
                  <a:pt x="1" y="5"/>
                </a:cubicBezTo>
                <a:cubicBezTo>
                  <a:pt x="1" y="5"/>
                  <a:pt x="1" y="6"/>
                  <a:pt x="2" y="5"/>
                </a:cubicBezTo>
                <a:cubicBezTo>
                  <a:pt x="2" y="6"/>
                  <a:pt x="1" y="6"/>
                  <a:pt x="1" y="6"/>
                </a:cubicBezTo>
                <a:cubicBezTo>
                  <a:pt x="1" y="6"/>
                  <a:pt x="1" y="7"/>
                  <a:pt x="1" y="6"/>
                </a:cubicBezTo>
                <a:cubicBezTo>
                  <a:pt x="1" y="6"/>
                  <a:pt x="1" y="5"/>
                  <a:pt x="0" y="6"/>
                </a:cubicBezTo>
                <a:cubicBezTo>
                  <a:pt x="1" y="6"/>
                  <a:pt x="1" y="7"/>
                  <a:pt x="1" y="7"/>
                </a:cubicBezTo>
                <a:cubicBezTo>
                  <a:pt x="1" y="8"/>
                  <a:pt x="0" y="7"/>
                  <a:pt x="0" y="7"/>
                </a:cubicBezTo>
                <a:cubicBezTo>
                  <a:pt x="0" y="7"/>
                  <a:pt x="0" y="8"/>
                  <a:pt x="0" y="9"/>
                </a:cubicBezTo>
                <a:cubicBezTo>
                  <a:pt x="0" y="10"/>
                  <a:pt x="0" y="11"/>
                  <a:pt x="0" y="11"/>
                </a:cubicBezTo>
                <a:cubicBezTo>
                  <a:pt x="1" y="12"/>
                  <a:pt x="1" y="12"/>
                  <a:pt x="1" y="12"/>
                </a:cubicBezTo>
                <a:cubicBezTo>
                  <a:pt x="1" y="12"/>
                  <a:pt x="1" y="13"/>
                  <a:pt x="1" y="13"/>
                </a:cubicBezTo>
                <a:cubicBezTo>
                  <a:pt x="1" y="14"/>
                  <a:pt x="1" y="14"/>
                  <a:pt x="1" y="15"/>
                </a:cubicBezTo>
                <a:cubicBezTo>
                  <a:pt x="1" y="16"/>
                  <a:pt x="2" y="16"/>
                  <a:pt x="3" y="17"/>
                </a:cubicBezTo>
                <a:cubicBezTo>
                  <a:pt x="3" y="17"/>
                  <a:pt x="4" y="18"/>
                  <a:pt x="4" y="17"/>
                </a:cubicBezTo>
                <a:cubicBezTo>
                  <a:pt x="5" y="17"/>
                  <a:pt x="5" y="16"/>
                  <a:pt x="6" y="16"/>
                </a:cubicBezTo>
                <a:cubicBezTo>
                  <a:pt x="6" y="16"/>
                  <a:pt x="6" y="17"/>
                  <a:pt x="7" y="17"/>
                </a:cubicBezTo>
                <a:cubicBezTo>
                  <a:pt x="7" y="17"/>
                  <a:pt x="7" y="16"/>
                  <a:pt x="7" y="15"/>
                </a:cubicBezTo>
                <a:cubicBezTo>
                  <a:pt x="8" y="14"/>
                  <a:pt x="8" y="13"/>
                  <a:pt x="8" y="12"/>
                </a:cubicBezTo>
                <a:cubicBezTo>
                  <a:pt x="8" y="12"/>
                  <a:pt x="8" y="12"/>
                  <a:pt x="8" y="11"/>
                </a:cubicBezTo>
                <a:cubicBezTo>
                  <a:pt x="8" y="11"/>
                  <a:pt x="9" y="9"/>
                  <a:pt x="8" y="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5" name="Puerto Rico"/>
          <p:cNvSpPr>
            <a:spLocks noEditPoints="1"/>
          </p:cNvSpPr>
          <p:nvPr/>
        </p:nvSpPr>
        <p:spPr bwMode="auto">
          <a:xfrm>
            <a:off x="3448171" y="3929964"/>
            <a:ext cx="96996" cy="21000"/>
          </a:xfrm>
          <a:custGeom>
            <a:avLst/>
            <a:gdLst/>
            <a:ahLst/>
            <a:cxnLst>
              <a:cxn ang="0">
                <a:pos x="1" y="5"/>
              </a:cxn>
              <a:cxn ang="0">
                <a:pos x="1" y="5"/>
              </a:cxn>
              <a:cxn ang="0">
                <a:pos x="23" y="2"/>
              </a:cxn>
              <a:cxn ang="0">
                <a:pos x="23" y="1"/>
              </a:cxn>
              <a:cxn ang="0">
                <a:pos x="22" y="1"/>
              </a:cxn>
              <a:cxn ang="0">
                <a:pos x="19" y="0"/>
              </a:cxn>
              <a:cxn ang="0">
                <a:pos x="19" y="1"/>
              </a:cxn>
              <a:cxn ang="0">
                <a:pos x="18" y="0"/>
              </a:cxn>
              <a:cxn ang="0">
                <a:pos x="16" y="0"/>
              </a:cxn>
              <a:cxn ang="0">
                <a:pos x="14" y="0"/>
              </a:cxn>
              <a:cxn ang="0">
                <a:pos x="12" y="0"/>
              </a:cxn>
              <a:cxn ang="0">
                <a:pos x="11" y="0"/>
              </a:cxn>
              <a:cxn ang="0">
                <a:pos x="9" y="0"/>
              </a:cxn>
              <a:cxn ang="0">
                <a:pos x="9" y="1"/>
              </a:cxn>
              <a:cxn ang="0">
                <a:pos x="8" y="1"/>
              </a:cxn>
              <a:cxn ang="0">
                <a:pos x="9" y="3"/>
              </a:cxn>
              <a:cxn ang="0">
                <a:pos x="8" y="5"/>
              </a:cxn>
              <a:cxn ang="0">
                <a:pos x="8" y="6"/>
              </a:cxn>
              <a:cxn ang="0">
                <a:pos x="10" y="6"/>
              </a:cxn>
              <a:cxn ang="0">
                <a:pos x="11" y="6"/>
              </a:cxn>
              <a:cxn ang="0">
                <a:pos x="12" y="6"/>
              </a:cxn>
              <a:cxn ang="0">
                <a:pos x="12" y="5"/>
              </a:cxn>
              <a:cxn ang="0">
                <a:pos x="13" y="6"/>
              </a:cxn>
              <a:cxn ang="0">
                <a:pos x="14" y="6"/>
              </a:cxn>
              <a:cxn ang="0">
                <a:pos x="15" y="6"/>
              </a:cxn>
              <a:cxn ang="0">
                <a:pos x="16" y="6"/>
              </a:cxn>
              <a:cxn ang="0">
                <a:pos x="17" y="6"/>
              </a:cxn>
              <a:cxn ang="0">
                <a:pos x="18" y="6"/>
              </a:cxn>
              <a:cxn ang="0">
                <a:pos x="18" y="6"/>
              </a:cxn>
              <a:cxn ang="0">
                <a:pos x="20" y="6"/>
              </a:cxn>
              <a:cxn ang="0">
                <a:pos x="21" y="5"/>
              </a:cxn>
              <a:cxn ang="0">
                <a:pos x="22" y="4"/>
              </a:cxn>
              <a:cxn ang="0">
                <a:pos x="23" y="3"/>
              </a:cxn>
              <a:cxn ang="0">
                <a:pos x="23" y="2"/>
              </a:cxn>
              <a:cxn ang="0">
                <a:pos x="26" y="4"/>
              </a:cxn>
              <a:cxn ang="0">
                <a:pos x="24" y="4"/>
              </a:cxn>
              <a:cxn ang="0">
                <a:pos x="24" y="5"/>
              </a:cxn>
              <a:cxn ang="0">
                <a:pos x="26" y="4"/>
              </a:cxn>
              <a:cxn ang="0">
                <a:pos x="26" y="4"/>
              </a:cxn>
            </a:cxnLst>
            <a:rect l="0" t="0" r="r" b="b"/>
            <a:pathLst>
              <a:path w="27" h="6">
                <a:moveTo>
                  <a:pt x="1" y="5"/>
                </a:moveTo>
                <a:cubicBezTo>
                  <a:pt x="0" y="4"/>
                  <a:pt x="3" y="4"/>
                  <a:pt x="1" y="5"/>
                </a:cubicBezTo>
                <a:close/>
                <a:moveTo>
                  <a:pt x="23" y="2"/>
                </a:moveTo>
                <a:cubicBezTo>
                  <a:pt x="23" y="2"/>
                  <a:pt x="23" y="2"/>
                  <a:pt x="23" y="1"/>
                </a:cubicBezTo>
                <a:cubicBezTo>
                  <a:pt x="23" y="2"/>
                  <a:pt x="22" y="1"/>
                  <a:pt x="22" y="1"/>
                </a:cubicBezTo>
                <a:cubicBezTo>
                  <a:pt x="21" y="0"/>
                  <a:pt x="20" y="1"/>
                  <a:pt x="19" y="0"/>
                </a:cubicBezTo>
                <a:cubicBezTo>
                  <a:pt x="19" y="0"/>
                  <a:pt x="19" y="1"/>
                  <a:pt x="19" y="1"/>
                </a:cubicBezTo>
                <a:cubicBezTo>
                  <a:pt x="19" y="1"/>
                  <a:pt x="19" y="0"/>
                  <a:pt x="18" y="0"/>
                </a:cubicBezTo>
                <a:cubicBezTo>
                  <a:pt x="17" y="0"/>
                  <a:pt x="17" y="0"/>
                  <a:pt x="16" y="0"/>
                </a:cubicBezTo>
                <a:cubicBezTo>
                  <a:pt x="15" y="0"/>
                  <a:pt x="14" y="0"/>
                  <a:pt x="14" y="0"/>
                </a:cubicBezTo>
                <a:cubicBezTo>
                  <a:pt x="13" y="0"/>
                  <a:pt x="13" y="0"/>
                  <a:pt x="12" y="0"/>
                </a:cubicBezTo>
                <a:cubicBezTo>
                  <a:pt x="12" y="0"/>
                  <a:pt x="11" y="0"/>
                  <a:pt x="11" y="0"/>
                </a:cubicBezTo>
                <a:cubicBezTo>
                  <a:pt x="10" y="0"/>
                  <a:pt x="10" y="0"/>
                  <a:pt x="9" y="0"/>
                </a:cubicBezTo>
                <a:cubicBezTo>
                  <a:pt x="9" y="0"/>
                  <a:pt x="9" y="0"/>
                  <a:pt x="9" y="1"/>
                </a:cubicBezTo>
                <a:cubicBezTo>
                  <a:pt x="8" y="1"/>
                  <a:pt x="8" y="1"/>
                  <a:pt x="8" y="1"/>
                </a:cubicBezTo>
                <a:cubicBezTo>
                  <a:pt x="7" y="2"/>
                  <a:pt x="9" y="3"/>
                  <a:pt x="9" y="3"/>
                </a:cubicBezTo>
                <a:cubicBezTo>
                  <a:pt x="8" y="4"/>
                  <a:pt x="8" y="4"/>
                  <a:pt x="8" y="5"/>
                </a:cubicBezTo>
                <a:cubicBezTo>
                  <a:pt x="8" y="5"/>
                  <a:pt x="8" y="6"/>
                  <a:pt x="8" y="6"/>
                </a:cubicBezTo>
                <a:cubicBezTo>
                  <a:pt x="8" y="6"/>
                  <a:pt x="9" y="6"/>
                  <a:pt x="10" y="6"/>
                </a:cubicBezTo>
                <a:cubicBezTo>
                  <a:pt x="10" y="6"/>
                  <a:pt x="11" y="6"/>
                  <a:pt x="11" y="6"/>
                </a:cubicBezTo>
                <a:cubicBezTo>
                  <a:pt x="11" y="6"/>
                  <a:pt x="12" y="6"/>
                  <a:pt x="12" y="6"/>
                </a:cubicBezTo>
                <a:cubicBezTo>
                  <a:pt x="12" y="6"/>
                  <a:pt x="12" y="6"/>
                  <a:pt x="12" y="5"/>
                </a:cubicBezTo>
                <a:cubicBezTo>
                  <a:pt x="12" y="5"/>
                  <a:pt x="12" y="6"/>
                  <a:pt x="13" y="6"/>
                </a:cubicBezTo>
                <a:cubicBezTo>
                  <a:pt x="13" y="6"/>
                  <a:pt x="13" y="6"/>
                  <a:pt x="14" y="6"/>
                </a:cubicBezTo>
                <a:cubicBezTo>
                  <a:pt x="14" y="6"/>
                  <a:pt x="14" y="6"/>
                  <a:pt x="15" y="6"/>
                </a:cubicBezTo>
                <a:cubicBezTo>
                  <a:pt x="15" y="6"/>
                  <a:pt x="15" y="6"/>
                  <a:pt x="16" y="6"/>
                </a:cubicBezTo>
                <a:cubicBezTo>
                  <a:pt x="16" y="6"/>
                  <a:pt x="17" y="6"/>
                  <a:pt x="17" y="6"/>
                </a:cubicBezTo>
                <a:cubicBezTo>
                  <a:pt x="17" y="6"/>
                  <a:pt x="17" y="6"/>
                  <a:pt x="18" y="6"/>
                </a:cubicBezTo>
                <a:cubicBezTo>
                  <a:pt x="18" y="6"/>
                  <a:pt x="18" y="6"/>
                  <a:pt x="18" y="6"/>
                </a:cubicBezTo>
                <a:cubicBezTo>
                  <a:pt x="19" y="6"/>
                  <a:pt x="19" y="6"/>
                  <a:pt x="20" y="6"/>
                </a:cubicBezTo>
                <a:cubicBezTo>
                  <a:pt x="20" y="6"/>
                  <a:pt x="21" y="5"/>
                  <a:pt x="21" y="5"/>
                </a:cubicBezTo>
                <a:cubicBezTo>
                  <a:pt x="21" y="5"/>
                  <a:pt x="22" y="4"/>
                  <a:pt x="22" y="4"/>
                </a:cubicBezTo>
                <a:cubicBezTo>
                  <a:pt x="22" y="3"/>
                  <a:pt x="23" y="3"/>
                  <a:pt x="23" y="3"/>
                </a:cubicBezTo>
                <a:cubicBezTo>
                  <a:pt x="23" y="3"/>
                  <a:pt x="23" y="2"/>
                  <a:pt x="23" y="2"/>
                </a:cubicBezTo>
                <a:close/>
                <a:moveTo>
                  <a:pt x="26" y="4"/>
                </a:moveTo>
                <a:cubicBezTo>
                  <a:pt x="25" y="4"/>
                  <a:pt x="25" y="4"/>
                  <a:pt x="24" y="4"/>
                </a:cubicBezTo>
                <a:cubicBezTo>
                  <a:pt x="24" y="4"/>
                  <a:pt x="23" y="4"/>
                  <a:pt x="24" y="5"/>
                </a:cubicBezTo>
                <a:cubicBezTo>
                  <a:pt x="25" y="4"/>
                  <a:pt x="25" y="4"/>
                  <a:pt x="26" y="4"/>
                </a:cubicBezTo>
                <a:cubicBezTo>
                  <a:pt x="27" y="4"/>
                  <a:pt x="26" y="4"/>
                  <a:pt x="26" y="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6" name="Portugal"/>
          <p:cNvSpPr>
            <a:spLocks noEditPoints="1"/>
          </p:cNvSpPr>
          <p:nvPr/>
        </p:nvSpPr>
        <p:spPr bwMode="auto">
          <a:xfrm>
            <a:off x="4806119" y="2989001"/>
            <a:ext cx="819969" cy="379986"/>
          </a:xfrm>
          <a:custGeom>
            <a:avLst/>
            <a:gdLst/>
            <a:ahLst/>
            <a:cxnLst>
              <a:cxn ang="0">
                <a:pos x="26" y="42"/>
              </a:cxn>
              <a:cxn ang="0">
                <a:pos x="25" y="40"/>
              </a:cxn>
              <a:cxn ang="0">
                <a:pos x="35" y="37"/>
              </a:cxn>
              <a:cxn ang="0">
                <a:pos x="37" y="37"/>
              </a:cxn>
              <a:cxn ang="0">
                <a:pos x="53" y="57"/>
              </a:cxn>
              <a:cxn ang="0">
                <a:pos x="1" y="31"/>
              </a:cxn>
              <a:cxn ang="0">
                <a:pos x="50" y="48"/>
              </a:cxn>
              <a:cxn ang="0">
                <a:pos x="49" y="49"/>
              </a:cxn>
              <a:cxn ang="0">
                <a:pos x="52" y="47"/>
              </a:cxn>
              <a:cxn ang="0">
                <a:pos x="121" y="103"/>
              </a:cxn>
              <a:cxn ang="0">
                <a:pos x="122" y="105"/>
              </a:cxn>
              <a:cxn ang="0">
                <a:pos x="123" y="103"/>
              </a:cxn>
              <a:cxn ang="0">
                <a:pos x="127" y="100"/>
              </a:cxn>
              <a:cxn ang="0">
                <a:pos x="225" y="5"/>
              </a:cxn>
              <a:cxn ang="0">
                <a:pos x="223" y="3"/>
              </a:cxn>
              <a:cxn ang="0">
                <a:pos x="220" y="2"/>
              </a:cxn>
              <a:cxn ang="0">
                <a:pos x="218" y="3"/>
              </a:cxn>
              <a:cxn ang="0">
                <a:pos x="215" y="4"/>
              </a:cxn>
              <a:cxn ang="0">
                <a:pos x="212" y="3"/>
              </a:cxn>
              <a:cxn ang="0">
                <a:pos x="210" y="2"/>
              </a:cxn>
              <a:cxn ang="0">
                <a:pos x="209" y="0"/>
              </a:cxn>
              <a:cxn ang="0">
                <a:pos x="203" y="4"/>
              </a:cxn>
              <a:cxn ang="0">
                <a:pos x="203" y="6"/>
              </a:cxn>
              <a:cxn ang="0">
                <a:pos x="204" y="12"/>
              </a:cxn>
              <a:cxn ang="0">
                <a:pos x="204" y="14"/>
              </a:cxn>
              <a:cxn ang="0">
                <a:pos x="205" y="16"/>
              </a:cxn>
              <a:cxn ang="0">
                <a:pos x="202" y="22"/>
              </a:cxn>
              <a:cxn ang="0">
                <a:pos x="199" y="29"/>
              </a:cxn>
              <a:cxn ang="0">
                <a:pos x="198" y="30"/>
              </a:cxn>
              <a:cxn ang="0">
                <a:pos x="196" y="36"/>
              </a:cxn>
              <a:cxn ang="0">
                <a:pos x="200" y="35"/>
              </a:cxn>
              <a:cxn ang="0">
                <a:pos x="200" y="38"/>
              </a:cxn>
              <a:cxn ang="0">
                <a:pos x="198" y="39"/>
              </a:cxn>
              <a:cxn ang="0">
                <a:pos x="198" y="40"/>
              </a:cxn>
              <a:cxn ang="0">
                <a:pos x="201" y="40"/>
              </a:cxn>
              <a:cxn ang="0">
                <a:pos x="202" y="39"/>
              </a:cxn>
              <a:cxn ang="0">
                <a:pos x="201" y="41"/>
              </a:cxn>
              <a:cxn ang="0">
                <a:pos x="201" y="43"/>
              </a:cxn>
              <a:cxn ang="0">
                <a:pos x="201" y="47"/>
              </a:cxn>
              <a:cxn ang="0">
                <a:pos x="200" y="53"/>
              </a:cxn>
              <a:cxn ang="0">
                <a:pos x="201" y="56"/>
              </a:cxn>
              <a:cxn ang="0">
                <a:pos x="206" y="56"/>
              </a:cxn>
              <a:cxn ang="0">
                <a:pos x="211" y="55"/>
              </a:cxn>
              <a:cxn ang="0">
                <a:pos x="212" y="51"/>
              </a:cxn>
              <a:cxn ang="0">
                <a:pos x="215" y="46"/>
              </a:cxn>
              <a:cxn ang="0">
                <a:pos x="218" y="44"/>
              </a:cxn>
              <a:cxn ang="0">
                <a:pos x="215" y="39"/>
              </a:cxn>
              <a:cxn ang="0">
                <a:pos x="217" y="34"/>
              </a:cxn>
              <a:cxn ang="0">
                <a:pos x="216" y="32"/>
              </a:cxn>
              <a:cxn ang="0">
                <a:pos x="215" y="29"/>
              </a:cxn>
              <a:cxn ang="0">
                <a:pos x="218" y="27"/>
              </a:cxn>
              <a:cxn ang="0">
                <a:pos x="219" y="23"/>
              </a:cxn>
              <a:cxn ang="0">
                <a:pos x="220" y="19"/>
              </a:cxn>
              <a:cxn ang="0">
                <a:pos x="221" y="16"/>
              </a:cxn>
              <a:cxn ang="0">
                <a:pos x="220" y="13"/>
              </a:cxn>
              <a:cxn ang="0">
                <a:pos x="222" y="11"/>
              </a:cxn>
              <a:cxn ang="0">
                <a:pos x="226" y="9"/>
              </a:cxn>
              <a:cxn ang="0">
                <a:pos x="225" y="5"/>
              </a:cxn>
            </a:cxnLst>
            <a:rect l="0" t="0" r="r" b="b"/>
            <a:pathLst>
              <a:path w="227" h="105">
                <a:moveTo>
                  <a:pt x="27" y="41"/>
                </a:moveTo>
                <a:cubicBezTo>
                  <a:pt x="28" y="41"/>
                  <a:pt x="27" y="41"/>
                  <a:pt x="27" y="41"/>
                </a:cubicBezTo>
                <a:cubicBezTo>
                  <a:pt x="27" y="41"/>
                  <a:pt x="26" y="41"/>
                  <a:pt x="26" y="42"/>
                </a:cubicBezTo>
                <a:cubicBezTo>
                  <a:pt x="26" y="42"/>
                  <a:pt x="25" y="41"/>
                  <a:pt x="25" y="41"/>
                </a:cubicBezTo>
                <a:cubicBezTo>
                  <a:pt x="24" y="41"/>
                  <a:pt x="24" y="41"/>
                  <a:pt x="23" y="41"/>
                </a:cubicBezTo>
                <a:cubicBezTo>
                  <a:pt x="22" y="40"/>
                  <a:pt x="24" y="40"/>
                  <a:pt x="25" y="40"/>
                </a:cubicBezTo>
                <a:cubicBezTo>
                  <a:pt x="25" y="40"/>
                  <a:pt x="26" y="40"/>
                  <a:pt x="26" y="41"/>
                </a:cubicBezTo>
                <a:cubicBezTo>
                  <a:pt x="27" y="41"/>
                  <a:pt x="27" y="41"/>
                  <a:pt x="27" y="41"/>
                </a:cubicBezTo>
                <a:close/>
                <a:moveTo>
                  <a:pt x="35" y="37"/>
                </a:moveTo>
                <a:cubicBezTo>
                  <a:pt x="35" y="37"/>
                  <a:pt x="34" y="37"/>
                  <a:pt x="34" y="38"/>
                </a:cubicBezTo>
                <a:cubicBezTo>
                  <a:pt x="34" y="39"/>
                  <a:pt x="35" y="38"/>
                  <a:pt x="36" y="39"/>
                </a:cubicBezTo>
                <a:cubicBezTo>
                  <a:pt x="37" y="39"/>
                  <a:pt x="37" y="38"/>
                  <a:pt x="37" y="37"/>
                </a:cubicBezTo>
                <a:cubicBezTo>
                  <a:pt x="37" y="37"/>
                  <a:pt x="36" y="37"/>
                  <a:pt x="35" y="37"/>
                </a:cubicBezTo>
                <a:close/>
                <a:moveTo>
                  <a:pt x="51" y="57"/>
                </a:moveTo>
                <a:cubicBezTo>
                  <a:pt x="51" y="57"/>
                  <a:pt x="52" y="57"/>
                  <a:pt x="53" y="57"/>
                </a:cubicBezTo>
                <a:cubicBezTo>
                  <a:pt x="53" y="57"/>
                  <a:pt x="52" y="56"/>
                  <a:pt x="51" y="57"/>
                </a:cubicBezTo>
                <a:close/>
                <a:moveTo>
                  <a:pt x="1" y="29"/>
                </a:moveTo>
                <a:cubicBezTo>
                  <a:pt x="0" y="30"/>
                  <a:pt x="0" y="31"/>
                  <a:pt x="1" y="31"/>
                </a:cubicBezTo>
                <a:cubicBezTo>
                  <a:pt x="2" y="31"/>
                  <a:pt x="1" y="29"/>
                  <a:pt x="1" y="29"/>
                </a:cubicBezTo>
                <a:close/>
                <a:moveTo>
                  <a:pt x="52" y="47"/>
                </a:moveTo>
                <a:cubicBezTo>
                  <a:pt x="51" y="47"/>
                  <a:pt x="50" y="47"/>
                  <a:pt x="50" y="48"/>
                </a:cubicBezTo>
                <a:cubicBezTo>
                  <a:pt x="49" y="48"/>
                  <a:pt x="48" y="48"/>
                  <a:pt x="48" y="47"/>
                </a:cubicBezTo>
                <a:cubicBezTo>
                  <a:pt x="48" y="47"/>
                  <a:pt x="47" y="46"/>
                  <a:pt x="46" y="47"/>
                </a:cubicBezTo>
                <a:cubicBezTo>
                  <a:pt x="46" y="48"/>
                  <a:pt x="48" y="49"/>
                  <a:pt x="49" y="49"/>
                </a:cubicBezTo>
                <a:cubicBezTo>
                  <a:pt x="49" y="49"/>
                  <a:pt x="50" y="49"/>
                  <a:pt x="50" y="49"/>
                </a:cubicBezTo>
                <a:cubicBezTo>
                  <a:pt x="51" y="49"/>
                  <a:pt x="52" y="49"/>
                  <a:pt x="52" y="48"/>
                </a:cubicBezTo>
                <a:cubicBezTo>
                  <a:pt x="53" y="48"/>
                  <a:pt x="53" y="47"/>
                  <a:pt x="52" y="47"/>
                </a:cubicBezTo>
                <a:close/>
                <a:moveTo>
                  <a:pt x="123" y="103"/>
                </a:moveTo>
                <a:cubicBezTo>
                  <a:pt x="122" y="103"/>
                  <a:pt x="122" y="102"/>
                  <a:pt x="122" y="102"/>
                </a:cubicBezTo>
                <a:cubicBezTo>
                  <a:pt x="121" y="102"/>
                  <a:pt x="121" y="103"/>
                  <a:pt x="121" y="103"/>
                </a:cubicBezTo>
                <a:cubicBezTo>
                  <a:pt x="120" y="103"/>
                  <a:pt x="120" y="102"/>
                  <a:pt x="120" y="102"/>
                </a:cubicBezTo>
                <a:cubicBezTo>
                  <a:pt x="119" y="102"/>
                  <a:pt x="119" y="103"/>
                  <a:pt x="119" y="103"/>
                </a:cubicBezTo>
                <a:cubicBezTo>
                  <a:pt x="120" y="104"/>
                  <a:pt x="121" y="104"/>
                  <a:pt x="122" y="105"/>
                </a:cubicBezTo>
                <a:cubicBezTo>
                  <a:pt x="122" y="105"/>
                  <a:pt x="123" y="105"/>
                  <a:pt x="123" y="104"/>
                </a:cubicBezTo>
                <a:cubicBezTo>
                  <a:pt x="123" y="104"/>
                  <a:pt x="124" y="103"/>
                  <a:pt x="124" y="103"/>
                </a:cubicBezTo>
                <a:cubicBezTo>
                  <a:pt x="124" y="103"/>
                  <a:pt x="123" y="103"/>
                  <a:pt x="123" y="103"/>
                </a:cubicBezTo>
                <a:close/>
                <a:moveTo>
                  <a:pt x="128" y="99"/>
                </a:moveTo>
                <a:cubicBezTo>
                  <a:pt x="128" y="100"/>
                  <a:pt x="127" y="100"/>
                  <a:pt x="127" y="100"/>
                </a:cubicBezTo>
                <a:cubicBezTo>
                  <a:pt x="127" y="100"/>
                  <a:pt x="127" y="100"/>
                  <a:pt x="127" y="100"/>
                </a:cubicBezTo>
                <a:cubicBezTo>
                  <a:pt x="128" y="100"/>
                  <a:pt x="128" y="100"/>
                  <a:pt x="128" y="100"/>
                </a:cubicBezTo>
                <a:cubicBezTo>
                  <a:pt x="128" y="99"/>
                  <a:pt x="128" y="99"/>
                  <a:pt x="128" y="99"/>
                </a:cubicBezTo>
                <a:close/>
                <a:moveTo>
                  <a:pt x="225" y="5"/>
                </a:moveTo>
                <a:cubicBezTo>
                  <a:pt x="225" y="5"/>
                  <a:pt x="224" y="6"/>
                  <a:pt x="224" y="5"/>
                </a:cubicBezTo>
                <a:cubicBezTo>
                  <a:pt x="224" y="5"/>
                  <a:pt x="224" y="5"/>
                  <a:pt x="224" y="4"/>
                </a:cubicBezTo>
                <a:cubicBezTo>
                  <a:pt x="224" y="4"/>
                  <a:pt x="224" y="2"/>
                  <a:pt x="223" y="3"/>
                </a:cubicBezTo>
                <a:cubicBezTo>
                  <a:pt x="223" y="3"/>
                  <a:pt x="222" y="3"/>
                  <a:pt x="222" y="2"/>
                </a:cubicBezTo>
                <a:cubicBezTo>
                  <a:pt x="222" y="2"/>
                  <a:pt x="221" y="3"/>
                  <a:pt x="221" y="3"/>
                </a:cubicBezTo>
                <a:cubicBezTo>
                  <a:pt x="220" y="3"/>
                  <a:pt x="220" y="2"/>
                  <a:pt x="220" y="2"/>
                </a:cubicBezTo>
                <a:cubicBezTo>
                  <a:pt x="220" y="3"/>
                  <a:pt x="220" y="3"/>
                  <a:pt x="219" y="3"/>
                </a:cubicBezTo>
                <a:cubicBezTo>
                  <a:pt x="219" y="2"/>
                  <a:pt x="219" y="2"/>
                  <a:pt x="219" y="2"/>
                </a:cubicBezTo>
                <a:cubicBezTo>
                  <a:pt x="218" y="2"/>
                  <a:pt x="218" y="3"/>
                  <a:pt x="218" y="3"/>
                </a:cubicBezTo>
                <a:cubicBezTo>
                  <a:pt x="218" y="3"/>
                  <a:pt x="218" y="3"/>
                  <a:pt x="218" y="3"/>
                </a:cubicBezTo>
                <a:cubicBezTo>
                  <a:pt x="217" y="4"/>
                  <a:pt x="217" y="4"/>
                  <a:pt x="216" y="4"/>
                </a:cubicBezTo>
                <a:cubicBezTo>
                  <a:pt x="216" y="4"/>
                  <a:pt x="216" y="3"/>
                  <a:pt x="215" y="4"/>
                </a:cubicBezTo>
                <a:cubicBezTo>
                  <a:pt x="215" y="4"/>
                  <a:pt x="215" y="4"/>
                  <a:pt x="214" y="4"/>
                </a:cubicBezTo>
                <a:cubicBezTo>
                  <a:pt x="215" y="3"/>
                  <a:pt x="213" y="3"/>
                  <a:pt x="212" y="3"/>
                </a:cubicBezTo>
                <a:cubicBezTo>
                  <a:pt x="212" y="3"/>
                  <a:pt x="212" y="3"/>
                  <a:pt x="212" y="3"/>
                </a:cubicBezTo>
                <a:cubicBezTo>
                  <a:pt x="211" y="3"/>
                  <a:pt x="211" y="4"/>
                  <a:pt x="210" y="4"/>
                </a:cubicBezTo>
                <a:cubicBezTo>
                  <a:pt x="210" y="4"/>
                  <a:pt x="209" y="4"/>
                  <a:pt x="209" y="3"/>
                </a:cubicBezTo>
                <a:cubicBezTo>
                  <a:pt x="209" y="3"/>
                  <a:pt x="210" y="2"/>
                  <a:pt x="210" y="2"/>
                </a:cubicBezTo>
                <a:cubicBezTo>
                  <a:pt x="210" y="2"/>
                  <a:pt x="211" y="2"/>
                  <a:pt x="210" y="1"/>
                </a:cubicBezTo>
                <a:cubicBezTo>
                  <a:pt x="210" y="1"/>
                  <a:pt x="210" y="1"/>
                  <a:pt x="210" y="1"/>
                </a:cubicBezTo>
                <a:cubicBezTo>
                  <a:pt x="209" y="1"/>
                  <a:pt x="210" y="1"/>
                  <a:pt x="209" y="0"/>
                </a:cubicBezTo>
                <a:cubicBezTo>
                  <a:pt x="209" y="1"/>
                  <a:pt x="208" y="1"/>
                  <a:pt x="208" y="1"/>
                </a:cubicBezTo>
                <a:cubicBezTo>
                  <a:pt x="207" y="1"/>
                  <a:pt x="206" y="1"/>
                  <a:pt x="205" y="2"/>
                </a:cubicBezTo>
                <a:cubicBezTo>
                  <a:pt x="204" y="3"/>
                  <a:pt x="203" y="3"/>
                  <a:pt x="203" y="4"/>
                </a:cubicBezTo>
                <a:cubicBezTo>
                  <a:pt x="203" y="5"/>
                  <a:pt x="203" y="5"/>
                  <a:pt x="203" y="5"/>
                </a:cubicBezTo>
                <a:cubicBezTo>
                  <a:pt x="204" y="5"/>
                  <a:pt x="204" y="5"/>
                  <a:pt x="204" y="5"/>
                </a:cubicBezTo>
                <a:cubicBezTo>
                  <a:pt x="204" y="6"/>
                  <a:pt x="203" y="5"/>
                  <a:pt x="203" y="6"/>
                </a:cubicBezTo>
                <a:cubicBezTo>
                  <a:pt x="203" y="7"/>
                  <a:pt x="204" y="7"/>
                  <a:pt x="204" y="8"/>
                </a:cubicBezTo>
                <a:cubicBezTo>
                  <a:pt x="204" y="8"/>
                  <a:pt x="204" y="11"/>
                  <a:pt x="205" y="11"/>
                </a:cubicBezTo>
                <a:cubicBezTo>
                  <a:pt x="204" y="12"/>
                  <a:pt x="204" y="12"/>
                  <a:pt x="204" y="12"/>
                </a:cubicBezTo>
                <a:cubicBezTo>
                  <a:pt x="205" y="13"/>
                  <a:pt x="204" y="13"/>
                  <a:pt x="204" y="14"/>
                </a:cubicBezTo>
                <a:cubicBezTo>
                  <a:pt x="204" y="15"/>
                  <a:pt x="203" y="16"/>
                  <a:pt x="203" y="17"/>
                </a:cubicBezTo>
                <a:cubicBezTo>
                  <a:pt x="204" y="16"/>
                  <a:pt x="204" y="15"/>
                  <a:pt x="204" y="14"/>
                </a:cubicBezTo>
                <a:cubicBezTo>
                  <a:pt x="204" y="15"/>
                  <a:pt x="204" y="15"/>
                  <a:pt x="204" y="15"/>
                </a:cubicBezTo>
                <a:cubicBezTo>
                  <a:pt x="205" y="14"/>
                  <a:pt x="204" y="15"/>
                  <a:pt x="204" y="15"/>
                </a:cubicBezTo>
                <a:cubicBezTo>
                  <a:pt x="204" y="16"/>
                  <a:pt x="204" y="16"/>
                  <a:pt x="205" y="16"/>
                </a:cubicBezTo>
                <a:cubicBezTo>
                  <a:pt x="204" y="16"/>
                  <a:pt x="204" y="16"/>
                  <a:pt x="204" y="17"/>
                </a:cubicBezTo>
                <a:cubicBezTo>
                  <a:pt x="203" y="16"/>
                  <a:pt x="203" y="19"/>
                  <a:pt x="203" y="19"/>
                </a:cubicBezTo>
                <a:cubicBezTo>
                  <a:pt x="202" y="20"/>
                  <a:pt x="201" y="21"/>
                  <a:pt x="202" y="22"/>
                </a:cubicBezTo>
                <a:cubicBezTo>
                  <a:pt x="202" y="23"/>
                  <a:pt x="201" y="24"/>
                  <a:pt x="201" y="25"/>
                </a:cubicBezTo>
                <a:cubicBezTo>
                  <a:pt x="200" y="26"/>
                  <a:pt x="200" y="26"/>
                  <a:pt x="200" y="26"/>
                </a:cubicBezTo>
                <a:cubicBezTo>
                  <a:pt x="200" y="27"/>
                  <a:pt x="199" y="29"/>
                  <a:pt x="199" y="29"/>
                </a:cubicBezTo>
                <a:cubicBezTo>
                  <a:pt x="198" y="29"/>
                  <a:pt x="198" y="29"/>
                  <a:pt x="198" y="30"/>
                </a:cubicBezTo>
                <a:cubicBezTo>
                  <a:pt x="198" y="30"/>
                  <a:pt x="198" y="30"/>
                  <a:pt x="198" y="30"/>
                </a:cubicBezTo>
                <a:cubicBezTo>
                  <a:pt x="198" y="30"/>
                  <a:pt x="198" y="30"/>
                  <a:pt x="198" y="30"/>
                </a:cubicBezTo>
                <a:cubicBezTo>
                  <a:pt x="197" y="31"/>
                  <a:pt x="197" y="31"/>
                  <a:pt x="196" y="31"/>
                </a:cubicBezTo>
                <a:cubicBezTo>
                  <a:pt x="198" y="31"/>
                  <a:pt x="196" y="33"/>
                  <a:pt x="196" y="34"/>
                </a:cubicBezTo>
                <a:cubicBezTo>
                  <a:pt x="196" y="34"/>
                  <a:pt x="196" y="35"/>
                  <a:pt x="196" y="36"/>
                </a:cubicBezTo>
                <a:cubicBezTo>
                  <a:pt x="195" y="36"/>
                  <a:pt x="195" y="37"/>
                  <a:pt x="195" y="38"/>
                </a:cubicBezTo>
                <a:cubicBezTo>
                  <a:pt x="195" y="39"/>
                  <a:pt x="197" y="38"/>
                  <a:pt x="198" y="38"/>
                </a:cubicBezTo>
                <a:cubicBezTo>
                  <a:pt x="199" y="38"/>
                  <a:pt x="199" y="36"/>
                  <a:pt x="200" y="35"/>
                </a:cubicBezTo>
                <a:cubicBezTo>
                  <a:pt x="200" y="36"/>
                  <a:pt x="200" y="36"/>
                  <a:pt x="200" y="37"/>
                </a:cubicBezTo>
                <a:cubicBezTo>
                  <a:pt x="200" y="38"/>
                  <a:pt x="199" y="38"/>
                  <a:pt x="199" y="38"/>
                </a:cubicBezTo>
                <a:cubicBezTo>
                  <a:pt x="199" y="38"/>
                  <a:pt x="200" y="38"/>
                  <a:pt x="200" y="38"/>
                </a:cubicBezTo>
                <a:cubicBezTo>
                  <a:pt x="199" y="38"/>
                  <a:pt x="199" y="38"/>
                  <a:pt x="199" y="38"/>
                </a:cubicBezTo>
                <a:cubicBezTo>
                  <a:pt x="199" y="39"/>
                  <a:pt x="199" y="39"/>
                  <a:pt x="199" y="39"/>
                </a:cubicBezTo>
                <a:cubicBezTo>
                  <a:pt x="199" y="39"/>
                  <a:pt x="198" y="39"/>
                  <a:pt x="198" y="39"/>
                </a:cubicBezTo>
                <a:cubicBezTo>
                  <a:pt x="198" y="39"/>
                  <a:pt x="198" y="39"/>
                  <a:pt x="198" y="39"/>
                </a:cubicBezTo>
                <a:cubicBezTo>
                  <a:pt x="198" y="38"/>
                  <a:pt x="197" y="38"/>
                  <a:pt x="197" y="39"/>
                </a:cubicBezTo>
                <a:cubicBezTo>
                  <a:pt x="198" y="39"/>
                  <a:pt x="198" y="40"/>
                  <a:pt x="198" y="40"/>
                </a:cubicBezTo>
                <a:cubicBezTo>
                  <a:pt x="198" y="40"/>
                  <a:pt x="197" y="41"/>
                  <a:pt x="197" y="41"/>
                </a:cubicBezTo>
                <a:cubicBezTo>
                  <a:pt x="197" y="41"/>
                  <a:pt x="199" y="41"/>
                  <a:pt x="200" y="40"/>
                </a:cubicBezTo>
                <a:cubicBezTo>
                  <a:pt x="200" y="40"/>
                  <a:pt x="200" y="40"/>
                  <a:pt x="201" y="40"/>
                </a:cubicBezTo>
                <a:cubicBezTo>
                  <a:pt x="201" y="40"/>
                  <a:pt x="202" y="41"/>
                  <a:pt x="201" y="40"/>
                </a:cubicBezTo>
                <a:cubicBezTo>
                  <a:pt x="201" y="40"/>
                  <a:pt x="201" y="40"/>
                  <a:pt x="201" y="40"/>
                </a:cubicBezTo>
                <a:cubicBezTo>
                  <a:pt x="201" y="40"/>
                  <a:pt x="201" y="40"/>
                  <a:pt x="202" y="39"/>
                </a:cubicBezTo>
                <a:cubicBezTo>
                  <a:pt x="202" y="40"/>
                  <a:pt x="202" y="40"/>
                  <a:pt x="202" y="40"/>
                </a:cubicBezTo>
                <a:cubicBezTo>
                  <a:pt x="201" y="41"/>
                  <a:pt x="202" y="41"/>
                  <a:pt x="202" y="41"/>
                </a:cubicBezTo>
                <a:cubicBezTo>
                  <a:pt x="202" y="41"/>
                  <a:pt x="201" y="41"/>
                  <a:pt x="201" y="41"/>
                </a:cubicBezTo>
                <a:cubicBezTo>
                  <a:pt x="201" y="41"/>
                  <a:pt x="201" y="41"/>
                  <a:pt x="201" y="41"/>
                </a:cubicBezTo>
                <a:cubicBezTo>
                  <a:pt x="201" y="41"/>
                  <a:pt x="201" y="40"/>
                  <a:pt x="200" y="40"/>
                </a:cubicBezTo>
                <a:cubicBezTo>
                  <a:pt x="201" y="41"/>
                  <a:pt x="201" y="42"/>
                  <a:pt x="201" y="43"/>
                </a:cubicBezTo>
                <a:cubicBezTo>
                  <a:pt x="201" y="44"/>
                  <a:pt x="201" y="44"/>
                  <a:pt x="201" y="45"/>
                </a:cubicBezTo>
                <a:cubicBezTo>
                  <a:pt x="200" y="45"/>
                  <a:pt x="200" y="46"/>
                  <a:pt x="200" y="46"/>
                </a:cubicBezTo>
                <a:cubicBezTo>
                  <a:pt x="200" y="46"/>
                  <a:pt x="201" y="47"/>
                  <a:pt x="201" y="47"/>
                </a:cubicBezTo>
                <a:cubicBezTo>
                  <a:pt x="201" y="48"/>
                  <a:pt x="200" y="49"/>
                  <a:pt x="201" y="49"/>
                </a:cubicBezTo>
                <a:cubicBezTo>
                  <a:pt x="200" y="49"/>
                  <a:pt x="200" y="50"/>
                  <a:pt x="200" y="51"/>
                </a:cubicBezTo>
                <a:cubicBezTo>
                  <a:pt x="200" y="51"/>
                  <a:pt x="200" y="52"/>
                  <a:pt x="200" y="53"/>
                </a:cubicBezTo>
                <a:cubicBezTo>
                  <a:pt x="199" y="53"/>
                  <a:pt x="199" y="54"/>
                  <a:pt x="199" y="55"/>
                </a:cubicBezTo>
                <a:cubicBezTo>
                  <a:pt x="199" y="56"/>
                  <a:pt x="198" y="56"/>
                  <a:pt x="199" y="57"/>
                </a:cubicBezTo>
                <a:cubicBezTo>
                  <a:pt x="199" y="56"/>
                  <a:pt x="200" y="56"/>
                  <a:pt x="201" y="56"/>
                </a:cubicBezTo>
                <a:cubicBezTo>
                  <a:pt x="201" y="56"/>
                  <a:pt x="201" y="55"/>
                  <a:pt x="202" y="55"/>
                </a:cubicBezTo>
                <a:cubicBezTo>
                  <a:pt x="202" y="55"/>
                  <a:pt x="202" y="55"/>
                  <a:pt x="203" y="55"/>
                </a:cubicBezTo>
                <a:cubicBezTo>
                  <a:pt x="202" y="56"/>
                  <a:pt x="206" y="56"/>
                  <a:pt x="206" y="56"/>
                </a:cubicBezTo>
                <a:cubicBezTo>
                  <a:pt x="207" y="57"/>
                  <a:pt x="208" y="57"/>
                  <a:pt x="209" y="56"/>
                </a:cubicBezTo>
                <a:cubicBezTo>
                  <a:pt x="209" y="57"/>
                  <a:pt x="210" y="56"/>
                  <a:pt x="210" y="56"/>
                </a:cubicBezTo>
                <a:cubicBezTo>
                  <a:pt x="210" y="56"/>
                  <a:pt x="210" y="56"/>
                  <a:pt x="211" y="55"/>
                </a:cubicBezTo>
                <a:cubicBezTo>
                  <a:pt x="211" y="55"/>
                  <a:pt x="212" y="54"/>
                  <a:pt x="213" y="55"/>
                </a:cubicBezTo>
                <a:cubicBezTo>
                  <a:pt x="212" y="54"/>
                  <a:pt x="213" y="53"/>
                  <a:pt x="212" y="52"/>
                </a:cubicBezTo>
                <a:cubicBezTo>
                  <a:pt x="212" y="51"/>
                  <a:pt x="212" y="51"/>
                  <a:pt x="212" y="51"/>
                </a:cubicBezTo>
                <a:cubicBezTo>
                  <a:pt x="212" y="50"/>
                  <a:pt x="212" y="50"/>
                  <a:pt x="212" y="49"/>
                </a:cubicBezTo>
                <a:cubicBezTo>
                  <a:pt x="213" y="48"/>
                  <a:pt x="214" y="48"/>
                  <a:pt x="214" y="47"/>
                </a:cubicBezTo>
                <a:cubicBezTo>
                  <a:pt x="215" y="47"/>
                  <a:pt x="214" y="46"/>
                  <a:pt x="215" y="46"/>
                </a:cubicBezTo>
                <a:cubicBezTo>
                  <a:pt x="216" y="46"/>
                  <a:pt x="216" y="45"/>
                  <a:pt x="216" y="45"/>
                </a:cubicBezTo>
                <a:cubicBezTo>
                  <a:pt x="217" y="45"/>
                  <a:pt x="217" y="45"/>
                  <a:pt x="217" y="45"/>
                </a:cubicBezTo>
                <a:cubicBezTo>
                  <a:pt x="217" y="45"/>
                  <a:pt x="218" y="44"/>
                  <a:pt x="218" y="44"/>
                </a:cubicBezTo>
                <a:cubicBezTo>
                  <a:pt x="218" y="43"/>
                  <a:pt x="216" y="44"/>
                  <a:pt x="216" y="43"/>
                </a:cubicBezTo>
                <a:cubicBezTo>
                  <a:pt x="216" y="43"/>
                  <a:pt x="215" y="42"/>
                  <a:pt x="214" y="41"/>
                </a:cubicBezTo>
                <a:cubicBezTo>
                  <a:pt x="214" y="41"/>
                  <a:pt x="215" y="39"/>
                  <a:pt x="215" y="39"/>
                </a:cubicBezTo>
                <a:cubicBezTo>
                  <a:pt x="215" y="38"/>
                  <a:pt x="215" y="38"/>
                  <a:pt x="216" y="37"/>
                </a:cubicBezTo>
                <a:cubicBezTo>
                  <a:pt x="217" y="36"/>
                  <a:pt x="218" y="35"/>
                  <a:pt x="218" y="35"/>
                </a:cubicBezTo>
                <a:cubicBezTo>
                  <a:pt x="218" y="34"/>
                  <a:pt x="217" y="34"/>
                  <a:pt x="217" y="34"/>
                </a:cubicBezTo>
                <a:cubicBezTo>
                  <a:pt x="216" y="33"/>
                  <a:pt x="217" y="33"/>
                  <a:pt x="216" y="33"/>
                </a:cubicBezTo>
                <a:cubicBezTo>
                  <a:pt x="216" y="33"/>
                  <a:pt x="216" y="33"/>
                  <a:pt x="216" y="32"/>
                </a:cubicBezTo>
                <a:cubicBezTo>
                  <a:pt x="216" y="32"/>
                  <a:pt x="216" y="32"/>
                  <a:pt x="216" y="32"/>
                </a:cubicBezTo>
                <a:cubicBezTo>
                  <a:pt x="215" y="31"/>
                  <a:pt x="215" y="31"/>
                  <a:pt x="215" y="31"/>
                </a:cubicBezTo>
                <a:cubicBezTo>
                  <a:pt x="215" y="30"/>
                  <a:pt x="215" y="30"/>
                  <a:pt x="215" y="30"/>
                </a:cubicBezTo>
                <a:cubicBezTo>
                  <a:pt x="215" y="29"/>
                  <a:pt x="215" y="29"/>
                  <a:pt x="215" y="29"/>
                </a:cubicBezTo>
                <a:cubicBezTo>
                  <a:pt x="214" y="28"/>
                  <a:pt x="213" y="28"/>
                  <a:pt x="213" y="27"/>
                </a:cubicBezTo>
                <a:cubicBezTo>
                  <a:pt x="214" y="28"/>
                  <a:pt x="214" y="28"/>
                  <a:pt x="215" y="28"/>
                </a:cubicBezTo>
                <a:cubicBezTo>
                  <a:pt x="216" y="28"/>
                  <a:pt x="217" y="28"/>
                  <a:pt x="218" y="27"/>
                </a:cubicBezTo>
                <a:cubicBezTo>
                  <a:pt x="218" y="27"/>
                  <a:pt x="218" y="26"/>
                  <a:pt x="219" y="26"/>
                </a:cubicBezTo>
                <a:cubicBezTo>
                  <a:pt x="219" y="25"/>
                  <a:pt x="219" y="25"/>
                  <a:pt x="219" y="24"/>
                </a:cubicBezTo>
                <a:cubicBezTo>
                  <a:pt x="219" y="24"/>
                  <a:pt x="219" y="23"/>
                  <a:pt x="219" y="23"/>
                </a:cubicBezTo>
                <a:cubicBezTo>
                  <a:pt x="218" y="22"/>
                  <a:pt x="218" y="22"/>
                  <a:pt x="219" y="21"/>
                </a:cubicBezTo>
                <a:cubicBezTo>
                  <a:pt x="219" y="21"/>
                  <a:pt x="220" y="21"/>
                  <a:pt x="221" y="20"/>
                </a:cubicBezTo>
                <a:cubicBezTo>
                  <a:pt x="221" y="19"/>
                  <a:pt x="220" y="19"/>
                  <a:pt x="220" y="19"/>
                </a:cubicBezTo>
                <a:cubicBezTo>
                  <a:pt x="221" y="18"/>
                  <a:pt x="220" y="18"/>
                  <a:pt x="220" y="17"/>
                </a:cubicBezTo>
                <a:cubicBezTo>
                  <a:pt x="220" y="17"/>
                  <a:pt x="221" y="17"/>
                  <a:pt x="221" y="17"/>
                </a:cubicBezTo>
                <a:cubicBezTo>
                  <a:pt x="221" y="16"/>
                  <a:pt x="221" y="16"/>
                  <a:pt x="221" y="16"/>
                </a:cubicBezTo>
                <a:cubicBezTo>
                  <a:pt x="221" y="15"/>
                  <a:pt x="221" y="15"/>
                  <a:pt x="221" y="15"/>
                </a:cubicBezTo>
                <a:cubicBezTo>
                  <a:pt x="221" y="14"/>
                  <a:pt x="221" y="14"/>
                  <a:pt x="221" y="14"/>
                </a:cubicBezTo>
                <a:cubicBezTo>
                  <a:pt x="220" y="14"/>
                  <a:pt x="220" y="13"/>
                  <a:pt x="220" y="13"/>
                </a:cubicBezTo>
                <a:cubicBezTo>
                  <a:pt x="220" y="12"/>
                  <a:pt x="221" y="13"/>
                  <a:pt x="221" y="12"/>
                </a:cubicBezTo>
                <a:cubicBezTo>
                  <a:pt x="221" y="12"/>
                  <a:pt x="221" y="12"/>
                  <a:pt x="221" y="11"/>
                </a:cubicBezTo>
                <a:cubicBezTo>
                  <a:pt x="222" y="11"/>
                  <a:pt x="222" y="11"/>
                  <a:pt x="222" y="11"/>
                </a:cubicBezTo>
                <a:cubicBezTo>
                  <a:pt x="223" y="10"/>
                  <a:pt x="223" y="10"/>
                  <a:pt x="223" y="10"/>
                </a:cubicBezTo>
                <a:cubicBezTo>
                  <a:pt x="224" y="10"/>
                  <a:pt x="225" y="9"/>
                  <a:pt x="225" y="9"/>
                </a:cubicBezTo>
                <a:cubicBezTo>
                  <a:pt x="225" y="9"/>
                  <a:pt x="225" y="9"/>
                  <a:pt x="226" y="9"/>
                </a:cubicBezTo>
                <a:cubicBezTo>
                  <a:pt x="226" y="9"/>
                  <a:pt x="226" y="8"/>
                  <a:pt x="226" y="8"/>
                </a:cubicBezTo>
                <a:cubicBezTo>
                  <a:pt x="226" y="8"/>
                  <a:pt x="227" y="7"/>
                  <a:pt x="227" y="7"/>
                </a:cubicBezTo>
                <a:cubicBezTo>
                  <a:pt x="227" y="6"/>
                  <a:pt x="226" y="6"/>
                  <a:pt x="225" y="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7" name="Poland"/>
          <p:cNvSpPr>
            <a:spLocks/>
          </p:cNvSpPr>
          <p:nvPr/>
        </p:nvSpPr>
        <p:spPr bwMode="auto">
          <a:xfrm>
            <a:off x="6265066" y="2501019"/>
            <a:ext cx="310989" cy="220993"/>
          </a:xfrm>
          <a:custGeom>
            <a:avLst/>
            <a:gdLst/>
            <a:ahLst/>
            <a:cxnLst>
              <a:cxn ang="0">
                <a:pos x="83" y="40"/>
              </a:cxn>
              <a:cxn ang="0">
                <a:pos x="80" y="37"/>
              </a:cxn>
              <a:cxn ang="0">
                <a:pos x="80" y="32"/>
              </a:cxn>
              <a:cxn ang="0">
                <a:pos x="77" y="28"/>
              </a:cxn>
              <a:cxn ang="0">
                <a:pos x="78" y="24"/>
              </a:cxn>
              <a:cxn ang="0">
                <a:pos x="81" y="18"/>
              </a:cxn>
              <a:cxn ang="0">
                <a:pos x="77" y="9"/>
              </a:cxn>
              <a:cxn ang="0">
                <a:pos x="73" y="5"/>
              </a:cxn>
              <a:cxn ang="0">
                <a:pos x="51" y="5"/>
              </a:cxn>
              <a:cxn ang="0">
                <a:pos x="43" y="6"/>
              </a:cxn>
              <a:cxn ang="0">
                <a:pos x="45" y="4"/>
              </a:cxn>
              <a:cxn ang="0">
                <a:pos x="35" y="1"/>
              </a:cxn>
              <a:cxn ang="0">
                <a:pos x="34" y="0"/>
              </a:cxn>
              <a:cxn ang="0">
                <a:pos x="19" y="4"/>
              </a:cxn>
              <a:cxn ang="0">
                <a:pos x="18" y="5"/>
              </a:cxn>
              <a:cxn ang="0">
                <a:pos x="16" y="6"/>
              </a:cxn>
              <a:cxn ang="0">
                <a:pos x="2" y="10"/>
              </a:cxn>
              <a:cxn ang="0">
                <a:pos x="2" y="10"/>
              </a:cxn>
              <a:cxn ang="0">
                <a:pos x="4" y="10"/>
              </a:cxn>
              <a:cxn ang="0">
                <a:pos x="2" y="11"/>
              </a:cxn>
              <a:cxn ang="0">
                <a:pos x="2" y="13"/>
              </a:cxn>
              <a:cxn ang="0">
                <a:pos x="1" y="20"/>
              </a:cxn>
              <a:cxn ang="0">
                <a:pos x="4" y="23"/>
              </a:cxn>
              <a:cxn ang="0">
                <a:pos x="5" y="28"/>
              </a:cxn>
              <a:cxn ang="0">
                <a:pos x="5" y="32"/>
              </a:cxn>
              <a:cxn ang="0">
                <a:pos x="8" y="36"/>
              </a:cxn>
              <a:cxn ang="0">
                <a:pos x="7" y="42"/>
              </a:cxn>
              <a:cxn ang="0">
                <a:pos x="9" y="40"/>
              </a:cxn>
              <a:cxn ang="0">
                <a:pos x="11" y="41"/>
              </a:cxn>
              <a:cxn ang="0">
                <a:pos x="15" y="43"/>
              </a:cxn>
              <a:cxn ang="0">
                <a:pos x="19" y="44"/>
              </a:cxn>
              <a:cxn ang="0">
                <a:pos x="19" y="47"/>
              </a:cxn>
              <a:cxn ang="0">
                <a:pos x="23" y="50"/>
              </a:cxn>
              <a:cxn ang="0">
                <a:pos x="25" y="46"/>
              </a:cxn>
              <a:cxn ang="0">
                <a:pos x="29" y="48"/>
              </a:cxn>
              <a:cxn ang="0">
                <a:pos x="30" y="49"/>
              </a:cxn>
              <a:cxn ang="0">
                <a:pos x="34" y="51"/>
              </a:cxn>
              <a:cxn ang="0">
                <a:pos x="37" y="52"/>
              </a:cxn>
              <a:cxn ang="0">
                <a:pos x="39" y="54"/>
              </a:cxn>
              <a:cxn ang="0">
                <a:pos x="43" y="57"/>
              </a:cxn>
              <a:cxn ang="0">
                <a:pos x="48" y="57"/>
              </a:cxn>
              <a:cxn ang="0">
                <a:pos x="52" y="59"/>
              </a:cxn>
              <a:cxn ang="0">
                <a:pos x="56" y="57"/>
              </a:cxn>
              <a:cxn ang="0">
                <a:pos x="60" y="58"/>
              </a:cxn>
              <a:cxn ang="0">
                <a:pos x="66" y="57"/>
              </a:cxn>
              <a:cxn ang="0">
                <a:pos x="69" y="59"/>
              </a:cxn>
              <a:cxn ang="0">
                <a:pos x="75" y="60"/>
              </a:cxn>
              <a:cxn ang="0">
                <a:pos x="74" y="55"/>
              </a:cxn>
              <a:cxn ang="0">
                <a:pos x="81" y="48"/>
              </a:cxn>
              <a:cxn ang="0">
                <a:pos x="85" y="45"/>
              </a:cxn>
            </a:cxnLst>
            <a:rect l="0" t="0" r="r" b="b"/>
            <a:pathLst>
              <a:path w="86" h="61">
                <a:moveTo>
                  <a:pt x="84" y="43"/>
                </a:moveTo>
                <a:cubicBezTo>
                  <a:pt x="84" y="43"/>
                  <a:pt x="83" y="43"/>
                  <a:pt x="83" y="42"/>
                </a:cubicBezTo>
                <a:cubicBezTo>
                  <a:pt x="83" y="42"/>
                  <a:pt x="86" y="42"/>
                  <a:pt x="84" y="41"/>
                </a:cubicBezTo>
                <a:cubicBezTo>
                  <a:pt x="84" y="41"/>
                  <a:pt x="83" y="41"/>
                  <a:pt x="83" y="40"/>
                </a:cubicBezTo>
                <a:cubicBezTo>
                  <a:pt x="83" y="40"/>
                  <a:pt x="83" y="40"/>
                  <a:pt x="83" y="39"/>
                </a:cubicBezTo>
                <a:cubicBezTo>
                  <a:pt x="82" y="39"/>
                  <a:pt x="82" y="39"/>
                  <a:pt x="82" y="39"/>
                </a:cubicBezTo>
                <a:cubicBezTo>
                  <a:pt x="82" y="38"/>
                  <a:pt x="81" y="38"/>
                  <a:pt x="81" y="38"/>
                </a:cubicBezTo>
                <a:cubicBezTo>
                  <a:pt x="81" y="37"/>
                  <a:pt x="81" y="37"/>
                  <a:pt x="80" y="37"/>
                </a:cubicBezTo>
                <a:cubicBezTo>
                  <a:pt x="80" y="37"/>
                  <a:pt x="81" y="36"/>
                  <a:pt x="81" y="36"/>
                </a:cubicBezTo>
                <a:cubicBezTo>
                  <a:pt x="81" y="36"/>
                  <a:pt x="80" y="35"/>
                  <a:pt x="80" y="35"/>
                </a:cubicBezTo>
                <a:cubicBezTo>
                  <a:pt x="79" y="34"/>
                  <a:pt x="79" y="33"/>
                  <a:pt x="79" y="32"/>
                </a:cubicBezTo>
                <a:cubicBezTo>
                  <a:pt x="79" y="32"/>
                  <a:pt x="80" y="32"/>
                  <a:pt x="80" y="32"/>
                </a:cubicBezTo>
                <a:cubicBezTo>
                  <a:pt x="80" y="32"/>
                  <a:pt x="80" y="31"/>
                  <a:pt x="80" y="31"/>
                </a:cubicBezTo>
                <a:cubicBezTo>
                  <a:pt x="80" y="30"/>
                  <a:pt x="81" y="30"/>
                  <a:pt x="80" y="29"/>
                </a:cubicBezTo>
                <a:cubicBezTo>
                  <a:pt x="79" y="28"/>
                  <a:pt x="79" y="29"/>
                  <a:pt x="78" y="28"/>
                </a:cubicBezTo>
                <a:cubicBezTo>
                  <a:pt x="78" y="28"/>
                  <a:pt x="77" y="28"/>
                  <a:pt x="77" y="28"/>
                </a:cubicBezTo>
                <a:cubicBezTo>
                  <a:pt x="77" y="27"/>
                  <a:pt x="76" y="27"/>
                  <a:pt x="76" y="27"/>
                </a:cubicBezTo>
                <a:cubicBezTo>
                  <a:pt x="76" y="27"/>
                  <a:pt x="75" y="27"/>
                  <a:pt x="76" y="26"/>
                </a:cubicBezTo>
                <a:cubicBezTo>
                  <a:pt x="76" y="26"/>
                  <a:pt x="76" y="26"/>
                  <a:pt x="76" y="25"/>
                </a:cubicBezTo>
                <a:cubicBezTo>
                  <a:pt x="77" y="25"/>
                  <a:pt x="77" y="24"/>
                  <a:pt x="78" y="24"/>
                </a:cubicBezTo>
                <a:cubicBezTo>
                  <a:pt x="78" y="24"/>
                  <a:pt x="79" y="23"/>
                  <a:pt x="80" y="23"/>
                </a:cubicBezTo>
                <a:cubicBezTo>
                  <a:pt x="81" y="23"/>
                  <a:pt x="81" y="23"/>
                  <a:pt x="82" y="22"/>
                </a:cubicBezTo>
                <a:cubicBezTo>
                  <a:pt x="82" y="21"/>
                  <a:pt x="81" y="19"/>
                  <a:pt x="81" y="19"/>
                </a:cubicBezTo>
                <a:cubicBezTo>
                  <a:pt x="81" y="18"/>
                  <a:pt x="81" y="18"/>
                  <a:pt x="81" y="18"/>
                </a:cubicBezTo>
                <a:cubicBezTo>
                  <a:pt x="81" y="17"/>
                  <a:pt x="80" y="17"/>
                  <a:pt x="80" y="17"/>
                </a:cubicBezTo>
                <a:cubicBezTo>
                  <a:pt x="80" y="16"/>
                  <a:pt x="80" y="15"/>
                  <a:pt x="79" y="15"/>
                </a:cubicBezTo>
                <a:cubicBezTo>
                  <a:pt x="78" y="13"/>
                  <a:pt x="78" y="12"/>
                  <a:pt x="77" y="10"/>
                </a:cubicBezTo>
                <a:cubicBezTo>
                  <a:pt x="77" y="10"/>
                  <a:pt x="77" y="9"/>
                  <a:pt x="77" y="9"/>
                </a:cubicBezTo>
                <a:cubicBezTo>
                  <a:pt x="77" y="8"/>
                  <a:pt x="77" y="8"/>
                  <a:pt x="77" y="8"/>
                </a:cubicBezTo>
                <a:cubicBezTo>
                  <a:pt x="77" y="7"/>
                  <a:pt x="76" y="7"/>
                  <a:pt x="76" y="7"/>
                </a:cubicBezTo>
                <a:cubicBezTo>
                  <a:pt x="75" y="6"/>
                  <a:pt x="74" y="6"/>
                  <a:pt x="73" y="6"/>
                </a:cubicBezTo>
                <a:cubicBezTo>
                  <a:pt x="73" y="5"/>
                  <a:pt x="73" y="5"/>
                  <a:pt x="73" y="5"/>
                </a:cubicBezTo>
                <a:cubicBezTo>
                  <a:pt x="71" y="4"/>
                  <a:pt x="71" y="5"/>
                  <a:pt x="69" y="5"/>
                </a:cubicBezTo>
                <a:cubicBezTo>
                  <a:pt x="67" y="5"/>
                  <a:pt x="65" y="5"/>
                  <a:pt x="64" y="5"/>
                </a:cubicBezTo>
                <a:cubicBezTo>
                  <a:pt x="61" y="5"/>
                  <a:pt x="59" y="5"/>
                  <a:pt x="57" y="5"/>
                </a:cubicBezTo>
                <a:cubicBezTo>
                  <a:pt x="55" y="5"/>
                  <a:pt x="53" y="5"/>
                  <a:pt x="51" y="5"/>
                </a:cubicBezTo>
                <a:cubicBezTo>
                  <a:pt x="50" y="5"/>
                  <a:pt x="49" y="4"/>
                  <a:pt x="48" y="4"/>
                </a:cubicBezTo>
                <a:cubicBezTo>
                  <a:pt x="48" y="4"/>
                  <a:pt x="46" y="4"/>
                  <a:pt x="46" y="4"/>
                </a:cubicBezTo>
                <a:cubicBezTo>
                  <a:pt x="46" y="5"/>
                  <a:pt x="45" y="5"/>
                  <a:pt x="44" y="5"/>
                </a:cubicBezTo>
                <a:cubicBezTo>
                  <a:pt x="44" y="5"/>
                  <a:pt x="43" y="6"/>
                  <a:pt x="43" y="6"/>
                </a:cubicBezTo>
                <a:cubicBezTo>
                  <a:pt x="43" y="6"/>
                  <a:pt x="43" y="6"/>
                  <a:pt x="43" y="6"/>
                </a:cubicBezTo>
                <a:cubicBezTo>
                  <a:pt x="42" y="6"/>
                  <a:pt x="42" y="6"/>
                  <a:pt x="42" y="5"/>
                </a:cubicBezTo>
                <a:cubicBezTo>
                  <a:pt x="42" y="5"/>
                  <a:pt x="43" y="5"/>
                  <a:pt x="44" y="5"/>
                </a:cubicBezTo>
                <a:cubicBezTo>
                  <a:pt x="44" y="5"/>
                  <a:pt x="45" y="4"/>
                  <a:pt x="45" y="4"/>
                </a:cubicBezTo>
                <a:cubicBezTo>
                  <a:pt x="45" y="4"/>
                  <a:pt x="44" y="5"/>
                  <a:pt x="43" y="5"/>
                </a:cubicBezTo>
                <a:cubicBezTo>
                  <a:pt x="42" y="5"/>
                  <a:pt x="41" y="5"/>
                  <a:pt x="40" y="5"/>
                </a:cubicBezTo>
                <a:cubicBezTo>
                  <a:pt x="38" y="5"/>
                  <a:pt x="36" y="4"/>
                  <a:pt x="36" y="2"/>
                </a:cubicBezTo>
                <a:cubicBezTo>
                  <a:pt x="35" y="2"/>
                  <a:pt x="35" y="1"/>
                  <a:pt x="35" y="1"/>
                </a:cubicBezTo>
                <a:cubicBezTo>
                  <a:pt x="34" y="1"/>
                  <a:pt x="35" y="1"/>
                  <a:pt x="36" y="1"/>
                </a:cubicBezTo>
                <a:cubicBezTo>
                  <a:pt x="36" y="1"/>
                  <a:pt x="37" y="1"/>
                  <a:pt x="37" y="2"/>
                </a:cubicBezTo>
                <a:cubicBezTo>
                  <a:pt x="38" y="2"/>
                  <a:pt x="38" y="3"/>
                  <a:pt x="38" y="2"/>
                </a:cubicBezTo>
                <a:cubicBezTo>
                  <a:pt x="39" y="2"/>
                  <a:pt x="35" y="0"/>
                  <a:pt x="34" y="0"/>
                </a:cubicBezTo>
                <a:cubicBezTo>
                  <a:pt x="33" y="0"/>
                  <a:pt x="31" y="0"/>
                  <a:pt x="29" y="1"/>
                </a:cubicBezTo>
                <a:cubicBezTo>
                  <a:pt x="28" y="1"/>
                  <a:pt x="27" y="1"/>
                  <a:pt x="26" y="1"/>
                </a:cubicBezTo>
                <a:cubicBezTo>
                  <a:pt x="25" y="1"/>
                  <a:pt x="24" y="2"/>
                  <a:pt x="23" y="2"/>
                </a:cubicBezTo>
                <a:cubicBezTo>
                  <a:pt x="22" y="3"/>
                  <a:pt x="20" y="2"/>
                  <a:pt x="19" y="4"/>
                </a:cubicBezTo>
                <a:cubicBezTo>
                  <a:pt x="19" y="4"/>
                  <a:pt x="19" y="4"/>
                  <a:pt x="19" y="4"/>
                </a:cubicBezTo>
                <a:cubicBezTo>
                  <a:pt x="18" y="4"/>
                  <a:pt x="18" y="5"/>
                  <a:pt x="18" y="5"/>
                </a:cubicBezTo>
                <a:cubicBezTo>
                  <a:pt x="18" y="5"/>
                  <a:pt x="18" y="5"/>
                  <a:pt x="18" y="5"/>
                </a:cubicBezTo>
                <a:cubicBezTo>
                  <a:pt x="18" y="5"/>
                  <a:pt x="17" y="6"/>
                  <a:pt x="18" y="5"/>
                </a:cubicBezTo>
                <a:cubicBezTo>
                  <a:pt x="17" y="5"/>
                  <a:pt x="17" y="6"/>
                  <a:pt x="17" y="6"/>
                </a:cubicBezTo>
                <a:cubicBezTo>
                  <a:pt x="17" y="6"/>
                  <a:pt x="17" y="6"/>
                  <a:pt x="17" y="6"/>
                </a:cubicBezTo>
                <a:cubicBezTo>
                  <a:pt x="17" y="6"/>
                  <a:pt x="16" y="6"/>
                  <a:pt x="16" y="6"/>
                </a:cubicBezTo>
                <a:cubicBezTo>
                  <a:pt x="16" y="6"/>
                  <a:pt x="16" y="6"/>
                  <a:pt x="16" y="6"/>
                </a:cubicBezTo>
                <a:cubicBezTo>
                  <a:pt x="15" y="6"/>
                  <a:pt x="14" y="6"/>
                  <a:pt x="12" y="7"/>
                </a:cubicBezTo>
                <a:cubicBezTo>
                  <a:pt x="11" y="7"/>
                  <a:pt x="9" y="7"/>
                  <a:pt x="8" y="8"/>
                </a:cubicBezTo>
                <a:cubicBezTo>
                  <a:pt x="7" y="8"/>
                  <a:pt x="5" y="8"/>
                  <a:pt x="4" y="9"/>
                </a:cubicBezTo>
                <a:cubicBezTo>
                  <a:pt x="3" y="9"/>
                  <a:pt x="3" y="10"/>
                  <a:pt x="2" y="10"/>
                </a:cubicBezTo>
                <a:cubicBezTo>
                  <a:pt x="2" y="10"/>
                  <a:pt x="1" y="9"/>
                  <a:pt x="1" y="10"/>
                </a:cubicBezTo>
                <a:cubicBezTo>
                  <a:pt x="1" y="10"/>
                  <a:pt x="1" y="11"/>
                  <a:pt x="2" y="11"/>
                </a:cubicBezTo>
                <a:cubicBezTo>
                  <a:pt x="2" y="10"/>
                  <a:pt x="3" y="11"/>
                  <a:pt x="3" y="10"/>
                </a:cubicBezTo>
                <a:cubicBezTo>
                  <a:pt x="2" y="10"/>
                  <a:pt x="2" y="10"/>
                  <a:pt x="2" y="10"/>
                </a:cubicBezTo>
                <a:cubicBezTo>
                  <a:pt x="2" y="10"/>
                  <a:pt x="3" y="10"/>
                  <a:pt x="3" y="10"/>
                </a:cubicBezTo>
                <a:cubicBezTo>
                  <a:pt x="2" y="10"/>
                  <a:pt x="3" y="10"/>
                  <a:pt x="4" y="10"/>
                </a:cubicBezTo>
                <a:cubicBezTo>
                  <a:pt x="4" y="10"/>
                  <a:pt x="4" y="10"/>
                  <a:pt x="4" y="11"/>
                </a:cubicBezTo>
                <a:cubicBezTo>
                  <a:pt x="4" y="11"/>
                  <a:pt x="4" y="10"/>
                  <a:pt x="4" y="10"/>
                </a:cubicBezTo>
                <a:cubicBezTo>
                  <a:pt x="4" y="11"/>
                  <a:pt x="4" y="11"/>
                  <a:pt x="4" y="11"/>
                </a:cubicBezTo>
                <a:cubicBezTo>
                  <a:pt x="4" y="11"/>
                  <a:pt x="4" y="12"/>
                  <a:pt x="4" y="12"/>
                </a:cubicBezTo>
                <a:cubicBezTo>
                  <a:pt x="4" y="13"/>
                  <a:pt x="4" y="12"/>
                  <a:pt x="4" y="13"/>
                </a:cubicBezTo>
                <a:cubicBezTo>
                  <a:pt x="4" y="13"/>
                  <a:pt x="2" y="11"/>
                  <a:pt x="2" y="11"/>
                </a:cubicBezTo>
                <a:cubicBezTo>
                  <a:pt x="2" y="11"/>
                  <a:pt x="2" y="12"/>
                  <a:pt x="2" y="12"/>
                </a:cubicBezTo>
                <a:cubicBezTo>
                  <a:pt x="1" y="12"/>
                  <a:pt x="1" y="12"/>
                  <a:pt x="2" y="12"/>
                </a:cubicBezTo>
                <a:cubicBezTo>
                  <a:pt x="2" y="12"/>
                  <a:pt x="2" y="13"/>
                  <a:pt x="2" y="13"/>
                </a:cubicBezTo>
                <a:cubicBezTo>
                  <a:pt x="2" y="13"/>
                  <a:pt x="2" y="13"/>
                  <a:pt x="2" y="13"/>
                </a:cubicBezTo>
                <a:cubicBezTo>
                  <a:pt x="2" y="14"/>
                  <a:pt x="2" y="14"/>
                  <a:pt x="2" y="15"/>
                </a:cubicBezTo>
                <a:cubicBezTo>
                  <a:pt x="3" y="15"/>
                  <a:pt x="3" y="16"/>
                  <a:pt x="3" y="17"/>
                </a:cubicBezTo>
                <a:cubicBezTo>
                  <a:pt x="2" y="17"/>
                  <a:pt x="3" y="19"/>
                  <a:pt x="2" y="19"/>
                </a:cubicBezTo>
                <a:cubicBezTo>
                  <a:pt x="1" y="19"/>
                  <a:pt x="1" y="19"/>
                  <a:pt x="1" y="20"/>
                </a:cubicBezTo>
                <a:cubicBezTo>
                  <a:pt x="1" y="20"/>
                  <a:pt x="1" y="20"/>
                  <a:pt x="1" y="20"/>
                </a:cubicBezTo>
                <a:cubicBezTo>
                  <a:pt x="0" y="21"/>
                  <a:pt x="1" y="21"/>
                  <a:pt x="2" y="21"/>
                </a:cubicBezTo>
                <a:cubicBezTo>
                  <a:pt x="2" y="22"/>
                  <a:pt x="2" y="22"/>
                  <a:pt x="3" y="22"/>
                </a:cubicBezTo>
                <a:cubicBezTo>
                  <a:pt x="3" y="23"/>
                  <a:pt x="4" y="23"/>
                  <a:pt x="4" y="23"/>
                </a:cubicBezTo>
                <a:cubicBezTo>
                  <a:pt x="5" y="24"/>
                  <a:pt x="5" y="25"/>
                  <a:pt x="4" y="25"/>
                </a:cubicBezTo>
                <a:cubicBezTo>
                  <a:pt x="4" y="25"/>
                  <a:pt x="4" y="27"/>
                  <a:pt x="5" y="27"/>
                </a:cubicBezTo>
                <a:cubicBezTo>
                  <a:pt x="5" y="27"/>
                  <a:pt x="5" y="27"/>
                  <a:pt x="5" y="27"/>
                </a:cubicBezTo>
                <a:cubicBezTo>
                  <a:pt x="6" y="28"/>
                  <a:pt x="5" y="28"/>
                  <a:pt x="5" y="28"/>
                </a:cubicBezTo>
                <a:cubicBezTo>
                  <a:pt x="5" y="29"/>
                  <a:pt x="6" y="29"/>
                  <a:pt x="6" y="29"/>
                </a:cubicBezTo>
                <a:cubicBezTo>
                  <a:pt x="6" y="29"/>
                  <a:pt x="6" y="30"/>
                  <a:pt x="6" y="30"/>
                </a:cubicBezTo>
                <a:cubicBezTo>
                  <a:pt x="6" y="30"/>
                  <a:pt x="6" y="30"/>
                  <a:pt x="5" y="31"/>
                </a:cubicBezTo>
                <a:cubicBezTo>
                  <a:pt x="5" y="31"/>
                  <a:pt x="5" y="31"/>
                  <a:pt x="5" y="32"/>
                </a:cubicBezTo>
                <a:cubicBezTo>
                  <a:pt x="5" y="32"/>
                  <a:pt x="6" y="33"/>
                  <a:pt x="6" y="33"/>
                </a:cubicBezTo>
                <a:cubicBezTo>
                  <a:pt x="6" y="34"/>
                  <a:pt x="5" y="34"/>
                  <a:pt x="7" y="35"/>
                </a:cubicBezTo>
                <a:cubicBezTo>
                  <a:pt x="7" y="35"/>
                  <a:pt x="7" y="35"/>
                  <a:pt x="8" y="35"/>
                </a:cubicBezTo>
                <a:cubicBezTo>
                  <a:pt x="8" y="36"/>
                  <a:pt x="8" y="36"/>
                  <a:pt x="8" y="36"/>
                </a:cubicBezTo>
                <a:cubicBezTo>
                  <a:pt x="8" y="37"/>
                  <a:pt x="8" y="37"/>
                  <a:pt x="8" y="38"/>
                </a:cubicBezTo>
                <a:cubicBezTo>
                  <a:pt x="8" y="38"/>
                  <a:pt x="8" y="38"/>
                  <a:pt x="8" y="39"/>
                </a:cubicBezTo>
                <a:cubicBezTo>
                  <a:pt x="8" y="39"/>
                  <a:pt x="8" y="40"/>
                  <a:pt x="8" y="41"/>
                </a:cubicBezTo>
                <a:cubicBezTo>
                  <a:pt x="7" y="41"/>
                  <a:pt x="7" y="41"/>
                  <a:pt x="7" y="42"/>
                </a:cubicBezTo>
                <a:cubicBezTo>
                  <a:pt x="7" y="42"/>
                  <a:pt x="8" y="42"/>
                  <a:pt x="8" y="41"/>
                </a:cubicBezTo>
                <a:cubicBezTo>
                  <a:pt x="8" y="41"/>
                  <a:pt x="9" y="41"/>
                  <a:pt x="8" y="41"/>
                </a:cubicBezTo>
                <a:cubicBezTo>
                  <a:pt x="8" y="41"/>
                  <a:pt x="8" y="40"/>
                  <a:pt x="8" y="40"/>
                </a:cubicBezTo>
                <a:cubicBezTo>
                  <a:pt x="8" y="40"/>
                  <a:pt x="9" y="40"/>
                  <a:pt x="9" y="40"/>
                </a:cubicBezTo>
                <a:cubicBezTo>
                  <a:pt x="9" y="40"/>
                  <a:pt x="10" y="40"/>
                  <a:pt x="10" y="40"/>
                </a:cubicBezTo>
                <a:cubicBezTo>
                  <a:pt x="10" y="40"/>
                  <a:pt x="10" y="40"/>
                  <a:pt x="10" y="40"/>
                </a:cubicBezTo>
                <a:cubicBezTo>
                  <a:pt x="10" y="41"/>
                  <a:pt x="10" y="40"/>
                  <a:pt x="11" y="41"/>
                </a:cubicBezTo>
                <a:cubicBezTo>
                  <a:pt x="11" y="41"/>
                  <a:pt x="10" y="41"/>
                  <a:pt x="11" y="41"/>
                </a:cubicBezTo>
                <a:cubicBezTo>
                  <a:pt x="11" y="42"/>
                  <a:pt x="11" y="43"/>
                  <a:pt x="12" y="43"/>
                </a:cubicBezTo>
                <a:cubicBezTo>
                  <a:pt x="12" y="43"/>
                  <a:pt x="12" y="42"/>
                  <a:pt x="12" y="42"/>
                </a:cubicBezTo>
                <a:cubicBezTo>
                  <a:pt x="13" y="42"/>
                  <a:pt x="13" y="43"/>
                  <a:pt x="13" y="43"/>
                </a:cubicBezTo>
                <a:cubicBezTo>
                  <a:pt x="14" y="43"/>
                  <a:pt x="15" y="43"/>
                  <a:pt x="15" y="43"/>
                </a:cubicBezTo>
                <a:cubicBezTo>
                  <a:pt x="16" y="44"/>
                  <a:pt x="17" y="43"/>
                  <a:pt x="17" y="44"/>
                </a:cubicBezTo>
                <a:cubicBezTo>
                  <a:pt x="17" y="44"/>
                  <a:pt x="17" y="44"/>
                  <a:pt x="17" y="44"/>
                </a:cubicBezTo>
                <a:cubicBezTo>
                  <a:pt x="17" y="44"/>
                  <a:pt x="18" y="44"/>
                  <a:pt x="18" y="44"/>
                </a:cubicBezTo>
                <a:cubicBezTo>
                  <a:pt x="18" y="44"/>
                  <a:pt x="18" y="44"/>
                  <a:pt x="19" y="44"/>
                </a:cubicBezTo>
                <a:cubicBezTo>
                  <a:pt x="19" y="44"/>
                  <a:pt x="19" y="44"/>
                  <a:pt x="19" y="44"/>
                </a:cubicBezTo>
                <a:cubicBezTo>
                  <a:pt x="20" y="44"/>
                  <a:pt x="21" y="44"/>
                  <a:pt x="21" y="45"/>
                </a:cubicBezTo>
                <a:cubicBezTo>
                  <a:pt x="21" y="45"/>
                  <a:pt x="19" y="46"/>
                  <a:pt x="19" y="46"/>
                </a:cubicBezTo>
                <a:cubicBezTo>
                  <a:pt x="19" y="46"/>
                  <a:pt x="19" y="47"/>
                  <a:pt x="19" y="47"/>
                </a:cubicBezTo>
                <a:cubicBezTo>
                  <a:pt x="20" y="47"/>
                  <a:pt x="20" y="47"/>
                  <a:pt x="20" y="47"/>
                </a:cubicBezTo>
                <a:cubicBezTo>
                  <a:pt x="20" y="47"/>
                  <a:pt x="20" y="47"/>
                  <a:pt x="21" y="48"/>
                </a:cubicBezTo>
                <a:cubicBezTo>
                  <a:pt x="21" y="48"/>
                  <a:pt x="21" y="48"/>
                  <a:pt x="22" y="49"/>
                </a:cubicBezTo>
                <a:cubicBezTo>
                  <a:pt x="22" y="50"/>
                  <a:pt x="23" y="50"/>
                  <a:pt x="23" y="50"/>
                </a:cubicBezTo>
                <a:cubicBezTo>
                  <a:pt x="24" y="49"/>
                  <a:pt x="24" y="49"/>
                  <a:pt x="24" y="49"/>
                </a:cubicBezTo>
                <a:cubicBezTo>
                  <a:pt x="24" y="49"/>
                  <a:pt x="24" y="49"/>
                  <a:pt x="25" y="49"/>
                </a:cubicBezTo>
                <a:cubicBezTo>
                  <a:pt x="25" y="49"/>
                  <a:pt x="25" y="48"/>
                  <a:pt x="26" y="48"/>
                </a:cubicBezTo>
                <a:cubicBezTo>
                  <a:pt x="25" y="48"/>
                  <a:pt x="23" y="46"/>
                  <a:pt x="25" y="46"/>
                </a:cubicBezTo>
                <a:cubicBezTo>
                  <a:pt x="26" y="47"/>
                  <a:pt x="26" y="47"/>
                  <a:pt x="27" y="47"/>
                </a:cubicBezTo>
                <a:cubicBezTo>
                  <a:pt x="27" y="47"/>
                  <a:pt x="27" y="47"/>
                  <a:pt x="27" y="47"/>
                </a:cubicBezTo>
                <a:cubicBezTo>
                  <a:pt x="27" y="47"/>
                  <a:pt x="29" y="48"/>
                  <a:pt x="28" y="48"/>
                </a:cubicBezTo>
                <a:cubicBezTo>
                  <a:pt x="29" y="48"/>
                  <a:pt x="29" y="48"/>
                  <a:pt x="29" y="48"/>
                </a:cubicBezTo>
                <a:cubicBezTo>
                  <a:pt x="29" y="48"/>
                  <a:pt x="30" y="48"/>
                  <a:pt x="30" y="48"/>
                </a:cubicBezTo>
                <a:cubicBezTo>
                  <a:pt x="30" y="48"/>
                  <a:pt x="31" y="48"/>
                  <a:pt x="31" y="48"/>
                </a:cubicBezTo>
                <a:cubicBezTo>
                  <a:pt x="32" y="47"/>
                  <a:pt x="32" y="48"/>
                  <a:pt x="32" y="48"/>
                </a:cubicBezTo>
                <a:cubicBezTo>
                  <a:pt x="32" y="49"/>
                  <a:pt x="30" y="49"/>
                  <a:pt x="30" y="49"/>
                </a:cubicBezTo>
                <a:cubicBezTo>
                  <a:pt x="30" y="50"/>
                  <a:pt x="32" y="50"/>
                  <a:pt x="32" y="50"/>
                </a:cubicBezTo>
                <a:cubicBezTo>
                  <a:pt x="32" y="50"/>
                  <a:pt x="32" y="51"/>
                  <a:pt x="32" y="51"/>
                </a:cubicBezTo>
                <a:cubicBezTo>
                  <a:pt x="33" y="51"/>
                  <a:pt x="34" y="51"/>
                  <a:pt x="34" y="51"/>
                </a:cubicBezTo>
                <a:cubicBezTo>
                  <a:pt x="34" y="51"/>
                  <a:pt x="34" y="51"/>
                  <a:pt x="34" y="51"/>
                </a:cubicBezTo>
                <a:cubicBezTo>
                  <a:pt x="34" y="50"/>
                  <a:pt x="34" y="50"/>
                  <a:pt x="34" y="50"/>
                </a:cubicBezTo>
                <a:cubicBezTo>
                  <a:pt x="34" y="50"/>
                  <a:pt x="35" y="51"/>
                  <a:pt x="35" y="51"/>
                </a:cubicBezTo>
                <a:cubicBezTo>
                  <a:pt x="35" y="51"/>
                  <a:pt x="36" y="51"/>
                  <a:pt x="36" y="51"/>
                </a:cubicBezTo>
                <a:cubicBezTo>
                  <a:pt x="36" y="52"/>
                  <a:pt x="37" y="52"/>
                  <a:pt x="37" y="52"/>
                </a:cubicBezTo>
                <a:cubicBezTo>
                  <a:pt x="38" y="52"/>
                  <a:pt x="38" y="52"/>
                  <a:pt x="38" y="52"/>
                </a:cubicBezTo>
                <a:cubicBezTo>
                  <a:pt x="39" y="52"/>
                  <a:pt x="38" y="52"/>
                  <a:pt x="39" y="52"/>
                </a:cubicBezTo>
                <a:cubicBezTo>
                  <a:pt x="39" y="52"/>
                  <a:pt x="39" y="52"/>
                  <a:pt x="39" y="52"/>
                </a:cubicBezTo>
                <a:cubicBezTo>
                  <a:pt x="39" y="53"/>
                  <a:pt x="39" y="53"/>
                  <a:pt x="39" y="54"/>
                </a:cubicBezTo>
                <a:cubicBezTo>
                  <a:pt x="40" y="54"/>
                  <a:pt x="41" y="54"/>
                  <a:pt x="41" y="55"/>
                </a:cubicBezTo>
                <a:cubicBezTo>
                  <a:pt x="41" y="56"/>
                  <a:pt x="41" y="56"/>
                  <a:pt x="42" y="56"/>
                </a:cubicBezTo>
                <a:cubicBezTo>
                  <a:pt x="42" y="56"/>
                  <a:pt x="42" y="57"/>
                  <a:pt x="42" y="57"/>
                </a:cubicBezTo>
                <a:cubicBezTo>
                  <a:pt x="42" y="58"/>
                  <a:pt x="43" y="57"/>
                  <a:pt x="43" y="57"/>
                </a:cubicBezTo>
                <a:cubicBezTo>
                  <a:pt x="44" y="57"/>
                  <a:pt x="44" y="57"/>
                  <a:pt x="44" y="57"/>
                </a:cubicBezTo>
                <a:cubicBezTo>
                  <a:pt x="45" y="56"/>
                  <a:pt x="45" y="56"/>
                  <a:pt x="45" y="56"/>
                </a:cubicBezTo>
                <a:cubicBezTo>
                  <a:pt x="46" y="56"/>
                  <a:pt x="46" y="55"/>
                  <a:pt x="46" y="55"/>
                </a:cubicBezTo>
                <a:cubicBezTo>
                  <a:pt x="47" y="55"/>
                  <a:pt x="47" y="57"/>
                  <a:pt x="48" y="57"/>
                </a:cubicBezTo>
                <a:cubicBezTo>
                  <a:pt x="48" y="58"/>
                  <a:pt x="49" y="57"/>
                  <a:pt x="49" y="58"/>
                </a:cubicBezTo>
                <a:cubicBezTo>
                  <a:pt x="50" y="58"/>
                  <a:pt x="49" y="59"/>
                  <a:pt x="49" y="59"/>
                </a:cubicBezTo>
                <a:cubicBezTo>
                  <a:pt x="50" y="60"/>
                  <a:pt x="50" y="59"/>
                  <a:pt x="51" y="59"/>
                </a:cubicBezTo>
                <a:cubicBezTo>
                  <a:pt x="51" y="59"/>
                  <a:pt x="52" y="60"/>
                  <a:pt x="52" y="59"/>
                </a:cubicBezTo>
                <a:cubicBezTo>
                  <a:pt x="52" y="59"/>
                  <a:pt x="52" y="59"/>
                  <a:pt x="52" y="58"/>
                </a:cubicBezTo>
                <a:cubicBezTo>
                  <a:pt x="53" y="58"/>
                  <a:pt x="53" y="58"/>
                  <a:pt x="54" y="58"/>
                </a:cubicBezTo>
                <a:cubicBezTo>
                  <a:pt x="54" y="58"/>
                  <a:pt x="54" y="58"/>
                  <a:pt x="54" y="57"/>
                </a:cubicBezTo>
                <a:cubicBezTo>
                  <a:pt x="54" y="57"/>
                  <a:pt x="55" y="58"/>
                  <a:pt x="56" y="57"/>
                </a:cubicBezTo>
                <a:cubicBezTo>
                  <a:pt x="56" y="57"/>
                  <a:pt x="57" y="57"/>
                  <a:pt x="57" y="57"/>
                </a:cubicBezTo>
                <a:cubicBezTo>
                  <a:pt x="58" y="58"/>
                  <a:pt x="58" y="58"/>
                  <a:pt x="58" y="58"/>
                </a:cubicBezTo>
                <a:cubicBezTo>
                  <a:pt x="59" y="58"/>
                  <a:pt x="59" y="59"/>
                  <a:pt x="60" y="58"/>
                </a:cubicBezTo>
                <a:cubicBezTo>
                  <a:pt x="60" y="58"/>
                  <a:pt x="60" y="58"/>
                  <a:pt x="60" y="58"/>
                </a:cubicBezTo>
                <a:cubicBezTo>
                  <a:pt x="60" y="57"/>
                  <a:pt x="60" y="57"/>
                  <a:pt x="60" y="57"/>
                </a:cubicBezTo>
                <a:cubicBezTo>
                  <a:pt x="61" y="57"/>
                  <a:pt x="61" y="57"/>
                  <a:pt x="62" y="57"/>
                </a:cubicBezTo>
                <a:cubicBezTo>
                  <a:pt x="62" y="57"/>
                  <a:pt x="62" y="57"/>
                  <a:pt x="63" y="57"/>
                </a:cubicBezTo>
                <a:cubicBezTo>
                  <a:pt x="64" y="57"/>
                  <a:pt x="65" y="57"/>
                  <a:pt x="66" y="57"/>
                </a:cubicBezTo>
                <a:cubicBezTo>
                  <a:pt x="66" y="57"/>
                  <a:pt x="66" y="58"/>
                  <a:pt x="66" y="57"/>
                </a:cubicBezTo>
                <a:cubicBezTo>
                  <a:pt x="67" y="57"/>
                  <a:pt x="67" y="58"/>
                  <a:pt x="67" y="58"/>
                </a:cubicBezTo>
                <a:cubicBezTo>
                  <a:pt x="68" y="58"/>
                  <a:pt x="68" y="58"/>
                  <a:pt x="68" y="59"/>
                </a:cubicBezTo>
                <a:cubicBezTo>
                  <a:pt x="68" y="59"/>
                  <a:pt x="69" y="59"/>
                  <a:pt x="69" y="59"/>
                </a:cubicBezTo>
                <a:cubicBezTo>
                  <a:pt x="70" y="60"/>
                  <a:pt x="70" y="60"/>
                  <a:pt x="70" y="60"/>
                </a:cubicBezTo>
                <a:cubicBezTo>
                  <a:pt x="71" y="60"/>
                  <a:pt x="71" y="60"/>
                  <a:pt x="72" y="60"/>
                </a:cubicBezTo>
                <a:cubicBezTo>
                  <a:pt x="72" y="60"/>
                  <a:pt x="76" y="61"/>
                  <a:pt x="76" y="61"/>
                </a:cubicBezTo>
                <a:cubicBezTo>
                  <a:pt x="76" y="61"/>
                  <a:pt x="75" y="60"/>
                  <a:pt x="75" y="60"/>
                </a:cubicBezTo>
                <a:cubicBezTo>
                  <a:pt x="75" y="60"/>
                  <a:pt x="74" y="60"/>
                  <a:pt x="74" y="60"/>
                </a:cubicBezTo>
                <a:cubicBezTo>
                  <a:pt x="74" y="59"/>
                  <a:pt x="74" y="59"/>
                  <a:pt x="74" y="59"/>
                </a:cubicBezTo>
                <a:cubicBezTo>
                  <a:pt x="74" y="58"/>
                  <a:pt x="74" y="58"/>
                  <a:pt x="74" y="57"/>
                </a:cubicBezTo>
                <a:cubicBezTo>
                  <a:pt x="74" y="57"/>
                  <a:pt x="73" y="56"/>
                  <a:pt x="74" y="55"/>
                </a:cubicBezTo>
                <a:cubicBezTo>
                  <a:pt x="74" y="55"/>
                  <a:pt x="75" y="54"/>
                  <a:pt x="75" y="53"/>
                </a:cubicBezTo>
                <a:cubicBezTo>
                  <a:pt x="76" y="53"/>
                  <a:pt x="77" y="52"/>
                  <a:pt x="77" y="51"/>
                </a:cubicBezTo>
                <a:cubicBezTo>
                  <a:pt x="78" y="50"/>
                  <a:pt x="79" y="49"/>
                  <a:pt x="80" y="49"/>
                </a:cubicBezTo>
                <a:cubicBezTo>
                  <a:pt x="80" y="48"/>
                  <a:pt x="81" y="48"/>
                  <a:pt x="81" y="48"/>
                </a:cubicBezTo>
                <a:cubicBezTo>
                  <a:pt x="81" y="47"/>
                  <a:pt x="82" y="47"/>
                  <a:pt x="82" y="47"/>
                </a:cubicBezTo>
                <a:cubicBezTo>
                  <a:pt x="82" y="46"/>
                  <a:pt x="83" y="47"/>
                  <a:pt x="84" y="47"/>
                </a:cubicBezTo>
                <a:cubicBezTo>
                  <a:pt x="84" y="46"/>
                  <a:pt x="84" y="46"/>
                  <a:pt x="84" y="46"/>
                </a:cubicBezTo>
                <a:cubicBezTo>
                  <a:pt x="84" y="45"/>
                  <a:pt x="85" y="45"/>
                  <a:pt x="85" y="45"/>
                </a:cubicBezTo>
                <a:cubicBezTo>
                  <a:pt x="85" y="45"/>
                  <a:pt x="84" y="44"/>
                  <a:pt x="84" y="4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8" name="Philippines"/>
          <p:cNvSpPr>
            <a:spLocks noEditPoints="1"/>
          </p:cNvSpPr>
          <p:nvPr/>
        </p:nvSpPr>
        <p:spPr bwMode="auto">
          <a:xfrm>
            <a:off x="9880930" y="3835968"/>
            <a:ext cx="342988" cy="642976"/>
          </a:xfrm>
          <a:custGeom>
            <a:avLst/>
            <a:gdLst/>
            <a:ahLst/>
            <a:cxnLst>
              <a:cxn ang="0">
                <a:pos x="65" y="112"/>
              </a:cxn>
              <a:cxn ang="0">
                <a:pos x="21" y="56"/>
              </a:cxn>
              <a:cxn ang="0">
                <a:pos x="29" y="71"/>
              </a:cxn>
              <a:cxn ang="0">
                <a:pos x="30" y="75"/>
              </a:cxn>
              <a:cxn ang="0">
                <a:pos x="42" y="76"/>
              </a:cxn>
              <a:cxn ang="0">
                <a:pos x="49" y="78"/>
              </a:cxn>
              <a:cxn ang="0">
                <a:pos x="61" y="88"/>
              </a:cxn>
              <a:cxn ang="0">
                <a:pos x="65" y="86"/>
              </a:cxn>
              <a:cxn ang="0">
                <a:pos x="59" y="77"/>
              </a:cxn>
              <a:cxn ang="0">
                <a:pos x="55" y="78"/>
              </a:cxn>
              <a:cxn ang="0">
                <a:pos x="46" y="74"/>
              </a:cxn>
              <a:cxn ang="0">
                <a:pos x="38" y="65"/>
              </a:cxn>
              <a:cxn ang="0">
                <a:pos x="42" y="48"/>
              </a:cxn>
              <a:cxn ang="0">
                <a:pos x="38" y="26"/>
              </a:cxn>
              <a:cxn ang="0">
                <a:pos x="22" y="32"/>
              </a:cxn>
              <a:cxn ang="0">
                <a:pos x="24" y="53"/>
              </a:cxn>
              <a:cxn ang="0">
                <a:pos x="92" y="140"/>
              </a:cxn>
              <a:cxn ang="0">
                <a:pos x="89" y="130"/>
              </a:cxn>
              <a:cxn ang="0">
                <a:pos x="82" y="125"/>
              </a:cxn>
              <a:cxn ang="0">
                <a:pos x="66" y="141"/>
              </a:cxn>
              <a:cxn ang="0">
                <a:pos x="56" y="140"/>
              </a:cxn>
              <a:cxn ang="0">
                <a:pos x="52" y="153"/>
              </a:cxn>
              <a:cxn ang="0">
                <a:pos x="57" y="147"/>
              </a:cxn>
              <a:cxn ang="0">
                <a:pos x="64" y="145"/>
              </a:cxn>
              <a:cxn ang="0">
                <a:pos x="70" y="159"/>
              </a:cxn>
              <a:cxn ang="0">
                <a:pos x="84" y="156"/>
              </a:cxn>
              <a:cxn ang="0">
                <a:pos x="91" y="155"/>
              </a:cxn>
              <a:cxn ang="0">
                <a:pos x="72" y="98"/>
              </a:cxn>
              <a:cxn ang="0">
                <a:pos x="78" y="107"/>
              </a:cxn>
              <a:cxn ang="0">
                <a:pos x="80" y="97"/>
              </a:cxn>
              <a:cxn ang="0">
                <a:pos x="69" y="92"/>
              </a:cxn>
              <a:cxn ang="0">
                <a:pos x="22" y="107"/>
              </a:cxn>
              <a:cxn ang="0">
                <a:pos x="21" y="111"/>
              </a:cxn>
              <a:cxn ang="0">
                <a:pos x="15" y="121"/>
              </a:cxn>
              <a:cxn ang="0">
                <a:pos x="3" y="135"/>
              </a:cxn>
              <a:cxn ang="0">
                <a:pos x="16" y="124"/>
              </a:cxn>
              <a:cxn ang="0">
                <a:pos x="28" y="96"/>
              </a:cxn>
              <a:cxn ang="0">
                <a:pos x="29" y="97"/>
              </a:cxn>
              <a:cxn ang="0">
                <a:pos x="65" y="81"/>
              </a:cxn>
              <a:cxn ang="0">
                <a:pos x="82" y="121"/>
              </a:cxn>
              <a:cxn ang="0">
                <a:pos x="64" y="95"/>
              </a:cxn>
              <a:cxn ang="0">
                <a:pos x="27" y="99"/>
              </a:cxn>
              <a:cxn ang="0">
                <a:pos x="69" y="124"/>
              </a:cxn>
              <a:cxn ang="0">
                <a:pos x="66" y="121"/>
              </a:cxn>
              <a:cxn ang="0">
                <a:pos x="75" y="105"/>
              </a:cxn>
              <a:cxn ang="0">
                <a:pos x="70" y="109"/>
              </a:cxn>
              <a:cxn ang="0">
                <a:pos x="74" y="128"/>
              </a:cxn>
              <a:cxn ang="0">
                <a:pos x="60" y="117"/>
              </a:cxn>
              <a:cxn ang="0">
                <a:pos x="56" y="116"/>
              </a:cxn>
              <a:cxn ang="0">
                <a:pos x="40" y="86"/>
              </a:cxn>
              <a:cxn ang="0">
                <a:pos x="37" y="94"/>
              </a:cxn>
              <a:cxn ang="0">
                <a:pos x="54" y="109"/>
              </a:cxn>
              <a:cxn ang="0">
                <a:pos x="55" y="102"/>
              </a:cxn>
              <a:cxn ang="0">
                <a:pos x="46" y="111"/>
              </a:cxn>
              <a:cxn ang="0">
                <a:pos x="41" y="67"/>
              </a:cxn>
              <a:cxn ang="0">
                <a:pos x="52" y="113"/>
              </a:cxn>
              <a:cxn ang="0">
                <a:pos x="87" y="122"/>
              </a:cxn>
              <a:cxn ang="0">
                <a:pos x="64" y="129"/>
              </a:cxn>
              <a:cxn ang="0">
                <a:pos x="53" y="157"/>
              </a:cxn>
              <a:cxn ang="0">
                <a:pos x="57" y="87"/>
              </a:cxn>
              <a:cxn ang="0">
                <a:pos x="29" y="17"/>
              </a:cxn>
              <a:cxn ang="0">
                <a:pos x="45" y="164"/>
              </a:cxn>
              <a:cxn ang="0">
                <a:pos x="46" y="90"/>
              </a:cxn>
            </a:cxnLst>
            <a:rect l="0" t="0" r="r" b="b"/>
            <a:pathLst>
              <a:path w="95" h="178">
                <a:moveTo>
                  <a:pt x="64" y="117"/>
                </a:moveTo>
                <a:cubicBezTo>
                  <a:pt x="64" y="117"/>
                  <a:pt x="64" y="118"/>
                  <a:pt x="64" y="118"/>
                </a:cubicBezTo>
                <a:cubicBezTo>
                  <a:pt x="63" y="119"/>
                  <a:pt x="63" y="120"/>
                  <a:pt x="63" y="120"/>
                </a:cubicBezTo>
                <a:cubicBezTo>
                  <a:pt x="63" y="121"/>
                  <a:pt x="63" y="121"/>
                  <a:pt x="63" y="122"/>
                </a:cubicBezTo>
                <a:cubicBezTo>
                  <a:pt x="62" y="123"/>
                  <a:pt x="62" y="125"/>
                  <a:pt x="61" y="126"/>
                </a:cubicBezTo>
                <a:cubicBezTo>
                  <a:pt x="60" y="126"/>
                  <a:pt x="61" y="123"/>
                  <a:pt x="61" y="123"/>
                </a:cubicBezTo>
                <a:cubicBezTo>
                  <a:pt x="61" y="122"/>
                  <a:pt x="61" y="122"/>
                  <a:pt x="61" y="121"/>
                </a:cubicBezTo>
                <a:cubicBezTo>
                  <a:pt x="61" y="121"/>
                  <a:pt x="61" y="121"/>
                  <a:pt x="61" y="120"/>
                </a:cubicBezTo>
                <a:cubicBezTo>
                  <a:pt x="61" y="120"/>
                  <a:pt x="61" y="120"/>
                  <a:pt x="61" y="119"/>
                </a:cubicBezTo>
                <a:cubicBezTo>
                  <a:pt x="61" y="119"/>
                  <a:pt x="61" y="120"/>
                  <a:pt x="61" y="120"/>
                </a:cubicBezTo>
                <a:cubicBezTo>
                  <a:pt x="61" y="119"/>
                  <a:pt x="61" y="119"/>
                  <a:pt x="61" y="119"/>
                </a:cubicBezTo>
                <a:cubicBezTo>
                  <a:pt x="61" y="119"/>
                  <a:pt x="62" y="118"/>
                  <a:pt x="62" y="118"/>
                </a:cubicBezTo>
                <a:cubicBezTo>
                  <a:pt x="62" y="118"/>
                  <a:pt x="62" y="117"/>
                  <a:pt x="63" y="117"/>
                </a:cubicBezTo>
                <a:cubicBezTo>
                  <a:pt x="63" y="116"/>
                  <a:pt x="64" y="114"/>
                  <a:pt x="64" y="113"/>
                </a:cubicBezTo>
                <a:cubicBezTo>
                  <a:pt x="64" y="113"/>
                  <a:pt x="64" y="112"/>
                  <a:pt x="65" y="112"/>
                </a:cubicBezTo>
                <a:cubicBezTo>
                  <a:pt x="65" y="111"/>
                  <a:pt x="65" y="111"/>
                  <a:pt x="65" y="110"/>
                </a:cubicBezTo>
                <a:cubicBezTo>
                  <a:pt x="65" y="110"/>
                  <a:pt x="66" y="109"/>
                  <a:pt x="65" y="109"/>
                </a:cubicBezTo>
                <a:cubicBezTo>
                  <a:pt x="65" y="108"/>
                  <a:pt x="65" y="108"/>
                  <a:pt x="65" y="108"/>
                </a:cubicBezTo>
                <a:cubicBezTo>
                  <a:pt x="65" y="108"/>
                  <a:pt x="65" y="108"/>
                  <a:pt x="65" y="107"/>
                </a:cubicBezTo>
                <a:cubicBezTo>
                  <a:pt x="65" y="107"/>
                  <a:pt x="66" y="107"/>
                  <a:pt x="66" y="107"/>
                </a:cubicBezTo>
                <a:cubicBezTo>
                  <a:pt x="66" y="107"/>
                  <a:pt x="65" y="106"/>
                  <a:pt x="66" y="106"/>
                </a:cubicBezTo>
                <a:cubicBezTo>
                  <a:pt x="66" y="105"/>
                  <a:pt x="66" y="105"/>
                  <a:pt x="66" y="106"/>
                </a:cubicBezTo>
                <a:cubicBezTo>
                  <a:pt x="66" y="106"/>
                  <a:pt x="66" y="108"/>
                  <a:pt x="66" y="108"/>
                </a:cubicBezTo>
                <a:cubicBezTo>
                  <a:pt x="67" y="108"/>
                  <a:pt x="67" y="111"/>
                  <a:pt x="67" y="112"/>
                </a:cubicBezTo>
                <a:cubicBezTo>
                  <a:pt x="67" y="113"/>
                  <a:pt x="67" y="114"/>
                  <a:pt x="67" y="115"/>
                </a:cubicBezTo>
                <a:cubicBezTo>
                  <a:pt x="67" y="116"/>
                  <a:pt x="66" y="116"/>
                  <a:pt x="66" y="117"/>
                </a:cubicBezTo>
                <a:cubicBezTo>
                  <a:pt x="65" y="117"/>
                  <a:pt x="65" y="117"/>
                  <a:pt x="64" y="117"/>
                </a:cubicBezTo>
                <a:close/>
                <a:moveTo>
                  <a:pt x="19" y="54"/>
                </a:moveTo>
                <a:cubicBezTo>
                  <a:pt x="19" y="55"/>
                  <a:pt x="20" y="53"/>
                  <a:pt x="20" y="54"/>
                </a:cubicBezTo>
                <a:cubicBezTo>
                  <a:pt x="20" y="54"/>
                  <a:pt x="21" y="56"/>
                  <a:pt x="21" y="56"/>
                </a:cubicBezTo>
                <a:cubicBezTo>
                  <a:pt x="20" y="56"/>
                  <a:pt x="21" y="57"/>
                  <a:pt x="21" y="57"/>
                </a:cubicBezTo>
                <a:cubicBezTo>
                  <a:pt x="21" y="57"/>
                  <a:pt x="21" y="58"/>
                  <a:pt x="21" y="58"/>
                </a:cubicBezTo>
                <a:cubicBezTo>
                  <a:pt x="21" y="58"/>
                  <a:pt x="22" y="60"/>
                  <a:pt x="21" y="59"/>
                </a:cubicBezTo>
                <a:cubicBezTo>
                  <a:pt x="21" y="59"/>
                  <a:pt x="21" y="60"/>
                  <a:pt x="21" y="60"/>
                </a:cubicBezTo>
                <a:cubicBezTo>
                  <a:pt x="21" y="60"/>
                  <a:pt x="22" y="60"/>
                  <a:pt x="22" y="61"/>
                </a:cubicBezTo>
                <a:cubicBezTo>
                  <a:pt x="22" y="61"/>
                  <a:pt x="23" y="62"/>
                  <a:pt x="23" y="63"/>
                </a:cubicBezTo>
                <a:cubicBezTo>
                  <a:pt x="23" y="64"/>
                  <a:pt x="23" y="65"/>
                  <a:pt x="24" y="66"/>
                </a:cubicBezTo>
                <a:cubicBezTo>
                  <a:pt x="24" y="67"/>
                  <a:pt x="24" y="67"/>
                  <a:pt x="24" y="67"/>
                </a:cubicBezTo>
                <a:cubicBezTo>
                  <a:pt x="24" y="67"/>
                  <a:pt x="24" y="67"/>
                  <a:pt x="24" y="67"/>
                </a:cubicBezTo>
                <a:cubicBezTo>
                  <a:pt x="25" y="67"/>
                  <a:pt x="25" y="67"/>
                  <a:pt x="25" y="67"/>
                </a:cubicBezTo>
                <a:cubicBezTo>
                  <a:pt x="25" y="65"/>
                  <a:pt x="25" y="66"/>
                  <a:pt x="26" y="67"/>
                </a:cubicBezTo>
                <a:cubicBezTo>
                  <a:pt x="25" y="67"/>
                  <a:pt x="26" y="68"/>
                  <a:pt x="26" y="68"/>
                </a:cubicBezTo>
                <a:cubicBezTo>
                  <a:pt x="26" y="69"/>
                  <a:pt x="27" y="68"/>
                  <a:pt x="27" y="69"/>
                </a:cubicBezTo>
                <a:cubicBezTo>
                  <a:pt x="27" y="69"/>
                  <a:pt x="27" y="70"/>
                  <a:pt x="27" y="70"/>
                </a:cubicBezTo>
                <a:cubicBezTo>
                  <a:pt x="27" y="71"/>
                  <a:pt x="28" y="71"/>
                  <a:pt x="29" y="71"/>
                </a:cubicBezTo>
                <a:cubicBezTo>
                  <a:pt x="30" y="70"/>
                  <a:pt x="29" y="69"/>
                  <a:pt x="29" y="68"/>
                </a:cubicBezTo>
                <a:cubicBezTo>
                  <a:pt x="29" y="68"/>
                  <a:pt x="28" y="66"/>
                  <a:pt x="28" y="66"/>
                </a:cubicBezTo>
                <a:cubicBezTo>
                  <a:pt x="29" y="67"/>
                  <a:pt x="29" y="67"/>
                  <a:pt x="30" y="67"/>
                </a:cubicBezTo>
                <a:cubicBezTo>
                  <a:pt x="30" y="67"/>
                  <a:pt x="30" y="67"/>
                  <a:pt x="31" y="67"/>
                </a:cubicBezTo>
                <a:cubicBezTo>
                  <a:pt x="32" y="67"/>
                  <a:pt x="32" y="68"/>
                  <a:pt x="33" y="69"/>
                </a:cubicBezTo>
                <a:cubicBezTo>
                  <a:pt x="33" y="69"/>
                  <a:pt x="33" y="70"/>
                  <a:pt x="33" y="70"/>
                </a:cubicBezTo>
                <a:cubicBezTo>
                  <a:pt x="33" y="70"/>
                  <a:pt x="32" y="70"/>
                  <a:pt x="32" y="70"/>
                </a:cubicBezTo>
                <a:cubicBezTo>
                  <a:pt x="32" y="70"/>
                  <a:pt x="32" y="70"/>
                  <a:pt x="32" y="70"/>
                </a:cubicBezTo>
                <a:cubicBezTo>
                  <a:pt x="32" y="70"/>
                  <a:pt x="32" y="71"/>
                  <a:pt x="31" y="71"/>
                </a:cubicBezTo>
                <a:cubicBezTo>
                  <a:pt x="31" y="72"/>
                  <a:pt x="31" y="72"/>
                  <a:pt x="30" y="72"/>
                </a:cubicBezTo>
                <a:cubicBezTo>
                  <a:pt x="30" y="72"/>
                  <a:pt x="29" y="73"/>
                  <a:pt x="30" y="73"/>
                </a:cubicBezTo>
                <a:cubicBezTo>
                  <a:pt x="30" y="73"/>
                  <a:pt x="30" y="73"/>
                  <a:pt x="29" y="74"/>
                </a:cubicBezTo>
                <a:cubicBezTo>
                  <a:pt x="30" y="74"/>
                  <a:pt x="30" y="74"/>
                  <a:pt x="30" y="74"/>
                </a:cubicBezTo>
                <a:cubicBezTo>
                  <a:pt x="30" y="74"/>
                  <a:pt x="30" y="74"/>
                  <a:pt x="29" y="74"/>
                </a:cubicBezTo>
                <a:cubicBezTo>
                  <a:pt x="30" y="74"/>
                  <a:pt x="30" y="75"/>
                  <a:pt x="30" y="75"/>
                </a:cubicBezTo>
                <a:cubicBezTo>
                  <a:pt x="30" y="75"/>
                  <a:pt x="30" y="76"/>
                  <a:pt x="30" y="76"/>
                </a:cubicBezTo>
                <a:cubicBezTo>
                  <a:pt x="30" y="76"/>
                  <a:pt x="30" y="76"/>
                  <a:pt x="30" y="76"/>
                </a:cubicBezTo>
                <a:cubicBezTo>
                  <a:pt x="30" y="77"/>
                  <a:pt x="30" y="78"/>
                  <a:pt x="31" y="78"/>
                </a:cubicBezTo>
                <a:cubicBezTo>
                  <a:pt x="31" y="78"/>
                  <a:pt x="31" y="77"/>
                  <a:pt x="31" y="77"/>
                </a:cubicBezTo>
                <a:cubicBezTo>
                  <a:pt x="31" y="77"/>
                  <a:pt x="31" y="77"/>
                  <a:pt x="31" y="76"/>
                </a:cubicBezTo>
                <a:cubicBezTo>
                  <a:pt x="32" y="76"/>
                  <a:pt x="33" y="77"/>
                  <a:pt x="33" y="77"/>
                </a:cubicBezTo>
                <a:cubicBezTo>
                  <a:pt x="33" y="78"/>
                  <a:pt x="33" y="78"/>
                  <a:pt x="33" y="79"/>
                </a:cubicBezTo>
                <a:cubicBezTo>
                  <a:pt x="33" y="79"/>
                  <a:pt x="34" y="78"/>
                  <a:pt x="34" y="78"/>
                </a:cubicBezTo>
                <a:cubicBezTo>
                  <a:pt x="35" y="78"/>
                  <a:pt x="34" y="79"/>
                  <a:pt x="35" y="79"/>
                </a:cubicBezTo>
                <a:cubicBezTo>
                  <a:pt x="35" y="80"/>
                  <a:pt x="36" y="79"/>
                  <a:pt x="36" y="79"/>
                </a:cubicBezTo>
                <a:cubicBezTo>
                  <a:pt x="36" y="79"/>
                  <a:pt x="37" y="80"/>
                  <a:pt x="37" y="80"/>
                </a:cubicBezTo>
                <a:cubicBezTo>
                  <a:pt x="37" y="80"/>
                  <a:pt x="38" y="79"/>
                  <a:pt x="38" y="79"/>
                </a:cubicBezTo>
                <a:cubicBezTo>
                  <a:pt x="38" y="79"/>
                  <a:pt x="39" y="79"/>
                  <a:pt x="39" y="79"/>
                </a:cubicBezTo>
                <a:cubicBezTo>
                  <a:pt x="38" y="78"/>
                  <a:pt x="38" y="77"/>
                  <a:pt x="40" y="77"/>
                </a:cubicBezTo>
                <a:cubicBezTo>
                  <a:pt x="40" y="76"/>
                  <a:pt x="41" y="75"/>
                  <a:pt x="42" y="76"/>
                </a:cubicBezTo>
                <a:cubicBezTo>
                  <a:pt x="42" y="77"/>
                  <a:pt x="43" y="77"/>
                  <a:pt x="43" y="77"/>
                </a:cubicBezTo>
                <a:cubicBezTo>
                  <a:pt x="43" y="77"/>
                  <a:pt x="43" y="78"/>
                  <a:pt x="44" y="78"/>
                </a:cubicBezTo>
                <a:cubicBezTo>
                  <a:pt x="45" y="78"/>
                  <a:pt x="45" y="78"/>
                  <a:pt x="46" y="79"/>
                </a:cubicBezTo>
                <a:cubicBezTo>
                  <a:pt x="46" y="80"/>
                  <a:pt x="46" y="80"/>
                  <a:pt x="46" y="80"/>
                </a:cubicBezTo>
                <a:cubicBezTo>
                  <a:pt x="47" y="80"/>
                  <a:pt x="47" y="80"/>
                  <a:pt x="47" y="80"/>
                </a:cubicBezTo>
                <a:cubicBezTo>
                  <a:pt x="47" y="80"/>
                  <a:pt x="48" y="81"/>
                  <a:pt x="48" y="81"/>
                </a:cubicBezTo>
                <a:cubicBezTo>
                  <a:pt x="49" y="82"/>
                  <a:pt x="49" y="82"/>
                  <a:pt x="49" y="83"/>
                </a:cubicBezTo>
                <a:cubicBezTo>
                  <a:pt x="49" y="83"/>
                  <a:pt x="50" y="85"/>
                  <a:pt x="50" y="84"/>
                </a:cubicBezTo>
                <a:cubicBezTo>
                  <a:pt x="51" y="84"/>
                  <a:pt x="51" y="83"/>
                  <a:pt x="51" y="83"/>
                </a:cubicBezTo>
                <a:cubicBezTo>
                  <a:pt x="51" y="82"/>
                  <a:pt x="50" y="82"/>
                  <a:pt x="50" y="81"/>
                </a:cubicBezTo>
                <a:cubicBezTo>
                  <a:pt x="50" y="81"/>
                  <a:pt x="49" y="81"/>
                  <a:pt x="49" y="80"/>
                </a:cubicBezTo>
                <a:cubicBezTo>
                  <a:pt x="49" y="80"/>
                  <a:pt x="50" y="81"/>
                  <a:pt x="50" y="81"/>
                </a:cubicBezTo>
                <a:cubicBezTo>
                  <a:pt x="50" y="80"/>
                  <a:pt x="48" y="79"/>
                  <a:pt x="48" y="79"/>
                </a:cubicBezTo>
                <a:cubicBezTo>
                  <a:pt x="48" y="78"/>
                  <a:pt x="49" y="78"/>
                  <a:pt x="49" y="78"/>
                </a:cubicBezTo>
                <a:cubicBezTo>
                  <a:pt x="49" y="78"/>
                  <a:pt x="49" y="78"/>
                  <a:pt x="49" y="78"/>
                </a:cubicBezTo>
                <a:cubicBezTo>
                  <a:pt x="48" y="77"/>
                  <a:pt x="48" y="77"/>
                  <a:pt x="47" y="76"/>
                </a:cubicBezTo>
                <a:cubicBezTo>
                  <a:pt x="48" y="76"/>
                  <a:pt x="49" y="76"/>
                  <a:pt x="48" y="76"/>
                </a:cubicBezTo>
                <a:cubicBezTo>
                  <a:pt x="49" y="76"/>
                  <a:pt x="49" y="76"/>
                  <a:pt x="49" y="77"/>
                </a:cubicBezTo>
                <a:cubicBezTo>
                  <a:pt x="50" y="77"/>
                  <a:pt x="50" y="77"/>
                  <a:pt x="50" y="77"/>
                </a:cubicBezTo>
                <a:cubicBezTo>
                  <a:pt x="50" y="77"/>
                  <a:pt x="51" y="78"/>
                  <a:pt x="51" y="78"/>
                </a:cubicBezTo>
                <a:cubicBezTo>
                  <a:pt x="51" y="78"/>
                  <a:pt x="53" y="79"/>
                  <a:pt x="51" y="79"/>
                </a:cubicBezTo>
                <a:cubicBezTo>
                  <a:pt x="52" y="79"/>
                  <a:pt x="53" y="80"/>
                  <a:pt x="53" y="80"/>
                </a:cubicBezTo>
                <a:cubicBezTo>
                  <a:pt x="54" y="81"/>
                  <a:pt x="54" y="81"/>
                  <a:pt x="55" y="81"/>
                </a:cubicBezTo>
                <a:cubicBezTo>
                  <a:pt x="55" y="82"/>
                  <a:pt x="56" y="82"/>
                  <a:pt x="56" y="83"/>
                </a:cubicBezTo>
                <a:cubicBezTo>
                  <a:pt x="56" y="83"/>
                  <a:pt x="57" y="84"/>
                  <a:pt x="57" y="84"/>
                </a:cubicBezTo>
                <a:cubicBezTo>
                  <a:pt x="57" y="85"/>
                  <a:pt x="57" y="86"/>
                  <a:pt x="57" y="86"/>
                </a:cubicBezTo>
                <a:cubicBezTo>
                  <a:pt x="57" y="86"/>
                  <a:pt x="58" y="86"/>
                  <a:pt x="58" y="86"/>
                </a:cubicBezTo>
                <a:cubicBezTo>
                  <a:pt x="59" y="86"/>
                  <a:pt x="60" y="88"/>
                  <a:pt x="61" y="88"/>
                </a:cubicBezTo>
                <a:cubicBezTo>
                  <a:pt x="61" y="88"/>
                  <a:pt x="61" y="87"/>
                  <a:pt x="61" y="87"/>
                </a:cubicBezTo>
                <a:cubicBezTo>
                  <a:pt x="61" y="87"/>
                  <a:pt x="61" y="88"/>
                  <a:pt x="61" y="88"/>
                </a:cubicBezTo>
                <a:cubicBezTo>
                  <a:pt x="61" y="88"/>
                  <a:pt x="61" y="87"/>
                  <a:pt x="61" y="88"/>
                </a:cubicBezTo>
                <a:cubicBezTo>
                  <a:pt x="61" y="88"/>
                  <a:pt x="61" y="88"/>
                  <a:pt x="61" y="88"/>
                </a:cubicBezTo>
                <a:cubicBezTo>
                  <a:pt x="61" y="88"/>
                  <a:pt x="61" y="88"/>
                  <a:pt x="62" y="88"/>
                </a:cubicBezTo>
                <a:cubicBezTo>
                  <a:pt x="62" y="88"/>
                  <a:pt x="63" y="88"/>
                  <a:pt x="63" y="87"/>
                </a:cubicBezTo>
                <a:cubicBezTo>
                  <a:pt x="63" y="87"/>
                  <a:pt x="63" y="87"/>
                  <a:pt x="63" y="87"/>
                </a:cubicBezTo>
                <a:cubicBezTo>
                  <a:pt x="64" y="87"/>
                  <a:pt x="64" y="87"/>
                  <a:pt x="64" y="87"/>
                </a:cubicBezTo>
                <a:cubicBezTo>
                  <a:pt x="64" y="88"/>
                  <a:pt x="64" y="88"/>
                  <a:pt x="63" y="88"/>
                </a:cubicBezTo>
                <a:cubicBezTo>
                  <a:pt x="63" y="88"/>
                  <a:pt x="62" y="88"/>
                  <a:pt x="62" y="88"/>
                </a:cubicBezTo>
                <a:cubicBezTo>
                  <a:pt x="62" y="89"/>
                  <a:pt x="63" y="89"/>
                  <a:pt x="63" y="90"/>
                </a:cubicBezTo>
                <a:cubicBezTo>
                  <a:pt x="63" y="90"/>
                  <a:pt x="65" y="92"/>
                  <a:pt x="65" y="91"/>
                </a:cubicBezTo>
                <a:cubicBezTo>
                  <a:pt x="66" y="91"/>
                  <a:pt x="66" y="89"/>
                  <a:pt x="66" y="89"/>
                </a:cubicBezTo>
                <a:cubicBezTo>
                  <a:pt x="66" y="88"/>
                  <a:pt x="65" y="88"/>
                  <a:pt x="65" y="87"/>
                </a:cubicBezTo>
                <a:cubicBezTo>
                  <a:pt x="65" y="87"/>
                  <a:pt x="65" y="87"/>
                  <a:pt x="66" y="86"/>
                </a:cubicBezTo>
                <a:cubicBezTo>
                  <a:pt x="66" y="86"/>
                  <a:pt x="66" y="85"/>
                  <a:pt x="65" y="86"/>
                </a:cubicBezTo>
                <a:cubicBezTo>
                  <a:pt x="65" y="86"/>
                  <a:pt x="64" y="86"/>
                  <a:pt x="65" y="86"/>
                </a:cubicBezTo>
                <a:cubicBezTo>
                  <a:pt x="64" y="86"/>
                  <a:pt x="64" y="86"/>
                  <a:pt x="64" y="85"/>
                </a:cubicBezTo>
                <a:cubicBezTo>
                  <a:pt x="63" y="85"/>
                  <a:pt x="63" y="85"/>
                  <a:pt x="63" y="85"/>
                </a:cubicBezTo>
                <a:cubicBezTo>
                  <a:pt x="62" y="85"/>
                  <a:pt x="62" y="86"/>
                  <a:pt x="62" y="86"/>
                </a:cubicBezTo>
                <a:cubicBezTo>
                  <a:pt x="61" y="86"/>
                  <a:pt x="61" y="85"/>
                  <a:pt x="61" y="85"/>
                </a:cubicBezTo>
                <a:cubicBezTo>
                  <a:pt x="61" y="84"/>
                  <a:pt x="62" y="84"/>
                  <a:pt x="62" y="84"/>
                </a:cubicBezTo>
                <a:cubicBezTo>
                  <a:pt x="62" y="84"/>
                  <a:pt x="62" y="83"/>
                  <a:pt x="62" y="84"/>
                </a:cubicBezTo>
                <a:cubicBezTo>
                  <a:pt x="61" y="83"/>
                  <a:pt x="61" y="82"/>
                  <a:pt x="60" y="81"/>
                </a:cubicBezTo>
                <a:cubicBezTo>
                  <a:pt x="59" y="81"/>
                  <a:pt x="58" y="80"/>
                  <a:pt x="59" y="79"/>
                </a:cubicBezTo>
                <a:cubicBezTo>
                  <a:pt x="59" y="78"/>
                  <a:pt x="60" y="79"/>
                  <a:pt x="61" y="79"/>
                </a:cubicBezTo>
                <a:cubicBezTo>
                  <a:pt x="61" y="79"/>
                  <a:pt x="62" y="78"/>
                  <a:pt x="62" y="78"/>
                </a:cubicBezTo>
                <a:cubicBezTo>
                  <a:pt x="62" y="78"/>
                  <a:pt x="62" y="79"/>
                  <a:pt x="62" y="78"/>
                </a:cubicBezTo>
                <a:cubicBezTo>
                  <a:pt x="62" y="78"/>
                  <a:pt x="63" y="78"/>
                  <a:pt x="63" y="79"/>
                </a:cubicBezTo>
                <a:cubicBezTo>
                  <a:pt x="63" y="78"/>
                  <a:pt x="62" y="77"/>
                  <a:pt x="61" y="77"/>
                </a:cubicBezTo>
                <a:cubicBezTo>
                  <a:pt x="61" y="78"/>
                  <a:pt x="60" y="77"/>
                  <a:pt x="60" y="76"/>
                </a:cubicBezTo>
                <a:cubicBezTo>
                  <a:pt x="60" y="77"/>
                  <a:pt x="59" y="77"/>
                  <a:pt x="59" y="77"/>
                </a:cubicBezTo>
                <a:cubicBezTo>
                  <a:pt x="59" y="76"/>
                  <a:pt x="58" y="76"/>
                  <a:pt x="58" y="76"/>
                </a:cubicBezTo>
                <a:cubicBezTo>
                  <a:pt x="58" y="76"/>
                  <a:pt x="58" y="76"/>
                  <a:pt x="57" y="76"/>
                </a:cubicBezTo>
                <a:cubicBezTo>
                  <a:pt x="57" y="76"/>
                  <a:pt x="57" y="77"/>
                  <a:pt x="57" y="76"/>
                </a:cubicBezTo>
                <a:cubicBezTo>
                  <a:pt x="57" y="76"/>
                  <a:pt x="57" y="75"/>
                  <a:pt x="57" y="75"/>
                </a:cubicBezTo>
                <a:cubicBezTo>
                  <a:pt x="57" y="75"/>
                  <a:pt x="56" y="75"/>
                  <a:pt x="56" y="75"/>
                </a:cubicBezTo>
                <a:cubicBezTo>
                  <a:pt x="56" y="75"/>
                  <a:pt x="57" y="75"/>
                  <a:pt x="56" y="75"/>
                </a:cubicBezTo>
                <a:cubicBezTo>
                  <a:pt x="56" y="75"/>
                  <a:pt x="56" y="74"/>
                  <a:pt x="56" y="74"/>
                </a:cubicBezTo>
                <a:cubicBezTo>
                  <a:pt x="56" y="75"/>
                  <a:pt x="56" y="75"/>
                  <a:pt x="56" y="75"/>
                </a:cubicBezTo>
                <a:cubicBezTo>
                  <a:pt x="56" y="75"/>
                  <a:pt x="56" y="75"/>
                  <a:pt x="55" y="75"/>
                </a:cubicBezTo>
                <a:cubicBezTo>
                  <a:pt x="56" y="75"/>
                  <a:pt x="56" y="75"/>
                  <a:pt x="55" y="75"/>
                </a:cubicBezTo>
                <a:cubicBezTo>
                  <a:pt x="55" y="75"/>
                  <a:pt x="55" y="75"/>
                  <a:pt x="55" y="75"/>
                </a:cubicBezTo>
                <a:cubicBezTo>
                  <a:pt x="55" y="76"/>
                  <a:pt x="56" y="77"/>
                  <a:pt x="56" y="76"/>
                </a:cubicBezTo>
                <a:cubicBezTo>
                  <a:pt x="56" y="76"/>
                  <a:pt x="56" y="76"/>
                  <a:pt x="56" y="77"/>
                </a:cubicBezTo>
                <a:cubicBezTo>
                  <a:pt x="56" y="77"/>
                  <a:pt x="56" y="78"/>
                  <a:pt x="56" y="78"/>
                </a:cubicBezTo>
                <a:cubicBezTo>
                  <a:pt x="56" y="78"/>
                  <a:pt x="55" y="78"/>
                  <a:pt x="55" y="78"/>
                </a:cubicBezTo>
                <a:cubicBezTo>
                  <a:pt x="54" y="78"/>
                  <a:pt x="55" y="79"/>
                  <a:pt x="54" y="79"/>
                </a:cubicBezTo>
                <a:cubicBezTo>
                  <a:pt x="55" y="79"/>
                  <a:pt x="54" y="78"/>
                  <a:pt x="54" y="78"/>
                </a:cubicBezTo>
                <a:cubicBezTo>
                  <a:pt x="54" y="78"/>
                  <a:pt x="54" y="77"/>
                  <a:pt x="54" y="77"/>
                </a:cubicBezTo>
                <a:cubicBezTo>
                  <a:pt x="54" y="76"/>
                  <a:pt x="54" y="76"/>
                  <a:pt x="53" y="75"/>
                </a:cubicBezTo>
                <a:cubicBezTo>
                  <a:pt x="53" y="75"/>
                  <a:pt x="53" y="75"/>
                  <a:pt x="53" y="74"/>
                </a:cubicBezTo>
                <a:cubicBezTo>
                  <a:pt x="53" y="74"/>
                  <a:pt x="53" y="74"/>
                  <a:pt x="53" y="74"/>
                </a:cubicBezTo>
                <a:cubicBezTo>
                  <a:pt x="52" y="74"/>
                  <a:pt x="52" y="74"/>
                  <a:pt x="52" y="73"/>
                </a:cubicBezTo>
                <a:cubicBezTo>
                  <a:pt x="52" y="73"/>
                  <a:pt x="51" y="73"/>
                  <a:pt x="51" y="72"/>
                </a:cubicBezTo>
                <a:cubicBezTo>
                  <a:pt x="50" y="72"/>
                  <a:pt x="49" y="71"/>
                  <a:pt x="50" y="72"/>
                </a:cubicBezTo>
                <a:cubicBezTo>
                  <a:pt x="49" y="72"/>
                  <a:pt x="49" y="72"/>
                  <a:pt x="49" y="72"/>
                </a:cubicBezTo>
                <a:cubicBezTo>
                  <a:pt x="49" y="72"/>
                  <a:pt x="48" y="71"/>
                  <a:pt x="48" y="72"/>
                </a:cubicBezTo>
                <a:cubicBezTo>
                  <a:pt x="47" y="72"/>
                  <a:pt x="47" y="72"/>
                  <a:pt x="47" y="72"/>
                </a:cubicBezTo>
                <a:cubicBezTo>
                  <a:pt x="47" y="72"/>
                  <a:pt x="46" y="73"/>
                  <a:pt x="47" y="73"/>
                </a:cubicBezTo>
                <a:cubicBezTo>
                  <a:pt x="46" y="73"/>
                  <a:pt x="46" y="73"/>
                  <a:pt x="46" y="73"/>
                </a:cubicBezTo>
                <a:cubicBezTo>
                  <a:pt x="46" y="73"/>
                  <a:pt x="47" y="74"/>
                  <a:pt x="46" y="74"/>
                </a:cubicBezTo>
                <a:cubicBezTo>
                  <a:pt x="46" y="74"/>
                  <a:pt x="46" y="74"/>
                  <a:pt x="46" y="74"/>
                </a:cubicBezTo>
                <a:cubicBezTo>
                  <a:pt x="46" y="74"/>
                  <a:pt x="46" y="73"/>
                  <a:pt x="46" y="73"/>
                </a:cubicBezTo>
                <a:cubicBezTo>
                  <a:pt x="45" y="73"/>
                  <a:pt x="45" y="73"/>
                  <a:pt x="45" y="73"/>
                </a:cubicBezTo>
                <a:cubicBezTo>
                  <a:pt x="45" y="74"/>
                  <a:pt x="45" y="74"/>
                  <a:pt x="45" y="74"/>
                </a:cubicBezTo>
                <a:cubicBezTo>
                  <a:pt x="45" y="74"/>
                  <a:pt x="46" y="75"/>
                  <a:pt x="46" y="75"/>
                </a:cubicBezTo>
                <a:cubicBezTo>
                  <a:pt x="46" y="75"/>
                  <a:pt x="47" y="76"/>
                  <a:pt x="46" y="76"/>
                </a:cubicBezTo>
                <a:cubicBezTo>
                  <a:pt x="45" y="76"/>
                  <a:pt x="45" y="75"/>
                  <a:pt x="45" y="76"/>
                </a:cubicBezTo>
                <a:cubicBezTo>
                  <a:pt x="46" y="76"/>
                  <a:pt x="46" y="76"/>
                  <a:pt x="45" y="76"/>
                </a:cubicBezTo>
                <a:cubicBezTo>
                  <a:pt x="44" y="76"/>
                  <a:pt x="43" y="76"/>
                  <a:pt x="43" y="75"/>
                </a:cubicBezTo>
                <a:cubicBezTo>
                  <a:pt x="42" y="75"/>
                  <a:pt x="40" y="74"/>
                  <a:pt x="41" y="73"/>
                </a:cubicBezTo>
                <a:cubicBezTo>
                  <a:pt x="41" y="72"/>
                  <a:pt x="40" y="72"/>
                  <a:pt x="40" y="71"/>
                </a:cubicBezTo>
                <a:cubicBezTo>
                  <a:pt x="39" y="71"/>
                  <a:pt x="39" y="69"/>
                  <a:pt x="39" y="68"/>
                </a:cubicBezTo>
                <a:cubicBezTo>
                  <a:pt x="39" y="68"/>
                  <a:pt x="39" y="68"/>
                  <a:pt x="40" y="68"/>
                </a:cubicBezTo>
                <a:cubicBezTo>
                  <a:pt x="39" y="67"/>
                  <a:pt x="39" y="67"/>
                  <a:pt x="39" y="66"/>
                </a:cubicBezTo>
                <a:cubicBezTo>
                  <a:pt x="38" y="66"/>
                  <a:pt x="38" y="66"/>
                  <a:pt x="38" y="65"/>
                </a:cubicBezTo>
                <a:cubicBezTo>
                  <a:pt x="38" y="64"/>
                  <a:pt x="37" y="63"/>
                  <a:pt x="36" y="62"/>
                </a:cubicBezTo>
                <a:cubicBezTo>
                  <a:pt x="36" y="62"/>
                  <a:pt x="35" y="60"/>
                  <a:pt x="36" y="60"/>
                </a:cubicBezTo>
                <a:cubicBezTo>
                  <a:pt x="36" y="60"/>
                  <a:pt x="36" y="58"/>
                  <a:pt x="37" y="58"/>
                </a:cubicBezTo>
                <a:cubicBezTo>
                  <a:pt x="37" y="58"/>
                  <a:pt x="38" y="56"/>
                  <a:pt x="37" y="56"/>
                </a:cubicBezTo>
                <a:cubicBezTo>
                  <a:pt x="36" y="56"/>
                  <a:pt x="36" y="55"/>
                  <a:pt x="36" y="55"/>
                </a:cubicBezTo>
                <a:cubicBezTo>
                  <a:pt x="36" y="54"/>
                  <a:pt x="37" y="54"/>
                  <a:pt x="37" y="54"/>
                </a:cubicBezTo>
                <a:cubicBezTo>
                  <a:pt x="38" y="53"/>
                  <a:pt x="38" y="52"/>
                  <a:pt x="39" y="52"/>
                </a:cubicBezTo>
                <a:cubicBezTo>
                  <a:pt x="40" y="52"/>
                  <a:pt x="40" y="52"/>
                  <a:pt x="41" y="51"/>
                </a:cubicBezTo>
                <a:cubicBezTo>
                  <a:pt x="41" y="51"/>
                  <a:pt x="41" y="50"/>
                  <a:pt x="41" y="51"/>
                </a:cubicBezTo>
                <a:cubicBezTo>
                  <a:pt x="41" y="51"/>
                  <a:pt x="40" y="53"/>
                  <a:pt x="40" y="53"/>
                </a:cubicBezTo>
                <a:cubicBezTo>
                  <a:pt x="41" y="53"/>
                  <a:pt x="41" y="52"/>
                  <a:pt x="41" y="52"/>
                </a:cubicBezTo>
                <a:cubicBezTo>
                  <a:pt x="42" y="51"/>
                  <a:pt x="42" y="51"/>
                  <a:pt x="42" y="50"/>
                </a:cubicBezTo>
                <a:cubicBezTo>
                  <a:pt x="41" y="51"/>
                  <a:pt x="42" y="49"/>
                  <a:pt x="42" y="49"/>
                </a:cubicBezTo>
                <a:cubicBezTo>
                  <a:pt x="42" y="49"/>
                  <a:pt x="42" y="49"/>
                  <a:pt x="42" y="49"/>
                </a:cubicBezTo>
                <a:cubicBezTo>
                  <a:pt x="42" y="48"/>
                  <a:pt x="42" y="48"/>
                  <a:pt x="42" y="48"/>
                </a:cubicBezTo>
                <a:cubicBezTo>
                  <a:pt x="42" y="48"/>
                  <a:pt x="42" y="47"/>
                  <a:pt x="42" y="47"/>
                </a:cubicBezTo>
                <a:cubicBezTo>
                  <a:pt x="43" y="46"/>
                  <a:pt x="43" y="45"/>
                  <a:pt x="43" y="43"/>
                </a:cubicBezTo>
                <a:cubicBezTo>
                  <a:pt x="43" y="43"/>
                  <a:pt x="44" y="41"/>
                  <a:pt x="43" y="41"/>
                </a:cubicBezTo>
                <a:cubicBezTo>
                  <a:pt x="42" y="41"/>
                  <a:pt x="42" y="40"/>
                  <a:pt x="42" y="39"/>
                </a:cubicBezTo>
                <a:cubicBezTo>
                  <a:pt x="42" y="39"/>
                  <a:pt x="42" y="40"/>
                  <a:pt x="43" y="40"/>
                </a:cubicBezTo>
                <a:cubicBezTo>
                  <a:pt x="43" y="39"/>
                  <a:pt x="42" y="39"/>
                  <a:pt x="42" y="39"/>
                </a:cubicBezTo>
                <a:cubicBezTo>
                  <a:pt x="42" y="39"/>
                  <a:pt x="42" y="39"/>
                  <a:pt x="42" y="39"/>
                </a:cubicBezTo>
                <a:cubicBezTo>
                  <a:pt x="42" y="39"/>
                  <a:pt x="42" y="39"/>
                  <a:pt x="41" y="39"/>
                </a:cubicBezTo>
                <a:cubicBezTo>
                  <a:pt x="41" y="39"/>
                  <a:pt x="40" y="38"/>
                  <a:pt x="40" y="38"/>
                </a:cubicBezTo>
                <a:cubicBezTo>
                  <a:pt x="40" y="37"/>
                  <a:pt x="39" y="36"/>
                  <a:pt x="39" y="35"/>
                </a:cubicBezTo>
                <a:cubicBezTo>
                  <a:pt x="39" y="34"/>
                  <a:pt x="39" y="33"/>
                  <a:pt x="39" y="32"/>
                </a:cubicBezTo>
                <a:cubicBezTo>
                  <a:pt x="39" y="31"/>
                  <a:pt x="39" y="31"/>
                  <a:pt x="39" y="30"/>
                </a:cubicBezTo>
                <a:cubicBezTo>
                  <a:pt x="39" y="30"/>
                  <a:pt x="39" y="30"/>
                  <a:pt x="39" y="29"/>
                </a:cubicBezTo>
                <a:cubicBezTo>
                  <a:pt x="40" y="28"/>
                  <a:pt x="39" y="27"/>
                  <a:pt x="39" y="27"/>
                </a:cubicBezTo>
                <a:cubicBezTo>
                  <a:pt x="39" y="26"/>
                  <a:pt x="38" y="25"/>
                  <a:pt x="38" y="26"/>
                </a:cubicBezTo>
                <a:cubicBezTo>
                  <a:pt x="38" y="26"/>
                  <a:pt x="38" y="26"/>
                  <a:pt x="38" y="27"/>
                </a:cubicBezTo>
                <a:cubicBezTo>
                  <a:pt x="38" y="27"/>
                  <a:pt x="37" y="28"/>
                  <a:pt x="36" y="28"/>
                </a:cubicBezTo>
                <a:cubicBezTo>
                  <a:pt x="35" y="29"/>
                  <a:pt x="34" y="28"/>
                  <a:pt x="33" y="28"/>
                </a:cubicBezTo>
                <a:cubicBezTo>
                  <a:pt x="33" y="28"/>
                  <a:pt x="33" y="28"/>
                  <a:pt x="33" y="29"/>
                </a:cubicBezTo>
                <a:cubicBezTo>
                  <a:pt x="34" y="29"/>
                  <a:pt x="33" y="30"/>
                  <a:pt x="34" y="30"/>
                </a:cubicBezTo>
                <a:cubicBezTo>
                  <a:pt x="33" y="30"/>
                  <a:pt x="33" y="29"/>
                  <a:pt x="33" y="29"/>
                </a:cubicBezTo>
                <a:cubicBezTo>
                  <a:pt x="33" y="28"/>
                  <a:pt x="33" y="28"/>
                  <a:pt x="32" y="27"/>
                </a:cubicBezTo>
                <a:cubicBezTo>
                  <a:pt x="31" y="26"/>
                  <a:pt x="30" y="26"/>
                  <a:pt x="28" y="25"/>
                </a:cubicBezTo>
                <a:cubicBezTo>
                  <a:pt x="28" y="24"/>
                  <a:pt x="27" y="25"/>
                  <a:pt x="26" y="25"/>
                </a:cubicBezTo>
                <a:cubicBezTo>
                  <a:pt x="26" y="25"/>
                  <a:pt x="26" y="25"/>
                  <a:pt x="25" y="25"/>
                </a:cubicBezTo>
                <a:cubicBezTo>
                  <a:pt x="24" y="24"/>
                  <a:pt x="25" y="25"/>
                  <a:pt x="24" y="26"/>
                </a:cubicBezTo>
                <a:cubicBezTo>
                  <a:pt x="24" y="26"/>
                  <a:pt x="23" y="25"/>
                  <a:pt x="23" y="26"/>
                </a:cubicBezTo>
                <a:cubicBezTo>
                  <a:pt x="22" y="26"/>
                  <a:pt x="23" y="27"/>
                  <a:pt x="23" y="27"/>
                </a:cubicBezTo>
                <a:cubicBezTo>
                  <a:pt x="23" y="28"/>
                  <a:pt x="22" y="30"/>
                  <a:pt x="22" y="31"/>
                </a:cubicBezTo>
                <a:cubicBezTo>
                  <a:pt x="23" y="31"/>
                  <a:pt x="23" y="31"/>
                  <a:pt x="22" y="32"/>
                </a:cubicBezTo>
                <a:cubicBezTo>
                  <a:pt x="22" y="32"/>
                  <a:pt x="23" y="33"/>
                  <a:pt x="22" y="33"/>
                </a:cubicBezTo>
                <a:cubicBezTo>
                  <a:pt x="22" y="34"/>
                  <a:pt x="22" y="34"/>
                  <a:pt x="22" y="34"/>
                </a:cubicBezTo>
                <a:cubicBezTo>
                  <a:pt x="22" y="35"/>
                  <a:pt x="22" y="35"/>
                  <a:pt x="22" y="35"/>
                </a:cubicBezTo>
                <a:cubicBezTo>
                  <a:pt x="22" y="35"/>
                  <a:pt x="22" y="36"/>
                  <a:pt x="22" y="37"/>
                </a:cubicBezTo>
                <a:cubicBezTo>
                  <a:pt x="23" y="37"/>
                  <a:pt x="23" y="37"/>
                  <a:pt x="23" y="37"/>
                </a:cubicBezTo>
                <a:cubicBezTo>
                  <a:pt x="23" y="38"/>
                  <a:pt x="23" y="38"/>
                  <a:pt x="23" y="39"/>
                </a:cubicBezTo>
                <a:cubicBezTo>
                  <a:pt x="23" y="40"/>
                  <a:pt x="23" y="40"/>
                  <a:pt x="23" y="41"/>
                </a:cubicBezTo>
                <a:cubicBezTo>
                  <a:pt x="24" y="42"/>
                  <a:pt x="24" y="43"/>
                  <a:pt x="23" y="44"/>
                </a:cubicBezTo>
                <a:cubicBezTo>
                  <a:pt x="23" y="44"/>
                  <a:pt x="23" y="44"/>
                  <a:pt x="23" y="45"/>
                </a:cubicBezTo>
                <a:cubicBezTo>
                  <a:pt x="23" y="46"/>
                  <a:pt x="23" y="47"/>
                  <a:pt x="23" y="47"/>
                </a:cubicBezTo>
                <a:cubicBezTo>
                  <a:pt x="23" y="47"/>
                  <a:pt x="24" y="48"/>
                  <a:pt x="24" y="49"/>
                </a:cubicBezTo>
                <a:cubicBezTo>
                  <a:pt x="24" y="50"/>
                  <a:pt x="24" y="50"/>
                  <a:pt x="24" y="51"/>
                </a:cubicBezTo>
                <a:cubicBezTo>
                  <a:pt x="24" y="50"/>
                  <a:pt x="25" y="51"/>
                  <a:pt x="25" y="51"/>
                </a:cubicBezTo>
                <a:cubicBezTo>
                  <a:pt x="25" y="51"/>
                  <a:pt x="25" y="51"/>
                  <a:pt x="25" y="52"/>
                </a:cubicBezTo>
                <a:cubicBezTo>
                  <a:pt x="25" y="52"/>
                  <a:pt x="24" y="53"/>
                  <a:pt x="24" y="53"/>
                </a:cubicBezTo>
                <a:cubicBezTo>
                  <a:pt x="23" y="53"/>
                  <a:pt x="22" y="53"/>
                  <a:pt x="22" y="53"/>
                </a:cubicBezTo>
                <a:cubicBezTo>
                  <a:pt x="22" y="52"/>
                  <a:pt x="22" y="52"/>
                  <a:pt x="22" y="52"/>
                </a:cubicBezTo>
                <a:cubicBezTo>
                  <a:pt x="22" y="51"/>
                  <a:pt x="21" y="51"/>
                  <a:pt x="20" y="51"/>
                </a:cubicBezTo>
                <a:cubicBezTo>
                  <a:pt x="20" y="50"/>
                  <a:pt x="20" y="49"/>
                  <a:pt x="19" y="49"/>
                </a:cubicBezTo>
                <a:cubicBezTo>
                  <a:pt x="18" y="50"/>
                  <a:pt x="19" y="51"/>
                  <a:pt x="19" y="52"/>
                </a:cubicBezTo>
                <a:cubicBezTo>
                  <a:pt x="19" y="52"/>
                  <a:pt x="19" y="54"/>
                  <a:pt x="19" y="54"/>
                </a:cubicBezTo>
                <a:close/>
                <a:moveTo>
                  <a:pt x="94" y="149"/>
                </a:moveTo>
                <a:cubicBezTo>
                  <a:pt x="94" y="149"/>
                  <a:pt x="94" y="148"/>
                  <a:pt x="94" y="148"/>
                </a:cubicBezTo>
                <a:cubicBezTo>
                  <a:pt x="94" y="147"/>
                  <a:pt x="94" y="148"/>
                  <a:pt x="94" y="147"/>
                </a:cubicBezTo>
                <a:cubicBezTo>
                  <a:pt x="94" y="147"/>
                  <a:pt x="94" y="146"/>
                  <a:pt x="94" y="146"/>
                </a:cubicBezTo>
                <a:cubicBezTo>
                  <a:pt x="94" y="145"/>
                  <a:pt x="94" y="144"/>
                  <a:pt x="93" y="144"/>
                </a:cubicBezTo>
                <a:cubicBezTo>
                  <a:pt x="93" y="144"/>
                  <a:pt x="93" y="144"/>
                  <a:pt x="92" y="143"/>
                </a:cubicBezTo>
                <a:cubicBezTo>
                  <a:pt x="92" y="143"/>
                  <a:pt x="92" y="143"/>
                  <a:pt x="92" y="142"/>
                </a:cubicBezTo>
                <a:cubicBezTo>
                  <a:pt x="92" y="142"/>
                  <a:pt x="92" y="142"/>
                  <a:pt x="92" y="141"/>
                </a:cubicBezTo>
                <a:cubicBezTo>
                  <a:pt x="92" y="141"/>
                  <a:pt x="92" y="141"/>
                  <a:pt x="92" y="140"/>
                </a:cubicBezTo>
                <a:cubicBezTo>
                  <a:pt x="92" y="140"/>
                  <a:pt x="92" y="139"/>
                  <a:pt x="92" y="139"/>
                </a:cubicBezTo>
                <a:cubicBezTo>
                  <a:pt x="92" y="139"/>
                  <a:pt x="92" y="139"/>
                  <a:pt x="92" y="139"/>
                </a:cubicBezTo>
                <a:cubicBezTo>
                  <a:pt x="92" y="139"/>
                  <a:pt x="91" y="139"/>
                  <a:pt x="91" y="139"/>
                </a:cubicBezTo>
                <a:cubicBezTo>
                  <a:pt x="91" y="139"/>
                  <a:pt x="92" y="139"/>
                  <a:pt x="91" y="138"/>
                </a:cubicBezTo>
                <a:cubicBezTo>
                  <a:pt x="91" y="138"/>
                  <a:pt x="91" y="138"/>
                  <a:pt x="91" y="137"/>
                </a:cubicBezTo>
                <a:cubicBezTo>
                  <a:pt x="91" y="137"/>
                  <a:pt x="91" y="137"/>
                  <a:pt x="91" y="137"/>
                </a:cubicBezTo>
                <a:cubicBezTo>
                  <a:pt x="91" y="137"/>
                  <a:pt x="91" y="136"/>
                  <a:pt x="91" y="136"/>
                </a:cubicBezTo>
                <a:cubicBezTo>
                  <a:pt x="92" y="136"/>
                  <a:pt x="91" y="136"/>
                  <a:pt x="91" y="135"/>
                </a:cubicBezTo>
                <a:cubicBezTo>
                  <a:pt x="91" y="135"/>
                  <a:pt x="90" y="135"/>
                  <a:pt x="90" y="135"/>
                </a:cubicBezTo>
                <a:cubicBezTo>
                  <a:pt x="90" y="135"/>
                  <a:pt x="90" y="135"/>
                  <a:pt x="90" y="136"/>
                </a:cubicBezTo>
                <a:cubicBezTo>
                  <a:pt x="88" y="136"/>
                  <a:pt x="88" y="133"/>
                  <a:pt x="90" y="134"/>
                </a:cubicBezTo>
                <a:cubicBezTo>
                  <a:pt x="89" y="133"/>
                  <a:pt x="90" y="133"/>
                  <a:pt x="90" y="133"/>
                </a:cubicBezTo>
                <a:cubicBezTo>
                  <a:pt x="90" y="133"/>
                  <a:pt x="90" y="132"/>
                  <a:pt x="91" y="132"/>
                </a:cubicBezTo>
                <a:cubicBezTo>
                  <a:pt x="91" y="132"/>
                  <a:pt x="90" y="131"/>
                  <a:pt x="90" y="131"/>
                </a:cubicBezTo>
                <a:cubicBezTo>
                  <a:pt x="90" y="131"/>
                  <a:pt x="89" y="130"/>
                  <a:pt x="89" y="130"/>
                </a:cubicBezTo>
                <a:cubicBezTo>
                  <a:pt x="89" y="130"/>
                  <a:pt x="89" y="130"/>
                  <a:pt x="90" y="130"/>
                </a:cubicBezTo>
                <a:cubicBezTo>
                  <a:pt x="89" y="130"/>
                  <a:pt x="89" y="130"/>
                  <a:pt x="89" y="129"/>
                </a:cubicBezTo>
                <a:cubicBezTo>
                  <a:pt x="89" y="129"/>
                  <a:pt x="89" y="128"/>
                  <a:pt x="89" y="128"/>
                </a:cubicBezTo>
                <a:cubicBezTo>
                  <a:pt x="89" y="128"/>
                  <a:pt x="89" y="127"/>
                  <a:pt x="89" y="127"/>
                </a:cubicBezTo>
                <a:cubicBezTo>
                  <a:pt x="88" y="127"/>
                  <a:pt x="88" y="128"/>
                  <a:pt x="87" y="127"/>
                </a:cubicBezTo>
                <a:cubicBezTo>
                  <a:pt x="87" y="127"/>
                  <a:pt x="87" y="126"/>
                  <a:pt x="87" y="126"/>
                </a:cubicBezTo>
                <a:cubicBezTo>
                  <a:pt x="87" y="126"/>
                  <a:pt x="86" y="126"/>
                  <a:pt x="86" y="126"/>
                </a:cubicBezTo>
                <a:cubicBezTo>
                  <a:pt x="86" y="125"/>
                  <a:pt x="87" y="126"/>
                  <a:pt x="87" y="125"/>
                </a:cubicBezTo>
                <a:cubicBezTo>
                  <a:pt x="86" y="125"/>
                  <a:pt x="86" y="125"/>
                  <a:pt x="86" y="125"/>
                </a:cubicBezTo>
                <a:cubicBezTo>
                  <a:pt x="86" y="125"/>
                  <a:pt x="85" y="124"/>
                  <a:pt x="85" y="124"/>
                </a:cubicBezTo>
                <a:cubicBezTo>
                  <a:pt x="84" y="124"/>
                  <a:pt x="83" y="124"/>
                  <a:pt x="83" y="123"/>
                </a:cubicBezTo>
                <a:cubicBezTo>
                  <a:pt x="83" y="123"/>
                  <a:pt x="83" y="123"/>
                  <a:pt x="83" y="122"/>
                </a:cubicBezTo>
                <a:cubicBezTo>
                  <a:pt x="82" y="122"/>
                  <a:pt x="82" y="122"/>
                  <a:pt x="81" y="121"/>
                </a:cubicBezTo>
                <a:cubicBezTo>
                  <a:pt x="81" y="122"/>
                  <a:pt x="81" y="123"/>
                  <a:pt x="81" y="124"/>
                </a:cubicBezTo>
                <a:cubicBezTo>
                  <a:pt x="81" y="124"/>
                  <a:pt x="81" y="125"/>
                  <a:pt x="82" y="125"/>
                </a:cubicBezTo>
                <a:cubicBezTo>
                  <a:pt x="82" y="127"/>
                  <a:pt x="83" y="128"/>
                  <a:pt x="83" y="130"/>
                </a:cubicBezTo>
                <a:cubicBezTo>
                  <a:pt x="83" y="131"/>
                  <a:pt x="81" y="131"/>
                  <a:pt x="80" y="130"/>
                </a:cubicBezTo>
                <a:cubicBezTo>
                  <a:pt x="80" y="130"/>
                  <a:pt x="79" y="129"/>
                  <a:pt x="79" y="130"/>
                </a:cubicBezTo>
                <a:cubicBezTo>
                  <a:pt x="79" y="131"/>
                  <a:pt x="80" y="132"/>
                  <a:pt x="79" y="132"/>
                </a:cubicBezTo>
                <a:cubicBezTo>
                  <a:pt x="78" y="132"/>
                  <a:pt x="77" y="130"/>
                  <a:pt x="76" y="130"/>
                </a:cubicBezTo>
                <a:cubicBezTo>
                  <a:pt x="75" y="131"/>
                  <a:pt x="76" y="133"/>
                  <a:pt x="76" y="133"/>
                </a:cubicBezTo>
                <a:cubicBezTo>
                  <a:pt x="76" y="134"/>
                  <a:pt x="75" y="134"/>
                  <a:pt x="75" y="134"/>
                </a:cubicBezTo>
                <a:cubicBezTo>
                  <a:pt x="75" y="134"/>
                  <a:pt x="76" y="134"/>
                  <a:pt x="76" y="135"/>
                </a:cubicBezTo>
                <a:cubicBezTo>
                  <a:pt x="76" y="135"/>
                  <a:pt x="76" y="135"/>
                  <a:pt x="76" y="136"/>
                </a:cubicBezTo>
                <a:cubicBezTo>
                  <a:pt x="75" y="137"/>
                  <a:pt x="73" y="135"/>
                  <a:pt x="73" y="135"/>
                </a:cubicBezTo>
                <a:cubicBezTo>
                  <a:pt x="72" y="134"/>
                  <a:pt x="71" y="136"/>
                  <a:pt x="71" y="137"/>
                </a:cubicBezTo>
                <a:cubicBezTo>
                  <a:pt x="71" y="138"/>
                  <a:pt x="71" y="139"/>
                  <a:pt x="69" y="139"/>
                </a:cubicBezTo>
                <a:cubicBezTo>
                  <a:pt x="68" y="139"/>
                  <a:pt x="67" y="140"/>
                  <a:pt x="67" y="141"/>
                </a:cubicBezTo>
                <a:cubicBezTo>
                  <a:pt x="67" y="141"/>
                  <a:pt x="66" y="142"/>
                  <a:pt x="65" y="142"/>
                </a:cubicBezTo>
                <a:cubicBezTo>
                  <a:pt x="65" y="141"/>
                  <a:pt x="66" y="141"/>
                  <a:pt x="66" y="141"/>
                </a:cubicBezTo>
                <a:cubicBezTo>
                  <a:pt x="67" y="141"/>
                  <a:pt x="67" y="140"/>
                  <a:pt x="67" y="139"/>
                </a:cubicBezTo>
                <a:cubicBezTo>
                  <a:pt x="67" y="137"/>
                  <a:pt x="66" y="134"/>
                  <a:pt x="64" y="134"/>
                </a:cubicBezTo>
                <a:cubicBezTo>
                  <a:pt x="64" y="134"/>
                  <a:pt x="64" y="135"/>
                  <a:pt x="64" y="135"/>
                </a:cubicBezTo>
                <a:cubicBezTo>
                  <a:pt x="64" y="135"/>
                  <a:pt x="64" y="135"/>
                  <a:pt x="63" y="134"/>
                </a:cubicBezTo>
                <a:cubicBezTo>
                  <a:pt x="63" y="134"/>
                  <a:pt x="63" y="134"/>
                  <a:pt x="63" y="134"/>
                </a:cubicBezTo>
                <a:cubicBezTo>
                  <a:pt x="63" y="134"/>
                  <a:pt x="63" y="133"/>
                  <a:pt x="62" y="133"/>
                </a:cubicBezTo>
                <a:cubicBezTo>
                  <a:pt x="62" y="133"/>
                  <a:pt x="62" y="134"/>
                  <a:pt x="62" y="134"/>
                </a:cubicBezTo>
                <a:cubicBezTo>
                  <a:pt x="62" y="134"/>
                  <a:pt x="63" y="134"/>
                  <a:pt x="63" y="134"/>
                </a:cubicBezTo>
                <a:cubicBezTo>
                  <a:pt x="63" y="134"/>
                  <a:pt x="62" y="134"/>
                  <a:pt x="62" y="135"/>
                </a:cubicBezTo>
                <a:cubicBezTo>
                  <a:pt x="62" y="135"/>
                  <a:pt x="62" y="136"/>
                  <a:pt x="61" y="136"/>
                </a:cubicBezTo>
                <a:cubicBezTo>
                  <a:pt x="60" y="136"/>
                  <a:pt x="60" y="135"/>
                  <a:pt x="59" y="136"/>
                </a:cubicBezTo>
                <a:cubicBezTo>
                  <a:pt x="59" y="136"/>
                  <a:pt x="59" y="136"/>
                  <a:pt x="59" y="137"/>
                </a:cubicBezTo>
                <a:cubicBezTo>
                  <a:pt x="59" y="137"/>
                  <a:pt x="59" y="138"/>
                  <a:pt x="59" y="138"/>
                </a:cubicBezTo>
                <a:cubicBezTo>
                  <a:pt x="58" y="138"/>
                  <a:pt x="59" y="139"/>
                  <a:pt x="59" y="139"/>
                </a:cubicBezTo>
                <a:cubicBezTo>
                  <a:pt x="58" y="140"/>
                  <a:pt x="57" y="140"/>
                  <a:pt x="56" y="140"/>
                </a:cubicBezTo>
                <a:cubicBezTo>
                  <a:pt x="56" y="140"/>
                  <a:pt x="56" y="140"/>
                  <a:pt x="55" y="140"/>
                </a:cubicBezTo>
                <a:cubicBezTo>
                  <a:pt x="55" y="140"/>
                  <a:pt x="55" y="140"/>
                  <a:pt x="54" y="141"/>
                </a:cubicBezTo>
                <a:cubicBezTo>
                  <a:pt x="54" y="141"/>
                  <a:pt x="52" y="141"/>
                  <a:pt x="52" y="142"/>
                </a:cubicBezTo>
                <a:cubicBezTo>
                  <a:pt x="52" y="142"/>
                  <a:pt x="51" y="144"/>
                  <a:pt x="50" y="144"/>
                </a:cubicBezTo>
                <a:cubicBezTo>
                  <a:pt x="51" y="144"/>
                  <a:pt x="51" y="144"/>
                  <a:pt x="51" y="144"/>
                </a:cubicBezTo>
                <a:cubicBezTo>
                  <a:pt x="50" y="144"/>
                  <a:pt x="51" y="144"/>
                  <a:pt x="51" y="144"/>
                </a:cubicBezTo>
                <a:cubicBezTo>
                  <a:pt x="51" y="145"/>
                  <a:pt x="51" y="145"/>
                  <a:pt x="51" y="146"/>
                </a:cubicBezTo>
                <a:cubicBezTo>
                  <a:pt x="51" y="146"/>
                  <a:pt x="51" y="146"/>
                  <a:pt x="51" y="146"/>
                </a:cubicBezTo>
                <a:cubicBezTo>
                  <a:pt x="51" y="146"/>
                  <a:pt x="50" y="147"/>
                  <a:pt x="50" y="147"/>
                </a:cubicBezTo>
                <a:cubicBezTo>
                  <a:pt x="51" y="147"/>
                  <a:pt x="51" y="147"/>
                  <a:pt x="50" y="147"/>
                </a:cubicBezTo>
                <a:cubicBezTo>
                  <a:pt x="50" y="147"/>
                  <a:pt x="50" y="147"/>
                  <a:pt x="50" y="148"/>
                </a:cubicBezTo>
                <a:cubicBezTo>
                  <a:pt x="50" y="148"/>
                  <a:pt x="50" y="148"/>
                  <a:pt x="50" y="148"/>
                </a:cubicBezTo>
                <a:cubicBezTo>
                  <a:pt x="50" y="149"/>
                  <a:pt x="51" y="149"/>
                  <a:pt x="50" y="150"/>
                </a:cubicBezTo>
                <a:cubicBezTo>
                  <a:pt x="49" y="151"/>
                  <a:pt x="49" y="152"/>
                  <a:pt x="50" y="153"/>
                </a:cubicBezTo>
                <a:cubicBezTo>
                  <a:pt x="51" y="153"/>
                  <a:pt x="51" y="154"/>
                  <a:pt x="52" y="153"/>
                </a:cubicBezTo>
                <a:cubicBezTo>
                  <a:pt x="52" y="153"/>
                  <a:pt x="52" y="152"/>
                  <a:pt x="52" y="152"/>
                </a:cubicBezTo>
                <a:cubicBezTo>
                  <a:pt x="52" y="151"/>
                  <a:pt x="52" y="151"/>
                  <a:pt x="52" y="151"/>
                </a:cubicBezTo>
                <a:cubicBezTo>
                  <a:pt x="52" y="151"/>
                  <a:pt x="53" y="148"/>
                  <a:pt x="53" y="149"/>
                </a:cubicBezTo>
                <a:cubicBezTo>
                  <a:pt x="53" y="149"/>
                  <a:pt x="54" y="148"/>
                  <a:pt x="54" y="148"/>
                </a:cubicBezTo>
                <a:cubicBezTo>
                  <a:pt x="54" y="148"/>
                  <a:pt x="53" y="148"/>
                  <a:pt x="53" y="147"/>
                </a:cubicBezTo>
                <a:cubicBezTo>
                  <a:pt x="53" y="147"/>
                  <a:pt x="54" y="146"/>
                  <a:pt x="54" y="146"/>
                </a:cubicBezTo>
                <a:cubicBezTo>
                  <a:pt x="54" y="147"/>
                  <a:pt x="54" y="147"/>
                  <a:pt x="54" y="147"/>
                </a:cubicBezTo>
                <a:cubicBezTo>
                  <a:pt x="54" y="147"/>
                  <a:pt x="55" y="146"/>
                  <a:pt x="54" y="146"/>
                </a:cubicBezTo>
                <a:cubicBezTo>
                  <a:pt x="54" y="146"/>
                  <a:pt x="54" y="146"/>
                  <a:pt x="54" y="146"/>
                </a:cubicBezTo>
                <a:cubicBezTo>
                  <a:pt x="54" y="145"/>
                  <a:pt x="55" y="144"/>
                  <a:pt x="55" y="144"/>
                </a:cubicBezTo>
                <a:cubicBezTo>
                  <a:pt x="56" y="144"/>
                  <a:pt x="56" y="144"/>
                  <a:pt x="57" y="144"/>
                </a:cubicBezTo>
                <a:cubicBezTo>
                  <a:pt x="57" y="144"/>
                  <a:pt x="57" y="144"/>
                  <a:pt x="58" y="144"/>
                </a:cubicBezTo>
                <a:cubicBezTo>
                  <a:pt x="57" y="144"/>
                  <a:pt x="58" y="147"/>
                  <a:pt x="58" y="147"/>
                </a:cubicBezTo>
                <a:cubicBezTo>
                  <a:pt x="58" y="147"/>
                  <a:pt x="58" y="147"/>
                  <a:pt x="58" y="146"/>
                </a:cubicBezTo>
                <a:cubicBezTo>
                  <a:pt x="57" y="147"/>
                  <a:pt x="57" y="147"/>
                  <a:pt x="57" y="147"/>
                </a:cubicBezTo>
                <a:cubicBezTo>
                  <a:pt x="57" y="147"/>
                  <a:pt x="58" y="148"/>
                  <a:pt x="58" y="147"/>
                </a:cubicBezTo>
                <a:cubicBezTo>
                  <a:pt x="58" y="146"/>
                  <a:pt x="59" y="147"/>
                  <a:pt x="59" y="147"/>
                </a:cubicBezTo>
                <a:cubicBezTo>
                  <a:pt x="60" y="147"/>
                  <a:pt x="59" y="146"/>
                  <a:pt x="60" y="145"/>
                </a:cubicBezTo>
                <a:cubicBezTo>
                  <a:pt x="60" y="145"/>
                  <a:pt x="60" y="145"/>
                  <a:pt x="60" y="145"/>
                </a:cubicBezTo>
                <a:cubicBezTo>
                  <a:pt x="60" y="145"/>
                  <a:pt x="60" y="145"/>
                  <a:pt x="60" y="144"/>
                </a:cubicBezTo>
                <a:cubicBezTo>
                  <a:pt x="61" y="145"/>
                  <a:pt x="60" y="145"/>
                  <a:pt x="61" y="145"/>
                </a:cubicBezTo>
                <a:cubicBezTo>
                  <a:pt x="61" y="145"/>
                  <a:pt x="61" y="146"/>
                  <a:pt x="61" y="146"/>
                </a:cubicBezTo>
                <a:cubicBezTo>
                  <a:pt x="61" y="146"/>
                  <a:pt x="60" y="146"/>
                  <a:pt x="60" y="146"/>
                </a:cubicBezTo>
                <a:cubicBezTo>
                  <a:pt x="60" y="147"/>
                  <a:pt x="61" y="147"/>
                  <a:pt x="61" y="147"/>
                </a:cubicBezTo>
                <a:cubicBezTo>
                  <a:pt x="61" y="147"/>
                  <a:pt x="62" y="147"/>
                  <a:pt x="62" y="147"/>
                </a:cubicBezTo>
                <a:cubicBezTo>
                  <a:pt x="62" y="146"/>
                  <a:pt x="62" y="147"/>
                  <a:pt x="62" y="147"/>
                </a:cubicBezTo>
                <a:cubicBezTo>
                  <a:pt x="62" y="147"/>
                  <a:pt x="63" y="149"/>
                  <a:pt x="64" y="148"/>
                </a:cubicBezTo>
                <a:cubicBezTo>
                  <a:pt x="64" y="148"/>
                  <a:pt x="64" y="147"/>
                  <a:pt x="63" y="147"/>
                </a:cubicBezTo>
                <a:cubicBezTo>
                  <a:pt x="63" y="147"/>
                  <a:pt x="63" y="147"/>
                  <a:pt x="63" y="147"/>
                </a:cubicBezTo>
                <a:cubicBezTo>
                  <a:pt x="62" y="146"/>
                  <a:pt x="64" y="146"/>
                  <a:pt x="64" y="145"/>
                </a:cubicBezTo>
                <a:cubicBezTo>
                  <a:pt x="64" y="144"/>
                  <a:pt x="63" y="143"/>
                  <a:pt x="64" y="143"/>
                </a:cubicBezTo>
                <a:cubicBezTo>
                  <a:pt x="65" y="143"/>
                  <a:pt x="66" y="143"/>
                  <a:pt x="66" y="144"/>
                </a:cubicBezTo>
                <a:cubicBezTo>
                  <a:pt x="66" y="144"/>
                  <a:pt x="66" y="144"/>
                  <a:pt x="67" y="145"/>
                </a:cubicBezTo>
                <a:cubicBezTo>
                  <a:pt x="67" y="145"/>
                  <a:pt x="68" y="145"/>
                  <a:pt x="69" y="145"/>
                </a:cubicBezTo>
                <a:cubicBezTo>
                  <a:pt x="69" y="145"/>
                  <a:pt x="69" y="146"/>
                  <a:pt x="70" y="146"/>
                </a:cubicBezTo>
                <a:cubicBezTo>
                  <a:pt x="70" y="146"/>
                  <a:pt x="71" y="148"/>
                  <a:pt x="71" y="148"/>
                </a:cubicBezTo>
                <a:cubicBezTo>
                  <a:pt x="72" y="147"/>
                  <a:pt x="72" y="149"/>
                  <a:pt x="71" y="148"/>
                </a:cubicBezTo>
                <a:cubicBezTo>
                  <a:pt x="72" y="150"/>
                  <a:pt x="70" y="150"/>
                  <a:pt x="70" y="151"/>
                </a:cubicBezTo>
                <a:cubicBezTo>
                  <a:pt x="69" y="152"/>
                  <a:pt x="69" y="153"/>
                  <a:pt x="69" y="154"/>
                </a:cubicBezTo>
                <a:cubicBezTo>
                  <a:pt x="69" y="154"/>
                  <a:pt x="69" y="155"/>
                  <a:pt x="69" y="155"/>
                </a:cubicBezTo>
                <a:cubicBezTo>
                  <a:pt x="69" y="155"/>
                  <a:pt x="70" y="155"/>
                  <a:pt x="70" y="155"/>
                </a:cubicBezTo>
                <a:cubicBezTo>
                  <a:pt x="70" y="155"/>
                  <a:pt x="70" y="156"/>
                  <a:pt x="70" y="156"/>
                </a:cubicBezTo>
                <a:cubicBezTo>
                  <a:pt x="70" y="156"/>
                  <a:pt x="70" y="157"/>
                  <a:pt x="70" y="157"/>
                </a:cubicBezTo>
                <a:cubicBezTo>
                  <a:pt x="70" y="158"/>
                  <a:pt x="70" y="158"/>
                  <a:pt x="70" y="159"/>
                </a:cubicBezTo>
                <a:cubicBezTo>
                  <a:pt x="70" y="159"/>
                  <a:pt x="70" y="159"/>
                  <a:pt x="70" y="159"/>
                </a:cubicBezTo>
                <a:cubicBezTo>
                  <a:pt x="71" y="160"/>
                  <a:pt x="72" y="161"/>
                  <a:pt x="72" y="161"/>
                </a:cubicBezTo>
                <a:cubicBezTo>
                  <a:pt x="73" y="162"/>
                  <a:pt x="74" y="162"/>
                  <a:pt x="74" y="163"/>
                </a:cubicBezTo>
                <a:cubicBezTo>
                  <a:pt x="76" y="164"/>
                  <a:pt x="78" y="165"/>
                  <a:pt x="80" y="165"/>
                </a:cubicBezTo>
                <a:cubicBezTo>
                  <a:pt x="81" y="165"/>
                  <a:pt x="81" y="162"/>
                  <a:pt x="82" y="162"/>
                </a:cubicBezTo>
                <a:cubicBezTo>
                  <a:pt x="84" y="162"/>
                  <a:pt x="81" y="165"/>
                  <a:pt x="82" y="166"/>
                </a:cubicBezTo>
                <a:cubicBezTo>
                  <a:pt x="82" y="166"/>
                  <a:pt x="83" y="166"/>
                  <a:pt x="83" y="167"/>
                </a:cubicBezTo>
                <a:cubicBezTo>
                  <a:pt x="83" y="168"/>
                  <a:pt x="83" y="168"/>
                  <a:pt x="84" y="168"/>
                </a:cubicBezTo>
                <a:cubicBezTo>
                  <a:pt x="84" y="168"/>
                  <a:pt x="85" y="167"/>
                  <a:pt x="85" y="166"/>
                </a:cubicBezTo>
                <a:cubicBezTo>
                  <a:pt x="85" y="166"/>
                  <a:pt x="86" y="165"/>
                  <a:pt x="86" y="164"/>
                </a:cubicBezTo>
                <a:cubicBezTo>
                  <a:pt x="87" y="163"/>
                  <a:pt x="86" y="161"/>
                  <a:pt x="85" y="159"/>
                </a:cubicBezTo>
                <a:cubicBezTo>
                  <a:pt x="85" y="159"/>
                  <a:pt x="85" y="158"/>
                  <a:pt x="85" y="158"/>
                </a:cubicBezTo>
                <a:cubicBezTo>
                  <a:pt x="85" y="158"/>
                  <a:pt x="85" y="158"/>
                  <a:pt x="85" y="158"/>
                </a:cubicBezTo>
                <a:cubicBezTo>
                  <a:pt x="85" y="158"/>
                  <a:pt x="85" y="158"/>
                  <a:pt x="85" y="158"/>
                </a:cubicBezTo>
                <a:cubicBezTo>
                  <a:pt x="84" y="157"/>
                  <a:pt x="84" y="157"/>
                  <a:pt x="84" y="157"/>
                </a:cubicBezTo>
                <a:cubicBezTo>
                  <a:pt x="84" y="157"/>
                  <a:pt x="84" y="157"/>
                  <a:pt x="84" y="156"/>
                </a:cubicBezTo>
                <a:cubicBezTo>
                  <a:pt x="84" y="156"/>
                  <a:pt x="84" y="157"/>
                  <a:pt x="84" y="157"/>
                </a:cubicBezTo>
                <a:cubicBezTo>
                  <a:pt x="83" y="157"/>
                  <a:pt x="83" y="155"/>
                  <a:pt x="83" y="155"/>
                </a:cubicBezTo>
                <a:cubicBezTo>
                  <a:pt x="83" y="154"/>
                  <a:pt x="84" y="154"/>
                  <a:pt x="84" y="153"/>
                </a:cubicBezTo>
                <a:cubicBezTo>
                  <a:pt x="84" y="153"/>
                  <a:pt x="84" y="152"/>
                  <a:pt x="84" y="152"/>
                </a:cubicBezTo>
                <a:cubicBezTo>
                  <a:pt x="85" y="152"/>
                  <a:pt x="85" y="152"/>
                  <a:pt x="85" y="151"/>
                </a:cubicBezTo>
                <a:cubicBezTo>
                  <a:pt x="85" y="151"/>
                  <a:pt x="85" y="150"/>
                  <a:pt x="85" y="150"/>
                </a:cubicBezTo>
                <a:cubicBezTo>
                  <a:pt x="85" y="150"/>
                  <a:pt x="87" y="148"/>
                  <a:pt x="87" y="148"/>
                </a:cubicBezTo>
                <a:cubicBezTo>
                  <a:pt x="87" y="149"/>
                  <a:pt x="87" y="150"/>
                  <a:pt x="87" y="150"/>
                </a:cubicBezTo>
                <a:cubicBezTo>
                  <a:pt x="88" y="151"/>
                  <a:pt x="88" y="151"/>
                  <a:pt x="88" y="152"/>
                </a:cubicBezTo>
                <a:cubicBezTo>
                  <a:pt x="89" y="152"/>
                  <a:pt x="88" y="153"/>
                  <a:pt x="89" y="153"/>
                </a:cubicBezTo>
                <a:cubicBezTo>
                  <a:pt x="89" y="154"/>
                  <a:pt x="89" y="154"/>
                  <a:pt x="90" y="154"/>
                </a:cubicBezTo>
                <a:cubicBezTo>
                  <a:pt x="90" y="155"/>
                  <a:pt x="90" y="156"/>
                  <a:pt x="90" y="158"/>
                </a:cubicBezTo>
                <a:cubicBezTo>
                  <a:pt x="90" y="159"/>
                  <a:pt x="91" y="159"/>
                  <a:pt x="91" y="160"/>
                </a:cubicBezTo>
                <a:cubicBezTo>
                  <a:pt x="92" y="160"/>
                  <a:pt x="91" y="158"/>
                  <a:pt x="91" y="157"/>
                </a:cubicBezTo>
                <a:cubicBezTo>
                  <a:pt x="91" y="156"/>
                  <a:pt x="91" y="156"/>
                  <a:pt x="91" y="155"/>
                </a:cubicBezTo>
                <a:cubicBezTo>
                  <a:pt x="91" y="155"/>
                  <a:pt x="91" y="154"/>
                  <a:pt x="90" y="153"/>
                </a:cubicBezTo>
                <a:cubicBezTo>
                  <a:pt x="91" y="154"/>
                  <a:pt x="90" y="153"/>
                  <a:pt x="91" y="153"/>
                </a:cubicBezTo>
                <a:cubicBezTo>
                  <a:pt x="91" y="153"/>
                  <a:pt x="92" y="153"/>
                  <a:pt x="92" y="154"/>
                </a:cubicBezTo>
                <a:cubicBezTo>
                  <a:pt x="92" y="154"/>
                  <a:pt x="92" y="154"/>
                  <a:pt x="92" y="155"/>
                </a:cubicBezTo>
                <a:cubicBezTo>
                  <a:pt x="92" y="155"/>
                  <a:pt x="92" y="155"/>
                  <a:pt x="92" y="154"/>
                </a:cubicBezTo>
                <a:cubicBezTo>
                  <a:pt x="92" y="154"/>
                  <a:pt x="91" y="154"/>
                  <a:pt x="92" y="153"/>
                </a:cubicBezTo>
                <a:cubicBezTo>
                  <a:pt x="92" y="152"/>
                  <a:pt x="93" y="152"/>
                  <a:pt x="93" y="152"/>
                </a:cubicBezTo>
                <a:cubicBezTo>
                  <a:pt x="93" y="151"/>
                  <a:pt x="94" y="150"/>
                  <a:pt x="94" y="150"/>
                </a:cubicBezTo>
                <a:cubicBezTo>
                  <a:pt x="95" y="149"/>
                  <a:pt x="94" y="149"/>
                  <a:pt x="94" y="149"/>
                </a:cubicBezTo>
                <a:close/>
                <a:moveTo>
                  <a:pt x="70" y="96"/>
                </a:moveTo>
                <a:cubicBezTo>
                  <a:pt x="70" y="97"/>
                  <a:pt x="70" y="97"/>
                  <a:pt x="70" y="97"/>
                </a:cubicBezTo>
                <a:cubicBezTo>
                  <a:pt x="70" y="97"/>
                  <a:pt x="71" y="97"/>
                  <a:pt x="71" y="97"/>
                </a:cubicBezTo>
                <a:cubicBezTo>
                  <a:pt x="71" y="97"/>
                  <a:pt x="72" y="97"/>
                  <a:pt x="72" y="97"/>
                </a:cubicBezTo>
                <a:cubicBezTo>
                  <a:pt x="72" y="98"/>
                  <a:pt x="72" y="98"/>
                  <a:pt x="72" y="98"/>
                </a:cubicBezTo>
                <a:cubicBezTo>
                  <a:pt x="72" y="98"/>
                  <a:pt x="72" y="98"/>
                  <a:pt x="72" y="98"/>
                </a:cubicBezTo>
                <a:cubicBezTo>
                  <a:pt x="72" y="99"/>
                  <a:pt x="73" y="98"/>
                  <a:pt x="73" y="99"/>
                </a:cubicBezTo>
                <a:cubicBezTo>
                  <a:pt x="73" y="98"/>
                  <a:pt x="73" y="99"/>
                  <a:pt x="73" y="99"/>
                </a:cubicBezTo>
                <a:cubicBezTo>
                  <a:pt x="73" y="100"/>
                  <a:pt x="74" y="100"/>
                  <a:pt x="74" y="100"/>
                </a:cubicBezTo>
                <a:cubicBezTo>
                  <a:pt x="74" y="100"/>
                  <a:pt x="75" y="100"/>
                  <a:pt x="75" y="100"/>
                </a:cubicBezTo>
                <a:cubicBezTo>
                  <a:pt x="76" y="101"/>
                  <a:pt x="75" y="101"/>
                  <a:pt x="75" y="101"/>
                </a:cubicBezTo>
                <a:cubicBezTo>
                  <a:pt x="75" y="102"/>
                  <a:pt x="74" y="102"/>
                  <a:pt x="74" y="102"/>
                </a:cubicBezTo>
                <a:cubicBezTo>
                  <a:pt x="74" y="102"/>
                  <a:pt x="74" y="102"/>
                  <a:pt x="74" y="103"/>
                </a:cubicBezTo>
                <a:cubicBezTo>
                  <a:pt x="74" y="103"/>
                  <a:pt x="74" y="103"/>
                  <a:pt x="74" y="103"/>
                </a:cubicBezTo>
                <a:cubicBezTo>
                  <a:pt x="73" y="103"/>
                  <a:pt x="74" y="104"/>
                  <a:pt x="74" y="103"/>
                </a:cubicBezTo>
                <a:cubicBezTo>
                  <a:pt x="74" y="103"/>
                  <a:pt x="75" y="103"/>
                  <a:pt x="75" y="104"/>
                </a:cubicBezTo>
                <a:cubicBezTo>
                  <a:pt x="75" y="104"/>
                  <a:pt x="75" y="105"/>
                  <a:pt x="75" y="105"/>
                </a:cubicBezTo>
                <a:cubicBezTo>
                  <a:pt x="76" y="105"/>
                  <a:pt x="76" y="105"/>
                  <a:pt x="76" y="105"/>
                </a:cubicBezTo>
                <a:cubicBezTo>
                  <a:pt x="77" y="105"/>
                  <a:pt x="77" y="106"/>
                  <a:pt x="77" y="106"/>
                </a:cubicBezTo>
                <a:cubicBezTo>
                  <a:pt x="77" y="106"/>
                  <a:pt x="78" y="107"/>
                  <a:pt x="78" y="107"/>
                </a:cubicBezTo>
                <a:cubicBezTo>
                  <a:pt x="78" y="108"/>
                  <a:pt x="78" y="107"/>
                  <a:pt x="78" y="107"/>
                </a:cubicBezTo>
                <a:cubicBezTo>
                  <a:pt x="79" y="107"/>
                  <a:pt x="79" y="108"/>
                  <a:pt x="80" y="107"/>
                </a:cubicBezTo>
                <a:cubicBezTo>
                  <a:pt x="80" y="107"/>
                  <a:pt x="80" y="107"/>
                  <a:pt x="81" y="107"/>
                </a:cubicBezTo>
                <a:cubicBezTo>
                  <a:pt x="81" y="107"/>
                  <a:pt x="81" y="106"/>
                  <a:pt x="81" y="107"/>
                </a:cubicBezTo>
                <a:cubicBezTo>
                  <a:pt x="81" y="107"/>
                  <a:pt x="81" y="107"/>
                  <a:pt x="82" y="107"/>
                </a:cubicBezTo>
                <a:cubicBezTo>
                  <a:pt x="82" y="107"/>
                  <a:pt x="82" y="109"/>
                  <a:pt x="83" y="108"/>
                </a:cubicBezTo>
                <a:cubicBezTo>
                  <a:pt x="83" y="108"/>
                  <a:pt x="82" y="106"/>
                  <a:pt x="81" y="106"/>
                </a:cubicBezTo>
                <a:cubicBezTo>
                  <a:pt x="81" y="106"/>
                  <a:pt x="81" y="106"/>
                  <a:pt x="81" y="106"/>
                </a:cubicBezTo>
                <a:cubicBezTo>
                  <a:pt x="81" y="107"/>
                  <a:pt x="81" y="106"/>
                  <a:pt x="81" y="106"/>
                </a:cubicBezTo>
                <a:cubicBezTo>
                  <a:pt x="81" y="105"/>
                  <a:pt x="81" y="105"/>
                  <a:pt x="81" y="105"/>
                </a:cubicBezTo>
                <a:cubicBezTo>
                  <a:pt x="82" y="104"/>
                  <a:pt x="81" y="103"/>
                  <a:pt x="80" y="103"/>
                </a:cubicBezTo>
                <a:cubicBezTo>
                  <a:pt x="80" y="103"/>
                  <a:pt x="79" y="101"/>
                  <a:pt x="80" y="101"/>
                </a:cubicBezTo>
                <a:cubicBezTo>
                  <a:pt x="79" y="101"/>
                  <a:pt x="80" y="100"/>
                  <a:pt x="79" y="100"/>
                </a:cubicBezTo>
                <a:cubicBezTo>
                  <a:pt x="79" y="100"/>
                  <a:pt x="79" y="100"/>
                  <a:pt x="79" y="100"/>
                </a:cubicBezTo>
                <a:cubicBezTo>
                  <a:pt x="80" y="100"/>
                  <a:pt x="79" y="99"/>
                  <a:pt x="79" y="99"/>
                </a:cubicBezTo>
                <a:cubicBezTo>
                  <a:pt x="79" y="99"/>
                  <a:pt x="79" y="97"/>
                  <a:pt x="80" y="97"/>
                </a:cubicBezTo>
                <a:cubicBezTo>
                  <a:pt x="80" y="97"/>
                  <a:pt x="79" y="97"/>
                  <a:pt x="79" y="96"/>
                </a:cubicBezTo>
                <a:cubicBezTo>
                  <a:pt x="79" y="96"/>
                  <a:pt x="79" y="95"/>
                  <a:pt x="79" y="95"/>
                </a:cubicBezTo>
                <a:cubicBezTo>
                  <a:pt x="79" y="95"/>
                  <a:pt x="79" y="94"/>
                  <a:pt x="78" y="94"/>
                </a:cubicBezTo>
                <a:cubicBezTo>
                  <a:pt x="78" y="94"/>
                  <a:pt x="78" y="94"/>
                  <a:pt x="78" y="94"/>
                </a:cubicBezTo>
                <a:cubicBezTo>
                  <a:pt x="78" y="94"/>
                  <a:pt x="78" y="94"/>
                  <a:pt x="78" y="94"/>
                </a:cubicBezTo>
                <a:cubicBezTo>
                  <a:pt x="78" y="94"/>
                  <a:pt x="78" y="94"/>
                  <a:pt x="78" y="94"/>
                </a:cubicBezTo>
                <a:cubicBezTo>
                  <a:pt x="77" y="94"/>
                  <a:pt x="77" y="94"/>
                  <a:pt x="77" y="94"/>
                </a:cubicBezTo>
                <a:cubicBezTo>
                  <a:pt x="77" y="94"/>
                  <a:pt x="77" y="93"/>
                  <a:pt x="77" y="93"/>
                </a:cubicBezTo>
                <a:cubicBezTo>
                  <a:pt x="77" y="93"/>
                  <a:pt x="76" y="92"/>
                  <a:pt x="76" y="91"/>
                </a:cubicBezTo>
                <a:cubicBezTo>
                  <a:pt x="76" y="91"/>
                  <a:pt x="75" y="91"/>
                  <a:pt x="75" y="91"/>
                </a:cubicBezTo>
                <a:cubicBezTo>
                  <a:pt x="75" y="91"/>
                  <a:pt x="75" y="92"/>
                  <a:pt x="74" y="91"/>
                </a:cubicBezTo>
                <a:cubicBezTo>
                  <a:pt x="74" y="91"/>
                  <a:pt x="74" y="91"/>
                  <a:pt x="74" y="91"/>
                </a:cubicBezTo>
                <a:cubicBezTo>
                  <a:pt x="73" y="91"/>
                  <a:pt x="73" y="91"/>
                  <a:pt x="73" y="91"/>
                </a:cubicBezTo>
                <a:cubicBezTo>
                  <a:pt x="73" y="91"/>
                  <a:pt x="72" y="92"/>
                  <a:pt x="71" y="92"/>
                </a:cubicBezTo>
                <a:cubicBezTo>
                  <a:pt x="71" y="92"/>
                  <a:pt x="70" y="91"/>
                  <a:pt x="69" y="92"/>
                </a:cubicBezTo>
                <a:cubicBezTo>
                  <a:pt x="69" y="91"/>
                  <a:pt x="67" y="91"/>
                  <a:pt x="67" y="91"/>
                </a:cubicBezTo>
                <a:cubicBezTo>
                  <a:pt x="68" y="93"/>
                  <a:pt x="68" y="94"/>
                  <a:pt x="69" y="95"/>
                </a:cubicBezTo>
                <a:cubicBezTo>
                  <a:pt x="69" y="96"/>
                  <a:pt x="69" y="96"/>
                  <a:pt x="70" y="96"/>
                </a:cubicBezTo>
                <a:close/>
                <a:moveTo>
                  <a:pt x="24" y="112"/>
                </a:moveTo>
                <a:cubicBezTo>
                  <a:pt x="24" y="112"/>
                  <a:pt x="24" y="112"/>
                  <a:pt x="24" y="112"/>
                </a:cubicBezTo>
                <a:cubicBezTo>
                  <a:pt x="24" y="112"/>
                  <a:pt x="24" y="111"/>
                  <a:pt x="24" y="111"/>
                </a:cubicBezTo>
                <a:cubicBezTo>
                  <a:pt x="24" y="110"/>
                  <a:pt x="23" y="110"/>
                  <a:pt x="23" y="110"/>
                </a:cubicBezTo>
                <a:cubicBezTo>
                  <a:pt x="22" y="110"/>
                  <a:pt x="22" y="108"/>
                  <a:pt x="23" y="108"/>
                </a:cubicBezTo>
                <a:cubicBezTo>
                  <a:pt x="23" y="108"/>
                  <a:pt x="23" y="108"/>
                  <a:pt x="23" y="108"/>
                </a:cubicBezTo>
                <a:cubicBezTo>
                  <a:pt x="22" y="108"/>
                  <a:pt x="23" y="106"/>
                  <a:pt x="23" y="106"/>
                </a:cubicBezTo>
                <a:cubicBezTo>
                  <a:pt x="23" y="105"/>
                  <a:pt x="23" y="105"/>
                  <a:pt x="23" y="105"/>
                </a:cubicBezTo>
                <a:cubicBezTo>
                  <a:pt x="22" y="104"/>
                  <a:pt x="22" y="104"/>
                  <a:pt x="22" y="104"/>
                </a:cubicBezTo>
                <a:cubicBezTo>
                  <a:pt x="22" y="104"/>
                  <a:pt x="22" y="105"/>
                  <a:pt x="22" y="105"/>
                </a:cubicBezTo>
                <a:cubicBezTo>
                  <a:pt x="22" y="105"/>
                  <a:pt x="22" y="105"/>
                  <a:pt x="22" y="105"/>
                </a:cubicBezTo>
                <a:cubicBezTo>
                  <a:pt x="22" y="106"/>
                  <a:pt x="21" y="106"/>
                  <a:pt x="22" y="107"/>
                </a:cubicBezTo>
                <a:cubicBezTo>
                  <a:pt x="22" y="107"/>
                  <a:pt x="22" y="108"/>
                  <a:pt x="22" y="108"/>
                </a:cubicBezTo>
                <a:cubicBezTo>
                  <a:pt x="22" y="108"/>
                  <a:pt x="21" y="107"/>
                  <a:pt x="21" y="107"/>
                </a:cubicBezTo>
                <a:cubicBezTo>
                  <a:pt x="21" y="107"/>
                  <a:pt x="21" y="108"/>
                  <a:pt x="21" y="108"/>
                </a:cubicBezTo>
                <a:cubicBezTo>
                  <a:pt x="21" y="108"/>
                  <a:pt x="20" y="108"/>
                  <a:pt x="21" y="109"/>
                </a:cubicBezTo>
                <a:cubicBezTo>
                  <a:pt x="21" y="109"/>
                  <a:pt x="21" y="109"/>
                  <a:pt x="21" y="109"/>
                </a:cubicBezTo>
                <a:cubicBezTo>
                  <a:pt x="21" y="110"/>
                  <a:pt x="22" y="110"/>
                  <a:pt x="22" y="110"/>
                </a:cubicBezTo>
                <a:cubicBezTo>
                  <a:pt x="22" y="110"/>
                  <a:pt x="22" y="110"/>
                  <a:pt x="22" y="111"/>
                </a:cubicBezTo>
                <a:cubicBezTo>
                  <a:pt x="23" y="112"/>
                  <a:pt x="22" y="111"/>
                  <a:pt x="21" y="111"/>
                </a:cubicBezTo>
                <a:cubicBezTo>
                  <a:pt x="21" y="110"/>
                  <a:pt x="21" y="110"/>
                  <a:pt x="21" y="110"/>
                </a:cubicBezTo>
                <a:cubicBezTo>
                  <a:pt x="21" y="110"/>
                  <a:pt x="20" y="109"/>
                  <a:pt x="20" y="109"/>
                </a:cubicBezTo>
                <a:cubicBezTo>
                  <a:pt x="20" y="109"/>
                  <a:pt x="20" y="109"/>
                  <a:pt x="20" y="109"/>
                </a:cubicBezTo>
                <a:cubicBezTo>
                  <a:pt x="20" y="109"/>
                  <a:pt x="20" y="109"/>
                  <a:pt x="20" y="109"/>
                </a:cubicBezTo>
                <a:cubicBezTo>
                  <a:pt x="20" y="109"/>
                  <a:pt x="20" y="109"/>
                  <a:pt x="20" y="110"/>
                </a:cubicBezTo>
                <a:cubicBezTo>
                  <a:pt x="20" y="110"/>
                  <a:pt x="20" y="110"/>
                  <a:pt x="20" y="110"/>
                </a:cubicBezTo>
                <a:cubicBezTo>
                  <a:pt x="20" y="110"/>
                  <a:pt x="21" y="111"/>
                  <a:pt x="21" y="111"/>
                </a:cubicBezTo>
                <a:cubicBezTo>
                  <a:pt x="21" y="111"/>
                  <a:pt x="21" y="111"/>
                  <a:pt x="21" y="112"/>
                </a:cubicBezTo>
                <a:cubicBezTo>
                  <a:pt x="21" y="112"/>
                  <a:pt x="21" y="113"/>
                  <a:pt x="20" y="113"/>
                </a:cubicBezTo>
                <a:cubicBezTo>
                  <a:pt x="21" y="114"/>
                  <a:pt x="20" y="115"/>
                  <a:pt x="20" y="115"/>
                </a:cubicBezTo>
                <a:cubicBezTo>
                  <a:pt x="19" y="115"/>
                  <a:pt x="19" y="114"/>
                  <a:pt x="19" y="114"/>
                </a:cubicBezTo>
                <a:cubicBezTo>
                  <a:pt x="19" y="114"/>
                  <a:pt x="19" y="115"/>
                  <a:pt x="19" y="115"/>
                </a:cubicBezTo>
                <a:cubicBezTo>
                  <a:pt x="19" y="115"/>
                  <a:pt x="19" y="115"/>
                  <a:pt x="18" y="115"/>
                </a:cubicBezTo>
                <a:cubicBezTo>
                  <a:pt x="19" y="115"/>
                  <a:pt x="18" y="115"/>
                  <a:pt x="18" y="115"/>
                </a:cubicBezTo>
                <a:cubicBezTo>
                  <a:pt x="18" y="116"/>
                  <a:pt x="18" y="115"/>
                  <a:pt x="19" y="115"/>
                </a:cubicBezTo>
                <a:cubicBezTo>
                  <a:pt x="19" y="116"/>
                  <a:pt x="18" y="116"/>
                  <a:pt x="18" y="116"/>
                </a:cubicBezTo>
                <a:cubicBezTo>
                  <a:pt x="19" y="117"/>
                  <a:pt x="18" y="117"/>
                  <a:pt x="17" y="117"/>
                </a:cubicBezTo>
                <a:cubicBezTo>
                  <a:pt x="16" y="117"/>
                  <a:pt x="17" y="119"/>
                  <a:pt x="17" y="119"/>
                </a:cubicBezTo>
                <a:cubicBezTo>
                  <a:pt x="16" y="119"/>
                  <a:pt x="16" y="119"/>
                  <a:pt x="16" y="119"/>
                </a:cubicBezTo>
                <a:cubicBezTo>
                  <a:pt x="17" y="119"/>
                  <a:pt x="16" y="118"/>
                  <a:pt x="16" y="118"/>
                </a:cubicBezTo>
                <a:cubicBezTo>
                  <a:pt x="16" y="118"/>
                  <a:pt x="16" y="119"/>
                  <a:pt x="15" y="119"/>
                </a:cubicBezTo>
                <a:cubicBezTo>
                  <a:pt x="16" y="120"/>
                  <a:pt x="15" y="121"/>
                  <a:pt x="15" y="121"/>
                </a:cubicBezTo>
                <a:cubicBezTo>
                  <a:pt x="14" y="122"/>
                  <a:pt x="14" y="122"/>
                  <a:pt x="13" y="123"/>
                </a:cubicBezTo>
                <a:cubicBezTo>
                  <a:pt x="13" y="123"/>
                  <a:pt x="13" y="123"/>
                  <a:pt x="13" y="123"/>
                </a:cubicBezTo>
                <a:cubicBezTo>
                  <a:pt x="13" y="123"/>
                  <a:pt x="13" y="123"/>
                  <a:pt x="13" y="124"/>
                </a:cubicBezTo>
                <a:cubicBezTo>
                  <a:pt x="12" y="124"/>
                  <a:pt x="12" y="125"/>
                  <a:pt x="11" y="125"/>
                </a:cubicBezTo>
                <a:cubicBezTo>
                  <a:pt x="11" y="126"/>
                  <a:pt x="11" y="126"/>
                  <a:pt x="11" y="126"/>
                </a:cubicBezTo>
                <a:cubicBezTo>
                  <a:pt x="11" y="126"/>
                  <a:pt x="11" y="126"/>
                  <a:pt x="11" y="126"/>
                </a:cubicBezTo>
                <a:cubicBezTo>
                  <a:pt x="11" y="127"/>
                  <a:pt x="9" y="128"/>
                  <a:pt x="10" y="127"/>
                </a:cubicBezTo>
                <a:cubicBezTo>
                  <a:pt x="9" y="128"/>
                  <a:pt x="9" y="128"/>
                  <a:pt x="8" y="128"/>
                </a:cubicBezTo>
                <a:cubicBezTo>
                  <a:pt x="8" y="128"/>
                  <a:pt x="8" y="129"/>
                  <a:pt x="8" y="129"/>
                </a:cubicBezTo>
                <a:cubicBezTo>
                  <a:pt x="7" y="130"/>
                  <a:pt x="7" y="129"/>
                  <a:pt x="6" y="130"/>
                </a:cubicBezTo>
                <a:cubicBezTo>
                  <a:pt x="6" y="131"/>
                  <a:pt x="5" y="131"/>
                  <a:pt x="5" y="132"/>
                </a:cubicBezTo>
                <a:cubicBezTo>
                  <a:pt x="5" y="132"/>
                  <a:pt x="5" y="132"/>
                  <a:pt x="5" y="133"/>
                </a:cubicBezTo>
                <a:cubicBezTo>
                  <a:pt x="4" y="133"/>
                  <a:pt x="4" y="133"/>
                  <a:pt x="3" y="134"/>
                </a:cubicBezTo>
                <a:cubicBezTo>
                  <a:pt x="3" y="134"/>
                  <a:pt x="3" y="135"/>
                  <a:pt x="3" y="135"/>
                </a:cubicBezTo>
                <a:cubicBezTo>
                  <a:pt x="3" y="135"/>
                  <a:pt x="3" y="135"/>
                  <a:pt x="3" y="135"/>
                </a:cubicBezTo>
                <a:cubicBezTo>
                  <a:pt x="3" y="136"/>
                  <a:pt x="2" y="137"/>
                  <a:pt x="2" y="137"/>
                </a:cubicBezTo>
                <a:cubicBezTo>
                  <a:pt x="2" y="138"/>
                  <a:pt x="3" y="137"/>
                  <a:pt x="3" y="137"/>
                </a:cubicBezTo>
                <a:cubicBezTo>
                  <a:pt x="3" y="137"/>
                  <a:pt x="4" y="136"/>
                  <a:pt x="4" y="136"/>
                </a:cubicBezTo>
                <a:cubicBezTo>
                  <a:pt x="4" y="136"/>
                  <a:pt x="5" y="136"/>
                  <a:pt x="5" y="136"/>
                </a:cubicBezTo>
                <a:cubicBezTo>
                  <a:pt x="5" y="136"/>
                  <a:pt x="6" y="135"/>
                  <a:pt x="6" y="135"/>
                </a:cubicBezTo>
                <a:cubicBezTo>
                  <a:pt x="6" y="134"/>
                  <a:pt x="6" y="134"/>
                  <a:pt x="6" y="134"/>
                </a:cubicBezTo>
                <a:cubicBezTo>
                  <a:pt x="7" y="134"/>
                  <a:pt x="8" y="134"/>
                  <a:pt x="8" y="133"/>
                </a:cubicBezTo>
                <a:cubicBezTo>
                  <a:pt x="9" y="133"/>
                  <a:pt x="9" y="132"/>
                  <a:pt x="9" y="132"/>
                </a:cubicBezTo>
                <a:cubicBezTo>
                  <a:pt x="10" y="132"/>
                  <a:pt x="10" y="132"/>
                  <a:pt x="10" y="131"/>
                </a:cubicBezTo>
                <a:cubicBezTo>
                  <a:pt x="11" y="131"/>
                  <a:pt x="11" y="130"/>
                  <a:pt x="11" y="129"/>
                </a:cubicBezTo>
                <a:cubicBezTo>
                  <a:pt x="11" y="129"/>
                  <a:pt x="11" y="129"/>
                  <a:pt x="12" y="129"/>
                </a:cubicBezTo>
                <a:cubicBezTo>
                  <a:pt x="12" y="128"/>
                  <a:pt x="13" y="129"/>
                  <a:pt x="13" y="128"/>
                </a:cubicBezTo>
                <a:cubicBezTo>
                  <a:pt x="14" y="128"/>
                  <a:pt x="14" y="127"/>
                  <a:pt x="14" y="127"/>
                </a:cubicBezTo>
                <a:cubicBezTo>
                  <a:pt x="15" y="127"/>
                  <a:pt x="15" y="126"/>
                  <a:pt x="15" y="126"/>
                </a:cubicBezTo>
                <a:cubicBezTo>
                  <a:pt x="15" y="125"/>
                  <a:pt x="16" y="125"/>
                  <a:pt x="16" y="124"/>
                </a:cubicBezTo>
                <a:cubicBezTo>
                  <a:pt x="16" y="124"/>
                  <a:pt x="17" y="122"/>
                  <a:pt x="16" y="123"/>
                </a:cubicBezTo>
                <a:cubicBezTo>
                  <a:pt x="16" y="123"/>
                  <a:pt x="16" y="122"/>
                  <a:pt x="16" y="122"/>
                </a:cubicBezTo>
                <a:cubicBezTo>
                  <a:pt x="16" y="122"/>
                  <a:pt x="16" y="122"/>
                  <a:pt x="16" y="122"/>
                </a:cubicBezTo>
                <a:cubicBezTo>
                  <a:pt x="16" y="123"/>
                  <a:pt x="17" y="122"/>
                  <a:pt x="17" y="122"/>
                </a:cubicBezTo>
                <a:cubicBezTo>
                  <a:pt x="17" y="122"/>
                  <a:pt x="17" y="121"/>
                  <a:pt x="16" y="121"/>
                </a:cubicBezTo>
                <a:cubicBezTo>
                  <a:pt x="16" y="119"/>
                  <a:pt x="19" y="119"/>
                  <a:pt x="20" y="119"/>
                </a:cubicBezTo>
                <a:cubicBezTo>
                  <a:pt x="21" y="119"/>
                  <a:pt x="21" y="118"/>
                  <a:pt x="21" y="117"/>
                </a:cubicBezTo>
                <a:cubicBezTo>
                  <a:pt x="21" y="116"/>
                  <a:pt x="22" y="115"/>
                  <a:pt x="23" y="115"/>
                </a:cubicBezTo>
                <a:cubicBezTo>
                  <a:pt x="24" y="115"/>
                  <a:pt x="24" y="115"/>
                  <a:pt x="24" y="115"/>
                </a:cubicBezTo>
                <a:cubicBezTo>
                  <a:pt x="24" y="115"/>
                  <a:pt x="25" y="114"/>
                  <a:pt x="25" y="114"/>
                </a:cubicBezTo>
                <a:cubicBezTo>
                  <a:pt x="26" y="114"/>
                  <a:pt x="24" y="113"/>
                  <a:pt x="24" y="112"/>
                </a:cubicBezTo>
                <a:cubicBezTo>
                  <a:pt x="25" y="112"/>
                  <a:pt x="24" y="112"/>
                  <a:pt x="24" y="112"/>
                </a:cubicBezTo>
                <a:close/>
                <a:moveTo>
                  <a:pt x="29" y="96"/>
                </a:moveTo>
                <a:cubicBezTo>
                  <a:pt x="29" y="96"/>
                  <a:pt x="28" y="95"/>
                  <a:pt x="28" y="95"/>
                </a:cubicBezTo>
                <a:cubicBezTo>
                  <a:pt x="28" y="95"/>
                  <a:pt x="28" y="96"/>
                  <a:pt x="28" y="96"/>
                </a:cubicBezTo>
                <a:cubicBezTo>
                  <a:pt x="28" y="96"/>
                  <a:pt x="28" y="96"/>
                  <a:pt x="27" y="96"/>
                </a:cubicBezTo>
                <a:cubicBezTo>
                  <a:pt x="27" y="96"/>
                  <a:pt x="27" y="96"/>
                  <a:pt x="27" y="95"/>
                </a:cubicBezTo>
                <a:cubicBezTo>
                  <a:pt x="27" y="95"/>
                  <a:pt x="27" y="95"/>
                  <a:pt x="27" y="95"/>
                </a:cubicBezTo>
                <a:cubicBezTo>
                  <a:pt x="27" y="95"/>
                  <a:pt x="27" y="95"/>
                  <a:pt x="26" y="95"/>
                </a:cubicBezTo>
                <a:cubicBezTo>
                  <a:pt x="26" y="94"/>
                  <a:pt x="26" y="94"/>
                  <a:pt x="25" y="94"/>
                </a:cubicBezTo>
                <a:cubicBezTo>
                  <a:pt x="25" y="93"/>
                  <a:pt x="25" y="94"/>
                  <a:pt x="25" y="94"/>
                </a:cubicBezTo>
                <a:cubicBezTo>
                  <a:pt x="25" y="94"/>
                  <a:pt x="25" y="95"/>
                  <a:pt x="25" y="96"/>
                </a:cubicBezTo>
                <a:cubicBezTo>
                  <a:pt x="25" y="95"/>
                  <a:pt x="26" y="96"/>
                  <a:pt x="26" y="96"/>
                </a:cubicBezTo>
                <a:cubicBezTo>
                  <a:pt x="26" y="97"/>
                  <a:pt x="27" y="98"/>
                  <a:pt x="27" y="97"/>
                </a:cubicBezTo>
                <a:cubicBezTo>
                  <a:pt x="27" y="97"/>
                  <a:pt x="27" y="98"/>
                  <a:pt x="27" y="98"/>
                </a:cubicBezTo>
                <a:cubicBezTo>
                  <a:pt x="28" y="98"/>
                  <a:pt x="28" y="97"/>
                  <a:pt x="27" y="97"/>
                </a:cubicBezTo>
                <a:cubicBezTo>
                  <a:pt x="28" y="97"/>
                  <a:pt x="28" y="97"/>
                  <a:pt x="28" y="97"/>
                </a:cubicBezTo>
                <a:cubicBezTo>
                  <a:pt x="28" y="97"/>
                  <a:pt x="28" y="97"/>
                  <a:pt x="28" y="97"/>
                </a:cubicBezTo>
                <a:cubicBezTo>
                  <a:pt x="29" y="97"/>
                  <a:pt x="30" y="97"/>
                  <a:pt x="30" y="97"/>
                </a:cubicBezTo>
                <a:cubicBezTo>
                  <a:pt x="30" y="97"/>
                  <a:pt x="29" y="97"/>
                  <a:pt x="29" y="97"/>
                </a:cubicBezTo>
                <a:cubicBezTo>
                  <a:pt x="29" y="97"/>
                  <a:pt x="29" y="96"/>
                  <a:pt x="29" y="96"/>
                </a:cubicBezTo>
                <a:close/>
                <a:moveTo>
                  <a:pt x="65" y="81"/>
                </a:moveTo>
                <a:cubicBezTo>
                  <a:pt x="65" y="80"/>
                  <a:pt x="66" y="80"/>
                  <a:pt x="66" y="80"/>
                </a:cubicBezTo>
                <a:cubicBezTo>
                  <a:pt x="66" y="80"/>
                  <a:pt x="66" y="79"/>
                  <a:pt x="67" y="79"/>
                </a:cubicBezTo>
                <a:cubicBezTo>
                  <a:pt x="67" y="79"/>
                  <a:pt x="67" y="79"/>
                  <a:pt x="67" y="79"/>
                </a:cubicBezTo>
                <a:cubicBezTo>
                  <a:pt x="67" y="78"/>
                  <a:pt x="67" y="78"/>
                  <a:pt x="67" y="78"/>
                </a:cubicBezTo>
                <a:cubicBezTo>
                  <a:pt x="67" y="77"/>
                  <a:pt x="67" y="77"/>
                  <a:pt x="66" y="77"/>
                </a:cubicBezTo>
                <a:cubicBezTo>
                  <a:pt x="66" y="77"/>
                  <a:pt x="66" y="76"/>
                  <a:pt x="66" y="76"/>
                </a:cubicBezTo>
                <a:cubicBezTo>
                  <a:pt x="66" y="76"/>
                  <a:pt x="65" y="74"/>
                  <a:pt x="64" y="75"/>
                </a:cubicBezTo>
                <a:cubicBezTo>
                  <a:pt x="64" y="75"/>
                  <a:pt x="64" y="75"/>
                  <a:pt x="64" y="75"/>
                </a:cubicBezTo>
                <a:cubicBezTo>
                  <a:pt x="64" y="76"/>
                  <a:pt x="64" y="76"/>
                  <a:pt x="64" y="77"/>
                </a:cubicBezTo>
                <a:cubicBezTo>
                  <a:pt x="64" y="77"/>
                  <a:pt x="64" y="78"/>
                  <a:pt x="64" y="78"/>
                </a:cubicBezTo>
                <a:cubicBezTo>
                  <a:pt x="64" y="79"/>
                  <a:pt x="63" y="79"/>
                  <a:pt x="63" y="79"/>
                </a:cubicBezTo>
                <a:cubicBezTo>
                  <a:pt x="63" y="80"/>
                  <a:pt x="64" y="80"/>
                  <a:pt x="64" y="80"/>
                </a:cubicBezTo>
                <a:cubicBezTo>
                  <a:pt x="64" y="80"/>
                  <a:pt x="65" y="81"/>
                  <a:pt x="65" y="81"/>
                </a:cubicBezTo>
                <a:close/>
                <a:moveTo>
                  <a:pt x="83" y="119"/>
                </a:moveTo>
                <a:cubicBezTo>
                  <a:pt x="83" y="118"/>
                  <a:pt x="83" y="117"/>
                  <a:pt x="82" y="116"/>
                </a:cubicBezTo>
                <a:cubicBezTo>
                  <a:pt x="83" y="117"/>
                  <a:pt x="83" y="115"/>
                  <a:pt x="83" y="114"/>
                </a:cubicBezTo>
                <a:cubicBezTo>
                  <a:pt x="82" y="114"/>
                  <a:pt x="82" y="115"/>
                  <a:pt x="82" y="115"/>
                </a:cubicBezTo>
                <a:cubicBezTo>
                  <a:pt x="82" y="116"/>
                  <a:pt x="82" y="115"/>
                  <a:pt x="82" y="115"/>
                </a:cubicBezTo>
                <a:cubicBezTo>
                  <a:pt x="82" y="115"/>
                  <a:pt x="81" y="116"/>
                  <a:pt x="81" y="116"/>
                </a:cubicBezTo>
                <a:cubicBezTo>
                  <a:pt x="81" y="116"/>
                  <a:pt x="82" y="117"/>
                  <a:pt x="82" y="117"/>
                </a:cubicBezTo>
                <a:cubicBezTo>
                  <a:pt x="82" y="117"/>
                  <a:pt x="81" y="117"/>
                  <a:pt x="81" y="117"/>
                </a:cubicBezTo>
                <a:cubicBezTo>
                  <a:pt x="81" y="117"/>
                  <a:pt x="81" y="117"/>
                  <a:pt x="82" y="117"/>
                </a:cubicBezTo>
                <a:cubicBezTo>
                  <a:pt x="81" y="117"/>
                  <a:pt x="82" y="120"/>
                  <a:pt x="82" y="118"/>
                </a:cubicBezTo>
                <a:cubicBezTo>
                  <a:pt x="82" y="119"/>
                  <a:pt x="82" y="119"/>
                  <a:pt x="82" y="119"/>
                </a:cubicBezTo>
                <a:cubicBezTo>
                  <a:pt x="82" y="119"/>
                  <a:pt x="82" y="120"/>
                  <a:pt x="83" y="119"/>
                </a:cubicBezTo>
                <a:cubicBezTo>
                  <a:pt x="83" y="120"/>
                  <a:pt x="83" y="120"/>
                  <a:pt x="82" y="120"/>
                </a:cubicBezTo>
                <a:cubicBezTo>
                  <a:pt x="83" y="120"/>
                  <a:pt x="83" y="120"/>
                  <a:pt x="83" y="121"/>
                </a:cubicBezTo>
                <a:cubicBezTo>
                  <a:pt x="83" y="120"/>
                  <a:pt x="82" y="121"/>
                  <a:pt x="82" y="121"/>
                </a:cubicBezTo>
                <a:cubicBezTo>
                  <a:pt x="83" y="121"/>
                  <a:pt x="83" y="121"/>
                  <a:pt x="83" y="121"/>
                </a:cubicBezTo>
                <a:cubicBezTo>
                  <a:pt x="83" y="121"/>
                  <a:pt x="84" y="121"/>
                  <a:pt x="84" y="121"/>
                </a:cubicBezTo>
                <a:cubicBezTo>
                  <a:pt x="83" y="120"/>
                  <a:pt x="83" y="120"/>
                  <a:pt x="83" y="120"/>
                </a:cubicBezTo>
                <a:cubicBezTo>
                  <a:pt x="83" y="120"/>
                  <a:pt x="83" y="119"/>
                  <a:pt x="83" y="119"/>
                </a:cubicBezTo>
                <a:close/>
                <a:moveTo>
                  <a:pt x="58" y="97"/>
                </a:moveTo>
                <a:cubicBezTo>
                  <a:pt x="59" y="96"/>
                  <a:pt x="59" y="95"/>
                  <a:pt x="60" y="95"/>
                </a:cubicBezTo>
                <a:cubicBezTo>
                  <a:pt x="60" y="95"/>
                  <a:pt x="61" y="95"/>
                  <a:pt x="61" y="96"/>
                </a:cubicBezTo>
                <a:cubicBezTo>
                  <a:pt x="61" y="96"/>
                  <a:pt x="61" y="97"/>
                  <a:pt x="62" y="97"/>
                </a:cubicBezTo>
                <a:cubicBezTo>
                  <a:pt x="61" y="97"/>
                  <a:pt x="62" y="97"/>
                  <a:pt x="63" y="98"/>
                </a:cubicBezTo>
                <a:cubicBezTo>
                  <a:pt x="62" y="98"/>
                  <a:pt x="63" y="98"/>
                  <a:pt x="64" y="99"/>
                </a:cubicBezTo>
                <a:cubicBezTo>
                  <a:pt x="65" y="99"/>
                  <a:pt x="65" y="100"/>
                  <a:pt x="66" y="101"/>
                </a:cubicBezTo>
                <a:cubicBezTo>
                  <a:pt x="67" y="100"/>
                  <a:pt x="65" y="98"/>
                  <a:pt x="65" y="97"/>
                </a:cubicBezTo>
                <a:cubicBezTo>
                  <a:pt x="65" y="98"/>
                  <a:pt x="65" y="98"/>
                  <a:pt x="66" y="98"/>
                </a:cubicBezTo>
                <a:cubicBezTo>
                  <a:pt x="66" y="97"/>
                  <a:pt x="65" y="97"/>
                  <a:pt x="65" y="96"/>
                </a:cubicBezTo>
                <a:cubicBezTo>
                  <a:pt x="64" y="96"/>
                  <a:pt x="64" y="95"/>
                  <a:pt x="64" y="95"/>
                </a:cubicBezTo>
                <a:cubicBezTo>
                  <a:pt x="64" y="95"/>
                  <a:pt x="63" y="95"/>
                  <a:pt x="63" y="95"/>
                </a:cubicBezTo>
                <a:cubicBezTo>
                  <a:pt x="63" y="95"/>
                  <a:pt x="63" y="95"/>
                  <a:pt x="63" y="95"/>
                </a:cubicBezTo>
                <a:cubicBezTo>
                  <a:pt x="62" y="95"/>
                  <a:pt x="62" y="93"/>
                  <a:pt x="61" y="93"/>
                </a:cubicBezTo>
                <a:cubicBezTo>
                  <a:pt x="61" y="93"/>
                  <a:pt x="60" y="92"/>
                  <a:pt x="59" y="92"/>
                </a:cubicBezTo>
                <a:cubicBezTo>
                  <a:pt x="59" y="92"/>
                  <a:pt x="58" y="92"/>
                  <a:pt x="58" y="92"/>
                </a:cubicBezTo>
                <a:cubicBezTo>
                  <a:pt x="59" y="92"/>
                  <a:pt x="58" y="93"/>
                  <a:pt x="58" y="93"/>
                </a:cubicBezTo>
                <a:cubicBezTo>
                  <a:pt x="58" y="93"/>
                  <a:pt x="58" y="91"/>
                  <a:pt x="58" y="91"/>
                </a:cubicBezTo>
                <a:cubicBezTo>
                  <a:pt x="58" y="91"/>
                  <a:pt x="57" y="90"/>
                  <a:pt x="57" y="91"/>
                </a:cubicBezTo>
                <a:cubicBezTo>
                  <a:pt x="57" y="91"/>
                  <a:pt x="57" y="92"/>
                  <a:pt x="57" y="92"/>
                </a:cubicBezTo>
                <a:cubicBezTo>
                  <a:pt x="58" y="93"/>
                  <a:pt x="57" y="94"/>
                  <a:pt x="57" y="94"/>
                </a:cubicBezTo>
                <a:cubicBezTo>
                  <a:pt x="57" y="95"/>
                  <a:pt x="58" y="95"/>
                  <a:pt x="58" y="95"/>
                </a:cubicBezTo>
                <a:cubicBezTo>
                  <a:pt x="58" y="95"/>
                  <a:pt x="58" y="96"/>
                  <a:pt x="57" y="96"/>
                </a:cubicBezTo>
                <a:cubicBezTo>
                  <a:pt x="57" y="97"/>
                  <a:pt x="57" y="98"/>
                  <a:pt x="57" y="98"/>
                </a:cubicBezTo>
                <a:cubicBezTo>
                  <a:pt x="57" y="99"/>
                  <a:pt x="58" y="97"/>
                  <a:pt x="58" y="97"/>
                </a:cubicBezTo>
                <a:close/>
                <a:moveTo>
                  <a:pt x="27" y="99"/>
                </a:moveTo>
                <a:cubicBezTo>
                  <a:pt x="27" y="99"/>
                  <a:pt x="27" y="99"/>
                  <a:pt x="26" y="98"/>
                </a:cubicBezTo>
                <a:cubicBezTo>
                  <a:pt x="27" y="98"/>
                  <a:pt x="27" y="98"/>
                  <a:pt x="27" y="98"/>
                </a:cubicBezTo>
                <a:cubicBezTo>
                  <a:pt x="27" y="98"/>
                  <a:pt x="26" y="98"/>
                  <a:pt x="26" y="98"/>
                </a:cubicBezTo>
                <a:cubicBezTo>
                  <a:pt x="26" y="98"/>
                  <a:pt x="25" y="97"/>
                  <a:pt x="25" y="98"/>
                </a:cubicBezTo>
                <a:cubicBezTo>
                  <a:pt x="25" y="98"/>
                  <a:pt x="25" y="98"/>
                  <a:pt x="25" y="98"/>
                </a:cubicBezTo>
                <a:cubicBezTo>
                  <a:pt x="25" y="98"/>
                  <a:pt x="26" y="100"/>
                  <a:pt x="26" y="100"/>
                </a:cubicBezTo>
                <a:cubicBezTo>
                  <a:pt x="26" y="100"/>
                  <a:pt x="26" y="100"/>
                  <a:pt x="26" y="100"/>
                </a:cubicBezTo>
                <a:cubicBezTo>
                  <a:pt x="27" y="100"/>
                  <a:pt x="26" y="101"/>
                  <a:pt x="26" y="101"/>
                </a:cubicBezTo>
                <a:cubicBezTo>
                  <a:pt x="26" y="101"/>
                  <a:pt x="27" y="101"/>
                  <a:pt x="27" y="101"/>
                </a:cubicBezTo>
                <a:cubicBezTo>
                  <a:pt x="27" y="101"/>
                  <a:pt x="27" y="100"/>
                  <a:pt x="27" y="100"/>
                </a:cubicBezTo>
                <a:cubicBezTo>
                  <a:pt x="27" y="100"/>
                  <a:pt x="27" y="99"/>
                  <a:pt x="27" y="99"/>
                </a:cubicBezTo>
                <a:cubicBezTo>
                  <a:pt x="27" y="99"/>
                  <a:pt x="27" y="99"/>
                  <a:pt x="27" y="99"/>
                </a:cubicBezTo>
                <a:close/>
                <a:moveTo>
                  <a:pt x="66" y="124"/>
                </a:moveTo>
                <a:cubicBezTo>
                  <a:pt x="67" y="124"/>
                  <a:pt x="68" y="124"/>
                  <a:pt x="68" y="124"/>
                </a:cubicBezTo>
                <a:cubicBezTo>
                  <a:pt x="68" y="124"/>
                  <a:pt x="69" y="124"/>
                  <a:pt x="69" y="124"/>
                </a:cubicBezTo>
                <a:cubicBezTo>
                  <a:pt x="70" y="124"/>
                  <a:pt x="71" y="124"/>
                  <a:pt x="71" y="123"/>
                </a:cubicBezTo>
                <a:cubicBezTo>
                  <a:pt x="71" y="122"/>
                  <a:pt x="73" y="122"/>
                  <a:pt x="73" y="122"/>
                </a:cubicBezTo>
                <a:cubicBezTo>
                  <a:pt x="74" y="122"/>
                  <a:pt x="72" y="121"/>
                  <a:pt x="72" y="121"/>
                </a:cubicBezTo>
                <a:cubicBezTo>
                  <a:pt x="73" y="121"/>
                  <a:pt x="73" y="121"/>
                  <a:pt x="73" y="120"/>
                </a:cubicBezTo>
                <a:cubicBezTo>
                  <a:pt x="73" y="120"/>
                  <a:pt x="72" y="119"/>
                  <a:pt x="73" y="120"/>
                </a:cubicBezTo>
                <a:cubicBezTo>
                  <a:pt x="73" y="119"/>
                  <a:pt x="72" y="119"/>
                  <a:pt x="71" y="119"/>
                </a:cubicBezTo>
                <a:cubicBezTo>
                  <a:pt x="71" y="118"/>
                  <a:pt x="71" y="118"/>
                  <a:pt x="71" y="118"/>
                </a:cubicBezTo>
                <a:cubicBezTo>
                  <a:pt x="71" y="118"/>
                  <a:pt x="71" y="118"/>
                  <a:pt x="71" y="118"/>
                </a:cubicBezTo>
                <a:cubicBezTo>
                  <a:pt x="70" y="118"/>
                  <a:pt x="70" y="118"/>
                  <a:pt x="70" y="118"/>
                </a:cubicBezTo>
                <a:cubicBezTo>
                  <a:pt x="70" y="117"/>
                  <a:pt x="70" y="118"/>
                  <a:pt x="69" y="118"/>
                </a:cubicBezTo>
                <a:cubicBezTo>
                  <a:pt x="69" y="118"/>
                  <a:pt x="68" y="118"/>
                  <a:pt x="68" y="118"/>
                </a:cubicBezTo>
                <a:cubicBezTo>
                  <a:pt x="68" y="118"/>
                  <a:pt x="68" y="119"/>
                  <a:pt x="68" y="119"/>
                </a:cubicBezTo>
                <a:cubicBezTo>
                  <a:pt x="68" y="119"/>
                  <a:pt x="68" y="119"/>
                  <a:pt x="68" y="119"/>
                </a:cubicBezTo>
                <a:cubicBezTo>
                  <a:pt x="67" y="120"/>
                  <a:pt x="67" y="120"/>
                  <a:pt x="67" y="120"/>
                </a:cubicBezTo>
                <a:cubicBezTo>
                  <a:pt x="66" y="120"/>
                  <a:pt x="66" y="120"/>
                  <a:pt x="66" y="121"/>
                </a:cubicBezTo>
                <a:cubicBezTo>
                  <a:pt x="66" y="121"/>
                  <a:pt x="65" y="121"/>
                  <a:pt x="65" y="121"/>
                </a:cubicBezTo>
                <a:cubicBezTo>
                  <a:pt x="65" y="121"/>
                  <a:pt x="65" y="122"/>
                  <a:pt x="65" y="122"/>
                </a:cubicBezTo>
                <a:cubicBezTo>
                  <a:pt x="65" y="122"/>
                  <a:pt x="66" y="122"/>
                  <a:pt x="66" y="123"/>
                </a:cubicBezTo>
                <a:cubicBezTo>
                  <a:pt x="66" y="123"/>
                  <a:pt x="66" y="123"/>
                  <a:pt x="66" y="124"/>
                </a:cubicBezTo>
                <a:close/>
                <a:moveTo>
                  <a:pt x="78" y="118"/>
                </a:moveTo>
                <a:cubicBezTo>
                  <a:pt x="78" y="117"/>
                  <a:pt x="77" y="116"/>
                  <a:pt x="78" y="116"/>
                </a:cubicBezTo>
                <a:cubicBezTo>
                  <a:pt x="79" y="117"/>
                  <a:pt x="79" y="116"/>
                  <a:pt x="79" y="116"/>
                </a:cubicBezTo>
                <a:cubicBezTo>
                  <a:pt x="79" y="115"/>
                  <a:pt x="78" y="115"/>
                  <a:pt x="78" y="114"/>
                </a:cubicBezTo>
                <a:cubicBezTo>
                  <a:pt x="78" y="114"/>
                  <a:pt x="78" y="113"/>
                  <a:pt x="78" y="113"/>
                </a:cubicBezTo>
                <a:cubicBezTo>
                  <a:pt x="78" y="112"/>
                  <a:pt x="77" y="112"/>
                  <a:pt x="77" y="112"/>
                </a:cubicBezTo>
                <a:cubicBezTo>
                  <a:pt x="76" y="111"/>
                  <a:pt x="76" y="111"/>
                  <a:pt x="76" y="110"/>
                </a:cubicBezTo>
                <a:cubicBezTo>
                  <a:pt x="76" y="109"/>
                  <a:pt x="76" y="109"/>
                  <a:pt x="76" y="108"/>
                </a:cubicBezTo>
                <a:cubicBezTo>
                  <a:pt x="76" y="107"/>
                  <a:pt x="76" y="107"/>
                  <a:pt x="76" y="107"/>
                </a:cubicBezTo>
                <a:cubicBezTo>
                  <a:pt x="76" y="106"/>
                  <a:pt x="76" y="106"/>
                  <a:pt x="76" y="106"/>
                </a:cubicBezTo>
                <a:cubicBezTo>
                  <a:pt x="76" y="106"/>
                  <a:pt x="75" y="105"/>
                  <a:pt x="75" y="105"/>
                </a:cubicBezTo>
                <a:cubicBezTo>
                  <a:pt x="75" y="105"/>
                  <a:pt x="75" y="104"/>
                  <a:pt x="75" y="104"/>
                </a:cubicBezTo>
                <a:cubicBezTo>
                  <a:pt x="75" y="104"/>
                  <a:pt x="74" y="103"/>
                  <a:pt x="74" y="104"/>
                </a:cubicBezTo>
                <a:cubicBezTo>
                  <a:pt x="73" y="104"/>
                  <a:pt x="73" y="104"/>
                  <a:pt x="73" y="105"/>
                </a:cubicBezTo>
                <a:cubicBezTo>
                  <a:pt x="72" y="105"/>
                  <a:pt x="71" y="105"/>
                  <a:pt x="71" y="104"/>
                </a:cubicBezTo>
                <a:cubicBezTo>
                  <a:pt x="71" y="104"/>
                  <a:pt x="71" y="103"/>
                  <a:pt x="70" y="103"/>
                </a:cubicBezTo>
                <a:cubicBezTo>
                  <a:pt x="70" y="103"/>
                  <a:pt x="70" y="104"/>
                  <a:pt x="70" y="104"/>
                </a:cubicBezTo>
                <a:cubicBezTo>
                  <a:pt x="70" y="104"/>
                  <a:pt x="69" y="102"/>
                  <a:pt x="68" y="102"/>
                </a:cubicBezTo>
                <a:cubicBezTo>
                  <a:pt x="68" y="103"/>
                  <a:pt x="68" y="103"/>
                  <a:pt x="69" y="104"/>
                </a:cubicBezTo>
                <a:cubicBezTo>
                  <a:pt x="69" y="104"/>
                  <a:pt x="69" y="104"/>
                  <a:pt x="69" y="104"/>
                </a:cubicBezTo>
                <a:cubicBezTo>
                  <a:pt x="69" y="105"/>
                  <a:pt x="69" y="105"/>
                  <a:pt x="69" y="105"/>
                </a:cubicBezTo>
                <a:cubicBezTo>
                  <a:pt x="70" y="106"/>
                  <a:pt x="70" y="106"/>
                  <a:pt x="70" y="107"/>
                </a:cubicBezTo>
                <a:cubicBezTo>
                  <a:pt x="70" y="107"/>
                  <a:pt x="70" y="107"/>
                  <a:pt x="70" y="108"/>
                </a:cubicBezTo>
                <a:cubicBezTo>
                  <a:pt x="70" y="108"/>
                  <a:pt x="70" y="108"/>
                  <a:pt x="70" y="108"/>
                </a:cubicBezTo>
                <a:cubicBezTo>
                  <a:pt x="70" y="109"/>
                  <a:pt x="70" y="109"/>
                  <a:pt x="70" y="109"/>
                </a:cubicBezTo>
                <a:cubicBezTo>
                  <a:pt x="70" y="110"/>
                  <a:pt x="70" y="109"/>
                  <a:pt x="70" y="109"/>
                </a:cubicBezTo>
                <a:cubicBezTo>
                  <a:pt x="71" y="109"/>
                  <a:pt x="71" y="110"/>
                  <a:pt x="71" y="110"/>
                </a:cubicBezTo>
                <a:cubicBezTo>
                  <a:pt x="72" y="110"/>
                  <a:pt x="71" y="109"/>
                  <a:pt x="71" y="109"/>
                </a:cubicBezTo>
                <a:cubicBezTo>
                  <a:pt x="71" y="108"/>
                  <a:pt x="72" y="109"/>
                  <a:pt x="72" y="109"/>
                </a:cubicBezTo>
                <a:cubicBezTo>
                  <a:pt x="73" y="109"/>
                  <a:pt x="73" y="110"/>
                  <a:pt x="73" y="110"/>
                </a:cubicBezTo>
                <a:cubicBezTo>
                  <a:pt x="74" y="112"/>
                  <a:pt x="74" y="113"/>
                  <a:pt x="74" y="114"/>
                </a:cubicBezTo>
                <a:cubicBezTo>
                  <a:pt x="74" y="115"/>
                  <a:pt x="74" y="115"/>
                  <a:pt x="74" y="116"/>
                </a:cubicBezTo>
                <a:cubicBezTo>
                  <a:pt x="74" y="116"/>
                  <a:pt x="74" y="117"/>
                  <a:pt x="74" y="117"/>
                </a:cubicBezTo>
                <a:cubicBezTo>
                  <a:pt x="74" y="118"/>
                  <a:pt x="75" y="118"/>
                  <a:pt x="75" y="118"/>
                </a:cubicBezTo>
                <a:cubicBezTo>
                  <a:pt x="76" y="118"/>
                  <a:pt x="76" y="118"/>
                  <a:pt x="76" y="119"/>
                </a:cubicBezTo>
                <a:cubicBezTo>
                  <a:pt x="77" y="120"/>
                  <a:pt x="77" y="118"/>
                  <a:pt x="77" y="117"/>
                </a:cubicBezTo>
                <a:cubicBezTo>
                  <a:pt x="76" y="117"/>
                  <a:pt x="76" y="116"/>
                  <a:pt x="76" y="115"/>
                </a:cubicBezTo>
                <a:cubicBezTo>
                  <a:pt x="76" y="115"/>
                  <a:pt x="78" y="117"/>
                  <a:pt x="78" y="118"/>
                </a:cubicBezTo>
                <a:close/>
                <a:moveTo>
                  <a:pt x="74" y="128"/>
                </a:moveTo>
                <a:cubicBezTo>
                  <a:pt x="73" y="128"/>
                  <a:pt x="75" y="129"/>
                  <a:pt x="75" y="130"/>
                </a:cubicBezTo>
                <a:cubicBezTo>
                  <a:pt x="76" y="129"/>
                  <a:pt x="75" y="127"/>
                  <a:pt x="74" y="128"/>
                </a:cubicBezTo>
                <a:close/>
                <a:moveTo>
                  <a:pt x="52" y="123"/>
                </a:moveTo>
                <a:cubicBezTo>
                  <a:pt x="53" y="123"/>
                  <a:pt x="53" y="124"/>
                  <a:pt x="53" y="124"/>
                </a:cubicBezTo>
                <a:cubicBezTo>
                  <a:pt x="53" y="125"/>
                  <a:pt x="54" y="125"/>
                  <a:pt x="54" y="126"/>
                </a:cubicBezTo>
                <a:cubicBezTo>
                  <a:pt x="55" y="126"/>
                  <a:pt x="55" y="126"/>
                  <a:pt x="56" y="126"/>
                </a:cubicBezTo>
                <a:cubicBezTo>
                  <a:pt x="57" y="127"/>
                  <a:pt x="57" y="127"/>
                  <a:pt x="57" y="128"/>
                </a:cubicBezTo>
                <a:cubicBezTo>
                  <a:pt x="57" y="128"/>
                  <a:pt x="57" y="129"/>
                  <a:pt x="58" y="129"/>
                </a:cubicBezTo>
                <a:cubicBezTo>
                  <a:pt x="58" y="130"/>
                  <a:pt x="58" y="130"/>
                  <a:pt x="59" y="130"/>
                </a:cubicBezTo>
                <a:cubicBezTo>
                  <a:pt x="61" y="130"/>
                  <a:pt x="61" y="128"/>
                  <a:pt x="61" y="127"/>
                </a:cubicBezTo>
                <a:cubicBezTo>
                  <a:pt x="60" y="126"/>
                  <a:pt x="60" y="126"/>
                  <a:pt x="60" y="125"/>
                </a:cubicBezTo>
                <a:cubicBezTo>
                  <a:pt x="59" y="125"/>
                  <a:pt x="59" y="125"/>
                  <a:pt x="59" y="124"/>
                </a:cubicBezTo>
                <a:cubicBezTo>
                  <a:pt x="59" y="124"/>
                  <a:pt x="59" y="124"/>
                  <a:pt x="59" y="124"/>
                </a:cubicBezTo>
                <a:cubicBezTo>
                  <a:pt x="59" y="124"/>
                  <a:pt x="59" y="124"/>
                  <a:pt x="59" y="124"/>
                </a:cubicBezTo>
                <a:cubicBezTo>
                  <a:pt x="59" y="123"/>
                  <a:pt x="59" y="123"/>
                  <a:pt x="59" y="123"/>
                </a:cubicBezTo>
                <a:cubicBezTo>
                  <a:pt x="59" y="122"/>
                  <a:pt x="59" y="121"/>
                  <a:pt x="59" y="120"/>
                </a:cubicBezTo>
                <a:cubicBezTo>
                  <a:pt x="60" y="119"/>
                  <a:pt x="60" y="118"/>
                  <a:pt x="60" y="117"/>
                </a:cubicBezTo>
                <a:cubicBezTo>
                  <a:pt x="60" y="116"/>
                  <a:pt x="60" y="116"/>
                  <a:pt x="60" y="116"/>
                </a:cubicBezTo>
                <a:cubicBezTo>
                  <a:pt x="60" y="115"/>
                  <a:pt x="60" y="115"/>
                  <a:pt x="61" y="114"/>
                </a:cubicBezTo>
                <a:cubicBezTo>
                  <a:pt x="61" y="114"/>
                  <a:pt x="61" y="113"/>
                  <a:pt x="62" y="113"/>
                </a:cubicBezTo>
                <a:cubicBezTo>
                  <a:pt x="62" y="113"/>
                  <a:pt x="62" y="112"/>
                  <a:pt x="62" y="111"/>
                </a:cubicBezTo>
                <a:cubicBezTo>
                  <a:pt x="62" y="111"/>
                  <a:pt x="62" y="111"/>
                  <a:pt x="62" y="110"/>
                </a:cubicBezTo>
                <a:cubicBezTo>
                  <a:pt x="62" y="110"/>
                  <a:pt x="61" y="110"/>
                  <a:pt x="61" y="109"/>
                </a:cubicBezTo>
                <a:cubicBezTo>
                  <a:pt x="61" y="109"/>
                  <a:pt x="61" y="109"/>
                  <a:pt x="61" y="109"/>
                </a:cubicBezTo>
                <a:cubicBezTo>
                  <a:pt x="61" y="109"/>
                  <a:pt x="60" y="109"/>
                  <a:pt x="60" y="109"/>
                </a:cubicBezTo>
                <a:cubicBezTo>
                  <a:pt x="60" y="109"/>
                  <a:pt x="60" y="109"/>
                  <a:pt x="60" y="109"/>
                </a:cubicBezTo>
                <a:cubicBezTo>
                  <a:pt x="60" y="109"/>
                  <a:pt x="59" y="109"/>
                  <a:pt x="59" y="109"/>
                </a:cubicBezTo>
                <a:cubicBezTo>
                  <a:pt x="58" y="108"/>
                  <a:pt x="58" y="109"/>
                  <a:pt x="57" y="109"/>
                </a:cubicBezTo>
                <a:cubicBezTo>
                  <a:pt x="56" y="109"/>
                  <a:pt x="56" y="110"/>
                  <a:pt x="56" y="111"/>
                </a:cubicBezTo>
                <a:cubicBezTo>
                  <a:pt x="56" y="112"/>
                  <a:pt x="56" y="112"/>
                  <a:pt x="56" y="113"/>
                </a:cubicBezTo>
                <a:cubicBezTo>
                  <a:pt x="56" y="113"/>
                  <a:pt x="55" y="113"/>
                  <a:pt x="55" y="113"/>
                </a:cubicBezTo>
                <a:cubicBezTo>
                  <a:pt x="55" y="114"/>
                  <a:pt x="56" y="115"/>
                  <a:pt x="56" y="116"/>
                </a:cubicBezTo>
                <a:cubicBezTo>
                  <a:pt x="56" y="116"/>
                  <a:pt x="56" y="119"/>
                  <a:pt x="55" y="119"/>
                </a:cubicBezTo>
                <a:cubicBezTo>
                  <a:pt x="55" y="119"/>
                  <a:pt x="55" y="119"/>
                  <a:pt x="55" y="119"/>
                </a:cubicBezTo>
                <a:cubicBezTo>
                  <a:pt x="54" y="120"/>
                  <a:pt x="53" y="120"/>
                  <a:pt x="53" y="120"/>
                </a:cubicBezTo>
                <a:cubicBezTo>
                  <a:pt x="52" y="120"/>
                  <a:pt x="52" y="121"/>
                  <a:pt x="52" y="121"/>
                </a:cubicBezTo>
                <a:cubicBezTo>
                  <a:pt x="52" y="122"/>
                  <a:pt x="52" y="123"/>
                  <a:pt x="52" y="123"/>
                </a:cubicBezTo>
                <a:close/>
                <a:moveTo>
                  <a:pt x="50" y="92"/>
                </a:moveTo>
                <a:cubicBezTo>
                  <a:pt x="49" y="92"/>
                  <a:pt x="49" y="93"/>
                  <a:pt x="50" y="93"/>
                </a:cubicBezTo>
                <a:cubicBezTo>
                  <a:pt x="51" y="94"/>
                  <a:pt x="51" y="94"/>
                  <a:pt x="52" y="94"/>
                </a:cubicBezTo>
                <a:cubicBezTo>
                  <a:pt x="52" y="93"/>
                  <a:pt x="52" y="93"/>
                  <a:pt x="52" y="92"/>
                </a:cubicBezTo>
                <a:cubicBezTo>
                  <a:pt x="51" y="92"/>
                  <a:pt x="50" y="92"/>
                  <a:pt x="50" y="92"/>
                </a:cubicBezTo>
                <a:close/>
                <a:moveTo>
                  <a:pt x="40" y="93"/>
                </a:moveTo>
                <a:cubicBezTo>
                  <a:pt x="39" y="93"/>
                  <a:pt x="40" y="92"/>
                  <a:pt x="40" y="92"/>
                </a:cubicBezTo>
                <a:cubicBezTo>
                  <a:pt x="41" y="90"/>
                  <a:pt x="40" y="90"/>
                  <a:pt x="40" y="89"/>
                </a:cubicBezTo>
                <a:cubicBezTo>
                  <a:pt x="40" y="89"/>
                  <a:pt x="40" y="88"/>
                  <a:pt x="40" y="88"/>
                </a:cubicBezTo>
                <a:cubicBezTo>
                  <a:pt x="40" y="87"/>
                  <a:pt x="40" y="87"/>
                  <a:pt x="40" y="86"/>
                </a:cubicBezTo>
                <a:cubicBezTo>
                  <a:pt x="40" y="86"/>
                  <a:pt x="41" y="85"/>
                  <a:pt x="40" y="85"/>
                </a:cubicBezTo>
                <a:cubicBezTo>
                  <a:pt x="39" y="85"/>
                  <a:pt x="39" y="84"/>
                  <a:pt x="38" y="84"/>
                </a:cubicBezTo>
                <a:cubicBezTo>
                  <a:pt x="38" y="83"/>
                  <a:pt x="38" y="83"/>
                  <a:pt x="37" y="82"/>
                </a:cubicBezTo>
                <a:cubicBezTo>
                  <a:pt x="36" y="82"/>
                  <a:pt x="36" y="82"/>
                  <a:pt x="35" y="82"/>
                </a:cubicBezTo>
                <a:cubicBezTo>
                  <a:pt x="35" y="82"/>
                  <a:pt x="34" y="81"/>
                  <a:pt x="34" y="81"/>
                </a:cubicBezTo>
                <a:cubicBezTo>
                  <a:pt x="33" y="81"/>
                  <a:pt x="32" y="81"/>
                  <a:pt x="31" y="81"/>
                </a:cubicBezTo>
                <a:cubicBezTo>
                  <a:pt x="30" y="81"/>
                  <a:pt x="27" y="80"/>
                  <a:pt x="28" y="82"/>
                </a:cubicBezTo>
                <a:cubicBezTo>
                  <a:pt x="28" y="83"/>
                  <a:pt x="29" y="81"/>
                  <a:pt x="29" y="82"/>
                </a:cubicBezTo>
                <a:cubicBezTo>
                  <a:pt x="30" y="82"/>
                  <a:pt x="30" y="84"/>
                  <a:pt x="30" y="84"/>
                </a:cubicBezTo>
                <a:cubicBezTo>
                  <a:pt x="31" y="84"/>
                  <a:pt x="31" y="84"/>
                  <a:pt x="31" y="84"/>
                </a:cubicBezTo>
                <a:cubicBezTo>
                  <a:pt x="32" y="85"/>
                  <a:pt x="32" y="86"/>
                  <a:pt x="33" y="86"/>
                </a:cubicBezTo>
                <a:cubicBezTo>
                  <a:pt x="33" y="87"/>
                  <a:pt x="32" y="89"/>
                  <a:pt x="34" y="89"/>
                </a:cubicBezTo>
                <a:cubicBezTo>
                  <a:pt x="35" y="89"/>
                  <a:pt x="35" y="91"/>
                  <a:pt x="35" y="92"/>
                </a:cubicBezTo>
                <a:cubicBezTo>
                  <a:pt x="35" y="92"/>
                  <a:pt x="35" y="92"/>
                  <a:pt x="35" y="92"/>
                </a:cubicBezTo>
                <a:cubicBezTo>
                  <a:pt x="35" y="92"/>
                  <a:pt x="37" y="94"/>
                  <a:pt x="37" y="94"/>
                </a:cubicBezTo>
                <a:cubicBezTo>
                  <a:pt x="37" y="94"/>
                  <a:pt x="37" y="94"/>
                  <a:pt x="37" y="94"/>
                </a:cubicBezTo>
                <a:cubicBezTo>
                  <a:pt x="37" y="94"/>
                  <a:pt x="37" y="95"/>
                  <a:pt x="37" y="95"/>
                </a:cubicBezTo>
                <a:cubicBezTo>
                  <a:pt x="38" y="95"/>
                  <a:pt x="38" y="95"/>
                  <a:pt x="38" y="95"/>
                </a:cubicBezTo>
                <a:cubicBezTo>
                  <a:pt x="38" y="95"/>
                  <a:pt x="39" y="94"/>
                  <a:pt x="39" y="94"/>
                </a:cubicBezTo>
                <a:cubicBezTo>
                  <a:pt x="39" y="94"/>
                  <a:pt x="39" y="94"/>
                  <a:pt x="39" y="94"/>
                </a:cubicBezTo>
                <a:cubicBezTo>
                  <a:pt x="40" y="94"/>
                  <a:pt x="39" y="93"/>
                  <a:pt x="40" y="93"/>
                </a:cubicBezTo>
                <a:close/>
                <a:moveTo>
                  <a:pt x="33" y="5"/>
                </a:moveTo>
                <a:cubicBezTo>
                  <a:pt x="33" y="5"/>
                  <a:pt x="33" y="4"/>
                  <a:pt x="33" y="4"/>
                </a:cubicBezTo>
                <a:cubicBezTo>
                  <a:pt x="32" y="4"/>
                  <a:pt x="32" y="6"/>
                  <a:pt x="32" y="6"/>
                </a:cubicBezTo>
                <a:cubicBezTo>
                  <a:pt x="33" y="5"/>
                  <a:pt x="32" y="5"/>
                  <a:pt x="33" y="5"/>
                </a:cubicBezTo>
                <a:close/>
                <a:moveTo>
                  <a:pt x="50" y="112"/>
                </a:moveTo>
                <a:cubicBezTo>
                  <a:pt x="51" y="112"/>
                  <a:pt x="51" y="112"/>
                  <a:pt x="52" y="112"/>
                </a:cubicBezTo>
                <a:cubicBezTo>
                  <a:pt x="53" y="112"/>
                  <a:pt x="53" y="111"/>
                  <a:pt x="53" y="111"/>
                </a:cubicBezTo>
                <a:cubicBezTo>
                  <a:pt x="53" y="110"/>
                  <a:pt x="54" y="111"/>
                  <a:pt x="54" y="110"/>
                </a:cubicBezTo>
                <a:cubicBezTo>
                  <a:pt x="55" y="110"/>
                  <a:pt x="54" y="109"/>
                  <a:pt x="54" y="109"/>
                </a:cubicBezTo>
                <a:cubicBezTo>
                  <a:pt x="53" y="109"/>
                  <a:pt x="55" y="108"/>
                  <a:pt x="55" y="108"/>
                </a:cubicBezTo>
                <a:cubicBezTo>
                  <a:pt x="55" y="108"/>
                  <a:pt x="56" y="108"/>
                  <a:pt x="56" y="108"/>
                </a:cubicBezTo>
                <a:cubicBezTo>
                  <a:pt x="56" y="108"/>
                  <a:pt x="56" y="108"/>
                  <a:pt x="56" y="108"/>
                </a:cubicBezTo>
                <a:cubicBezTo>
                  <a:pt x="56" y="108"/>
                  <a:pt x="56" y="107"/>
                  <a:pt x="57" y="106"/>
                </a:cubicBezTo>
                <a:cubicBezTo>
                  <a:pt x="57" y="106"/>
                  <a:pt x="58" y="107"/>
                  <a:pt x="57" y="106"/>
                </a:cubicBezTo>
                <a:cubicBezTo>
                  <a:pt x="57" y="105"/>
                  <a:pt x="57" y="105"/>
                  <a:pt x="57" y="104"/>
                </a:cubicBezTo>
                <a:cubicBezTo>
                  <a:pt x="57" y="104"/>
                  <a:pt x="58" y="103"/>
                  <a:pt x="57" y="103"/>
                </a:cubicBezTo>
                <a:cubicBezTo>
                  <a:pt x="57" y="103"/>
                  <a:pt x="57" y="103"/>
                  <a:pt x="57" y="103"/>
                </a:cubicBezTo>
                <a:cubicBezTo>
                  <a:pt x="57" y="103"/>
                  <a:pt x="57" y="103"/>
                  <a:pt x="57" y="103"/>
                </a:cubicBezTo>
                <a:cubicBezTo>
                  <a:pt x="57" y="103"/>
                  <a:pt x="57" y="102"/>
                  <a:pt x="57" y="102"/>
                </a:cubicBezTo>
                <a:cubicBezTo>
                  <a:pt x="57" y="102"/>
                  <a:pt x="56" y="103"/>
                  <a:pt x="55" y="103"/>
                </a:cubicBezTo>
                <a:cubicBezTo>
                  <a:pt x="55" y="103"/>
                  <a:pt x="55" y="104"/>
                  <a:pt x="55" y="104"/>
                </a:cubicBezTo>
                <a:cubicBezTo>
                  <a:pt x="55" y="103"/>
                  <a:pt x="55" y="103"/>
                  <a:pt x="55" y="103"/>
                </a:cubicBezTo>
                <a:cubicBezTo>
                  <a:pt x="55" y="103"/>
                  <a:pt x="55" y="103"/>
                  <a:pt x="55" y="103"/>
                </a:cubicBezTo>
                <a:cubicBezTo>
                  <a:pt x="55" y="102"/>
                  <a:pt x="55" y="103"/>
                  <a:pt x="55" y="102"/>
                </a:cubicBezTo>
                <a:cubicBezTo>
                  <a:pt x="54" y="102"/>
                  <a:pt x="54" y="102"/>
                  <a:pt x="53" y="102"/>
                </a:cubicBezTo>
                <a:cubicBezTo>
                  <a:pt x="53" y="102"/>
                  <a:pt x="53" y="102"/>
                  <a:pt x="53" y="102"/>
                </a:cubicBezTo>
                <a:cubicBezTo>
                  <a:pt x="53" y="102"/>
                  <a:pt x="53" y="102"/>
                  <a:pt x="52" y="102"/>
                </a:cubicBezTo>
                <a:cubicBezTo>
                  <a:pt x="52" y="103"/>
                  <a:pt x="52" y="103"/>
                  <a:pt x="52" y="102"/>
                </a:cubicBezTo>
                <a:cubicBezTo>
                  <a:pt x="51" y="101"/>
                  <a:pt x="51" y="103"/>
                  <a:pt x="51" y="102"/>
                </a:cubicBezTo>
                <a:cubicBezTo>
                  <a:pt x="51" y="102"/>
                  <a:pt x="51" y="102"/>
                  <a:pt x="51" y="102"/>
                </a:cubicBezTo>
                <a:cubicBezTo>
                  <a:pt x="51" y="102"/>
                  <a:pt x="51" y="102"/>
                  <a:pt x="50" y="102"/>
                </a:cubicBezTo>
                <a:cubicBezTo>
                  <a:pt x="51" y="102"/>
                  <a:pt x="51" y="102"/>
                  <a:pt x="51" y="102"/>
                </a:cubicBezTo>
                <a:cubicBezTo>
                  <a:pt x="50" y="100"/>
                  <a:pt x="48" y="100"/>
                  <a:pt x="47" y="99"/>
                </a:cubicBezTo>
                <a:cubicBezTo>
                  <a:pt x="46" y="99"/>
                  <a:pt x="46" y="98"/>
                  <a:pt x="45" y="98"/>
                </a:cubicBezTo>
                <a:cubicBezTo>
                  <a:pt x="45" y="99"/>
                  <a:pt x="45" y="99"/>
                  <a:pt x="45" y="100"/>
                </a:cubicBezTo>
                <a:cubicBezTo>
                  <a:pt x="45" y="100"/>
                  <a:pt x="47" y="100"/>
                  <a:pt x="47" y="101"/>
                </a:cubicBezTo>
                <a:cubicBezTo>
                  <a:pt x="47" y="103"/>
                  <a:pt x="47" y="104"/>
                  <a:pt x="47" y="106"/>
                </a:cubicBezTo>
                <a:cubicBezTo>
                  <a:pt x="47" y="107"/>
                  <a:pt x="47" y="108"/>
                  <a:pt x="47" y="109"/>
                </a:cubicBezTo>
                <a:cubicBezTo>
                  <a:pt x="47" y="109"/>
                  <a:pt x="46" y="111"/>
                  <a:pt x="46" y="111"/>
                </a:cubicBezTo>
                <a:cubicBezTo>
                  <a:pt x="47" y="112"/>
                  <a:pt x="47" y="112"/>
                  <a:pt x="47" y="113"/>
                </a:cubicBezTo>
                <a:cubicBezTo>
                  <a:pt x="47" y="113"/>
                  <a:pt x="46" y="114"/>
                  <a:pt x="47" y="115"/>
                </a:cubicBezTo>
                <a:cubicBezTo>
                  <a:pt x="47" y="115"/>
                  <a:pt x="48" y="114"/>
                  <a:pt x="48" y="114"/>
                </a:cubicBezTo>
                <a:cubicBezTo>
                  <a:pt x="48" y="113"/>
                  <a:pt x="49" y="112"/>
                  <a:pt x="50" y="112"/>
                </a:cubicBezTo>
                <a:close/>
                <a:moveTo>
                  <a:pt x="42" y="69"/>
                </a:moveTo>
                <a:cubicBezTo>
                  <a:pt x="43" y="68"/>
                  <a:pt x="43" y="67"/>
                  <a:pt x="42" y="66"/>
                </a:cubicBezTo>
                <a:cubicBezTo>
                  <a:pt x="42" y="66"/>
                  <a:pt x="41" y="66"/>
                  <a:pt x="42" y="65"/>
                </a:cubicBezTo>
                <a:cubicBezTo>
                  <a:pt x="42" y="65"/>
                  <a:pt x="42" y="65"/>
                  <a:pt x="42" y="65"/>
                </a:cubicBezTo>
                <a:cubicBezTo>
                  <a:pt x="42" y="65"/>
                  <a:pt x="42" y="65"/>
                  <a:pt x="42" y="65"/>
                </a:cubicBezTo>
                <a:cubicBezTo>
                  <a:pt x="42" y="64"/>
                  <a:pt x="42" y="65"/>
                  <a:pt x="42" y="65"/>
                </a:cubicBezTo>
                <a:cubicBezTo>
                  <a:pt x="42" y="64"/>
                  <a:pt x="42" y="64"/>
                  <a:pt x="42" y="64"/>
                </a:cubicBezTo>
                <a:cubicBezTo>
                  <a:pt x="41" y="64"/>
                  <a:pt x="41" y="64"/>
                  <a:pt x="40" y="64"/>
                </a:cubicBezTo>
                <a:cubicBezTo>
                  <a:pt x="40" y="64"/>
                  <a:pt x="40" y="65"/>
                  <a:pt x="40" y="65"/>
                </a:cubicBezTo>
                <a:cubicBezTo>
                  <a:pt x="41" y="65"/>
                  <a:pt x="41" y="66"/>
                  <a:pt x="41" y="67"/>
                </a:cubicBezTo>
                <a:cubicBezTo>
                  <a:pt x="41" y="67"/>
                  <a:pt x="42" y="68"/>
                  <a:pt x="41" y="67"/>
                </a:cubicBezTo>
                <a:cubicBezTo>
                  <a:pt x="41" y="68"/>
                  <a:pt x="41" y="68"/>
                  <a:pt x="42" y="69"/>
                </a:cubicBezTo>
                <a:close/>
                <a:moveTo>
                  <a:pt x="80" y="120"/>
                </a:moveTo>
                <a:cubicBezTo>
                  <a:pt x="80" y="119"/>
                  <a:pt x="79" y="118"/>
                  <a:pt x="78" y="118"/>
                </a:cubicBezTo>
                <a:cubicBezTo>
                  <a:pt x="77" y="118"/>
                  <a:pt x="78" y="119"/>
                  <a:pt x="79" y="119"/>
                </a:cubicBezTo>
                <a:cubicBezTo>
                  <a:pt x="79" y="119"/>
                  <a:pt x="80" y="121"/>
                  <a:pt x="80" y="120"/>
                </a:cubicBezTo>
                <a:close/>
                <a:moveTo>
                  <a:pt x="27" y="175"/>
                </a:moveTo>
                <a:cubicBezTo>
                  <a:pt x="26" y="176"/>
                  <a:pt x="27" y="177"/>
                  <a:pt x="27" y="177"/>
                </a:cubicBezTo>
                <a:cubicBezTo>
                  <a:pt x="27" y="177"/>
                  <a:pt x="27" y="178"/>
                  <a:pt x="27" y="178"/>
                </a:cubicBezTo>
                <a:cubicBezTo>
                  <a:pt x="27" y="178"/>
                  <a:pt x="27" y="177"/>
                  <a:pt x="27" y="176"/>
                </a:cubicBezTo>
                <a:cubicBezTo>
                  <a:pt x="27" y="176"/>
                  <a:pt x="27" y="175"/>
                  <a:pt x="27" y="175"/>
                </a:cubicBezTo>
                <a:close/>
                <a:moveTo>
                  <a:pt x="53" y="115"/>
                </a:moveTo>
                <a:cubicBezTo>
                  <a:pt x="53" y="115"/>
                  <a:pt x="53" y="114"/>
                  <a:pt x="53" y="114"/>
                </a:cubicBezTo>
                <a:cubicBezTo>
                  <a:pt x="53" y="114"/>
                  <a:pt x="54" y="114"/>
                  <a:pt x="54" y="114"/>
                </a:cubicBezTo>
                <a:cubicBezTo>
                  <a:pt x="54" y="113"/>
                  <a:pt x="54" y="112"/>
                  <a:pt x="54" y="112"/>
                </a:cubicBezTo>
                <a:cubicBezTo>
                  <a:pt x="54" y="110"/>
                  <a:pt x="52" y="113"/>
                  <a:pt x="52" y="113"/>
                </a:cubicBezTo>
                <a:cubicBezTo>
                  <a:pt x="52" y="114"/>
                  <a:pt x="52" y="115"/>
                  <a:pt x="53" y="115"/>
                </a:cubicBezTo>
                <a:close/>
                <a:moveTo>
                  <a:pt x="1" y="141"/>
                </a:moveTo>
                <a:cubicBezTo>
                  <a:pt x="1" y="141"/>
                  <a:pt x="1" y="141"/>
                  <a:pt x="1" y="141"/>
                </a:cubicBezTo>
                <a:cubicBezTo>
                  <a:pt x="0" y="141"/>
                  <a:pt x="0" y="142"/>
                  <a:pt x="1" y="142"/>
                </a:cubicBezTo>
                <a:cubicBezTo>
                  <a:pt x="1" y="143"/>
                  <a:pt x="1" y="143"/>
                  <a:pt x="1" y="143"/>
                </a:cubicBezTo>
                <a:cubicBezTo>
                  <a:pt x="2" y="143"/>
                  <a:pt x="2" y="143"/>
                  <a:pt x="2" y="142"/>
                </a:cubicBezTo>
                <a:cubicBezTo>
                  <a:pt x="2" y="142"/>
                  <a:pt x="1" y="141"/>
                  <a:pt x="2" y="141"/>
                </a:cubicBezTo>
                <a:cubicBezTo>
                  <a:pt x="2" y="140"/>
                  <a:pt x="1" y="141"/>
                  <a:pt x="1" y="141"/>
                </a:cubicBezTo>
                <a:close/>
                <a:moveTo>
                  <a:pt x="87" y="122"/>
                </a:moveTo>
                <a:cubicBezTo>
                  <a:pt x="87" y="122"/>
                  <a:pt x="87" y="122"/>
                  <a:pt x="87" y="122"/>
                </a:cubicBezTo>
                <a:cubicBezTo>
                  <a:pt x="87" y="122"/>
                  <a:pt x="88" y="122"/>
                  <a:pt x="88" y="122"/>
                </a:cubicBezTo>
                <a:cubicBezTo>
                  <a:pt x="89" y="121"/>
                  <a:pt x="88" y="121"/>
                  <a:pt x="87" y="121"/>
                </a:cubicBezTo>
                <a:cubicBezTo>
                  <a:pt x="88" y="121"/>
                  <a:pt x="87" y="119"/>
                  <a:pt x="87" y="119"/>
                </a:cubicBezTo>
                <a:cubicBezTo>
                  <a:pt x="87" y="119"/>
                  <a:pt x="86" y="121"/>
                  <a:pt x="86" y="121"/>
                </a:cubicBezTo>
                <a:cubicBezTo>
                  <a:pt x="86" y="121"/>
                  <a:pt x="87" y="122"/>
                  <a:pt x="87" y="122"/>
                </a:cubicBezTo>
                <a:close/>
                <a:moveTo>
                  <a:pt x="61" y="92"/>
                </a:moveTo>
                <a:cubicBezTo>
                  <a:pt x="62" y="92"/>
                  <a:pt x="62" y="93"/>
                  <a:pt x="63" y="94"/>
                </a:cubicBezTo>
                <a:cubicBezTo>
                  <a:pt x="63" y="93"/>
                  <a:pt x="62" y="91"/>
                  <a:pt x="62" y="91"/>
                </a:cubicBezTo>
                <a:cubicBezTo>
                  <a:pt x="61" y="91"/>
                  <a:pt x="60" y="89"/>
                  <a:pt x="61" y="90"/>
                </a:cubicBezTo>
                <a:cubicBezTo>
                  <a:pt x="60" y="90"/>
                  <a:pt x="60" y="90"/>
                  <a:pt x="60" y="90"/>
                </a:cubicBezTo>
                <a:cubicBezTo>
                  <a:pt x="60" y="91"/>
                  <a:pt x="61" y="91"/>
                  <a:pt x="61" y="92"/>
                </a:cubicBezTo>
                <a:close/>
                <a:moveTo>
                  <a:pt x="87" y="151"/>
                </a:moveTo>
                <a:cubicBezTo>
                  <a:pt x="87" y="151"/>
                  <a:pt x="86" y="150"/>
                  <a:pt x="86" y="150"/>
                </a:cubicBezTo>
                <a:cubicBezTo>
                  <a:pt x="86" y="151"/>
                  <a:pt x="86" y="151"/>
                  <a:pt x="86" y="152"/>
                </a:cubicBezTo>
                <a:cubicBezTo>
                  <a:pt x="86" y="152"/>
                  <a:pt x="86" y="153"/>
                  <a:pt x="87" y="154"/>
                </a:cubicBezTo>
                <a:cubicBezTo>
                  <a:pt x="87" y="153"/>
                  <a:pt x="87" y="152"/>
                  <a:pt x="87" y="151"/>
                </a:cubicBezTo>
                <a:close/>
                <a:moveTo>
                  <a:pt x="64" y="127"/>
                </a:moveTo>
                <a:cubicBezTo>
                  <a:pt x="64" y="127"/>
                  <a:pt x="64" y="128"/>
                  <a:pt x="63" y="128"/>
                </a:cubicBezTo>
                <a:cubicBezTo>
                  <a:pt x="63" y="128"/>
                  <a:pt x="62" y="128"/>
                  <a:pt x="63" y="128"/>
                </a:cubicBezTo>
                <a:cubicBezTo>
                  <a:pt x="63" y="129"/>
                  <a:pt x="63" y="129"/>
                  <a:pt x="64" y="129"/>
                </a:cubicBezTo>
                <a:cubicBezTo>
                  <a:pt x="64" y="129"/>
                  <a:pt x="65" y="129"/>
                  <a:pt x="65" y="129"/>
                </a:cubicBezTo>
                <a:cubicBezTo>
                  <a:pt x="64" y="128"/>
                  <a:pt x="65" y="128"/>
                  <a:pt x="64" y="127"/>
                </a:cubicBezTo>
                <a:close/>
                <a:moveTo>
                  <a:pt x="34" y="22"/>
                </a:moveTo>
                <a:cubicBezTo>
                  <a:pt x="35" y="22"/>
                  <a:pt x="36" y="21"/>
                  <a:pt x="35" y="20"/>
                </a:cubicBezTo>
                <a:cubicBezTo>
                  <a:pt x="34" y="20"/>
                  <a:pt x="34" y="21"/>
                  <a:pt x="34" y="21"/>
                </a:cubicBezTo>
                <a:cubicBezTo>
                  <a:pt x="34" y="22"/>
                  <a:pt x="34" y="22"/>
                  <a:pt x="34" y="22"/>
                </a:cubicBezTo>
                <a:close/>
                <a:moveTo>
                  <a:pt x="52" y="156"/>
                </a:moveTo>
                <a:cubicBezTo>
                  <a:pt x="51" y="156"/>
                  <a:pt x="51" y="155"/>
                  <a:pt x="51" y="155"/>
                </a:cubicBezTo>
                <a:cubicBezTo>
                  <a:pt x="50" y="155"/>
                  <a:pt x="50" y="156"/>
                  <a:pt x="50" y="156"/>
                </a:cubicBezTo>
                <a:cubicBezTo>
                  <a:pt x="49" y="156"/>
                  <a:pt x="48" y="156"/>
                  <a:pt x="48" y="156"/>
                </a:cubicBezTo>
                <a:cubicBezTo>
                  <a:pt x="48" y="157"/>
                  <a:pt x="49" y="157"/>
                  <a:pt x="49" y="158"/>
                </a:cubicBezTo>
                <a:cubicBezTo>
                  <a:pt x="49" y="158"/>
                  <a:pt x="50" y="159"/>
                  <a:pt x="50" y="159"/>
                </a:cubicBezTo>
                <a:cubicBezTo>
                  <a:pt x="51" y="159"/>
                  <a:pt x="51" y="159"/>
                  <a:pt x="52" y="158"/>
                </a:cubicBezTo>
                <a:cubicBezTo>
                  <a:pt x="52" y="158"/>
                  <a:pt x="52" y="158"/>
                  <a:pt x="52" y="158"/>
                </a:cubicBezTo>
                <a:cubicBezTo>
                  <a:pt x="52" y="157"/>
                  <a:pt x="53" y="157"/>
                  <a:pt x="53" y="157"/>
                </a:cubicBezTo>
                <a:cubicBezTo>
                  <a:pt x="54" y="156"/>
                  <a:pt x="52" y="156"/>
                  <a:pt x="52" y="156"/>
                </a:cubicBezTo>
                <a:close/>
                <a:moveTo>
                  <a:pt x="31" y="0"/>
                </a:moveTo>
                <a:cubicBezTo>
                  <a:pt x="30" y="0"/>
                  <a:pt x="30" y="2"/>
                  <a:pt x="30" y="2"/>
                </a:cubicBezTo>
                <a:cubicBezTo>
                  <a:pt x="31" y="2"/>
                  <a:pt x="31" y="0"/>
                  <a:pt x="31" y="0"/>
                </a:cubicBezTo>
                <a:close/>
                <a:moveTo>
                  <a:pt x="34" y="171"/>
                </a:moveTo>
                <a:cubicBezTo>
                  <a:pt x="34" y="171"/>
                  <a:pt x="34" y="170"/>
                  <a:pt x="33" y="171"/>
                </a:cubicBezTo>
                <a:cubicBezTo>
                  <a:pt x="33" y="171"/>
                  <a:pt x="32" y="172"/>
                  <a:pt x="32" y="172"/>
                </a:cubicBezTo>
                <a:cubicBezTo>
                  <a:pt x="31" y="172"/>
                  <a:pt x="29" y="173"/>
                  <a:pt x="30" y="174"/>
                </a:cubicBezTo>
                <a:cubicBezTo>
                  <a:pt x="30" y="173"/>
                  <a:pt x="31" y="173"/>
                  <a:pt x="32" y="173"/>
                </a:cubicBezTo>
                <a:cubicBezTo>
                  <a:pt x="32" y="173"/>
                  <a:pt x="32" y="172"/>
                  <a:pt x="32" y="173"/>
                </a:cubicBezTo>
                <a:cubicBezTo>
                  <a:pt x="33" y="173"/>
                  <a:pt x="33" y="172"/>
                  <a:pt x="33" y="172"/>
                </a:cubicBezTo>
                <a:cubicBezTo>
                  <a:pt x="33" y="172"/>
                  <a:pt x="33" y="172"/>
                  <a:pt x="33" y="172"/>
                </a:cubicBezTo>
                <a:cubicBezTo>
                  <a:pt x="33" y="173"/>
                  <a:pt x="34" y="173"/>
                  <a:pt x="34" y="173"/>
                </a:cubicBezTo>
                <a:cubicBezTo>
                  <a:pt x="34" y="173"/>
                  <a:pt x="34" y="171"/>
                  <a:pt x="34" y="171"/>
                </a:cubicBezTo>
                <a:close/>
                <a:moveTo>
                  <a:pt x="57" y="87"/>
                </a:moveTo>
                <a:cubicBezTo>
                  <a:pt x="56" y="87"/>
                  <a:pt x="55" y="86"/>
                  <a:pt x="55" y="86"/>
                </a:cubicBezTo>
                <a:cubicBezTo>
                  <a:pt x="55" y="86"/>
                  <a:pt x="55" y="85"/>
                  <a:pt x="54" y="85"/>
                </a:cubicBezTo>
                <a:cubicBezTo>
                  <a:pt x="54" y="85"/>
                  <a:pt x="54" y="85"/>
                  <a:pt x="54" y="85"/>
                </a:cubicBezTo>
                <a:cubicBezTo>
                  <a:pt x="54" y="85"/>
                  <a:pt x="53" y="85"/>
                  <a:pt x="53" y="85"/>
                </a:cubicBezTo>
                <a:cubicBezTo>
                  <a:pt x="53" y="85"/>
                  <a:pt x="54" y="86"/>
                  <a:pt x="54" y="86"/>
                </a:cubicBezTo>
                <a:cubicBezTo>
                  <a:pt x="54" y="86"/>
                  <a:pt x="54" y="86"/>
                  <a:pt x="54" y="86"/>
                </a:cubicBezTo>
                <a:cubicBezTo>
                  <a:pt x="54" y="86"/>
                  <a:pt x="54" y="86"/>
                  <a:pt x="55" y="86"/>
                </a:cubicBezTo>
                <a:cubicBezTo>
                  <a:pt x="55" y="87"/>
                  <a:pt x="55" y="87"/>
                  <a:pt x="55" y="87"/>
                </a:cubicBezTo>
                <a:cubicBezTo>
                  <a:pt x="56" y="88"/>
                  <a:pt x="56" y="88"/>
                  <a:pt x="57" y="88"/>
                </a:cubicBezTo>
                <a:cubicBezTo>
                  <a:pt x="58" y="89"/>
                  <a:pt x="58" y="89"/>
                  <a:pt x="58" y="90"/>
                </a:cubicBezTo>
                <a:cubicBezTo>
                  <a:pt x="58" y="90"/>
                  <a:pt x="57" y="88"/>
                  <a:pt x="57" y="87"/>
                </a:cubicBezTo>
                <a:close/>
                <a:moveTo>
                  <a:pt x="30" y="18"/>
                </a:moveTo>
                <a:cubicBezTo>
                  <a:pt x="30" y="17"/>
                  <a:pt x="30" y="17"/>
                  <a:pt x="30" y="16"/>
                </a:cubicBezTo>
                <a:cubicBezTo>
                  <a:pt x="30" y="16"/>
                  <a:pt x="29" y="16"/>
                  <a:pt x="29" y="16"/>
                </a:cubicBezTo>
                <a:cubicBezTo>
                  <a:pt x="29" y="16"/>
                  <a:pt x="28" y="16"/>
                  <a:pt x="29" y="17"/>
                </a:cubicBezTo>
                <a:cubicBezTo>
                  <a:pt x="29" y="17"/>
                  <a:pt x="30" y="17"/>
                  <a:pt x="30" y="18"/>
                </a:cubicBezTo>
                <a:close/>
                <a:moveTo>
                  <a:pt x="42" y="164"/>
                </a:moveTo>
                <a:cubicBezTo>
                  <a:pt x="42" y="164"/>
                  <a:pt x="42" y="165"/>
                  <a:pt x="42" y="164"/>
                </a:cubicBezTo>
                <a:cubicBezTo>
                  <a:pt x="42" y="164"/>
                  <a:pt x="42" y="164"/>
                  <a:pt x="42" y="164"/>
                </a:cubicBezTo>
                <a:close/>
                <a:moveTo>
                  <a:pt x="44" y="163"/>
                </a:moveTo>
                <a:cubicBezTo>
                  <a:pt x="44" y="163"/>
                  <a:pt x="43" y="163"/>
                  <a:pt x="43" y="163"/>
                </a:cubicBezTo>
                <a:cubicBezTo>
                  <a:pt x="43" y="163"/>
                  <a:pt x="42" y="162"/>
                  <a:pt x="42" y="162"/>
                </a:cubicBezTo>
                <a:cubicBezTo>
                  <a:pt x="41" y="162"/>
                  <a:pt x="41" y="163"/>
                  <a:pt x="41" y="163"/>
                </a:cubicBezTo>
                <a:cubicBezTo>
                  <a:pt x="40" y="163"/>
                  <a:pt x="40" y="163"/>
                  <a:pt x="40" y="164"/>
                </a:cubicBezTo>
                <a:cubicBezTo>
                  <a:pt x="40" y="165"/>
                  <a:pt x="41" y="164"/>
                  <a:pt x="41" y="164"/>
                </a:cubicBezTo>
                <a:cubicBezTo>
                  <a:pt x="41" y="164"/>
                  <a:pt x="42" y="165"/>
                  <a:pt x="42" y="164"/>
                </a:cubicBezTo>
                <a:cubicBezTo>
                  <a:pt x="42" y="164"/>
                  <a:pt x="42" y="164"/>
                  <a:pt x="42" y="164"/>
                </a:cubicBezTo>
                <a:cubicBezTo>
                  <a:pt x="42" y="164"/>
                  <a:pt x="42" y="164"/>
                  <a:pt x="43" y="164"/>
                </a:cubicBezTo>
                <a:cubicBezTo>
                  <a:pt x="43" y="164"/>
                  <a:pt x="44" y="165"/>
                  <a:pt x="44" y="165"/>
                </a:cubicBezTo>
                <a:cubicBezTo>
                  <a:pt x="44" y="164"/>
                  <a:pt x="45" y="164"/>
                  <a:pt x="45" y="164"/>
                </a:cubicBezTo>
                <a:cubicBezTo>
                  <a:pt x="45" y="163"/>
                  <a:pt x="45" y="163"/>
                  <a:pt x="44" y="163"/>
                </a:cubicBezTo>
                <a:close/>
                <a:moveTo>
                  <a:pt x="70" y="103"/>
                </a:moveTo>
                <a:cubicBezTo>
                  <a:pt x="71" y="103"/>
                  <a:pt x="72" y="103"/>
                  <a:pt x="71" y="102"/>
                </a:cubicBezTo>
                <a:cubicBezTo>
                  <a:pt x="71" y="101"/>
                  <a:pt x="70" y="100"/>
                  <a:pt x="69" y="101"/>
                </a:cubicBezTo>
                <a:cubicBezTo>
                  <a:pt x="68" y="101"/>
                  <a:pt x="69" y="101"/>
                  <a:pt x="69" y="102"/>
                </a:cubicBezTo>
                <a:cubicBezTo>
                  <a:pt x="70" y="102"/>
                  <a:pt x="70" y="103"/>
                  <a:pt x="70" y="103"/>
                </a:cubicBezTo>
                <a:close/>
                <a:moveTo>
                  <a:pt x="43" y="83"/>
                </a:moveTo>
                <a:cubicBezTo>
                  <a:pt x="43" y="83"/>
                  <a:pt x="44" y="84"/>
                  <a:pt x="45" y="84"/>
                </a:cubicBezTo>
                <a:cubicBezTo>
                  <a:pt x="45" y="84"/>
                  <a:pt x="45" y="83"/>
                  <a:pt x="45" y="83"/>
                </a:cubicBezTo>
                <a:cubicBezTo>
                  <a:pt x="46" y="82"/>
                  <a:pt x="45" y="82"/>
                  <a:pt x="45" y="82"/>
                </a:cubicBezTo>
                <a:cubicBezTo>
                  <a:pt x="45" y="82"/>
                  <a:pt x="45" y="81"/>
                  <a:pt x="44" y="81"/>
                </a:cubicBezTo>
                <a:cubicBezTo>
                  <a:pt x="45" y="80"/>
                  <a:pt x="44" y="81"/>
                  <a:pt x="43" y="81"/>
                </a:cubicBezTo>
                <a:cubicBezTo>
                  <a:pt x="43" y="81"/>
                  <a:pt x="42" y="80"/>
                  <a:pt x="43" y="80"/>
                </a:cubicBezTo>
                <a:cubicBezTo>
                  <a:pt x="42" y="81"/>
                  <a:pt x="42" y="82"/>
                  <a:pt x="43" y="83"/>
                </a:cubicBezTo>
                <a:close/>
                <a:moveTo>
                  <a:pt x="46" y="90"/>
                </a:moveTo>
                <a:cubicBezTo>
                  <a:pt x="46" y="90"/>
                  <a:pt x="45" y="90"/>
                  <a:pt x="45" y="91"/>
                </a:cubicBezTo>
                <a:cubicBezTo>
                  <a:pt x="45" y="91"/>
                  <a:pt x="45" y="92"/>
                  <a:pt x="45" y="93"/>
                </a:cubicBezTo>
                <a:cubicBezTo>
                  <a:pt x="45" y="93"/>
                  <a:pt x="44" y="93"/>
                  <a:pt x="45" y="94"/>
                </a:cubicBezTo>
                <a:cubicBezTo>
                  <a:pt x="45" y="95"/>
                  <a:pt x="46" y="95"/>
                  <a:pt x="45" y="95"/>
                </a:cubicBezTo>
                <a:cubicBezTo>
                  <a:pt x="45" y="95"/>
                  <a:pt x="45" y="95"/>
                  <a:pt x="45" y="95"/>
                </a:cubicBezTo>
                <a:cubicBezTo>
                  <a:pt x="45" y="95"/>
                  <a:pt x="45" y="96"/>
                  <a:pt x="46" y="96"/>
                </a:cubicBezTo>
                <a:cubicBezTo>
                  <a:pt x="46" y="95"/>
                  <a:pt x="46" y="94"/>
                  <a:pt x="46" y="92"/>
                </a:cubicBezTo>
                <a:cubicBezTo>
                  <a:pt x="46" y="92"/>
                  <a:pt x="46" y="91"/>
                  <a:pt x="46" y="90"/>
                </a:cubicBezTo>
                <a:cubicBezTo>
                  <a:pt x="46" y="90"/>
                  <a:pt x="47" y="90"/>
                  <a:pt x="46" y="9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69" name="Peru"/>
          <p:cNvSpPr>
            <a:spLocks/>
          </p:cNvSpPr>
          <p:nvPr/>
        </p:nvSpPr>
        <p:spPr bwMode="auto">
          <a:xfrm>
            <a:off x="2945189" y="4663937"/>
            <a:ext cx="462983" cy="729972"/>
          </a:xfrm>
          <a:custGeom>
            <a:avLst/>
            <a:gdLst/>
            <a:ahLst/>
            <a:cxnLst>
              <a:cxn ang="0">
                <a:pos x="123" y="178"/>
              </a:cxn>
              <a:cxn ang="0">
                <a:pos x="119" y="175"/>
              </a:cxn>
              <a:cxn ang="0">
                <a:pos x="118" y="170"/>
              </a:cxn>
              <a:cxn ang="0">
                <a:pos x="122" y="170"/>
              </a:cxn>
              <a:cxn ang="0">
                <a:pos x="123" y="164"/>
              </a:cxn>
              <a:cxn ang="0">
                <a:pos x="127" y="156"/>
              </a:cxn>
              <a:cxn ang="0">
                <a:pos x="125" y="146"/>
              </a:cxn>
              <a:cxn ang="0">
                <a:pos x="122" y="128"/>
              </a:cxn>
              <a:cxn ang="0">
                <a:pos x="108" y="120"/>
              </a:cxn>
              <a:cxn ang="0">
                <a:pos x="106" y="105"/>
              </a:cxn>
              <a:cxn ang="0">
                <a:pos x="91" y="110"/>
              </a:cxn>
              <a:cxn ang="0">
                <a:pos x="81" y="104"/>
              </a:cxn>
              <a:cxn ang="0">
                <a:pos x="80" y="96"/>
              </a:cxn>
              <a:cxn ang="0">
                <a:pos x="75" y="85"/>
              </a:cxn>
              <a:cxn ang="0">
                <a:pos x="74" y="79"/>
              </a:cxn>
              <a:cxn ang="0">
                <a:pos x="79" y="67"/>
              </a:cxn>
              <a:cxn ang="0">
                <a:pos x="84" y="56"/>
              </a:cxn>
              <a:cxn ang="0">
                <a:pos x="91" y="50"/>
              </a:cxn>
              <a:cxn ang="0">
                <a:pos x="101" y="47"/>
              </a:cxn>
              <a:cxn ang="0">
                <a:pos x="107" y="47"/>
              </a:cxn>
              <a:cxn ang="0">
                <a:pos x="105" y="38"/>
              </a:cxn>
              <a:cxn ang="0">
                <a:pos x="106" y="28"/>
              </a:cxn>
              <a:cxn ang="0">
                <a:pos x="100" y="25"/>
              </a:cxn>
              <a:cxn ang="0">
                <a:pos x="95" y="26"/>
              </a:cxn>
              <a:cxn ang="0">
                <a:pos x="89" y="27"/>
              </a:cxn>
              <a:cxn ang="0">
                <a:pos x="82" y="27"/>
              </a:cxn>
              <a:cxn ang="0">
                <a:pos x="79" y="22"/>
              </a:cxn>
              <a:cxn ang="0">
                <a:pos x="74" y="16"/>
              </a:cxn>
              <a:cxn ang="0">
                <a:pos x="68" y="11"/>
              </a:cxn>
              <a:cxn ang="0">
                <a:pos x="63" y="3"/>
              </a:cxn>
              <a:cxn ang="0">
                <a:pos x="56" y="4"/>
              </a:cxn>
              <a:cxn ang="0">
                <a:pos x="55" y="17"/>
              </a:cxn>
              <a:cxn ang="0">
                <a:pos x="30" y="38"/>
              </a:cxn>
              <a:cxn ang="0">
                <a:pos x="28" y="42"/>
              </a:cxn>
              <a:cxn ang="0">
                <a:pos x="25" y="51"/>
              </a:cxn>
              <a:cxn ang="0">
                <a:pos x="18" y="50"/>
              </a:cxn>
              <a:cxn ang="0">
                <a:pos x="8" y="46"/>
              </a:cxn>
              <a:cxn ang="0">
                <a:pos x="9" y="37"/>
              </a:cxn>
              <a:cxn ang="0">
                <a:pos x="0" y="52"/>
              </a:cxn>
              <a:cxn ang="0">
                <a:pos x="5" y="64"/>
              </a:cxn>
              <a:cxn ang="0">
                <a:pos x="15" y="77"/>
              </a:cxn>
              <a:cxn ang="0">
                <a:pos x="25" y="93"/>
              </a:cxn>
              <a:cxn ang="0">
                <a:pos x="29" y="102"/>
              </a:cxn>
              <a:cxn ang="0">
                <a:pos x="33" y="111"/>
              </a:cxn>
              <a:cxn ang="0">
                <a:pos x="42" y="126"/>
              </a:cxn>
              <a:cxn ang="0">
                <a:pos x="49" y="138"/>
              </a:cxn>
              <a:cxn ang="0">
                <a:pos x="54" y="153"/>
              </a:cxn>
              <a:cxn ang="0">
                <a:pos x="58" y="159"/>
              </a:cxn>
              <a:cxn ang="0">
                <a:pos x="67" y="169"/>
              </a:cxn>
              <a:cxn ang="0">
                <a:pos x="78" y="175"/>
              </a:cxn>
              <a:cxn ang="0">
                <a:pos x="91" y="182"/>
              </a:cxn>
              <a:cxn ang="0">
                <a:pos x="101" y="189"/>
              </a:cxn>
              <a:cxn ang="0">
                <a:pos x="117" y="202"/>
              </a:cxn>
              <a:cxn ang="0">
                <a:pos x="123" y="190"/>
              </a:cxn>
              <a:cxn ang="0">
                <a:pos x="127" y="182"/>
              </a:cxn>
            </a:cxnLst>
            <a:rect l="0" t="0" r="r" b="b"/>
            <a:pathLst>
              <a:path w="128" h="202">
                <a:moveTo>
                  <a:pt x="127" y="181"/>
                </a:moveTo>
                <a:cubicBezTo>
                  <a:pt x="127" y="180"/>
                  <a:pt x="127" y="180"/>
                  <a:pt x="127" y="179"/>
                </a:cubicBezTo>
                <a:cubicBezTo>
                  <a:pt x="127" y="180"/>
                  <a:pt x="128" y="179"/>
                  <a:pt x="128" y="178"/>
                </a:cubicBezTo>
                <a:cubicBezTo>
                  <a:pt x="127" y="178"/>
                  <a:pt x="127" y="178"/>
                  <a:pt x="126" y="179"/>
                </a:cubicBezTo>
                <a:cubicBezTo>
                  <a:pt x="126" y="179"/>
                  <a:pt x="125" y="179"/>
                  <a:pt x="125" y="179"/>
                </a:cubicBezTo>
                <a:cubicBezTo>
                  <a:pt x="125" y="179"/>
                  <a:pt x="124" y="179"/>
                  <a:pt x="124" y="178"/>
                </a:cubicBezTo>
                <a:cubicBezTo>
                  <a:pt x="124" y="178"/>
                  <a:pt x="123" y="179"/>
                  <a:pt x="123" y="178"/>
                </a:cubicBezTo>
                <a:cubicBezTo>
                  <a:pt x="122" y="178"/>
                  <a:pt x="123" y="177"/>
                  <a:pt x="123" y="176"/>
                </a:cubicBezTo>
                <a:cubicBezTo>
                  <a:pt x="123" y="176"/>
                  <a:pt x="121" y="176"/>
                  <a:pt x="121" y="176"/>
                </a:cubicBezTo>
                <a:cubicBezTo>
                  <a:pt x="121" y="176"/>
                  <a:pt x="121" y="175"/>
                  <a:pt x="120" y="175"/>
                </a:cubicBezTo>
                <a:cubicBezTo>
                  <a:pt x="120" y="175"/>
                  <a:pt x="120" y="174"/>
                  <a:pt x="119" y="174"/>
                </a:cubicBezTo>
                <a:cubicBezTo>
                  <a:pt x="119" y="174"/>
                  <a:pt x="119" y="174"/>
                  <a:pt x="119" y="174"/>
                </a:cubicBezTo>
                <a:cubicBezTo>
                  <a:pt x="119" y="175"/>
                  <a:pt x="120" y="175"/>
                  <a:pt x="119" y="175"/>
                </a:cubicBezTo>
                <a:cubicBezTo>
                  <a:pt x="119" y="175"/>
                  <a:pt x="119" y="175"/>
                  <a:pt x="119" y="175"/>
                </a:cubicBezTo>
                <a:cubicBezTo>
                  <a:pt x="118" y="175"/>
                  <a:pt x="118" y="175"/>
                  <a:pt x="118" y="175"/>
                </a:cubicBezTo>
                <a:cubicBezTo>
                  <a:pt x="117" y="175"/>
                  <a:pt x="117" y="174"/>
                  <a:pt x="117" y="174"/>
                </a:cubicBezTo>
                <a:cubicBezTo>
                  <a:pt x="117" y="173"/>
                  <a:pt x="117" y="173"/>
                  <a:pt x="118" y="173"/>
                </a:cubicBezTo>
                <a:cubicBezTo>
                  <a:pt x="118" y="173"/>
                  <a:pt x="118" y="172"/>
                  <a:pt x="118" y="171"/>
                </a:cubicBezTo>
                <a:cubicBezTo>
                  <a:pt x="119" y="172"/>
                  <a:pt x="118" y="173"/>
                  <a:pt x="119" y="173"/>
                </a:cubicBezTo>
                <a:cubicBezTo>
                  <a:pt x="120" y="174"/>
                  <a:pt x="120" y="173"/>
                  <a:pt x="119" y="172"/>
                </a:cubicBezTo>
                <a:cubicBezTo>
                  <a:pt x="119" y="172"/>
                  <a:pt x="118" y="171"/>
                  <a:pt x="118" y="170"/>
                </a:cubicBezTo>
                <a:cubicBezTo>
                  <a:pt x="117" y="169"/>
                  <a:pt x="118" y="169"/>
                  <a:pt x="119" y="169"/>
                </a:cubicBezTo>
                <a:cubicBezTo>
                  <a:pt x="119" y="169"/>
                  <a:pt x="118" y="169"/>
                  <a:pt x="118" y="169"/>
                </a:cubicBezTo>
                <a:cubicBezTo>
                  <a:pt x="118" y="168"/>
                  <a:pt x="119" y="169"/>
                  <a:pt x="120" y="168"/>
                </a:cubicBezTo>
                <a:cubicBezTo>
                  <a:pt x="120" y="168"/>
                  <a:pt x="119" y="168"/>
                  <a:pt x="120" y="168"/>
                </a:cubicBezTo>
                <a:cubicBezTo>
                  <a:pt x="120" y="168"/>
                  <a:pt x="120" y="168"/>
                  <a:pt x="120" y="169"/>
                </a:cubicBezTo>
                <a:cubicBezTo>
                  <a:pt x="121" y="169"/>
                  <a:pt x="121" y="169"/>
                  <a:pt x="122" y="169"/>
                </a:cubicBezTo>
                <a:cubicBezTo>
                  <a:pt x="122" y="170"/>
                  <a:pt x="122" y="170"/>
                  <a:pt x="122" y="170"/>
                </a:cubicBezTo>
                <a:cubicBezTo>
                  <a:pt x="122" y="170"/>
                  <a:pt x="123" y="170"/>
                  <a:pt x="123" y="171"/>
                </a:cubicBezTo>
                <a:cubicBezTo>
                  <a:pt x="123" y="171"/>
                  <a:pt x="123" y="170"/>
                  <a:pt x="123" y="170"/>
                </a:cubicBezTo>
                <a:cubicBezTo>
                  <a:pt x="123" y="170"/>
                  <a:pt x="123" y="171"/>
                  <a:pt x="123" y="171"/>
                </a:cubicBezTo>
                <a:cubicBezTo>
                  <a:pt x="124" y="171"/>
                  <a:pt x="123" y="170"/>
                  <a:pt x="124" y="170"/>
                </a:cubicBezTo>
                <a:cubicBezTo>
                  <a:pt x="124" y="169"/>
                  <a:pt x="124" y="169"/>
                  <a:pt x="124" y="169"/>
                </a:cubicBezTo>
                <a:cubicBezTo>
                  <a:pt x="124" y="168"/>
                  <a:pt x="125" y="168"/>
                  <a:pt x="125" y="168"/>
                </a:cubicBezTo>
                <a:cubicBezTo>
                  <a:pt x="125" y="168"/>
                  <a:pt x="123" y="165"/>
                  <a:pt x="123" y="164"/>
                </a:cubicBezTo>
                <a:cubicBezTo>
                  <a:pt x="123" y="164"/>
                  <a:pt x="122" y="163"/>
                  <a:pt x="123" y="163"/>
                </a:cubicBezTo>
                <a:cubicBezTo>
                  <a:pt x="123" y="162"/>
                  <a:pt x="124" y="162"/>
                  <a:pt x="124" y="162"/>
                </a:cubicBezTo>
                <a:cubicBezTo>
                  <a:pt x="123" y="161"/>
                  <a:pt x="123" y="161"/>
                  <a:pt x="124" y="160"/>
                </a:cubicBezTo>
                <a:cubicBezTo>
                  <a:pt x="124" y="160"/>
                  <a:pt x="124" y="160"/>
                  <a:pt x="124" y="160"/>
                </a:cubicBezTo>
                <a:cubicBezTo>
                  <a:pt x="124" y="159"/>
                  <a:pt x="125" y="159"/>
                  <a:pt x="126" y="158"/>
                </a:cubicBezTo>
                <a:cubicBezTo>
                  <a:pt x="126" y="158"/>
                  <a:pt x="125" y="157"/>
                  <a:pt x="126" y="157"/>
                </a:cubicBezTo>
                <a:cubicBezTo>
                  <a:pt x="126" y="156"/>
                  <a:pt x="127" y="157"/>
                  <a:pt x="127" y="156"/>
                </a:cubicBezTo>
                <a:cubicBezTo>
                  <a:pt x="127" y="156"/>
                  <a:pt x="126" y="155"/>
                  <a:pt x="126" y="155"/>
                </a:cubicBezTo>
                <a:cubicBezTo>
                  <a:pt x="126" y="154"/>
                  <a:pt x="126" y="154"/>
                  <a:pt x="125" y="154"/>
                </a:cubicBezTo>
                <a:cubicBezTo>
                  <a:pt x="125" y="153"/>
                  <a:pt x="125" y="153"/>
                  <a:pt x="125" y="153"/>
                </a:cubicBezTo>
                <a:cubicBezTo>
                  <a:pt x="125" y="152"/>
                  <a:pt x="125" y="151"/>
                  <a:pt x="125" y="151"/>
                </a:cubicBezTo>
                <a:cubicBezTo>
                  <a:pt x="124" y="151"/>
                  <a:pt x="124" y="150"/>
                  <a:pt x="124" y="150"/>
                </a:cubicBezTo>
                <a:cubicBezTo>
                  <a:pt x="125" y="150"/>
                  <a:pt x="125" y="149"/>
                  <a:pt x="125" y="149"/>
                </a:cubicBezTo>
                <a:cubicBezTo>
                  <a:pt x="125" y="148"/>
                  <a:pt x="125" y="147"/>
                  <a:pt x="125" y="146"/>
                </a:cubicBezTo>
                <a:cubicBezTo>
                  <a:pt x="125" y="145"/>
                  <a:pt x="125" y="144"/>
                  <a:pt x="125" y="144"/>
                </a:cubicBezTo>
                <a:cubicBezTo>
                  <a:pt x="124" y="142"/>
                  <a:pt x="124" y="142"/>
                  <a:pt x="125" y="141"/>
                </a:cubicBezTo>
                <a:cubicBezTo>
                  <a:pt x="126" y="140"/>
                  <a:pt x="127" y="140"/>
                  <a:pt x="127" y="139"/>
                </a:cubicBezTo>
                <a:cubicBezTo>
                  <a:pt x="126" y="139"/>
                  <a:pt x="126" y="139"/>
                  <a:pt x="126" y="139"/>
                </a:cubicBezTo>
                <a:cubicBezTo>
                  <a:pt x="126" y="138"/>
                  <a:pt x="127" y="138"/>
                  <a:pt x="127" y="138"/>
                </a:cubicBezTo>
                <a:cubicBezTo>
                  <a:pt x="127" y="137"/>
                  <a:pt x="126" y="136"/>
                  <a:pt x="126" y="135"/>
                </a:cubicBezTo>
                <a:cubicBezTo>
                  <a:pt x="125" y="133"/>
                  <a:pt x="123" y="131"/>
                  <a:pt x="122" y="128"/>
                </a:cubicBezTo>
                <a:cubicBezTo>
                  <a:pt x="121" y="127"/>
                  <a:pt x="121" y="126"/>
                  <a:pt x="120" y="125"/>
                </a:cubicBezTo>
                <a:cubicBezTo>
                  <a:pt x="119" y="124"/>
                  <a:pt x="119" y="123"/>
                  <a:pt x="118" y="122"/>
                </a:cubicBezTo>
                <a:cubicBezTo>
                  <a:pt x="118" y="122"/>
                  <a:pt x="118" y="121"/>
                  <a:pt x="117" y="121"/>
                </a:cubicBezTo>
                <a:cubicBezTo>
                  <a:pt x="116" y="121"/>
                  <a:pt x="116" y="121"/>
                  <a:pt x="116" y="121"/>
                </a:cubicBezTo>
                <a:cubicBezTo>
                  <a:pt x="115" y="120"/>
                  <a:pt x="114" y="120"/>
                  <a:pt x="114" y="120"/>
                </a:cubicBezTo>
                <a:cubicBezTo>
                  <a:pt x="112" y="121"/>
                  <a:pt x="111" y="123"/>
                  <a:pt x="109" y="122"/>
                </a:cubicBezTo>
                <a:cubicBezTo>
                  <a:pt x="109" y="121"/>
                  <a:pt x="109" y="121"/>
                  <a:pt x="108" y="120"/>
                </a:cubicBezTo>
                <a:cubicBezTo>
                  <a:pt x="108" y="120"/>
                  <a:pt x="107" y="121"/>
                  <a:pt x="107" y="121"/>
                </a:cubicBezTo>
                <a:cubicBezTo>
                  <a:pt x="107" y="118"/>
                  <a:pt x="107" y="115"/>
                  <a:pt x="106" y="112"/>
                </a:cubicBezTo>
                <a:cubicBezTo>
                  <a:pt x="106" y="111"/>
                  <a:pt x="106" y="108"/>
                  <a:pt x="107" y="108"/>
                </a:cubicBezTo>
                <a:cubicBezTo>
                  <a:pt x="107" y="108"/>
                  <a:pt x="107" y="107"/>
                  <a:pt x="107" y="107"/>
                </a:cubicBezTo>
                <a:cubicBezTo>
                  <a:pt x="107" y="106"/>
                  <a:pt x="107" y="106"/>
                  <a:pt x="106" y="105"/>
                </a:cubicBezTo>
                <a:cubicBezTo>
                  <a:pt x="107" y="106"/>
                  <a:pt x="107" y="104"/>
                  <a:pt x="107" y="104"/>
                </a:cubicBezTo>
                <a:cubicBezTo>
                  <a:pt x="107" y="103"/>
                  <a:pt x="106" y="105"/>
                  <a:pt x="106" y="105"/>
                </a:cubicBezTo>
                <a:cubicBezTo>
                  <a:pt x="105" y="106"/>
                  <a:pt x="104" y="106"/>
                  <a:pt x="103" y="107"/>
                </a:cubicBezTo>
                <a:cubicBezTo>
                  <a:pt x="103" y="108"/>
                  <a:pt x="103" y="108"/>
                  <a:pt x="102" y="108"/>
                </a:cubicBezTo>
                <a:cubicBezTo>
                  <a:pt x="101" y="109"/>
                  <a:pt x="101" y="109"/>
                  <a:pt x="101" y="109"/>
                </a:cubicBezTo>
                <a:cubicBezTo>
                  <a:pt x="101" y="110"/>
                  <a:pt x="100" y="110"/>
                  <a:pt x="100" y="110"/>
                </a:cubicBezTo>
                <a:cubicBezTo>
                  <a:pt x="100" y="110"/>
                  <a:pt x="99" y="110"/>
                  <a:pt x="98" y="110"/>
                </a:cubicBezTo>
                <a:cubicBezTo>
                  <a:pt x="97" y="110"/>
                  <a:pt x="96" y="110"/>
                  <a:pt x="95" y="110"/>
                </a:cubicBezTo>
                <a:cubicBezTo>
                  <a:pt x="94" y="110"/>
                  <a:pt x="93" y="110"/>
                  <a:pt x="91" y="110"/>
                </a:cubicBezTo>
                <a:cubicBezTo>
                  <a:pt x="92" y="110"/>
                  <a:pt x="92" y="109"/>
                  <a:pt x="92" y="109"/>
                </a:cubicBezTo>
                <a:cubicBezTo>
                  <a:pt x="92" y="108"/>
                  <a:pt x="91" y="108"/>
                  <a:pt x="91" y="108"/>
                </a:cubicBezTo>
                <a:cubicBezTo>
                  <a:pt x="90" y="107"/>
                  <a:pt x="90" y="106"/>
                  <a:pt x="90" y="106"/>
                </a:cubicBezTo>
                <a:cubicBezTo>
                  <a:pt x="90" y="105"/>
                  <a:pt x="90" y="105"/>
                  <a:pt x="89" y="105"/>
                </a:cubicBezTo>
                <a:cubicBezTo>
                  <a:pt x="89" y="104"/>
                  <a:pt x="88" y="105"/>
                  <a:pt x="88" y="104"/>
                </a:cubicBezTo>
                <a:cubicBezTo>
                  <a:pt x="87" y="104"/>
                  <a:pt x="87" y="104"/>
                  <a:pt x="86" y="104"/>
                </a:cubicBezTo>
                <a:cubicBezTo>
                  <a:pt x="84" y="104"/>
                  <a:pt x="83" y="104"/>
                  <a:pt x="81" y="104"/>
                </a:cubicBezTo>
                <a:cubicBezTo>
                  <a:pt x="81" y="103"/>
                  <a:pt x="82" y="103"/>
                  <a:pt x="82" y="103"/>
                </a:cubicBezTo>
                <a:cubicBezTo>
                  <a:pt x="82" y="102"/>
                  <a:pt x="82" y="102"/>
                  <a:pt x="82" y="102"/>
                </a:cubicBezTo>
                <a:cubicBezTo>
                  <a:pt x="82" y="102"/>
                  <a:pt x="83" y="102"/>
                  <a:pt x="83" y="102"/>
                </a:cubicBezTo>
                <a:cubicBezTo>
                  <a:pt x="83" y="101"/>
                  <a:pt x="83" y="101"/>
                  <a:pt x="83" y="101"/>
                </a:cubicBezTo>
                <a:cubicBezTo>
                  <a:pt x="83" y="101"/>
                  <a:pt x="83" y="101"/>
                  <a:pt x="83" y="101"/>
                </a:cubicBezTo>
                <a:cubicBezTo>
                  <a:pt x="84" y="100"/>
                  <a:pt x="82" y="98"/>
                  <a:pt x="82" y="97"/>
                </a:cubicBezTo>
                <a:cubicBezTo>
                  <a:pt x="81" y="96"/>
                  <a:pt x="81" y="96"/>
                  <a:pt x="80" y="96"/>
                </a:cubicBezTo>
                <a:cubicBezTo>
                  <a:pt x="79" y="95"/>
                  <a:pt x="79" y="94"/>
                  <a:pt x="79" y="94"/>
                </a:cubicBezTo>
                <a:cubicBezTo>
                  <a:pt x="79" y="93"/>
                  <a:pt x="78" y="93"/>
                  <a:pt x="78" y="93"/>
                </a:cubicBezTo>
                <a:cubicBezTo>
                  <a:pt x="77" y="92"/>
                  <a:pt x="77" y="91"/>
                  <a:pt x="77" y="90"/>
                </a:cubicBezTo>
                <a:cubicBezTo>
                  <a:pt x="77" y="90"/>
                  <a:pt x="76" y="89"/>
                  <a:pt x="76" y="88"/>
                </a:cubicBezTo>
                <a:cubicBezTo>
                  <a:pt x="75" y="88"/>
                  <a:pt x="75" y="88"/>
                  <a:pt x="75" y="87"/>
                </a:cubicBezTo>
                <a:cubicBezTo>
                  <a:pt x="74" y="87"/>
                  <a:pt x="75" y="87"/>
                  <a:pt x="75" y="87"/>
                </a:cubicBezTo>
                <a:cubicBezTo>
                  <a:pt x="76" y="86"/>
                  <a:pt x="75" y="86"/>
                  <a:pt x="75" y="85"/>
                </a:cubicBezTo>
                <a:cubicBezTo>
                  <a:pt x="74" y="85"/>
                  <a:pt x="73" y="84"/>
                  <a:pt x="72" y="83"/>
                </a:cubicBezTo>
                <a:cubicBezTo>
                  <a:pt x="72" y="83"/>
                  <a:pt x="72" y="83"/>
                  <a:pt x="72" y="83"/>
                </a:cubicBezTo>
                <a:cubicBezTo>
                  <a:pt x="73" y="83"/>
                  <a:pt x="73" y="83"/>
                  <a:pt x="73" y="82"/>
                </a:cubicBezTo>
                <a:cubicBezTo>
                  <a:pt x="73" y="82"/>
                  <a:pt x="72" y="81"/>
                  <a:pt x="73" y="81"/>
                </a:cubicBezTo>
                <a:cubicBezTo>
                  <a:pt x="73" y="81"/>
                  <a:pt x="73" y="81"/>
                  <a:pt x="74" y="81"/>
                </a:cubicBezTo>
                <a:cubicBezTo>
                  <a:pt x="74" y="81"/>
                  <a:pt x="74" y="81"/>
                  <a:pt x="75" y="81"/>
                </a:cubicBezTo>
                <a:cubicBezTo>
                  <a:pt x="76" y="81"/>
                  <a:pt x="74" y="79"/>
                  <a:pt x="74" y="79"/>
                </a:cubicBezTo>
                <a:cubicBezTo>
                  <a:pt x="74" y="78"/>
                  <a:pt x="74" y="77"/>
                  <a:pt x="74" y="76"/>
                </a:cubicBezTo>
                <a:cubicBezTo>
                  <a:pt x="74" y="76"/>
                  <a:pt x="75" y="75"/>
                  <a:pt x="75" y="75"/>
                </a:cubicBezTo>
                <a:cubicBezTo>
                  <a:pt x="76" y="74"/>
                  <a:pt x="77" y="73"/>
                  <a:pt x="78" y="73"/>
                </a:cubicBezTo>
                <a:cubicBezTo>
                  <a:pt x="79" y="72"/>
                  <a:pt x="79" y="73"/>
                  <a:pt x="80" y="72"/>
                </a:cubicBezTo>
                <a:cubicBezTo>
                  <a:pt x="80" y="72"/>
                  <a:pt x="80" y="71"/>
                  <a:pt x="80" y="70"/>
                </a:cubicBezTo>
                <a:cubicBezTo>
                  <a:pt x="80" y="70"/>
                  <a:pt x="80" y="69"/>
                  <a:pt x="80" y="68"/>
                </a:cubicBezTo>
                <a:cubicBezTo>
                  <a:pt x="79" y="68"/>
                  <a:pt x="79" y="68"/>
                  <a:pt x="79" y="67"/>
                </a:cubicBezTo>
                <a:cubicBezTo>
                  <a:pt x="79" y="66"/>
                  <a:pt x="80" y="65"/>
                  <a:pt x="81" y="64"/>
                </a:cubicBezTo>
                <a:cubicBezTo>
                  <a:pt x="81" y="63"/>
                  <a:pt x="82" y="62"/>
                  <a:pt x="82" y="62"/>
                </a:cubicBezTo>
                <a:cubicBezTo>
                  <a:pt x="82" y="61"/>
                  <a:pt x="81" y="61"/>
                  <a:pt x="82" y="60"/>
                </a:cubicBezTo>
                <a:cubicBezTo>
                  <a:pt x="82" y="59"/>
                  <a:pt x="82" y="59"/>
                  <a:pt x="82" y="58"/>
                </a:cubicBezTo>
                <a:cubicBezTo>
                  <a:pt x="82" y="58"/>
                  <a:pt x="82" y="57"/>
                  <a:pt x="82" y="57"/>
                </a:cubicBezTo>
                <a:cubicBezTo>
                  <a:pt x="82" y="57"/>
                  <a:pt x="82" y="57"/>
                  <a:pt x="82" y="56"/>
                </a:cubicBezTo>
                <a:cubicBezTo>
                  <a:pt x="83" y="56"/>
                  <a:pt x="83" y="56"/>
                  <a:pt x="84" y="56"/>
                </a:cubicBezTo>
                <a:cubicBezTo>
                  <a:pt x="85" y="56"/>
                  <a:pt x="84" y="55"/>
                  <a:pt x="85" y="55"/>
                </a:cubicBezTo>
                <a:cubicBezTo>
                  <a:pt x="85" y="55"/>
                  <a:pt x="86" y="55"/>
                  <a:pt x="86" y="54"/>
                </a:cubicBezTo>
                <a:cubicBezTo>
                  <a:pt x="87" y="54"/>
                  <a:pt x="87" y="53"/>
                  <a:pt x="87" y="53"/>
                </a:cubicBezTo>
                <a:cubicBezTo>
                  <a:pt x="88" y="53"/>
                  <a:pt x="88" y="53"/>
                  <a:pt x="89" y="52"/>
                </a:cubicBezTo>
                <a:cubicBezTo>
                  <a:pt x="89" y="52"/>
                  <a:pt x="89" y="51"/>
                  <a:pt x="90" y="51"/>
                </a:cubicBezTo>
                <a:cubicBezTo>
                  <a:pt x="90" y="51"/>
                  <a:pt x="90" y="51"/>
                  <a:pt x="91" y="51"/>
                </a:cubicBezTo>
                <a:cubicBezTo>
                  <a:pt x="91" y="50"/>
                  <a:pt x="91" y="50"/>
                  <a:pt x="91" y="50"/>
                </a:cubicBezTo>
                <a:cubicBezTo>
                  <a:pt x="92" y="50"/>
                  <a:pt x="93" y="49"/>
                  <a:pt x="94" y="50"/>
                </a:cubicBezTo>
                <a:cubicBezTo>
                  <a:pt x="94" y="50"/>
                  <a:pt x="96" y="49"/>
                  <a:pt x="96" y="49"/>
                </a:cubicBezTo>
                <a:cubicBezTo>
                  <a:pt x="97" y="49"/>
                  <a:pt x="97" y="48"/>
                  <a:pt x="98" y="48"/>
                </a:cubicBezTo>
                <a:cubicBezTo>
                  <a:pt x="98" y="48"/>
                  <a:pt x="98" y="49"/>
                  <a:pt x="98" y="48"/>
                </a:cubicBezTo>
                <a:cubicBezTo>
                  <a:pt x="99" y="48"/>
                  <a:pt x="99" y="49"/>
                  <a:pt x="99" y="48"/>
                </a:cubicBezTo>
                <a:cubicBezTo>
                  <a:pt x="99" y="48"/>
                  <a:pt x="100" y="49"/>
                  <a:pt x="100" y="48"/>
                </a:cubicBezTo>
                <a:cubicBezTo>
                  <a:pt x="100" y="49"/>
                  <a:pt x="101" y="47"/>
                  <a:pt x="101" y="47"/>
                </a:cubicBezTo>
                <a:cubicBezTo>
                  <a:pt x="102" y="47"/>
                  <a:pt x="102" y="46"/>
                  <a:pt x="102" y="46"/>
                </a:cubicBezTo>
                <a:cubicBezTo>
                  <a:pt x="103" y="46"/>
                  <a:pt x="103" y="46"/>
                  <a:pt x="103" y="46"/>
                </a:cubicBezTo>
                <a:cubicBezTo>
                  <a:pt x="104" y="46"/>
                  <a:pt x="104" y="46"/>
                  <a:pt x="104" y="46"/>
                </a:cubicBezTo>
                <a:cubicBezTo>
                  <a:pt x="104" y="46"/>
                  <a:pt x="104" y="46"/>
                  <a:pt x="105" y="46"/>
                </a:cubicBezTo>
                <a:cubicBezTo>
                  <a:pt x="105" y="46"/>
                  <a:pt x="105" y="46"/>
                  <a:pt x="105" y="46"/>
                </a:cubicBezTo>
                <a:cubicBezTo>
                  <a:pt x="106" y="46"/>
                  <a:pt x="106" y="46"/>
                  <a:pt x="106" y="46"/>
                </a:cubicBezTo>
                <a:cubicBezTo>
                  <a:pt x="107" y="45"/>
                  <a:pt x="107" y="47"/>
                  <a:pt x="107" y="47"/>
                </a:cubicBezTo>
                <a:cubicBezTo>
                  <a:pt x="107" y="48"/>
                  <a:pt x="108" y="48"/>
                  <a:pt x="108" y="47"/>
                </a:cubicBezTo>
                <a:cubicBezTo>
                  <a:pt x="109" y="46"/>
                  <a:pt x="109" y="49"/>
                  <a:pt x="110" y="48"/>
                </a:cubicBezTo>
                <a:cubicBezTo>
                  <a:pt x="111" y="47"/>
                  <a:pt x="110" y="46"/>
                  <a:pt x="109" y="46"/>
                </a:cubicBezTo>
                <a:cubicBezTo>
                  <a:pt x="108" y="45"/>
                  <a:pt x="108" y="44"/>
                  <a:pt x="108" y="44"/>
                </a:cubicBezTo>
                <a:cubicBezTo>
                  <a:pt x="107" y="43"/>
                  <a:pt x="107" y="41"/>
                  <a:pt x="106" y="42"/>
                </a:cubicBezTo>
                <a:cubicBezTo>
                  <a:pt x="105" y="42"/>
                  <a:pt x="104" y="43"/>
                  <a:pt x="103" y="42"/>
                </a:cubicBezTo>
                <a:cubicBezTo>
                  <a:pt x="103" y="41"/>
                  <a:pt x="104" y="39"/>
                  <a:pt x="105" y="38"/>
                </a:cubicBezTo>
                <a:cubicBezTo>
                  <a:pt x="105" y="37"/>
                  <a:pt x="106" y="35"/>
                  <a:pt x="107" y="34"/>
                </a:cubicBezTo>
                <a:cubicBezTo>
                  <a:pt x="107" y="33"/>
                  <a:pt x="109" y="31"/>
                  <a:pt x="109" y="30"/>
                </a:cubicBezTo>
                <a:cubicBezTo>
                  <a:pt x="109" y="29"/>
                  <a:pt x="108" y="30"/>
                  <a:pt x="108" y="30"/>
                </a:cubicBezTo>
                <a:cubicBezTo>
                  <a:pt x="108" y="30"/>
                  <a:pt x="107" y="29"/>
                  <a:pt x="107" y="29"/>
                </a:cubicBezTo>
                <a:cubicBezTo>
                  <a:pt x="107" y="28"/>
                  <a:pt x="107" y="28"/>
                  <a:pt x="106" y="29"/>
                </a:cubicBezTo>
                <a:cubicBezTo>
                  <a:pt x="106" y="29"/>
                  <a:pt x="106" y="29"/>
                  <a:pt x="106" y="28"/>
                </a:cubicBezTo>
                <a:cubicBezTo>
                  <a:pt x="106" y="28"/>
                  <a:pt x="106" y="28"/>
                  <a:pt x="106" y="28"/>
                </a:cubicBezTo>
                <a:cubicBezTo>
                  <a:pt x="106" y="28"/>
                  <a:pt x="106" y="28"/>
                  <a:pt x="105" y="28"/>
                </a:cubicBezTo>
                <a:cubicBezTo>
                  <a:pt x="105" y="28"/>
                  <a:pt x="104" y="27"/>
                  <a:pt x="104" y="27"/>
                </a:cubicBezTo>
                <a:cubicBezTo>
                  <a:pt x="104" y="27"/>
                  <a:pt x="104" y="27"/>
                  <a:pt x="104" y="28"/>
                </a:cubicBezTo>
                <a:cubicBezTo>
                  <a:pt x="104" y="28"/>
                  <a:pt x="102" y="26"/>
                  <a:pt x="102" y="26"/>
                </a:cubicBezTo>
                <a:cubicBezTo>
                  <a:pt x="102" y="26"/>
                  <a:pt x="101" y="25"/>
                  <a:pt x="101" y="25"/>
                </a:cubicBezTo>
                <a:cubicBezTo>
                  <a:pt x="101" y="25"/>
                  <a:pt x="101" y="25"/>
                  <a:pt x="101" y="25"/>
                </a:cubicBezTo>
                <a:cubicBezTo>
                  <a:pt x="101" y="25"/>
                  <a:pt x="100" y="25"/>
                  <a:pt x="100" y="25"/>
                </a:cubicBezTo>
                <a:cubicBezTo>
                  <a:pt x="100" y="25"/>
                  <a:pt x="100" y="25"/>
                  <a:pt x="100" y="25"/>
                </a:cubicBezTo>
                <a:cubicBezTo>
                  <a:pt x="99" y="25"/>
                  <a:pt x="100" y="25"/>
                  <a:pt x="99" y="26"/>
                </a:cubicBezTo>
                <a:cubicBezTo>
                  <a:pt x="99" y="26"/>
                  <a:pt x="99" y="25"/>
                  <a:pt x="99" y="26"/>
                </a:cubicBezTo>
                <a:cubicBezTo>
                  <a:pt x="98" y="26"/>
                  <a:pt x="97" y="27"/>
                  <a:pt x="97" y="26"/>
                </a:cubicBezTo>
                <a:cubicBezTo>
                  <a:pt x="97" y="26"/>
                  <a:pt x="96" y="26"/>
                  <a:pt x="96" y="26"/>
                </a:cubicBezTo>
                <a:cubicBezTo>
                  <a:pt x="96" y="26"/>
                  <a:pt x="96" y="26"/>
                  <a:pt x="96" y="26"/>
                </a:cubicBezTo>
                <a:cubicBezTo>
                  <a:pt x="95" y="25"/>
                  <a:pt x="95" y="26"/>
                  <a:pt x="95" y="26"/>
                </a:cubicBezTo>
                <a:cubicBezTo>
                  <a:pt x="95" y="26"/>
                  <a:pt x="95" y="25"/>
                  <a:pt x="94" y="25"/>
                </a:cubicBezTo>
                <a:cubicBezTo>
                  <a:pt x="94" y="25"/>
                  <a:pt x="93" y="25"/>
                  <a:pt x="93" y="25"/>
                </a:cubicBezTo>
                <a:cubicBezTo>
                  <a:pt x="93" y="25"/>
                  <a:pt x="93" y="24"/>
                  <a:pt x="93" y="24"/>
                </a:cubicBezTo>
                <a:cubicBezTo>
                  <a:pt x="92" y="24"/>
                  <a:pt x="91" y="26"/>
                  <a:pt x="91" y="26"/>
                </a:cubicBezTo>
                <a:cubicBezTo>
                  <a:pt x="91" y="26"/>
                  <a:pt x="91" y="27"/>
                  <a:pt x="90" y="26"/>
                </a:cubicBezTo>
                <a:cubicBezTo>
                  <a:pt x="90" y="26"/>
                  <a:pt x="90" y="26"/>
                  <a:pt x="89" y="26"/>
                </a:cubicBezTo>
                <a:cubicBezTo>
                  <a:pt x="89" y="27"/>
                  <a:pt x="89" y="27"/>
                  <a:pt x="89" y="27"/>
                </a:cubicBezTo>
                <a:cubicBezTo>
                  <a:pt x="88" y="27"/>
                  <a:pt x="88" y="27"/>
                  <a:pt x="88" y="27"/>
                </a:cubicBezTo>
                <a:cubicBezTo>
                  <a:pt x="88" y="28"/>
                  <a:pt x="87" y="28"/>
                  <a:pt x="87" y="28"/>
                </a:cubicBezTo>
                <a:cubicBezTo>
                  <a:pt x="86" y="27"/>
                  <a:pt x="86" y="27"/>
                  <a:pt x="86" y="27"/>
                </a:cubicBezTo>
                <a:cubicBezTo>
                  <a:pt x="85" y="27"/>
                  <a:pt x="85" y="27"/>
                  <a:pt x="84" y="27"/>
                </a:cubicBezTo>
                <a:cubicBezTo>
                  <a:pt x="84" y="27"/>
                  <a:pt x="84" y="27"/>
                  <a:pt x="84" y="28"/>
                </a:cubicBezTo>
                <a:cubicBezTo>
                  <a:pt x="83" y="28"/>
                  <a:pt x="83" y="27"/>
                  <a:pt x="83" y="27"/>
                </a:cubicBezTo>
                <a:cubicBezTo>
                  <a:pt x="83" y="27"/>
                  <a:pt x="83" y="27"/>
                  <a:pt x="82" y="27"/>
                </a:cubicBezTo>
                <a:cubicBezTo>
                  <a:pt x="82" y="27"/>
                  <a:pt x="82" y="28"/>
                  <a:pt x="82" y="28"/>
                </a:cubicBezTo>
                <a:cubicBezTo>
                  <a:pt x="81" y="28"/>
                  <a:pt x="81" y="27"/>
                  <a:pt x="81" y="27"/>
                </a:cubicBezTo>
                <a:cubicBezTo>
                  <a:pt x="80" y="26"/>
                  <a:pt x="80" y="27"/>
                  <a:pt x="80" y="27"/>
                </a:cubicBezTo>
                <a:cubicBezTo>
                  <a:pt x="80" y="26"/>
                  <a:pt x="79" y="26"/>
                  <a:pt x="79" y="26"/>
                </a:cubicBezTo>
                <a:cubicBezTo>
                  <a:pt x="79" y="26"/>
                  <a:pt x="79" y="25"/>
                  <a:pt x="79" y="25"/>
                </a:cubicBezTo>
                <a:cubicBezTo>
                  <a:pt x="79" y="25"/>
                  <a:pt x="79" y="25"/>
                  <a:pt x="79" y="24"/>
                </a:cubicBezTo>
                <a:cubicBezTo>
                  <a:pt x="80" y="24"/>
                  <a:pt x="79" y="23"/>
                  <a:pt x="79" y="22"/>
                </a:cubicBezTo>
                <a:cubicBezTo>
                  <a:pt x="79" y="22"/>
                  <a:pt x="79" y="20"/>
                  <a:pt x="78" y="20"/>
                </a:cubicBezTo>
                <a:cubicBezTo>
                  <a:pt x="78" y="20"/>
                  <a:pt x="78" y="20"/>
                  <a:pt x="77" y="20"/>
                </a:cubicBezTo>
                <a:cubicBezTo>
                  <a:pt x="77" y="20"/>
                  <a:pt x="77" y="21"/>
                  <a:pt x="77" y="21"/>
                </a:cubicBezTo>
                <a:cubicBezTo>
                  <a:pt x="77" y="21"/>
                  <a:pt x="76" y="20"/>
                  <a:pt x="76" y="20"/>
                </a:cubicBezTo>
                <a:cubicBezTo>
                  <a:pt x="76" y="20"/>
                  <a:pt x="75" y="20"/>
                  <a:pt x="75" y="19"/>
                </a:cubicBezTo>
                <a:cubicBezTo>
                  <a:pt x="75" y="19"/>
                  <a:pt x="76" y="18"/>
                  <a:pt x="75" y="17"/>
                </a:cubicBezTo>
                <a:cubicBezTo>
                  <a:pt x="75" y="17"/>
                  <a:pt x="75" y="16"/>
                  <a:pt x="74" y="16"/>
                </a:cubicBezTo>
                <a:cubicBezTo>
                  <a:pt x="74" y="15"/>
                  <a:pt x="74" y="15"/>
                  <a:pt x="73" y="14"/>
                </a:cubicBezTo>
                <a:cubicBezTo>
                  <a:pt x="73" y="14"/>
                  <a:pt x="73" y="14"/>
                  <a:pt x="73" y="14"/>
                </a:cubicBezTo>
                <a:cubicBezTo>
                  <a:pt x="72" y="15"/>
                  <a:pt x="72" y="14"/>
                  <a:pt x="72" y="14"/>
                </a:cubicBezTo>
                <a:cubicBezTo>
                  <a:pt x="71" y="14"/>
                  <a:pt x="72" y="13"/>
                  <a:pt x="71" y="13"/>
                </a:cubicBezTo>
                <a:cubicBezTo>
                  <a:pt x="71" y="13"/>
                  <a:pt x="71" y="13"/>
                  <a:pt x="71" y="13"/>
                </a:cubicBezTo>
                <a:cubicBezTo>
                  <a:pt x="70" y="13"/>
                  <a:pt x="70" y="12"/>
                  <a:pt x="70" y="12"/>
                </a:cubicBezTo>
                <a:cubicBezTo>
                  <a:pt x="70" y="12"/>
                  <a:pt x="68" y="12"/>
                  <a:pt x="68" y="11"/>
                </a:cubicBezTo>
                <a:cubicBezTo>
                  <a:pt x="68" y="11"/>
                  <a:pt x="67" y="10"/>
                  <a:pt x="67" y="10"/>
                </a:cubicBezTo>
                <a:cubicBezTo>
                  <a:pt x="68" y="10"/>
                  <a:pt x="67" y="9"/>
                  <a:pt x="67" y="9"/>
                </a:cubicBezTo>
                <a:cubicBezTo>
                  <a:pt x="66" y="9"/>
                  <a:pt x="67" y="8"/>
                  <a:pt x="66" y="7"/>
                </a:cubicBezTo>
                <a:cubicBezTo>
                  <a:pt x="66" y="6"/>
                  <a:pt x="66" y="6"/>
                  <a:pt x="65" y="6"/>
                </a:cubicBezTo>
                <a:cubicBezTo>
                  <a:pt x="65" y="5"/>
                  <a:pt x="65" y="5"/>
                  <a:pt x="64" y="5"/>
                </a:cubicBezTo>
                <a:cubicBezTo>
                  <a:pt x="64" y="5"/>
                  <a:pt x="64" y="4"/>
                  <a:pt x="63" y="4"/>
                </a:cubicBezTo>
                <a:cubicBezTo>
                  <a:pt x="63" y="4"/>
                  <a:pt x="63" y="3"/>
                  <a:pt x="63" y="3"/>
                </a:cubicBezTo>
                <a:cubicBezTo>
                  <a:pt x="62" y="2"/>
                  <a:pt x="62" y="3"/>
                  <a:pt x="62" y="3"/>
                </a:cubicBezTo>
                <a:cubicBezTo>
                  <a:pt x="62" y="3"/>
                  <a:pt x="61" y="2"/>
                  <a:pt x="61" y="2"/>
                </a:cubicBezTo>
                <a:cubicBezTo>
                  <a:pt x="60" y="2"/>
                  <a:pt x="60" y="1"/>
                  <a:pt x="60" y="1"/>
                </a:cubicBezTo>
                <a:cubicBezTo>
                  <a:pt x="58" y="0"/>
                  <a:pt x="59" y="2"/>
                  <a:pt x="58" y="2"/>
                </a:cubicBezTo>
                <a:cubicBezTo>
                  <a:pt x="57" y="2"/>
                  <a:pt x="56" y="2"/>
                  <a:pt x="55" y="2"/>
                </a:cubicBezTo>
                <a:cubicBezTo>
                  <a:pt x="54" y="1"/>
                  <a:pt x="54" y="2"/>
                  <a:pt x="55" y="2"/>
                </a:cubicBezTo>
                <a:cubicBezTo>
                  <a:pt x="55" y="3"/>
                  <a:pt x="56" y="3"/>
                  <a:pt x="56" y="4"/>
                </a:cubicBezTo>
                <a:cubicBezTo>
                  <a:pt x="56" y="5"/>
                  <a:pt x="56" y="5"/>
                  <a:pt x="57" y="5"/>
                </a:cubicBezTo>
                <a:cubicBezTo>
                  <a:pt x="58" y="6"/>
                  <a:pt x="58" y="6"/>
                  <a:pt x="58" y="7"/>
                </a:cubicBezTo>
                <a:cubicBezTo>
                  <a:pt x="58" y="8"/>
                  <a:pt x="58" y="8"/>
                  <a:pt x="58" y="8"/>
                </a:cubicBezTo>
                <a:cubicBezTo>
                  <a:pt x="58" y="9"/>
                  <a:pt x="58" y="9"/>
                  <a:pt x="58" y="9"/>
                </a:cubicBezTo>
                <a:cubicBezTo>
                  <a:pt x="58" y="9"/>
                  <a:pt x="58" y="11"/>
                  <a:pt x="58" y="11"/>
                </a:cubicBezTo>
                <a:cubicBezTo>
                  <a:pt x="57" y="11"/>
                  <a:pt x="57" y="11"/>
                  <a:pt x="56" y="10"/>
                </a:cubicBezTo>
                <a:cubicBezTo>
                  <a:pt x="56" y="13"/>
                  <a:pt x="56" y="15"/>
                  <a:pt x="55" y="17"/>
                </a:cubicBezTo>
                <a:cubicBezTo>
                  <a:pt x="54" y="19"/>
                  <a:pt x="52" y="21"/>
                  <a:pt x="51" y="22"/>
                </a:cubicBezTo>
                <a:cubicBezTo>
                  <a:pt x="50" y="25"/>
                  <a:pt x="47" y="26"/>
                  <a:pt x="46" y="28"/>
                </a:cubicBezTo>
                <a:cubicBezTo>
                  <a:pt x="45" y="29"/>
                  <a:pt x="43" y="29"/>
                  <a:pt x="42" y="30"/>
                </a:cubicBezTo>
                <a:cubicBezTo>
                  <a:pt x="41" y="30"/>
                  <a:pt x="40" y="30"/>
                  <a:pt x="39" y="31"/>
                </a:cubicBezTo>
                <a:cubicBezTo>
                  <a:pt x="37" y="31"/>
                  <a:pt x="35" y="32"/>
                  <a:pt x="34" y="33"/>
                </a:cubicBezTo>
                <a:cubicBezTo>
                  <a:pt x="32" y="33"/>
                  <a:pt x="31" y="35"/>
                  <a:pt x="31" y="36"/>
                </a:cubicBezTo>
                <a:cubicBezTo>
                  <a:pt x="30" y="37"/>
                  <a:pt x="30" y="37"/>
                  <a:pt x="30" y="38"/>
                </a:cubicBezTo>
                <a:cubicBezTo>
                  <a:pt x="31" y="38"/>
                  <a:pt x="31" y="38"/>
                  <a:pt x="30" y="39"/>
                </a:cubicBezTo>
                <a:cubicBezTo>
                  <a:pt x="29" y="39"/>
                  <a:pt x="30" y="38"/>
                  <a:pt x="29" y="38"/>
                </a:cubicBezTo>
                <a:cubicBezTo>
                  <a:pt x="29" y="38"/>
                  <a:pt x="29" y="37"/>
                  <a:pt x="28" y="38"/>
                </a:cubicBezTo>
                <a:cubicBezTo>
                  <a:pt x="28" y="38"/>
                  <a:pt x="28" y="39"/>
                  <a:pt x="28" y="39"/>
                </a:cubicBezTo>
                <a:cubicBezTo>
                  <a:pt x="28" y="40"/>
                  <a:pt x="28" y="40"/>
                  <a:pt x="28" y="41"/>
                </a:cubicBezTo>
                <a:cubicBezTo>
                  <a:pt x="28" y="41"/>
                  <a:pt x="28" y="41"/>
                  <a:pt x="28" y="41"/>
                </a:cubicBezTo>
                <a:cubicBezTo>
                  <a:pt x="28" y="41"/>
                  <a:pt x="28" y="42"/>
                  <a:pt x="28" y="42"/>
                </a:cubicBezTo>
                <a:cubicBezTo>
                  <a:pt x="28" y="42"/>
                  <a:pt x="27" y="42"/>
                  <a:pt x="27" y="43"/>
                </a:cubicBezTo>
                <a:cubicBezTo>
                  <a:pt x="27" y="43"/>
                  <a:pt x="27" y="43"/>
                  <a:pt x="27" y="44"/>
                </a:cubicBezTo>
                <a:cubicBezTo>
                  <a:pt x="27" y="44"/>
                  <a:pt x="27" y="44"/>
                  <a:pt x="27" y="44"/>
                </a:cubicBezTo>
                <a:cubicBezTo>
                  <a:pt x="26" y="44"/>
                  <a:pt x="27" y="45"/>
                  <a:pt x="26" y="45"/>
                </a:cubicBezTo>
                <a:cubicBezTo>
                  <a:pt x="26" y="46"/>
                  <a:pt x="26" y="46"/>
                  <a:pt x="26" y="46"/>
                </a:cubicBezTo>
                <a:cubicBezTo>
                  <a:pt x="26" y="47"/>
                  <a:pt x="25" y="48"/>
                  <a:pt x="26" y="48"/>
                </a:cubicBezTo>
                <a:cubicBezTo>
                  <a:pt x="26" y="49"/>
                  <a:pt x="26" y="50"/>
                  <a:pt x="25" y="51"/>
                </a:cubicBezTo>
                <a:cubicBezTo>
                  <a:pt x="24" y="51"/>
                  <a:pt x="24" y="51"/>
                  <a:pt x="24" y="52"/>
                </a:cubicBezTo>
                <a:cubicBezTo>
                  <a:pt x="23" y="53"/>
                  <a:pt x="24" y="53"/>
                  <a:pt x="24" y="53"/>
                </a:cubicBezTo>
                <a:cubicBezTo>
                  <a:pt x="24" y="54"/>
                  <a:pt x="23" y="54"/>
                  <a:pt x="23" y="54"/>
                </a:cubicBezTo>
                <a:cubicBezTo>
                  <a:pt x="23" y="54"/>
                  <a:pt x="23" y="54"/>
                  <a:pt x="23" y="54"/>
                </a:cubicBezTo>
                <a:cubicBezTo>
                  <a:pt x="23" y="55"/>
                  <a:pt x="23" y="55"/>
                  <a:pt x="22" y="55"/>
                </a:cubicBezTo>
                <a:cubicBezTo>
                  <a:pt x="21" y="55"/>
                  <a:pt x="20" y="55"/>
                  <a:pt x="19" y="54"/>
                </a:cubicBezTo>
                <a:cubicBezTo>
                  <a:pt x="18" y="53"/>
                  <a:pt x="17" y="51"/>
                  <a:pt x="18" y="50"/>
                </a:cubicBezTo>
                <a:cubicBezTo>
                  <a:pt x="18" y="50"/>
                  <a:pt x="17" y="49"/>
                  <a:pt x="16" y="49"/>
                </a:cubicBezTo>
                <a:cubicBezTo>
                  <a:pt x="16" y="49"/>
                  <a:pt x="15" y="50"/>
                  <a:pt x="14" y="49"/>
                </a:cubicBezTo>
                <a:cubicBezTo>
                  <a:pt x="14" y="49"/>
                  <a:pt x="14" y="49"/>
                  <a:pt x="13" y="48"/>
                </a:cubicBezTo>
                <a:cubicBezTo>
                  <a:pt x="12" y="48"/>
                  <a:pt x="12" y="47"/>
                  <a:pt x="11" y="47"/>
                </a:cubicBezTo>
                <a:cubicBezTo>
                  <a:pt x="10" y="47"/>
                  <a:pt x="10" y="50"/>
                  <a:pt x="9" y="49"/>
                </a:cubicBezTo>
                <a:cubicBezTo>
                  <a:pt x="7" y="49"/>
                  <a:pt x="10" y="47"/>
                  <a:pt x="9" y="46"/>
                </a:cubicBezTo>
                <a:cubicBezTo>
                  <a:pt x="9" y="46"/>
                  <a:pt x="8" y="47"/>
                  <a:pt x="8" y="46"/>
                </a:cubicBezTo>
                <a:cubicBezTo>
                  <a:pt x="8" y="46"/>
                  <a:pt x="8" y="45"/>
                  <a:pt x="8" y="45"/>
                </a:cubicBezTo>
                <a:cubicBezTo>
                  <a:pt x="8" y="43"/>
                  <a:pt x="9" y="44"/>
                  <a:pt x="10" y="44"/>
                </a:cubicBezTo>
                <a:cubicBezTo>
                  <a:pt x="10" y="44"/>
                  <a:pt x="11" y="43"/>
                  <a:pt x="11" y="43"/>
                </a:cubicBezTo>
                <a:cubicBezTo>
                  <a:pt x="11" y="42"/>
                  <a:pt x="11" y="42"/>
                  <a:pt x="10" y="41"/>
                </a:cubicBezTo>
                <a:cubicBezTo>
                  <a:pt x="10" y="40"/>
                  <a:pt x="10" y="39"/>
                  <a:pt x="10" y="39"/>
                </a:cubicBezTo>
                <a:cubicBezTo>
                  <a:pt x="10" y="38"/>
                  <a:pt x="10" y="38"/>
                  <a:pt x="10" y="38"/>
                </a:cubicBezTo>
                <a:cubicBezTo>
                  <a:pt x="10" y="38"/>
                  <a:pt x="9" y="38"/>
                  <a:pt x="9" y="37"/>
                </a:cubicBezTo>
                <a:cubicBezTo>
                  <a:pt x="9" y="39"/>
                  <a:pt x="8" y="38"/>
                  <a:pt x="7" y="39"/>
                </a:cubicBezTo>
                <a:cubicBezTo>
                  <a:pt x="7" y="40"/>
                  <a:pt x="6" y="40"/>
                  <a:pt x="5" y="41"/>
                </a:cubicBezTo>
                <a:cubicBezTo>
                  <a:pt x="4" y="42"/>
                  <a:pt x="4" y="43"/>
                  <a:pt x="4" y="43"/>
                </a:cubicBezTo>
                <a:cubicBezTo>
                  <a:pt x="3" y="44"/>
                  <a:pt x="3" y="45"/>
                  <a:pt x="2" y="45"/>
                </a:cubicBezTo>
                <a:cubicBezTo>
                  <a:pt x="2" y="46"/>
                  <a:pt x="0" y="47"/>
                  <a:pt x="0" y="48"/>
                </a:cubicBezTo>
                <a:cubicBezTo>
                  <a:pt x="0" y="49"/>
                  <a:pt x="0" y="49"/>
                  <a:pt x="0" y="50"/>
                </a:cubicBezTo>
                <a:cubicBezTo>
                  <a:pt x="0" y="51"/>
                  <a:pt x="0" y="51"/>
                  <a:pt x="0" y="52"/>
                </a:cubicBezTo>
                <a:cubicBezTo>
                  <a:pt x="0" y="52"/>
                  <a:pt x="0" y="53"/>
                  <a:pt x="1" y="53"/>
                </a:cubicBezTo>
                <a:cubicBezTo>
                  <a:pt x="1" y="54"/>
                  <a:pt x="2" y="54"/>
                  <a:pt x="2" y="55"/>
                </a:cubicBezTo>
                <a:cubicBezTo>
                  <a:pt x="3" y="56"/>
                  <a:pt x="2" y="56"/>
                  <a:pt x="2" y="56"/>
                </a:cubicBezTo>
                <a:cubicBezTo>
                  <a:pt x="1" y="56"/>
                  <a:pt x="1" y="57"/>
                  <a:pt x="1" y="57"/>
                </a:cubicBezTo>
                <a:cubicBezTo>
                  <a:pt x="1" y="58"/>
                  <a:pt x="2" y="58"/>
                  <a:pt x="2" y="59"/>
                </a:cubicBezTo>
                <a:cubicBezTo>
                  <a:pt x="3" y="59"/>
                  <a:pt x="4" y="60"/>
                  <a:pt x="4" y="60"/>
                </a:cubicBezTo>
                <a:cubicBezTo>
                  <a:pt x="5" y="61"/>
                  <a:pt x="5" y="63"/>
                  <a:pt x="5" y="64"/>
                </a:cubicBezTo>
                <a:cubicBezTo>
                  <a:pt x="4" y="66"/>
                  <a:pt x="3" y="64"/>
                  <a:pt x="3" y="64"/>
                </a:cubicBezTo>
                <a:cubicBezTo>
                  <a:pt x="2" y="65"/>
                  <a:pt x="1" y="66"/>
                  <a:pt x="2" y="67"/>
                </a:cubicBezTo>
                <a:cubicBezTo>
                  <a:pt x="2" y="67"/>
                  <a:pt x="3" y="68"/>
                  <a:pt x="3" y="68"/>
                </a:cubicBezTo>
                <a:cubicBezTo>
                  <a:pt x="4" y="68"/>
                  <a:pt x="5" y="69"/>
                  <a:pt x="6" y="69"/>
                </a:cubicBezTo>
                <a:cubicBezTo>
                  <a:pt x="7" y="70"/>
                  <a:pt x="9" y="71"/>
                  <a:pt x="10" y="72"/>
                </a:cubicBezTo>
                <a:cubicBezTo>
                  <a:pt x="11" y="73"/>
                  <a:pt x="13" y="73"/>
                  <a:pt x="14" y="75"/>
                </a:cubicBezTo>
                <a:cubicBezTo>
                  <a:pt x="14" y="75"/>
                  <a:pt x="15" y="76"/>
                  <a:pt x="15" y="77"/>
                </a:cubicBezTo>
                <a:cubicBezTo>
                  <a:pt x="16" y="77"/>
                  <a:pt x="16" y="78"/>
                  <a:pt x="17" y="78"/>
                </a:cubicBezTo>
                <a:cubicBezTo>
                  <a:pt x="17" y="80"/>
                  <a:pt x="18" y="81"/>
                  <a:pt x="18" y="82"/>
                </a:cubicBezTo>
                <a:cubicBezTo>
                  <a:pt x="19" y="83"/>
                  <a:pt x="19" y="84"/>
                  <a:pt x="19" y="85"/>
                </a:cubicBezTo>
                <a:cubicBezTo>
                  <a:pt x="20" y="85"/>
                  <a:pt x="20" y="86"/>
                  <a:pt x="20" y="87"/>
                </a:cubicBezTo>
                <a:cubicBezTo>
                  <a:pt x="21" y="88"/>
                  <a:pt x="23" y="89"/>
                  <a:pt x="24" y="90"/>
                </a:cubicBezTo>
                <a:cubicBezTo>
                  <a:pt x="24" y="90"/>
                  <a:pt x="25" y="91"/>
                  <a:pt x="25" y="92"/>
                </a:cubicBezTo>
                <a:cubicBezTo>
                  <a:pt x="25" y="92"/>
                  <a:pt x="25" y="92"/>
                  <a:pt x="25" y="93"/>
                </a:cubicBezTo>
                <a:cubicBezTo>
                  <a:pt x="25" y="93"/>
                  <a:pt x="26" y="94"/>
                  <a:pt x="26" y="94"/>
                </a:cubicBezTo>
                <a:cubicBezTo>
                  <a:pt x="27" y="95"/>
                  <a:pt x="27" y="96"/>
                  <a:pt x="27" y="96"/>
                </a:cubicBezTo>
                <a:cubicBezTo>
                  <a:pt x="27" y="97"/>
                  <a:pt x="28" y="98"/>
                  <a:pt x="28" y="99"/>
                </a:cubicBezTo>
                <a:cubicBezTo>
                  <a:pt x="28" y="99"/>
                  <a:pt x="28" y="99"/>
                  <a:pt x="28" y="100"/>
                </a:cubicBezTo>
                <a:cubicBezTo>
                  <a:pt x="28" y="100"/>
                  <a:pt x="29" y="100"/>
                  <a:pt x="29" y="101"/>
                </a:cubicBezTo>
                <a:cubicBezTo>
                  <a:pt x="29" y="101"/>
                  <a:pt x="29" y="101"/>
                  <a:pt x="29" y="101"/>
                </a:cubicBezTo>
                <a:cubicBezTo>
                  <a:pt x="29" y="101"/>
                  <a:pt x="29" y="102"/>
                  <a:pt x="29" y="102"/>
                </a:cubicBezTo>
                <a:cubicBezTo>
                  <a:pt x="29" y="101"/>
                  <a:pt x="29" y="101"/>
                  <a:pt x="30" y="101"/>
                </a:cubicBezTo>
                <a:cubicBezTo>
                  <a:pt x="30" y="101"/>
                  <a:pt x="29" y="102"/>
                  <a:pt x="30" y="102"/>
                </a:cubicBezTo>
                <a:cubicBezTo>
                  <a:pt x="30" y="103"/>
                  <a:pt x="30" y="103"/>
                  <a:pt x="31" y="104"/>
                </a:cubicBezTo>
                <a:cubicBezTo>
                  <a:pt x="31" y="105"/>
                  <a:pt x="31" y="105"/>
                  <a:pt x="31" y="106"/>
                </a:cubicBezTo>
                <a:cubicBezTo>
                  <a:pt x="32" y="107"/>
                  <a:pt x="32" y="107"/>
                  <a:pt x="32" y="108"/>
                </a:cubicBezTo>
                <a:cubicBezTo>
                  <a:pt x="33" y="108"/>
                  <a:pt x="33" y="109"/>
                  <a:pt x="33" y="110"/>
                </a:cubicBezTo>
                <a:cubicBezTo>
                  <a:pt x="33" y="110"/>
                  <a:pt x="34" y="111"/>
                  <a:pt x="33" y="111"/>
                </a:cubicBezTo>
                <a:cubicBezTo>
                  <a:pt x="33" y="112"/>
                  <a:pt x="34" y="112"/>
                  <a:pt x="34" y="113"/>
                </a:cubicBezTo>
                <a:cubicBezTo>
                  <a:pt x="35" y="114"/>
                  <a:pt x="36" y="115"/>
                  <a:pt x="36" y="116"/>
                </a:cubicBezTo>
                <a:cubicBezTo>
                  <a:pt x="37" y="118"/>
                  <a:pt x="38" y="119"/>
                  <a:pt x="39" y="120"/>
                </a:cubicBezTo>
                <a:cubicBezTo>
                  <a:pt x="39" y="121"/>
                  <a:pt x="39" y="122"/>
                  <a:pt x="39" y="122"/>
                </a:cubicBezTo>
                <a:cubicBezTo>
                  <a:pt x="40" y="123"/>
                  <a:pt x="40" y="123"/>
                  <a:pt x="39" y="124"/>
                </a:cubicBezTo>
                <a:cubicBezTo>
                  <a:pt x="39" y="124"/>
                  <a:pt x="40" y="125"/>
                  <a:pt x="40" y="125"/>
                </a:cubicBezTo>
                <a:cubicBezTo>
                  <a:pt x="41" y="125"/>
                  <a:pt x="41" y="126"/>
                  <a:pt x="42" y="126"/>
                </a:cubicBezTo>
                <a:cubicBezTo>
                  <a:pt x="43" y="127"/>
                  <a:pt x="45" y="128"/>
                  <a:pt x="44" y="130"/>
                </a:cubicBezTo>
                <a:cubicBezTo>
                  <a:pt x="44" y="130"/>
                  <a:pt x="45" y="131"/>
                  <a:pt x="45" y="132"/>
                </a:cubicBezTo>
                <a:cubicBezTo>
                  <a:pt x="45" y="132"/>
                  <a:pt x="45" y="133"/>
                  <a:pt x="45" y="133"/>
                </a:cubicBezTo>
                <a:cubicBezTo>
                  <a:pt x="45" y="132"/>
                  <a:pt x="46" y="135"/>
                  <a:pt x="47" y="135"/>
                </a:cubicBezTo>
                <a:cubicBezTo>
                  <a:pt x="47" y="135"/>
                  <a:pt x="48" y="135"/>
                  <a:pt x="48" y="136"/>
                </a:cubicBezTo>
                <a:cubicBezTo>
                  <a:pt x="49" y="137"/>
                  <a:pt x="49" y="137"/>
                  <a:pt x="49" y="138"/>
                </a:cubicBezTo>
                <a:cubicBezTo>
                  <a:pt x="49" y="138"/>
                  <a:pt x="49" y="138"/>
                  <a:pt x="49" y="138"/>
                </a:cubicBezTo>
                <a:cubicBezTo>
                  <a:pt x="50" y="139"/>
                  <a:pt x="50" y="139"/>
                  <a:pt x="50" y="139"/>
                </a:cubicBezTo>
                <a:cubicBezTo>
                  <a:pt x="50" y="140"/>
                  <a:pt x="51" y="140"/>
                  <a:pt x="51" y="141"/>
                </a:cubicBezTo>
                <a:cubicBezTo>
                  <a:pt x="52" y="142"/>
                  <a:pt x="52" y="143"/>
                  <a:pt x="53" y="144"/>
                </a:cubicBezTo>
                <a:cubicBezTo>
                  <a:pt x="54" y="145"/>
                  <a:pt x="55" y="147"/>
                  <a:pt x="55" y="148"/>
                </a:cubicBezTo>
                <a:cubicBezTo>
                  <a:pt x="56" y="149"/>
                  <a:pt x="55" y="151"/>
                  <a:pt x="55" y="153"/>
                </a:cubicBezTo>
                <a:cubicBezTo>
                  <a:pt x="55" y="152"/>
                  <a:pt x="55" y="151"/>
                  <a:pt x="54" y="152"/>
                </a:cubicBezTo>
                <a:cubicBezTo>
                  <a:pt x="54" y="152"/>
                  <a:pt x="54" y="153"/>
                  <a:pt x="54" y="153"/>
                </a:cubicBezTo>
                <a:cubicBezTo>
                  <a:pt x="55" y="153"/>
                  <a:pt x="55" y="153"/>
                  <a:pt x="55" y="153"/>
                </a:cubicBezTo>
                <a:cubicBezTo>
                  <a:pt x="55" y="154"/>
                  <a:pt x="55" y="154"/>
                  <a:pt x="55" y="155"/>
                </a:cubicBezTo>
                <a:cubicBezTo>
                  <a:pt x="55" y="155"/>
                  <a:pt x="55" y="156"/>
                  <a:pt x="55" y="156"/>
                </a:cubicBezTo>
                <a:cubicBezTo>
                  <a:pt x="55" y="156"/>
                  <a:pt x="56" y="156"/>
                  <a:pt x="56" y="156"/>
                </a:cubicBezTo>
                <a:cubicBezTo>
                  <a:pt x="56" y="156"/>
                  <a:pt x="57" y="157"/>
                  <a:pt x="57" y="157"/>
                </a:cubicBezTo>
                <a:cubicBezTo>
                  <a:pt x="57" y="157"/>
                  <a:pt x="57" y="157"/>
                  <a:pt x="57" y="158"/>
                </a:cubicBezTo>
                <a:cubicBezTo>
                  <a:pt x="57" y="158"/>
                  <a:pt x="58" y="159"/>
                  <a:pt x="58" y="159"/>
                </a:cubicBezTo>
                <a:cubicBezTo>
                  <a:pt x="59" y="159"/>
                  <a:pt x="58" y="160"/>
                  <a:pt x="59" y="160"/>
                </a:cubicBezTo>
                <a:cubicBezTo>
                  <a:pt x="59" y="161"/>
                  <a:pt x="59" y="161"/>
                  <a:pt x="60" y="162"/>
                </a:cubicBezTo>
                <a:cubicBezTo>
                  <a:pt x="60" y="162"/>
                  <a:pt x="61" y="163"/>
                  <a:pt x="61" y="163"/>
                </a:cubicBezTo>
                <a:cubicBezTo>
                  <a:pt x="63" y="164"/>
                  <a:pt x="64" y="165"/>
                  <a:pt x="65" y="166"/>
                </a:cubicBezTo>
                <a:cubicBezTo>
                  <a:pt x="65" y="167"/>
                  <a:pt x="65" y="167"/>
                  <a:pt x="66" y="167"/>
                </a:cubicBezTo>
                <a:cubicBezTo>
                  <a:pt x="66" y="167"/>
                  <a:pt x="67" y="168"/>
                  <a:pt x="67" y="168"/>
                </a:cubicBezTo>
                <a:cubicBezTo>
                  <a:pt x="66" y="168"/>
                  <a:pt x="68" y="169"/>
                  <a:pt x="67" y="169"/>
                </a:cubicBezTo>
                <a:cubicBezTo>
                  <a:pt x="67" y="169"/>
                  <a:pt x="67" y="169"/>
                  <a:pt x="68" y="170"/>
                </a:cubicBezTo>
                <a:cubicBezTo>
                  <a:pt x="68" y="170"/>
                  <a:pt x="69" y="170"/>
                  <a:pt x="70" y="171"/>
                </a:cubicBezTo>
                <a:cubicBezTo>
                  <a:pt x="71" y="171"/>
                  <a:pt x="71" y="172"/>
                  <a:pt x="72" y="172"/>
                </a:cubicBezTo>
                <a:cubicBezTo>
                  <a:pt x="73" y="172"/>
                  <a:pt x="74" y="173"/>
                  <a:pt x="74" y="173"/>
                </a:cubicBezTo>
                <a:cubicBezTo>
                  <a:pt x="75" y="173"/>
                  <a:pt x="75" y="174"/>
                  <a:pt x="76" y="174"/>
                </a:cubicBezTo>
                <a:cubicBezTo>
                  <a:pt x="76" y="175"/>
                  <a:pt x="76" y="174"/>
                  <a:pt x="77" y="175"/>
                </a:cubicBezTo>
                <a:cubicBezTo>
                  <a:pt x="77" y="175"/>
                  <a:pt x="77" y="175"/>
                  <a:pt x="78" y="175"/>
                </a:cubicBezTo>
                <a:cubicBezTo>
                  <a:pt x="78" y="175"/>
                  <a:pt x="78" y="175"/>
                  <a:pt x="79" y="176"/>
                </a:cubicBezTo>
                <a:cubicBezTo>
                  <a:pt x="79" y="176"/>
                  <a:pt x="79" y="176"/>
                  <a:pt x="79" y="176"/>
                </a:cubicBezTo>
                <a:cubicBezTo>
                  <a:pt x="80" y="177"/>
                  <a:pt x="80" y="177"/>
                  <a:pt x="81" y="178"/>
                </a:cubicBezTo>
                <a:cubicBezTo>
                  <a:pt x="81" y="178"/>
                  <a:pt x="82" y="178"/>
                  <a:pt x="83" y="179"/>
                </a:cubicBezTo>
                <a:cubicBezTo>
                  <a:pt x="84" y="179"/>
                  <a:pt x="85" y="179"/>
                  <a:pt x="86" y="180"/>
                </a:cubicBezTo>
                <a:cubicBezTo>
                  <a:pt x="87" y="181"/>
                  <a:pt x="88" y="181"/>
                  <a:pt x="89" y="181"/>
                </a:cubicBezTo>
                <a:cubicBezTo>
                  <a:pt x="89" y="181"/>
                  <a:pt x="90" y="182"/>
                  <a:pt x="91" y="182"/>
                </a:cubicBezTo>
                <a:cubicBezTo>
                  <a:pt x="91" y="182"/>
                  <a:pt x="91" y="183"/>
                  <a:pt x="92" y="183"/>
                </a:cubicBezTo>
                <a:cubicBezTo>
                  <a:pt x="93" y="183"/>
                  <a:pt x="93" y="183"/>
                  <a:pt x="94" y="184"/>
                </a:cubicBezTo>
                <a:cubicBezTo>
                  <a:pt x="95" y="184"/>
                  <a:pt x="96" y="184"/>
                  <a:pt x="96" y="185"/>
                </a:cubicBezTo>
                <a:cubicBezTo>
                  <a:pt x="97" y="185"/>
                  <a:pt x="97" y="186"/>
                  <a:pt x="97" y="186"/>
                </a:cubicBezTo>
                <a:cubicBezTo>
                  <a:pt x="97" y="186"/>
                  <a:pt x="97" y="186"/>
                  <a:pt x="98" y="186"/>
                </a:cubicBezTo>
                <a:cubicBezTo>
                  <a:pt x="98" y="187"/>
                  <a:pt x="99" y="187"/>
                  <a:pt x="99" y="187"/>
                </a:cubicBezTo>
                <a:cubicBezTo>
                  <a:pt x="100" y="188"/>
                  <a:pt x="100" y="188"/>
                  <a:pt x="101" y="189"/>
                </a:cubicBezTo>
                <a:cubicBezTo>
                  <a:pt x="102" y="189"/>
                  <a:pt x="102" y="189"/>
                  <a:pt x="103" y="190"/>
                </a:cubicBezTo>
                <a:cubicBezTo>
                  <a:pt x="104" y="190"/>
                  <a:pt x="105" y="190"/>
                  <a:pt x="105" y="191"/>
                </a:cubicBezTo>
                <a:cubicBezTo>
                  <a:pt x="106" y="192"/>
                  <a:pt x="106" y="193"/>
                  <a:pt x="107" y="195"/>
                </a:cubicBezTo>
                <a:cubicBezTo>
                  <a:pt x="107" y="195"/>
                  <a:pt x="108" y="195"/>
                  <a:pt x="108" y="196"/>
                </a:cubicBezTo>
                <a:cubicBezTo>
                  <a:pt x="109" y="196"/>
                  <a:pt x="109" y="197"/>
                  <a:pt x="110" y="197"/>
                </a:cubicBezTo>
                <a:cubicBezTo>
                  <a:pt x="111" y="197"/>
                  <a:pt x="111" y="197"/>
                  <a:pt x="111" y="198"/>
                </a:cubicBezTo>
                <a:cubicBezTo>
                  <a:pt x="113" y="199"/>
                  <a:pt x="115" y="200"/>
                  <a:pt x="117" y="202"/>
                </a:cubicBezTo>
                <a:cubicBezTo>
                  <a:pt x="117" y="202"/>
                  <a:pt x="118" y="202"/>
                  <a:pt x="118" y="202"/>
                </a:cubicBezTo>
                <a:cubicBezTo>
                  <a:pt x="119" y="202"/>
                  <a:pt x="119" y="202"/>
                  <a:pt x="120" y="201"/>
                </a:cubicBezTo>
                <a:cubicBezTo>
                  <a:pt x="121" y="201"/>
                  <a:pt x="123" y="199"/>
                  <a:pt x="122" y="197"/>
                </a:cubicBezTo>
                <a:cubicBezTo>
                  <a:pt x="122" y="197"/>
                  <a:pt x="121" y="196"/>
                  <a:pt x="121" y="195"/>
                </a:cubicBezTo>
                <a:cubicBezTo>
                  <a:pt x="121" y="194"/>
                  <a:pt x="122" y="194"/>
                  <a:pt x="123" y="194"/>
                </a:cubicBezTo>
                <a:cubicBezTo>
                  <a:pt x="124" y="193"/>
                  <a:pt x="125" y="191"/>
                  <a:pt x="123" y="190"/>
                </a:cubicBezTo>
                <a:cubicBezTo>
                  <a:pt x="123" y="190"/>
                  <a:pt x="123" y="190"/>
                  <a:pt x="123" y="190"/>
                </a:cubicBezTo>
                <a:cubicBezTo>
                  <a:pt x="123" y="189"/>
                  <a:pt x="123" y="189"/>
                  <a:pt x="123" y="189"/>
                </a:cubicBezTo>
                <a:cubicBezTo>
                  <a:pt x="123" y="189"/>
                  <a:pt x="124" y="188"/>
                  <a:pt x="124" y="188"/>
                </a:cubicBezTo>
                <a:cubicBezTo>
                  <a:pt x="125" y="188"/>
                  <a:pt x="125" y="188"/>
                  <a:pt x="125" y="187"/>
                </a:cubicBezTo>
                <a:cubicBezTo>
                  <a:pt x="125" y="187"/>
                  <a:pt x="125" y="187"/>
                  <a:pt x="125" y="187"/>
                </a:cubicBezTo>
                <a:cubicBezTo>
                  <a:pt x="125" y="186"/>
                  <a:pt x="126" y="186"/>
                  <a:pt x="126" y="185"/>
                </a:cubicBezTo>
                <a:cubicBezTo>
                  <a:pt x="127" y="184"/>
                  <a:pt x="127" y="184"/>
                  <a:pt x="128" y="184"/>
                </a:cubicBezTo>
                <a:cubicBezTo>
                  <a:pt x="128" y="183"/>
                  <a:pt x="128" y="182"/>
                  <a:pt x="127" y="182"/>
                </a:cubicBezTo>
                <a:cubicBezTo>
                  <a:pt x="127" y="181"/>
                  <a:pt x="127" y="181"/>
                  <a:pt x="127" y="18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0" name="Paraguay"/>
          <p:cNvSpPr>
            <a:spLocks/>
          </p:cNvSpPr>
          <p:nvPr/>
        </p:nvSpPr>
        <p:spPr bwMode="auto">
          <a:xfrm>
            <a:off x="3653163" y="5429908"/>
            <a:ext cx="296989" cy="332988"/>
          </a:xfrm>
          <a:custGeom>
            <a:avLst/>
            <a:gdLst/>
            <a:ahLst/>
            <a:cxnLst>
              <a:cxn ang="0">
                <a:pos x="81" y="53"/>
              </a:cxn>
              <a:cxn ang="0">
                <a:pos x="78" y="50"/>
              </a:cxn>
              <a:cxn ang="0">
                <a:pos x="73" y="52"/>
              </a:cxn>
              <a:cxn ang="0">
                <a:pos x="69" y="48"/>
              </a:cxn>
              <a:cxn ang="0">
                <a:pos x="68" y="43"/>
              </a:cxn>
              <a:cxn ang="0">
                <a:pos x="67" y="41"/>
              </a:cxn>
              <a:cxn ang="0">
                <a:pos x="66" y="36"/>
              </a:cxn>
              <a:cxn ang="0">
                <a:pos x="60" y="33"/>
              </a:cxn>
              <a:cxn ang="0">
                <a:pos x="56" y="33"/>
              </a:cxn>
              <a:cxn ang="0">
                <a:pos x="54" y="33"/>
              </a:cxn>
              <a:cxn ang="0">
                <a:pos x="49" y="32"/>
              </a:cxn>
              <a:cxn ang="0">
                <a:pos x="46" y="31"/>
              </a:cxn>
              <a:cxn ang="0">
                <a:pos x="44" y="29"/>
              </a:cxn>
              <a:cxn ang="0">
                <a:pos x="44" y="27"/>
              </a:cxn>
              <a:cxn ang="0">
                <a:pos x="43" y="24"/>
              </a:cxn>
              <a:cxn ang="0">
                <a:pos x="44" y="21"/>
              </a:cxn>
              <a:cxn ang="0">
                <a:pos x="43" y="17"/>
              </a:cxn>
              <a:cxn ang="0">
                <a:pos x="42" y="16"/>
              </a:cxn>
              <a:cxn ang="0">
                <a:pos x="40" y="11"/>
              </a:cxn>
              <a:cxn ang="0">
                <a:pos x="40" y="9"/>
              </a:cxn>
              <a:cxn ang="0">
                <a:pos x="30" y="0"/>
              </a:cxn>
              <a:cxn ang="0">
                <a:pos x="15" y="2"/>
              </a:cxn>
              <a:cxn ang="0">
                <a:pos x="5" y="4"/>
              </a:cxn>
              <a:cxn ang="0">
                <a:pos x="2" y="21"/>
              </a:cxn>
              <a:cxn ang="0">
                <a:pos x="1" y="34"/>
              </a:cxn>
              <a:cxn ang="0">
                <a:pos x="4" y="37"/>
              </a:cxn>
              <a:cxn ang="0">
                <a:pos x="8" y="42"/>
              </a:cxn>
              <a:cxn ang="0">
                <a:pos x="12" y="46"/>
              </a:cxn>
              <a:cxn ang="0">
                <a:pos x="16" y="49"/>
              </a:cxn>
              <a:cxn ang="0">
                <a:pos x="20" y="51"/>
              </a:cxn>
              <a:cxn ang="0">
                <a:pos x="24" y="52"/>
              </a:cxn>
              <a:cxn ang="0">
                <a:pos x="29" y="54"/>
              </a:cxn>
              <a:cxn ang="0">
                <a:pos x="38" y="60"/>
              </a:cxn>
              <a:cxn ang="0">
                <a:pos x="42" y="61"/>
              </a:cxn>
              <a:cxn ang="0">
                <a:pos x="46" y="63"/>
              </a:cxn>
              <a:cxn ang="0">
                <a:pos x="51" y="66"/>
              </a:cxn>
              <a:cxn ang="0">
                <a:pos x="51" y="70"/>
              </a:cxn>
              <a:cxn ang="0">
                <a:pos x="50" y="72"/>
              </a:cxn>
              <a:cxn ang="0">
                <a:pos x="50" y="73"/>
              </a:cxn>
              <a:cxn ang="0">
                <a:pos x="48" y="76"/>
              </a:cxn>
              <a:cxn ang="0">
                <a:pos x="47" y="79"/>
              </a:cxn>
              <a:cxn ang="0">
                <a:pos x="48" y="81"/>
              </a:cxn>
              <a:cxn ang="0">
                <a:pos x="47" y="83"/>
              </a:cxn>
              <a:cxn ang="0">
                <a:pos x="44" y="87"/>
              </a:cxn>
              <a:cxn ang="0">
                <a:pos x="49" y="88"/>
              </a:cxn>
              <a:cxn ang="0">
                <a:pos x="56" y="90"/>
              </a:cxn>
              <a:cxn ang="0">
                <a:pos x="63" y="90"/>
              </a:cxn>
              <a:cxn ang="0">
                <a:pos x="68" y="89"/>
              </a:cxn>
              <a:cxn ang="0">
                <a:pos x="72" y="90"/>
              </a:cxn>
              <a:cxn ang="0">
                <a:pos x="75" y="85"/>
              </a:cxn>
              <a:cxn ang="0">
                <a:pos x="78" y="83"/>
              </a:cxn>
              <a:cxn ang="0">
                <a:pos x="80" y="79"/>
              </a:cxn>
              <a:cxn ang="0">
                <a:pos x="80" y="76"/>
              </a:cxn>
              <a:cxn ang="0">
                <a:pos x="80" y="73"/>
              </a:cxn>
              <a:cxn ang="0">
                <a:pos x="80" y="70"/>
              </a:cxn>
              <a:cxn ang="0">
                <a:pos x="81" y="65"/>
              </a:cxn>
              <a:cxn ang="0">
                <a:pos x="81" y="63"/>
              </a:cxn>
              <a:cxn ang="0">
                <a:pos x="82" y="56"/>
              </a:cxn>
            </a:cxnLst>
            <a:rect l="0" t="0" r="r" b="b"/>
            <a:pathLst>
              <a:path w="82" h="92">
                <a:moveTo>
                  <a:pt x="82" y="56"/>
                </a:moveTo>
                <a:cubicBezTo>
                  <a:pt x="82" y="55"/>
                  <a:pt x="81" y="55"/>
                  <a:pt x="81" y="54"/>
                </a:cubicBezTo>
                <a:cubicBezTo>
                  <a:pt x="81" y="53"/>
                  <a:pt x="81" y="53"/>
                  <a:pt x="81" y="53"/>
                </a:cubicBezTo>
                <a:cubicBezTo>
                  <a:pt x="81" y="52"/>
                  <a:pt x="81" y="52"/>
                  <a:pt x="80" y="52"/>
                </a:cubicBezTo>
                <a:cubicBezTo>
                  <a:pt x="80" y="52"/>
                  <a:pt x="80" y="51"/>
                  <a:pt x="80" y="51"/>
                </a:cubicBezTo>
                <a:cubicBezTo>
                  <a:pt x="79" y="51"/>
                  <a:pt x="79" y="50"/>
                  <a:pt x="78" y="50"/>
                </a:cubicBezTo>
                <a:cubicBezTo>
                  <a:pt x="77" y="50"/>
                  <a:pt x="77" y="50"/>
                  <a:pt x="77" y="50"/>
                </a:cubicBezTo>
                <a:cubicBezTo>
                  <a:pt x="76" y="51"/>
                  <a:pt x="76" y="51"/>
                  <a:pt x="75" y="51"/>
                </a:cubicBezTo>
                <a:cubicBezTo>
                  <a:pt x="74" y="52"/>
                  <a:pt x="74" y="52"/>
                  <a:pt x="73" y="52"/>
                </a:cubicBezTo>
                <a:cubicBezTo>
                  <a:pt x="72" y="52"/>
                  <a:pt x="71" y="52"/>
                  <a:pt x="71" y="52"/>
                </a:cubicBezTo>
                <a:cubicBezTo>
                  <a:pt x="70" y="52"/>
                  <a:pt x="70" y="51"/>
                  <a:pt x="70" y="50"/>
                </a:cubicBezTo>
                <a:cubicBezTo>
                  <a:pt x="70" y="49"/>
                  <a:pt x="70" y="49"/>
                  <a:pt x="69" y="48"/>
                </a:cubicBezTo>
                <a:cubicBezTo>
                  <a:pt x="69" y="48"/>
                  <a:pt x="69" y="47"/>
                  <a:pt x="69" y="46"/>
                </a:cubicBezTo>
                <a:cubicBezTo>
                  <a:pt x="68" y="46"/>
                  <a:pt x="69" y="45"/>
                  <a:pt x="68" y="45"/>
                </a:cubicBezTo>
                <a:cubicBezTo>
                  <a:pt x="68" y="44"/>
                  <a:pt x="68" y="44"/>
                  <a:pt x="68" y="43"/>
                </a:cubicBezTo>
                <a:cubicBezTo>
                  <a:pt x="68" y="43"/>
                  <a:pt x="68" y="43"/>
                  <a:pt x="68" y="43"/>
                </a:cubicBezTo>
                <a:cubicBezTo>
                  <a:pt x="67" y="42"/>
                  <a:pt x="68" y="42"/>
                  <a:pt x="68" y="42"/>
                </a:cubicBezTo>
                <a:cubicBezTo>
                  <a:pt x="67" y="41"/>
                  <a:pt x="67" y="41"/>
                  <a:pt x="67" y="41"/>
                </a:cubicBezTo>
                <a:cubicBezTo>
                  <a:pt x="67" y="41"/>
                  <a:pt x="67" y="40"/>
                  <a:pt x="67" y="40"/>
                </a:cubicBezTo>
                <a:cubicBezTo>
                  <a:pt x="67" y="39"/>
                  <a:pt x="67" y="38"/>
                  <a:pt x="67" y="37"/>
                </a:cubicBezTo>
                <a:cubicBezTo>
                  <a:pt x="67" y="37"/>
                  <a:pt x="66" y="37"/>
                  <a:pt x="66" y="36"/>
                </a:cubicBezTo>
                <a:cubicBezTo>
                  <a:pt x="65" y="36"/>
                  <a:pt x="65" y="34"/>
                  <a:pt x="64" y="33"/>
                </a:cubicBezTo>
                <a:cubicBezTo>
                  <a:pt x="63" y="33"/>
                  <a:pt x="63" y="33"/>
                  <a:pt x="62" y="33"/>
                </a:cubicBezTo>
                <a:cubicBezTo>
                  <a:pt x="61" y="33"/>
                  <a:pt x="61" y="33"/>
                  <a:pt x="60" y="33"/>
                </a:cubicBezTo>
                <a:cubicBezTo>
                  <a:pt x="59" y="32"/>
                  <a:pt x="59" y="32"/>
                  <a:pt x="59" y="31"/>
                </a:cubicBezTo>
                <a:cubicBezTo>
                  <a:pt x="59" y="31"/>
                  <a:pt x="58" y="31"/>
                  <a:pt x="58" y="31"/>
                </a:cubicBezTo>
                <a:cubicBezTo>
                  <a:pt x="58" y="31"/>
                  <a:pt x="57" y="33"/>
                  <a:pt x="56" y="33"/>
                </a:cubicBezTo>
                <a:cubicBezTo>
                  <a:pt x="56" y="32"/>
                  <a:pt x="56" y="33"/>
                  <a:pt x="56" y="33"/>
                </a:cubicBezTo>
                <a:cubicBezTo>
                  <a:pt x="55" y="33"/>
                  <a:pt x="55" y="33"/>
                  <a:pt x="55" y="33"/>
                </a:cubicBezTo>
                <a:cubicBezTo>
                  <a:pt x="54" y="33"/>
                  <a:pt x="55" y="33"/>
                  <a:pt x="54" y="33"/>
                </a:cubicBezTo>
                <a:cubicBezTo>
                  <a:pt x="53" y="33"/>
                  <a:pt x="53" y="33"/>
                  <a:pt x="52" y="33"/>
                </a:cubicBezTo>
                <a:cubicBezTo>
                  <a:pt x="52" y="33"/>
                  <a:pt x="52" y="32"/>
                  <a:pt x="51" y="32"/>
                </a:cubicBezTo>
                <a:cubicBezTo>
                  <a:pt x="51" y="32"/>
                  <a:pt x="50" y="32"/>
                  <a:pt x="49" y="32"/>
                </a:cubicBezTo>
                <a:cubicBezTo>
                  <a:pt x="49" y="32"/>
                  <a:pt x="49" y="32"/>
                  <a:pt x="48" y="32"/>
                </a:cubicBezTo>
                <a:cubicBezTo>
                  <a:pt x="48" y="32"/>
                  <a:pt x="48" y="32"/>
                  <a:pt x="47" y="32"/>
                </a:cubicBezTo>
                <a:cubicBezTo>
                  <a:pt x="47" y="32"/>
                  <a:pt x="47" y="31"/>
                  <a:pt x="46" y="31"/>
                </a:cubicBezTo>
                <a:cubicBezTo>
                  <a:pt x="46" y="31"/>
                  <a:pt x="45" y="32"/>
                  <a:pt x="45" y="31"/>
                </a:cubicBezTo>
                <a:cubicBezTo>
                  <a:pt x="45" y="31"/>
                  <a:pt x="44" y="31"/>
                  <a:pt x="44" y="31"/>
                </a:cubicBezTo>
                <a:cubicBezTo>
                  <a:pt x="44" y="30"/>
                  <a:pt x="44" y="30"/>
                  <a:pt x="44" y="29"/>
                </a:cubicBezTo>
                <a:cubicBezTo>
                  <a:pt x="44" y="29"/>
                  <a:pt x="44" y="29"/>
                  <a:pt x="44" y="28"/>
                </a:cubicBezTo>
                <a:cubicBezTo>
                  <a:pt x="44" y="28"/>
                  <a:pt x="44" y="28"/>
                  <a:pt x="44" y="28"/>
                </a:cubicBezTo>
                <a:cubicBezTo>
                  <a:pt x="44" y="28"/>
                  <a:pt x="44" y="27"/>
                  <a:pt x="44" y="27"/>
                </a:cubicBezTo>
                <a:cubicBezTo>
                  <a:pt x="44" y="27"/>
                  <a:pt x="44" y="27"/>
                  <a:pt x="44" y="27"/>
                </a:cubicBezTo>
                <a:cubicBezTo>
                  <a:pt x="44" y="26"/>
                  <a:pt x="43" y="26"/>
                  <a:pt x="44" y="26"/>
                </a:cubicBezTo>
                <a:cubicBezTo>
                  <a:pt x="44" y="25"/>
                  <a:pt x="43" y="25"/>
                  <a:pt x="43" y="24"/>
                </a:cubicBezTo>
                <a:cubicBezTo>
                  <a:pt x="44" y="24"/>
                  <a:pt x="44" y="24"/>
                  <a:pt x="44" y="23"/>
                </a:cubicBezTo>
                <a:cubicBezTo>
                  <a:pt x="44" y="23"/>
                  <a:pt x="44" y="23"/>
                  <a:pt x="44" y="22"/>
                </a:cubicBezTo>
                <a:cubicBezTo>
                  <a:pt x="43" y="22"/>
                  <a:pt x="44" y="21"/>
                  <a:pt x="44" y="21"/>
                </a:cubicBezTo>
                <a:cubicBezTo>
                  <a:pt x="44" y="20"/>
                  <a:pt x="44" y="20"/>
                  <a:pt x="44" y="19"/>
                </a:cubicBezTo>
                <a:cubicBezTo>
                  <a:pt x="44" y="19"/>
                  <a:pt x="44" y="19"/>
                  <a:pt x="44" y="18"/>
                </a:cubicBezTo>
                <a:cubicBezTo>
                  <a:pt x="42" y="18"/>
                  <a:pt x="44" y="18"/>
                  <a:pt x="43" y="17"/>
                </a:cubicBezTo>
                <a:cubicBezTo>
                  <a:pt x="43" y="17"/>
                  <a:pt x="43" y="17"/>
                  <a:pt x="43" y="17"/>
                </a:cubicBezTo>
                <a:cubicBezTo>
                  <a:pt x="43" y="16"/>
                  <a:pt x="43" y="16"/>
                  <a:pt x="43" y="16"/>
                </a:cubicBezTo>
                <a:cubicBezTo>
                  <a:pt x="43" y="15"/>
                  <a:pt x="43" y="15"/>
                  <a:pt x="42" y="16"/>
                </a:cubicBezTo>
                <a:cubicBezTo>
                  <a:pt x="42" y="16"/>
                  <a:pt x="42" y="14"/>
                  <a:pt x="42" y="13"/>
                </a:cubicBezTo>
                <a:cubicBezTo>
                  <a:pt x="42" y="13"/>
                  <a:pt x="41" y="13"/>
                  <a:pt x="41" y="12"/>
                </a:cubicBezTo>
                <a:cubicBezTo>
                  <a:pt x="41" y="12"/>
                  <a:pt x="41" y="11"/>
                  <a:pt x="40" y="11"/>
                </a:cubicBezTo>
                <a:cubicBezTo>
                  <a:pt x="40" y="11"/>
                  <a:pt x="40" y="11"/>
                  <a:pt x="40" y="11"/>
                </a:cubicBezTo>
                <a:cubicBezTo>
                  <a:pt x="40" y="11"/>
                  <a:pt x="40" y="10"/>
                  <a:pt x="40" y="10"/>
                </a:cubicBezTo>
                <a:cubicBezTo>
                  <a:pt x="40" y="10"/>
                  <a:pt x="40" y="10"/>
                  <a:pt x="40" y="9"/>
                </a:cubicBezTo>
                <a:cubicBezTo>
                  <a:pt x="40" y="8"/>
                  <a:pt x="40" y="7"/>
                  <a:pt x="39" y="6"/>
                </a:cubicBezTo>
                <a:cubicBezTo>
                  <a:pt x="39" y="5"/>
                  <a:pt x="37" y="5"/>
                  <a:pt x="37" y="4"/>
                </a:cubicBezTo>
                <a:cubicBezTo>
                  <a:pt x="34" y="3"/>
                  <a:pt x="32" y="2"/>
                  <a:pt x="30" y="0"/>
                </a:cubicBezTo>
                <a:cubicBezTo>
                  <a:pt x="29" y="0"/>
                  <a:pt x="28" y="0"/>
                  <a:pt x="27" y="0"/>
                </a:cubicBezTo>
                <a:cubicBezTo>
                  <a:pt x="25" y="0"/>
                  <a:pt x="22" y="0"/>
                  <a:pt x="19" y="1"/>
                </a:cubicBezTo>
                <a:cubicBezTo>
                  <a:pt x="18" y="1"/>
                  <a:pt x="16" y="2"/>
                  <a:pt x="15" y="2"/>
                </a:cubicBezTo>
                <a:cubicBezTo>
                  <a:pt x="13" y="3"/>
                  <a:pt x="11" y="3"/>
                  <a:pt x="9" y="3"/>
                </a:cubicBezTo>
                <a:cubicBezTo>
                  <a:pt x="9" y="3"/>
                  <a:pt x="8" y="4"/>
                  <a:pt x="7" y="4"/>
                </a:cubicBezTo>
                <a:cubicBezTo>
                  <a:pt x="7" y="4"/>
                  <a:pt x="6" y="4"/>
                  <a:pt x="5" y="4"/>
                </a:cubicBezTo>
                <a:cubicBezTo>
                  <a:pt x="5" y="5"/>
                  <a:pt x="4" y="7"/>
                  <a:pt x="4" y="8"/>
                </a:cubicBezTo>
                <a:cubicBezTo>
                  <a:pt x="3" y="10"/>
                  <a:pt x="1" y="13"/>
                  <a:pt x="1" y="15"/>
                </a:cubicBezTo>
                <a:cubicBezTo>
                  <a:pt x="1" y="17"/>
                  <a:pt x="2" y="19"/>
                  <a:pt x="2" y="21"/>
                </a:cubicBezTo>
                <a:cubicBezTo>
                  <a:pt x="1" y="23"/>
                  <a:pt x="1" y="24"/>
                  <a:pt x="1" y="26"/>
                </a:cubicBezTo>
                <a:cubicBezTo>
                  <a:pt x="0" y="28"/>
                  <a:pt x="0" y="30"/>
                  <a:pt x="0" y="31"/>
                </a:cubicBezTo>
                <a:cubicBezTo>
                  <a:pt x="0" y="33"/>
                  <a:pt x="0" y="34"/>
                  <a:pt x="1" y="34"/>
                </a:cubicBezTo>
                <a:cubicBezTo>
                  <a:pt x="2" y="34"/>
                  <a:pt x="2" y="35"/>
                  <a:pt x="3" y="35"/>
                </a:cubicBezTo>
                <a:cubicBezTo>
                  <a:pt x="3" y="35"/>
                  <a:pt x="4" y="36"/>
                  <a:pt x="4" y="36"/>
                </a:cubicBezTo>
                <a:cubicBezTo>
                  <a:pt x="4" y="37"/>
                  <a:pt x="4" y="37"/>
                  <a:pt x="4" y="37"/>
                </a:cubicBezTo>
                <a:cubicBezTo>
                  <a:pt x="5" y="38"/>
                  <a:pt x="5" y="38"/>
                  <a:pt x="5" y="39"/>
                </a:cubicBezTo>
                <a:cubicBezTo>
                  <a:pt x="6" y="40"/>
                  <a:pt x="6" y="40"/>
                  <a:pt x="7" y="41"/>
                </a:cubicBezTo>
                <a:cubicBezTo>
                  <a:pt x="7" y="42"/>
                  <a:pt x="8" y="42"/>
                  <a:pt x="8" y="42"/>
                </a:cubicBezTo>
                <a:cubicBezTo>
                  <a:pt x="9" y="43"/>
                  <a:pt x="9" y="43"/>
                  <a:pt x="10" y="44"/>
                </a:cubicBezTo>
                <a:cubicBezTo>
                  <a:pt x="10" y="44"/>
                  <a:pt x="10" y="44"/>
                  <a:pt x="11" y="44"/>
                </a:cubicBezTo>
                <a:cubicBezTo>
                  <a:pt x="11" y="45"/>
                  <a:pt x="12" y="45"/>
                  <a:pt x="12" y="46"/>
                </a:cubicBezTo>
                <a:cubicBezTo>
                  <a:pt x="13" y="46"/>
                  <a:pt x="13" y="46"/>
                  <a:pt x="14" y="46"/>
                </a:cubicBezTo>
                <a:cubicBezTo>
                  <a:pt x="14" y="47"/>
                  <a:pt x="15" y="47"/>
                  <a:pt x="15" y="47"/>
                </a:cubicBezTo>
                <a:cubicBezTo>
                  <a:pt x="16" y="48"/>
                  <a:pt x="16" y="48"/>
                  <a:pt x="16" y="49"/>
                </a:cubicBezTo>
                <a:cubicBezTo>
                  <a:pt x="17" y="49"/>
                  <a:pt x="17" y="50"/>
                  <a:pt x="17" y="50"/>
                </a:cubicBezTo>
                <a:cubicBezTo>
                  <a:pt x="18" y="50"/>
                  <a:pt x="18" y="50"/>
                  <a:pt x="18" y="50"/>
                </a:cubicBezTo>
                <a:cubicBezTo>
                  <a:pt x="19" y="51"/>
                  <a:pt x="19" y="51"/>
                  <a:pt x="20" y="51"/>
                </a:cubicBezTo>
                <a:cubicBezTo>
                  <a:pt x="20" y="51"/>
                  <a:pt x="21" y="51"/>
                  <a:pt x="21" y="51"/>
                </a:cubicBezTo>
                <a:cubicBezTo>
                  <a:pt x="21" y="51"/>
                  <a:pt x="21" y="51"/>
                  <a:pt x="22" y="52"/>
                </a:cubicBezTo>
                <a:cubicBezTo>
                  <a:pt x="22" y="52"/>
                  <a:pt x="23" y="52"/>
                  <a:pt x="24" y="52"/>
                </a:cubicBezTo>
                <a:cubicBezTo>
                  <a:pt x="24" y="53"/>
                  <a:pt x="25" y="52"/>
                  <a:pt x="26" y="52"/>
                </a:cubicBezTo>
                <a:cubicBezTo>
                  <a:pt x="27" y="52"/>
                  <a:pt x="27" y="53"/>
                  <a:pt x="28" y="53"/>
                </a:cubicBezTo>
                <a:cubicBezTo>
                  <a:pt x="28" y="53"/>
                  <a:pt x="29" y="54"/>
                  <a:pt x="29" y="54"/>
                </a:cubicBezTo>
                <a:cubicBezTo>
                  <a:pt x="30" y="54"/>
                  <a:pt x="31" y="55"/>
                  <a:pt x="32" y="56"/>
                </a:cubicBezTo>
                <a:cubicBezTo>
                  <a:pt x="33" y="56"/>
                  <a:pt x="34" y="58"/>
                  <a:pt x="36" y="59"/>
                </a:cubicBezTo>
                <a:cubicBezTo>
                  <a:pt x="36" y="59"/>
                  <a:pt x="37" y="59"/>
                  <a:pt x="38" y="60"/>
                </a:cubicBezTo>
                <a:cubicBezTo>
                  <a:pt x="38" y="60"/>
                  <a:pt x="39" y="61"/>
                  <a:pt x="40" y="61"/>
                </a:cubicBezTo>
                <a:cubicBezTo>
                  <a:pt x="40" y="61"/>
                  <a:pt x="40" y="61"/>
                  <a:pt x="41" y="61"/>
                </a:cubicBezTo>
                <a:cubicBezTo>
                  <a:pt x="41" y="61"/>
                  <a:pt x="41" y="61"/>
                  <a:pt x="42" y="61"/>
                </a:cubicBezTo>
                <a:cubicBezTo>
                  <a:pt x="42" y="61"/>
                  <a:pt x="43" y="62"/>
                  <a:pt x="43" y="62"/>
                </a:cubicBezTo>
                <a:cubicBezTo>
                  <a:pt x="43" y="62"/>
                  <a:pt x="44" y="63"/>
                  <a:pt x="44" y="63"/>
                </a:cubicBezTo>
                <a:cubicBezTo>
                  <a:pt x="45" y="63"/>
                  <a:pt x="45" y="62"/>
                  <a:pt x="46" y="63"/>
                </a:cubicBezTo>
                <a:cubicBezTo>
                  <a:pt x="46" y="63"/>
                  <a:pt x="47" y="64"/>
                  <a:pt x="48" y="64"/>
                </a:cubicBezTo>
                <a:cubicBezTo>
                  <a:pt x="49" y="64"/>
                  <a:pt x="49" y="65"/>
                  <a:pt x="50" y="65"/>
                </a:cubicBezTo>
                <a:cubicBezTo>
                  <a:pt x="50" y="65"/>
                  <a:pt x="50" y="66"/>
                  <a:pt x="51" y="66"/>
                </a:cubicBezTo>
                <a:cubicBezTo>
                  <a:pt x="51" y="67"/>
                  <a:pt x="51" y="67"/>
                  <a:pt x="52" y="68"/>
                </a:cubicBezTo>
                <a:cubicBezTo>
                  <a:pt x="52" y="68"/>
                  <a:pt x="52" y="69"/>
                  <a:pt x="52" y="70"/>
                </a:cubicBezTo>
                <a:cubicBezTo>
                  <a:pt x="51" y="70"/>
                  <a:pt x="51" y="70"/>
                  <a:pt x="51" y="70"/>
                </a:cubicBezTo>
                <a:cubicBezTo>
                  <a:pt x="51" y="70"/>
                  <a:pt x="50" y="70"/>
                  <a:pt x="50" y="71"/>
                </a:cubicBezTo>
                <a:cubicBezTo>
                  <a:pt x="50" y="71"/>
                  <a:pt x="51" y="71"/>
                  <a:pt x="50" y="71"/>
                </a:cubicBezTo>
                <a:cubicBezTo>
                  <a:pt x="50" y="71"/>
                  <a:pt x="50" y="71"/>
                  <a:pt x="50" y="72"/>
                </a:cubicBezTo>
                <a:cubicBezTo>
                  <a:pt x="50" y="72"/>
                  <a:pt x="50" y="72"/>
                  <a:pt x="50" y="72"/>
                </a:cubicBezTo>
                <a:cubicBezTo>
                  <a:pt x="50" y="73"/>
                  <a:pt x="49" y="73"/>
                  <a:pt x="50" y="73"/>
                </a:cubicBezTo>
                <a:cubicBezTo>
                  <a:pt x="50" y="73"/>
                  <a:pt x="50" y="73"/>
                  <a:pt x="50" y="73"/>
                </a:cubicBezTo>
                <a:cubicBezTo>
                  <a:pt x="49" y="74"/>
                  <a:pt x="50" y="74"/>
                  <a:pt x="50" y="74"/>
                </a:cubicBezTo>
                <a:cubicBezTo>
                  <a:pt x="49" y="75"/>
                  <a:pt x="49" y="75"/>
                  <a:pt x="48" y="75"/>
                </a:cubicBezTo>
                <a:cubicBezTo>
                  <a:pt x="48" y="76"/>
                  <a:pt x="48" y="76"/>
                  <a:pt x="48" y="76"/>
                </a:cubicBezTo>
                <a:cubicBezTo>
                  <a:pt x="48" y="76"/>
                  <a:pt x="48" y="76"/>
                  <a:pt x="48" y="77"/>
                </a:cubicBezTo>
                <a:cubicBezTo>
                  <a:pt x="48" y="77"/>
                  <a:pt x="47" y="77"/>
                  <a:pt x="48" y="77"/>
                </a:cubicBezTo>
                <a:cubicBezTo>
                  <a:pt x="48" y="77"/>
                  <a:pt x="47" y="79"/>
                  <a:pt x="47" y="79"/>
                </a:cubicBezTo>
                <a:cubicBezTo>
                  <a:pt x="48" y="79"/>
                  <a:pt x="47" y="79"/>
                  <a:pt x="47" y="80"/>
                </a:cubicBezTo>
                <a:cubicBezTo>
                  <a:pt x="47" y="80"/>
                  <a:pt x="48" y="80"/>
                  <a:pt x="48" y="80"/>
                </a:cubicBezTo>
                <a:cubicBezTo>
                  <a:pt x="48" y="80"/>
                  <a:pt x="48" y="81"/>
                  <a:pt x="48" y="81"/>
                </a:cubicBezTo>
                <a:cubicBezTo>
                  <a:pt x="48" y="81"/>
                  <a:pt x="47" y="81"/>
                  <a:pt x="47" y="82"/>
                </a:cubicBezTo>
                <a:cubicBezTo>
                  <a:pt x="47" y="82"/>
                  <a:pt x="48" y="83"/>
                  <a:pt x="47" y="83"/>
                </a:cubicBezTo>
                <a:cubicBezTo>
                  <a:pt x="47" y="83"/>
                  <a:pt x="47" y="83"/>
                  <a:pt x="47" y="83"/>
                </a:cubicBezTo>
                <a:cubicBezTo>
                  <a:pt x="47" y="84"/>
                  <a:pt x="46" y="84"/>
                  <a:pt x="46" y="84"/>
                </a:cubicBezTo>
                <a:cubicBezTo>
                  <a:pt x="46" y="84"/>
                  <a:pt x="46" y="86"/>
                  <a:pt x="45" y="86"/>
                </a:cubicBezTo>
                <a:cubicBezTo>
                  <a:pt x="45" y="86"/>
                  <a:pt x="45" y="86"/>
                  <a:pt x="44" y="87"/>
                </a:cubicBezTo>
                <a:cubicBezTo>
                  <a:pt x="44" y="87"/>
                  <a:pt x="45" y="87"/>
                  <a:pt x="45" y="87"/>
                </a:cubicBezTo>
                <a:cubicBezTo>
                  <a:pt x="45" y="88"/>
                  <a:pt x="45" y="88"/>
                  <a:pt x="45" y="88"/>
                </a:cubicBezTo>
                <a:cubicBezTo>
                  <a:pt x="46" y="88"/>
                  <a:pt x="48" y="88"/>
                  <a:pt x="49" y="88"/>
                </a:cubicBezTo>
                <a:cubicBezTo>
                  <a:pt x="50" y="88"/>
                  <a:pt x="50" y="88"/>
                  <a:pt x="51" y="88"/>
                </a:cubicBezTo>
                <a:cubicBezTo>
                  <a:pt x="52" y="88"/>
                  <a:pt x="53" y="88"/>
                  <a:pt x="53" y="88"/>
                </a:cubicBezTo>
                <a:cubicBezTo>
                  <a:pt x="54" y="89"/>
                  <a:pt x="55" y="89"/>
                  <a:pt x="56" y="90"/>
                </a:cubicBezTo>
                <a:cubicBezTo>
                  <a:pt x="57" y="90"/>
                  <a:pt x="58" y="90"/>
                  <a:pt x="59" y="90"/>
                </a:cubicBezTo>
                <a:cubicBezTo>
                  <a:pt x="60" y="90"/>
                  <a:pt x="60" y="90"/>
                  <a:pt x="61" y="90"/>
                </a:cubicBezTo>
                <a:cubicBezTo>
                  <a:pt x="62" y="90"/>
                  <a:pt x="62" y="91"/>
                  <a:pt x="63" y="90"/>
                </a:cubicBezTo>
                <a:cubicBezTo>
                  <a:pt x="63" y="90"/>
                  <a:pt x="64" y="90"/>
                  <a:pt x="65" y="90"/>
                </a:cubicBezTo>
                <a:cubicBezTo>
                  <a:pt x="66" y="91"/>
                  <a:pt x="66" y="92"/>
                  <a:pt x="67" y="90"/>
                </a:cubicBezTo>
                <a:cubicBezTo>
                  <a:pt x="67" y="90"/>
                  <a:pt x="67" y="89"/>
                  <a:pt x="68" y="89"/>
                </a:cubicBezTo>
                <a:cubicBezTo>
                  <a:pt x="68" y="89"/>
                  <a:pt x="68" y="88"/>
                  <a:pt x="69" y="88"/>
                </a:cubicBezTo>
                <a:cubicBezTo>
                  <a:pt x="70" y="88"/>
                  <a:pt x="70" y="89"/>
                  <a:pt x="71" y="89"/>
                </a:cubicBezTo>
                <a:cubicBezTo>
                  <a:pt x="71" y="90"/>
                  <a:pt x="72" y="90"/>
                  <a:pt x="72" y="90"/>
                </a:cubicBezTo>
                <a:cubicBezTo>
                  <a:pt x="73" y="89"/>
                  <a:pt x="74" y="88"/>
                  <a:pt x="73" y="87"/>
                </a:cubicBezTo>
                <a:cubicBezTo>
                  <a:pt x="73" y="86"/>
                  <a:pt x="74" y="86"/>
                  <a:pt x="74" y="86"/>
                </a:cubicBezTo>
                <a:cubicBezTo>
                  <a:pt x="74" y="85"/>
                  <a:pt x="74" y="85"/>
                  <a:pt x="75" y="85"/>
                </a:cubicBezTo>
                <a:cubicBezTo>
                  <a:pt x="75" y="84"/>
                  <a:pt x="76" y="84"/>
                  <a:pt x="76" y="84"/>
                </a:cubicBezTo>
                <a:cubicBezTo>
                  <a:pt x="77" y="85"/>
                  <a:pt x="77" y="84"/>
                  <a:pt x="77" y="83"/>
                </a:cubicBezTo>
                <a:cubicBezTo>
                  <a:pt x="77" y="83"/>
                  <a:pt x="78" y="83"/>
                  <a:pt x="78" y="83"/>
                </a:cubicBezTo>
                <a:cubicBezTo>
                  <a:pt x="79" y="82"/>
                  <a:pt x="78" y="82"/>
                  <a:pt x="79" y="81"/>
                </a:cubicBezTo>
                <a:cubicBezTo>
                  <a:pt x="79" y="81"/>
                  <a:pt x="80" y="82"/>
                  <a:pt x="80" y="81"/>
                </a:cubicBezTo>
                <a:cubicBezTo>
                  <a:pt x="80" y="80"/>
                  <a:pt x="80" y="80"/>
                  <a:pt x="80" y="79"/>
                </a:cubicBezTo>
                <a:cubicBezTo>
                  <a:pt x="80" y="79"/>
                  <a:pt x="80" y="79"/>
                  <a:pt x="80" y="79"/>
                </a:cubicBezTo>
                <a:cubicBezTo>
                  <a:pt x="81" y="78"/>
                  <a:pt x="81" y="78"/>
                  <a:pt x="81" y="77"/>
                </a:cubicBezTo>
                <a:cubicBezTo>
                  <a:pt x="80" y="77"/>
                  <a:pt x="81" y="76"/>
                  <a:pt x="80" y="76"/>
                </a:cubicBezTo>
                <a:cubicBezTo>
                  <a:pt x="80" y="75"/>
                  <a:pt x="80" y="74"/>
                  <a:pt x="80" y="74"/>
                </a:cubicBezTo>
                <a:cubicBezTo>
                  <a:pt x="80" y="74"/>
                  <a:pt x="80" y="74"/>
                  <a:pt x="81" y="73"/>
                </a:cubicBezTo>
                <a:cubicBezTo>
                  <a:pt x="81" y="73"/>
                  <a:pt x="80" y="73"/>
                  <a:pt x="80" y="73"/>
                </a:cubicBezTo>
                <a:cubicBezTo>
                  <a:pt x="80" y="72"/>
                  <a:pt x="81" y="72"/>
                  <a:pt x="80" y="72"/>
                </a:cubicBezTo>
                <a:cubicBezTo>
                  <a:pt x="80" y="71"/>
                  <a:pt x="80" y="71"/>
                  <a:pt x="80" y="71"/>
                </a:cubicBezTo>
                <a:cubicBezTo>
                  <a:pt x="80" y="70"/>
                  <a:pt x="80" y="70"/>
                  <a:pt x="80" y="70"/>
                </a:cubicBezTo>
                <a:cubicBezTo>
                  <a:pt x="80" y="70"/>
                  <a:pt x="80" y="69"/>
                  <a:pt x="80" y="68"/>
                </a:cubicBezTo>
                <a:cubicBezTo>
                  <a:pt x="80" y="67"/>
                  <a:pt x="80" y="67"/>
                  <a:pt x="81" y="66"/>
                </a:cubicBezTo>
                <a:cubicBezTo>
                  <a:pt x="81" y="66"/>
                  <a:pt x="81" y="65"/>
                  <a:pt x="81" y="65"/>
                </a:cubicBezTo>
                <a:cubicBezTo>
                  <a:pt x="81" y="65"/>
                  <a:pt x="81" y="65"/>
                  <a:pt x="81" y="65"/>
                </a:cubicBezTo>
                <a:cubicBezTo>
                  <a:pt x="81" y="64"/>
                  <a:pt x="81" y="64"/>
                  <a:pt x="81" y="64"/>
                </a:cubicBezTo>
                <a:cubicBezTo>
                  <a:pt x="81" y="64"/>
                  <a:pt x="81" y="63"/>
                  <a:pt x="81" y="63"/>
                </a:cubicBezTo>
                <a:cubicBezTo>
                  <a:pt x="81" y="62"/>
                  <a:pt x="81" y="61"/>
                  <a:pt x="81" y="60"/>
                </a:cubicBezTo>
                <a:cubicBezTo>
                  <a:pt x="81" y="59"/>
                  <a:pt x="81" y="59"/>
                  <a:pt x="81" y="58"/>
                </a:cubicBezTo>
                <a:cubicBezTo>
                  <a:pt x="81" y="57"/>
                  <a:pt x="82" y="56"/>
                  <a:pt x="82" y="5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1" name="Papua New Guinea"/>
          <p:cNvSpPr>
            <a:spLocks noEditPoints="1"/>
          </p:cNvSpPr>
          <p:nvPr/>
        </p:nvSpPr>
        <p:spPr bwMode="auto">
          <a:xfrm>
            <a:off x="10718898" y="4706936"/>
            <a:ext cx="530980" cy="419985"/>
          </a:xfrm>
          <a:custGeom>
            <a:avLst/>
            <a:gdLst/>
            <a:ahLst/>
            <a:cxnLst>
              <a:cxn ang="0">
                <a:pos x="99" y="83"/>
              </a:cxn>
              <a:cxn ang="0">
                <a:pos x="26" y="80"/>
              </a:cxn>
              <a:cxn ang="0">
                <a:pos x="62" y="12"/>
              </a:cxn>
              <a:cxn ang="0">
                <a:pos x="61" y="10"/>
              </a:cxn>
              <a:cxn ang="0">
                <a:pos x="88" y="92"/>
              </a:cxn>
              <a:cxn ang="0">
                <a:pos x="94" y="92"/>
              </a:cxn>
              <a:cxn ang="0">
                <a:pos x="135" y="46"/>
              </a:cxn>
              <a:cxn ang="0">
                <a:pos x="126" y="113"/>
              </a:cxn>
              <a:cxn ang="0">
                <a:pos x="116" y="30"/>
              </a:cxn>
              <a:cxn ang="0">
                <a:pos x="100" y="16"/>
              </a:cxn>
              <a:cxn ang="0">
                <a:pos x="114" y="28"/>
              </a:cxn>
              <a:cxn ang="0">
                <a:pos x="121" y="36"/>
              </a:cxn>
              <a:cxn ang="0">
                <a:pos x="119" y="116"/>
              </a:cxn>
              <a:cxn ang="0">
                <a:pos x="23" y="7"/>
              </a:cxn>
              <a:cxn ang="0">
                <a:pos x="113" y="36"/>
              </a:cxn>
              <a:cxn ang="0">
                <a:pos x="106" y="35"/>
              </a:cxn>
              <a:cxn ang="0">
                <a:pos x="94" y="49"/>
              </a:cxn>
              <a:cxn ang="0">
                <a:pos x="88" y="49"/>
              </a:cxn>
              <a:cxn ang="0">
                <a:pos x="79" y="49"/>
              </a:cxn>
              <a:cxn ang="0">
                <a:pos x="81" y="55"/>
              </a:cxn>
              <a:cxn ang="0">
                <a:pos x="92" y="57"/>
              </a:cxn>
              <a:cxn ang="0">
                <a:pos x="101" y="54"/>
              </a:cxn>
              <a:cxn ang="0">
                <a:pos x="111" y="48"/>
              </a:cxn>
              <a:cxn ang="0">
                <a:pos x="64" y="47"/>
              </a:cxn>
              <a:cxn ang="0">
                <a:pos x="84" y="94"/>
              </a:cxn>
              <a:cxn ang="0">
                <a:pos x="76" y="88"/>
              </a:cxn>
              <a:cxn ang="0">
                <a:pos x="66" y="74"/>
              </a:cxn>
              <a:cxn ang="0">
                <a:pos x="61" y="67"/>
              </a:cxn>
              <a:cxn ang="0">
                <a:pos x="66" y="55"/>
              </a:cxn>
              <a:cxn ang="0">
                <a:pos x="50" y="49"/>
              </a:cxn>
              <a:cxn ang="0">
                <a:pos x="41" y="33"/>
              </a:cxn>
              <a:cxn ang="0">
                <a:pos x="30" y="27"/>
              </a:cxn>
              <a:cxn ang="0">
                <a:pos x="5" y="17"/>
              </a:cxn>
              <a:cxn ang="0">
                <a:pos x="2" y="64"/>
              </a:cxn>
              <a:cxn ang="0">
                <a:pos x="16" y="91"/>
              </a:cxn>
              <a:cxn ang="0">
                <a:pos x="14" y="78"/>
              </a:cxn>
              <a:cxn ang="0">
                <a:pos x="25" y="76"/>
              </a:cxn>
              <a:cxn ang="0">
                <a:pos x="28" y="71"/>
              </a:cxn>
              <a:cxn ang="0">
                <a:pos x="35" y="74"/>
              </a:cxn>
              <a:cxn ang="0">
                <a:pos x="39" y="72"/>
              </a:cxn>
              <a:cxn ang="0">
                <a:pos x="48" y="75"/>
              </a:cxn>
              <a:cxn ang="0">
                <a:pos x="57" y="88"/>
              </a:cxn>
              <a:cxn ang="0">
                <a:pos x="61" y="94"/>
              </a:cxn>
              <a:cxn ang="0">
                <a:pos x="69" y="100"/>
              </a:cxn>
              <a:cxn ang="0">
                <a:pos x="81" y="102"/>
              </a:cxn>
              <a:cxn ang="0">
                <a:pos x="86" y="105"/>
              </a:cxn>
              <a:cxn ang="0">
                <a:pos x="92" y="101"/>
              </a:cxn>
              <a:cxn ang="0">
                <a:pos x="147" y="61"/>
              </a:cxn>
              <a:cxn ang="0">
                <a:pos x="140" y="52"/>
              </a:cxn>
              <a:cxn ang="0">
                <a:pos x="136" y="50"/>
              </a:cxn>
              <a:cxn ang="0">
                <a:pos x="146" y="63"/>
              </a:cxn>
              <a:cxn ang="0">
                <a:pos x="95" y="98"/>
              </a:cxn>
              <a:cxn ang="0">
                <a:pos x="100" y="20"/>
              </a:cxn>
              <a:cxn ang="0">
                <a:pos x="88" y="5"/>
              </a:cxn>
              <a:cxn ang="0">
                <a:pos x="70" y="52"/>
              </a:cxn>
              <a:cxn ang="0">
                <a:pos x="94" y="106"/>
              </a:cxn>
              <a:cxn ang="0">
                <a:pos x="114" y="89"/>
              </a:cxn>
              <a:cxn ang="0">
                <a:pos x="93" y="17"/>
              </a:cxn>
              <a:cxn ang="0">
                <a:pos x="137" y="25"/>
              </a:cxn>
            </a:cxnLst>
            <a:rect l="0" t="0" r="r" b="b"/>
            <a:pathLst>
              <a:path w="147" h="116">
                <a:moveTo>
                  <a:pt x="26" y="84"/>
                </a:moveTo>
                <a:cubicBezTo>
                  <a:pt x="26" y="84"/>
                  <a:pt x="26" y="84"/>
                  <a:pt x="25" y="83"/>
                </a:cubicBezTo>
                <a:cubicBezTo>
                  <a:pt x="25" y="83"/>
                  <a:pt x="25" y="83"/>
                  <a:pt x="24" y="83"/>
                </a:cubicBezTo>
                <a:cubicBezTo>
                  <a:pt x="24" y="83"/>
                  <a:pt x="22" y="81"/>
                  <a:pt x="22" y="81"/>
                </a:cubicBezTo>
                <a:cubicBezTo>
                  <a:pt x="22" y="81"/>
                  <a:pt x="23" y="81"/>
                  <a:pt x="23" y="81"/>
                </a:cubicBezTo>
                <a:cubicBezTo>
                  <a:pt x="24" y="82"/>
                  <a:pt x="24" y="82"/>
                  <a:pt x="25" y="82"/>
                </a:cubicBezTo>
                <a:cubicBezTo>
                  <a:pt x="25" y="83"/>
                  <a:pt x="27" y="84"/>
                  <a:pt x="26" y="84"/>
                </a:cubicBezTo>
                <a:close/>
                <a:moveTo>
                  <a:pt x="99" y="81"/>
                </a:moveTo>
                <a:cubicBezTo>
                  <a:pt x="98" y="81"/>
                  <a:pt x="98" y="81"/>
                  <a:pt x="98" y="82"/>
                </a:cubicBezTo>
                <a:cubicBezTo>
                  <a:pt x="98" y="82"/>
                  <a:pt x="98" y="82"/>
                  <a:pt x="99" y="83"/>
                </a:cubicBezTo>
                <a:cubicBezTo>
                  <a:pt x="99" y="83"/>
                  <a:pt x="98" y="84"/>
                  <a:pt x="98" y="84"/>
                </a:cubicBezTo>
                <a:cubicBezTo>
                  <a:pt x="98" y="85"/>
                  <a:pt x="98" y="85"/>
                  <a:pt x="99" y="85"/>
                </a:cubicBezTo>
                <a:cubicBezTo>
                  <a:pt x="99" y="85"/>
                  <a:pt x="98" y="85"/>
                  <a:pt x="98" y="84"/>
                </a:cubicBezTo>
                <a:cubicBezTo>
                  <a:pt x="98" y="84"/>
                  <a:pt x="99" y="83"/>
                  <a:pt x="99" y="83"/>
                </a:cubicBezTo>
                <a:cubicBezTo>
                  <a:pt x="99" y="82"/>
                  <a:pt x="99" y="82"/>
                  <a:pt x="99" y="81"/>
                </a:cubicBezTo>
                <a:close/>
                <a:moveTo>
                  <a:pt x="26" y="80"/>
                </a:moveTo>
                <a:cubicBezTo>
                  <a:pt x="26" y="80"/>
                  <a:pt x="24" y="80"/>
                  <a:pt x="24" y="80"/>
                </a:cubicBezTo>
                <a:cubicBezTo>
                  <a:pt x="24" y="80"/>
                  <a:pt x="23" y="80"/>
                  <a:pt x="24" y="81"/>
                </a:cubicBezTo>
                <a:cubicBezTo>
                  <a:pt x="24" y="81"/>
                  <a:pt x="25" y="81"/>
                  <a:pt x="26" y="82"/>
                </a:cubicBezTo>
                <a:cubicBezTo>
                  <a:pt x="26" y="81"/>
                  <a:pt x="26" y="81"/>
                  <a:pt x="26" y="80"/>
                </a:cubicBezTo>
                <a:close/>
                <a:moveTo>
                  <a:pt x="131" y="37"/>
                </a:moveTo>
                <a:cubicBezTo>
                  <a:pt x="131" y="36"/>
                  <a:pt x="131" y="36"/>
                  <a:pt x="131" y="37"/>
                </a:cubicBezTo>
                <a:close/>
                <a:moveTo>
                  <a:pt x="123" y="26"/>
                </a:moveTo>
                <a:cubicBezTo>
                  <a:pt x="122" y="26"/>
                  <a:pt x="123" y="27"/>
                  <a:pt x="123" y="27"/>
                </a:cubicBezTo>
                <a:cubicBezTo>
                  <a:pt x="123" y="27"/>
                  <a:pt x="123" y="26"/>
                  <a:pt x="123" y="26"/>
                </a:cubicBezTo>
                <a:close/>
                <a:moveTo>
                  <a:pt x="60" y="12"/>
                </a:moveTo>
                <a:cubicBezTo>
                  <a:pt x="60" y="12"/>
                  <a:pt x="60" y="12"/>
                  <a:pt x="60" y="12"/>
                </a:cubicBezTo>
                <a:cubicBezTo>
                  <a:pt x="60" y="12"/>
                  <a:pt x="60" y="11"/>
                  <a:pt x="60" y="12"/>
                </a:cubicBezTo>
                <a:cubicBezTo>
                  <a:pt x="61" y="12"/>
                  <a:pt x="61" y="12"/>
                  <a:pt x="61" y="12"/>
                </a:cubicBezTo>
                <a:cubicBezTo>
                  <a:pt x="61" y="12"/>
                  <a:pt x="62" y="12"/>
                  <a:pt x="62" y="12"/>
                </a:cubicBezTo>
                <a:cubicBezTo>
                  <a:pt x="63" y="12"/>
                  <a:pt x="63" y="12"/>
                  <a:pt x="64" y="12"/>
                </a:cubicBezTo>
                <a:cubicBezTo>
                  <a:pt x="64" y="12"/>
                  <a:pt x="65" y="12"/>
                  <a:pt x="65" y="12"/>
                </a:cubicBezTo>
                <a:cubicBezTo>
                  <a:pt x="66" y="12"/>
                  <a:pt x="66" y="11"/>
                  <a:pt x="66" y="11"/>
                </a:cubicBezTo>
                <a:cubicBezTo>
                  <a:pt x="66" y="11"/>
                  <a:pt x="67" y="11"/>
                  <a:pt x="67" y="11"/>
                </a:cubicBezTo>
                <a:cubicBezTo>
                  <a:pt x="68" y="11"/>
                  <a:pt x="67" y="10"/>
                  <a:pt x="67" y="10"/>
                </a:cubicBezTo>
                <a:cubicBezTo>
                  <a:pt x="67" y="10"/>
                  <a:pt x="67" y="11"/>
                  <a:pt x="67" y="11"/>
                </a:cubicBezTo>
                <a:cubicBezTo>
                  <a:pt x="67" y="11"/>
                  <a:pt x="65" y="10"/>
                  <a:pt x="65" y="10"/>
                </a:cubicBezTo>
                <a:cubicBezTo>
                  <a:pt x="64" y="10"/>
                  <a:pt x="64" y="10"/>
                  <a:pt x="64" y="10"/>
                </a:cubicBezTo>
                <a:cubicBezTo>
                  <a:pt x="64" y="10"/>
                  <a:pt x="63" y="10"/>
                  <a:pt x="63" y="10"/>
                </a:cubicBezTo>
                <a:cubicBezTo>
                  <a:pt x="62" y="10"/>
                  <a:pt x="62" y="10"/>
                  <a:pt x="61" y="10"/>
                </a:cubicBezTo>
                <a:cubicBezTo>
                  <a:pt x="61" y="10"/>
                  <a:pt x="60" y="10"/>
                  <a:pt x="60" y="10"/>
                </a:cubicBezTo>
                <a:cubicBezTo>
                  <a:pt x="60" y="10"/>
                  <a:pt x="59" y="11"/>
                  <a:pt x="59" y="10"/>
                </a:cubicBezTo>
                <a:cubicBezTo>
                  <a:pt x="59" y="11"/>
                  <a:pt x="60" y="11"/>
                  <a:pt x="59" y="12"/>
                </a:cubicBezTo>
                <a:cubicBezTo>
                  <a:pt x="58" y="12"/>
                  <a:pt x="58" y="12"/>
                  <a:pt x="59" y="13"/>
                </a:cubicBezTo>
                <a:cubicBezTo>
                  <a:pt x="59" y="13"/>
                  <a:pt x="59" y="12"/>
                  <a:pt x="60" y="12"/>
                </a:cubicBezTo>
                <a:close/>
                <a:moveTo>
                  <a:pt x="90" y="93"/>
                </a:moveTo>
                <a:cubicBezTo>
                  <a:pt x="90" y="93"/>
                  <a:pt x="90" y="92"/>
                  <a:pt x="90" y="92"/>
                </a:cubicBezTo>
                <a:cubicBezTo>
                  <a:pt x="91" y="92"/>
                  <a:pt x="90" y="91"/>
                  <a:pt x="90" y="91"/>
                </a:cubicBezTo>
                <a:cubicBezTo>
                  <a:pt x="90" y="90"/>
                  <a:pt x="90" y="89"/>
                  <a:pt x="89" y="90"/>
                </a:cubicBezTo>
                <a:cubicBezTo>
                  <a:pt x="88" y="90"/>
                  <a:pt x="88" y="91"/>
                  <a:pt x="88" y="92"/>
                </a:cubicBezTo>
                <a:cubicBezTo>
                  <a:pt x="89" y="92"/>
                  <a:pt x="90" y="93"/>
                  <a:pt x="90" y="93"/>
                </a:cubicBezTo>
                <a:close/>
                <a:moveTo>
                  <a:pt x="91" y="94"/>
                </a:moveTo>
                <a:cubicBezTo>
                  <a:pt x="91" y="94"/>
                  <a:pt x="92" y="94"/>
                  <a:pt x="92" y="94"/>
                </a:cubicBezTo>
                <a:cubicBezTo>
                  <a:pt x="93" y="94"/>
                  <a:pt x="93" y="94"/>
                  <a:pt x="94" y="95"/>
                </a:cubicBezTo>
                <a:cubicBezTo>
                  <a:pt x="94" y="95"/>
                  <a:pt x="94" y="95"/>
                  <a:pt x="95" y="94"/>
                </a:cubicBezTo>
                <a:cubicBezTo>
                  <a:pt x="95" y="94"/>
                  <a:pt x="95" y="95"/>
                  <a:pt x="95" y="95"/>
                </a:cubicBezTo>
                <a:cubicBezTo>
                  <a:pt x="95" y="95"/>
                  <a:pt x="96" y="94"/>
                  <a:pt x="95" y="94"/>
                </a:cubicBezTo>
                <a:cubicBezTo>
                  <a:pt x="95" y="94"/>
                  <a:pt x="95" y="93"/>
                  <a:pt x="95" y="93"/>
                </a:cubicBezTo>
                <a:cubicBezTo>
                  <a:pt x="96" y="93"/>
                  <a:pt x="95" y="93"/>
                  <a:pt x="95" y="93"/>
                </a:cubicBezTo>
                <a:cubicBezTo>
                  <a:pt x="95" y="92"/>
                  <a:pt x="95" y="92"/>
                  <a:pt x="94" y="92"/>
                </a:cubicBezTo>
                <a:cubicBezTo>
                  <a:pt x="94" y="92"/>
                  <a:pt x="93" y="92"/>
                  <a:pt x="93" y="92"/>
                </a:cubicBezTo>
                <a:cubicBezTo>
                  <a:pt x="92" y="91"/>
                  <a:pt x="92" y="91"/>
                  <a:pt x="91" y="91"/>
                </a:cubicBezTo>
                <a:cubicBezTo>
                  <a:pt x="91" y="91"/>
                  <a:pt x="91" y="92"/>
                  <a:pt x="91" y="92"/>
                </a:cubicBezTo>
                <a:cubicBezTo>
                  <a:pt x="91" y="93"/>
                  <a:pt x="92" y="93"/>
                  <a:pt x="92" y="93"/>
                </a:cubicBezTo>
                <a:cubicBezTo>
                  <a:pt x="92" y="94"/>
                  <a:pt x="91" y="94"/>
                  <a:pt x="91" y="94"/>
                </a:cubicBezTo>
                <a:close/>
                <a:moveTo>
                  <a:pt x="136" y="46"/>
                </a:moveTo>
                <a:cubicBezTo>
                  <a:pt x="136" y="45"/>
                  <a:pt x="136" y="45"/>
                  <a:pt x="136" y="45"/>
                </a:cubicBezTo>
                <a:cubicBezTo>
                  <a:pt x="136" y="44"/>
                  <a:pt x="136" y="44"/>
                  <a:pt x="136" y="43"/>
                </a:cubicBezTo>
                <a:cubicBezTo>
                  <a:pt x="135" y="43"/>
                  <a:pt x="135" y="44"/>
                  <a:pt x="135" y="45"/>
                </a:cubicBezTo>
                <a:cubicBezTo>
                  <a:pt x="135" y="44"/>
                  <a:pt x="135" y="45"/>
                  <a:pt x="135" y="46"/>
                </a:cubicBezTo>
                <a:cubicBezTo>
                  <a:pt x="135" y="46"/>
                  <a:pt x="135" y="48"/>
                  <a:pt x="135" y="48"/>
                </a:cubicBezTo>
                <a:cubicBezTo>
                  <a:pt x="135" y="48"/>
                  <a:pt x="135" y="48"/>
                  <a:pt x="136" y="48"/>
                </a:cubicBezTo>
                <a:cubicBezTo>
                  <a:pt x="136" y="48"/>
                  <a:pt x="136" y="47"/>
                  <a:pt x="136" y="47"/>
                </a:cubicBezTo>
                <a:cubicBezTo>
                  <a:pt x="136" y="46"/>
                  <a:pt x="136" y="46"/>
                  <a:pt x="136" y="46"/>
                </a:cubicBezTo>
                <a:close/>
                <a:moveTo>
                  <a:pt x="124" y="113"/>
                </a:moveTo>
                <a:cubicBezTo>
                  <a:pt x="124" y="113"/>
                  <a:pt x="125" y="113"/>
                  <a:pt x="124" y="113"/>
                </a:cubicBezTo>
                <a:cubicBezTo>
                  <a:pt x="124" y="113"/>
                  <a:pt x="124" y="113"/>
                  <a:pt x="124" y="113"/>
                </a:cubicBezTo>
                <a:cubicBezTo>
                  <a:pt x="123" y="114"/>
                  <a:pt x="124" y="114"/>
                  <a:pt x="124" y="114"/>
                </a:cubicBezTo>
                <a:cubicBezTo>
                  <a:pt x="124" y="114"/>
                  <a:pt x="124" y="114"/>
                  <a:pt x="125" y="114"/>
                </a:cubicBezTo>
                <a:cubicBezTo>
                  <a:pt x="125" y="114"/>
                  <a:pt x="126" y="114"/>
                  <a:pt x="126" y="113"/>
                </a:cubicBezTo>
                <a:cubicBezTo>
                  <a:pt x="126" y="112"/>
                  <a:pt x="125" y="113"/>
                  <a:pt x="124" y="113"/>
                </a:cubicBezTo>
                <a:close/>
                <a:moveTo>
                  <a:pt x="111" y="105"/>
                </a:moveTo>
                <a:cubicBezTo>
                  <a:pt x="109" y="105"/>
                  <a:pt x="111" y="106"/>
                  <a:pt x="112" y="106"/>
                </a:cubicBezTo>
                <a:cubicBezTo>
                  <a:pt x="112" y="106"/>
                  <a:pt x="114" y="106"/>
                  <a:pt x="113" y="105"/>
                </a:cubicBezTo>
                <a:cubicBezTo>
                  <a:pt x="113" y="105"/>
                  <a:pt x="112" y="105"/>
                  <a:pt x="111" y="105"/>
                </a:cubicBezTo>
                <a:close/>
                <a:moveTo>
                  <a:pt x="119" y="32"/>
                </a:moveTo>
                <a:cubicBezTo>
                  <a:pt x="119" y="32"/>
                  <a:pt x="119" y="31"/>
                  <a:pt x="119" y="31"/>
                </a:cubicBezTo>
                <a:cubicBezTo>
                  <a:pt x="119" y="31"/>
                  <a:pt x="118" y="31"/>
                  <a:pt x="118" y="31"/>
                </a:cubicBezTo>
                <a:cubicBezTo>
                  <a:pt x="118" y="31"/>
                  <a:pt x="117" y="31"/>
                  <a:pt x="117" y="30"/>
                </a:cubicBezTo>
                <a:cubicBezTo>
                  <a:pt x="117" y="30"/>
                  <a:pt x="117" y="30"/>
                  <a:pt x="116" y="30"/>
                </a:cubicBezTo>
                <a:cubicBezTo>
                  <a:pt x="116" y="30"/>
                  <a:pt x="116" y="28"/>
                  <a:pt x="115" y="28"/>
                </a:cubicBezTo>
                <a:cubicBezTo>
                  <a:pt x="115" y="29"/>
                  <a:pt x="114" y="27"/>
                  <a:pt x="114" y="27"/>
                </a:cubicBezTo>
                <a:cubicBezTo>
                  <a:pt x="113" y="26"/>
                  <a:pt x="113" y="26"/>
                  <a:pt x="112" y="25"/>
                </a:cubicBezTo>
                <a:cubicBezTo>
                  <a:pt x="111" y="24"/>
                  <a:pt x="111" y="24"/>
                  <a:pt x="110" y="23"/>
                </a:cubicBezTo>
                <a:cubicBezTo>
                  <a:pt x="109" y="23"/>
                  <a:pt x="108" y="22"/>
                  <a:pt x="108" y="22"/>
                </a:cubicBezTo>
                <a:cubicBezTo>
                  <a:pt x="107" y="21"/>
                  <a:pt x="106" y="20"/>
                  <a:pt x="105" y="20"/>
                </a:cubicBezTo>
                <a:cubicBezTo>
                  <a:pt x="105" y="20"/>
                  <a:pt x="105" y="20"/>
                  <a:pt x="104" y="20"/>
                </a:cubicBezTo>
                <a:cubicBezTo>
                  <a:pt x="104" y="20"/>
                  <a:pt x="104" y="20"/>
                  <a:pt x="103" y="19"/>
                </a:cubicBezTo>
                <a:cubicBezTo>
                  <a:pt x="103" y="19"/>
                  <a:pt x="102" y="18"/>
                  <a:pt x="102" y="18"/>
                </a:cubicBezTo>
                <a:cubicBezTo>
                  <a:pt x="101" y="18"/>
                  <a:pt x="100" y="16"/>
                  <a:pt x="100" y="16"/>
                </a:cubicBezTo>
                <a:cubicBezTo>
                  <a:pt x="100" y="17"/>
                  <a:pt x="100" y="17"/>
                  <a:pt x="100" y="18"/>
                </a:cubicBezTo>
                <a:cubicBezTo>
                  <a:pt x="101" y="18"/>
                  <a:pt x="100" y="18"/>
                  <a:pt x="100" y="18"/>
                </a:cubicBezTo>
                <a:cubicBezTo>
                  <a:pt x="99" y="18"/>
                  <a:pt x="99" y="18"/>
                  <a:pt x="99" y="18"/>
                </a:cubicBezTo>
                <a:cubicBezTo>
                  <a:pt x="99" y="18"/>
                  <a:pt x="99" y="19"/>
                  <a:pt x="99" y="19"/>
                </a:cubicBezTo>
                <a:cubicBezTo>
                  <a:pt x="100" y="19"/>
                  <a:pt x="101" y="19"/>
                  <a:pt x="101" y="19"/>
                </a:cubicBezTo>
                <a:cubicBezTo>
                  <a:pt x="102" y="19"/>
                  <a:pt x="103" y="20"/>
                  <a:pt x="103" y="20"/>
                </a:cubicBezTo>
                <a:cubicBezTo>
                  <a:pt x="104" y="21"/>
                  <a:pt x="105" y="21"/>
                  <a:pt x="106" y="22"/>
                </a:cubicBezTo>
                <a:cubicBezTo>
                  <a:pt x="106" y="23"/>
                  <a:pt x="107" y="23"/>
                  <a:pt x="108" y="23"/>
                </a:cubicBezTo>
                <a:cubicBezTo>
                  <a:pt x="108" y="24"/>
                  <a:pt x="108" y="25"/>
                  <a:pt x="109" y="25"/>
                </a:cubicBezTo>
                <a:cubicBezTo>
                  <a:pt x="111" y="26"/>
                  <a:pt x="112" y="26"/>
                  <a:pt x="114" y="28"/>
                </a:cubicBezTo>
                <a:cubicBezTo>
                  <a:pt x="114" y="28"/>
                  <a:pt x="114" y="29"/>
                  <a:pt x="115" y="30"/>
                </a:cubicBezTo>
                <a:cubicBezTo>
                  <a:pt x="115" y="30"/>
                  <a:pt x="116" y="31"/>
                  <a:pt x="116" y="32"/>
                </a:cubicBezTo>
                <a:cubicBezTo>
                  <a:pt x="117" y="33"/>
                  <a:pt x="117" y="34"/>
                  <a:pt x="117" y="35"/>
                </a:cubicBezTo>
                <a:cubicBezTo>
                  <a:pt x="117" y="35"/>
                  <a:pt x="117" y="36"/>
                  <a:pt x="117" y="37"/>
                </a:cubicBezTo>
                <a:cubicBezTo>
                  <a:pt x="117" y="37"/>
                  <a:pt x="117" y="37"/>
                  <a:pt x="117" y="38"/>
                </a:cubicBezTo>
                <a:cubicBezTo>
                  <a:pt x="117" y="38"/>
                  <a:pt x="117" y="39"/>
                  <a:pt x="118" y="40"/>
                </a:cubicBezTo>
                <a:cubicBezTo>
                  <a:pt x="118" y="40"/>
                  <a:pt x="119" y="41"/>
                  <a:pt x="119" y="42"/>
                </a:cubicBezTo>
                <a:cubicBezTo>
                  <a:pt x="119" y="41"/>
                  <a:pt x="120" y="40"/>
                  <a:pt x="121" y="39"/>
                </a:cubicBezTo>
                <a:cubicBezTo>
                  <a:pt x="121" y="38"/>
                  <a:pt x="120" y="38"/>
                  <a:pt x="121" y="37"/>
                </a:cubicBezTo>
                <a:cubicBezTo>
                  <a:pt x="121" y="37"/>
                  <a:pt x="121" y="36"/>
                  <a:pt x="121" y="36"/>
                </a:cubicBezTo>
                <a:cubicBezTo>
                  <a:pt x="122" y="35"/>
                  <a:pt x="120" y="34"/>
                  <a:pt x="120" y="33"/>
                </a:cubicBezTo>
                <a:cubicBezTo>
                  <a:pt x="120" y="32"/>
                  <a:pt x="119" y="32"/>
                  <a:pt x="119" y="32"/>
                </a:cubicBezTo>
                <a:close/>
                <a:moveTo>
                  <a:pt x="118" y="114"/>
                </a:moveTo>
                <a:cubicBezTo>
                  <a:pt x="117" y="114"/>
                  <a:pt x="117" y="113"/>
                  <a:pt x="116" y="113"/>
                </a:cubicBezTo>
                <a:cubicBezTo>
                  <a:pt x="115" y="113"/>
                  <a:pt x="115" y="113"/>
                  <a:pt x="116" y="114"/>
                </a:cubicBezTo>
                <a:cubicBezTo>
                  <a:pt x="116" y="114"/>
                  <a:pt x="117" y="114"/>
                  <a:pt x="117" y="114"/>
                </a:cubicBezTo>
                <a:cubicBezTo>
                  <a:pt x="117" y="114"/>
                  <a:pt x="116" y="115"/>
                  <a:pt x="116" y="115"/>
                </a:cubicBezTo>
                <a:cubicBezTo>
                  <a:pt x="116" y="115"/>
                  <a:pt x="117" y="114"/>
                  <a:pt x="117" y="115"/>
                </a:cubicBezTo>
                <a:cubicBezTo>
                  <a:pt x="117" y="115"/>
                  <a:pt x="117" y="115"/>
                  <a:pt x="117" y="115"/>
                </a:cubicBezTo>
                <a:cubicBezTo>
                  <a:pt x="118" y="115"/>
                  <a:pt x="118" y="116"/>
                  <a:pt x="119" y="116"/>
                </a:cubicBezTo>
                <a:cubicBezTo>
                  <a:pt x="119" y="116"/>
                  <a:pt x="121" y="116"/>
                  <a:pt x="121" y="116"/>
                </a:cubicBezTo>
                <a:cubicBezTo>
                  <a:pt x="121" y="115"/>
                  <a:pt x="119" y="114"/>
                  <a:pt x="118" y="114"/>
                </a:cubicBezTo>
                <a:close/>
                <a:moveTo>
                  <a:pt x="43" y="34"/>
                </a:moveTo>
                <a:cubicBezTo>
                  <a:pt x="44" y="34"/>
                  <a:pt x="44" y="33"/>
                  <a:pt x="43" y="33"/>
                </a:cubicBezTo>
                <a:cubicBezTo>
                  <a:pt x="43" y="33"/>
                  <a:pt x="43" y="34"/>
                  <a:pt x="43" y="34"/>
                </a:cubicBezTo>
                <a:close/>
                <a:moveTo>
                  <a:pt x="39" y="4"/>
                </a:moveTo>
                <a:cubicBezTo>
                  <a:pt x="39" y="4"/>
                  <a:pt x="39" y="4"/>
                  <a:pt x="39" y="4"/>
                </a:cubicBezTo>
                <a:cubicBezTo>
                  <a:pt x="39" y="4"/>
                  <a:pt x="39" y="4"/>
                  <a:pt x="39" y="4"/>
                </a:cubicBezTo>
                <a:close/>
                <a:moveTo>
                  <a:pt x="23" y="7"/>
                </a:moveTo>
                <a:cubicBezTo>
                  <a:pt x="23" y="7"/>
                  <a:pt x="23" y="7"/>
                  <a:pt x="23" y="7"/>
                </a:cubicBezTo>
                <a:cubicBezTo>
                  <a:pt x="23" y="7"/>
                  <a:pt x="23" y="7"/>
                  <a:pt x="23" y="7"/>
                </a:cubicBezTo>
                <a:close/>
                <a:moveTo>
                  <a:pt x="111" y="46"/>
                </a:moveTo>
                <a:cubicBezTo>
                  <a:pt x="110" y="46"/>
                  <a:pt x="110" y="45"/>
                  <a:pt x="110" y="44"/>
                </a:cubicBezTo>
                <a:cubicBezTo>
                  <a:pt x="110" y="44"/>
                  <a:pt x="110" y="43"/>
                  <a:pt x="110" y="43"/>
                </a:cubicBezTo>
                <a:cubicBezTo>
                  <a:pt x="111" y="43"/>
                  <a:pt x="111" y="43"/>
                  <a:pt x="112" y="43"/>
                </a:cubicBezTo>
                <a:cubicBezTo>
                  <a:pt x="112" y="43"/>
                  <a:pt x="113" y="43"/>
                  <a:pt x="113" y="42"/>
                </a:cubicBezTo>
                <a:cubicBezTo>
                  <a:pt x="114" y="41"/>
                  <a:pt x="114" y="40"/>
                  <a:pt x="114" y="39"/>
                </a:cubicBezTo>
                <a:cubicBezTo>
                  <a:pt x="114" y="38"/>
                  <a:pt x="114" y="37"/>
                  <a:pt x="114" y="36"/>
                </a:cubicBezTo>
                <a:cubicBezTo>
                  <a:pt x="115" y="36"/>
                  <a:pt x="114" y="36"/>
                  <a:pt x="113" y="36"/>
                </a:cubicBezTo>
                <a:cubicBezTo>
                  <a:pt x="113" y="36"/>
                  <a:pt x="113" y="36"/>
                  <a:pt x="113" y="36"/>
                </a:cubicBezTo>
                <a:cubicBezTo>
                  <a:pt x="113" y="35"/>
                  <a:pt x="112" y="36"/>
                  <a:pt x="112" y="36"/>
                </a:cubicBezTo>
                <a:cubicBezTo>
                  <a:pt x="112" y="35"/>
                  <a:pt x="112" y="35"/>
                  <a:pt x="112" y="35"/>
                </a:cubicBezTo>
                <a:cubicBezTo>
                  <a:pt x="112" y="35"/>
                  <a:pt x="113" y="35"/>
                  <a:pt x="113" y="35"/>
                </a:cubicBezTo>
                <a:cubicBezTo>
                  <a:pt x="113" y="35"/>
                  <a:pt x="113" y="34"/>
                  <a:pt x="113" y="34"/>
                </a:cubicBezTo>
                <a:cubicBezTo>
                  <a:pt x="112" y="34"/>
                  <a:pt x="112" y="34"/>
                  <a:pt x="112" y="34"/>
                </a:cubicBezTo>
                <a:cubicBezTo>
                  <a:pt x="112" y="34"/>
                  <a:pt x="111" y="34"/>
                  <a:pt x="111" y="34"/>
                </a:cubicBezTo>
                <a:cubicBezTo>
                  <a:pt x="110" y="35"/>
                  <a:pt x="111" y="35"/>
                  <a:pt x="111" y="36"/>
                </a:cubicBezTo>
                <a:cubicBezTo>
                  <a:pt x="110" y="36"/>
                  <a:pt x="109" y="35"/>
                  <a:pt x="109" y="35"/>
                </a:cubicBezTo>
                <a:cubicBezTo>
                  <a:pt x="109" y="34"/>
                  <a:pt x="108" y="34"/>
                  <a:pt x="108" y="35"/>
                </a:cubicBezTo>
                <a:cubicBezTo>
                  <a:pt x="108" y="34"/>
                  <a:pt x="106" y="34"/>
                  <a:pt x="106" y="35"/>
                </a:cubicBezTo>
                <a:cubicBezTo>
                  <a:pt x="105" y="36"/>
                  <a:pt x="107" y="37"/>
                  <a:pt x="107" y="38"/>
                </a:cubicBezTo>
                <a:cubicBezTo>
                  <a:pt x="107" y="40"/>
                  <a:pt x="107" y="41"/>
                  <a:pt x="107" y="43"/>
                </a:cubicBezTo>
                <a:cubicBezTo>
                  <a:pt x="106" y="43"/>
                  <a:pt x="106" y="42"/>
                  <a:pt x="106" y="42"/>
                </a:cubicBezTo>
                <a:cubicBezTo>
                  <a:pt x="105" y="42"/>
                  <a:pt x="105" y="43"/>
                  <a:pt x="105" y="42"/>
                </a:cubicBezTo>
                <a:cubicBezTo>
                  <a:pt x="104" y="42"/>
                  <a:pt x="104" y="43"/>
                  <a:pt x="103" y="43"/>
                </a:cubicBezTo>
                <a:cubicBezTo>
                  <a:pt x="102" y="44"/>
                  <a:pt x="101" y="44"/>
                  <a:pt x="101" y="46"/>
                </a:cubicBezTo>
                <a:cubicBezTo>
                  <a:pt x="100" y="47"/>
                  <a:pt x="100" y="48"/>
                  <a:pt x="99" y="48"/>
                </a:cubicBezTo>
                <a:cubicBezTo>
                  <a:pt x="99" y="49"/>
                  <a:pt x="98" y="48"/>
                  <a:pt x="98" y="49"/>
                </a:cubicBezTo>
                <a:cubicBezTo>
                  <a:pt x="97" y="49"/>
                  <a:pt x="96" y="50"/>
                  <a:pt x="96" y="49"/>
                </a:cubicBezTo>
                <a:cubicBezTo>
                  <a:pt x="96" y="48"/>
                  <a:pt x="94" y="48"/>
                  <a:pt x="94" y="49"/>
                </a:cubicBezTo>
                <a:cubicBezTo>
                  <a:pt x="93" y="49"/>
                  <a:pt x="92" y="50"/>
                  <a:pt x="92" y="49"/>
                </a:cubicBezTo>
                <a:cubicBezTo>
                  <a:pt x="91" y="49"/>
                  <a:pt x="91" y="48"/>
                  <a:pt x="91" y="47"/>
                </a:cubicBezTo>
                <a:cubicBezTo>
                  <a:pt x="91" y="46"/>
                  <a:pt x="91" y="46"/>
                  <a:pt x="91" y="46"/>
                </a:cubicBezTo>
                <a:cubicBezTo>
                  <a:pt x="91" y="46"/>
                  <a:pt x="91" y="45"/>
                  <a:pt x="91" y="45"/>
                </a:cubicBezTo>
                <a:cubicBezTo>
                  <a:pt x="91" y="44"/>
                  <a:pt x="93" y="44"/>
                  <a:pt x="93" y="44"/>
                </a:cubicBezTo>
                <a:cubicBezTo>
                  <a:pt x="92" y="43"/>
                  <a:pt x="91" y="43"/>
                  <a:pt x="91" y="44"/>
                </a:cubicBezTo>
                <a:cubicBezTo>
                  <a:pt x="91" y="45"/>
                  <a:pt x="91" y="45"/>
                  <a:pt x="91" y="46"/>
                </a:cubicBezTo>
                <a:cubicBezTo>
                  <a:pt x="91" y="46"/>
                  <a:pt x="90" y="46"/>
                  <a:pt x="90" y="47"/>
                </a:cubicBezTo>
                <a:cubicBezTo>
                  <a:pt x="89" y="47"/>
                  <a:pt x="91" y="48"/>
                  <a:pt x="90" y="48"/>
                </a:cubicBezTo>
                <a:cubicBezTo>
                  <a:pt x="89" y="49"/>
                  <a:pt x="89" y="49"/>
                  <a:pt x="88" y="49"/>
                </a:cubicBezTo>
                <a:cubicBezTo>
                  <a:pt x="87" y="50"/>
                  <a:pt x="87" y="49"/>
                  <a:pt x="87" y="49"/>
                </a:cubicBezTo>
                <a:cubicBezTo>
                  <a:pt x="87" y="49"/>
                  <a:pt x="86" y="49"/>
                  <a:pt x="86" y="49"/>
                </a:cubicBezTo>
                <a:cubicBezTo>
                  <a:pt x="86" y="49"/>
                  <a:pt x="86" y="49"/>
                  <a:pt x="85" y="50"/>
                </a:cubicBezTo>
                <a:cubicBezTo>
                  <a:pt x="85" y="50"/>
                  <a:pt x="85" y="49"/>
                  <a:pt x="85" y="50"/>
                </a:cubicBezTo>
                <a:cubicBezTo>
                  <a:pt x="85" y="50"/>
                  <a:pt x="84" y="50"/>
                  <a:pt x="84" y="50"/>
                </a:cubicBezTo>
                <a:cubicBezTo>
                  <a:pt x="84" y="50"/>
                  <a:pt x="83" y="50"/>
                  <a:pt x="83" y="50"/>
                </a:cubicBezTo>
                <a:cubicBezTo>
                  <a:pt x="83" y="50"/>
                  <a:pt x="82" y="49"/>
                  <a:pt x="82" y="49"/>
                </a:cubicBezTo>
                <a:cubicBezTo>
                  <a:pt x="82" y="49"/>
                  <a:pt x="82" y="49"/>
                  <a:pt x="81" y="49"/>
                </a:cubicBezTo>
                <a:cubicBezTo>
                  <a:pt x="81" y="48"/>
                  <a:pt x="80" y="48"/>
                  <a:pt x="80" y="49"/>
                </a:cubicBezTo>
                <a:cubicBezTo>
                  <a:pt x="79" y="49"/>
                  <a:pt x="79" y="49"/>
                  <a:pt x="79" y="49"/>
                </a:cubicBezTo>
                <a:cubicBezTo>
                  <a:pt x="78" y="49"/>
                  <a:pt x="78" y="48"/>
                  <a:pt x="77" y="49"/>
                </a:cubicBezTo>
                <a:cubicBezTo>
                  <a:pt x="77" y="49"/>
                  <a:pt x="76" y="50"/>
                  <a:pt x="76" y="49"/>
                </a:cubicBezTo>
                <a:cubicBezTo>
                  <a:pt x="76" y="49"/>
                  <a:pt x="76" y="48"/>
                  <a:pt x="75" y="48"/>
                </a:cubicBezTo>
                <a:cubicBezTo>
                  <a:pt x="74" y="48"/>
                  <a:pt x="74" y="50"/>
                  <a:pt x="74" y="51"/>
                </a:cubicBezTo>
                <a:cubicBezTo>
                  <a:pt x="74" y="51"/>
                  <a:pt x="75" y="53"/>
                  <a:pt x="76" y="52"/>
                </a:cubicBezTo>
                <a:cubicBezTo>
                  <a:pt x="77" y="52"/>
                  <a:pt x="78" y="53"/>
                  <a:pt x="78" y="53"/>
                </a:cubicBezTo>
                <a:cubicBezTo>
                  <a:pt x="78" y="53"/>
                  <a:pt x="79" y="53"/>
                  <a:pt x="79" y="54"/>
                </a:cubicBezTo>
                <a:cubicBezTo>
                  <a:pt x="79" y="54"/>
                  <a:pt x="79" y="54"/>
                  <a:pt x="79" y="54"/>
                </a:cubicBezTo>
                <a:cubicBezTo>
                  <a:pt x="80" y="54"/>
                  <a:pt x="81" y="55"/>
                  <a:pt x="81" y="54"/>
                </a:cubicBezTo>
                <a:cubicBezTo>
                  <a:pt x="81" y="55"/>
                  <a:pt x="81" y="55"/>
                  <a:pt x="81" y="55"/>
                </a:cubicBezTo>
                <a:cubicBezTo>
                  <a:pt x="81" y="55"/>
                  <a:pt x="81" y="55"/>
                  <a:pt x="81" y="55"/>
                </a:cubicBezTo>
                <a:cubicBezTo>
                  <a:pt x="81" y="56"/>
                  <a:pt x="81" y="56"/>
                  <a:pt x="81" y="56"/>
                </a:cubicBezTo>
                <a:cubicBezTo>
                  <a:pt x="81" y="56"/>
                  <a:pt x="82" y="56"/>
                  <a:pt x="82" y="55"/>
                </a:cubicBezTo>
                <a:cubicBezTo>
                  <a:pt x="82" y="56"/>
                  <a:pt x="83" y="55"/>
                  <a:pt x="84" y="55"/>
                </a:cubicBezTo>
                <a:cubicBezTo>
                  <a:pt x="85" y="56"/>
                  <a:pt x="85" y="56"/>
                  <a:pt x="86" y="57"/>
                </a:cubicBezTo>
                <a:cubicBezTo>
                  <a:pt x="86" y="58"/>
                  <a:pt x="87" y="57"/>
                  <a:pt x="88" y="57"/>
                </a:cubicBezTo>
                <a:cubicBezTo>
                  <a:pt x="88" y="57"/>
                  <a:pt x="90" y="57"/>
                  <a:pt x="90" y="58"/>
                </a:cubicBezTo>
                <a:cubicBezTo>
                  <a:pt x="90" y="58"/>
                  <a:pt x="90" y="57"/>
                  <a:pt x="90" y="57"/>
                </a:cubicBezTo>
                <a:cubicBezTo>
                  <a:pt x="91" y="57"/>
                  <a:pt x="90" y="58"/>
                  <a:pt x="91" y="58"/>
                </a:cubicBezTo>
                <a:cubicBezTo>
                  <a:pt x="91" y="58"/>
                  <a:pt x="91" y="57"/>
                  <a:pt x="92" y="57"/>
                </a:cubicBezTo>
                <a:cubicBezTo>
                  <a:pt x="92" y="57"/>
                  <a:pt x="92" y="57"/>
                  <a:pt x="92" y="57"/>
                </a:cubicBezTo>
                <a:cubicBezTo>
                  <a:pt x="93" y="57"/>
                  <a:pt x="94" y="57"/>
                  <a:pt x="94" y="57"/>
                </a:cubicBezTo>
                <a:cubicBezTo>
                  <a:pt x="95" y="57"/>
                  <a:pt x="95" y="57"/>
                  <a:pt x="95" y="56"/>
                </a:cubicBezTo>
                <a:cubicBezTo>
                  <a:pt x="96" y="56"/>
                  <a:pt x="96" y="56"/>
                  <a:pt x="96" y="56"/>
                </a:cubicBezTo>
                <a:cubicBezTo>
                  <a:pt x="97" y="56"/>
                  <a:pt x="97" y="56"/>
                  <a:pt x="97" y="56"/>
                </a:cubicBezTo>
                <a:cubicBezTo>
                  <a:pt x="97" y="55"/>
                  <a:pt x="98" y="55"/>
                  <a:pt x="98" y="55"/>
                </a:cubicBezTo>
                <a:cubicBezTo>
                  <a:pt x="98" y="54"/>
                  <a:pt x="98" y="55"/>
                  <a:pt x="99" y="55"/>
                </a:cubicBezTo>
                <a:cubicBezTo>
                  <a:pt x="99" y="55"/>
                  <a:pt x="99" y="54"/>
                  <a:pt x="99" y="54"/>
                </a:cubicBezTo>
                <a:cubicBezTo>
                  <a:pt x="100" y="54"/>
                  <a:pt x="100" y="55"/>
                  <a:pt x="100" y="55"/>
                </a:cubicBezTo>
                <a:cubicBezTo>
                  <a:pt x="101" y="54"/>
                  <a:pt x="101" y="54"/>
                  <a:pt x="101" y="54"/>
                </a:cubicBezTo>
                <a:cubicBezTo>
                  <a:pt x="102" y="54"/>
                  <a:pt x="102" y="54"/>
                  <a:pt x="102" y="54"/>
                </a:cubicBezTo>
                <a:cubicBezTo>
                  <a:pt x="102" y="53"/>
                  <a:pt x="103" y="53"/>
                  <a:pt x="104" y="52"/>
                </a:cubicBezTo>
                <a:cubicBezTo>
                  <a:pt x="104" y="51"/>
                  <a:pt x="104" y="51"/>
                  <a:pt x="105" y="51"/>
                </a:cubicBezTo>
                <a:cubicBezTo>
                  <a:pt x="106" y="50"/>
                  <a:pt x="103" y="50"/>
                  <a:pt x="105" y="49"/>
                </a:cubicBezTo>
                <a:cubicBezTo>
                  <a:pt x="105" y="49"/>
                  <a:pt x="105" y="49"/>
                  <a:pt x="106" y="49"/>
                </a:cubicBezTo>
                <a:cubicBezTo>
                  <a:pt x="106" y="49"/>
                  <a:pt x="106" y="50"/>
                  <a:pt x="106" y="49"/>
                </a:cubicBezTo>
                <a:cubicBezTo>
                  <a:pt x="106" y="49"/>
                  <a:pt x="106" y="49"/>
                  <a:pt x="107" y="49"/>
                </a:cubicBezTo>
                <a:cubicBezTo>
                  <a:pt x="107" y="49"/>
                  <a:pt x="107" y="49"/>
                  <a:pt x="108" y="50"/>
                </a:cubicBezTo>
                <a:cubicBezTo>
                  <a:pt x="108" y="50"/>
                  <a:pt x="109" y="49"/>
                  <a:pt x="109" y="49"/>
                </a:cubicBezTo>
                <a:cubicBezTo>
                  <a:pt x="110" y="49"/>
                  <a:pt x="110" y="48"/>
                  <a:pt x="111" y="48"/>
                </a:cubicBezTo>
                <a:cubicBezTo>
                  <a:pt x="111" y="47"/>
                  <a:pt x="111" y="47"/>
                  <a:pt x="111" y="46"/>
                </a:cubicBezTo>
                <a:close/>
                <a:moveTo>
                  <a:pt x="111" y="20"/>
                </a:moveTo>
                <a:cubicBezTo>
                  <a:pt x="112" y="19"/>
                  <a:pt x="111" y="18"/>
                  <a:pt x="111" y="18"/>
                </a:cubicBezTo>
                <a:cubicBezTo>
                  <a:pt x="111" y="18"/>
                  <a:pt x="110" y="19"/>
                  <a:pt x="111" y="20"/>
                </a:cubicBezTo>
                <a:close/>
                <a:moveTo>
                  <a:pt x="111" y="17"/>
                </a:moveTo>
                <a:cubicBezTo>
                  <a:pt x="111" y="17"/>
                  <a:pt x="111" y="18"/>
                  <a:pt x="111" y="18"/>
                </a:cubicBezTo>
                <a:cubicBezTo>
                  <a:pt x="112" y="17"/>
                  <a:pt x="112" y="16"/>
                  <a:pt x="111" y="17"/>
                </a:cubicBezTo>
                <a:close/>
                <a:moveTo>
                  <a:pt x="61" y="46"/>
                </a:moveTo>
                <a:cubicBezTo>
                  <a:pt x="61" y="47"/>
                  <a:pt x="62" y="48"/>
                  <a:pt x="63" y="48"/>
                </a:cubicBezTo>
                <a:cubicBezTo>
                  <a:pt x="63" y="48"/>
                  <a:pt x="63" y="48"/>
                  <a:pt x="64" y="47"/>
                </a:cubicBezTo>
                <a:cubicBezTo>
                  <a:pt x="64" y="46"/>
                  <a:pt x="63" y="46"/>
                  <a:pt x="63" y="45"/>
                </a:cubicBezTo>
                <a:cubicBezTo>
                  <a:pt x="62" y="45"/>
                  <a:pt x="61" y="46"/>
                  <a:pt x="61" y="46"/>
                </a:cubicBezTo>
                <a:close/>
                <a:moveTo>
                  <a:pt x="92" y="101"/>
                </a:moveTo>
                <a:cubicBezTo>
                  <a:pt x="92" y="100"/>
                  <a:pt x="90" y="100"/>
                  <a:pt x="90" y="100"/>
                </a:cubicBezTo>
                <a:cubicBezTo>
                  <a:pt x="89" y="100"/>
                  <a:pt x="89" y="99"/>
                  <a:pt x="88" y="99"/>
                </a:cubicBezTo>
                <a:cubicBezTo>
                  <a:pt x="87" y="99"/>
                  <a:pt x="86" y="99"/>
                  <a:pt x="86" y="99"/>
                </a:cubicBezTo>
                <a:cubicBezTo>
                  <a:pt x="85" y="98"/>
                  <a:pt x="85" y="98"/>
                  <a:pt x="85" y="97"/>
                </a:cubicBezTo>
                <a:cubicBezTo>
                  <a:pt x="83" y="96"/>
                  <a:pt x="85" y="96"/>
                  <a:pt x="86" y="96"/>
                </a:cubicBezTo>
                <a:cubicBezTo>
                  <a:pt x="87" y="95"/>
                  <a:pt x="88" y="94"/>
                  <a:pt x="86" y="94"/>
                </a:cubicBezTo>
                <a:cubicBezTo>
                  <a:pt x="85" y="94"/>
                  <a:pt x="85" y="94"/>
                  <a:pt x="84" y="94"/>
                </a:cubicBezTo>
                <a:cubicBezTo>
                  <a:pt x="84" y="94"/>
                  <a:pt x="83" y="94"/>
                  <a:pt x="83" y="94"/>
                </a:cubicBezTo>
                <a:cubicBezTo>
                  <a:pt x="83" y="94"/>
                  <a:pt x="82" y="94"/>
                  <a:pt x="82" y="94"/>
                </a:cubicBezTo>
                <a:cubicBezTo>
                  <a:pt x="81" y="94"/>
                  <a:pt x="81" y="93"/>
                  <a:pt x="80" y="93"/>
                </a:cubicBezTo>
                <a:cubicBezTo>
                  <a:pt x="79" y="93"/>
                  <a:pt x="79" y="92"/>
                  <a:pt x="79" y="91"/>
                </a:cubicBezTo>
                <a:cubicBezTo>
                  <a:pt x="79" y="91"/>
                  <a:pt x="80" y="90"/>
                  <a:pt x="80" y="89"/>
                </a:cubicBezTo>
                <a:cubicBezTo>
                  <a:pt x="80" y="89"/>
                  <a:pt x="81" y="88"/>
                  <a:pt x="80" y="88"/>
                </a:cubicBezTo>
                <a:cubicBezTo>
                  <a:pt x="81" y="88"/>
                  <a:pt x="81" y="87"/>
                  <a:pt x="80" y="87"/>
                </a:cubicBezTo>
                <a:cubicBezTo>
                  <a:pt x="80" y="87"/>
                  <a:pt x="79" y="87"/>
                  <a:pt x="79" y="87"/>
                </a:cubicBezTo>
                <a:cubicBezTo>
                  <a:pt x="79" y="87"/>
                  <a:pt x="78" y="88"/>
                  <a:pt x="77" y="88"/>
                </a:cubicBezTo>
                <a:cubicBezTo>
                  <a:pt x="77" y="88"/>
                  <a:pt x="77" y="88"/>
                  <a:pt x="76" y="88"/>
                </a:cubicBezTo>
                <a:cubicBezTo>
                  <a:pt x="75" y="89"/>
                  <a:pt x="74" y="88"/>
                  <a:pt x="73" y="87"/>
                </a:cubicBezTo>
                <a:cubicBezTo>
                  <a:pt x="73" y="87"/>
                  <a:pt x="73" y="86"/>
                  <a:pt x="73" y="85"/>
                </a:cubicBezTo>
                <a:cubicBezTo>
                  <a:pt x="73" y="85"/>
                  <a:pt x="73" y="84"/>
                  <a:pt x="73" y="84"/>
                </a:cubicBezTo>
                <a:cubicBezTo>
                  <a:pt x="72" y="83"/>
                  <a:pt x="70" y="83"/>
                  <a:pt x="71" y="82"/>
                </a:cubicBezTo>
                <a:cubicBezTo>
                  <a:pt x="71" y="81"/>
                  <a:pt x="71" y="79"/>
                  <a:pt x="70" y="78"/>
                </a:cubicBezTo>
                <a:cubicBezTo>
                  <a:pt x="70" y="77"/>
                  <a:pt x="71" y="77"/>
                  <a:pt x="70" y="77"/>
                </a:cubicBezTo>
                <a:cubicBezTo>
                  <a:pt x="69" y="77"/>
                  <a:pt x="69" y="77"/>
                  <a:pt x="69" y="76"/>
                </a:cubicBezTo>
                <a:cubicBezTo>
                  <a:pt x="69" y="76"/>
                  <a:pt x="68" y="76"/>
                  <a:pt x="68" y="75"/>
                </a:cubicBezTo>
                <a:cubicBezTo>
                  <a:pt x="67" y="75"/>
                  <a:pt x="66" y="76"/>
                  <a:pt x="66" y="75"/>
                </a:cubicBezTo>
                <a:cubicBezTo>
                  <a:pt x="66" y="74"/>
                  <a:pt x="66" y="74"/>
                  <a:pt x="66" y="74"/>
                </a:cubicBezTo>
                <a:cubicBezTo>
                  <a:pt x="66" y="74"/>
                  <a:pt x="66" y="74"/>
                  <a:pt x="65" y="74"/>
                </a:cubicBezTo>
                <a:cubicBezTo>
                  <a:pt x="65" y="73"/>
                  <a:pt x="65" y="73"/>
                  <a:pt x="65" y="73"/>
                </a:cubicBezTo>
                <a:cubicBezTo>
                  <a:pt x="64" y="73"/>
                  <a:pt x="64" y="72"/>
                  <a:pt x="64" y="72"/>
                </a:cubicBezTo>
                <a:cubicBezTo>
                  <a:pt x="64" y="72"/>
                  <a:pt x="64" y="72"/>
                  <a:pt x="64" y="72"/>
                </a:cubicBezTo>
                <a:cubicBezTo>
                  <a:pt x="63" y="71"/>
                  <a:pt x="63" y="71"/>
                  <a:pt x="63" y="71"/>
                </a:cubicBezTo>
                <a:cubicBezTo>
                  <a:pt x="62" y="71"/>
                  <a:pt x="62" y="70"/>
                  <a:pt x="62" y="70"/>
                </a:cubicBezTo>
                <a:cubicBezTo>
                  <a:pt x="62" y="70"/>
                  <a:pt x="62" y="71"/>
                  <a:pt x="62" y="71"/>
                </a:cubicBezTo>
                <a:cubicBezTo>
                  <a:pt x="61" y="70"/>
                  <a:pt x="61" y="69"/>
                  <a:pt x="61" y="69"/>
                </a:cubicBezTo>
                <a:cubicBezTo>
                  <a:pt x="61" y="68"/>
                  <a:pt x="61" y="68"/>
                  <a:pt x="61" y="68"/>
                </a:cubicBezTo>
                <a:cubicBezTo>
                  <a:pt x="61" y="67"/>
                  <a:pt x="61" y="67"/>
                  <a:pt x="61" y="67"/>
                </a:cubicBezTo>
                <a:cubicBezTo>
                  <a:pt x="61" y="66"/>
                  <a:pt x="61" y="66"/>
                  <a:pt x="61" y="65"/>
                </a:cubicBezTo>
                <a:cubicBezTo>
                  <a:pt x="61" y="66"/>
                  <a:pt x="60" y="65"/>
                  <a:pt x="60" y="65"/>
                </a:cubicBezTo>
                <a:cubicBezTo>
                  <a:pt x="60" y="65"/>
                  <a:pt x="60" y="65"/>
                  <a:pt x="60" y="64"/>
                </a:cubicBezTo>
                <a:cubicBezTo>
                  <a:pt x="60" y="63"/>
                  <a:pt x="60" y="63"/>
                  <a:pt x="60" y="62"/>
                </a:cubicBezTo>
                <a:cubicBezTo>
                  <a:pt x="62" y="62"/>
                  <a:pt x="64" y="63"/>
                  <a:pt x="66" y="62"/>
                </a:cubicBezTo>
                <a:cubicBezTo>
                  <a:pt x="67" y="62"/>
                  <a:pt x="68" y="62"/>
                  <a:pt x="69" y="62"/>
                </a:cubicBezTo>
                <a:cubicBezTo>
                  <a:pt x="69" y="61"/>
                  <a:pt x="69" y="61"/>
                  <a:pt x="69" y="60"/>
                </a:cubicBezTo>
                <a:cubicBezTo>
                  <a:pt x="69" y="60"/>
                  <a:pt x="69" y="60"/>
                  <a:pt x="69" y="59"/>
                </a:cubicBezTo>
                <a:cubicBezTo>
                  <a:pt x="69" y="58"/>
                  <a:pt x="68" y="58"/>
                  <a:pt x="68" y="57"/>
                </a:cubicBezTo>
                <a:cubicBezTo>
                  <a:pt x="67" y="56"/>
                  <a:pt x="67" y="56"/>
                  <a:pt x="66" y="55"/>
                </a:cubicBezTo>
                <a:cubicBezTo>
                  <a:pt x="66" y="54"/>
                  <a:pt x="65" y="54"/>
                  <a:pt x="64" y="54"/>
                </a:cubicBezTo>
                <a:cubicBezTo>
                  <a:pt x="63" y="54"/>
                  <a:pt x="62" y="54"/>
                  <a:pt x="62" y="54"/>
                </a:cubicBezTo>
                <a:cubicBezTo>
                  <a:pt x="62" y="53"/>
                  <a:pt x="62" y="54"/>
                  <a:pt x="61" y="53"/>
                </a:cubicBezTo>
                <a:cubicBezTo>
                  <a:pt x="61" y="53"/>
                  <a:pt x="61" y="53"/>
                  <a:pt x="60" y="53"/>
                </a:cubicBezTo>
                <a:cubicBezTo>
                  <a:pt x="60" y="52"/>
                  <a:pt x="59" y="53"/>
                  <a:pt x="59" y="52"/>
                </a:cubicBezTo>
                <a:cubicBezTo>
                  <a:pt x="58" y="51"/>
                  <a:pt x="57" y="51"/>
                  <a:pt x="57" y="51"/>
                </a:cubicBezTo>
                <a:cubicBezTo>
                  <a:pt x="57" y="50"/>
                  <a:pt x="56" y="50"/>
                  <a:pt x="56" y="50"/>
                </a:cubicBezTo>
                <a:cubicBezTo>
                  <a:pt x="56" y="50"/>
                  <a:pt x="55" y="50"/>
                  <a:pt x="55" y="50"/>
                </a:cubicBezTo>
                <a:cubicBezTo>
                  <a:pt x="54" y="49"/>
                  <a:pt x="53" y="49"/>
                  <a:pt x="52" y="49"/>
                </a:cubicBezTo>
                <a:cubicBezTo>
                  <a:pt x="52" y="49"/>
                  <a:pt x="51" y="48"/>
                  <a:pt x="50" y="49"/>
                </a:cubicBezTo>
                <a:cubicBezTo>
                  <a:pt x="50" y="48"/>
                  <a:pt x="50" y="48"/>
                  <a:pt x="49" y="48"/>
                </a:cubicBezTo>
                <a:cubicBezTo>
                  <a:pt x="49" y="48"/>
                  <a:pt x="49" y="47"/>
                  <a:pt x="49" y="47"/>
                </a:cubicBezTo>
                <a:cubicBezTo>
                  <a:pt x="50" y="46"/>
                  <a:pt x="50" y="46"/>
                  <a:pt x="50" y="44"/>
                </a:cubicBezTo>
                <a:cubicBezTo>
                  <a:pt x="50" y="43"/>
                  <a:pt x="50" y="43"/>
                  <a:pt x="50" y="42"/>
                </a:cubicBezTo>
                <a:cubicBezTo>
                  <a:pt x="50" y="41"/>
                  <a:pt x="49" y="41"/>
                  <a:pt x="49" y="40"/>
                </a:cubicBezTo>
                <a:cubicBezTo>
                  <a:pt x="48" y="40"/>
                  <a:pt x="48" y="39"/>
                  <a:pt x="47" y="38"/>
                </a:cubicBezTo>
                <a:cubicBezTo>
                  <a:pt x="47" y="37"/>
                  <a:pt x="46" y="36"/>
                  <a:pt x="45" y="36"/>
                </a:cubicBezTo>
                <a:cubicBezTo>
                  <a:pt x="44" y="36"/>
                  <a:pt x="44" y="37"/>
                  <a:pt x="43" y="36"/>
                </a:cubicBezTo>
                <a:cubicBezTo>
                  <a:pt x="43" y="36"/>
                  <a:pt x="43" y="34"/>
                  <a:pt x="42" y="34"/>
                </a:cubicBezTo>
                <a:cubicBezTo>
                  <a:pt x="41" y="34"/>
                  <a:pt x="42" y="34"/>
                  <a:pt x="41" y="33"/>
                </a:cubicBezTo>
                <a:cubicBezTo>
                  <a:pt x="41" y="33"/>
                  <a:pt x="40" y="33"/>
                  <a:pt x="39" y="32"/>
                </a:cubicBezTo>
                <a:cubicBezTo>
                  <a:pt x="38" y="32"/>
                  <a:pt x="39" y="32"/>
                  <a:pt x="38" y="31"/>
                </a:cubicBezTo>
                <a:cubicBezTo>
                  <a:pt x="38" y="30"/>
                  <a:pt x="36" y="30"/>
                  <a:pt x="36" y="30"/>
                </a:cubicBezTo>
                <a:cubicBezTo>
                  <a:pt x="35" y="31"/>
                  <a:pt x="35" y="31"/>
                  <a:pt x="35" y="30"/>
                </a:cubicBezTo>
                <a:cubicBezTo>
                  <a:pt x="35" y="30"/>
                  <a:pt x="34" y="30"/>
                  <a:pt x="35" y="30"/>
                </a:cubicBezTo>
                <a:cubicBezTo>
                  <a:pt x="34" y="30"/>
                  <a:pt x="33" y="30"/>
                  <a:pt x="33" y="30"/>
                </a:cubicBezTo>
                <a:cubicBezTo>
                  <a:pt x="33" y="29"/>
                  <a:pt x="32" y="29"/>
                  <a:pt x="32" y="29"/>
                </a:cubicBezTo>
                <a:cubicBezTo>
                  <a:pt x="32" y="29"/>
                  <a:pt x="32" y="29"/>
                  <a:pt x="32" y="28"/>
                </a:cubicBezTo>
                <a:cubicBezTo>
                  <a:pt x="31" y="28"/>
                  <a:pt x="31" y="28"/>
                  <a:pt x="31" y="28"/>
                </a:cubicBezTo>
                <a:cubicBezTo>
                  <a:pt x="31" y="28"/>
                  <a:pt x="31" y="27"/>
                  <a:pt x="30" y="27"/>
                </a:cubicBezTo>
                <a:cubicBezTo>
                  <a:pt x="30" y="27"/>
                  <a:pt x="30" y="27"/>
                  <a:pt x="30" y="27"/>
                </a:cubicBezTo>
                <a:cubicBezTo>
                  <a:pt x="29" y="27"/>
                  <a:pt x="29" y="27"/>
                  <a:pt x="29" y="27"/>
                </a:cubicBezTo>
                <a:cubicBezTo>
                  <a:pt x="29" y="26"/>
                  <a:pt x="28" y="26"/>
                  <a:pt x="27" y="26"/>
                </a:cubicBezTo>
                <a:cubicBezTo>
                  <a:pt x="27" y="26"/>
                  <a:pt x="26" y="25"/>
                  <a:pt x="25" y="25"/>
                </a:cubicBezTo>
                <a:cubicBezTo>
                  <a:pt x="23" y="25"/>
                  <a:pt x="21" y="24"/>
                  <a:pt x="19" y="24"/>
                </a:cubicBezTo>
                <a:cubicBezTo>
                  <a:pt x="19" y="23"/>
                  <a:pt x="15" y="22"/>
                  <a:pt x="15" y="22"/>
                </a:cubicBezTo>
                <a:cubicBezTo>
                  <a:pt x="15" y="20"/>
                  <a:pt x="14" y="21"/>
                  <a:pt x="13" y="21"/>
                </a:cubicBezTo>
                <a:cubicBezTo>
                  <a:pt x="12" y="20"/>
                  <a:pt x="11" y="19"/>
                  <a:pt x="10" y="19"/>
                </a:cubicBezTo>
                <a:cubicBezTo>
                  <a:pt x="9" y="19"/>
                  <a:pt x="9" y="18"/>
                  <a:pt x="8" y="18"/>
                </a:cubicBezTo>
                <a:cubicBezTo>
                  <a:pt x="7" y="17"/>
                  <a:pt x="6" y="16"/>
                  <a:pt x="5" y="17"/>
                </a:cubicBezTo>
                <a:cubicBezTo>
                  <a:pt x="4" y="24"/>
                  <a:pt x="4" y="32"/>
                  <a:pt x="4" y="40"/>
                </a:cubicBezTo>
                <a:cubicBezTo>
                  <a:pt x="3" y="43"/>
                  <a:pt x="3" y="47"/>
                  <a:pt x="3" y="51"/>
                </a:cubicBezTo>
                <a:cubicBezTo>
                  <a:pt x="3" y="53"/>
                  <a:pt x="3" y="55"/>
                  <a:pt x="3" y="57"/>
                </a:cubicBezTo>
                <a:cubicBezTo>
                  <a:pt x="3" y="57"/>
                  <a:pt x="3" y="58"/>
                  <a:pt x="2" y="58"/>
                </a:cubicBezTo>
                <a:cubicBezTo>
                  <a:pt x="2" y="58"/>
                  <a:pt x="2" y="59"/>
                  <a:pt x="2" y="59"/>
                </a:cubicBezTo>
                <a:cubicBezTo>
                  <a:pt x="2" y="59"/>
                  <a:pt x="2" y="59"/>
                  <a:pt x="2" y="59"/>
                </a:cubicBezTo>
                <a:cubicBezTo>
                  <a:pt x="2" y="59"/>
                  <a:pt x="2" y="59"/>
                  <a:pt x="2" y="60"/>
                </a:cubicBezTo>
                <a:cubicBezTo>
                  <a:pt x="2" y="60"/>
                  <a:pt x="2" y="60"/>
                  <a:pt x="2" y="60"/>
                </a:cubicBezTo>
                <a:cubicBezTo>
                  <a:pt x="1" y="61"/>
                  <a:pt x="1" y="61"/>
                  <a:pt x="1" y="62"/>
                </a:cubicBezTo>
                <a:cubicBezTo>
                  <a:pt x="1" y="62"/>
                  <a:pt x="1" y="65"/>
                  <a:pt x="2" y="64"/>
                </a:cubicBezTo>
                <a:cubicBezTo>
                  <a:pt x="1" y="72"/>
                  <a:pt x="1" y="79"/>
                  <a:pt x="0" y="87"/>
                </a:cubicBezTo>
                <a:cubicBezTo>
                  <a:pt x="0" y="88"/>
                  <a:pt x="0" y="89"/>
                  <a:pt x="1" y="89"/>
                </a:cubicBezTo>
                <a:cubicBezTo>
                  <a:pt x="1" y="89"/>
                  <a:pt x="1" y="90"/>
                  <a:pt x="2" y="90"/>
                </a:cubicBezTo>
                <a:cubicBezTo>
                  <a:pt x="2" y="90"/>
                  <a:pt x="3" y="89"/>
                  <a:pt x="3" y="89"/>
                </a:cubicBezTo>
                <a:cubicBezTo>
                  <a:pt x="4" y="89"/>
                  <a:pt x="5" y="89"/>
                  <a:pt x="5" y="89"/>
                </a:cubicBezTo>
                <a:cubicBezTo>
                  <a:pt x="6" y="90"/>
                  <a:pt x="7" y="90"/>
                  <a:pt x="7" y="89"/>
                </a:cubicBezTo>
                <a:cubicBezTo>
                  <a:pt x="8" y="89"/>
                  <a:pt x="9" y="90"/>
                  <a:pt x="10" y="89"/>
                </a:cubicBezTo>
                <a:cubicBezTo>
                  <a:pt x="10" y="89"/>
                  <a:pt x="11" y="89"/>
                  <a:pt x="11" y="89"/>
                </a:cubicBezTo>
                <a:cubicBezTo>
                  <a:pt x="12" y="89"/>
                  <a:pt x="12" y="89"/>
                  <a:pt x="13" y="89"/>
                </a:cubicBezTo>
                <a:cubicBezTo>
                  <a:pt x="14" y="90"/>
                  <a:pt x="16" y="91"/>
                  <a:pt x="16" y="91"/>
                </a:cubicBezTo>
                <a:cubicBezTo>
                  <a:pt x="17" y="90"/>
                  <a:pt x="18" y="90"/>
                  <a:pt x="18" y="89"/>
                </a:cubicBezTo>
                <a:cubicBezTo>
                  <a:pt x="19" y="89"/>
                  <a:pt x="20" y="88"/>
                  <a:pt x="20" y="88"/>
                </a:cubicBezTo>
                <a:cubicBezTo>
                  <a:pt x="21" y="88"/>
                  <a:pt x="22" y="88"/>
                  <a:pt x="23" y="87"/>
                </a:cubicBezTo>
                <a:cubicBezTo>
                  <a:pt x="23" y="87"/>
                  <a:pt x="24" y="87"/>
                  <a:pt x="24" y="86"/>
                </a:cubicBezTo>
                <a:cubicBezTo>
                  <a:pt x="24" y="85"/>
                  <a:pt x="24" y="84"/>
                  <a:pt x="23" y="83"/>
                </a:cubicBezTo>
                <a:cubicBezTo>
                  <a:pt x="23" y="83"/>
                  <a:pt x="22" y="82"/>
                  <a:pt x="21" y="82"/>
                </a:cubicBezTo>
                <a:cubicBezTo>
                  <a:pt x="21" y="81"/>
                  <a:pt x="20" y="81"/>
                  <a:pt x="19" y="81"/>
                </a:cubicBezTo>
                <a:cubicBezTo>
                  <a:pt x="18" y="80"/>
                  <a:pt x="18" y="80"/>
                  <a:pt x="17" y="80"/>
                </a:cubicBezTo>
                <a:cubicBezTo>
                  <a:pt x="16" y="80"/>
                  <a:pt x="16" y="80"/>
                  <a:pt x="15" y="80"/>
                </a:cubicBezTo>
                <a:cubicBezTo>
                  <a:pt x="14" y="80"/>
                  <a:pt x="15" y="78"/>
                  <a:pt x="14" y="78"/>
                </a:cubicBezTo>
                <a:cubicBezTo>
                  <a:pt x="14" y="78"/>
                  <a:pt x="12" y="79"/>
                  <a:pt x="12" y="79"/>
                </a:cubicBezTo>
                <a:cubicBezTo>
                  <a:pt x="12" y="78"/>
                  <a:pt x="13" y="78"/>
                  <a:pt x="14" y="78"/>
                </a:cubicBezTo>
                <a:cubicBezTo>
                  <a:pt x="15" y="78"/>
                  <a:pt x="14" y="79"/>
                  <a:pt x="15" y="79"/>
                </a:cubicBezTo>
                <a:cubicBezTo>
                  <a:pt x="15" y="80"/>
                  <a:pt x="17" y="79"/>
                  <a:pt x="18" y="79"/>
                </a:cubicBezTo>
                <a:cubicBezTo>
                  <a:pt x="19" y="79"/>
                  <a:pt x="20" y="80"/>
                  <a:pt x="21" y="80"/>
                </a:cubicBezTo>
                <a:cubicBezTo>
                  <a:pt x="22" y="79"/>
                  <a:pt x="23" y="79"/>
                  <a:pt x="24" y="79"/>
                </a:cubicBezTo>
                <a:cubicBezTo>
                  <a:pt x="25" y="79"/>
                  <a:pt x="26" y="79"/>
                  <a:pt x="26" y="79"/>
                </a:cubicBezTo>
                <a:cubicBezTo>
                  <a:pt x="27" y="78"/>
                  <a:pt x="26" y="77"/>
                  <a:pt x="26" y="76"/>
                </a:cubicBezTo>
                <a:cubicBezTo>
                  <a:pt x="25" y="76"/>
                  <a:pt x="25" y="76"/>
                  <a:pt x="25" y="76"/>
                </a:cubicBezTo>
                <a:cubicBezTo>
                  <a:pt x="25" y="76"/>
                  <a:pt x="25" y="76"/>
                  <a:pt x="25" y="76"/>
                </a:cubicBezTo>
                <a:cubicBezTo>
                  <a:pt x="25" y="75"/>
                  <a:pt x="24" y="75"/>
                  <a:pt x="24" y="75"/>
                </a:cubicBezTo>
                <a:cubicBezTo>
                  <a:pt x="24" y="75"/>
                  <a:pt x="25" y="75"/>
                  <a:pt x="25" y="75"/>
                </a:cubicBezTo>
                <a:cubicBezTo>
                  <a:pt x="25" y="75"/>
                  <a:pt x="25" y="76"/>
                  <a:pt x="25" y="76"/>
                </a:cubicBezTo>
                <a:cubicBezTo>
                  <a:pt x="26" y="77"/>
                  <a:pt x="27" y="76"/>
                  <a:pt x="27" y="76"/>
                </a:cubicBezTo>
                <a:cubicBezTo>
                  <a:pt x="28" y="77"/>
                  <a:pt x="29" y="77"/>
                  <a:pt x="29" y="76"/>
                </a:cubicBezTo>
                <a:cubicBezTo>
                  <a:pt x="30" y="76"/>
                  <a:pt x="29" y="76"/>
                  <a:pt x="28" y="75"/>
                </a:cubicBezTo>
                <a:cubicBezTo>
                  <a:pt x="29" y="76"/>
                  <a:pt x="30" y="76"/>
                  <a:pt x="30" y="76"/>
                </a:cubicBezTo>
                <a:cubicBezTo>
                  <a:pt x="30" y="75"/>
                  <a:pt x="29" y="75"/>
                  <a:pt x="29" y="74"/>
                </a:cubicBezTo>
                <a:cubicBezTo>
                  <a:pt x="29" y="73"/>
                  <a:pt x="28" y="72"/>
                  <a:pt x="28" y="71"/>
                </a:cubicBezTo>
                <a:cubicBezTo>
                  <a:pt x="28" y="71"/>
                  <a:pt x="28" y="71"/>
                  <a:pt x="28" y="71"/>
                </a:cubicBezTo>
                <a:cubicBezTo>
                  <a:pt x="28" y="71"/>
                  <a:pt x="27" y="70"/>
                  <a:pt x="27" y="70"/>
                </a:cubicBezTo>
                <a:cubicBezTo>
                  <a:pt x="28" y="70"/>
                  <a:pt x="28" y="70"/>
                  <a:pt x="28" y="71"/>
                </a:cubicBezTo>
                <a:cubicBezTo>
                  <a:pt x="29" y="71"/>
                  <a:pt x="29" y="71"/>
                  <a:pt x="29" y="72"/>
                </a:cubicBezTo>
                <a:cubicBezTo>
                  <a:pt x="29" y="73"/>
                  <a:pt x="30" y="73"/>
                  <a:pt x="30" y="73"/>
                </a:cubicBezTo>
                <a:cubicBezTo>
                  <a:pt x="31" y="73"/>
                  <a:pt x="32" y="74"/>
                  <a:pt x="33" y="74"/>
                </a:cubicBezTo>
                <a:cubicBezTo>
                  <a:pt x="33" y="74"/>
                  <a:pt x="33" y="73"/>
                  <a:pt x="33" y="72"/>
                </a:cubicBezTo>
                <a:cubicBezTo>
                  <a:pt x="33" y="72"/>
                  <a:pt x="33" y="73"/>
                  <a:pt x="33" y="73"/>
                </a:cubicBezTo>
                <a:cubicBezTo>
                  <a:pt x="34" y="73"/>
                  <a:pt x="34" y="72"/>
                  <a:pt x="34" y="72"/>
                </a:cubicBezTo>
                <a:cubicBezTo>
                  <a:pt x="34" y="72"/>
                  <a:pt x="34" y="74"/>
                  <a:pt x="34" y="73"/>
                </a:cubicBezTo>
                <a:cubicBezTo>
                  <a:pt x="35" y="73"/>
                  <a:pt x="35" y="74"/>
                  <a:pt x="35" y="74"/>
                </a:cubicBezTo>
                <a:cubicBezTo>
                  <a:pt x="35" y="74"/>
                  <a:pt x="35" y="73"/>
                  <a:pt x="35" y="73"/>
                </a:cubicBezTo>
                <a:cubicBezTo>
                  <a:pt x="35" y="72"/>
                  <a:pt x="35" y="71"/>
                  <a:pt x="35" y="71"/>
                </a:cubicBezTo>
                <a:cubicBezTo>
                  <a:pt x="35" y="71"/>
                  <a:pt x="35" y="72"/>
                  <a:pt x="35" y="72"/>
                </a:cubicBezTo>
                <a:cubicBezTo>
                  <a:pt x="35" y="72"/>
                  <a:pt x="36" y="73"/>
                  <a:pt x="36" y="72"/>
                </a:cubicBezTo>
                <a:cubicBezTo>
                  <a:pt x="36" y="72"/>
                  <a:pt x="36" y="71"/>
                  <a:pt x="36" y="71"/>
                </a:cubicBezTo>
                <a:cubicBezTo>
                  <a:pt x="36" y="71"/>
                  <a:pt x="36" y="72"/>
                  <a:pt x="36" y="72"/>
                </a:cubicBezTo>
                <a:cubicBezTo>
                  <a:pt x="36" y="73"/>
                  <a:pt x="37" y="72"/>
                  <a:pt x="37" y="72"/>
                </a:cubicBezTo>
                <a:cubicBezTo>
                  <a:pt x="37" y="72"/>
                  <a:pt x="37" y="72"/>
                  <a:pt x="37" y="72"/>
                </a:cubicBezTo>
                <a:cubicBezTo>
                  <a:pt x="37" y="71"/>
                  <a:pt x="38" y="73"/>
                  <a:pt x="38" y="73"/>
                </a:cubicBezTo>
                <a:cubicBezTo>
                  <a:pt x="39" y="73"/>
                  <a:pt x="39" y="72"/>
                  <a:pt x="39" y="72"/>
                </a:cubicBezTo>
                <a:cubicBezTo>
                  <a:pt x="39" y="72"/>
                  <a:pt x="38" y="74"/>
                  <a:pt x="39" y="74"/>
                </a:cubicBezTo>
                <a:cubicBezTo>
                  <a:pt x="40" y="74"/>
                  <a:pt x="40" y="74"/>
                  <a:pt x="41" y="74"/>
                </a:cubicBezTo>
                <a:cubicBezTo>
                  <a:pt x="41" y="74"/>
                  <a:pt x="41" y="74"/>
                  <a:pt x="41" y="74"/>
                </a:cubicBezTo>
                <a:cubicBezTo>
                  <a:pt x="41" y="74"/>
                  <a:pt x="41" y="75"/>
                  <a:pt x="42" y="74"/>
                </a:cubicBezTo>
                <a:cubicBezTo>
                  <a:pt x="42" y="74"/>
                  <a:pt x="42" y="74"/>
                  <a:pt x="42" y="75"/>
                </a:cubicBezTo>
                <a:cubicBezTo>
                  <a:pt x="42" y="75"/>
                  <a:pt x="43" y="75"/>
                  <a:pt x="43" y="75"/>
                </a:cubicBezTo>
                <a:cubicBezTo>
                  <a:pt x="43" y="75"/>
                  <a:pt x="44" y="75"/>
                  <a:pt x="44" y="75"/>
                </a:cubicBezTo>
                <a:cubicBezTo>
                  <a:pt x="45" y="76"/>
                  <a:pt x="46" y="75"/>
                  <a:pt x="46" y="76"/>
                </a:cubicBezTo>
                <a:cubicBezTo>
                  <a:pt x="46" y="76"/>
                  <a:pt x="47" y="76"/>
                  <a:pt x="47" y="76"/>
                </a:cubicBezTo>
                <a:cubicBezTo>
                  <a:pt x="47" y="75"/>
                  <a:pt x="47" y="75"/>
                  <a:pt x="48" y="75"/>
                </a:cubicBezTo>
                <a:cubicBezTo>
                  <a:pt x="48" y="76"/>
                  <a:pt x="48" y="77"/>
                  <a:pt x="49" y="77"/>
                </a:cubicBezTo>
                <a:cubicBezTo>
                  <a:pt x="49" y="77"/>
                  <a:pt x="51" y="77"/>
                  <a:pt x="51" y="77"/>
                </a:cubicBezTo>
                <a:cubicBezTo>
                  <a:pt x="50" y="78"/>
                  <a:pt x="51" y="79"/>
                  <a:pt x="51" y="79"/>
                </a:cubicBezTo>
                <a:cubicBezTo>
                  <a:pt x="52" y="79"/>
                  <a:pt x="52" y="81"/>
                  <a:pt x="52" y="82"/>
                </a:cubicBezTo>
                <a:cubicBezTo>
                  <a:pt x="53" y="83"/>
                  <a:pt x="54" y="83"/>
                  <a:pt x="54" y="84"/>
                </a:cubicBezTo>
                <a:cubicBezTo>
                  <a:pt x="54" y="85"/>
                  <a:pt x="54" y="85"/>
                  <a:pt x="55" y="85"/>
                </a:cubicBezTo>
                <a:cubicBezTo>
                  <a:pt x="55" y="86"/>
                  <a:pt x="54" y="85"/>
                  <a:pt x="54" y="86"/>
                </a:cubicBezTo>
                <a:cubicBezTo>
                  <a:pt x="54" y="86"/>
                  <a:pt x="54" y="86"/>
                  <a:pt x="54" y="87"/>
                </a:cubicBezTo>
                <a:cubicBezTo>
                  <a:pt x="54" y="87"/>
                  <a:pt x="55" y="88"/>
                  <a:pt x="56" y="88"/>
                </a:cubicBezTo>
                <a:cubicBezTo>
                  <a:pt x="56" y="88"/>
                  <a:pt x="57" y="88"/>
                  <a:pt x="57" y="88"/>
                </a:cubicBezTo>
                <a:cubicBezTo>
                  <a:pt x="57" y="88"/>
                  <a:pt x="58" y="87"/>
                  <a:pt x="58" y="87"/>
                </a:cubicBezTo>
                <a:cubicBezTo>
                  <a:pt x="59" y="88"/>
                  <a:pt x="58" y="88"/>
                  <a:pt x="57" y="88"/>
                </a:cubicBezTo>
                <a:cubicBezTo>
                  <a:pt x="57" y="89"/>
                  <a:pt x="57" y="89"/>
                  <a:pt x="57" y="90"/>
                </a:cubicBezTo>
                <a:cubicBezTo>
                  <a:pt x="57" y="90"/>
                  <a:pt x="57" y="90"/>
                  <a:pt x="57" y="90"/>
                </a:cubicBezTo>
                <a:cubicBezTo>
                  <a:pt x="58" y="90"/>
                  <a:pt x="58" y="91"/>
                  <a:pt x="58" y="91"/>
                </a:cubicBezTo>
                <a:cubicBezTo>
                  <a:pt x="58" y="92"/>
                  <a:pt x="59" y="93"/>
                  <a:pt x="59" y="92"/>
                </a:cubicBezTo>
                <a:cubicBezTo>
                  <a:pt x="59" y="92"/>
                  <a:pt x="59" y="92"/>
                  <a:pt x="59" y="92"/>
                </a:cubicBezTo>
                <a:cubicBezTo>
                  <a:pt x="59" y="93"/>
                  <a:pt x="60" y="93"/>
                  <a:pt x="60" y="93"/>
                </a:cubicBezTo>
                <a:cubicBezTo>
                  <a:pt x="60" y="93"/>
                  <a:pt x="60" y="93"/>
                  <a:pt x="61" y="93"/>
                </a:cubicBezTo>
                <a:cubicBezTo>
                  <a:pt x="61" y="93"/>
                  <a:pt x="61" y="94"/>
                  <a:pt x="61" y="94"/>
                </a:cubicBezTo>
                <a:cubicBezTo>
                  <a:pt x="62" y="95"/>
                  <a:pt x="62" y="95"/>
                  <a:pt x="62" y="96"/>
                </a:cubicBezTo>
                <a:cubicBezTo>
                  <a:pt x="62" y="96"/>
                  <a:pt x="62" y="97"/>
                  <a:pt x="63" y="97"/>
                </a:cubicBezTo>
                <a:cubicBezTo>
                  <a:pt x="63" y="98"/>
                  <a:pt x="64" y="98"/>
                  <a:pt x="64" y="99"/>
                </a:cubicBezTo>
                <a:cubicBezTo>
                  <a:pt x="64" y="99"/>
                  <a:pt x="64" y="99"/>
                  <a:pt x="64" y="99"/>
                </a:cubicBezTo>
                <a:cubicBezTo>
                  <a:pt x="64" y="99"/>
                  <a:pt x="65" y="99"/>
                  <a:pt x="65" y="99"/>
                </a:cubicBezTo>
                <a:cubicBezTo>
                  <a:pt x="66" y="99"/>
                  <a:pt x="65" y="99"/>
                  <a:pt x="66" y="99"/>
                </a:cubicBezTo>
                <a:cubicBezTo>
                  <a:pt x="66" y="99"/>
                  <a:pt x="66" y="99"/>
                  <a:pt x="65" y="99"/>
                </a:cubicBezTo>
                <a:cubicBezTo>
                  <a:pt x="66" y="99"/>
                  <a:pt x="66" y="100"/>
                  <a:pt x="67" y="100"/>
                </a:cubicBezTo>
                <a:cubicBezTo>
                  <a:pt x="67" y="99"/>
                  <a:pt x="68" y="100"/>
                  <a:pt x="68" y="99"/>
                </a:cubicBezTo>
                <a:cubicBezTo>
                  <a:pt x="68" y="99"/>
                  <a:pt x="69" y="100"/>
                  <a:pt x="69" y="100"/>
                </a:cubicBezTo>
                <a:cubicBezTo>
                  <a:pt x="70" y="100"/>
                  <a:pt x="70" y="100"/>
                  <a:pt x="71" y="100"/>
                </a:cubicBezTo>
                <a:cubicBezTo>
                  <a:pt x="71" y="100"/>
                  <a:pt x="73" y="100"/>
                  <a:pt x="74" y="99"/>
                </a:cubicBezTo>
                <a:cubicBezTo>
                  <a:pt x="74" y="100"/>
                  <a:pt x="74" y="100"/>
                  <a:pt x="74" y="100"/>
                </a:cubicBezTo>
                <a:cubicBezTo>
                  <a:pt x="74" y="100"/>
                  <a:pt x="74" y="100"/>
                  <a:pt x="74" y="100"/>
                </a:cubicBezTo>
                <a:cubicBezTo>
                  <a:pt x="74" y="101"/>
                  <a:pt x="74" y="101"/>
                  <a:pt x="74" y="101"/>
                </a:cubicBezTo>
                <a:cubicBezTo>
                  <a:pt x="75" y="101"/>
                  <a:pt x="75" y="101"/>
                  <a:pt x="76" y="101"/>
                </a:cubicBezTo>
                <a:cubicBezTo>
                  <a:pt x="76" y="101"/>
                  <a:pt x="77" y="101"/>
                  <a:pt x="77" y="101"/>
                </a:cubicBezTo>
                <a:cubicBezTo>
                  <a:pt x="78" y="101"/>
                  <a:pt x="79" y="102"/>
                  <a:pt x="79" y="102"/>
                </a:cubicBezTo>
                <a:cubicBezTo>
                  <a:pt x="80" y="102"/>
                  <a:pt x="80" y="101"/>
                  <a:pt x="80" y="101"/>
                </a:cubicBezTo>
                <a:cubicBezTo>
                  <a:pt x="80" y="102"/>
                  <a:pt x="80" y="102"/>
                  <a:pt x="81" y="102"/>
                </a:cubicBezTo>
                <a:cubicBezTo>
                  <a:pt x="81" y="102"/>
                  <a:pt x="81" y="102"/>
                  <a:pt x="81" y="102"/>
                </a:cubicBezTo>
                <a:cubicBezTo>
                  <a:pt x="82" y="102"/>
                  <a:pt x="84" y="102"/>
                  <a:pt x="84" y="102"/>
                </a:cubicBezTo>
                <a:cubicBezTo>
                  <a:pt x="85" y="103"/>
                  <a:pt x="85" y="103"/>
                  <a:pt x="85" y="103"/>
                </a:cubicBezTo>
                <a:cubicBezTo>
                  <a:pt x="85" y="103"/>
                  <a:pt x="85" y="103"/>
                  <a:pt x="85" y="103"/>
                </a:cubicBezTo>
                <a:cubicBezTo>
                  <a:pt x="86" y="103"/>
                  <a:pt x="86" y="103"/>
                  <a:pt x="86" y="103"/>
                </a:cubicBezTo>
                <a:cubicBezTo>
                  <a:pt x="86" y="104"/>
                  <a:pt x="86" y="104"/>
                  <a:pt x="85" y="104"/>
                </a:cubicBezTo>
                <a:cubicBezTo>
                  <a:pt x="85" y="104"/>
                  <a:pt x="85" y="104"/>
                  <a:pt x="85" y="104"/>
                </a:cubicBezTo>
                <a:cubicBezTo>
                  <a:pt x="85" y="104"/>
                  <a:pt x="85" y="104"/>
                  <a:pt x="85" y="104"/>
                </a:cubicBezTo>
                <a:cubicBezTo>
                  <a:pt x="84" y="104"/>
                  <a:pt x="84" y="104"/>
                  <a:pt x="85" y="104"/>
                </a:cubicBezTo>
                <a:cubicBezTo>
                  <a:pt x="85" y="104"/>
                  <a:pt x="85" y="105"/>
                  <a:pt x="86" y="105"/>
                </a:cubicBezTo>
                <a:cubicBezTo>
                  <a:pt x="86" y="104"/>
                  <a:pt x="86" y="106"/>
                  <a:pt x="87" y="105"/>
                </a:cubicBezTo>
                <a:cubicBezTo>
                  <a:pt x="87" y="105"/>
                  <a:pt x="88" y="106"/>
                  <a:pt x="88" y="106"/>
                </a:cubicBezTo>
                <a:cubicBezTo>
                  <a:pt x="88" y="106"/>
                  <a:pt x="89" y="105"/>
                  <a:pt x="89" y="105"/>
                </a:cubicBezTo>
                <a:cubicBezTo>
                  <a:pt x="90" y="106"/>
                  <a:pt x="90" y="105"/>
                  <a:pt x="91" y="105"/>
                </a:cubicBezTo>
                <a:cubicBezTo>
                  <a:pt x="91" y="105"/>
                  <a:pt x="93" y="105"/>
                  <a:pt x="92" y="104"/>
                </a:cubicBezTo>
                <a:cubicBezTo>
                  <a:pt x="92" y="103"/>
                  <a:pt x="90" y="103"/>
                  <a:pt x="90" y="102"/>
                </a:cubicBezTo>
                <a:cubicBezTo>
                  <a:pt x="89" y="102"/>
                  <a:pt x="90" y="101"/>
                  <a:pt x="90" y="102"/>
                </a:cubicBezTo>
                <a:cubicBezTo>
                  <a:pt x="91" y="102"/>
                  <a:pt x="91" y="102"/>
                  <a:pt x="92" y="102"/>
                </a:cubicBezTo>
                <a:cubicBezTo>
                  <a:pt x="92" y="102"/>
                  <a:pt x="95" y="101"/>
                  <a:pt x="94" y="101"/>
                </a:cubicBezTo>
                <a:cubicBezTo>
                  <a:pt x="94" y="101"/>
                  <a:pt x="92" y="102"/>
                  <a:pt x="92" y="101"/>
                </a:cubicBezTo>
                <a:close/>
                <a:moveTo>
                  <a:pt x="93" y="104"/>
                </a:moveTo>
                <a:cubicBezTo>
                  <a:pt x="93" y="104"/>
                  <a:pt x="94" y="105"/>
                  <a:pt x="94" y="105"/>
                </a:cubicBezTo>
                <a:cubicBezTo>
                  <a:pt x="94" y="105"/>
                  <a:pt x="93" y="105"/>
                  <a:pt x="93" y="105"/>
                </a:cubicBezTo>
                <a:cubicBezTo>
                  <a:pt x="93" y="105"/>
                  <a:pt x="94" y="105"/>
                  <a:pt x="94" y="105"/>
                </a:cubicBezTo>
                <a:cubicBezTo>
                  <a:pt x="94" y="105"/>
                  <a:pt x="94" y="104"/>
                  <a:pt x="94" y="104"/>
                </a:cubicBezTo>
                <a:cubicBezTo>
                  <a:pt x="94" y="104"/>
                  <a:pt x="93" y="104"/>
                  <a:pt x="93" y="104"/>
                </a:cubicBezTo>
                <a:close/>
                <a:moveTo>
                  <a:pt x="39" y="0"/>
                </a:moveTo>
                <a:cubicBezTo>
                  <a:pt x="39" y="0"/>
                  <a:pt x="39" y="0"/>
                  <a:pt x="39" y="1"/>
                </a:cubicBezTo>
                <a:cubicBezTo>
                  <a:pt x="39" y="1"/>
                  <a:pt x="39" y="0"/>
                  <a:pt x="39" y="0"/>
                </a:cubicBezTo>
                <a:close/>
                <a:moveTo>
                  <a:pt x="147" y="61"/>
                </a:moveTo>
                <a:cubicBezTo>
                  <a:pt x="147" y="61"/>
                  <a:pt x="147" y="60"/>
                  <a:pt x="147" y="60"/>
                </a:cubicBezTo>
                <a:cubicBezTo>
                  <a:pt x="147" y="59"/>
                  <a:pt x="146" y="60"/>
                  <a:pt x="146" y="59"/>
                </a:cubicBezTo>
                <a:cubicBezTo>
                  <a:pt x="146" y="58"/>
                  <a:pt x="146" y="58"/>
                  <a:pt x="145" y="57"/>
                </a:cubicBezTo>
                <a:cubicBezTo>
                  <a:pt x="145" y="57"/>
                  <a:pt x="144" y="56"/>
                  <a:pt x="144" y="56"/>
                </a:cubicBezTo>
                <a:cubicBezTo>
                  <a:pt x="144" y="56"/>
                  <a:pt x="144" y="57"/>
                  <a:pt x="144" y="57"/>
                </a:cubicBezTo>
                <a:cubicBezTo>
                  <a:pt x="143" y="56"/>
                  <a:pt x="144" y="56"/>
                  <a:pt x="143" y="56"/>
                </a:cubicBezTo>
                <a:cubicBezTo>
                  <a:pt x="143" y="56"/>
                  <a:pt x="143" y="56"/>
                  <a:pt x="143" y="55"/>
                </a:cubicBezTo>
                <a:cubicBezTo>
                  <a:pt x="142" y="55"/>
                  <a:pt x="142" y="55"/>
                  <a:pt x="142" y="55"/>
                </a:cubicBezTo>
                <a:cubicBezTo>
                  <a:pt x="142" y="54"/>
                  <a:pt x="142" y="54"/>
                  <a:pt x="141" y="53"/>
                </a:cubicBezTo>
                <a:cubicBezTo>
                  <a:pt x="141" y="53"/>
                  <a:pt x="140" y="53"/>
                  <a:pt x="140" y="52"/>
                </a:cubicBezTo>
                <a:cubicBezTo>
                  <a:pt x="140" y="52"/>
                  <a:pt x="140" y="51"/>
                  <a:pt x="140" y="51"/>
                </a:cubicBezTo>
                <a:cubicBezTo>
                  <a:pt x="140" y="51"/>
                  <a:pt x="139" y="49"/>
                  <a:pt x="139" y="49"/>
                </a:cubicBezTo>
                <a:cubicBezTo>
                  <a:pt x="140" y="49"/>
                  <a:pt x="139" y="49"/>
                  <a:pt x="139" y="49"/>
                </a:cubicBezTo>
                <a:cubicBezTo>
                  <a:pt x="139" y="49"/>
                  <a:pt x="138" y="49"/>
                  <a:pt x="138" y="49"/>
                </a:cubicBezTo>
                <a:cubicBezTo>
                  <a:pt x="138" y="49"/>
                  <a:pt x="137" y="49"/>
                  <a:pt x="137" y="49"/>
                </a:cubicBezTo>
                <a:cubicBezTo>
                  <a:pt x="137" y="49"/>
                  <a:pt x="137" y="49"/>
                  <a:pt x="137" y="49"/>
                </a:cubicBezTo>
                <a:cubicBezTo>
                  <a:pt x="137" y="49"/>
                  <a:pt x="137" y="48"/>
                  <a:pt x="136" y="48"/>
                </a:cubicBezTo>
                <a:cubicBezTo>
                  <a:pt x="136" y="48"/>
                  <a:pt x="136" y="48"/>
                  <a:pt x="136" y="48"/>
                </a:cubicBezTo>
                <a:cubicBezTo>
                  <a:pt x="136" y="48"/>
                  <a:pt x="136" y="48"/>
                  <a:pt x="136" y="48"/>
                </a:cubicBezTo>
                <a:cubicBezTo>
                  <a:pt x="136" y="49"/>
                  <a:pt x="137" y="49"/>
                  <a:pt x="136" y="50"/>
                </a:cubicBezTo>
                <a:cubicBezTo>
                  <a:pt x="136" y="49"/>
                  <a:pt x="136" y="50"/>
                  <a:pt x="136" y="50"/>
                </a:cubicBezTo>
                <a:cubicBezTo>
                  <a:pt x="135" y="51"/>
                  <a:pt x="136" y="52"/>
                  <a:pt x="136" y="52"/>
                </a:cubicBezTo>
                <a:cubicBezTo>
                  <a:pt x="136" y="53"/>
                  <a:pt x="136" y="54"/>
                  <a:pt x="137" y="54"/>
                </a:cubicBezTo>
                <a:cubicBezTo>
                  <a:pt x="137" y="55"/>
                  <a:pt x="138" y="55"/>
                  <a:pt x="138" y="56"/>
                </a:cubicBezTo>
                <a:cubicBezTo>
                  <a:pt x="138" y="58"/>
                  <a:pt x="140" y="57"/>
                  <a:pt x="140" y="58"/>
                </a:cubicBezTo>
                <a:cubicBezTo>
                  <a:pt x="140" y="59"/>
                  <a:pt x="140" y="59"/>
                  <a:pt x="140" y="60"/>
                </a:cubicBezTo>
                <a:cubicBezTo>
                  <a:pt x="140" y="60"/>
                  <a:pt x="139" y="60"/>
                  <a:pt x="139" y="60"/>
                </a:cubicBezTo>
                <a:cubicBezTo>
                  <a:pt x="139" y="60"/>
                  <a:pt x="141" y="62"/>
                  <a:pt x="142" y="62"/>
                </a:cubicBezTo>
                <a:cubicBezTo>
                  <a:pt x="142" y="63"/>
                  <a:pt x="144" y="63"/>
                  <a:pt x="145" y="64"/>
                </a:cubicBezTo>
                <a:cubicBezTo>
                  <a:pt x="145" y="64"/>
                  <a:pt x="146" y="62"/>
                  <a:pt x="146" y="63"/>
                </a:cubicBezTo>
                <a:cubicBezTo>
                  <a:pt x="146" y="63"/>
                  <a:pt x="147" y="62"/>
                  <a:pt x="147" y="62"/>
                </a:cubicBezTo>
                <a:cubicBezTo>
                  <a:pt x="147" y="62"/>
                  <a:pt x="146" y="63"/>
                  <a:pt x="147" y="63"/>
                </a:cubicBezTo>
                <a:cubicBezTo>
                  <a:pt x="147" y="63"/>
                  <a:pt x="147" y="61"/>
                  <a:pt x="147" y="61"/>
                </a:cubicBezTo>
                <a:close/>
                <a:moveTo>
                  <a:pt x="97" y="99"/>
                </a:moveTo>
                <a:cubicBezTo>
                  <a:pt x="97" y="99"/>
                  <a:pt x="96" y="98"/>
                  <a:pt x="97" y="98"/>
                </a:cubicBezTo>
                <a:cubicBezTo>
                  <a:pt x="96" y="97"/>
                  <a:pt x="96" y="97"/>
                  <a:pt x="96" y="97"/>
                </a:cubicBezTo>
                <a:cubicBezTo>
                  <a:pt x="95" y="96"/>
                  <a:pt x="95" y="96"/>
                  <a:pt x="95" y="96"/>
                </a:cubicBezTo>
                <a:cubicBezTo>
                  <a:pt x="95" y="96"/>
                  <a:pt x="94" y="94"/>
                  <a:pt x="94" y="95"/>
                </a:cubicBezTo>
                <a:cubicBezTo>
                  <a:pt x="94" y="96"/>
                  <a:pt x="95" y="96"/>
                  <a:pt x="95" y="97"/>
                </a:cubicBezTo>
                <a:cubicBezTo>
                  <a:pt x="95" y="97"/>
                  <a:pt x="95" y="98"/>
                  <a:pt x="95" y="98"/>
                </a:cubicBezTo>
                <a:cubicBezTo>
                  <a:pt x="95" y="98"/>
                  <a:pt x="95" y="98"/>
                  <a:pt x="96" y="98"/>
                </a:cubicBezTo>
                <a:cubicBezTo>
                  <a:pt x="96" y="98"/>
                  <a:pt x="95" y="99"/>
                  <a:pt x="96" y="99"/>
                </a:cubicBezTo>
                <a:cubicBezTo>
                  <a:pt x="96" y="100"/>
                  <a:pt x="97" y="100"/>
                  <a:pt x="98" y="100"/>
                </a:cubicBezTo>
                <a:cubicBezTo>
                  <a:pt x="98" y="100"/>
                  <a:pt x="99" y="98"/>
                  <a:pt x="99" y="97"/>
                </a:cubicBezTo>
                <a:cubicBezTo>
                  <a:pt x="98" y="97"/>
                  <a:pt x="98" y="99"/>
                  <a:pt x="97" y="99"/>
                </a:cubicBezTo>
                <a:close/>
                <a:moveTo>
                  <a:pt x="71" y="13"/>
                </a:moveTo>
                <a:cubicBezTo>
                  <a:pt x="71" y="13"/>
                  <a:pt x="70" y="14"/>
                  <a:pt x="70" y="14"/>
                </a:cubicBezTo>
                <a:cubicBezTo>
                  <a:pt x="71" y="14"/>
                  <a:pt x="72" y="14"/>
                  <a:pt x="71" y="13"/>
                </a:cubicBezTo>
                <a:close/>
                <a:moveTo>
                  <a:pt x="102" y="21"/>
                </a:moveTo>
                <a:cubicBezTo>
                  <a:pt x="102" y="21"/>
                  <a:pt x="101" y="20"/>
                  <a:pt x="100" y="20"/>
                </a:cubicBezTo>
                <a:cubicBezTo>
                  <a:pt x="100" y="20"/>
                  <a:pt x="99" y="21"/>
                  <a:pt x="99" y="21"/>
                </a:cubicBezTo>
                <a:cubicBezTo>
                  <a:pt x="100" y="21"/>
                  <a:pt x="101" y="21"/>
                  <a:pt x="102" y="21"/>
                </a:cubicBezTo>
                <a:close/>
                <a:moveTo>
                  <a:pt x="117" y="22"/>
                </a:moveTo>
                <a:cubicBezTo>
                  <a:pt x="117" y="22"/>
                  <a:pt x="116" y="22"/>
                  <a:pt x="116" y="23"/>
                </a:cubicBezTo>
                <a:cubicBezTo>
                  <a:pt x="117" y="23"/>
                  <a:pt x="117" y="23"/>
                  <a:pt x="117" y="24"/>
                </a:cubicBezTo>
                <a:cubicBezTo>
                  <a:pt x="118" y="23"/>
                  <a:pt x="118" y="22"/>
                  <a:pt x="117" y="22"/>
                </a:cubicBezTo>
                <a:close/>
                <a:moveTo>
                  <a:pt x="126" y="33"/>
                </a:moveTo>
                <a:cubicBezTo>
                  <a:pt x="126" y="33"/>
                  <a:pt x="126" y="34"/>
                  <a:pt x="126" y="34"/>
                </a:cubicBezTo>
                <a:cubicBezTo>
                  <a:pt x="127" y="34"/>
                  <a:pt x="127" y="32"/>
                  <a:pt x="126" y="33"/>
                </a:cubicBezTo>
                <a:close/>
                <a:moveTo>
                  <a:pt x="88" y="5"/>
                </a:moveTo>
                <a:cubicBezTo>
                  <a:pt x="89" y="6"/>
                  <a:pt x="89" y="5"/>
                  <a:pt x="90" y="6"/>
                </a:cubicBezTo>
                <a:cubicBezTo>
                  <a:pt x="91" y="5"/>
                  <a:pt x="89" y="2"/>
                  <a:pt x="88" y="3"/>
                </a:cubicBezTo>
                <a:cubicBezTo>
                  <a:pt x="88" y="4"/>
                  <a:pt x="88" y="4"/>
                  <a:pt x="88" y="5"/>
                </a:cubicBezTo>
                <a:cubicBezTo>
                  <a:pt x="88" y="5"/>
                  <a:pt x="88" y="5"/>
                  <a:pt x="88" y="5"/>
                </a:cubicBezTo>
                <a:close/>
                <a:moveTo>
                  <a:pt x="52" y="41"/>
                </a:moveTo>
                <a:cubicBezTo>
                  <a:pt x="52" y="40"/>
                  <a:pt x="53" y="40"/>
                  <a:pt x="53" y="39"/>
                </a:cubicBezTo>
                <a:cubicBezTo>
                  <a:pt x="53" y="38"/>
                  <a:pt x="52" y="38"/>
                  <a:pt x="52" y="38"/>
                </a:cubicBezTo>
                <a:cubicBezTo>
                  <a:pt x="51" y="39"/>
                  <a:pt x="50" y="40"/>
                  <a:pt x="52" y="41"/>
                </a:cubicBezTo>
                <a:close/>
                <a:moveTo>
                  <a:pt x="69" y="51"/>
                </a:moveTo>
                <a:cubicBezTo>
                  <a:pt x="69" y="51"/>
                  <a:pt x="69" y="52"/>
                  <a:pt x="70" y="52"/>
                </a:cubicBezTo>
                <a:cubicBezTo>
                  <a:pt x="70" y="52"/>
                  <a:pt x="70" y="52"/>
                  <a:pt x="70" y="52"/>
                </a:cubicBezTo>
                <a:cubicBezTo>
                  <a:pt x="70" y="52"/>
                  <a:pt x="70" y="52"/>
                  <a:pt x="71" y="53"/>
                </a:cubicBezTo>
                <a:cubicBezTo>
                  <a:pt x="71" y="52"/>
                  <a:pt x="72" y="51"/>
                  <a:pt x="71" y="50"/>
                </a:cubicBezTo>
                <a:cubicBezTo>
                  <a:pt x="71" y="49"/>
                  <a:pt x="70" y="49"/>
                  <a:pt x="69" y="49"/>
                </a:cubicBezTo>
                <a:cubicBezTo>
                  <a:pt x="69" y="48"/>
                  <a:pt x="69" y="49"/>
                  <a:pt x="69" y="50"/>
                </a:cubicBezTo>
                <a:cubicBezTo>
                  <a:pt x="69" y="50"/>
                  <a:pt x="69" y="50"/>
                  <a:pt x="69" y="51"/>
                </a:cubicBezTo>
                <a:close/>
                <a:moveTo>
                  <a:pt x="94" y="106"/>
                </a:moveTo>
                <a:cubicBezTo>
                  <a:pt x="94" y="105"/>
                  <a:pt x="95" y="105"/>
                  <a:pt x="95" y="106"/>
                </a:cubicBezTo>
                <a:cubicBezTo>
                  <a:pt x="96" y="106"/>
                  <a:pt x="96" y="105"/>
                  <a:pt x="96" y="105"/>
                </a:cubicBezTo>
                <a:cubicBezTo>
                  <a:pt x="96" y="105"/>
                  <a:pt x="94" y="104"/>
                  <a:pt x="94" y="106"/>
                </a:cubicBezTo>
                <a:close/>
                <a:moveTo>
                  <a:pt x="82" y="42"/>
                </a:moveTo>
                <a:cubicBezTo>
                  <a:pt x="84" y="42"/>
                  <a:pt x="81" y="42"/>
                  <a:pt x="82" y="42"/>
                </a:cubicBezTo>
                <a:close/>
                <a:moveTo>
                  <a:pt x="116" y="90"/>
                </a:moveTo>
                <a:cubicBezTo>
                  <a:pt x="116" y="89"/>
                  <a:pt x="116" y="89"/>
                  <a:pt x="115" y="89"/>
                </a:cubicBezTo>
                <a:cubicBezTo>
                  <a:pt x="116" y="89"/>
                  <a:pt x="117" y="89"/>
                  <a:pt x="116" y="88"/>
                </a:cubicBezTo>
                <a:cubicBezTo>
                  <a:pt x="116" y="88"/>
                  <a:pt x="116" y="88"/>
                  <a:pt x="116" y="88"/>
                </a:cubicBezTo>
                <a:cubicBezTo>
                  <a:pt x="115" y="87"/>
                  <a:pt x="115" y="87"/>
                  <a:pt x="114" y="87"/>
                </a:cubicBezTo>
                <a:cubicBezTo>
                  <a:pt x="113" y="87"/>
                  <a:pt x="112" y="87"/>
                  <a:pt x="112" y="87"/>
                </a:cubicBezTo>
                <a:cubicBezTo>
                  <a:pt x="112" y="87"/>
                  <a:pt x="113" y="88"/>
                  <a:pt x="113" y="88"/>
                </a:cubicBezTo>
                <a:cubicBezTo>
                  <a:pt x="113" y="88"/>
                  <a:pt x="113" y="90"/>
                  <a:pt x="114" y="89"/>
                </a:cubicBezTo>
                <a:cubicBezTo>
                  <a:pt x="114" y="89"/>
                  <a:pt x="114" y="89"/>
                  <a:pt x="114" y="89"/>
                </a:cubicBezTo>
                <a:cubicBezTo>
                  <a:pt x="114" y="89"/>
                  <a:pt x="114" y="89"/>
                  <a:pt x="115" y="90"/>
                </a:cubicBezTo>
                <a:cubicBezTo>
                  <a:pt x="115" y="90"/>
                  <a:pt x="116" y="89"/>
                  <a:pt x="116" y="90"/>
                </a:cubicBezTo>
                <a:close/>
                <a:moveTo>
                  <a:pt x="86" y="40"/>
                </a:moveTo>
                <a:cubicBezTo>
                  <a:pt x="86" y="40"/>
                  <a:pt x="86" y="40"/>
                  <a:pt x="86" y="40"/>
                </a:cubicBezTo>
                <a:cubicBezTo>
                  <a:pt x="87" y="40"/>
                  <a:pt x="86" y="39"/>
                  <a:pt x="86" y="39"/>
                </a:cubicBezTo>
                <a:cubicBezTo>
                  <a:pt x="85" y="40"/>
                  <a:pt x="86" y="40"/>
                  <a:pt x="86" y="40"/>
                </a:cubicBezTo>
                <a:cubicBezTo>
                  <a:pt x="86" y="40"/>
                  <a:pt x="86" y="39"/>
                  <a:pt x="86" y="40"/>
                </a:cubicBezTo>
                <a:close/>
                <a:moveTo>
                  <a:pt x="93" y="16"/>
                </a:moveTo>
                <a:cubicBezTo>
                  <a:pt x="93" y="16"/>
                  <a:pt x="93" y="16"/>
                  <a:pt x="93" y="17"/>
                </a:cubicBezTo>
                <a:cubicBezTo>
                  <a:pt x="93" y="17"/>
                  <a:pt x="93" y="17"/>
                  <a:pt x="94" y="18"/>
                </a:cubicBezTo>
                <a:cubicBezTo>
                  <a:pt x="94" y="18"/>
                  <a:pt x="95" y="17"/>
                  <a:pt x="96" y="18"/>
                </a:cubicBezTo>
                <a:cubicBezTo>
                  <a:pt x="96" y="17"/>
                  <a:pt x="96" y="17"/>
                  <a:pt x="96" y="16"/>
                </a:cubicBezTo>
                <a:cubicBezTo>
                  <a:pt x="97" y="16"/>
                  <a:pt x="96" y="15"/>
                  <a:pt x="95" y="15"/>
                </a:cubicBezTo>
                <a:cubicBezTo>
                  <a:pt x="94" y="15"/>
                  <a:pt x="94" y="14"/>
                  <a:pt x="93" y="15"/>
                </a:cubicBezTo>
                <a:cubicBezTo>
                  <a:pt x="93" y="15"/>
                  <a:pt x="92" y="15"/>
                  <a:pt x="92" y="15"/>
                </a:cubicBezTo>
                <a:cubicBezTo>
                  <a:pt x="91" y="16"/>
                  <a:pt x="93" y="16"/>
                  <a:pt x="93" y="16"/>
                </a:cubicBezTo>
                <a:close/>
                <a:moveTo>
                  <a:pt x="137" y="25"/>
                </a:moveTo>
                <a:cubicBezTo>
                  <a:pt x="137" y="26"/>
                  <a:pt x="138" y="26"/>
                  <a:pt x="138" y="27"/>
                </a:cubicBezTo>
                <a:cubicBezTo>
                  <a:pt x="138" y="26"/>
                  <a:pt x="138" y="26"/>
                  <a:pt x="137" y="2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2" name="Panama"/>
          <p:cNvSpPr>
            <a:spLocks noEditPoints="1"/>
          </p:cNvSpPr>
          <p:nvPr/>
        </p:nvSpPr>
        <p:spPr bwMode="auto">
          <a:xfrm>
            <a:off x="2891191" y="4279952"/>
            <a:ext cx="205993" cy="101996"/>
          </a:xfrm>
          <a:custGeom>
            <a:avLst/>
            <a:gdLst/>
            <a:ahLst/>
            <a:cxnLst>
              <a:cxn ang="0">
                <a:pos x="7" y="16"/>
              </a:cxn>
              <a:cxn ang="0">
                <a:pos x="7" y="17"/>
              </a:cxn>
              <a:cxn ang="0">
                <a:pos x="11" y="24"/>
              </a:cxn>
              <a:cxn ang="0">
                <a:pos x="13" y="24"/>
              </a:cxn>
              <a:cxn ang="0">
                <a:pos x="8" y="3"/>
              </a:cxn>
              <a:cxn ang="0">
                <a:pos x="53" y="24"/>
              </a:cxn>
              <a:cxn ang="0">
                <a:pos x="50" y="24"/>
              </a:cxn>
              <a:cxn ang="0">
                <a:pos x="48" y="24"/>
              </a:cxn>
              <a:cxn ang="0">
                <a:pos x="46" y="22"/>
              </a:cxn>
              <a:cxn ang="0">
                <a:pos x="45" y="18"/>
              </a:cxn>
              <a:cxn ang="0">
                <a:pos x="47" y="15"/>
              </a:cxn>
              <a:cxn ang="0">
                <a:pos x="49" y="16"/>
              </a:cxn>
              <a:cxn ang="0">
                <a:pos x="51" y="17"/>
              </a:cxn>
              <a:cxn ang="0">
                <a:pos x="48" y="13"/>
              </a:cxn>
              <a:cxn ang="0">
                <a:pos x="47" y="14"/>
              </a:cxn>
              <a:cxn ang="0">
                <a:pos x="46" y="13"/>
              </a:cxn>
              <a:cxn ang="0">
                <a:pos x="45" y="13"/>
              </a:cxn>
              <a:cxn ang="0">
                <a:pos x="43" y="10"/>
              </a:cxn>
              <a:cxn ang="0">
                <a:pos x="41" y="9"/>
              </a:cxn>
              <a:cxn ang="0">
                <a:pos x="39" y="7"/>
              </a:cxn>
              <a:cxn ang="0">
                <a:pos x="34" y="9"/>
              </a:cxn>
              <a:cxn ang="0">
                <a:pos x="33" y="11"/>
              </a:cxn>
              <a:cxn ang="0">
                <a:pos x="25" y="18"/>
              </a:cxn>
              <a:cxn ang="0">
                <a:pos x="29" y="24"/>
              </a:cxn>
              <a:cxn ang="0">
                <a:pos x="26" y="26"/>
              </a:cxn>
              <a:cxn ang="0">
                <a:pos x="20" y="26"/>
              </a:cxn>
              <a:cxn ang="0">
                <a:pos x="20" y="22"/>
              </a:cxn>
              <a:cxn ang="0">
                <a:pos x="19" y="20"/>
              </a:cxn>
              <a:cxn ang="0">
                <a:pos x="18" y="21"/>
              </a:cxn>
              <a:cxn ang="0">
                <a:pos x="17" y="22"/>
              </a:cxn>
              <a:cxn ang="0">
                <a:pos x="14" y="21"/>
              </a:cxn>
              <a:cxn ang="0">
                <a:pos x="13" y="18"/>
              </a:cxn>
              <a:cxn ang="0">
                <a:pos x="12" y="17"/>
              </a:cxn>
              <a:cxn ang="0">
                <a:pos x="8" y="16"/>
              </a:cxn>
              <a:cxn ang="0">
                <a:pos x="6" y="14"/>
              </a:cxn>
              <a:cxn ang="0">
                <a:pos x="4" y="15"/>
              </a:cxn>
              <a:cxn ang="0">
                <a:pos x="2" y="17"/>
              </a:cxn>
              <a:cxn ang="0">
                <a:pos x="2" y="10"/>
              </a:cxn>
              <a:cxn ang="0">
                <a:pos x="2" y="2"/>
              </a:cxn>
              <a:cxn ang="0">
                <a:pos x="5" y="2"/>
              </a:cxn>
              <a:cxn ang="0">
                <a:pos x="7" y="4"/>
              </a:cxn>
              <a:cxn ang="0">
                <a:pos x="9" y="5"/>
              </a:cxn>
              <a:cxn ang="0">
                <a:pos x="9" y="7"/>
              </a:cxn>
              <a:cxn ang="0">
                <a:pos x="12" y="8"/>
              </a:cxn>
              <a:cxn ang="0">
                <a:pos x="12" y="6"/>
              </a:cxn>
              <a:cxn ang="0">
                <a:pos x="15" y="10"/>
              </a:cxn>
              <a:cxn ang="0">
                <a:pos x="26" y="6"/>
              </a:cxn>
              <a:cxn ang="0">
                <a:pos x="32" y="4"/>
              </a:cxn>
              <a:cxn ang="0">
                <a:pos x="35" y="1"/>
              </a:cxn>
              <a:cxn ang="0">
                <a:pos x="39" y="2"/>
              </a:cxn>
              <a:cxn ang="0">
                <a:pos x="44" y="3"/>
              </a:cxn>
              <a:cxn ang="0">
                <a:pos x="51" y="6"/>
              </a:cxn>
              <a:cxn ang="0">
                <a:pos x="54" y="10"/>
              </a:cxn>
              <a:cxn ang="0">
                <a:pos x="54" y="13"/>
              </a:cxn>
              <a:cxn ang="0">
                <a:pos x="57" y="19"/>
              </a:cxn>
              <a:cxn ang="0">
                <a:pos x="39" y="6"/>
              </a:cxn>
              <a:cxn ang="0">
                <a:pos x="40" y="6"/>
              </a:cxn>
              <a:cxn ang="0">
                <a:pos x="38" y="15"/>
              </a:cxn>
              <a:cxn ang="0">
                <a:pos x="19" y="23"/>
              </a:cxn>
              <a:cxn ang="0">
                <a:pos x="40" y="15"/>
              </a:cxn>
              <a:cxn ang="0">
                <a:pos x="41" y="13"/>
              </a:cxn>
              <a:cxn ang="0">
                <a:pos x="10" y="4"/>
              </a:cxn>
            </a:cxnLst>
            <a:rect l="0" t="0" r="r" b="b"/>
            <a:pathLst>
              <a:path w="57" h="28">
                <a:moveTo>
                  <a:pt x="8" y="16"/>
                </a:moveTo>
                <a:cubicBezTo>
                  <a:pt x="8" y="16"/>
                  <a:pt x="8" y="16"/>
                  <a:pt x="8" y="16"/>
                </a:cubicBezTo>
                <a:cubicBezTo>
                  <a:pt x="8" y="16"/>
                  <a:pt x="8" y="16"/>
                  <a:pt x="8" y="16"/>
                </a:cubicBezTo>
                <a:cubicBezTo>
                  <a:pt x="8" y="16"/>
                  <a:pt x="7" y="16"/>
                  <a:pt x="7" y="16"/>
                </a:cubicBezTo>
                <a:cubicBezTo>
                  <a:pt x="7" y="16"/>
                  <a:pt x="7" y="16"/>
                  <a:pt x="8" y="16"/>
                </a:cubicBezTo>
                <a:close/>
                <a:moveTo>
                  <a:pt x="7" y="17"/>
                </a:moveTo>
                <a:cubicBezTo>
                  <a:pt x="7" y="17"/>
                  <a:pt x="7" y="17"/>
                  <a:pt x="7" y="17"/>
                </a:cubicBezTo>
                <a:cubicBezTo>
                  <a:pt x="7" y="17"/>
                  <a:pt x="7" y="17"/>
                  <a:pt x="7" y="17"/>
                </a:cubicBezTo>
                <a:close/>
                <a:moveTo>
                  <a:pt x="13" y="24"/>
                </a:moveTo>
                <a:cubicBezTo>
                  <a:pt x="13" y="24"/>
                  <a:pt x="13" y="24"/>
                  <a:pt x="13" y="23"/>
                </a:cubicBezTo>
                <a:cubicBezTo>
                  <a:pt x="13" y="23"/>
                  <a:pt x="13" y="23"/>
                  <a:pt x="12" y="22"/>
                </a:cubicBezTo>
                <a:cubicBezTo>
                  <a:pt x="12" y="22"/>
                  <a:pt x="11" y="24"/>
                  <a:pt x="11" y="24"/>
                </a:cubicBezTo>
                <a:cubicBezTo>
                  <a:pt x="11" y="24"/>
                  <a:pt x="11" y="25"/>
                  <a:pt x="12" y="25"/>
                </a:cubicBezTo>
                <a:cubicBezTo>
                  <a:pt x="12" y="25"/>
                  <a:pt x="12" y="26"/>
                  <a:pt x="13" y="26"/>
                </a:cubicBezTo>
                <a:cubicBezTo>
                  <a:pt x="13" y="26"/>
                  <a:pt x="14" y="26"/>
                  <a:pt x="13" y="25"/>
                </a:cubicBezTo>
                <a:cubicBezTo>
                  <a:pt x="13" y="25"/>
                  <a:pt x="12" y="25"/>
                  <a:pt x="13" y="24"/>
                </a:cubicBezTo>
                <a:close/>
                <a:moveTo>
                  <a:pt x="12" y="27"/>
                </a:moveTo>
                <a:cubicBezTo>
                  <a:pt x="12" y="27"/>
                  <a:pt x="12" y="26"/>
                  <a:pt x="12" y="26"/>
                </a:cubicBezTo>
                <a:cubicBezTo>
                  <a:pt x="11" y="26"/>
                  <a:pt x="11" y="27"/>
                  <a:pt x="12" y="27"/>
                </a:cubicBezTo>
                <a:close/>
                <a:moveTo>
                  <a:pt x="8" y="3"/>
                </a:moveTo>
                <a:cubicBezTo>
                  <a:pt x="7" y="2"/>
                  <a:pt x="10" y="5"/>
                  <a:pt x="8" y="3"/>
                </a:cubicBezTo>
                <a:close/>
                <a:moveTo>
                  <a:pt x="55" y="20"/>
                </a:moveTo>
                <a:cubicBezTo>
                  <a:pt x="55" y="20"/>
                  <a:pt x="55" y="21"/>
                  <a:pt x="55" y="21"/>
                </a:cubicBezTo>
                <a:cubicBezTo>
                  <a:pt x="55" y="22"/>
                  <a:pt x="53" y="24"/>
                  <a:pt x="53" y="24"/>
                </a:cubicBezTo>
                <a:cubicBezTo>
                  <a:pt x="52" y="23"/>
                  <a:pt x="52" y="22"/>
                  <a:pt x="51" y="21"/>
                </a:cubicBezTo>
                <a:cubicBezTo>
                  <a:pt x="51" y="21"/>
                  <a:pt x="51" y="23"/>
                  <a:pt x="51" y="23"/>
                </a:cubicBezTo>
                <a:cubicBezTo>
                  <a:pt x="51" y="23"/>
                  <a:pt x="51" y="23"/>
                  <a:pt x="51" y="24"/>
                </a:cubicBezTo>
                <a:cubicBezTo>
                  <a:pt x="51" y="24"/>
                  <a:pt x="51" y="24"/>
                  <a:pt x="50" y="24"/>
                </a:cubicBezTo>
                <a:cubicBezTo>
                  <a:pt x="50" y="24"/>
                  <a:pt x="50" y="25"/>
                  <a:pt x="50" y="26"/>
                </a:cubicBezTo>
                <a:cubicBezTo>
                  <a:pt x="50" y="26"/>
                  <a:pt x="50" y="26"/>
                  <a:pt x="49" y="27"/>
                </a:cubicBezTo>
                <a:cubicBezTo>
                  <a:pt x="49" y="27"/>
                  <a:pt x="49" y="26"/>
                  <a:pt x="48" y="25"/>
                </a:cubicBezTo>
                <a:cubicBezTo>
                  <a:pt x="48" y="25"/>
                  <a:pt x="48" y="25"/>
                  <a:pt x="48" y="24"/>
                </a:cubicBezTo>
                <a:cubicBezTo>
                  <a:pt x="47" y="24"/>
                  <a:pt x="47" y="23"/>
                  <a:pt x="47" y="24"/>
                </a:cubicBezTo>
                <a:cubicBezTo>
                  <a:pt x="47" y="24"/>
                  <a:pt x="47" y="23"/>
                  <a:pt x="47" y="23"/>
                </a:cubicBezTo>
                <a:cubicBezTo>
                  <a:pt x="47" y="23"/>
                  <a:pt x="47" y="23"/>
                  <a:pt x="47" y="23"/>
                </a:cubicBezTo>
                <a:cubicBezTo>
                  <a:pt x="47" y="23"/>
                  <a:pt x="46" y="22"/>
                  <a:pt x="46" y="22"/>
                </a:cubicBezTo>
                <a:cubicBezTo>
                  <a:pt x="46" y="21"/>
                  <a:pt x="46" y="21"/>
                  <a:pt x="46" y="21"/>
                </a:cubicBezTo>
                <a:cubicBezTo>
                  <a:pt x="45" y="20"/>
                  <a:pt x="45" y="19"/>
                  <a:pt x="45" y="18"/>
                </a:cubicBezTo>
                <a:cubicBezTo>
                  <a:pt x="45" y="18"/>
                  <a:pt x="45" y="18"/>
                  <a:pt x="45" y="17"/>
                </a:cubicBezTo>
                <a:cubicBezTo>
                  <a:pt x="45" y="17"/>
                  <a:pt x="45" y="18"/>
                  <a:pt x="45" y="18"/>
                </a:cubicBezTo>
                <a:cubicBezTo>
                  <a:pt x="46" y="18"/>
                  <a:pt x="46" y="17"/>
                  <a:pt x="47" y="17"/>
                </a:cubicBezTo>
                <a:cubicBezTo>
                  <a:pt x="47" y="16"/>
                  <a:pt x="46" y="16"/>
                  <a:pt x="46" y="16"/>
                </a:cubicBezTo>
                <a:cubicBezTo>
                  <a:pt x="46" y="16"/>
                  <a:pt x="46" y="16"/>
                  <a:pt x="46" y="15"/>
                </a:cubicBezTo>
                <a:cubicBezTo>
                  <a:pt x="46" y="15"/>
                  <a:pt x="47" y="15"/>
                  <a:pt x="47" y="15"/>
                </a:cubicBezTo>
                <a:cubicBezTo>
                  <a:pt x="47" y="15"/>
                  <a:pt x="47" y="14"/>
                  <a:pt x="48" y="14"/>
                </a:cubicBezTo>
                <a:cubicBezTo>
                  <a:pt x="48" y="14"/>
                  <a:pt x="48" y="14"/>
                  <a:pt x="48" y="14"/>
                </a:cubicBezTo>
                <a:cubicBezTo>
                  <a:pt x="48" y="15"/>
                  <a:pt x="48" y="15"/>
                  <a:pt x="49" y="15"/>
                </a:cubicBezTo>
                <a:cubicBezTo>
                  <a:pt x="49" y="15"/>
                  <a:pt x="49" y="16"/>
                  <a:pt x="49" y="16"/>
                </a:cubicBezTo>
                <a:cubicBezTo>
                  <a:pt x="49" y="16"/>
                  <a:pt x="50" y="16"/>
                  <a:pt x="50" y="16"/>
                </a:cubicBezTo>
                <a:cubicBezTo>
                  <a:pt x="50" y="16"/>
                  <a:pt x="50" y="16"/>
                  <a:pt x="49" y="16"/>
                </a:cubicBezTo>
                <a:cubicBezTo>
                  <a:pt x="49" y="15"/>
                  <a:pt x="50" y="16"/>
                  <a:pt x="51" y="16"/>
                </a:cubicBezTo>
                <a:cubicBezTo>
                  <a:pt x="51" y="16"/>
                  <a:pt x="51" y="17"/>
                  <a:pt x="51" y="17"/>
                </a:cubicBezTo>
                <a:cubicBezTo>
                  <a:pt x="51" y="17"/>
                  <a:pt x="51" y="16"/>
                  <a:pt x="50" y="16"/>
                </a:cubicBezTo>
                <a:cubicBezTo>
                  <a:pt x="50" y="15"/>
                  <a:pt x="49" y="16"/>
                  <a:pt x="49" y="15"/>
                </a:cubicBezTo>
                <a:cubicBezTo>
                  <a:pt x="49" y="15"/>
                  <a:pt x="48" y="12"/>
                  <a:pt x="48" y="12"/>
                </a:cubicBezTo>
                <a:cubicBezTo>
                  <a:pt x="48" y="13"/>
                  <a:pt x="48" y="13"/>
                  <a:pt x="48" y="13"/>
                </a:cubicBezTo>
                <a:cubicBezTo>
                  <a:pt x="48" y="13"/>
                  <a:pt x="48" y="14"/>
                  <a:pt x="48" y="14"/>
                </a:cubicBezTo>
                <a:cubicBezTo>
                  <a:pt x="48" y="14"/>
                  <a:pt x="48" y="13"/>
                  <a:pt x="48" y="13"/>
                </a:cubicBezTo>
                <a:cubicBezTo>
                  <a:pt x="47" y="13"/>
                  <a:pt x="47" y="14"/>
                  <a:pt x="47" y="14"/>
                </a:cubicBezTo>
                <a:cubicBezTo>
                  <a:pt x="46" y="14"/>
                  <a:pt x="47" y="14"/>
                  <a:pt x="47" y="14"/>
                </a:cubicBezTo>
                <a:cubicBezTo>
                  <a:pt x="47" y="13"/>
                  <a:pt x="47" y="13"/>
                  <a:pt x="47" y="12"/>
                </a:cubicBezTo>
                <a:cubicBezTo>
                  <a:pt x="47" y="13"/>
                  <a:pt x="47" y="13"/>
                  <a:pt x="47" y="13"/>
                </a:cubicBezTo>
                <a:cubicBezTo>
                  <a:pt x="47" y="14"/>
                  <a:pt x="47" y="13"/>
                  <a:pt x="47" y="13"/>
                </a:cubicBezTo>
                <a:cubicBezTo>
                  <a:pt x="47" y="13"/>
                  <a:pt x="46" y="14"/>
                  <a:pt x="46" y="13"/>
                </a:cubicBezTo>
                <a:cubicBezTo>
                  <a:pt x="46" y="14"/>
                  <a:pt x="45" y="14"/>
                  <a:pt x="45" y="13"/>
                </a:cubicBezTo>
                <a:cubicBezTo>
                  <a:pt x="45" y="13"/>
                  <a:pt x="45" y="13"/>
                  <a:pt x="45" y="12"/>
                </a:cubicBezTo>
                <a:cubicBezTo>
                  <a:pt x="45" y="13"/>
                  <a:pt x="46" y="14"/>
                  <a:pt x="45" y="14"/>
                </a:cubicBezTo>
                <a:cubicBezTo>
                  <a:pt x="45" y="15"/>
                  <a:pt x="45" y="14"/>
                  <a:pt x="45" y="13"/>
                </a:cubicBezTo>
                <a:cubicBezTo>
                  <a:pt x="45" y="14"/>
                  <a:pt x="44" y="12"/>
                  <a:pt x="44" y="12"/>
                </a:cubicBezTo>
                <a:cubicBezTo>
                  <a:pt x="44" y="12"/>
                  <a:pt x="45" y="12"/>
                  <a:pt x="44" y="11"/>
                </a:cubicBezTo>
                <a:cubicBezTo>
                  <a:pt x="44" y="11"/>
                  <a:pt x="44" y="11"/>
                  <a:pt x="43" y="11"/>
                </a:cubicBezTo>
                <a:cubicBezTo>
                  <a:pt x="43" y="11"/>
                  <a:pt x="44" y="10"/>
                  <a:pt x="43" y="10"/>
                </a:cubicBezTo>
                <a:cubicBezTo>
                  <a:pt x="43" y="10"/>
                  <a:pt x="43" y="11"/>
                  <a:pt x="43" y="11"/>
                </a:cubicBezTo>
                <a:cubicBezTo>
                  <a:pt x="43" y="11"/>
                  <a:pt x="43" y="10"/>
                  <a:pt x="43" y="10"/>
                </a:cubicBezTo>
                <a:cubicBezTo>
                  <a:pt x="42" y="10"/>
                  <a:pt x="42" y="9"/>
                  <a:pt x="42" y="9"/>
                </a:cubicBezTo>
                <a:cubicBezTo>
                  <a:pt x="42" y="9"/>
                  <a:pt x="41" y="10"/>
                  <a:pt x="41" y="9"/>
                </a:cubicBezTo>
                <a:cubicBezTo>
                  <a:pt x="41" y="9"/>
                  <a:pt x="41" y="8"/>
                  <a:pt x="40" y="8"/>
                </a:cubicBezTo>
                <a:cubicBezTo>
                  <a:pt x="40" y="8"/>
                  <a:pt x="39" y="8"/>
                  <a:pt x="39" y="8"/>
                </a:cubicBezTo>
                <a:cubicBezTo>
                  <a:pt x="39" y="7"/>
                  <a:pt x="39" y="7"/>
                  <a:pt x="39" y="7"/>
                </a:cubicBezTo>
                <a:cubicBezTo>
                  <a:pt x="39" y="7"/>
                  <a:pt x="39" y="7"/>
                  <a:pt x="39" y="7"/>
                </a:cubicBezTo>
                <a:cubicBezTo>
                  <a:pt x="39" y="7"/>
                  <a:pt x="38" y="8"/>
                  <a:pt x="38" y="7"/>
                </a:cubicBezTo>
                <a:cubicBezTo>
                  <a:pt x="38" y="7"/>
                  <a:pt x="34" y="7"/>
                  <a:pt x="35" y="8"/>
                </a:cubicBezTo>
                <a:cubicBezTo>
                  <a:pt x="35" y="8"/>
                  <a:pt x="34" y="8"/>
                  <a:pt x="34" y="8"/>
                </a:cubicBezTo>
                <a:cubicBezTo>
                  <a:pt x="34" y="8"/>
                  <a:pt x="35" y="9"/>
                  <a:pt x="34" y="9"/>
                </a:cubicBezTo>
                <a:cubicBezTo>
                  <a:pt x="34" y="9"/>
                  <a:pt x="33" y="9"/>
                  <a:pt x="33" y="9"/>
                </a:cubicBezTo>
                <a:cubicBezTo>
                  <a:pt x="33" y="9"/>
                  <a:pt x="32" y="10"/>
                  <a:pt x="32" y="10"/>
                </a:cubicBezTo>
                <a:cubicBezTo>
                  <a:pt x="33" y="11"/>
                  <a:pt x="32" y="11"/>
                  <a:pt x="32" y="11"/>
                </a:cubicBezTo>
                <a:cubicBezTo>
                  <a:pt x="32" y="12"/>
                  <a:pt x="32" y="12"/>
                  <a:pt x="33" y="11"/>
                </a:cubicBezTo>
                <a:cubicBezTo>
                  <a:pt x="32" y="12"/>
                  <a:pt x="31" y="12"/>
                  <a:pt x="30" y="13"/>
                </a:cubicBezTo>
                <a:cubicBezTo>
                  <a:pt x="30" y="14"/>
                  <a:pt x="30" y="14"/>
                  <a:pt x="29" y="14"/>
                </a:cubicBezTo>
                <a:cubicBezTo>
                  <a:pt x="29" y="14"/>
                  <a:pt x="26" y="16"/>
                  <a:pt x="26" y="15"/>
                </a:cubicBezTo>
                <a:cubicBezTo>
                  <a:pt x="26" y="16"/>
                  <a:pt x="24" y="17"/>
                  <a:pt x="25" y="18"/>
                </a:cubicBezTo>
                <a:cubicBezTo>
                  <a:pt x="26" y="19"/>
                  <a:pt x="26" y="18"/>
                  <a:pt x="26" y="19"/>
                </a:cubicBezTo>
                <a:cubicBezTo>
                  <a:pt x="26" y="20"/>
                  <a:pt x="27" y="20"/>
                  <a:pt x="28" y="21"/>
                </a:cubicBezTo>
                <a:cubicBezTo>
                  <a:pt x="28" y="21"/>
                  <a:pt x="28" y="21"/>
                  <a:pt x="29" y="22"/>
                </a:cubicBezTo>
                <a:cubicBezTo>
                  <a:pt x="29" y="22"/>
                  <a:pt x="29" y="23"/>
                  <a:pt x="29" y="24"/>
                </a:cubicBezTo>
                <a:cubicBezTo>
                  <a:pt x="29" y="25"/>
                  <a:pt x="27" y="24"/>
                  <a:pt x="26" y="25"/>
                </a:cubicBezTo>
                <a:cubicBezTo>
                  <a:pt x="26" y="25"/>
                  <a:pt x="26" y="25"/>
                  <a:pt x="27" y="25"/>
                </a:cubicBezTo>
                <a:cubicBezTo>
                  <a:pt x="26" y="25"/>
                  <a:pt x="26" y="25"/>
                  <a:pt x="26" y="25"/>
                </a:cubicBezTo>
                <a:cubicBezTo>
                  <a:pt x="25" y="25"/>
                  <a:pt x="26" y="26"/>
                  <a:pt x="26" y="26"/>
                </a:cubicBezTo>
                <a:cubicBezTo>
                  <a:pt x="25" y="26"/>
                  <a:pt x="25" y="27"/>
                  <a:pt x="24" y="27"/>
                </a:cubicBezTo>
                <a:cubicBezTo>
                  <a:pt x="23" y="27"/>
                  <a:pt x="21" y="28"/>
                  <a:pt x="20" y="27"/>
                </a:cubicBezTo>
                <a:cubicBezTo>
                  <a:pt x="20" y="26"/>
                  <a:pt x="20" y="26"/>
                  <a:pt x="20" y="26"/>
                </a:cubicBezTo>
                <a:cubicBezTo>
                  <a:pt x="20" y="26"/>
                  <a:pt x="20" y="26"/>
                  <a:pt x="20" y="26"/>
                </a:cubicBezTo>
                <a:cubicBezTo>
                  <a:pt x="21" y="25"/>
                  <a:pt x="20" y="25"/>
                  <a:pt x="20" y="25"/>
                </a:cubicBezTo>
                <a:cubicBezTo>
                  <a:pt x="20" y="24"/>
                  <a:pt x="20" y="24"/>
                  <a:pt x="20" y="24"/>
                </a:cubicBezTo>
                <a:cubicBezTo>
                  <a:pt x="20" y="24"/>
                  <a:pt x="20" y="23"/>
                  <a:pt x="20" y="23"/>
                </a:cubicBezTo>
                <a:cubicBezTo>
                  <a:pt x="20" y="23"/>
                  <a:pt x="19" y="22"/>
                  <a:pt x="20" y="22"/>
                </a:cubicBezTo>
                <a:cubicBezTo>
                  <a:pt x="20" y="22"/>
                  <a:pt x="19" y="21"/>
                  <a:pt x="19" y="21"/>
                </a:cubicBezTo>
                <a:cubicBezTo>
                  <a:pt x="18" y="21"/>
                  <a:pt x="19" y="20"/>
                  <a:pt x="20" y="20"/>
                </a:cubicBezTo>
                <a:cubicBezTo>
                  <a:pt x="19" y="20"/>
                  <a:pt x="19" y="20"/>
                  <a:pt x="19" y="19"/>
                </a:cubicBezTo>
                <a:cubicBezTo>
                  <a:pt x="19" y="20"/>
                  <a:pt x="19" y="20"/>
                  <a:pt x="19" y="20"/>
                </a:cubicBezTo>
                <a:cubicBezTo>
                  <a:pt x="19" y="20"/>
                  <a:pt x="19" y="20"/>
                  <a:pt x="19" y="20"/>
                </a:cubicBezTo>
                <a:cubicBezTo>
                  <a:pt x="18" y="20"/>
                  <a:pt x="18" y="20"/>
                  <a:pt x="18" y="19"/>
                </a:cubicBezTo>
                <a:cubicBezTo>
                  <a:pt x="18" y="20"/>
                  <a:pt x="18" y="20"/>
                  <a:pt x="18" y="21"/>
                </a:cubicBezTo>
                <a:cubicBezTo>
                  <a:pt x="18" y="21"/>
                  <a:pt x="18" y="21"/>
                  <a:pt x="18" y="21"/>
                </a:cubicBezTo>
                <a:cubicBezTo>
                  <a:pt x="18" y="21"/>
                  <a:pt x="17" y="21"/>
                  <a:pt x="17" y="21"/>
                </a:cubicBezTo>
                <a:cubicBezTo>
                  <a:pt x="17" y="21"/>
                  <a:pt x="18" y="21"/>
                  <a:pt x="17" y="21"/>
                </a:cubicBezTo>
                <a:cubicBezTo>
                  <a:pt x="18" y="22"/>
                  <a:pt x="18" y="22"/>
                  <a:pt x="18" y="22"/>
                </a:cubicBezTo>
                <a:cubicBezTo>
                  <a:pt x="17" y="23"/>
                  <a:pt x="17" y="22"/>
                  <a:pt x="17" y="22"/>
                </a:cubicBezTo>
                <a:cubicBezTo>
                  <a:pt x="17" y="22"/>
                  <a:pt x="16" y="22"/>
                  <a:pt x="15" y="22"/>
                </a:cubicBezTo>
                <a:cubicBezTo>
                  <a:pt x="15" y="22"/>
                  <a:pt x="15" y="21"/>
                  <a:pt x="15" y="21"/>
                </a:cubicBezTo>
                <a:cubicBezTo>
                  <a:pt x="15" y="21"/>
                  <a:pt x="15" y="21"/>
                  <a:pt x="15" y="21"/>
                </a:cubicBezTo>
                <a:cubicBezTo>
                  <a:pt x="14" y="21"/>
                  <a:pt x="14" y="21"/>
                  <a:pt x="14" y="21"/>
                </a:cubicBezTo>
                <a:cubicBezTo>
                  <a:pt x="14" y="20"/>
                  <a:pt x="14" y="20"/>
                  <a:pt x="14" y="20"/>
                </a:cubicBezTo>
                <a:cubicBezTo>
                  <a:pt x="14" y="19"/>
                  <a:pt x="14" y="19"/>
                  <a:pt x="14" y="19"/>
                </a:cubicBezTo>
                <a:cubicBezTo>
                  <a:pt x="14" y="19"/>
                  <a:pt x="14" y="19"/>
                  <a:pt x="14" y="19"/>
                </a:cubicBezTo>
                <a:cubicBezTo>
                  <a:pt x="13" y="19"/>
                  <a:pt x="13" y="18"/>
                  <a:pt x="13" y="18"/>
                </a:cubicBezTo>
                <a:cubicBezTo>
                  <a:pt x="13" y="18"/>
                  <a:pt x="13" y="18"/>
                  <a:pt x="13" y="18"/>
                </a:cubicBezTo>
                <a:cubicBezTo>
                  <a:pt x="13" y="18"/>
                  <a:pt x="13" y="18"/>
                  <a:pt x="13" y="18"/>
                </a:cubicBezTo>
                <a:cubicBezTo>
                  <a:pt x="13" y="17"/>
                  <a:pt x="13" y="17"/>
                  <a:pt x="13" y="16"/>
                </a:cubicBezTo>
                <a:cubicBezTo>
                  <a:pt x="12" y="17"/>
                  <a:pt x="13" y="17"/>
                  <a:pt x="12" y="17"/>
                </a:cubicBezTo>
                <a:cubicBezTo>
                  <a:pt x="11" y="17"/>
                  <a:pt x="10" y="16"/>
                  <a:pt x="11" y="16"/>
                </a:cubicBezTo>
                <a:cubicBezTo>
                  <a:pt x="10" y="16"/>
                  <a:pt x="10" y="16"/>
                  <a:pt x="9" y="16"/>
                </a:cubicBezTo>
                <a:cubicBezTo>
                  <a:pt x="9" y="16"/>
                  <a:pt x="9" y="17"/>
                  <a:pt x="9" y="17"/>
                </a:cubicBezTo>
                <a:cubicBezTo>
                  <a:pt x="9" y="16"/>
                  <a:pt x="9" y="16"/>
                  <a:pt x="8" y="16"/>
                </a:cubicBezTo>
                <a:cubicBezTo>
                  <a:pt x="8" y="16"/>
                  <a:pt x="8" y="15"/>
                  <a:pt x="9" y="15"/>
                </a:cubicBezTo>
                <a:cubicBezTo>
                  <a:pt x="8" y="15"/>
                  <a:pt x="7" y="15"/>
                  <a:pt x="8" y="15"/>
                </a:cubicBezTo>
                <a:cubicBezTo>
                  <a:pt x="7" y="15"/>
                  <a:pt x="7" y="15"/>
                  <a:pt x="6" y="15"/>
                </a:cubicBezTo>
                <a:cubicBezTo>
                  <a:pt x="6" y="15"/>
                  <a:pt x="6" y="15"/>
                  <a:pt x="6" y="14"/>
                </a:cubicBezTo>
                <a:cubicBezTo>
                  <a:pt x="6" y="15"/>
                  <a:pt x="6" y="15"/>
                  <a:pt x="6" y="15"/>
                </a:cubicBezTo>
                <a:cubicBezTo>
                  <a:pt x="6" y="15"/>
                  <a:pt x="6" y="15"/>
                  <a:pt x="6" y="15"/>
                </a:cubicBezTo>
                <a:cubicBezTo>
                  <a:pt x="6" y="15"/>
                  <a:pt x="5" y="15"/>
                  <a:pt x="5" y="15"/>
                </a:cubicBezTo>
                <a:cubicBezTo>
                  <a:pt x="5" y="15"/>
                  <a:pt x="4" y="15"/>
                  <a:pt x="4" y="15"/>
                </a:cubicBezTo>
                <a:cubicBezTo>
                  <a:pt x="3" y="15"/>
                  <a:pt x="3" y="15"/>
                  <a:pt x="2" y="15"/>
                </a:cubicBezTo>
                <a:cubicBezTo>
                  <a:pt x="2" y="16"/>
                  <a:pt x="2" y="17"/>
                  <a:pt x="2" y="18"/>
                </a:cubicBezTo>
                <a:cubicBezTo>
                  <a:pt x="2" y="18"/>
                  <a:pt x="2" y="18"/>
                  <a:pt x="2" y="18"/>
                </a:cubicBezTo>
                <a:cubicBezTo>
                  <a:pt x="1" y="18"/>
                  <a:pt x="2" y="17"/>
                  <a:pt x="2" y="17"/>
                </a:cubicBezTo>
                <a:cubicBezTo>
                  <a:pt x="1" y="16"/>
                  <a:pt x="1" y="16"/>
                  <a:pt x="0" y="15"/>
                </a:cubicBezTo>
                <a:cubicBezTo>
                  <a:pt x="0" y="15"/>
                  <a:pt x="1" y="14"/>
                  <a:pt x="2" y="14"/>
                </a:cubicBezTo>
                <a:cubicBezTo>
                  <a:pt x="2" y="13"/>
                  <a:pt x="3" y="12"/>
                  <a:pt x="2" y="11"/>
                </a:cubicBezTo>
                <a:cubicBezTo>
                  <a:pt x="2" y="11"/>
                  <a:pt x="2" y="11"/>
                  <a:pt x="2" y="10"/>
                </a:cubicBezTo>
                <a:cubicBezTo>
                  <a:pt x="2" y="10"/>
                  <a:pt x="2" y="10"/>
                  <a:pt x="2" y="9"/>
                </a:cubicBezTo>
                <a:cubicBezTo>
                  <a:pt x="2" y="9"/>
                  <a:pt x="4" y="8"/>
                  <a:pt x="4" y="8"/>
                </a:cubicBezTo>
                <a:cubicBezTo>
                  <a:pt x="4" y="8"/>
                  <a:pt x="2" y="6"/>
                  <a:pt x="2" y="7"/>
                </a:cubicBezTo>
                <a:cubicBezTo>
                  <a:pt x="2" y="5"/>
                  <a:pt x="2" y="4"/>
                  <a:pt x="2" y="2"/>
                </a:cubicBezTo>
                <a:cubicBezTo>
                  <a:pt x="2" y="2"/>
                  <a:pt x="2" y="2"/>
                  <a:pt x="3" y="2"/>
                </a:cubicBezTo>
                <a:cubicBezTo>
                  <a:pt x="3" y="2"/>
                  <a:pt x="3" y="1"/>
                  <a:pt x="3" y="1"/>
                </a:cubicBezTo>
                <a:cubicBezTo>
                  <a:pt x="3" y="0"/>
                  <a:pt x="4" y="2"/>
                  <a:pt x="5" y="2"/>
                </a:cubicBezTo>
                <a:cubicBezTo>
                  <a:pt x="5" y="2"/>
                  <a:pt x="5" y="2"/>
                  <a:pt x="5" y="2"/>
                </a:cubicBezTo>
                <a:cubicBezTo>
                  <a:pt x="5" y="1"/>
                  <a:pt x="6" y="2"/>
                  <a:pt x="6" y="1"/>
                </a:cubicBezTo>
                <a:cubicBezTo>
                  <a:pt x="6" y="1"/>
                  <a:pt x="7" y="3"/>
                  <a:pt x="8" y="3"/>
                </a:cubicBezTo>
                <a:cubicBezTo>
                  <a:pt x="8" y="3"/>
                  <a:pt x="7" y="3"/>
                  <a:pt x="8" y="4"/>
                </a:cubicBezTo>
                <a:cubicBezTo>
                  <a:pt x="8" y="4"/>
                  <a:pt x="7" y="4"/>
                  <a:pt x="7" y="4"/>
                </a:cubicBezTo>
                <a:cubicBezTo>
                  <a:pt x="7" y="5"/>
                  <a:pt x="8" y="6"/>
                  <a:pt x="8" y="5"/>
                </a:cubicBezTo>
                <a:cubicBezTo>
                  <a:pt x="8" y="5"/>
                  <a:pt x="9" y="6"/>
                  <a:pt x="9" y="5"/>
                </a:cubicBezTo>
                <a:cubicBezTo>
                  <a:pt x="9" y="5"/>
                  <a:pt x="10" y="5"/>
                  <a:pt x="9" y="6"/>
                </a:cubicBezTo>
                <a:cubicBezTo>
                  <a:pt x="9" y="6"/>
                  <a:pt x="9" y="5"/>
                  <a:pt x="9" y="5"/>
                </a:cubicBezTo>
                <a:cubicBezTo>
                  <a:pt x="8" y="6"/>
                  <a:pt x="8" y="6"/>
                  <a:pt x="8" y="6"/>
                </a:cubicBezTo>
                <a:cubicBezTo>
                  <a:pt x="8" y="6"/>
                  <a:pt x="8" y="7"/>
                  <a:pt x="8" y="7"/>
                </a:cubicBezTo>
                <a:cubicBezTo>
                  <a:pt x="8" y="7"/>
                  <a:pt x="8" y="7"/>
                  <a:pt x="8" y="7"/>
                </a:cubicBezTo>
                <a:cubicBezTo>
                  <a:pt x="9" y="7"/>
                  <a:pt x="9" y="7"/>
                  <a:pt x="9" y="7"/>
                </a:cubicBezTo>
                <a:cubicBezTo>
                  <a:pt x="10" y="8"/>
                  <a:pt x="10" y="8"/>
                  <a:pt x="10" y="8"/>
                </a:cubicBezTo>
                <a:cubicBezTo>
                  <a:pt x="10" y="8"/>
                  <a:pt x="11" y="8"/>
                  <a:pt x="11" y="8"/>
                </a:cubicBezTo>
                <a:cubicBezTo>
                  <a:pt x="11" y="8"/>
                  <a:pt x="11" y="8"/>
                  <a:pt x="11" y="8"/>
                </a:cubicBezTo>
                <a:cubicBezTo>
                  <a:pt x="11" y="8"/>
                  <a:pt x="11" y="8"/>
                  <a:pt x="12" y="8"/>
                </a:cubicBezTo>
                <a:cubicBezTo>
                  <a:pt x="12" y="8"/>
                  <a:pt x="13" y="8"/>
                  <a:pt x="13" y="8"/>
                </a:cubicBezTo>
                <a:cubicBezTo>
                  <a:pt x="13" y="8"/>
                  <a:pt x="12" y="6"/>
                  <a:pt x="11" y="6"/>
                </a:cubicBezTo>
                <a:cubicBezTo>
                  <a:pt x="12" y="6"/>
                  <a:pt x="12" y="6"/>
                  <a:pt x="12" y="6"/>
                </a:cubicBezTo>
                <a:cubicBezTo>
                  <a:pt x="12" y="6"/>
                  <a:pt x="12" y="6"/>
                  <a:pt x="12" y="6"/>
                </a:cubicBezTo>
                <a:cubicBezTo>
                  <a:pt x="12" y="5"/>
                  <a:pt x="13" y="6"/>
                  <a:pt x="12" y="6"/>
                </a:cubicBezTo>
                <a:cubicBezTo>
                  <a:pt x="13" y="6"/>
                  <a:pt x="12" y="7"/>
                  <a:pt x="13" y="7"/>
                </a:cubicBezTo>
                <a:cubicBezTo>
                  <a:pt x="13" y="7"/>
                  <a:pt x="13" y="7"/>
                  <a:pt x="14" y="7"/>
                </a:cubicBezTo>
                <a:cubicBezTo>
                  <a:pt x="14" y="8"/>
                  <a:pt x="15" y="9"/>
                  <a:pt x="15" y="10"/>
                </a:cubicBezTo>
                <a:cubicBezTo>
                  <a:pt x="16" y="10"/>
                  <a:pt x="17" y="10"/>
                  <a:pt x="18" y="10"/>
                </a:cubicBezTo>
                <a:cubicBezTo>
                  <a:pt x="19" y="10"/>
                  <a:pt x="20" y="9"/>
                  <a:pt x="21" y="9"/>
                </a:cubicBezTo>
                <a:cubicBezTo>
                  <a:pt x="22" y="9"/>
                  <a:pt x="22" y="8"/>
                  <a:pt x="23" y="8"/>
                </a:cubicBezTo>
                <a:cubicBezTo>
                  <a:pt x="24" y="7"/>
                  <a:pt x="25" y="6"/>
                  <a:pt x="26" y="6"/>
                </a:cubicBezTo>
                <a:cubicBezTo>
                  <a:pt x="27" y="6"/>
                  <a:pt x="28" y="6"/>
                  <a:pt x="29" y="5"/>
                </a:cubicBezTo>
                <a:cubicBezTo>
                  <a:pt x="30" y="5"/>
                  <a:pt x="31" y="3"/>
                  <a:pt x="31" y="3"/>
                </a:cubicBezTo>
                <a:cubicBezTo>
                  <a:pt x="31" y="3"/>
                  <a:pt x="31" y="4"/>
                  <a:pt x="31" y="4"/>
                </a:cubicBezTo>
                <a:cubicBezTo>
                  <a:pt x="31" y="4"/>
                  <a:pt x="31" y="3"/>
                  <a:pt x="32" y="4"/>
                </a:cubicBezTo>
                <a:cubicBezTo>
                  <a:pt x="31" y="3"/>
                  <a:pt x="32" y="3"/>
                  <a:pt x="32" y="3"/>
                </a:cubicBezTo>
                <a:cubicBezTo>
                  <a:pt x="32" y="3"/>
                  <a:pt x="32" y="3"/>
                  <a:pt x="32" y="3"/>
                </a:cubicBezTo>
                <a:cubicBezTo>
                  <a:pt x="33" y="2"/>
                  <a:pt x="33" y="2"/>
                  <a:pt x="34" y="1"/>
                </a:cubicBezTo>
                <a:cubicBezTo>
                  <a:pt x="33" y="1"/>
                  <a:pt x="35" y="1"/>
                  <a:pt x="35" y="1"/>
                </a:cubicBezTo>
                <a:cubicBezTo>
                  <a:pt x="35" y="0"/>
                  <a:pt x="35" y="1"/>
                  <a:pt x="36" y="1"/>
                </a:cubicBezTo>
                <a:cubicBezTo>
                  <a:pt x="36" y="1"/>
                  <a:pt x="37" y="1"/>
                  <a:pt x="38" y="1"/>
                </a:cubicBezTo>
                <a:cubicBezTo>
                  <a:pt x="39" y="2"/>
                  <a:pt x="40" y="1"/>
                  <a:pt x="40" y="1"/>
                </a:cubicBezTo>
                <a:cubicBezTo>
                  <a:pt x="40" y="2"/>
                  <a:pt x="39" y="2"/>
                  <a:pt x="39" y="2"/>
                </a:cubicBezTo>
                <a:cubicBezTo>
                  <a:pt x="39" y="3"/>
                  <a:pt x="40" y="3"/>
                  <a:pt x="40" y="2"/>
                </a:cubicBezTo>
                <a:cubicBezTo>
                  <a:pt x="41" y="2"/>
                  <a:pt x="41" y="3"/>
                  <a:pt x="42" y="3"/>
                </a:cubicBezTo>
                <a:cubicBezTo>
                  <a:pt x="42" y="3"/>
                  <a:pt x="42" y="3"/>
                  <a:pt x="43" y="3"/>
                </a:cubicBezTo>
                <a:cubicBezTo>
                  <a:pt x="43" y="3"/>
                  <a:pt x="43" y="3"/>
                  <a:pt x="44" y="3"/>
                </a:cubicBezTo>
                <a:cubicBezTo>
                  <a:pt x="47" y="2"/>
                  <a:pt x="46" y="4"/>
                  <a:pt x="48" y="4"/>
                </a:cubicBezTo>
                <a:cubicBezTo>
                  <a:pt x="49" y="4"/>
                  <a:pt x="49" y="5"/>
                  <a:pt x="49" y="5"/>
                </a:cubicBezTo>
                <a:cubicBezTo>
                  <a:pt x="50" y="6"/>
                  <a:pt x="50" y="6"/>
                  <a:pt x="51" y="7"/>
                </a:cubicBezTo>
                <a:cubicBezTo>
                  <a:pt x="51" y="7"/>
                  <a:pt x="51" y="6"/>
                  <a:pt x="51" y="6"/>
                </a:cubicBezTo>
                <a:cubicBezTo>
                  <a:pt x="51" y="7"/>
                  <a:pt x="52" y="7"/>
                  <a:pt x="52" y="8"/>
                </a:cubicBezTo>
                <a:cubicBezTo>
                  <a:pt x="52" y="9"/>
                  <a:pt x="52" y="9"/>
                  <a:pt x="53" y="9"/>
                </a:cubicBezTo>
                <a:cubicBezTo>
                  <a:pt x="53" y="9"/>
                  <a:pt x="53" y="9"/>
                  <a:pt x="53" y="9"/>
                </a:cubicBezTo>
                <a:cubicBezTo>
                  <a:pt x="53" y="9"/>
                  <a:pt x="54" y="10"/>
                  <a:pt x="54" y="10"/>
                </a:cubicBezTo>
                <a:cubicBezTo>
                  <a:pt x="53" y="11"/>
                  <a:pt x="55" y="11"/>
                  <a:pt x="55" y="11"/>
                </a:cubicBezTo>
                <a:cubicBezTo>
                  <a:pt x="55" y="11"/>
                  <a:pt x="55" y="11"/>
                  <a:pt x="55" y="11"/>
                </a:cubicBezTo>
                <a:cubicBezTo>
                  <a:pt x="55" y="12"/>
                  <a:pt x="55" y="12"/>
                  <a:pt x="54" y="12"/>
                </a:cubicBezTo>
                <a:cubicBezTo>
                  <a:pt x="54" y="13"/>
                  <a:pt x="54" y="13"/>
                  <a:pt x="54" y="13"/>
                </a:cubicBezTo>
                <a:cubicBezTo>
                  <a:pt x="55" y="13"/>
                  <a:pt x="55" y="14"/>
                  <a:pt x="55" y="14"/>
                </a:cubicBezTo>
                <a:cubicBezTo>
                  <a:pt x="55" y="14"/>
                  <a:pt x="55" y="15"/>
                  <a:pt x="55" y="15"/>
                </a:cubicBezTo>
                <a:cubicBezTo>
                  <a:pt x="56" y="15"/>
                  <a:pt x="56" y="16"/>
                  <a:pt x="56" y="16"/>
                </a:cubicBezTo>
                <a:cubicBezTo>
                  <a:pt x="56" y="17"/>
                  <a:pt x="57" y="19"/>
                  <a:pt x="57" y="19"/>
                </a:cubicBezTo>
                <a:cubicBezTo>
                  <a:pt x="56" y="19"/>
                  <a:pt x="56" y="19"/>
                  <a:pt x="55" y="20"/>
                </a:cubicBezTo>
                <a:close/>
                <a:moveTo>
                  <a:pt x="39" y="6"/>
                </a:moveTo>
                <a:cubicBezTo>
                  <a:pt x="39" y="6"/>
                  <a:pt x="39" y="6"/>
                  <a:pt x="39" y="6"/>
                </a:cubicBezTo>
                <a:cubicBezTo>
                  <a:pt x="39" y="6"/>
                  <a:pt x="39" y="6"/>
                  <a:pt x="39" y="6"/>
                </a:cubicBezTo>
                <a:cubicBezTo>
                  <a:pt x="39" y="6"/>
                  <a:pt x="39" y="6"/>
                  <a:pt x="39" y="6"/>
                </a:cubicBezTo>
                <a:close/>
                <a:moveTo>
                  <a:pt x="40" y="6"/>
                </a:moveTo>
                <a:cubicBezTo>
                  <a:pt x="40" y="6"/>
                  <a:pt x="40" y="6"/>
                  <a:pt x="40" y="6"/>
                </a:cubicBezTo>
                <a:cubicBezTo>
                  <a:pt x="40" y="6"/>
                  <a:pt x="40" y="6"/>
                  <a:pt x="40" y="6"/>
                </a:cubicBezTo>
                <a:close/>
                <a:moveTo>
                  <a:pt x="38" y="15"/>
                </a:moveTo>
                <a:cubicBezTo>
                  <a:pt x="38" y="15"/>
                  <a:pt x="38" y="16"/>
                  <a:pt x="38" y="16"/>
                </a:cubicBezTo>
                <a:cubicBezTo>
                  <a:pt x="38" y="16"/>
                  <a:pt x="38" y="16"/>
                  <a:pt x="39" y="16"/>
                </a:cubicBezTo>
                <a:cubicBezTo>
                  <a:pt x="39" y="15"/>
                  <a:pt x="38" y="15"/>
                  <a:pt x="38" y="15"/>
                </a:cubicBezTo>
                <a:close/>
                <a:moveTo>
                  <a:pt x="17" y="24"/>
                </a:moveTo>
                <a:cubicBezTo>
                  <a:pt x="17" y="24"/>
                  <a:pt x="18" y="24"/>
                  <a:pt x="18" y="24"/>
                </a:cubicBezTo>
                <a:cubicBezTo>
                  <a:pt x="18" y="24"/>
                  <a:pt x="18" y="23"/>
                  <a:pt x="18" y="23"/>
                </a:cubicBezTo>
                <a:cubicBezTo>
                  <a:pt x="18" y="23"/>
                  <a:pt x="20" y="24"/>
                  <a:pt x="19" y="23"/>
                </a:cubicBezTo>
                <a:cubicBezTo>
                  <a:pt x="19" y="23"/>
                  <a:pt x="17" y="24"/>
                  <a:pt x="17" y="24"/>
                </a:cubicBezTo>
                <a:close/>
                <a:moveTo>
                  <a:pt x="41" y="13"/>
                </a:moveTo>
                <a:cubicBezTo>
                  <a:pt x="39" y="13"/>
                  <a:pt x="40" y="14"/>
                  <a:pt x="40" y="15"/>
                </a:cubicBezTo>
                <a:cubicBezTo>
                  <a:pt x="40" y="15"/>
                  <a:pt x="40" y="15"/>
                  <a:pt x="40" y="15"/>
                </a:cubicBezTo>
                <a:cubicBezTo>
                  <a:pt x="40" y="15"/>
                  <a:pt x="40" y="16"/>
                  <a:pt x="40" y="16"/>
                </a:cubicBezTo>
                <a:cubicBezTo>
                  <a:pt x="40" y="16"/>
                  <a:pt x="40" y="15"/>
                  <a:pt x="40" y="15"/>
                </a:cubicBezTo>
                <a:cubicBezTo>
                  <a:pt x="41" y="15"/>
                  <a:pt x="41" y="14"/>
                  <a:pt x="41" y="14"/>
                </a:cubicBezTo>
                <a:cubicBezTo>
                  <a:pt x="41" y="14"/>
                  <a:pt x="41" y="13"/>
                  <a:pt x="41" y="13"/>
                </a:cubicBezTo>
                <a:close/>
                <a:moveTo>
                  <a:pt x="38" y="14"/>
                </a:moveTo>
                <a:cubicBezTo>
                  <a:pt x="38" y="14"/>
                  <a:pt x="38" y="14"/>
                  <a:pt x="39" y="14"/>
                </a:cubicBezTo>
                <a:cubicBezTo>
                  <a:pt x="39" y="14"/>
                  <a:pt x="39" y="14"/>
                  <a:pt x="38" y="14"/>
                </a:cubicBezTo>
                <a:close/>
                <a:moveTo>
                  <a:pt x="10" y="4"/>
                </a:moveTo>
                <a:cubicBezTo>
                  <a:pt x="10" y="4"/>
                  <a:pt x="9" y="3"/>
                  <a:pt x="9" y="3"/>
                </a:cubicBezTo>
                <a:cubicBezTo>
                  <a:pt x="9" y="4"/>
                  <a:pt x="9" y="4"/>
                  <a:pt x="9" y="4"/>
                </a:cubicBezTo>
                <a:cubicBezTo>
                  <a:pt x="9" y="5"/>
                  <a:pt x="10" y="4"/>
                  <a:pt x="10" y="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3" name="Palau"/>
          <p:cNvSpPr>
            <a:spLocks noEditPoints="1"/>
          </p:cNvSpPr>
          <p:nvPr/>
        </p:nvSpPr>
        <p:spPr bwMode="auto">
          <a:xfrm>
            <a:off x="10422910" y="4355948"/>
            <a:ext cx="79997" cy="97997"/>
          </a:xfrm>
          <a:custGeom>
            <a:avLst/>
            <a:gdLst/>
            <a:ahLst/>
            <a:cxnLst>
              <a:cxn ang="0">
                <a:pos x="22" y="2"/>
              </a:cxn>
              <a:cxn ang="0">
                <a:pos x="22" y="4"/>
              </a:cxn>
              <a:cxn ang="0">
                <a:pos x="22" y="4"/>
              </a:cxn>
              <a:cxn ang="0">
                <a:pos x="21" y="4"/>
              </a:cxn>
              <a:cxn ang="0">
                <a:pos x="21" y="3"/>
              </a:cxn>
              <a:cxn ang="0">
                <a:pos x="21" y="3"/>
              </a:cxn>
              <a:cxn ang="0">
                <a:pos x="21" y="2"/>
              </a:cxn>
              <a:cxn ang="0">
                <a:pos x="22" y="0"/>
              </a:cxn>
              <a:cxn ang="0">
                <a:pos x="22" y="2"/>
              </a:cxn>
              <a:cxn ang="0">
                <a:pos x="19" y="9"/>
              </a:cxn>
              <a:cxn ang="0">
                <a:pos x="19" y="8"/>
              </a:cxn>
              <a:cxn ang="0">
                <a:pos x="19" y="9"/>
              </a:cxn>
              <a:cxn ang="0">
                <a:pos x="18" y="10"/>
              </a:cxn>
              <a:cxn ang="0">
                <a:pos x="18" y="10"/>
              </a:cxn>
              <a:cxn ang="0">
                <a:pos x="0" y="27"/>
              </a:cxn>
              <a:cxn ang="0">
                <a:pos x="0" y="27"/>
              </a:cxn>
              <a:cxn ang="0">
                <a:pos x="0" y="27"/>
              </a:cxn>
              <a:cxn ang="0">
                <a:pos x="20" y="6"/>
              </a:cxn>
              <a:cxn ang="0">
                <a:pos x="19" y="5"/>
              </a:cxn>
              <a:cxn ang="0">
                <a:pos x="20" y="6"/>
              </a:cxn>
              <a:cxn ang="0">
                <a:pos x="20" y="5"/>
              </a:cxn>
              <a:cxn ang="0">
                <a:pos x="20" y="6"/>
              </a:cxn>
            </a:cxnLst>
            <a:rect l="0" t="0" r="r" b="b"/>
            <a:pathLst>
              <a:path w="22" h="27">
                <a:moveTo>
                  <a:pt x="22" y="2"/>
                </a:moveTo>
                <a:cubicBezTo>
                  <a:pt x="22" y="3"/>
                  <a:pt x="22" y="3"/>
                  <a:pt x="22" y="4"/>
                </a:cubicBezTo>
                <a:cubicBezTo>
                  <a:pt x="22" y="4"/>
                  <a:pt x="22" y="4"/>
                  <a:pt x="22" y="4"/>
                </a:cubicBezTo>
                <a:cubicBezTo>
                  <a:pt x="21" y="4"/>
                  <a:pt x="21" y="4"/>
                  <a:pt x="21" y="4"/>
                </a:cubicBezTo>
                <a:cubicBezTo>
                  <a:pt x="21" y="4"/>
                  <a:pt x="21" y="4"/>
                  <a:pt x="21" y="3"/>
                </a:cubicBezTo>
                <a:cubicBezTo>
                  <a:pt x="21" y="3"/>
                  <a:pt x="21" y="3"/>
                  <a:pt x="21" y="3"/>
                </a:cubicBezTo>
                <a:cubicBezTo>
                  <a:pt x="21" y="3"/>
                  <a:pt x="21" y="2"/>
                  <a:pt x="21" y="2"/>
                </a:cubicBezTo>
                <a:cubicBezTo>
                  <a:pt x="22" y="1"/>
                  <a:pt x="21" y="1"/>
                  <a:pt x="22" y="0"/>
                </a:cubicBezTo>
                <a:cubicBezTo>
                  <a:pt x="22" y="0"/>
                  <a:pt x="22" y="2"/>
                  <a:pt x="22" y="2"/>
                </a:cubicBezTo>
                <a:close/>
                <a:moveTo>
                  <a:pt x="19" y="9"/>
                </a:moveTo>
                <a:cubicBezTo>
                  <a:pt x="19" y="8"/>
                  <a:pt x="19" y="8"/>
                  <a:pt x="19" y="8"/>
                </a:cubicBezTo>
                <a:cubicBezTo>
                  <a:pt x="19" y="8"/>
                  <a:pt x="19" y="8"/>
                  <a:pt x="19" y="9"/>
                </a:cubicBezTo>
                <a:close/>
                <a:moveTo>
                  <a:pt x="18" y="10"/>
                </a:moveTo>
                <a:cubicBezTo>
                  <a:pt x="19" y="9"/>
                  <a:pt x="17" y="9"/>
                  <a:pt x="18" y="10"/>
                </a:cubicBezTo>
                <a:close/>
                <a:moveTo>
                  <a:pt x="0" y="27"/>
                </a:moveTo>
                <a:cubicBezTo>
                  <a:pt x="0" y="27"/>
                  <a:pt x="0" y="27"/>
                  <a:pt x="0" y="27"/>
                </a:cubicBezTo>
                <a:cubicBezTo>
                  <a:pt x="0" y="27"/>
                  <a:pt x="0" y="27"/>
                  <a:pt x="0" y="27"/>
                </a:cubicBezTo>
                <a:close/>
                <a:moveTo>
                  <a:pt x="20" y="6"/>
                </a:moveTo>
                <a:cubicBezTo>
                  <a:pt x="20" y="6"/>
                  <a:pt x="19" y="5"/>
                  <a:pt x="19" y="5"/>
                </a:cubicBezTo>
                <a:cubicBezTo>
                  <a:pt x="19" y="6"/>
                  <a:pt x="20" y="6"/>
                  <a:pt x="20" y="6"/>
                </a:cubicBezTo>
                <a:cubicBezTo>
                  <a:pt x="20" y="6"/>
                  <a:pt x="21" y="5"/>
                  <a:pt x="20" y="5"/>
                </a:cubicBezTo>
                <a:cubicBezTo>
                  <a:pt x="20" y="5"/>
                  <a:pt x="20" y="6"/>
                  <a:pt x="20" y="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4" name="Pakistan"/>
          <p:cNvSpPr>
            <a:spLocks noEditPoints="1"/>
          </p:cNvSpPr>
          <p:nvPr/>
        </p:nvSpPr>
        <p:spPr bwMode="auto">
          <a:xfrm>
            <a:off x="7858005" y="3191992"/>
            <a:ext cx="523980" cy="530980"/>
          </a:xfrm>
          <a:custGeom>
            <a:avLst/>
            <a:gdLst/>
            <a:ahLst/>
            <a:cxnLst>
              <a:cxn ang="0">
                <a:pos x="131" y="26"/>
              </a:cxn>
              <a:cxn ang="0">
                <a:pos x="115" y="25"/>
              </a:cxn>
              <a:cxn ang="0">
                <a:pos x="113" y="31"/>
              </a:cxn>
              <a:cxn ang="0">
                <a:pos x="117" y="44"/>
              </a:cxn>
              <a:cxn ang="0">
                <a:pos x="123" y="50"/>
              </a:cxn>
              <a:cxn ang="0">
                <a:pos x="128" y="55"/>
              </a:cxn>
              <a:cxn ang="0">
                <a:pos x="126" y="65"/>
              </a:cxn>
              <a:cxn ang="0">
                <a:pos x="121" y="71"/>
              </a:cxn>
              <a:cxn ang="0">
                <a:pos x="116" y="81"/>
              </a:cxn>
              <a:cxn ang="0">
                <a:pos x="106" y="98"/>
              </a:cxn>
              <a:cxn ang="0">
                <a:pos x="86" y="107"/>
              </a:cxn>
              <a:cxn ang="0">
                <a:pos x="92" y="121"/>
              </a:cxn>
              <a:cxn ang="0">
                <a:pos x="101" y="133"/>
              </a:cxn>
              <a:cxn ang="0">
                <a:pos x="99" y="139"/>
              </a:cxn>
              <a:cxn ang="0">
                <a:pos x="85" y="140"/>
              </a:cxn>
              <a:cxn ang="0">
                <a:pos x="78" y="144"/>
              </a:cxn>
              <a:cxn ang="0">
                <a:pos x="75" y="146"/>
              </a:cxn>
              <a:cxn ang="0">
                <a:pos x="74" y="145"/>
              </a:cxn>
              <a:cxn ang="0">
                <a:pos x="68" y="142"/>
              </a:cxn>
              <a:cxn ang="0">
                <a:pos x="66" y="136"/>
              </a:cxn>
              <a:cxn ang="0">
                <a:pos x="61" y="134"/>
              </a:cxn>
              <a:cxn ang="0">
                <a:pos x="55" y="127"/>
              </a:cxn>
              <a:cxn ang="0">
                <a:pos x="55" y="128"/>
              </a:cxn>
              <a:cxn ang="0">
                <a:pos x="42" y="130"/>
              </a:cxn>
              <a:cxn ang="0">
                <a:pos x="36" y="128"/>
              </a:cxn>
              <a:cxn ang="0">
                <a:pos x="31" y="130"/>
              </a:cxn>
              <a:cxn ang="0">
                <a:pos x="20" y="131"/>
              </a:cxn>
              <a:cxn ang="0">
                <a:pos x="14" y="131"/>
              </a:cxn>
              <a:cxn ang="0">
                <a:pos x="14" y="121"/>
              </a:cxn>
              <a:cxn ang="0">
                <a:pos x="22" y="114"/>
              </a:cxn>
              <a:cxn ang="0">
                <a:pos x="24" y="108"/>
              </a:cxn>
              <a:cxn ang="0">
                <a:pos x="19" y="97"/>
              </a:cxn>
              <a:cxn ang="0">
                <a:pos x="6" y="87"/>
              </a:cxn>
              <a:cxn ang="0">
                <a:pos x="28" y="83"/>
              </a:cxn>
              <a:cxn ang="0">
                <a:pos x="50" y="77"/>
              </a:cxn>
              <a:cxn ang="0">
                <a:pos x="53" y="63"/>
              </a:cxn>
              <a:cxn ang="0">
                <a:pos x="61" y="62"/>
              </a:cxn>
              <a:cxn ang="0">
                <a:pos x="68" y="58"/>
              </a:cxn>
              <a:cxn ang="0">
                <a:pos x="73" y="58"/>
              </a:cxn>
              <a:cxn ang="0">
                <a:pos x="74" y="46"/>
              </a:cxn>
              <a:cxn ang="0">
                <a:pos x="81" y="41"/>
              </a:cxn>
              <a:cxn ang="0">
                <a:pos x="81" y="34"/>
              </a:cxn>
              <a:cxn ang="0">
                <a:pos x="87" y="30"/>
              </a:cxn>
              <a:cxn ang="0">
                <a:pos x="89" y="20"/>
              </a:cxn>
              <a:cxn ang="0">
                <a:pos x="84" y="12"/>
              </a:cxn>
              <a:cxn ang="0">
                <a:pos x="88" y="6"/>
              </a:cxn>
              <a:cxn ang="0">
                <a:pos x="94" y="3"/>
              </a:cxn>
              <a:cxn ang="0">
                <a:pos x="108" y="2"/>
              </a:cxn>
              <a:cxn ang="0">
                <a:pos x="121" y="4"/>
              </a:cxn>
              <a:cxn ang="0">
                <a:pos x="126" y="10"/>
              </a:cxn>
              <a:cxn ang="0">
                <a:pos x="137" y="16"/>
              </a:cxn>
              <a:cxn ang="0">
                <a:pos x="139" y="22"/>
              </a:cxn>
              <a:cxn ang="0">
                <a:pos x="72" y="146"/>
              </a:cxn>
              <a:cxn ang="0">
                <a:pos x="69" y="143"/>
              </a:cxn>
              <a:cxn ang="0">
                <a:pos x="70" y="145"/>
              </a:cxn>
            </a:cxnLst>
            <a:rect l="0" t="0" r="r" b="b"/>
            <a:pathLst>
              <a:path w="145" h="147">
                <a:moveTo>
                  <a:pt x="139" y="22"/>
                </a:moveTo>
                <a:cubicBezTo>
                  <a:pt x="139" y="23"/>
                  <a:pt x="139" y="23"/>
                  <a:pt x="138" y="23"/>
                </a:cubicBezTo>
                <a:cubicBezTo>
                  <a:pt x="138" y="24"/>
                  <a:pt x="137" y="23"/>
                  <a:pt x="137" y="24"/>
                </a:cubicBezTo>
                <a:cubicBezTo>
                  <a:pt x="137" y="24"/>
                  <a:pt x="137" y="24"/>
                  <a:pt x="137" y="25"/>
                </a:cubicBezTo>
                <a:cubicBezTo>
                  <a:pt x="136" y="26"/>
                  <a:pt x="135" y="26"/>
                  <a:pt x="135" y="25"/>
                </a:cubicBezTo>
                <a:cubicBezTo>
                  <a:pt x="134" y="25"/>
                  <a:pt x="134" y="26"/>
                  <a:pt x="133" y="26"/>
                </a:cubicBezTo>
                <a:cubicBezTo>
                  <a:pt x="133" y="26"/>
                  <a:pt x="132" y="26"/>
                  <a:pt x="131" y="26"/>
                </a:cubicBezTo>
                <a:cubicBezTo>
                  <a:pt x="131" y="26"/>
                  <a:pt x="130" y="27"/>
                  <a:pt x="130" y="27"/>
                </a:cubicBezTo>
                <a:cubicBezTo>
                  <a:pt x="129" y="27"/>
                  <a:pt x="129" y="28"/>
                  <a:pt x="129" y="28"/>
                </a:cubicBezTo>
                <a:cubicBezTo>
                  <a:pt x="128" y="28"/>
                  <a:pt x="127" y="28"/>
                  <a:pt x="126" y="28"/>
                </a:cubicBezTo>
                <a:cubicBezTo>
                  <a:pt x="126" y="28"/>
                  <a:pt x="125" y="28"/>
                  <a:pt x="124" y="27"/>
                </a:cubicBezTo>
                <a:cubicBezTo>
                  <a:pt x="124" y="27"/>
                  <a:pt x="123" y="26"/>
                  <a:pt x="123" y="27"/>
                </a:cubicBezTo>
                <a:cubicBezTo>
                  <a:pt x="121" y="27"/>
                  <a:pt x="119" y="26"/>
                  <a:pt x="117" y="26"/>
                </a:cubicBezTo>
                <a:cubicBezTo>
                  <a:pt x="117" y="25"/>
                  <a:pt x="116" y="25"/>
                  <a:pt x="115" y="25"/>
                </a:cubicBezTo>
                <a:cubicBezTo>
                  <a:pt x="114" y="25"/>
                  <a:pt x="114" y="25"/>
                  <a:pt x="113" y="26"/>
                </a:cubicBezTo>
                <a:cubicBezTo>
                  <a:pt x="113" y="26"/>
                  <a:pt x="112" y="26"/>
                  <a:pt x="112" y="26"/>
                </a:cubicBezTo>
                <a:cubicBezTo>
                  <a:pt x="111" y="26"/>
                  <a:pt x="111" y="27"/>
                  <a:pt x="112" y="27"/>
                </a:cubicBezTo>
                <a:cubicBezTo>
                  <a:pt x="112" y="27"/>
                  <a:pt x="112" y="28"/>
                  <a:pt x="111" y="28"/>
                </a:cubicBezTo>
                <a:cubicBezTo>
                  <a:pt x="111" y="28"/>
                  <a:pt x="111" y="29"/>
                  <a:pt x="111" y="29"/>
                </a:cubicBezTo>
                <a:cubicBezTo>
                  <a:pt x="111" y="30"/>
                  <a:pt x="112" y="30"/>
                  <a:pt x="112" y="30"/>
                </a:cubicBezTo>
                <a:cubicBezTo>
                  <a:pt x="113" y="30"/>
                  <a:pt x="113" y="31"/>
                  <a:pt x="113" y="31"/>
                </a:cubicBezTo>
                <a:cubicBezTo>
                  <a:pt x="113" y="32"/>
                  <a:pt x="112" y="32"/>
                  <a:pt x="112" y="33"/>
                </a:cubicBezTo>
                <a:cubicBezTo>
                  <a:pt x="113" y="33"/>
                  <a:pt x="113" y="34"/>
                  <a:pt x="114" y="33"/>
                </a:cubicBezTo>
                <a:cubicBezTo>
                  <a:pt x="114" y="33"/>
                  <a:pt x="116" y="33"/>
                  <a:pt x="116" y="34"/>
                </a:cubicBezTo>
                <a:cubicBezTo>
                  <a:pt x="117" y="35"/>
                  <a:pt x="114" y="35"/>
                  <a:pt x="114" y="36"/>
                </a:cubicBezTo>
                <a:cubicBezTo>
                  <a:pt x="114" y="37"/>
                  <a:pt x="115" y="38"/>
                  <a:pt x="115" y="38"/>
                </a:cubicBezTo>
                <a:cubicBezTo>
                  <a:pt x="116" y="39"/>
                  <a:pt x="117" y="40"/>
                  <a:pt x="116" y="41"/>
                </a:cubicBezTo>
                <a:cubicBezTo>
                  <a:pt x="115" y="42"/>
                  <a:pt x="117" y="43"/>
                  <a:pt x="117" y="44"/>
                </a:cubicBezTo>
                <a:cubicBezTo>
                  <a:pt x="117" y="44"/>
                  <a:pt x="118" y="44"/>
                  <a:pt x="118" y="44"/>
                </a:cubicBezTo>
                <a:cubicBezTo>
                  <a:pt x="119" y="45"/>
                  <a:pt x="119" y="45"/>
                  <a:pt x="119" y="46"/>
                </a:cubicBezTo>
                <a:cubicBezTo>
                  <a:pt x="119" y="47"/>
                  <a:pt x="119" y="47"/>
                  <a:pt x="120" y="47"/>
                </a:cubicBezTo>
                <a:cubicBezTo>
                  <a:pt x="121" y="47"/>
                  <a:pt x="121" y="47"/>
                  <a:pt x="122" y="47"/>
                </a:cubicBezTo>
                <a:cubicBezTo>
                  <a:pt x="122" y="47"/>
                  <a:pt x="122" y="46"/>
                  <a:pt x="123" y="46"/>
                </a:cubicBezTo>
                <a:cubicBezTo>
                  <a:pt x="123" y="47"/>
                  <a:pt x="123" y="48"/>
                  <a:pt x="123" y="48"/>
                </a:cubicBezTo>
                <a:cubicBezTo>
                  <a:pt x="123" y="49"/>
                  <a:pt x="123" y="49"/>
                  <a:pt x="123" y="50"/>
                </a:cubicBezTo>
                <a:cubicBezTo>
                  <a:pt x="124" y="51"/>
                  <a:pt x="124" y="50"/>
                  <a:pt x="125" y="50"/>
                </a:cubicBezTo>
                <a:cubicBezTo>
                  <a:pt x="126" y="51"/>
                  <a:pt x="126" y="50"/>
                  <a:pt x="127" y="50"/>
                </a:cubicBezTo>
                <a:cubicBezTo>
                  <a:pt x="127" y="51"/>
                  <a:pt x="128" y="51"/>
                  <a:pt x="129" y="51"/>
                </a:cubicBezTo>
                <a:cubicBezTo>
                  <a:pt x="129" y="52"/>
                  <a:pt x="131" y="53"/>
                  <a:pt x="130" y="54"/>
                </a:cubicBezTo>
                <a:cubicBezTo>
                  <a:pt x="130" y="54"/>
                  <a:pt x="129" y="54"/>
                  <a:pt x="129" y="54"/>
                </a:cubicBezTo>
                <a:cubicBezTo>
                  <a:pt x="129" y="54"/>
                  <a:pt x="129" y="55"/>
                  <a:pt x="128" y="55"/>
                </a:cubicBezTo>
                <a:cubicBezTo>
                  <a:pt x="128" y="55"/>
                  <a:pt x="128" y="55"/>
                  <a:pt x="128" y="55"/>
                </a:cubicBezTo>
                <a:cubicBezTo>
                  <a:pt x="127" y="54"/>
                  <a:pt x="127" y="55"/>
                  <a:pt x="127" y="55"/>
                </a:cubicBezTo>
                <a:cubicBezTo>
                  <a:pt x="127" y="55"/>
                  <a:pt x="126" y="55"/>
                  <a:pt x="126" y="55"/>
                </a:cubicBezTo>
                <a:cubicBezTo>
                  <a:pt x="125" y="55"/>
                  <a:pt x="126" y="56"/>
                  <a:pt x="125" y="56"/>
                </a:cubicBezTo>
                <a:cubicBezTo>
                  <a:pt x="125" y="56"/>
                  <a:pt x="124" y="56"/>
                  <a:pt x="124" y="57"/>
                </a:cubicBezTo>
                <a:cubicBezTo>
                  <a:pt x="124" y="57"/>
                  <a:pt x="123" y="57"/>
                  <a:pt x="123" y="59"/>
                </a:cubicBezTo>
                <a:cubicBezTo>
                  <a:pt x="124" y="60"/>
                  <a:pt x="125" y="61"/>
                  <a:pt x="125" y="62"/>
                </a:cubicBezTo>
                <a:cubicBezTo>
                  <a:pt x="124" y="63"/>
                  <a:pt x="124" y="65"/>
                  <a:pt x="126" y="65"/>
                </a:cubicBezTo>
                <a:cubicBezTo>
                  <a:pt x="126" y="65"/>
                  <a:pt x="126" y="66"/>
                  <a:pt x="126" y="66"/>
                </a:cubicBezTo>
                <a:cubicBezTo>
                  <a:pt x="125" y="66"/>
                  <a:pt x="125" y="66"/>
                  <a:pt x="125" y="66"/>
                </a:cubicBezTo>
                <a:cubicBezTo>
                  <a:pt x="125" y="67"/>
                  <a:pt x="124" y="67"/>
                  <a:pt x="124" y="67"/>
                </a:cubicBezTo>
                <a:cubicBezTo>
                  <a:pt x="124" y="67"/>
                  <a:pt x="124" y="68"/>
                  <a:pt x="124" y="68"/>
                </a:cubicBezTo>
                <a:cubicBezTo>
                  <a:pt x="124" y="68"/>
                  <a:pt x="124" y="68"/>
                  <a:pt x="123" y="68"/>
                </a:cubicBezTo>
                <a:cubicBezTo>
                  <a:pt x="123" y="68"/>
                  <a:pt x="123" y="69"/>
                  <a:pt x="123" y="69"/>
                </a:cubicBezTo>
                <a:cubicBezTo>
                  <a:pt x="122" y="70"/>
                  <a:pt x="122" y="70"/>
                  <a:pt x="121" y="71"/>
                </a:cubicBezTo>
                <a:cubicBezTo>
                  <a:pt x="121" y="71"/>
                  <a:pt x="121" y="71"/>
                  <a:pt x="121" y="72"/>
                </a:cubicBezTo>
                <a:cubicBezTo>
                  <a:pt x="121" y="72"/>
                  <a:pt x="121" y="72"/>
                  <a:pt x="121" y="72"/>
                </a:cubicBezTo>
                <a:cubicBezTo>
                  <a:pt x="121" y="72"/>
                  <a:pt x="121" y="72"/>
                  <a:pt x="121" y="73"/>
                </a:cubicBezTo>
                <a:cubicBezTo>
                  <a:pt x="121" y="73"/>
                  <a:pt x="120" y="73"/>
                  <a:pt x="120" y="73"/>
                </a:cubicBezTo>
                <a:cubicBezTo>
                  <a:pt x="120" y="74"/>
                  <a:pt x="122" y="75"/>
                  <a:pt x="121" y="76"/>
                </a:cubicBezTo>
                <a:cubicBezTo>
                  <a:pt x="121" y="77"/>
                  <a:pt x="119" y="77"/>
                  <a:pt x="118" y="77"/>
                </a:cubicBezTo>
                <a:cubicBezTo>
                  <a:pt x="116" y="78"/>
                  <a:pt x="116" y="79"/>
                  <a:pt x="116" y="81"/>
                </a:cubicBezTo>
                <a:cubicBezTo>
                  <a:pt x="116" y="83"/>
                  <a:pt x="115" y="85"/>
                  <a:pt x="114" y="87"/>
                </a:cubicBezTo>
                <a:cubicBezTo>
                  <a:pt x="114" y="87"/>
                  <a:pt x="114" y="88"/>
                  <a:pt x="114" y="88"/>
                </a:cubicBezTo>
                <a:cubicBezTo>
                  <a:pt x="113" y="89"/>
                  <a:pt x="112" y="89"/>
                  <a:pt x="112" y="89"/>
                </a:cubicBezTo>
                <a:cubicBezTo>
                  <a:pt x="111" y="89"/>
                  <a:pt x="111" y="90"/>
                  <a:pt x="110" y="90"/>
                </a:cubicBezTo>
                <a:cubicBezTo>
                  <a:pt x="109" y="91"/>
                  <a:pt x="109" y="91"/>
                  <a:pt x="108" y="92"/>
                </a:cubicBezTo>
                <a:cubicBezTo>
                  <a:pt x="108" y="94"/>
                  <a:pt x="108" y="95"/>
                  <a:pt x="107" y="96"/>
                </a:cubicBezTo>
                <a:cubicBezTo>
                  <a:pt x="107" y="97"/>
                  <a:pt x="106" y="97"/>
                  <a:pt x="106" y="98"/>
                </a:cubicBezTo>
                <a:cubicBezTo>
                  <a:pt x="106" y="99"/>
                  <a:pt x="106" y="100"/>
                  <a:pt x="105" y="100"/>
                </a:cubicBezTo>
                <a:cubicBezTo>
                  <a:pt x="104" y="101"/>
                  <a:pt x="102" y="101"/>
                  <a:pt x="101" y="101"/>
                </a:cubicBezTo>
                <a:cubicBezTo>
                  <a:pt x="99" y="101"/>
                  <a:pt x="98" y="102"/>
                  <a:pt x="97" y="103"/>
                </a:cubicBezTo>
                <a:cubicBezTo>
                  <a:pt x="95" y="103"/>
                  <a:pt x="95" y="102"/>
                  <a:pt x="94" y="100"/>
                </a:cubicBezTo>
                <a:cubicBezTo>
                  <a:pt x="94" y="99"/>
                  <a:pt x="92" y="99"/>
                  <a:pt x="91" y="100"/>
                </a:cubicBezTo>
                <a:cubicBezTo>
                  <a:pt x="90" y="101"/>
                  <a:pt x="89" y="102"/>
                  <a:pt x="89" y="103"/>
                </a:cubicBezTo>
                <a:cubicBezTo>
                  <a:pt x="89" y="105"/>
                  <a:pt x="87" y="106"/>
                  <a:pt x="86" y="107"/>
                </a:cubicBezTo>
                <a:cubicBezTo>
                  <a:pt x="85" y="108"/>
                  <a:pt x="85" y="110"/>
                  <a:pt x="85" y="111"/>
                </a:cubicBezTo>
                <a:cubicBezTo>
                  <a:pt x="85" y="112"/>
                  <a:pt x="85" y="113"/>
                  <a:pt x="87" y="114"/>
                </a:cubicBezTo>
                <a:cubicBezTo>
                  <a:pt x="87" y="114"/>
                  <a:pt x="88" y="114"/>
                  <a:pt x="88" y="115"/>
                </a:cubicBezTo>
                <a:cubicBezTo>
                  <a:pt x="89" y="115"/>
                  <a:pt x="89" y="115"/>
                  <a:pt x="90" y="115"/>
                </a:cubicBezTo>
                <a:cubicBezTo>
                  <a:pt x="92" y="115"/>
                  <a:pt x="92" y="116"/>
                  <a:pt x="92" y="117"/>
                </a:cubicBezTo>
                <a:cubicBezTo>
                  <a:pt x="92" y="118"/>
                  <a:pt x="92" y="119"/>
                  <a:pt x="92" y="119"/>
                </a:cubicBezTo>
                <a:cubicBezTo>
                  <a:pt x="92" y="120"/>
                  <a:pt x="92" y="121"/>
                  <a:pt x="92" y="121"/>
                </a:cubicBezTo>
                <a:cubicBezTo>
                  <a:pt x="92" y="123"/>
                  <a:pt x="94" y="125"/>
                  <a:pt x="95" y="125"/>
                </a:cubicBezTo>
                <a:cubicBezTo>
                  <a:pt x="95" y="125"/>
                  <a:pt x="96" y="125"/>
                  <a:pt x="97" y="125"/>
                </a:cubicBezTo>
                <a:cubicBezTo>
                  <a:pt x="97" y="124"/>
                  <a:pt x="98" y="125"/>
                  <a:pt x="98" y="126"/>
                </a:cubicBezTo>
                <a:cubicBezTo>
                  <a:pt x="98" y="126"/>
                  <a:pt x="98" y="127"/>
                  <a:pt x="98" y="127"/>
                </a:cubicBezTo>
                <a:cubicBezTo>
                  <a:pt x="98" y="128"/>
                  <a:pt x="99" y="129"/>
                  <a:pt x="99" y="129"/>
                </a:cubicBezTo>
                <a:cubicBezTo>
                  <a:pt x="99" y="130"/>
                  <a:pt x="100" y="130"/>
                  <a:pt x="100" y="131"/>
                </a:cubicBezTo>
                <a:cubicBezTo>
                  <a:pt x="101" y="131"/>
                  <a:pt x="101" y="132"/>
                  <a:pt x="101" y="133"/>
                </a:cubicBezTo>
                <a:cubicBezTo>
                  <a:pt x="101" y="133"/>
                  <a:pt x="103" y="136"/>
                  <a:pt x="103" y="136"/>
                </a:cubicBezTo>
                <a:cubicBezTo>
                  <a:pt x="102" y="136"/>
                  <a:pt x="102" y="137"/>
                  <a:pt x="102" y="137"/>
                </a:cubicBezTo>
                <a:cubicBezTo>
                  <a:pt x="103" y="138"/>
                  <a:pt x="102" y="138"/>
                  <a:pt x="103" y="139"/>
                </a:cubicBezTo>
                <a:cubicBezTo>
                  <a:pt x="104" y="139"/>
                  <a:pt x="103" y="139"/>
                  <a:pt x="103" y="139"/>
                </a:cubicBezTo>
                <a:cubicBezTo>
                  <a:pt x="103" y="140"/>
                  <a:pt x="101" y="139"/>
                  <a:pt x="101" y="140"/>
                </a:cubicBezTo>
                <a:cubicBezTo>
                  <a:pt x="102" y="141"/>
                  <a:pt x="99" y="141"/>
                  <a:pt x="99" y="140"/>
                </a:cubicBezTo>
                <a:cubicBezTo>
                  <a:pt x="98" y="140"/>
                  <a:pt x="99" y="139"/>
                  <a:pt x="99" y="139"/>
                </a:cubicBezTo>
                <a:cubicBezTo>
                  <a:pt x="98" y="138"/>
                  <a:pt x="97" y="139"/>
                  <a:pt x="97" y="139"/>
                </a:cubicBezTo>
                <a:cubicBezTo>
                  <a:pt x="96" y="139"/>
                  <a:pt x="96" y="140"/>
                  <a:pt x="95" y="140"/>
                </a:cubicBezTo>
                <a:cubicBezTo>
                  <a:pt x="94" y="140"/>
                  <a:pt x="94" y="141"/>
                  <a:pt x="94" y="141"/>
                </a:cubicBezTo>
                <a:cubicBezTo>
                  <a:pt x="93" y="142"/>
                  <a:pt x="92" y="142"/>
                  <a:pt x="92" y="142"/>
                </a:cubicBezTo>
                <a:cubicBezTo>
                  <a:pt x="91" y="142"/>
                  <a:pt x="90" y="141"/>
                  <a:pt x="89" y="141"/>
                </a:cubicBezTo>
                <a:cubicBezTo>
                  <a:pt x="89" y="140"/>
                  <a:pt x="88" y="140"/>
                  <a:pt x="87" y="140"/>
                </a:cubicBezTo>
                <a:cubicBezTo>
                  <a:pt x="86" y="140"/>
                  <a:pt x="86" y="141"/>
                  <a:pt x="85" y="140"/>
                </a:cubicBezTo>
                <a:cubicBezTo>
                  <a:pt x="84" y="140"/>
                  <a:pt x="84" y="141"/>
                  <a:pt x="83" y="140"/>
                </a:cubicBezTo>
                <a:cubicBezTo>
                  <a:pt x="83" y="139"/>
                  <a:pt x="83" y="141"/>
                  <a:pt x="82" y="141"/>
                </a:cubicBezTo>
                <a:cubicBezTo>
                  <a:pt x="82" y="141"/>
                  <a:pt x="82" y="139"/>
                  <a:pt x="81" y="140"/>
                </a:cubicBezTo>
                <a:cubicBezTo>
                  <a:pt x="81" y="140"/>
                  <a:pt x="81" y="142"/>
                  <a:pt x="82" y="143"/>
                </a:cubicBezTo>
                <a:cubicBezTo>
                  <a:pt x="82" y="144"/>
                  <a:pt x="82" y="144"/>
                  <a:pt x="81" y="144"/>
                </a:cubicBezTo>
                <a:cubicBezTo>
                  <a:pt x="80" y="144"/>
                  <a:pt x="78" y="144"/>
                  <a:pt x="78" y="144"/>
                </a:cubicBezTo>
                <a:cubicBezTo>
                  <a:pt x="78" y="144"/>
                  <a:pt x="78" y="144"/>
                  <a:pt x="78" y="144"/>
                </a:cubicBezTo>
                <a:cubicBezTo>
                  <a:pt x="78" y="144"/>
                  <a:pt x="78" y="144"/>
                  <a:pt x="77" y="144"/>
                </a:cubicBezTo>
                <a:cubicBezTo>
                  <a:pt x="77" y="144"/>
                  <a:pt x="77" y="145"/>
                  <a:pt x="77" y="145"/>
                </a:cubicBezTo>
                <a:cubicBezTo>
                  <a:pt x="76" y="145"/>
                  <a:pt x="77" y="146"/>
                  <a:pt x="76" y="146"/>
                </a:cubicBezTo>
                <a:cubicBezTo>
                  <a:pt x="76" y="146"/>
                  <a:pt x="76" y="145"/>
                  <a:pt x="76" y="145"/>
                </a:cubicBezTo>
                <a:cubicBezTo>
                  <a:pt x="76" y="145"/>
                  <a:pt x="76" y="147"/>
                  <a:pt x="76" y="147"/>
                </a:cubicBezTo>
                <a:cubicBezTo>
                  <a:pt x="76" y="147"/>
                  <a:pt x="76" y="147"/>
                  <a:pt x="76" y="146"/>
                </a:cubicBezTo>
                <a:cubicBezTo>
                  <a:pt x="76" y="147"/>
                  <a:pt x="75" y="147"/>
                  <a:pt x="75" y="146"/>
                </a:cubicBezTo>
                <a:cubicBezTo>
                  <a:pt x="75" y="146"/>
                  <a:pt x="75" y="146"/>
                  <a:pt x="75" y="146"/>
                </a:cubicBezTo>
                <a:cubicBezTo>
                  <a:pt x="76" y="145"/>
                  <a:pt x="75" y="144"/>
                  <a:pt x="75" y="144"/>
                </a:cubicBezTo>
                <a:cubicBezTo>
                  <a:pt x="75" y="144"/>
                  <a:pt x="75" y="144"/>
                  <a:pt x="75" y="144"/>
                </a:cubicBezTo>
                <a:cubicBezTo>
                  <a:pt x="75" y="144"/>
                  <a:pt x="75" y="144"/>
                  <a:pt x="75" y="144"/>
                </a:cubicBezTo>
                <a:cubicBezTo>
                  <a:pt x="75" y="145"/>
                  <a:pt x="75" y="145"/>
                  <a:pt x="75" y="146"/>
                </a:cubicBezTo>
                <a:cubicBezTo>
                  <a:pt x="75" y="146"/>
                  <a:pt x="75" y="146"/>
                  <a:pt x="74" y="145"/>
                </a:cubicBezTo>
                <a:cubicBezTo>
                  <a:pt x="74" y="145"/>
                  <a:pt x="74" y="145"/>
                  <a:pt x="74" y="145"/>
                </a:cubicBezTo>
                <a:cubicBezTo>
                  <a:pt x="73" y="145"/>
                  <a:pt x="73" y="145"/>
                  <a:pt x="73" y="144"/>
                </a:cubicBezTo>
                <a:cubicBezTo>
                  <a:pt x="73" y="144"/>
                  <a:pt x="74" y="144"/>
                  <a:pt x="74" y="144"/>
                </a:cubicBezTo>
                <a:cubicBezTo>
                  <a:pt x="74" y="144"/>
                  <a:pt x="74" y="143"/>
                  <a:pt x="74" y="143"/>
                </a:cubicBezTo>
                <a:cubicBezTo>
                  <a:pt x="74" y="143"/>
                  <a:pt x="74" y="143"/>
                  <a:pt x="73" y="143"/>
                </a:cubicBezTo>
                <a:cubicBezTo>
                  <a:pt x="73" y="142"/>
                  <a:pt x="72" y="143"/>
                  <a:pt x="72" y="143"/>
                </a:cubicBezTo>
                <a:cubicBezTo>
                  <a:pt x="72" y="143"/>
                  <a:pt x="72" y="142"/>
                  <a:pt x="71" y="142"/>
                </a:cubicBezTo>
                <a:cubicBezTo>
                  <a:pt x="70" y="143"/>
                  <a:pt x="69" y="144"/>
                  <a:pt x="68" y="142"/>
                </a:cubicBezTo>
                <a:cubicBezTo>
                  <a:pt x="68" y="142"/>
                  <a:pt x="67" y="139"/>
                  <a:pt x="68" y="140"/>
                </a:cubicBezTo>
                <a:cubicBezTo>
                  <a:pt x="68" y="139"/>
                  <a:pt x="67" y="140"/>
                  <a:pt x="67" y="139"/>
                </a:cubicBezTo>
                <a:cubicBezTo>
                  <a:pt x="67" y="139"/>
                  <a:pt x="67" y="138"/>
                  <a:pt x="67" y="138"/>
                </a:cubicBezTo>
                <a:cubicBezTo>
                  <a:pt x="66" y="138"/>
                  <a:pt x="67" y="138"/>
                  <a:pt x="67" y="138"/>
                </a:cubicBezTo>
                <a:cubicBezTo>
                  <a:pt x="66" y="138"/>
                  <a:pt x="66" y="137"/>
                  <a:pt x="66" y="137"/>
                </a:cubicBezTo>
                <a:cubicBezTo>
                  <a:pt x="66" y="137"/>
                  <a:pt x="66" y="137"/>
                  <a:pt x="67" y="137"/>
                </a:cubicBezTo>
                <a:cubicBezTo>
                  <a:pt x="66" y="137"/>
                  <a:pt x="66" y="137"/>
                  <a:pt x="66" y="136"/>
                </a:cubicBezTo>
                <a:cubicBezTo>
                  <a:pt x="66" y="136"/>
                  <a:pt x="67" y="136"/>
                  <a:pt x="67" y="135"/>
                </a:cubicBezTo>
                <a:cubicBezTo>
                  <a:pt x="67" y="135"/>
                  <a:pt x="65" y="134"/>
                  <a:pt x="65" y="135"/>
                </a:cubicBezTo>
                <a:cubicBezTo>
                  <a:pt x="64" y="135"/>
                  <a:pt x="64" y="135"/>
                  <a:pt x="64" y="134"/>
                </a:cubicBezTo>
                <a:cubicBezTo>
                  <a:pt x="64" y="134"/>
                  <a:pt x="64" y="135"/>
                  <a:pt x="64" y="135"/>
                </a:cubicBezTo>
                <a:cubicBezTo>
                  <a:pt x="63" y="134"/>
                  <a:pt x="63" y="134"/>
                  <a:pt x="62" y="134"/>
                </a:cubicBezTo>
                <a:cubicBezTo>
                  <a:pt x="62" y="134"/>
                  <a:pt x="61" y="134"/>
                  <a:pt x="61" y="134"/>
                </a:cubicBezTo>
                <a:cubicBezTo>
                  <a:pt x="60" y="134"/>
                  <a:pt x="61" y="134"/>
                  <a:pt x="61" y="134"/>
                </a:cubicBezTo>
                <a:cubicBezTo>
                  <a:pt x="61" y="134"/>
                  <a:pt x="61" y="132"/>
                  <a:pt x="61" y="131"/>
                </a:cubicBezTo>
                <a:cubicBezTo>
                  <a:pt x="61" y="130"/>
                  <a:pt x="61" y="130"/>
                  <a:pt x="60" y="130"/>
                </a:cubicBezTo>
                <a:cubicBezTo>
                  <a:pt x="60" y="129"/>
                  <a:pt x="59" y="128"/>
                  <a:pt x="59" y="128"/>
                </a:cubicBezTo>
                <a:cubicBezTo>
                  <a:pt x="60" y="128"/>
                  <a:pt x="59" y="127"/>
                  <a:pt x="59" y="127"/>
                </a:cubicBezTo>
                <a:cubicBezTo>
                  <a:pt x="58" y="127"/>
                  <a:pt x="58" y="126"/>
                  <a:pt x="57" y="126"/>
                </a:cubicBezTo>
                <a:cubicBezTo>
                  <a:pt x="57" y="126"/>
                  <a:pt x="56" y="126"/>
                  <a:pt x="56" y="126"/>
                </a:cubicBezTo>
                <a:cubicBezTo>
                  <a:pt x="55" y="126"/>
                  <a:pt x="55" y="127"/>
                  <a:pt x="55" y="127"/>
                </a:cubicBezTo>
                <a:cubicBezTo>
                  <a:pt x="55" y="128"/>
                  <a:pt x="56" y="127"/>
                  <a:pt x="56" y="127"/>
                </a:cubicBezTo>
                <a:cubicBezTo>
                  <a:pt x="57" y="126"/>
                  <a:pt x="57" y="127"/>
                  <a:pt x="58" y="127"/>
                </a:cubicBezTo>
                <a:cubicBezTo>
                  <a:pt x="58" y="127"/>
                  <a:pt x="58" y="127"/>
                  <a:pt x="58" y="127"/>
                </a:cubicBezTo>
                <a:cubicBezTo>
                  <a:pt x="58" y="128"/>
                  <a:pt x="58" y="128"/>
                  <a:pt x="59" y="128"/>
                </a:cubicBezTo>
                <a:cubicBezTo>
                  <a:pt x="59" y="128"/>
                  <a:pt x="59" y="128"/>
                  <a:pt x="58" y="128"/>
                </a:cubicBezTo>
                <a:cubicBezTo>
                  <a:pt x="58" y="128"/>
                  <a:pt x="58" y="128"/>
                  <a:pt x="57" y="128"/>
                </a:cubicBezTo>
                <a:cubicBezTo>
                  <a:pt x="56" y="127"/>
                  <a:pt x="55" y="127"/>
                  <a:pt x="55" y="128"/>
                </a:cubicBezTo>
                <a:cubicBezTo>
                  <a:pt x="54" y="128"/>
                  <a:pt x="53" y="128"/>
                  <a:pt x="52" y="128"/>
                </a:cubicBezTo>
                <a:cubicBezTo>
                  <a:pt x="51" y="129"/>
                  <a:pt x="50" y="128"/>
                  <a:pt x="49" y="128"/>
                </a:cubicBezTo>
                <a:cubicBezTo>
                  <a:pt x="48" y="128"/>
                  <a:pt x="48" y="129"/>
                  <a:pt x="48" y="128"/>
                </a:cubicBezTo>
                <a:cubicBezTo>
                  <a:pt x="48" y="128"/>
                  <a:pt x="47" y="129"/>
                  <a:pt x="47" y="128"/>
                </a:cubicBezTo>
                <a:cubicBezTo>
                  <a:pt x="46" y="128"/>
                  <a:pt x="46" y="129"/>
                  <a:pt x="46" y="129"/>
                </a:cubicBezTo>
                <a:cubicBezTo>
                  <a:pt x="45" y="129"/>
                  <a:pt x="44" y="129"/>
                  <a:pt x="43" y="129"/>
                </a:cubicBezTo>
                <a:cubicBezTo>
                  <a:pt x="42" y="129"/>
                  <a:pt x="41" y="130"/>
                  <a:pt x="42" y="130"/>
                </a:cubicBezTo>
                <a:cubicBezTo>
                  <a:pt x="42" y="131"/>
                  <a:pt x="41" y="131"/>
                  <a:pt x="41" y="130"/>
                </a:cubicBezTo>
                <a:cubicBezTo>
                  <a:pt x="41" y="130"/>
                  <a:pt x="40" y="130"/>
                  <a:pt x="40" y="130"/>
                </a:cubicBezTo>
                <a:cubicBezTo>
                  <a:pt x="40" y="130"/>
                  <a:pt x="39" y="130"/>
                  <a:pt x="39" y="130"/>
                </a:cubicBezTo>
                <a:cubicBezTo>
                  <a:pt x="39" y="129"/>
                  <a:pt x="38" y="129"/>
                  <a:pt x="38" y="129"/>
                </a:cubicBezTo>
                <a:cubicBezTo>
                  <a:pt x="37" y="129"/>
                  <a:pt x="36" y="129"/>
                  <a:pt x="36" y="128"/>
                </a:cubicBezTo>
                <a:cubicBezTo>
                  <a:pt x="36" y="128"/>
                  <a:pt x="36" y="128"/>
                  <a:pt x="36" y="128"/>
                </a:cubicBezTo>
                <a:cubicBezTo>
                  <a:pt x="36" y="128"/>
                  <a:pt x="36" y="128"/>
                  <a:pt x="36" y="128"/>
                </a:cubicBezTo>
                <a:cubicBezTo>
                  <a:pt x="36" y="127"/>
                  <a:pt x="35" y="128"/>
                  <a:pt x="35" y="128"/>
                </a:cubicBezTo>
                <a:cubicBezTo>
                  <a:pt x="35" y="128"/>
                  <a:pt x="35" y="128"/>
                  <a:pt x="36" y="128"/>
                </a:cubicBezTo>
                <a:cubicBezTo>
                  <a:pt x="36" y="128"/>
                  <a:pt x="36" y="129"/>
                  <a:pt x="35" y="129"/>
                </a:cubicBezTo>
                <a:cubicBezTo>
                  <a:pt x="35" y="129"/>
                  <a:pt x="34" y="129"/>
                  <a:pt x="33" y="128"/>
                </a:cubicBezTo>
                <a:cubicBezTo>
                  <a:pt x="32" y="128"/>
                  <a:pt x="31" y="128"/>
                  <a:pt x="31" y="129"/>
                </a:cubicBezTo>
                <a:cubicBezTo>
                  <a:pt x="30" y="129"/>
                  <a:pt x="30" y="130"/>
                  <a:pt x="30" y="130"/>
                </a:cubicBezTo>
                <a:cubicBezTo>
                  <a:pt x="30" y="130"/>
                  <a:pt x="31" y="130"/>
                  <a:pt x="31" y="130"/>
                </a:cubicBezTo>
                <a:cubicBezTo>
                  <a:pt x="31" y="131"/>
                  <a:pt x="29" y="130"/>
                  <a:pt x="29" y="130"/>
                </a:cubicBezTo>
                <a:cubicBezTo>
                  <a:pt x="28" y="130"/>
                  <a:pt x="28" y="130"/>
                  <a:pt x="27" y="130"/>
                </a:cubicBezTo>
                <a:cubicBezTo>
                  <a:pt x="27" y="130"/>
                  <a:pt x="26" y="130"/>
                  <a:pt x="26" y="130"/>
                </a:cubicBezTo>
                <a:cubicBezTo>
                  <a:pt x="25" y="130"/>
                  <a:pt x="23" y="130"/>
                  <a:pt x="22" y="130"/>
                </a:cubicBezTo>
                <a:cubicBezTo>
                  <a:pt x="22" y="130"/>
                  <a:pt x="20" y="130"/>
                  <a:pt x="21" y="130"/>
                </a:cubicBezTo>
                <a:cubicBezTo>
                  <a:pt x="21" y="130"/>
                  <a:pt x="19" y="130"/>
                  <a:pt x="20" y="131"/>
                </a:cubicBezTo>
                <a:cubicBezTo>
                  <a:pt x="20" y="131"/>
                  <a:pt x="20" y="131"/>
                  <a:pt x="20" y="131"/>
                </a:cubicBezTo>
                <a:cubicBezTo>
                  <a:pt x="20" y="132"/>
                  <a:pt x="19" y="131"/>
                  <a:pt x="19" y="131"/>
                </a:cubicBezTo>
                <a:cubicBezTo>
                  <a:pt x="20" y="131"/>
                  <a:pt x="19" y="130"/>
                  <a:pt x="19" y="130"/>
                </a:cubicBezTo>
                <a:cubicBezTo>
                  <a:pt x="18" y="130"/>
                  <a:pt x="17" y="130"/>
                  <a:pt x="18" y="131"/>
                </a:cubicBezTo>
                <a:cubicBezTo>
                  <a:pt x="17" y="131"/>
                  <a:pt x="16" y="131"/>
                  <a:pt x="15" y="131"/>
                </a:cubicBezTo>
                <a:cubicBezTo>
                  <a:pt x="15" y="132"/>
                  <a:pt x="15" y="132"/>
                  <a:pt x="15" y="132"/>
                </a:cubicBezTo>
                <a:cubicBezTo>
                  <a:pt x="15" y="132"/>
                  <a:pt x="15" y="132"/>
                  <a:pt x="14" y="132"/>
                </a:cubicBezTo>
                <a:cubicBezTo>
                  <a:pt x="14" y="132"/>
                  <a:pt x="14" y="131"/>
                  <a:pt x="14" y="131"/>
                </a:cubicBezTo>
                <a:cubicBezTo>
                  <a:pt x="15" y="130"/>
                  <a:pt x="13" y="130"/>
                  <a:pt x="13" y="130"/>
                </a:cubicBezTo>
                <a:cubicBezTo>
                  <a:pt x="13" y="129"/>
                  <a:pt x="13" y="128"/>
                  <a:pt x="13" y="127"/>
                </a:cubicBezTo>
                <a:cubicBezTo>
                  <a:pt x="13" y="127"/>
                  <a:pt x="13" y="126"/>
                  <a:pt x="13" y="126"/>
                </a:cubicBezTo>
                <a:cubicBezTo>
                  <a:pt x="13" y="126"/>
                  <a:pt x="13" y="125"/>
                  <a:pt x="13" y="125"/>
                </a:cubicBezTo>
                <a:cubicBezTo>
                  <a:pt x="13" y="125"/>
                  <a:pt x="13" y="124"/>
                  <a:pt x="13" y="124"/>
                </a:cubicBezTo>
                <a:cubicBezTo>
                  <a:pt x="13" y="124"/>
                  <a:pt x="13" y="124"/>
                  <a:pt x="14" y="124"/>
                </a:cubicBezTo>
                <a:cubicBezTo>
                  <a:pt x="14" y="123"/>
                  <a:pt x="14" y="121"/>
                  <a:pt x="14" y="121"/>
                </a:cubicBezTo>
                <a:cubicBezTo>
                  <a:pt x="14" y="120"/>
                  <a:pt x="14" y="119"/>
                  <a:pt x="14" y="119"/>
                </a:cubicBezTo>
                <a:cubicBezTo>
                  <a:pt x="15" y="119"/>
                  <a:pt x="16" y="118"/>
                  <a:pt x="16" y="118"/>
                </a:cubicBezTo>
                <a:cubicBezTo>
                  <a:pt x="16" y="117"/>
                  <a:pt x="17" y="118"/>
                  <a:pt x="17" y="118"/>
                </a:cubicBezTo>
                <a:cubicBezTo>
                  <a:pt x="18" y="118"/>
                  <a:pt x="18" y="117"/>
                  <a:pt x="18" y="117"/>
                </a:cubicBezTo>
                <a:cubicBezTo>
                  <a:pt x="18" y="117"/>
                  <a:pt x="18" y="117"/>
                  <a:pt x="18" y="116"/>
                </a:cubicBezTo>
                <a:cubicBezTo>
                  <a:pt x="18" y="115"/>
                  <a:pt x="19" y="115"/>
                  <a:pt x="20" y="115"/>
                </a:cubicBezTo>
                <a:cubicBezTo>
                  <a:pt x="21" y="115"/>
                  <a:pt x="22" y="115"/>
                  <a:pt x="22" y="114"/>
                </a:cubicBezTo>
                <a:cubicBezTo>
                  <a:pt x="23" y="114"/>
                  <a:pt x="24" y="115"/>
                  <a:pt x="25" y="115"/>
                </a:cubicBezTo>
                <a:cubicBezTo>
                  <a:pt x="26" y="115"/>
                  <a:pt x="26" y="115"/>
                  <a:pt x="26" y="114"/>
                </a:cubicBezTo>
                <a:cubicBezTo>
                  <a:pt x="26" y="113"/>
                  <a:pt x="26" y="112"/>
                  <a:pt x="26" y="112"/>
                </a:cubicBezTo>
                <a:cubicBezTo>
                  <a:pt x="27" y="112"/>
                  <a:pt x="26" y="111"/>
                  <a:pt x="26" y="110"/>
                </a:cubicBezTo>
                <a:cubicBezTo>
                  <a:pt x="26" y="110"/>
                  <a:pt x="26" y="109"/>
                  <a:pt x="27" y="109"/>
                </a:cubicBezTo>
                <a:cubicBezTo>
                  <a:pt x="26" y="109"/>
                  <a:pt x="26" y="108"/>
                  <a:pt x="26" y="108"/>
                </a:cubicBezTo>
                <a:cubicBezTo>
                  <a:pt x="25" y="107"/>
                  <a:pt x="25" y="108"/>
                  <a:pt x="24" y="108"/>
                </a:cubicBezTo>
                <a:cubicBezTo>
                  <a:pt x="23" y="108"/>
                  <a:pt x="22" y="108"/>
                  <a:pt x="21" y="108"/>
                </a:cubicBezTo>
                <a:cubicBezTo>
                  <a:pt x="22" y="107"/>
                  <a:pt x="21" y="107"/>
                  <a:pt x="21" y="106"/>
                </a:cubicBezTo>
                <a:cubicBezTo>
                  <a:pt x="21" y="106"/>
                  <a:pt x="22" y="106"/>
                  <a:pt x="22" y="105"/>
                </a:cubicBezTo>
                <a:cubicBezTo>
                  <a:pt x="22" y="105"/>
                  <a:pt x="21" y="104"/>
                  <a:pt x="21" y="104"/>
                </a:cubicBezTo>
                <a:cubicBezTo>
                  <a:pt x="21" y="103"/>
                  <a:pt x="21" y="102"/>
                  <a:pt x="20" y="101"/>
                </a:cubicBezTo>
                <a:cubicBezTo>
                  <a:pt x="20" y="100"/>
                  <a:pt x="20" y="99"/>
                  <a:pt x="20" y="98"/>
                </a:cubicBezTo>
                <a:cubicBezTo>
                  <a:pt x="20" y="97"/>
                  <a:pt x="20" y="97"/>
                  <a:pt x="19" y="97"/>
                </a:cubicBezTo>
                <a:cubicBezTo>
                  <a:pt x="18" y="97"/>
                  <a:pt x="18" y="97"/>
                  <a:pt x="17" y="96"/>
                </a:cubicBezTo>
                <a:cubicBezTo>
                  <a:pt x="16" y="95"/>
                  <a:pt x="14" y="94"/>
                  <a:pt x="12" y="94"/>
                </a:cubicBezTo>
                <a:cubicBezTo>
                  <a:pt x="11" y="93"/>
                  <a:pt x="11" y="93"/>
                  <a:pt x="10" y="92"/>
                </a:cubicBezTo>
                <a:cubicBezTo>
                  <a:pt x="9" y="92"/>
                  <a:pt x="9" y="91"/>
                  <a:pt x="8" y="90"/>
                </a:cubicBezTo>
                <a:cubicBezTo>
                  <a:pt x="8" y="89"/>
                  <a:pt x="7" y="89"/>
                  <a:pt x="7" y="88"/>
                </a:cubicBezTo>
                <a:cubicBezTo>
                  <a:pt x="7" y="88"/>
                  <a:pt x="7" y="88"/>
                  <a:pt x="7" y="87"/>
                </a:cubicBezTo>
                <a:cubicBezTo>
                  <a:pt x="7" y="87"/>
                  <a:pt x="6" y="87"/>
                  <a:pt x="6" y="87"/>
                </a:cubicBezTo>
                <a:cubicBezTo>
                  <a:pt x="6" y="87"/>
                  <a:pt x="5" y="86"/>
                  <a:pt x="5" y="85"/>
                </a:cubicBezTo>
                <a:cubicBezTo>
                  <a:pt x="5" y="84"/>
                  <a:pt x="5" y="84"/>
                  <a:pt x="4" y="84"/>
                </a:cubicBezTo>
                <a:cubicBezTo>
                  <a:pt x="3" y="82"/>
                  <a:pt x="1" y="81"/>
                  <a:pt x="0" y="79"/>
                </a:cubicBezTo>
                <a:cubicBezTo>
                  <a:pt x="4" y="80"/>
                  <a:pt x="8" y="82"/>
                  <a:pt x="11" y="83"/>
                </a:cubicBezTo>
                <a:cubicBezTo>
                  <a:pt x="13" y="83"/>
                  <a:pt x="15" y="84"/>
                  <a:pt x="16" y="84"/>
                </a:cubicBezTo>
                <a:cubicBezTo>
                  <a:pt x="18" y="84"/>
                  <a:pt x="20" y="84"/>
                  <a:pt x="22" y="83"/>
                </a:cubicBezTo>
                <a:cubicBezTo>
                  <a:pt x="24" y="83"/>
                  <a:pt x="26" y="83"/>
                  <a:pt x="28" y="83"/>
                </a:cubicBezTo>
                <a:cubicBezTo>
                  <a:pt x="28" y="84"/>
                  <a:pt x="29" y="84"/>
                  <a:pt x="30" y="84"/>
                </a:cubicBezTo>
                <a:cubicBezTo>
                  <a:pt x="31" y="84"/>
                  <a:pt x="31" y="84"/>
                  <a:pt x="31" y="83"/>
                </a:cubicBezTo>
                <a:cubicBezTo>
                  <a:pt x="32" y="82"/>
                  <a:pt x="35" y="82"/>
                  <a:pt x="36" y="82"/>
                </a:cubicBezTo>
                <a:cubicBezTo>
                  <a:pt x="37" y="82"/>
                  <a:pt x="38" y="83"/>
                  <a:pt x="39" y="83"/>
                </a:cubicBezTo>
                <a:cubicBezTo>
                  <a:pt x="40" y="82"/>
                  <a:pt x="41" y="82"/>
                  <a:pt x="42" y="82"/>
                </a:cubicBezTo>
                <a:cubicBezTo>
                  <a:pt x="44" y="81"/>
                  <a:pt x="46" y="80"/>
                  <a:pt x="48" y="80"/>
                </a:cubicBezTo>
                <a:cubicBezTo>
                  <a:pt x="49" y="79"/>
                  <a:pt x="52" y="79"/>
                  <a:pt x="50" y="77"/>
                </a:cubicBezTo>
                <a:cubicBezTo>
                  <a:pt x="49" y="76"/>
                  <a:pt x="50" y="75"/>
                  <a:pt x="50" y="74"/>
                </a:cubicBezTo>
                <a:cubicBezTo>
                  <a:pt x="50" y="73"/>
                  <a:pt x="50" y="72"/>
                  <a:pt x="49" y="72"/>
                </a:cubicBezTo>
                <a:cubicBezTo>
                  <a:pt x="49" y="71"/>
                  <a:pt x="49" y="70"/>
                  <a:pt x="49" y="69"/>
                </a:cubicBezTo>
                <a:cubicBezTo>
                  <a:pt x="49" y="69"/>
                  <a:pt x="49" y="68"/>
                  <a:pt x="50" y="67"/>
                </a:cubicBezTo>
                <a:cubicBezTo>
                  <a:pt x="50" y="67"/>
                  <a:pt x="51" y="67"/>
                  <a:pt x="51" y="67"/>
                </a:cubicBezTo>
                <a:cubicBezTo>
                  <a:pt x="52" y="66"/>
                  <a:pt x="52" y="65"/>
                  <a:pt x="52" y="65"/>
                </a:cubicBezTo>
                <a:cubicBezTo>
                  <a:pt x="52" y="64"/>
                  <a:pt x="53" y="64"/>
                  <a:pt x="53" y="63"/>
                </a:cubicBezTo>
                <a:cubicBezTo>
                  <a:pt x="54" y="63"/>
                  <a:pt x="54" y="63"/>
                  <a:pt x="55" y="63"/>
                </a:cubicBezTo>
                <a:cubicBezTo>
                  <a:pt x="55" y="64"/>
                  <a:pt x="55" y="64"/>
                  <a:pt x="55" y="64"/>
                </a:cubicBezTo>
                <a:cubicBezTo>
                  <a:pt x="55" y="64"/>
                  <a:pt x="56" y="64"/>
                  <a:pt x="56" y="64"/>
                </a:cubicBezTo>
                <a:cubicBezTo>
                  <a:pt x="57" y="64"/>
                  <a:pt x="57" y="64"/>
                  <a:pt x="58" y="64"/>
                </a:cubicBezTo>
                <a:cubicBezTo>
                  <a:pt x="59" y="64"/>
                  <a:pt x="60" y="64"/>
                  <a:pt x="61" y="63"/>
                </a:cubicBezTo>
                <a:cubicBezTo>
                  <a:pt x="61" y="63"/>
                  <a:pt x="61" y="63"/>
                  <a:pt x="62" y="63"/>
                </a:cubicBezTo>
                <a:cubicBezTo>
                  <a:pt x="62" y="63"/>
                  <a:pt x="61" y="62"/>
                  <a:pt x="61" y="62"/>
                </a:cubicBezTo>
                <a:cubicBezTo>
                  <a:pt x="61" y="62"/>
                  <a:pt x="60" y="62"/>
                  <a:pt x="60" y="62"/>
                </a:cubicBezTo>
                <a:cubicBezTo>
                  <a:pt x="60" y="62"/>
                  <a:pt x="60" y="61"/>
                  <a:pt x="59" y="61"/>
                </a:cubicBezTo>
                <a:cubicBezTo>
                  <a:pt x="60" y="61"/>
                  <a:pt x="61" y="61"/>
                  <a:pt x="61" y="60"/>
                </a:cubicBezTo>
                <a:cubicBezTo>
                  <a:pt x="62" y="60"/>
                  <a:pt x="62" y="60"/>
                  <a:pt x="63" y="60"/>
                </a:cubicBezTo>
                <a:cubicBezTo>
                  <a:pt x="64" y="60"/>
                  <a:pt x="64" y="57"/>
                  <a:pt x="65" y="58"/>
                </a:cubicBezTo>
                <a:cubicBezTo>
                  <a:pt x="65" y="58"/>
                  <a:pt x="66" y="58"/>
                  <a:pt x="66" y="58"/>
                </a:cubicBezTo>
                <a:cubicBezTo>
                  <a:pt x="67" y="58"/>
                  <a:pt x="67" y="59"/>
                  <a:pt x="68" y="58"/>
                </a:cubicBezTo>
                <a:cubicBezTo>
                  <a:pt x="68" y="58"/>
                  <a:pt x="68" y="58"/>
                  <a:pt x="68" y="58"/>
                </a:cubicBezTo>
                <a:cubicBezTo>
                  <a:pt x="67" y="58"/>
                  <a:pt x="66" y="58"/>
                  <a:pt x="67" y="58"/>
                </a:cubicBezTo>
                <a:cubicBezTo>
                  <a:pt x="68" y="57"/>
                  <a:pt x="68" y="58"/>
                  <a:pt x="69" y="58"/>
                </a:cubicBezTo>
                <a:cubicBezTo>
                  <a:pt x="69" y="58"/>
                  <a:pt x="69" y="58"/>
                  <a:pt x="70" y="58"/>
                </a:cubicBezTo>
                <a:cubicBezTo>
                  <a:pt x="70" y="59"/>
                  <a:pt x="70" y="59"/>
                  <a:pt x="70" y="59"/>
                </a:cubicBezTo>
                <a:cubicBezTo>
                  <a:pt x="70" y="59"/>
                  <a:pt x="71" y="60"/>
                  <a:pt x="71" y="60"/>
                </a:cubicBezTo>
                <a:cubicBezTo>
                  <a:pt x="72" y="59"/>
                  <a:pt x="73" y="59"/>
                  <a:pt x="73" y="58"/>
                </a:cubicBezTo>
                <a:cubicBezTo>
                  <a:pt x="74" y="58"/>
                  <a:pt x="74" y="57"/>
                  <a:pt x="74" y="56"/>
                </a:cubicBezTo>
                <a:cubicBezTo>
                  <a:pt x="75" y="56"/>
                  <a:pt x="74" y="55"/>
                  <a:pt x="74" y="55"/>
                </a:cubicBezTo>
                <a:cubicBezTo>
                  <a:pt x="74" y="54"/>
                  <a:pt x="74" y="53"/>
                  <a:pt x="74" y="52"/>
                </a:cubicBezTo>
                <a:cubicBezTo>
                  <a:pt x="74" y="52"/>
                  <a:pt x="73" y="51"/>
                  <a:pt x="73" y="50"/>
                </a:cubicBezTo>
                <a:cubicBezTo>
                  <a:pt x="73" y="49"/>
                  <a:pt x="74" y="49"/>
                  <a:pt x="74" y="49"/>
                </a:cubicBezTo>
                <a:cubicBezTo>
                  <a:pt x="75" y="48"/>
                  <a:pt x="74" y="48"/>
                  <a:pt x="74" y="47"/>
                </a:cubicBezTo>
                <a:cubicBezTo>
                  <a:pt x="74" y="47"/>
                  <a:pt x="74" y="47"/>
                  <a:pt x="74" y="46"/>
                </a:cubicBezTo>
                <a:cubicBezTo>
                  <a:pt x="75" y="46"/>
                  <a:pt x="74" y="45"/>
                  <a:pt x="74" y="44"/>
                </a:cubicBezTo>
                <a:cubicBezTo>
                  <a:pt x="74" y="44"/>
                  <a:pt x="75" y="44"/>
                  <a:pt x="76" y="44"/>
                </a:cubicBezTo>
                <a:cubicBezTo>
                  <a:pt x="76" y="44"/>
                  <a:pt x="77" y="43"/>
                  <a:pt x="77" y="43"/>
                </a:cubicBezTo>
                <a:cubicBezTo>
                  <a:pt x="78" y="44"/>
                  <a:pt x="78" y="43"/>
                  <a:pt x="79" y="43"/>
                </a:cubicBezTo>
                <a:cubicBezTo>
                  <a:pt x="79" y="43"/>
                  <a:pt x="79" y="43"/>
                  <a:pt x="79" y="43"/>
                </a:cubicBezTo>
                <a:cubicBezTo>
                  <a:pt x="79" y="42"/>
                  <a:pt x="79" y="42"/>
                  <a:pt x="80" y="42"/>
                </a:cubicBezTo>
                <a:cubicBezTo>
                  <a:pt x="80" y="42"/>
                  <a:pt x="81" y="42"/>
                  <a:pt x="81" y="41"/>
                </a:cubicBezTo>
                <a:cubicBezTo>
                  <a:pt x="81" y="41"/>
                  <a:pt x="81" y="40"/>
                  <a:pt x="80" y="40"/>
                </a:cubicBezTo>
                <a:cubicBezTo>
                  <a:pt x="80" y="39"/>
                  <a:pt x="79" y="39"/>
                  <a:pt x="79" y="38"/>
                </a:cubicBezTo>
                <a:cubicBezTo>
                  <a:pt x="80" y="38"/>
                  <a:pt x="79" y="37"/>
                  <a:pt x="78" y="37"/>
                </a:cubicBezTo>
                <a:cubicBezTo>
                  <a:pt x="78" y="36"/>
                  <a:pt x="77" y="37"/>
                  <a:pt x="77" y="36"/>
                </a:cubicBezTo>
                <a:cubicBezTo>
                  <a:pt x="77" y="36"/>
                  <a:pt x="76" y="35"/>
                  <a:pt x="76" y="35"/>
                </a:cubicBezTo>
                <a:cubicBezTo>
                  <a:pt x="75" y="34"/>
                  <a:pt x="76" y="33"/>
                  <a:pt x="77" y="33"/>
                </a:cubicBezTo>
                <a:cubicBezTo>
                  <a:pt x="78" y="33"/>
                  <a:pt x="79" y="34"/>
                  <a:pt x="81" y="34"/>
                </a:cubicBezTo>
                <a:cubicBezTo>
                  <a:pt x="81" y="34"/>
                  <a:pt x="82" y="34"/>
                  <a:pt x="83" y="34"/>
                </a:cubicBezTo>
                <a:cubicBezTo>
                  <a:pt x="83" y="34"/>
                  <a:pt x="84" y="34"/>
                  <a:pt x="85" y="34"/>
                </a:cubicBezTo>
                <a:cubicBezTo>
                  <a:pt x="85" y="34"/>
                  <a:pt x="85" y="33"/>
                  <a:pt x="85" y="33"/>
                </a:cubicBezTo>
                <a:cubicBezTo>
                  <a:pt x="86" y="33"/>
                  <a:pt x="86" y="33"/>
                  <a:pt x="87" y="33"/>
                </a:cubicBezTo>
                <a:cubicBezTo>
                  <a:pt x="87" y="33"/>
                  <a:pt x="86" y="32"/>
                  <a:pt x="86" y="32"/>
                </a:cubicBezTo>
                <a:cubicBezTo>
                  <a:pt x="86" y="32"/>
                  <a:pt x="87" y="32"/>
                  <a:pt x="87" y="32"/>
                </a:cubicBezTo>
                <a:cubicBezTo>
                  <a:pt x="87" y="31"/>
                  <a:pt x="87" y="31"/>
                  <a:pt x="87" y="30"/>
                </a:cubicBezTo>
                <a:cubicBezTo>
                  <a:pt x="87" y="29"/>
                  <a:pt x="85" y="29"/>
                  <a:pt x="85" y="28"/>
                </a:cubicBezTo>
                <a:cubicBezTo>
                  <a:pt x="84" y="27"/>
                  <a:pt x="86" y="28"/>
                  <a:pt x="86" y="27"/>
                </a:cubicBezTo>
                <a:cubicBezTo>
                  <a:pt x="85" y="26"/>
                  <a:pt x="85" y="26"/>
                  <a:pt x="86" y="26"/>
                </a:cubicBezTo>
                <a:cubicBezTo>
                  <a:pt x="86" y="25"/>
                  <a:pt x="87" y="25"/>
                  <a:pt x="87" y="24"/>
                </a:cubicBezTo>
                <a:cubicBezTo>
                  <a:pt x="87" y="24"/>
                  <a:pt x="87" y="24"/>
                  <a:pt x="88" y="23"/>
                </a:cubicBezTo>
                <a:cubicBezTo>
                  <a:pt x="88" y="23"/>
                  <a:pt x="88" y="23"/>
                  <a:pt x="88" y="22"/>
                </a:cubicBezTo>
                <a:cubicBezTo>
                  <a:pt x="88" y="21"/>
                  <a:pt x="90" y="21"/>
                  <a:pt x="89" y="20"/>
                </a:cubicBezTo>
                <a:cubicBezTo>
                  <a:pt x="89" y="20"/>
                  <a:pt x="88" y="20"/>
                  <a:pt x="88" y="19"/>
                </a:cubicBezTo>
                <a:cubicBezTo>
                  <a:pt x="88" y="19"/>
                  <a:pt x="89" y="18"/>
                  <a:pt x="89" y="18"/>
                </a:cubicBezTo>
                <a:cubicBezTo>
                  <a:pt x="89" y="17"/>
                  <a:pt x="88" y="17"/>
                  <a:pt x="88" y="17"/>
                </a:cubicBezTo>
                <a:cubicBezTo>
                  <a:pt x="88" y="16"/>
                  <a:pt x="87" y="16"/>
                  <a:pt x="87" y="16"/>
                </a:cubicBezTo>
                <a:cubicBezTo>
                  <a:pt x="87" y="15"/>
                  <a:pt x="87" y="15"/>
                  <a:pt x="87" y="14"/>
                </a:cubicBezTo>
                <a:cubicBezTo>
                  <a:pt x="86" y="14"/>
                  <a:pt x="85" y="13"/>
                  <a:pt x="85" y="13"/>
                </a:cubicBezTo>
                <a:cubicBezTo>
                  <a:pt x="85" y="12"/>
                  <a:pt x="85" y="12"/>
                  <a:pt x="84" y="12"/>
                </a:cubicBezTo>
                <a:cubicBezTo>
                  <a:pt x="84" y="12"/>
                  <a:pt x="83" y="11"/>
                  <a:pt x="83" y="11"/>
                </a:cubicBezTo>
                <a:cubicBezTo>
                  <a:pt x="83" y="10"/>
                  <a:pt x="83" y="10"/>
                  <a:pt x="84" y="10"/>
                </a:cubicBezTo>
                <a:cubicBezTo>
                  <a:pt x="84" y="10"/>
                  <a:pt x="85" y="9"/>
                  <a:pt x="85" y="9"/>
                </a:cubicBezTo>
                <a:cubicBezTo>
                  <a:pt x="85" y="8"/>
                  <a:pt x="86" y="8"/>
                  <a:pt x="86" y="7"/>
                </a:cubicBezTo>
                <a:cubicBezTo>
                  <a:pt x="86" y="7"/>
                  <a:pt x="86" y="6"/>
                  <a:pt x="86" y="7"/>
                </a:cubicBezTo>
                <a:cubicBezTo>
                  <a:pt x="87" y="7"/>
                  <a:pt x="88" y="7"/>
                  <a:pt x="88" y="7"/>
                </a:cubicBezTo>
                <a:cubicBezTo>
                  <a:pt x="88" y="7"/>
                  <a:pt x="87" y="7"/>
                  <a:pt x="88" y="6"/>
                </a:cubicBezTo>
                <a:cubicBezTo>
                  <a:pt x="88" y="6"/>
                  <a:pt x="89" y="6"/>
                  <a:pt x="89" y="6"/>
                </a:cubicBezTo>
                <a:cubicBezTo>
                  <a:pt x="89" y="5"/>
                  <a:pt x="90" y="5"/>
                  <a:pt x="90" y="5"/>
                </a:cubicBezTo>
                <a:cubicBezTo>
                  <a:pt x="90" y="5"/>
                  <a:pt x="90" y="5"/>
                  <a:pt x="90" y="5"/>
                </a:cubicBezTo>
                <a:cubicBezTo>
                  <a:pt x="90" y="4"/>
                  <a:pt x="91" y="5"/>
                  <a:pt x="91" y="4"/>
                </a:cubicBezTo>
                <a:cubicBezTo>
                  <a:pt x="91" y="4"/>
                  <a:pt x="90" y="4"/>
                  <a:pt x="91" y="4"/>
                </a:cubicBezTo>
                <a:cubicBezTo>
                  <a:pt x="91" y="3"/>
                  <a:pt x="92" y="3"/>
                  <a:pt x="92" y="3"/>
                </a:cubicBezTo>
                <a:cubicBezTo>
                  <a:pt x="93" y="3"/>
                  <a:pt x="93" y="3"/>
                  <a:pt x="94" y="3"/>
                </a:cubicBezTo>
                <a:cubicBezTo>
                  <a:pt x="94" y="2"/>
                  <a:pt x="95" y="2"/>
                  <a:pt x="96" y="2"/>
                </a:cubicBezTo>
                <a:cubicBezTo>
                  <a:pt x="97" y="2"/>
                  <a:pt x="98" y="2"/>
                  <a:pt x="99" y="2"/>
                </a:cubicBezTo>
                <a:cubicBezTo>
                  <a:pt x="99" y="2"/>
                  <a:pt x="100" y="2"/>
                  <a:pt x="101" y="2"/>
                </a:cubicBezTo>
                <a:cubicBezTo>
                  <a:pt x="102" y="2"/>
                  <a:pt x="103" y="2"/>
                  <a:pt x="103" y="2"/>
                </a:cubicBezTo>
                <a:cubicBezTo>
                  <a:pt x="104" y="2"/>
                  <a:pt x="105" y="2"/>
                  <a:pt x="106" y="2"/>
                </a:cubicBezTo>
                <a:cubicBezTo>
                  <a:pt x="106" y="2"/>
                  <a:pt x="107" y="3"/>
                  <a:pt x="107" y="3"/>
                </a:cubicBezTo>
                <a:cubicBezTo>
                  <a:pt x="108" y="2"/>
                  <a:pt x="107" y="2"/>
                  <a:pt x="108" y="2"/>
                </a:cubicBezTo>
                <a:cubicBezTo>
                  <a:pt x="109" y="2"/>
                  <a:pt x="109" y="2"/>
                  <a:pt x="110" y="1"/>
                </a:cubicBezTo>
                <a:cubicBezTo>
                  <a:pt x="110" y="1"/>
                  <a:pt x="110" y="0"/>
                  <a:pt x="111" y="1"/>
                </a:cubicBezTo>
                <a:cubicBezTo>
                  <a:pt x="111" y="1"/>
                  <a:pt x="112" y="1"/>
                  <a:pt x="111" y="0"/>
                </a:cubicBezTo>
                <a:cubicBezTo>
                  <a:pt x="112" y="0"/>
                  <a:pt x="112" y="0"/>
                  <a:pt x="113" y="0"/>
                </a:cubicBezTo>
                <a:cubicBezTo>
                  <a:pt x="113" y="0"/>
                  <a:pt x="115" y="1"/>
                  <a:pt x="115" y="1"/>
                </a:cubicBezTo>
                <a:cubicBezTo>
                  <a:pt x="115" y="0"/>
                  <a:pt x="118" y="1"/>
                  <a:pt x="119" y="2"/>
                </a:cubicBezTo>
                <a:cubicBezTo>
                  <a:pt x="120" y="2"/>
                  <a:pt x="120" y="4"/>
                  <a:pt x="121" y="4"/>
                </a:cubicBezTo>
                <a:cubicBezTo>
                  <a:pt x="121" y="3"/>
                  <a:pt x="122" y="3"/>
                  <a:pt x="123" y="4"/>
                </a:cubicBezTo>
                <a:cubicBezTo>
                  <a:pt x="124" y="4"/>
                  <a:pt x="124" y="5"/>
                  <a:pt x="125" y="6"/>
                </a:cubicBezTo>
                <a:cubicBezTo>
                  <a:pt x="125" y="6"/>
                  <a:pt x="126" y="6"/>
                  <a:pt x="126" y="7"/>
                </a:cubicBezTo>
                <a:cubicBezTo>
                  <a:pt x="126" y="7"/>
                  <a:pt x="126" y="8"/>
                  <a:pt x="126" y="8"/>
                </a:cubicBezTo>
                <a:cubicBezTo>
                  <a:pt x="126" y="9"/>
                  <a:pt x="127" y="9"/>
                  <a:pt x="127" y="9"/>
                </a:cubicBezTo>
                <a:cubicBezTo>
                  <a:pt x="126" y="9"/>
                  <a:pt x="127" y="9"/>
                  <a:pt x="127" y="10"/>
                </a:cubicBezTo>
                <a:cubicBezTo>
                  <a:pt x="126" y="10"/>
                  <a:pt x="126" y="10"/>
                  <a:pt x="126" y="10"/>
                </a:cubicBezTo>
                <a:cubicBezTo>
                  <a:pt x="126" y="11"/>
                  <a:pt x="126" y="11"/>
                  <a:pt x="127" y="11"/>
                </a:cubicBezTo>
                <a:cubicBezTo>
                  <a:pt x="128" y="12"/>
                  <a:pt x="128" y="12"/>
                  <a:pt x="129" y="13"/>
                </a:cubicBezTo>
                <a:cubicBezTo>
                  <a:pt x="129" y="14"/>
                  <a:pt x="129" y="14"/>
                  <a:pt x="130" y="14"/>
                </a:cubicBezTo>
                <a:cubicBezTo>
                  <a:pt x="131" y="13"/>
                  <a:pt x="132" y="12"/>
                  <a:pt x="133" y="13"/>
                </a:cubicBezTo>
                <a:cubicBezTo>
                  <a:pt x="133" y="13"/>
                  <a:pt x="133" y="14"/>
                  <a:pt x="133" y="14"/>
                </a:cubicBezTo>
                <a:cubicBezTo>
                  <a:pt x="133" y="14"/>
                  <a:pt x="134" y="15"/>
                  <a:pt x="134" y="15"/>
                </a:cubicBezTo>
                <a:cubicBezTo>
                  <a:pt x="135" y="15"/>
                  <a:pt x="136" y="16"/>
                  <a:pt x="137" y="16"/>
                </a:cubicBezTo>
                <a:cubicBezTo>
                  <a:pt x="137" y="16"/>
                  <a:pt x="137" y="16"/>
                  <a:pt x="138" y="16"/>
                </a:cubicBezTo>
                <a:cubicBezTo>
                  <a:pt x="138" y="16"/>
                  <a:pt x="139" y="17"/>
                  <a:pt x="139" y="17"/>
                </a:cubicBezTo>
                <a:cubicBezTo>
                  <a:pt x="140" y="17"/>
                  <a:pt x="141" y="17"/>
                  <a:pt x="142" y="17"/>
                </a:cubicBezTo>
                <a:cubicBezTo>
                  <a:pt x="143" y="17"/>
                  <a:pt x="143" y="18"/>
                  <a:pt x="144" y="18"/>
                </a:cubicBezTo>
                <a:cubicBezTo>
                  <a:pt x="144" y="17"/>
                  <a:pt x="144" y="17"/>
                  <a:pt x="145" y="17"/>
                </a:cubicBezTo>
                <a:cubicBezTo>
                  <a:pt x="143" y="18"/>
                  <a:pt x="142" y="19"/>
                  <a:pt x="140" y="21"/>
                </a:cubicBezTo>
                <a:cubicBezTo>
                  <a:pt x="140" y="21"/>
                  <a:pt x="139" y="21"/>
                  <a:pt x="139" y="22"/>
                </a:cubicBezTo>
                <a:close/>
                <a:moveTo>
                  <a:pt x="73" y="144"/>
                </a:moveTo>
                <a:cubicBezTo>
                  <a:pt x="73" y="144"/>
                  <a:pt x="74" y="144"/>
                  <a:pt x="74" y="144"/>
                </a:cubicBezTo>
                <a:cubicBezTo>
                  <a:pt x="74" y="144"/>
                  <a:pt x="73" y="143"/>
                  <a:pt x="72" y="143"/>
                </a:cubicBezTo>
                <a:cubicBezTo>
                  <a:pt x="72" y="143"/>
                  <a:pt x="72" y="143"/>
                  <a:pt x="72" y="143"/>
                </a:cubicBezTo>
                <a:cubicBezTo>
                  <a:pt x="72" y="144"/>
                  <a:pt x="72" y="143"/>
                  <a:pt x="72" y="143"/>
                </a:cubicBezTo>
                <a:cubicBezTo>
                  <a:pt x="72" y="144"/>
                  <a:pt x="72" y="144"/>
                  <a:pt x="71" y="145"/>
                </a:cubicBezTo>
                <a:cubicBezTo>
                  <a:pt x="71" y="145"/>
                  <a:pt x="71" y="146"/>
                  <a:pt x="72" y="146"/>
                </a:cubicBezTo>
                <a:cubicBezTo>
                  <a:pt x="72" y="146"/>
                  <a:pt x="72" y="145"/>
                  <a:pt x="72" y="145"/>
                </a:cubicBezTo>
                <a:cubicBezTo>
                  <a:pt x="72" y="145"/>
                  <a:pt x="73" y="146"/>
                  <a:pt x="73" y="145"/>
                </a:cubicBezTo>
                <a:cubicBezTo>
                  <a:pt x="73" y="145"/>
                  <a:pt x="73" y="145"/>
                  <a:pt x="73" y="144"/>
                </a:cubicBezTo>
                <a:cubicBezTo>
                  <a:pt x="74" y="144"/>
                  <a:pt x="73" y="144"/>
                  <a:pt x="73" y="144"/>
                </a:cubicBezTo>
                <a:close/>
                <a:moveTo>
                  <a:pt x="69" y="143"/>
                </a:moveTo>
                <a:cubicBezTo>
                  <a:pt x="69" y="143"/>
                  <a:pt x="69" y="143"/>
                  <a:pt x="69" y="143"/>
                </a:cubicBezTo>
                <a:cubicBezTo>
                  <a:pt x="69" y="143"/>
                  <a:pt x="69" y="143"/>
                  <a:pt x="69" y="143"/>
                </a:cubicBezTo>
                <a:cubicBezTo>
                  <a:pt x="69" y="143"/>
                  <a:pt x="69" y="143"/>
                  <a:pt x="69" y="143"/>
                </a:cubicBezTo>
                <a:close/>
                <a:moveTo>
                  <a:pt x="72" y="143"/>
                </a:moveTo>
                <a:cubicBezTo>
                  <a:pt x="71" y="142"/>
                  <a:pt x="71" y="143"/>
                  <a:pt x="70" y="143"/>
                </a:cubicBezTo>
                <a:cubicBezTo>
                  <a:pt x="70" y="143"/>
                  <a:pt x="69" y="144"/>
                  <a:pt x="70" y="144"/>
                </a:cubicBezTo>
                <a:cubicBezTo>
                  <a:pt x="70" y="144"/>
                  <a:pt x="70" y="145"/>
                  <a:pt x="70" y="144"/>
                </a:cubicBezTo>
                <a:cubicBezTo>
                  <a:pt x="70" y="144"/>
                  <a:pt x="70" y="145"/>
                  <a:pt x="70" y="145"/>
                </a:cubicBezTo>
                <a:cubicBezTo>
                  <a:pt x="70" y="145"/>
                  <a:pt x="70" y="145"/>
                  <a:pt x="70" y="145"/>
                </a:cubicBezTo>
                <a:cubicBezTo>
                  <a:pt x="70" y="144"/>
                  <a:pt x="71" y="145"/>
                  <a:pt x="71" y="145"/>
                </a:cubicBezTo>
                <a:cubicBezTo>
                  <a:pt x="71" y="145"/>
                  <a:pt x="71" y="144"/>
                  <a:pt x="71" y="144"/>
                </a:cubicBezTo>
                <a:cubicBezTo>
                  <a:pt x="72" y="144"/>
                  <a:pt x="72" y="143"/>
                  <a:pt x="72" y="14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5" name="Oman"/>
          <p:cNvSpPr>
            <a:spLocks noEditPoints="1"/>
          </p:cNvSpPr>
          <p:nvPr/>
        </p:nvSpPr>
        <p:spPr bwMode="auto">
          <a:xfrm>
            <a:off x="7595015" y="3614976"/>
            <a:ext cx="259991" cy="386986"/>
          </a:xfrm>
          <a:custGeom>
            <a:avLst/>
            <a:gdLst/>
            <a:ahLst/>
            <a:cxnLst>
              <a:cxn ang="0">
                <a:pos x="39" y="97"/>
              </a:cxn>
              <a:cxn ang="0">
                <a:pos x="63" y="65"/>
              </a:cxn>
              <a:cxn ang="0">
                <a:pos x="62" y="69"/>
              </a:cxn>
              <a:cxn ang="0">
                <a:pos x="65" y="64"/>
              </a:cxn>
              <a:cxn ang="0">
                <a:pos x="71" y="43"/>
              </a:cxn>
              <a:cxn ang="0">
                <a:pos x="68" y="42"/>
              </a:cxn>
              <a:cxn ang="0">
                <a:pos x="66" y="38"/>
              </a:cxn>
              <a:cxn ang="0">
                <a:pos x="61" y="32"/>
              </a:cxn>
              <a:cxn ang="0">
                <a:pos x="57" y="31"/>
              </a:cxn>
              <a:cxn ang="0">
                <a:pos x="52" y="30"/>
              </a:cxn>
              <a:cxn ang="0">
                <a:pos x="44" y="26"/>
              </a:cxn>
              <a:cxn ang="0">
                <a:pos x="37" y="16"/>
              </a:cxn>
              <a:cxn ang="0">
                <a:pos x="34" y="18"/>
              </a:cxn>
              <a:cxn ang="0">
                <a:pos x="32" y="16"/>
              </a:cxn>
              <a:cxn ang="0">
                <a:pos x="32" y="22"/>
              </a:cxn>
              <a:cxn ang="0">
                <a:pos x="34" y="25"/>
              </a:cxn>
              <a:cxn ang="0">
                <a:pos x="29" y="27"/>
              </a:cxn>
              <a:cxn ang="0">
                <a:pos x="29" y="33"/>
              </a:cxn>
              <a:cxn ang="0">
                <a:pos x="27" y="40"/>
              </a:cxn>
              <a:cxn ang="0">
                <a:pos x="32" y="49"/>
              </a:cxn>
              <a:cxn ang="0">
                <a:pos x="28" y="70"/>
              </a:cxn>
              <a:cxn ang="0">
                <a:pos x="0" y="81"/>
              </a:cxn>
              <a:cxn ang="0">
                <a:pos x="12" y="107"/>
              </a:cxn>
              <a:cxn ang="0">
                <a:pos x="20" y="104"/>
              </a:cxn>
              <a:cxn ang="0">
                <a:pos x="25" y="103"/>
              </a:cxn>
              <a:cxn ang="0">
                <a:pos x="30" y="103"/>
              </a:cxn>
              <a:cxn ang="0">
                <a:pos x="32" y="100"/>
              </a:cxn>
              <a:cxn ang="0">
                <a:pos x="32" y="96"/>
              </a:cxn>
              <a:cxn ang="0">
                <a:pos x="38" y="93"/>
              </a:cxn>
              <a:cxn ang="0">
                <a:pos x="43" y="92"/>
              </a:cxn>
              <a:cxn ang="0">
                <a:pos x="45" y="86"/>
              </a:cxn>
              <a:cxn ang="0">
                <a:pos x="55" y="81"/>
              </a:cxn>
              <a:cxn ang="0">
                <a:pos x="54" y="76"/>
              </a:cxn>
              <a:cxn ang="0">
                <a:pos x="54" y="70"/>
              </a:cxn>
              <a:cxn ang="0">
                <a:pos x="56" y="65"/>
              </a:cxn>
              <a:cxn ang="0">
                <a:pos x="58" y="65"/>
              </a:cxn>
              <a:cxn ang="0">
                <a:pos x="60" y="66"/>
              </a:cxn>
              <a:cxn ang="0">
                <a:pos x="62" y="63"/>
              </a:cxn>
              <a:cxn ang="0">
                <a:pos x="62" y="62"/>
              </a:cxn>
              <a:cxn ang="0">
                <a:pos x="66" y="55"/>
              </a:cxn>
              <a:cxn ang="0">
                <a:pos x="71" y="47"/>
              </a:cxn>
              <a:cxn ang="0">
                <a:pos x="34" y="6"/>
              </a:cxn>
              <a:cxn ang="0">
                <a:pos x="35" y="8"/>
              </a:cxn>
              <a:cxn ang="0">
                <a:pos x="36" y="5"/>
              </a:cxn>
              <a:cxn ang="0">
                <a:pos x="36" y="4"/>
              </a:cxn>
              <a:cxn ang="0">
                <a:pos x="35" y="2"/>
              </a:cxn>
              <a:cxn ang="0">
                <a:pos x="36" y="2"/>
              </a:cxn>
              <a:cxn ang="0">
                <a:pos x="37" y="1"/>
              </a:cxn>
              <a:cxn ang="0">
                <a:pos x="35" y="2"/>
              </a:cxn>
              <a:cxn ang="0">
                <a:pos x="35" y="2"/>
              </a:cxn>
              <a:cxn ang="0">
                <a:pos x="33" y="4"/>
              </a:cxn>
            </a:cxnLst>
            <a:rect l="0" t="0" r="r" b="b"/>
            <a:pathLst>
              <a:path w="72" h="107">
                <a:moveTo>
                  <a:pt x="39" y="97"/>
                </a:moveTo>
                <a:cubicBezTo>
                  <a:pt x="40" y="97"/>
                  <a:pt x="40" y="98"/>
                  <a:pt x="39" y="98"/>
                </a:cubicBezTo>
                <a:cubicBezTo>
                  <a:pt x="39" y="98"/>
                  <a:pt x="38" y="98"/>
                  <a:pt x="39" y="97"/>
                </a:cubicBezTo>
                <a:cubicBezTo>
                  <a:pt x="39" y="97"/>
                  <a:pt x="39" y="97"/>
                  <a:pt x="39" y="97"/>
                </a:cubicBezTo>
                <a:close/>
                <a:moveTo>
                  <a:pt x="64" y="63"/>
                </a:moveTo>
                <a:cubicBezTo>
                  <a:pt x="64" y="63"/>
                  <a:pt x="63" y="65"/>
                  <a:pt x="63" y="65"/>
                </a:cubicBezTo>
                <a:cubicBezTo>
                  <a:pt x="63" y="66"/>
                  <a:pt x="63" y="65"/>
                  <a:pt x="62" y="66"/>
                </a:cubicBezTo>
                <a:cubicBezTo>
                  <a:pt x="62" y="66"/>
                  <a:pt x="62" y="67"/>
                  <a:pt x="62" y="68"/>
                </a:cubicBezTo>
                <a:cubicBezTo>
                  <a:pt x="62" y="68"/>
                  <a:pt x="62" y="68"/>
                  <a:pt x="62" y="69"/>
                </a:cubicBezTo>
                <a:cubicBezTo>
                  <a:pt x="63" y="68"/>
                  <a:pt x="63" y="68"/>
                  <a:pt x="63" y="67"/>
                </a:cubicBezTo>
                <a:cubicBezTo>
                  <a:pt x="64" y="66"/>
                  <a:pt x="64" y="66"/>
                  <a:pt x="64" y="65"/>
                </a:cubicBezTo>
                <a:cubicBezTo>
                  <a:pt x="65" y="65"/>
                  <a:pt x="65" y="65"/>
                  <a:pt x="65" y="64"/>
                </a:cubicBezTo>
                <a:cubicBezTo>
                  <a:pt x="64" y="64"/>
                  <a:pt x="64" y="63"/>
                  <a:pt x="64" y="63"/>
                </a:cubicBezTo>
                <a:close/>
                <a:moveTo>
                  <a:pt x="72" y="44"/>
                </a:moveTo>
                <a:cubicBezTo>
                  <a:pt x="72" y="43"/>
                  <a:pt x="71" y="43"/>
                  <a:pt x="71" y="43"/>
                </a:cubicBezTo>
                <a:cubicBezTo>
                  <a:pt x="71" y="43"/>
                  <a:pt x="71" y="43"/>
                  <a:pt x="71" y="43"/>
                </a:cubicBezTo>
                <a:cubicBezTo>
                  <a:pt x="70" y="43"/>
                  <a:pt x="70" y="42"/>
                  <a:pt x="70" y="42"/>
                </a:cubicBezTo>
                <a:cubicBezTo>
                  <a:pt x="69" y="42"/>
                  <a:pt x="69" y="42"/>
                  <a:pt x="68" y="42"/>
                </a:cubicBezTo>
                <a:cubicBezTo>
                  <a:pt x="69" y="42"/>
                  <a:pt x="67" y="41"/>
                  <a:pt x="67" y="41"/>
                </a:cubicBezTo>
                <a:cubicBezTo>
                  <a:pt x="67" y="40"/>
                  <a:pt x="66" y="40"/>
                  <a:pt x="66" y="40"/>
                </a:cubicBezTo>
                <a:cubicBezTo>
                  <a:pt x="66" y="39"/>
                  <a:pt x="66" y="39"/>
                  <a:pt x="66" y="38"/>
                </a:cubicBezTo>
                <a:cubicBezTo>
                  <a:pt x="65" y="38"/>
                  <a:pt x="64" y="37"/>
                  <a:pt x="64" y="36"/>
                </a:cubicBezTo>
                <a:cubicBezTo>
                  <a:pt x="63" y="36"/>
                  <a:pt x="63" y="35"/>
                  <a:pt x="62" y="34"/>
                </a:cubicBezTo>
                <a:cubicBezTo>
                  <a:pt x="62" y="33"/>
                  <a:pt x="61" y="33"/>
                  <a:pt x="61" y="32"/>
                </a:cubicBezTo>
                <a:cubicBezTo>
                  <a:pt x="61" y="32"/>
                  <a:pt x="60" y="32"/>
                  <a:pt x="60" y="31"/>
                </a:cubicBezTo>
                <a:cubicBezTo>
                  <a:pt x="59" y="31"/>
                  <a:pt x="59" y="31"/>
                  <a:pt x="59" y="31"/>
                </a:cubicBezTo>
                <a:cubicBezTo>
                  <a:pt x="58" y="30"/>
                  <a:pt x="58" y="31"/>
                  <a:pt x="57" y="31"/>
                </a:cubicBezTo>
                <a:cubicBezTo>
                  <a:pt x="56" y="31"/>
                  <a:pt x="56" y="30"/>
                  <a:pt x="55" y="30"/>
                </a:cubicBezTo>
                <a:cubicBezTo>
                  <a:pt x="55" y="30"/>
                  <a:pt x="54" y="30"/>
                  <a:pt x="54" y="30"/>
                </a:cubicBezTo>
                <a:cubicBezTo>
                  <a:pt x="53" y="29"/>
                  <a:pt x="53" y="30"/>
                  <a:pt x="52" y="30"/>
                </a:cubicBezTo>
                <a:cubicBezTo>
                  <a:pt x="52" y="29"/>
                  <a:pt x="51" y="29"/>
                  <a:pt x="51" y="29"/>
                </a:cubicBezTo>
                <a:cubicBezTo>
                  <a:pt x="50" y="29"/>
                  <a:pt x="50" y="29"/>
                  <a:pt x="49" y="29"/>
                </a:cubicBezTo>
                <a:cubicBezTo>
                  <a:pt x="47" y="28"/>
                  <a:pt x="45" y="27"/>
                  <a:pt x="44" y="26"/>
                </a:cubicBezTo>
                <a:cubicBezTo>
                  <a:pt x="42" y="25"/>
                  <a:pt x="41" y="23"/>
                  <a:pt x="39" y="21"/>
                </a:cubicBezTo>
                <a:cubicBezTo>
                  <a:pt x="39" y="20"/>
                  <a:pt x="38" y="19"/>
                  <a:pt x="38" y="18"/>
                </a:cubicBezTo>
                <a:cubicBezTo>
                  <a:pt x="37" y="17"/>
                  <a:pt x="37" y="17"/>
                  <a:pt x="37" y="16"/>
                </a:cubicBezTo>
                <a:cubicBezTo>
                  <a:pt x="36" y="16"/>
                  <a:pt x="36" y="16"/>
                  <a:pt x="36" y="16"/>
                </a:cubicBezTo>
                <a:cubicBezTo>
                  <a:pt x="36" y="17"/>
                  <a:pt x="36" y="17"/>
                  <a:pt x="36" y="17"/>
                </a:cubicBezTo>
                <a:cubicBezTo>
                  <a:pt x="35" y="17"/>
                  <a:pt x="35" y="18"/>
                  <a:pt x="34" y="18"/>
                </a:cubicBezTo>
                <a:cubicBezTo>
                  <a:pt x="33" y="19"/>
                  <a:pt x="34" y="17"/>
                  <a:pt x="33" y="17"/>
                </a:cubicBezTo>
                <a:cubicBezTo>
                  <a:pt x="33" y="17"/>
                  <a:pt x="33" y="17"/>
                  <a:pt x="34" y="17"/>
                </a:cubicBezTo>
                <a:cubicBezTo>
                  <a:pt x="33" y="16"/>
                  <a:pt x="33" y="15"/>
                  <a:pt x="32" y="16"/>
                </a:cubicBezTo>
                <a:cubicBezTo>
                  <a:pt x="31" y="17"/>
                  <a:pt x="31" y="18"/>
                  <a:pt x="32" y="19"/>
                </a:cubicBezTo>
                <a:cubicBezTo>
                  <a:pt x="32" y="19"/>
                  <a:pt x="31" y="20"/>
                  <a:pt x="31" y="20"/>
                </a:cubicBezTo>
                <a:cubicBezTo>
                  <a:pt x="31" y="21"/>
                  <a:pt x="32" y="22"/>
                  <a:pt x="32" y="22"/>
                </a:cubicBezTo>
                <a:cubicBezTo>
                  <a:pt x="32" y="23"/>
                  <a:pt x="32" y="23"/>
                  <a:pt x="32" y="24"/>
                </a:cubicBezTo>
                <a:cubicBezTo>
                  <a:pt x="32" y="24"/>
                  <a:pt x="32" y="24"/>
                  <a:pt x="33" y="24"/>
                </a:cubicBezTo>
                <a:cubicBezTo>
                  <a:pt x="33" y="24"/>
                  <a:pt x="33" y="24"/>
                  <a:pt x="34" y="25"/>
                </a:cubicBezTo>
                <a:cubicBezTo>
                  <a:pt x="34" y="25"/>
                  <a:pt x="34" y="26"/>
                  <a:pt x="34" y="26"/>
                </a:cubicBezTo>
                <a:cubicBezTo>
                  <a:pt x="32" y="26"/>
                  <a:pt x="32" y="26"/>
                  <a:pt x="30" y="26"/>
                </a:cubicBezTo>
                <a:cubicBezTo>
                  <a:pt x="30" y="26"/>
                  <a:pt x="28" y="27"/>
                  <a:pt x="29" y="27"/>
                </a:cubicBezTo>
                <a:cubicBezTo>
                  <a:pt x="30" y="28"/>
                  <a:pt x="30" y="28"/>
                  <a:pt x="30" y="29"/>
                </a:cubicBezTo>
                <a:cubicBezTo>
                  <a:pt x="30" y="30"/>
                  <a:pt x="29" y="30"/>
                  <a:pt x="29" y="31"/>
                </a:cubicBezTo>
                <a:cubicBezTo>
                  <a:pt x="29" y="32"/>
                  <a:pt x="29" y="32"/>
                  <a:pt x="29" y="33"/>
                </a:cubicBezTo>
                <a:cubicBezTo>
                  <a:pt x="28" y="34"/>
                  <a:pt x="28" y="34"/>
                  <a:pt x="28" y="35"/>
                </a:cubicBezTo>
                <a:cubicBezTo>
                  <a:pt x="28" y="36"/>
                  <a:pt x="27" y="37"/>
                  <a:pt x="27" y="38"/>
                </a:cubicBezTo>
                <a:cubicBezTo>
                  <a:pt x="27" y="38"/>
                  <a:pt x="28" y="39"/>
                  <a:pt x="27" y="40"/>
                </a:cubicBezTo>
                <a:cubicBezTo>
                  <a:pt x="27" y="41"/>
                  <a:pt x="28" y="42"/>
                  <a:pt x="28" y="42"/>
                </a:cubicBezTo>
                <a:cubicBezTo>
                  <a:pt x="29" y="44"/>
                  <a:pt x="30" y="46"/>
                  <a:pt x="31" y="48"/>
                </a:cubicBezTo>
                <a:cubicBezTo>
                  <a:pt x="31" y="48"/>
                  <a:pt x="32" y="49"/>
                  <a:pt x="32" y="49"/>
                </a:cubicBezTo>
                <a:cubicBezTo>
                  <a:pt x="32" y="50"/>
                  <a:pt x="31" y="52"/>
                  <a:pt x="31" y="53"/>
                </a:cubicBezTo>
                <a:cubicBezTo>
                  <a:pt x="31" y="57"/>
                  <a:pt x="30" y="61"/>
                  <a:pt x="29" y="65"/>
                </a:cubicBezTo>
                <a:cubicBezTo>
                  <a:pt x="28" y="67"/>
                  <a:pt x="28" y="68"/>
                  <a:pt x="28" y="70"/>
                </a:cubicBezTo>
                <a:cubicBezTo>
                  <a:pt x="28" y="71"/>
                  <a:pt x="26" y="71"/>
                  <a:pt x="26" y="71"/>
                </a:cubicBezTo>
                <a:cubicBezTo>
                  <a:pt x="25" y="72"/>
                  <a:pt x="24" y="72"/>
                  <a:pt x="23" y="72"/>
                </a:cubicBezTo>
                <a:cubicBezTo>
                  <a:pt x="15" y="75"/>
                  <a:pt x="7" y="78"/>
                  <a:pt x="0" y="81"/>
                </a:cubicBezTo>
                <a:cubicBezTo>
                  <a:pt x="2" y="86"/>
                  <a:pt x="4" y="90"/>
                  <a:pt x="6" y="95"/>
                </a:cubicBezTo>
                <a:cubicBezTo>
                  <a:pt x="7" y="97"/>
                  <a:pt x="7" y="99"/>
                  <a:pt x="8" y="101"/>
                </a:cubicBezTo>
                <a:cubicBezTo>
                  <a:pt x="9" y="103"/>
                  <a:pt x="11" y="105"/>
                  <a:pt x="12" y="107"/>
                </a:cubicBezTo>
                <a:cubicBezTo>
                  <a:pt x="12" y="106"/>
                  <a:pt x="15" y="106"/>
                  <a:pt x="16" y="106"/>
                </a:cubicBezTo>
                <a:cubicBezTo>
                  <a:pt x="17" y="106"/>
                  <a:pt x="18" y="105"/>
                  <a:pt x="19" y="105"/>
                </a:cubicBezTo>
                <a:cubicBezTo>
                  <a:pt x="19" y="104"/>
                  <a:pt x="20" y="105"/>
                  <a:pt x="20" y="104"/>
                </a:cubicBezTo>
                <a:cubicBezTo>
                  <a:pt x="20" y="104"/>
                  <a:pt x="20" y="104"/>
                  <a:pt x="20" y="104"/>
                </a:cubicBezTo>
                <a:cubicBezTo>
                  <a:pt x="21" y="103"/>
                  <a:pt x="22" y="103"/>
                  <a:pt x="23" y="103"/>
                </a:cubicBezTo>
                <a:cubicBezTo>
                  <a:pt x="23" y="103"/>
                  <a:pt x="24" y="103"/>
                  <a:pt x="25" y="103"/>
                </a:cubicBezTo>
                <a:cubicBezTo>
                  <a:pt x="26" y="103"/>
                  <a:pt x="26" y="103"/>
                  <a:pt x="26" y="103"/>
                </a:cubicBezTo>
                <a:cubicBezTo>
                  <a:pt x="27" y="103"/>
                  <a:pt x="26" y="103"/>
                  <a:pt x="27" y="104"/>
                </a:cubicBezTo>
                <a:cubicBezTo>
                  <a:pt x="28" y="104"/>
                  <a:pt x="29" y="104"/>
                  <a:pt x="30" y="103"/>
                </a:cubicBezTo>
                <a:cubicBezTo>
                  <a:pt x="30" y="103"/>
                  <a:pt x="31" y="103"/>
                  <a:pt x="31" y="102"/>
                </a:cubicBezTo>
                <a:cubicBezTo>
                  <a:pt x="31" y="102"/>
                  <a:pt x="31" y="101"/>
                  <a:pt x="32" y="101"/>
                </a:cubicBezTo>
                <a:cubicBezTo>
                  <a:pt x="32" y="101"/>
                  <a:pt x="32" y="101"/>
                  <a:pt x="32" y="100"/>
                </a:cubicBezTo>
                <a:cubicBezTo>
                  <a:pt x="32" y="100"/>
                  <a:pt x="32" y="100"/>
                  <a:pt x="32" y="100"/>
                </a:cubicBezTo>
                <a:cubicBezTo>
                  <a:pt x="33" y="99"/>
                  <a:pt x="32" y="99"/>
                  <a:pt x="32" y="98"/>
                </a:cubicBezTo>
                <a:cubicBezTo>
                  <a:pt x="31" y="97"/>
                  <a:pt x="32" y="97"/>
                  <a:pt x="32" y="96"/>
                </a:cubicBezTo>
                <a:cubicBezTo>
                  <a:pt x="33" y="96"/>
                  <a:pt x="33" y="95"/>
                  <a:pt x="33" y="95"/>
                </a:cubicBezTo>
                <a:cubicBezTo>
                  <a:pt x="34" y="94"/>
                  <a:pt x="34" y="94"/>
                  <a:pt x="35" y="94"/>
                </a:cubicBezTo>
                <a:cubicBezTo>
                  <a:pt x="36" y="93"/>
                  <a:pt x="37" y="94"/>
                  <a:pt x="38" y="93"/>
                </a:cubicBezTo>
                <a:cubicBezTo>
                  <a:pt x="38" y="93"/>
                  <a:pt x="39" y="93"/>
                  <a:pt x="40" y="93"/>
                </a:cubicBezTo>
                <a:cubicBezTo>
                  <a:pt x="40" y="93"/>
                  <a:pt x="41" y="93"/>
                  <a:pt x="42" y="93"/>
                </a:cubicBezTo>
                <a:cubicBezTo>
                  <a:pt x="42" y="93"/>
                  <a:pt x="42" y="92"/>
                  <a:pt x="43" y="92"/>
                </a:cubicBezTo>
                <a:cubicBezTo>
                  <a:pt x="43" y="91"/>
                  <a:pt x="44" y="91"/>
                  <a:pt x="44" y="91"/>
                </a:cubicBezTo>
                <a:cubicBezTo>
                  <a:pt x="44" y="90"/>
                  <a:pt x="44" y="89"/>
                  <a:pt x="44" y="88"/>
                </a:cubicBezTo>
                <a:cubicBezTo>
                  <a:pt x="44" y="87"/>
                  <a:pt x="44" y="86"/>
                  <a:pt x="45" y="86"/>
                </a:cubicBezTo>
                <a:cubicBezTo>
                  <a:pt x="45" y="85"/>
                  <a:pt x="46" y="84"/>
                  <a:pt x="46" y="84"/>
                </a:cubicBezTo>
                <a:cubicBezTo>
                  <a:pt x="48" y="83"/>
                  <a:pt x="49" y="82"/>
                  <a:pt x="51" y="82"/>
                </a:cubicBezTo>
                <a:cubicBezTo>
                  <a:pt x="52" y="82"/>
                  <a:pt x="55" y="83"/>
                  <a:pt x="55" y="81"/>
                </a:cubicBezTo>
                <a:cubicBezTo>
                  <a:pt x="55" y="81"/>
                  <a:pt x="55" y="80"/>
                  <a:pt x="55" y="80"/>
                </a:cubicBezTo>
                <a:cubicBezTo>
                  <a:pt x="55" y="79"/>
                  <a:pt x="54" y="79"/>
                  <a:pt x="54" y="78"/>
                </a:cubicBezTo>
                <a:cubicBezTo>
                  <a:pt x="55" y="77"/>
                  <a:pt x="54" y="76"/>
                  <a:pt x="54" y="76"/>
                </a:cubicBezTo>
                <a:cubicBezTo>
                  <a:pt x="54" y="75"/>
                  <a:pt x="54" y="75"/>
                  <a:pt x="54" y="74"/>
                </a:cubicBezTo>
                <a:cubicBezTo>
                  <a:pt x="53" y="73"/>
                  <a:pt x="54" y="73"/>
                  <a:pt x="54" y="72"/>
                </a:cubicBezTo>
                <a:cubicBezTo>
                  <a:pt x="54" y="71"/>
                  <a:pt x="54" y="71"/>
                  <a:pt x="54" y="70"/>
                </a:cubicBezTo>
                <a:cubicBezTo>
                  <a:pt x="54" y="69"/>
                  <a:pt x="54" y="68"/>
                  <a:pt x="55" y="68"/>
                </a:cubicBezTo>
                <a:cubicBezTo>
                  <a:pt x="55" y="67"/>
                  <a:pt x="56" y="67"/>
                  <a:pt x="56" y="67"/>
                </a:cubicBezTo>
                <a:cubicBezTo>
                  <a:pt x="55" y="66"/>
                  <a:pt x="56" y="66"/>
                  <a:pt x="56" y="65"/>
                </a:cubicBezTo>
                <a:cubicBezTo>
                  <a:pt x="57" y="65"/>
                  <a:pt x="56" y="64"/>
                  <a:pt x="57" y="64"/>
                </a:cubicBezTo>
                <a:cubicBezTo>
                  <a:pt x="58" y="63"/>
                  <a:pt x="58" y="65"/>
                  <a:pt x="58" y="66"/>
                </a:cubicBezTo>
                <a:cubicBezTo>
                  <a:pt x="58" y="66"/>
                  <a:pt x="58" y="66"/>
                  <a:pt x="58" y="65"/>
                </a:cubicBezTo>
                <a:cubicBezTo>
                  <a:pt x="58" y="66"/>
                  <a:pt x="58" y="66"/>
                  <a:pt x="58" y="66"/>
                </a:cubicBezTo>
                <a:cubicBezTo>
                  <a:pt x="58" y="66"/>
                  <a:pt x="59" y="66"/>
                  <a:pt x="58" y="66"/>
                </a:cubicBezTo>
                <a:cubicBezTo>
                  <a:pt x="59" y="66"/>
                  <a:pt x="59" y="66"/>
                  <a:pt x="60" y="66"/>
                </a:cubicBezTo>
                <a:cubicBezTo>
                  <a:pt x="60" y="67"/>
                  <a:pt x="60" y="67"/>
                  <a:pt x="60" y="66"/>
                </a:cubicBezTo>
                <a:cubicBezTo>
                  <a:pt x="61" y="66"/>
                  <a:pt x="61" y="65"/>
                  <a:pt x="61" y="65"/>
                </a:cubicBezTo>
                <a:cubicBezTo>
                  <a:pt x="61" y="64"/>
                  <a:pt x="61" y="63"/>
                  <a:pt x="62" y="63"/>
                </a:cubicBezTo>
                <a:cubicBezTo>
                  <a:pt x="62" y="63"/>
                  <a:pt x="62" y="62"/>
                  <a:pt x="62" y="62"/>
                </a:cubicBezTo>
                <a:cubicBezTo>
                  <a:pt x="62" y="62"/>
                  <a:pt x="63" y="62"/>
                  <a:pt x="62" y="62"/>
                </a:cubicBezTo>
                <a:cubicBezTo>
                  <a:pt x="63" y="62"/>
                  <a:pt x="62" y="62"/>
                  <a:pt x="62" y="62"/>
                </a:cubicBezTo>
                <a:cubicBezTo>
                  <a:pt x="62" y="61"/>
                  <a:pt x="62" y="61"/>
                  <a:pt x="62" y="61"/>
                </a:cubicBezTo>
                <a:cubicBezTo>
                  <a:pt x="63" y="60"/>
                  <a:pt x="63" y="59"/>
                  <a:pt x="64" y="58"/>
                </a:cubicBezTo>
                <a:cubicBezTo>
                  <a:pt x="64" y="57"/>
                  <a:pt x="65" y="56"/>
                  <a:pt x="66" y="55"/>
                </a:cubicBezTo>
                <a:cubicBezTo>
                  <a:pt x="67" y="55"/>
                  <a:pt x="68" y="55"/>
                  <a:pt x="68" y="53"/>
                </a:cubicBezTo>
                <a:cubicBezTo>
                  <a:pt x="69" y="52"/>
                  <a:pt x="69" y="52"/>
                  <a:pt x="70" y="50"/>
                </a:cubicBezTo>
                <a:cubicBezTo>
                  <a:pt x="70" y="49"/>
                  <a:pt x="70" y="48"/>
                  <a:pt x="71" y="47"/>
                </a:cubicBezTo>
                <a:cubicBezTo>
                  <a:pt x="72" y="46"/>
                  <a:pt x="72" y="45"/>
                  <a:pt x="72" y="44"/>
                </a:cubicBezTo>
                <a:close/>
                <a:moveTo>
                  <a:pt x="34" y="4"/>
                </a:moveTo>
                <a:cubicBezTo>
                  <a:pt x="34" y="5"/>
                  <a:pt x="34" y="5"/>
                  <a:pt x="34" y="6"/>
                </a:cubicBezTo>
                <a:cubicBezTo>
                  <a:pt x="34" y="6"/>
                  <a:pt x="34" y="7"/>
                  <a:pt x="34" y="7"/>
                </a:cubicBezTo>
                <a:cubicBezTo>
                  <a:pt x="33" y="8"/>
                  <a:pt x="34" y="8"/>
                  <a:pt x="34" y="8"/>
                </a:cubicBezTo>
                <a:cubicBezTo>
                  <a:pt x="34" y="8"/>
                  <a:pt x="35" y="9"/>
                  <a:pt x="35" y="8"/>
                </a:cubicBezTo>
                <a:cubicBezTo>
                  <a:pt x="35" y="8"/>
                  <a:pt x="35" y="7"/>
                  <a:pt x="35" y="7"/>
                </a:cubicBezTo>
                <a:cubicBezTo>
                  <a:pt x="35" y="7"/>
                  <a:pt x="35" y="6"/>
                  <a:pt x="36" y="6"/>
                </a:cubicBezTo>
                <a:cubicBezTo>
                  <a:pt x="36" y="6"/>
                  <a:pt x="36" y="5"/>
                  <a:pt x="36" y="5"/>
                </a:cubicBezTo>
                <a:cubicBezTo>
                  <a:pt x="36" y="5"/>
                  <a:pt x="36" y="5"/>
                  <a:pt x="36" y="5"/>
                </a:cubicBezTo>
                <a:cubicBezTo>
                  <a:pt x="36" y="5"/>
                  <a:pt x="36" y="4"/>
                  <a:pt x="36" y="4"/>
                </a:cubicBezTo>
                <a:cubicBezTo>
                  <a:pt x="35" y="4"/>
                  <a:pt x="36" y="4"/>
                  <a:pt x="36" y="4"/>
                </a:cubicBezTo>
                <a:cubicBezTo>
                  <a:pt x="36" y="3"/>
                  <a:pt x="36" y="3"/>
                  <a:pt x="35" y="3"/>
                </a:cubicBezTo>
                <a:cubicBezTo>
                  <a:pt x="35" y="3"/>
                  <a:pt x="35" y="3"/>
                  <a:pt x="35" y="3"/>
                </a:cubicBezTo>
                <a:cubicBezTo>
                  <a:pt x="35" y="3"/>
                  <a:pt x="35" y="2"/>
                  <a:pt x="35" y="2"/>
                </a:cubicBezTo>
                <a:cubicBezTo>
                  <a:pt x="35" y="2"/>
                  <a:pt x="35" y="3"/>
                  <a:pt x="36" y="2"/>
                </a:cubicBezTo>
                <a:cubicBezTo>
                  <a:pt x="36" y="3"/>
                  <a:pt x="36" y="3"/>
                  <a:pt x="36" y="3"/>
                </a:cubicBezTo>
                <a:cubicBezTo>
                  <a:pt x="36" y="3"/>
                  <a:pt x="36" y="2"/>
                  <a:pt x="36" y="2"/>
                </a:cubicBezTo>
                <a:cubicBezTo>
                  <a:pt x="36" y="2"/>
                  <a:pt x="36" y="2"/>
                  <a:pt x="36" y="2"/>
                </a:cubicBezTo>
                <a:cubicBezTo>
                  <a:pt x="37" y="2"/>
                  <a:pt x="35" y="2"/>
                  <a:pt x="36" y="1"/>
                </a:cubicBezTo>
                <a:cubicBezTo>
                  <a:pt x="36" y="1"/>
                  <a:pt x="36" y="1"/>
                  <a:pt x="37" y="1"/>
                </a:cubicBezTo>
                <a:cubicBezTo>
                  <a:pt x="37" y="1"/>
                  <a:pt x="36" y="1"/>
                  <a:pt x="36" y="1"/>
                </a:cubicBezTo>
                <a:cubicBezTo>
                  <a:pt x="36" y="1"/>
                  <a:pt x="35" y="1"/>
                  <a:pt x="35" y="0"/>
                </a:cubicBezTo>
                <a:cubicBezTo>
                  <a:pt x="35" y="0"/>
                  <a:pt x="35" y="2"/>
                  <a:pt x="35" y="2"/>
                </a:cubicBezTo>
                <a:cubicBezTo>
                  <a:pt x="35" y="2"/>
                  <a:pt x="35" y="2"/>
                  <a:pt x="35" y="1"/>
                </a:cubicBezTo>
                <a:cubicBezTo>
                  <a:pt x="35" y="2"/>
                  <a:pt x="35" y="2"/>
                  <a:pt x="35" y="2"/>
                </a:cubicBezTo>
                <a:cubicBezTo>
                  <a:pt x="35" y="2"/>
                  <a:pt x="36" y="2"/>
                  <a:pt x="35" y="2"/>
                </a:cubicBezTo>
                <a:cubicBezTo>
                  <a:pt x="35" y="3"/>
                  <a:pt x="34" y="2"/>
                  <a:pt x="34" y="2"/>
                </a:cubicBezTo>
                <a:cubicBezTo>
                  <a:pt x="34" y="1"/>
                  <a:pt x="33" y="2"/>
                  <a:pt x="33" y="2"/>
                </a:cubicBezTo>
                <a:cubicBezTo>
                  <a:pt x="33" y="3"/>
                  <a:pt x="33" y="3"/>
                  <a:pt x="33" y="4"/>
                </a:cubicBezTo>
                <a:cubicBezTo>
                  <a:pt x="33" y="4"/>
                  <a:pt x="33" y="4"/>
                  <a:pt x="34" y="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6" name="Nigeria"/>
          <p:cNvSpPr>
            <a:spLocks/>
          </p:cNvSpPr>
          <p:nvPr/>
        </p:nvSpPr>
        <p:spPr bwMode="auto">
          <a:xfrm>
            <a:off x="5889080" y="4109958"/>
            <a:ext cx="419985" cy="383986"/>
          </a:xfrm>
          <a:custGeom>
            <a:avLst/>
            <a:gdLst/>
            <a:ahLst/>
            <a:cxnLst>
              <a:cxn ang="0">
                <a:pos x="111" y="18"/>
              </a:cxn>
              <a:cxn ang="0">
                <a:pos x="105" y="3"/>
              </a:cxn>
              <a:cxn ang="0">
                <a:pos x="100" y="4"/>
              </a:cxn>
              <a:cxn ang="0">
                <a:pos x="95" y="9"/>
              </a:cxn>
              <a:cxn ang="0">
                <a:pos x="85" y="6"/>
              </a:cxn>
              <a:cxn ang="0">
                <a:pos x="70" y="8"/>
              </a:cxn>
              <a:cxn ang="0">
                <a:pos x="57" y="11"/>
              </a:cxn>
              <a:cxn ang="0">
                <a:pos x="47" y="8"/>
              </a:cxn>
              <a:cxn ang="0">
                <a:pos x="37" y="5"/>
              </a:cxn>
              <a:cxn ang="0">
                <a:pos x="25" y="2"/>
              </a:cxn>
              <a:cxn ang="0">
                <a:pos x="14" y="5"/>
              </a:cxn>
              <a:cxn ang="0">
                <a:pos x="9" y="20"/>
              </a:cxn>
              <a:cxn ang="0">
                <a:pos x="10" y="31"/>
              </a:cxn>
              <a:cxn ang="0">
                <a:pos x="10" y="39"/>
              </a:cxn>
              <a:cxn ang="0">
                <a:pos x="6" y="46"/>
              </a:cxn>
              <a:cxn ang="0">
                <a:pos x="3" y="54"/>
              </a:cxn>
              <a:cxn ang="0">
                <a:pos x="0" y="62"/>
              </a:cxn>
              <a:cxn ang="0">
                <a:pos x="0" y="73"/>
              </a:cxn>
              <a:cxn ang="0">
                <a:pos x="0" y="81"/>
              </a:cxn>
              <a:cxn ang="0">
                <a:pos x="11" y="81"/>
              </a:cxn>
              <a:cxn ang="0">
                <a:pos x="8" y="82"/>
              </a:cxn>
              <a:cxn ang="0">
                <a:pos x="18" y="85"/>
              </a:cxn>
              <a:cxn ang="0">
                <a:pos x="23" y="90"/>
              </a:cxn>
              <a:cxn ang="0">
                <a:pos x="27" y="91"/>
              </a:cxn>
              <a:cxn ang="0">
                <a:pos x="25" y="94"/>
              </a:cxn>
              <a:cxn ang="0">
                <a:pos x="27" y="93"/>
              </a:cxn>
              <a:cxn ang="0">
                <a:pos x="26" y="96"/>
              </a:cxn>
              <a:cxn ang="0">
                <a:pos x="27" y="100"/>
              </a:cxn>
              <a:cxn ang="0">
                <a:pos x="29" y="104"/>
              </a:cxn>
              <a:cxn ang="0">
                <a:pos x="32" y="106"/>
              </a:cxn>
              <a:cxn ang="0">
                <a:pos x="34" y="106"/>
              </a:cxn>
              <a:cxn ang="0">
                <a:pos x="34" y="105"/>
              </a:cxn>
              <a:cxn ang="0">
                <a:pos x="37" y="104"/>
              </a:cxn>
              <a:cxn ang="0">
                <a:pos x="39" y="105"/>
              </a:cxn>
              <a:cxn ang="0">
                <a:pos x="39" y="100"/>
              </a:cxn>
              <a:cxn ang="0">
                <a:pos x="40" y="105"/>
              </a:cxn>
              <a:cxn ang="0">
                <a:pos x="41" y="103"/>
              </a:cxn>
              <a:cxn ang="0">
                <a:pos x="42" y="104"/>
              </a:cxn>
              <a:cxn ang="0">
                <a:pos x="43" y="102"/>
              </a:cxn>
              <a:cxn ang="0">
                <a:pos x="45" y="103"/>
              </a:cxn>
              <a:cxn ang="0">
                <a:pos x="52" y="103"/>
              </a:cxn>
              <a:cxn ang="0">
                <a:pos x="55" y="100"/>
              </a:cxn>
              <a:cxn ang="0">
                <a:pos x="59" y="94"/>
              </a:cxn>
              <a:cxn ang="0">
                <a:pos x="62" y="87"/>
              </a:cxn>
              <a:cxn ang="0">
                <a:pos x="66" y="82"/>
              </a:cxn>
              <a:cxn ang="0">
                <a:pos x="70" y="78"/>
              </a:cxn>
              <a:cxn ang="0">
                <a:pos x="77" y="76"/>
              </a:cxn>
              <a:cxn ang="0">
                <a:pos x="83" y="83"/>
              </a:cxn>
              <a:cxn ang="0">
                <a:pos x="87" y="76"/>
              </a:cxn>
              <a:cxn ang="0">
                <a:pos x="91" y="68"/>
              </a:cxn>
              <a:cxn ang="0">
                <a:pos x="93" y="60"/>
              </a:cxn>
              <a:cxn ang="0">
                <a:pos x="97" y="57"/>
              </a:cxn>
              <a:cxn ang="0">
                <a:pos x="100" y="49"/>
              </a:cxn>
              <a:cxn ang="0">
                <a:pos x="102" y="42"/>
              </a:cxn>
              <a:cxn ang="0">
                <a:pos x="108" y="31"/>
              </a:cxn>
              <a:cxn ang="0">
                <a:pos x="115" y="27"/>
              </a:cxn>
            </a:cxnLst>
            <a:rect l="0" t="0" r="r" b="b"/>
            <a:pathLst>
              <a:path w="116" h="106">
                <a:moveTo>
                  <a:pt x="115" y="22"/>
                </a:moveTo>
                <a:cubicBezTo>
                  <a:pt x="115" y="21"/>
                  <a:pt x="115" y="21"/>
                  <a:pt x="115" y="20"/>
                </a:cubicBezTo>
                <a:cubicBezTo>
                  <a:pt x="115" y="20"/>
                  <a:pt x="116" y="20"/>
                  <a:pt x="115" y="19"/>
                </a:cubicBezTo>
                <a:cubicBezTo>
                  <a:pt x="115" y="19"/>
                  <a:pt x="114" y="19"/>
                  <a:pt x="114" y="18"/>
                </a:cubicBezTo>
                <a:cubicBezTo>
                  <a:pt x="113" y="17"/>
                  <a:pt x="112" y="18"/>
                  <a:pt x="111" y="18"/>
                </a:cubicBezTo>
                <a:cubicBezTo>
                  <a:pt x="111" y="17"/>
                  <a:pt x="111" y="16"/>
                  <a:pt x="111" y="16"/>
                </a:cubicBezTo>
                <a:cubicBezTo>
                  <a:pt x="111" y="15"/>
                  <a:pt x="111" y="14"/>
                  <a:pt x="110" y="13"/>
                </a:cubicBezTo>
                <a:cubicBezTo>
                  <a:pt x="110" y="11"/>
                  <a:pt x="110" y="10"/>
                  <a:pt x="109" y="8"/>
                </a:cubicBezTo>
                <a:cubicBezTo>
                  <a:pt x="108" y="7"/>
                  <a:pt x="107" y="5"/>
                  <a:pt x="106" y="4"/>
                </a:cubicBezTo>
                <a:cubicBezTo>
                  <a:pt x="106" y="4"/>
                  <a:pt x="106" y="3"/>
                  <a:pt x="105" y="3"/>
                </a:cubicBezTo>
                <a:cubicBezTo>
                  <a:pt x="105" y="2"/>
                  <a:pt x="104" y="3"/>
                  <a:pt x="103" y="3"/>
                </a:cubicBezTo>
                <a:cubicBezTo>
                  <a:pt x="103" y="3"/>
                  <a:pt x="102" y="3"/>
                  <a:pt x="102" y="4"/>
                </a:cubicBezTo>
                <a:cubicBezTo>
                  <a:pt x="102" y="4"/>
                  <a:pt x="101" y="5"/>
                  <a:pt x="101" y="4"/>
                </a:cubicBezTo>
                <a:cubicBezTo>
                  <a:pt x="101" y="4"/>
                  <a:pt x="100" y="5"/>
                  <a:pt x="100" y="5"/>
                </a:cubicBezTo>
                <a:cubicBezTo>
                  <a:pt x="100" y="5"/>
                  <a:pt x="100" y="4"/>
                  <a:pt x="100" y="4"/>
                </a:cubicBezTo>
                <a:cubicBezTo>
                  <a:pt x="99" y="4"/>
                  <a:pt x="99" y="5"/>
                  <a:pt x="98" y="5"/>
                </a:cubicBezTo>
                <a:cubicBezTo>
                  <a:pt x="98" y="6"/>
                  <a:pt x="97" y="6"/>
                  <a:pt x="97" y="6"/>
                </a:cubicBezTo>
                <a:cubicBezTo>
                  <a:pt x="97" y="6"/>
                  <a:pt x="97" y="7"/>
                  <a:pt x="96" y="7"/>
                </a:cubicBezTo>
                <a:cubicBezTo>
                  <a:pt x="96" y="7"/>
                  <a:pt x="95" y="8"/>
                  <a:pt x="95" y="8"/>
                </a:cubicBezTo>
                <a:cubicBezTo>
                  <a:pt x="95" y="9"/>
                  <a:pt x="95" y="9"/>
                  <a:pt x="95" y="9"/>
                </a:cubicBezTo>
                <a:cubicBezTo>
                  <a:pt x="95" y="9"/>
                  <a:pt x="94" y="9"/>
                  <a:pt x="94" y="9"/>
                </a:cubicBezTo>
                <a:cubicBezTo>
                  <a:pt x="94" y="10"/>
                  <a:pt x="94" y="10"/>
                  <a:pt x="93" y="10"/>
                </a:cubicBezTo>
                <a:cubicBezTo>
                  <a:pt x="93" y="9"/>
                  <a:pt x="92" y="9"/>
                  <a:pt x="91" y="9"/>
                </a:cubicBezTo>
                <a:cubicBezTo>
                  <a:pt x="90" y="9"/>
                  <a:pt x="89" y="8"/>
                  <a:pt x="88" y="8"/>
                </a:cubicBezTo>
                <a:cubicBezTo>
                  <a:pt x="87" y="7"/>
                  <a:pt x="86" y="7"/>
                  <a:pt x="85" y="6"/>
                </a:cubicBezTo>
                <a:cubicBezTo>
                  <a:pt x="83" y="6"/>
                  <a:pt x="82" y="6"/>
                  <a:pt x="81" y="6"/>
                </a:cubicBezTo>
                <a:cubicBezTo>
                  <a:pt x="80" y="6"/>
                  <a:pt x="79" y="6"/>
                  <a:pt x="77" y="6"/>
                </a:cubicBezTo>
                <a:cubicBezTo>
                  <a:pt x="76" y="6"/>
                  <a:pt x="76" y="7"/>
                  <a:pt x="75" y="7"/>
                </a:cubicBezTo>
                <a:cubicBezTo>
                  <a:pt x="74" y="7"/>
                  <a:pt x="73" y="7"/>
                  <a:pt x="72" y="7"/>
                </a:cubicBezTo>
                <a:cubicBezTo>
                  <a:pt x="72" y="8"/>
                  <a:pt x="71" y="8"/>
                  <a:pt x="70" y="8"/>
                </a:cubicBezTo>
                <a:cubicBezTo>
                  <a:pt x="70" y="9"/>
                  <a:pt x="70" y="9"/>
                  <a:pt x="69" y="10"/>
                </a:cubicBezTo>
                <a:cubicBezTo>
                  <a:pt x="68" y="10"/>
                  <a:pt x="68" y="11"/>
                  <a:pt x="67" y="12"/>
                </a:cubicBezTo>
                <a:cubicBezTo>
                  <a:pt x="67" y="13"/>
                  <a:pt x="66" y="12"/>
                  <a:pt x="66" y="12"/>
                </a:cubicBezTo>
                <a:cubicBezTo>
                  <a:pt x="64" y="12"/>
                  <a:pt x="62" y="12"/>
                  <a:pt x="60" y="12"/>
                </a:cubicBezTo>
                <a:cubicBezTo>
                  <a:pt x="59" y="12"/>
                  <a:pt x="58" y="11"/>
                  <a:pt x="57" y="11"/>
                </a:cubicBezTo>
                <a:cubicBezTo>
                  <a:pt x="57" y="10"/>
                  <a:pt x="57" y="10"/>
                  <a:pt x="56" y="10"/>
                </a:cubicBezTo>
                <a:cubicBezTo>
                  <a:pt x="55" y="9"/>
                  <a:pt x="55" y="9"/>
                  <a:pt x="55" y="9"/>
                </a:cubicBezTo>
                <a:cubicBezTo>
                  <a:pt x="54" y="8"/>
                  <a:pt x="54" y="8"/>
                  <a:pt x="53" y="7"/>
                </a:cubicBezTo>
                <a:cubicBezTo>
                  <a:pt x="52" y="7"/>
                  <a:pt x="50" y="6"/>
                  <a:pt x="49" y="7"/>
                </a:cubicBezTo>
                <a:cubicBezTo>
                  <a:pt x="48" y="7"/>
                  <a:pt x="48" y="8"/>
                  <a:pt x="47" y="8"/>
                </a:cubicBezTo>
                <a:cubicBezTo>
                  <a:pt x="46" y="9"/>
                  <a:pt x="46" y="9"/>
                  <a:pt x="45" y="9"/>
                </a:cubicBezTo>
                <a:cubicBezTo>
                  <a:pt x="44" y="9"/>
                  <a:pt x="44" y="9"/>
                  <a:pt x="43" y="9"/>
                </a:cubicBezTo>
                <a:cubicBezTo>
                  <a:pt x="43" y="10"/>
                  <a:pt x="43" y="10"/>
                  <a:pt x="42" y="10"/>
                </a:cubicBezTo>
                <a:cubicBezTo>
                  <a:pt x="41" y="11"/>
                  <a:pt x="40" y="10"/>
                  <a:pt x="39" y="9"/>
                </a:cubicBezTo>
                <a:cubicBezTo>
                  <a:pt x="39" y="7"/>
                  <a:pt x="38" y="6"/>
                  <a:pt x="37" y="5"/>
                </a:cubicBezTo>
                <a:cubicBezTo>
                  <a:pt x="37" y="5"/>
                  <a:pt x="35" y="3"/>
                  <a:pt x="34" y="3"/>
                </a:cubicBezTo>
                <a:cubicBezTo>
                  <a:pt x="33" y="3"/>
                  <a:pt x="33" y="3"/>
                  <a:pt x="32" y="3"/>
                </a:cubicBezTo>
                <a:cubicBezTo>
                  <a:pt x="31" y="2"/>
                  <a:pt x="31" y="2"/>
                  <a:pt x="30" y="2"/>
                </a:cubicBezTo>
                <a:cubicBezTo>
                  <a:pt x="29" y="1"/>
                  <a:pt x="27" y="0"/>
                  <a:pt x="26" y="1"/>
                </a:cubicBezTo>
                <a:cubicBezTo>
                  <a:pt x="25" y="1"/>
                  <a:pt x="25" y="2"/>
                  <a:pt x="25" y="2"/>
                </a:cubicBezTo>
                <a:cubicBezTo>
                  <a:pt x="24" y="2"/>
                  <a:pt x="23" y="2"/>
                  <a:pt x="23" y="2"/>
                </a:cubicBezTo>
                <a:cubicBezTo>
                  <a:pt x="22" y="2"/>
                  <a:pt x="22" y="2"/>
                  <a:pt x="21" y="2"/>
                </a:cubicBezTo>
                <a:cubicBezTo>
                  <a:pt x="20" y="2"/>
                  <a:pt x="19" y="2"/>
                  <a:pt x="19" y="2"/>
                </a:cubicBezTo>
                <a:cubicBezTo>
                  <a:pt x="18" y="3"/>
                  <a:pt x="17" y="3"/>
                  <a:pt x="16" y="4"/>
                </a:cubicBezTo>
                <a:cubicBezTo>
                  <a:pt x="16" y="5"/>
                  <a:pt x="15" y="5"/>
                  <a:pt x="14" y="5"/>
                </a:cubicBezTo>
                <a:cubicBezTo>
                  <a:pt x="14" y="6"/>
                  <a:pt x="14" y="7"/>
                  <a:pt x="14" y="8"/>
                </a:cubicBezTo>
                <a:cubicBezTo>
                  <a:pt x="14" y="9"/>
                  <a:pt x="14" y="11"/>
                  <a:pt x="13" y="12"/>
                </a:cubicBezTo>
                <a:cubicBezTo>
                  <a:pt x="12" y="13"/>
                  <a:pt x="11" y="14"/>
                  <a:pt x="10" y="15"/>
                </a:cubicBezTo>
                <a:cubicBezTo>
                  <a:pt x="9" y="16"/>
                  <a:pt x="9" y="16"/>
                  <a:pt x="9" y="17"/>
                </a:cubicBezTo>
                <a:cubicBezTo>
                  <a:pt x="9" y="18"/>
                  <a:pt x="9" y="19"/>
                  <a:pt x="9" y="20"/>
                </a:cubicBezTo>
                <a:cubicBezTo>
                  <a:pt x="9" y="21"/>
                  <a:pt x="10" y="21"/>
                  <a:pt x="9" y="22"/>
                </a:cubicBezTo>
                <a:cubicBezTo>
                  <a:pt x="9" y="23"/>
                  <a:pt x="9" y="23"/>
                  <a:pt x="9" y="24"/>
                </a:cubicBezTo>
                <a:cubicBezTo>
                  <a:pt x="10" y="24"/>
                  <a:pt x="9" y="25"/>
                  <a:pt x="9" y="25"/>
                </a:cubicBezTo>
                <a:cubicBezTo>
                  <a:pt x="8" y="26"/>
                  <a:pt x="8" y="26"/>
                  <a:pt x="8" y="27"/>
                </a:cubicBezTo>
                <a:cubicBezTo>
                  <a:pt x="7" y="28"/>
                  <a:pt x="9" y="30"/>
                  <a:pt x="10" y="31"/>
                </a:cubicBezTo>
                <a:cubicBezTo>
                  <a:pt x="10" y="31"/>
                  <a:pt x="10" y="31"/>
                  <a:pt x="10" y="31"/>
                </a:cubicBezTo>
                <a:cubicBezTo>
                  <a:pt x="10" y="31"/>
                  <a:pt x="10" y="32"/>
                  <a:pt x="10" y="32"/>
                </a:cubicBezTo>
                <a:cubicBezTo>
                  <a:pt x="10" y="32"/>
                  <a:pt x="10" y="33"/>
                  <a:pt x="10" y="34"/>
                </a:cubicBezTo>
                <a:cubicBezTo>
                  <a:pt x="10" y="35"/>
                  <a:pt x="11" y="36"/>
                  <a:pt x="11" y="37"/>
                </a:cubicBezTo>
                <a:cubicBezTo>
                  <a:pt x="11" y="37"/>
                  <a:pt x="11" y="39"/>
                  <a:pt x="10" y="39"/>
                </a:cubicBezTo>
                <a:cubicBezTo>
                  <a:pt x="9" y="38"/>
                  <a:pt x="8" y="40"/>
                  <a:pt x="9" y="41"/>
                </a:cubicBezTo>
                <a:cubicBezTo>
                  <a:pt x="9" y="41"/>
                  <a:pt x="10" y="42"/>
                  <a:pt x="9" y="42"/>
                </a:cubicBezTo>
                <a:cubicBezTo>
                  <a:pt x="9" y="43"/>
                  <a:pt x="9" y="43"/>
                  <a:pt x="9" y="44"/>
                </a:cubicBezTo>
                <a:cubicBezTo>
                  <a:pt x="8" y="45"/>
                  <a:pt x="8" y="45"/>
                  <a:pt x="7" y="45"/>
                </a:cubicBezTo>
                <a:cubicBezTo>
                  <a:pt x="6" y="45"/>
                  <a:pt x="6" y="46"/>
                  <a:pt x="6" y="46"/>
                </a:cubicBezTo>
                <a:cubicBezTo>
                  <a:pt x="6" y="47"/>
                  <a:pt x="6" y="47"/>
                  <a:pt x="5" y="47"/>
                </a:cubicBezTo>
                <a:cubicBezTo>
                  <a:pt x="5" y="48"/>
                  <a:pt x="5" y="48"/>
                  <a:pt x="4" y="49"/>
                </a:cubicBezTo>
                <a:cubicBezTo>
                  <a:pt x="4" y="50"/>
                  <a:pt x="4" y="50"/>
                  <a:pt x="4" y="51"/>
                </a:cubicBezTo>
                <a:cubicBezTo>
                  <a:pt x="4" y="52"/>
                  <a:pt x="4" y="52"/>
                  <a:pt x="4" y="53"/>
                </a:cubicBezTo>
                <a:cubicBezTo>
                  <a:pt x="4" y="53"/>
                  <a:pt x="3" y="54"/>
                  <a:pt x="3" y="54"/>
                </a:cubicBezTo>
                <a:cubicBezTo>
                  <a:pt x="2" y="53"/>
                  <a:pt x="1" y="54"/>
                  <a:pt x="1" y="54"/>
                </a:cubicBezTo>
                <a:cubicBezTo>
                  <a:pt x="1" y="54"/>
                  <a:pt x="0" y="55"/>
                  <a:pt x="1" y="55"/>
                </a:cubicBezTo>
                <a:cubicBezTo>
                  <a:pt x="1" y="56"/>
                  <a:pt x="0" y="57"/>
                  <a:pt x="0" y="57"/>
                </a:cubicBezTo>
                <a:cubicBezTo>
                  <a:pt x="0" y="58"/>
                  <a:pt x="0" y="59"/>
                  <a:pt x="0" y="60"/>
                </a:cubicBezTo>
                <a:cubicBezTo>
                  <a:pt x="0" y="61"/>
                  <a:pt x="0" y="62"/>
                  <a:pt x="0" y="62"/>
                </a:cubicBezTo>
                <a:cubicBezTo>
                  <a:pt x="1" y="63"/>
                  <a:pt x="0" y="65"/>
                  <a:pt x="0" y="66"/>
                </a:cubicBezTo>
                <a:cubicBezTo>
                  <a:pt x="0" y="67"/>
                  <a:pt x="0" y="67"/>
                  <a:pt x="0" y="68"/>
                </a:cubicBezTo>
                <a:cubicBezTo>
                  <a:pt x="0" y="68"/>
                  <a:pt x="0" y="69"/>
                  <a:pt x="0" y="70"/>
                </a:cubicBezTo>
                <a:cubicBezTo>
                  <a:pt x="0" y="70"/>
                  <a:pt x="1" y="71"/>
                  <a:pt x="1" y="71"/>
                </a:cubicBezTo>
                <a:cubicBezTo>
                  <a:pt x="1" y="72"/>
                  <a:pt x="0" y="72"/>
                  <a:pt x="0" y="73"/>
                </a:cubicBezTo>
                <a:cubicBezTo>
                  <a:pt x="0" y="73"/>
                  <a:pt x="1" y="74"/>
                  <a:pt x="0" y="75"/>
                </a:cubicBezTo>
                <a:cubicBezTo>
                  <a:pt x="0" y="75"/>
                  <a:pt x="1" y="76"/>
                  <a:pt x="1" y="76"/>
                </a:cubicBezTo>
                <a:cubicBezTo>
                  <a:pt x="0" y="77"/>
                  <a:pt x="0" y="76"/>
                  <a:pt x="0" y="77"/>
                </a:cubicBezTo>
                <a:cubicBezTo>
                  <a:pt x="0" y="78"/>
                  <a:pt x="0" y="78"/>
                  <a:pt x="1" y="79"/>
                </a:cubicBezTo>
                <a:cubicBezTo>
                  <a:pt x="1" y="80"/>
                  <a:pt x="0" y="80"/>
                  <a:pt x="0" y="81"/>
                </a:cubicBezTo>
                <a:cubicBezTo>
                  <a:pt x="0" y="82"/>
                  <a:pt x="0" y="82"/>
                  <a:pt x="0" y="83"/>
                </a:cubicBezTo>
                <a:cubicBezTo>
                  <a:pt x="0" y="83"/>
                  <a:pt x="7" y="83"/>
                  <a:pt x="7" y="83"/>
                </a:cubicBezTo>
                <a:cubicBezTo>
                  <a:pt x="6" y="82"/>
                  <a:pt x="6" y="82"/>
                  <a:pt x="7" y="82"/>
                </a:cubicBezTo>
                <a:cubicBezTo>
                  <a:pt x="7" y="81"/>
                  <a:pt x="7" y="80"/>
                  <a:pt x="7" y="81"/>
                </a:cubicBezTo>
                <a:cubicBezTo>
                  <a:pt x="7" y="82"/>
                  <a:pt x="10" y="80"/>
                  <a:pt x="11" y="81"/>
                </a:cubicBezTo>
                <a:cubicBezTo>
                  <a:pt x="11" y="81"/>
                  <a:pt x="10" y="81"/>
                  <a:pt x="10" y="81"/>
                </a:cubicBezTo>
                <a:cubicBezTo>
                  <a:pt x="10" y="81"/>
                  <a:pt x="10" y="81"/>
                  <a:pt x="10" y="81"/>
                </a:cubicBezTo>
                <a:cubicBezTo>
                  <a:pt x="10" y="81"/>
                  <a:pt x="9" y="82"/>
                  <a:pt x="9" y="82"/>
                </a:cubicBezTo>
                <a:cubicBezTo>
                  <a:pt x="9" y="82"/>
                  <a:pt x="8" y="82"/>
                  <a:pt x="8" y="82"/>
                </a:cubicBezTo>
                <a:cubicBezTo>
                  <a:pt x="8" y="82"/>
                  <a:pt x="8" y="82"/>
                  <a:pt x="8" y="82"/>
                </a:cubicBezTo>
                <a:cubicBezTo>
                  <a:pt x="8" y="82"/>
                  <a:pt x="7" y="82"/>
                  <a:pt x="7" y="83"/>
                </a:cubicBezTo>
                <a:cubicBezTo>
                  <a:pt x="7" y="82"/>
                  <a:pt x="7" y="82"/>
                  <a:pt x="7" y="82"/>
                </a:cubicBezTo>
                <a:cubicBezTo>
                  <a:pt x="6" y="83"/>
                  <a:pt x="9" y="83"/>
                  <a:pt x="9" y="83"/>
                </a:cubicBezTo>
                <a:cubicBezTo>
                  <a:pt x="10" y="83"/>
                  <a:pt x="11" y="83"/>
                  <a:pt x="12" y="83"/>
                </a:cubicBezTo>
                <a:cubicBezTo>
                  <a:pt x="14" y="83"/>
                  <a:pt x="17" y="83"/>
                  <a:pt x="18" y="85"/>
                </a:cubicBezTo>
                <a:cubicBezTo>
                  <a:pt x="19" y="85"/>
                  <a:pt x="20" y="86"/>
                  <a:pt x="21" y="87"/>
                </a:cubicBezTo>
                <a:cubicBezTo>
                  <a:pt x="21" y="88"/>
                  <a:pt x="22" y="88"/>
                  <a:pt x="22" y="89"/>
                </a:cubicBezTo>
                <a:cubicBezTo>
                  <a:pt x="22" y="90"/>
                  <a:pt x="23" y="90"/>
                  <a:pt x="23" y="89"/>
                </a:cubicBezTo>
                <a:cubicBezTo>
                  <a:pt x="24" y="89"/>
                  <a:pt x="24" y="88"/>
                  <a:pt x="25" y="88"/>
                </a:cubicBezTo>
                <a:cubicBezTo>
                  <a:pt x="25" y="89"/>
                  <a:pt x="24" y="89"/>
                  <a:pt x="23" y="90"/>
                </a:cubicBezTo>
                <a:cubicBezTo>
                  <a:pt x="23" y="89"/>
                  <a:pt x="23" y="90"/>
                  <a:pt x="23" y="90"/>
                </a:cubicBezTo>
                <a:cubicBezTo>
                  <a:pt x="23" y="91"/>
                  <a:pt x="23" y="91"/>
                  <a:pt x="23" y="92"/>
                </a:cubicBezTo>
                <a:cubicBezTo>
                  <a:pt x="24" y="93"/>
                  <a:pt x="25" y="91"/>
                  <a:pt x="25" y="90"/>
                </a:cubicBezTo>
                <a:cubicBezTo>
                  <a:pt x="25" y="91"/>
                  <a:pt x="25" y="92"/>
                  <a:pt x="26" y="91"/>
                </a:cubicBezTo>
                <a:cubicBezTo>
                  <a:pt x="26" y="91"/>
                  <a:pt x="26" y="91"/>
                  <a:pt x="27" y="91"/>
                </a:cubicBezTo>
                <a:cubicBezTo>
                  <a:pt x="27" y="91"/>
                  <a:pt x="27" y="92"/>
                  <a:pt x="27" y="92"/>
                </a:cubicBezTo>
                <a:cubicBezTo>
                  <a:pt x="27" y="92"/>
                  <a:pt x="27" y="91"/>
                  <a:pt x="26" y="91"/>
                </a:cubicBezTo>
                <a:cubicBezTo>
                  <a:pt x="26" y="92"/>
                  <a:pt x="26" y="92"/>
                  <a:pt x="25" y="92"/>
                </a:cubicBezTo>
                <a:cubicBezTo>
                  <a:pt x="25" y="92"/>
                  <a:pt x="24" y="92"/>
                  <a:pt x="24" y="92"/>
                </a:cubicBezTo>
                <a:cubicBezTo>
                  <a:pt x="24" y="93"/>
                  <a:pt x="24" y="93"/>
                  <a:pt x="25" y="94"/>
                </a:cubicBezTo>
                <a:cubicBezTo>
                  <a:pt x="25" y="94"/>
                  <a:pt x="26" y="94"/>
                  <a:pt x="26" y="94"/>
                </a:cubicBezTo>
                <a:cubicBezTo>
                  <a:pt x="26" y="94"/>
                  <a:pt x="26" y="93"/>
                  <a:pt x="26" y="94"/>
                </a:cubicBezTo>
                <a:cubicBezTo>
                  <a:pt x="27" y="94"/>
                  <a:pt x="27" y="93"/>
                  <a:pt x="27" y="93"/>
                </a:cubicBezTo>
                <a:cubicBezTo>
                  <a:pt x="27" y="93"/>
                  <a:pt x="28" y="93"/>
                  <a:pt x="28" y="92"/>
                </a:cubicBezTo>
                <a:cubicBezTo>
                  <a:pt x="28" y="93"/>
                  <a:pt x="28" y="93"/>
                  <a:pt x="27" y="93"/>
                </a:cubicBezTo>
                <a:cubicBezTo>
                  <a:pt x="27" y="93"/>
                  <a:pt x="27" y="94"/>
                  <a:pt x="28" y="94"/>
                </a:cubicBezTo>
                <a:cubicBezTo>
                  <a:pt x="27" y="94"/>
                  <a:pt x="27" y="95"/>
                  <a:pt x="26" y="94"/>
                </a:cubicBezTo>
                <a:cubicBezTo>
                  <a:pt x="26" y="94"/>
                  <a:pt x="25" y="94"/>
                  <a:pt x="25" y="95"/>
                </a:cubicBezTo>
                <a:cubicBezTo>
                  <a:pt x="25" y="95"/>
                  <a:pt x="25" y="96"/>
                  <a:pt x="26" y="96"/>
                </a:cubicBezTo>
                <a:cubicBezTo>
                  <a:pt x="26" y="97"/>
                  <a:pt x="26" y="97"/>
                  <a:pt x="26" y="96"/>
                </a:cubicBezTo>
                <a:cubicBezTo>
                  <a:pt x="27" y="96"/>
                  <a:pt x="27" y="97"/>
                  <a:pt x="27" y="97"/>
                </a:cubicBezTo>
                <a:cubicBezTo>
                  <a:pt x="26" y="97"/>
                  <a:pt x="26" y="97"/>
                  <a:pt x="27" y="97"/>
                </a:cubicBezTo>
                <a:cubicBezTo>
                  <a:pt x="26" y="97"/>
                  <a:pt x="26" y="97"/>
                  <a:pt x="26" y="97"/>
                </a:cubicBezTo>
                <a:cubicBezTo>
                  <a:pt x="26" y="97"/>
                  <a:pt x="26" y="98"/>
                  <a:pt x="26" y="98"/>
                </a:cubicBezTo>
                <a:cubicBezTo>
                  <a:pt x="26" y="99"/>
                  <a:pt x="26" y="99"/>
                  <a:pt x="27" y="100"/>
                </a:cubicBezTo>
                <a:cubicBezTo>
                  <a:pt x="27" y="100"/>
                  <a:pt x="27" y="100"/>
                  <a:pt x="27" y="100"/>
                </a:cubicBezTo>
                <a:cubicBezTo>
                  <a:pt x="27" y="100"/>
                  <a:pt x="27" y="101"/>
                  <a:pt x="27" y="101"/>
                </a:cubicBezTo>
                <a:cubicBezTo>
                  <a:pt x="28" y="102"/>
                  <a:pt x="28" y="102"/>
                  <a:pt x="28" y="102"/>
                </a:cubicBezTo>
                <a:cubicBezTo>
                  <a:pt x="28" y="103"/>
                  <a:pt x="28" y="103"/>
                  <a:pt x="29" y="104"/>
                </a:cubicBezTo>
                <a:cubicBezTo>
                  <a:pt x="29" y="104"/>
                  <a:pt x="30" y="104"/>
                  <a:pt x="29" y="104"/>
                </a:cubicBezTo>
                <a:cubicBezTo>
                  <a:pt x="30" y="104"/>
                  <a:pt x="30" y="105"/>
                  <a:pt x="30" y="105"/>
                </a:cubicBezTo>
                <a:cubicBezTo>
                  <a:pt x="30" y="105"/>
                  <a:pt x="30" y="105"/>
                  <a:pt x="30" y="105"/>
                </a:cubicBezTo>
                <a:cubicBezTo>
                  <a:pt x="30" y="105"/>
                  <a:pt x="32" y="106"/>
                  <a:pt x="31" y="105"/>
                </a:cubicBezTo>
                <a:cubicBezTo>
                  <a:pt x="32" y="105"/>
                  <a:pt x="31" y="106"/>
                  <a:pt x="32" y="105"/>
                </a:cubicBezTo>
                <a:cubicBezTo>
                  <a:pt x="32" y="105"/>
                  <a:pt x="32" y="105"/>
                  <a:pt x="32" y="106"/>
                </a:cubicBezTo>
                <a:cubicBezTo>
                  <a:pt x="32" y="106"/>
                  <a:pt x="32" y="106"/>
                  <a:pt x="32" y="106"/>
                </a:cubicBezTo>
                <a:cubicBezTo>
                  <a:pt x="32" y="105"/>
                  <a:pt x="32" y="105"/>
                  <a:pt x="32" y="105"/>
                </a:cubicBezTo>
                <a:cubicBezTo>
                  <a:pt x="32" y="104"/>
                  <a:pt x="33" y="105"/>
                  <a:pt x="33" y="105"/>
                </a:cubicBezTo>
                <a:cubicBezTo>
                  <a:pt x="33" y="106"/>
                  <a:pt x="32" y="106"/>
                  <a:pt x="33" y="106"/>
                </a:cubicBezTo>
                <a:cubicBezTo>
                  <a:pt x="33" y="106"/>
                  <a:pt x="34" y="106"/>
                  <a:pt x="34" y="106"/>
                </a:cubicBezTo>
                <a:cubicBezTo>
                  <a:pt x="34" y="106"/>
                  <a:pt x="34" y="106"/>
                  <a:pt x="34" y="106"/>
                </a:cubicBezTo>
                <a:cubicBezTo>
                  <a:pt x="34" y="105"/>
                  <a:pt x="34" y="105"/>
                  <a:pt x="34" y="104"/>
                </a:cubicBezTo>
                <a:cubicBezTo>
                  <a:pt x="34" y="105"/>
                  <a:pt x="34" y="105"/>
                  <a:pt x="34" y="105"/>
                </a:cubicBezTo>
                <a:cubicBezTo>
                  <a:pt x="34" y="104"/>
                  <a:pt x="34" y="104"/>
                  <a:pt x="34" y="104"/>
                </a:cubicBezTo>
                <a:cubicBezTo>
                  <a:pt x="34" y="104"/>
                  <a:pt x="34" y="105"/>
                  <a:pt x="34" y="105"/>
                </a:cubicBezTo>
                <a:cubicBezTo>
                  <a:pt x="34" y="105"/>
                  <a:pt x="35" y="104"/>
                  <a:pt x="35" y="104"/>
                </a:cubicBezTo>
                <a:cubicBezTo>
                  <a:pt x="35" y="104"/>
                  <a:pt x="34" y="106"/>
                  <a:pt x="34" y="106"/>
                </a:cubicBezTo>
                <a:cubicBezTo>
                  <a:pt x="34" y="106"/>
                  <a:pt x="36" y="106"/>
                  <a:pt x="36" y="106"/>
                </a:cubicBezTo>
                <a:cubicBezTo>
                  <a:pt x="36" y="105"/>
                  <a:pt x="37" y="106"/>
                  <a:pt x="37" y="106"/>
                </a:cubicBezTo>
                <a:cubicBezTo>
                  <a:pt x="38" y="105"/>
                  <a:pt x="37" y="104"/>
                  <a:pt x="37" y="104"/>
                </a:cubicBezTo>
                <a:cubicBezTo>
                  <a:pt x="38" y="104"/>
                  <a:pt x="37" y="105"/>
                  <a:pt x="38" y="106"/>
                </a:cubicBezTo>
                <a:cubicBezTo>
                  <a:pt x="39" y="106"/>
                  <a:pt x="38" y="104"/>
                  <a:pt x="38" y="104"/>
                </a:cubicBezTo>
                <a:cubicBezTo>
                  <a:pt x="38" y="104"/>
                  <a:pt x="38" y="104"/>
                  <a:pt x="38" y="105"/>
                </a:cubicBezTo>
                <a:cubicBezTo>
                  <a:pt x="39" y="104"/>
                  <a:pt x="38" y="103"/>
                  <a:pt x="39" y="103"/>
                </a:cubicBezTo>
                <a:cubicBezTo>
                  <a:pt x="39" y="103"/>
                  <a:pt x="38" y="105"/>
                  <a:pt x="39" y="105"/>
                </a:cubicBezTo>
                <a:cubicBezTo>
                  <a:pt x="39" y="106"/>
                  <a:pt x="40" y="106"/>
                  <a:pt x="40" y="105"/>
                </a:cubicBezTo>
                <a:cubicBezTo>
                  <a:pt x="40" y="105"/>
                  <a:pt x="40" y="105"/>
                  <a:pt x="40" y="105"/>
                </a:cubicBezTo>
                <a:cubicBezTo>
                  <a:pt x="40" y="104"/>
                  <a:pt x="39" y="104"/>
                  <a:pt x="40" y="103"/>
                </a:cubicBezTo>
                <a:cubicBezTo>
                  <a:pt x="40" y="102"/>
                  <a:pt x="39" y="102"/>
                  <a:pt x="39" y="102"/>
                </a:cubicBezTo>
                <a:cubicBezTo>
                  <a:pt x="39" y="101"/>
                  <a:pt x="39" y="101"/>
                  <a:pt x="39" y="100"/>
                </a:cubicBezTo>
                <a:cubicBezTo>
                  <a:pt x="39" y="100"/>
                  <a:pt x="39" y="100"/>
                  <a:pt x="39" y="100"/>
                </a:cubicBezTo>
                <a:cubicBezTo>
                  <a:pt x="39" y="101"/>
                  <a:pt x="39" y="101"/>
                  <a:pt x="39" y="101"/>
                </a:cubicBezTo>
                <a:cubicBezTo>
                  <a:pt x="39" y="101"/>
                  <a:pt x="39" y="102"/>
                  <a:pt x="39" y="102"/>
                </a:cubicBezTo>
                <a:cubicBezTo>
                  <a:pt x="39" y="102"/>
                  <a:pt x="40" y="102"/>
                  <a:pt x="40" y="103"/>
                </a:cubicBezTo>
                <a:cubicBezTo>
                  <a:pt x="39" y="103"/>
                  <a:pt x="40" y="105"/>
                  <a:pt x="40" y="105"/>
                </a:cubicBezTo>
                <a:cubicBezTo>
                  <a:pt x="41" y="105"/>
                  <a:pt x="41" y="105"/>
                  <a:pt x="42" y="105"/>
                </a:cubicBezTo>
                <a:cubicBezTo>
                  <a:pt x="42" y="105"/>
                  <a:pt x="41" y="104"/>
                  <a:pt x="41" y="104"/>
                </a:cubicBezTo>
                <a:cubicBezTo>
                  <a:pt x="41" y="104"/>
                  <a:pt x="41" y="102"/>
                  <a:pt x="41" y="103"/>
                </a:cubicBezTo>
                <a:cubicBezTo>
                  <a:pt x="41" y="103"/>
                  <a:pt x="40" y="102"/>
                  <a:pt x="40" y="102"/>
                </a:cubicBezTo>
                <a:cubicBezTo>
                  <a:pt x="41" y="102"/>
                  <a:pt x="41" y="103"/>
                  <a:pt x="41" y="103"/>
                </a:cubicBezTo>
                <a:cubicBezTo>
                  <a:pt x="41" y="103"/>
                  <a:pt x="41" y="102"/>
                  <a:pt x="41" y="101"/>
                </a:cubicBezTo>
                <a:cubicBezTo>
                  <a:pt x="41" y="102"/>
                  <a:pt x="41" y="102"/>
                  <a:pt x="41" y="102"/>
                </a:cubicBezTo>
                <a:cubicBezTo>
                  <a:pt x="42" y="102"/>
                  <a:pt x="41" y="103"/>
                  <a:pt x="42" y="104"/>
                </a:cubicBezTo>
                <a:cubicBezTo>
                  <a:pt x="42" y="104"/>
                  <a:pt x="42" y="104"/>
                  <a:pt x="42" y="104"/>
                </a:cubicBezTo>
                <a:cubicBezTo>
                  <a:pt x="42" y="105"/>
                  <a:pt x="42" y="104"/>
                  <a:pt x="42" y="104"/>
                </a:cubicBezTo>
                <a:cubicBezTo>
                  <a:pt x="42" y="104"/>
                  <a:pt x="43" y="104"/>
                  <a:pt x="43" y="104"/>
                </a:cubicBezTo>
                <a:cubicBezTo>
                  <a:pt x="43" y="104"/>
                  <a:pt x="43" y="103"/>
                  <a:pt x="43" y="103"/>
                </a:cubicBezTo>
                <a:cubicBezTo>
                  <a:pt x="43" y="102"/>
                  <a:pt x="42" y="102"/>
                  <a:pt x="42" y="101"/>
                </a:cubicBezTo>
                <a:cubicBezTo>
                  <a:pt x="42" y="101"/>
                  <a:pt x="42" y="102"/>
                  <a:pt x="43" y="102"/>
                </a:cubicBezTo>
                <a:cubicBezTo>
                  <a:pt x="43" y="102"/>
                  <a:pt x="43" y="102"/>
                  <a:pt x="43" y="102"/>
                </a:cubicBezTo>
                <a:cubicBezTo>
                  <a:pt x="43" y="102"/>
                  <a:pt x="43" y="103"/>
                  <a:pt x="43" y="103"/>
                </a:cubicBezTo>
                <a:cubicBezTo>
                  <a:pt x="44" y="103"/>
                  <a:pt x="44" y="103"/>
                  <a:pt x="44" y="104"/>
                </a:cubicBezTo>
                <a:cubicBezTo>
                  <a:pt x="44" y="104"/>
                  <a:pt x="45" y="104"/>
                  <a:pt x="45" y="103"/>
                </a:cubicBezTo>
                <a:cubicBezTo>
                  <a:pt x="44" y="103"/>
                  <a:pt x="44" y="103"/>
                  <a:pt x="44" y="103"/>
                </a:cubicBezTo>
                <a:cubicBezTo>
                  <a:pt x="45" y="103"/>
                  <a:pt x="45" y="103"/>
                  <a:pt x="45" y="103"/>
                </a:cubicBezTo>
                <a:cubicBezTo>
                  <a:pt x="47" y="103"/>
                  <a:pt x="46" y="102"/>
                  <a:pt x="47" y="102"/>
                </a:cubicBezTo>
                <a:cubicBezTo>
                  <a:pt x="47" y="102"/>
                  <a:pt x="47" y="103"/>
                  <a:pt x="47" y="104"/>
                </a:cubicBezTo>
                <a:cubicBezTo>
                  <a:pt x="47" y="104"/>
                  <a:pt x="48" y="104"/>
                  <a:pt x="49" y="104"/>
                </a:cubicBezTo>
                <a:cubicBezTo>
                  <a:pt x="48" y="103"/>
                  <a:pt x="50" y="103"/>
                  <a:pt x="50" y="103"/>
                </a:cubicBezTo>
                <a:cubicBezTo>
                  <a:pt x="51" y="103"/>
                  <a:pt x="51" y="103"/>
                  <a:pt x="52" y="103"/>
                </a:cubicBezTo>
                <a:cubicBezTo>
                  <a:pt x="53" y="103"/>
                  <a:pt x="54" y="104"/>
                  <a:pt x="54" y="103"/>
                </a:cubicBezTo>
                <a:cubicBezTo>
                  <a:pt x="55" y="102"/>
                  <a:pt x="54" y="101"/>
                  <a:pt x="54" y="100"/>
                </a:cubicBezTo>
                <a:cubicBezTo>
                  <a:pt x="54" y="100"/>
                  <a:pt x="54" y="100"/>
                  <a:pt x="53" y="99"/>
                </a:cubicBezTo>
                <a:cubicBezTo>
                  <a:pt x="53" y="99"/>
                  <a:pt x="53" y="99"/>
                  <a:pt x="53" y="98"/>
                </a:cubicBezTo>
                <a:cubicBezTo>
                  <a:pt x="53" y="99"/>
                  <a:pt x="55" y="101"/>
                  <a:pt x="55" y="100"/>
                </a:cubicBezTo>
                <a:cubicBezTo>
                  <a:pt x="55" y="101"/>
                  <a:pt x="55" y="101"/>
                  <a:pt x="56" y="101"/>
                </a:cubicBezTo>
                <a:cubicBezTo>
                  <a:pt x="56" y="101"/>
                  <a:pt x="56" y="102"/>
                  <a:pt x="56" y="101"/>
                </a:cubicBezTo>
                <a:cubicBezTo>
                  <a:pt x="57" y="101"/>
                  <a:pt x="56" y="100"/>
                  <a:pt x="57" y="100"/>
                </a:cubicBezTo>
                <a:cubicBezTo>
                  <a:pt x="57" y="100"/>
                  <a:pt x="57" y="99"/>
                  <a:pt x="58" y="99"/>
                </a:cubicBezTo>
                <a:cubicBezTo>
                  <a:pt x="59" y="97"/>
                  <a:pt x="59" y="95"/>
                  <a:pt x="59" y="94"/>
                </a:cubicBezTo>
                <a:cubicBezTo>
                  <a:pt x="59" y="93"/>
                  <a:pt x="60" y="92"/>
                  <a:pt x="60" y="91"/>
                </a:cubicBezTo>
                <a:cubicBezTo>
                  <a:pt x="59" y="91"/>
                  <a:pt x="59" y="91"/>
                  <a:pt x="60" y="90"/>
                </a:cubicBezTo>
                <a:cubicBezTo>
                  <a:pt x="60" y="90"/>
                  <a:pt x="59" y="89"/>
                  <a:pt x="60" y="89"/>
                </a:cubicBezTo>
                <a:cubicBezTo>
                  <a:pt x="60" y="88"/>
                  <a:pt x="60" y="89"/>
                  <a:pt x="61" y="88"/>
                </a:cubicBezTo>
                <a:cubicBezTo>
                  <a:pt x="61" y="88"/>
                  <a:pt x="61" y="87"/>
                  <a:pt x="62" y="87"/>
                </a:cubicBezTo>
                <a:cubicBezTo>
                  <a:pt x="62" y="86"/>
                  <a:pt x="63" y="86"/>
                  <a:pt x="63" y="85"/>
                </a:cubicBezTo>
                <a:cubicBezTo>
                  <a:pt x="64" y="85"/>
                  <a:pt x="64" y="84"/>
                  <a:pt x="64" y="84"/>
                </a:cubicBezTo>
                <a:cubicBezTo>
                  <a:pt x="65" y="84"/>
                  <a:pt x="65" y="84"/>
                  <a:pt x="65" y="83"/>
                </a:cubicBezTo>
                <a:cubicBezTo>
                  <a:pt x="65" y="83"/>
                  <a:pt x="65" y="83"/>
                  <a:pt x="66" y="83"/>
                </a:cubicBezTo>
                <a:cubicBezTo>
                  <a:pt x="66" y="83"/>
                  <a:pt x="66" y="83"/>
                  <a:pt x="66" y="82"/>
                </a:cubicBezTo>
                <a:cubicBezTo>
                  <a:pt x="66" y="82"/>
                  <a:pt x="66" y="82"/>
                  <a:pt x="67" y="82"/>
                </a:cubicBezTo>
                <a:cubicBezTo>
                  <a:pt x="67" y="81"/>
                  <a:pt x="68" y="82"/>
                  <a:pt x="68" y="81"/>
                </a:cubicBezTo>
                <a:cubicBezTo>
                  <a:pt x="68" y="80"/>
                  <a:pt x="68" y="79"/>
                  <a:pt x="68" y="79"/>
                </a:cubicBezTo>
                <a:cubicBezTo>
                  <a:pt x="69" y="78"/>
                  <a:pt x="69" y="79"/>
                  <a:pt x="69" y="79"/>
                </a:cubicBezTo>
                <a:cubicBezTo>
                  <a:pt x="69" y="79"/>
                  <a:pt x="70" y="78"/>
                  <a:pt x="70" y="78"/>
                </a:cubicBezTo>
                <a:cubicBezTo>
                  <a:pt x="70" y="78"/>
                  <a:pt x="72" y="76"/>
                  <a:pt x="72" y="76"/>
                </a:cubicBezTo>
                <a:cubicBezTo>
                  <a:pt x="72" y="78"/>
                  <a:pt x="74" y="78"/>
                  <a:pt x="75" y="78"/>
                </a:cubicBezTo>
                <a:cubicBezTo>
                  <a:pt x="76" y="78"/>
                  <a:pt x="76" y="76"/>
                  <a:pt x="76" y="76"/>
                </a:cubicBezTo>
                <a:cubicBezTo>
                  <a:pt x="76" y="75"/>
                  <a:pt x="76" y="75"/>
                  <a:pt x="76" y="75"/>
                </a:cubicBezTo>
                <a:cubicBezTo>
                  <a:pt x="76" y="76"/>
                  <a:pt x="77" y="76"/>
                  <a:pt x="77" y="76"/>
                </a:cubicBezTo>
                <a:cubicBezTo>
                  <a:pt x="78" y="76"/>
                  <a:pt x="78" y="77"/>
                  <a:pt x="79" y="77"/>
                </a:cubicBezTo>
                <a:cubicBezTo>
                  <a:pt x="79" y="77"/>
                  <a:pt x="79" y="78"/>
                  <a:pt x="79" y="78"/>
                </a:cubicBezTo>
                <a:cubicBezTo>
                  <a:pt x="80" y="79"/>
                  <a:pt x="81" y="79"/>
                  <a:pt x="81" y="79"/>
                </a:cubicBezTo>
                <a:cubicBezTo>
                  <a:pt x="81" y="80"/>
                  <a:pt x="81" y="80"/>
                  <a:pt x="81" y="81"/>
                </a:cubicBezTo>
                <a:cubicBezTo>
                  <a:pt x="81" y="82"/>
                  <a:pt x="82" y="83"/>
                  <a:pt x="83" y="83"/>
                </a:cubicBezTo>
                <a:cubicBezTo>
                  <a:pt x="83" y="82"/>
                  <a:pt x="84" y="82"/>
                  <a:pt x="84" y="82"/>
                </a:cubicBezTo>
                <a:cubicBezTo>
                  <a:pt x="84" y="81"/>
                  <a:pt x="84" y="81"/>
                  <a:pt x="85" y="81"/>
                </a:cubicBezTo>
                <a:cubicBezTo>
                  <a:pt x="86" y="80"/>
                  <a:pt x="86" y="80"/>
                  <a:pt x="86" y="79"/>
                </a:cubicBezTo>
                <a:cubicBezTo>
                  <a:pt x="86" y="79"/>
                  <a:pt x="85" y="78"/>
                  <a:pt x="86" y="78"/>
                </a:cubicBezTo>
                <a:cubicBezTo>
                  <a:pt x="86" y="77"/>
                  <a:pt x="87" y="76"/>
                  <a:pt x="87" y="76"/>
                </a:cubicBezTo>
                <a:cubicBezTo>
                  <a:pt x="88" y="76"/>
                  <a:pt x="88" y="76"/>
                  <a:pt x="88" y="75"/>
                </a:cubicBezTo>
                <a:cubicBezTo>
                  <a:pt x="89" y="75"/>
                  <a:pt x="89" y="75"/>
                  <a:pt x="88" y="75"/>
                </a:cubicBezTo>
                <a:cubicBezTo>
                  <a:pt x="88" y="75"/>
                  <a:pt x="88" y="73"/>
                  <a:pt x="88" y="73"/>
                </a:cubicBezTo>
                <a:cubicBezTo>
                  <a:pt x="88" y="72"/>
                  <a:pt x="89" y="72"/>
                  <a:pt x="90" y="70"/>
                </a:cubicBezTo>
                <a:cubicBezTo>
                  <a:pt x="90" y="70"/>
                  <a:pt x="90" y="68"/>
                  <a:pt x="91" y="68"/>
                </a:cubicBezTo>
                <a:cubicBezTo>
                  <a:pt x="91" y="67"/>
                  <a:pt x="92" y="66"/>
                  <a:pt x="92" y="66"/>
                </a:cubicBezTo>
                <a:cubicBezTo>
                  <a:pt x="92" y="65"/>
                  <a:pt x="92" y="65"/>
                  <a:pt x="92" y="64"/>
                </a:cubicBezTo>
                <a:cubicBezTo>
                  <a:pt x="92" y="64"/>
                  <a:pt x="92" y="64"/>
                  <a:pt x="92" y="63"/>
                </a:cubicBezTo>
                <a:cubicBezTo>
                  <a:pt x="92" y="63"/>
                  <a:pt x="92" y="62"/>
                  <a:pt x="92" y="61"/>
                </a:cubicBezTo>
                <a:cubicBezTo>
                  <a:pt x="92" y="60"/>
                  <a:pt x="93" y="61"/>
                  <a:pt x="93" y="60"/>
                </a:cubicBezTo>
                <a:cubicBezTo>
                  <a:pt x="94" y="60"/>
                  <a:pt x="94" y="59"/>
                  <a:pt x="94" y="59"/>
                </a:cubicBezTo>
                <a:cubicBezTo>
                  <a:pt x="94" y="59"/>
                  <a:pt x="94" y="59"/>
                  <a:pt x="94" y="58"/>
                </a:cubicBezTo>
                <a:cubicBezTo>
                  <a:pt x="95" y="58"/>
                  <a:pt x="95" y="58"/>
                  <a:pt x="95" y="59"/>
                </a:cubicBezTo>
                <a:cubicBezTo>
                  <a:pt x="96" y="59"/>
                  <a:pt x="96" y="58"/>
                  <a:pt x="96" y="58"/>
                </a:cubicBezTo>
                <a:cubicBezTo>
                  <a:pt x="97" y="58"/>
                  <a:pt x="97" y="57"/>
                  <a:pt x="97" y="57"/>
                </a:cubicBezTo>
                <a:cubicBezTo>
                  <a:pt x="98" y="57"/>
                  <a:pt x="98" y="57"/>
                  <a:pt x="98" y="56"/>
                </a:cubicBezTo>
                <a:cubicBezTo>
                  <a:pt x="98" y="55"/>
                  <a:pt x="98" y="54"/>
                  <a:pt x="98" y="53"/>
                </a:cubicBezTo>
                <a:cubicBezTo>
                  <a:pt x="98" y="52"/>
                  <a:pt x="99" y="51"/>
                  <a:pt x="98" y="50"/>
                </a:cubicBezTo>
                <a:cubicBezTo>
                  <a:pt x="98" y="50"/>
                  <a:pt x="99" y="50"/>
                  <a:pt x="99" y="50"/>
                </a:cubicBezTo>
                <a:cubicBezTo>
                  <a:pt x="99" y="49"/>
                  <a:pt x="99" y="49"/>
                  <a:pt x="100" y="49"/>
                </a:cubicBezTo>
                <a:cubicBezTo>
                  <a:pt x="100" y="49"/>
                  <a:pt x="101" y="49"/>
                  <a:pt x="101" y="48"/>
                </a:cubicBezTo>
                <a:cubicBezTo>
                  <a:pt x="102" y="48"/>
                  <a:pt x="102" y="46"/>
                  <a:pt x="102" y="46"/>
                </a:cubicBezTo>
                <a:cubicBezTo>
                  <a:pt x="102" y="45"/>
                  <a:pt x="102" y="45"/>
                  <a:pt x="102" y="45"/>
                </a:cubicBezTo>
                <a:cubicBezTo>
                  <a:pt x="102" y="44"/>
                  <a:pt x="102" y="44"/>
                  <a:pt x="102" y="44"/>
                </a:cubicBezTo>
                <a:cubicBezTo>
                  <a:pt x="102" y="43"/>
                  <a:pt x="102" y="43"/>
                  <a:pt x="102" y="42"/>
                </a:cubicBezTo>
                <a:cubicBezTo>
                  <a:pt x="103" y="42"/>
                  <a:pt x="103" y="42"/>
                  <a:pt x="104" y="42"/>
                </a:cubicBezTo>
                <a:cubicBezTo>
                  <a:pt x="104" y="41"/>
                  <a:pt x="104" y="40"/>
                  <a:pt x="104" y="40"/>
                </a:cubicBezTo>
                <a:cubicBezTo>
                  <a:pt x="104" y="39"/>
                  <a:pt x="104" y="38"/>
                  <a:pt x="105" y="37"/>
                </a:cubicBezTo>
                <a:cubicBezTo>
                  <a:pt x="105" y="36"/>
                  <a:pt x="106" y="34"/>
                  <a:pt x="107" y="33"/>
                </a:cubicBezTo>
                <a:cubicBezTo>
                  <a:pt x="107" y="32"/>
                  <a:pt x="107" y="32"/>
                  <a:pt x="108" y="31"/>
                </a:cubicBezTo>
                <a:cubicBezTo>
                  <a:pt x="108" y="31"/>
                  <a:pt x="108" y="30"/>
                  <a:pt x="109" y="30"/>
                </a:cubicBezTo>
                <a:cubicBezTo>
                  <a:pt x="109" y="29"/>
                  <a:pt x="109" y="29"/>
                  <a:pt x="110" y="30"/>
                </a:cubicBezTo>
                <a:cubicBezTo>
                  <a:pt x="111" y="30"/>
                  <a:pt x="111" y="29"/>
                  <a:pt x="112" y="29"/>
                </a:cubicBezTo>
                <a:cubicBezTo>
                  <a:pt x="112" y="28"/>
                  <a:pt x="113" y="28"/>
                  <a:pt x="113" y="28"/>
                </a:cubicBezTo>
                <a:cubicBezTo>
                  <a:pt x="114" y="28"/>
                  <a:pt x="114" y="27"/>
                  <a:pt x="115" y="27"/>
                </a:cubicBezTo>
                <a:cubicBezTo>
                  <a:pt x="115" y="26"/>
                  <a:pt x="115" y="26"/>
                  <a:pt x="115" y="25"/>
                </a:cubicBezTo>
                <a:cubicBezTo>
                  <a:pt x="114" y="24"/>
                  <a:pt x="115" y="24"/>
                  <a:pt x="115" y="24"/>
                </a:cubicBezTo>
                <a:cubicBezTo>
                  <a:pt x="115" y="23"/>
                  <a:pt x="115" y="22"/>
                  <a:pt x="115" y="2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7" name="Niger"/>
          <p:cNvSpPr>
            <a:spLocks/>
          </p:cNvSpPr>
          <p:nvPr/>
        </p:nvSpPr>
        <p:spPr bwMode="auto">
          <a:xfrm>
            <a:off x="5803082" y="3730972"/>
            <a:ext cx="548979" cy="469983"/>
          </a:xfrm>
          <a:custGeom>
            <a:avLst/>
            <a:gdLst/>
            <a:ahLst/>
            <a:cxnLst>
              <a:cxn ang="0">
                <a:pos x="147" y="29"/>
              </a:cxn>
              <a:cxn ang="0">
                <a:pos x="144" y="18"/>
              </a:cxn>
              <a:cxn ang="0">
                <a:pos x="136" y="9"/>
              </a:cxn>
              <a:cxn ang="0">
                <a:pos x="132" y="7"/>
              </a:cxn>
              <a:cxn ang="0">
                <a:pos x="113" y="0"/>
              </a:cxn>
              <a:cxn ang="0">
                <a:pos x="64" y="35"/>
              </a:cxn>
              <a:cxn ang="0">
                <a:pos x="52" y="45"/>
              </a:cxn>
              <a:cxn ang="0">
                <a:pos x="39" y="50"/>
              </a:cxn>
              <a:cxn ang="0">
                <a:pos x="39" y="71"/>
              </a:cxn>
              <a:cxn ang="0">
                <a:pos x="39" y="78"/>
              </a:cxn>
              <a:cxn ang="0">
                <a:pos x="37" y="83"/>
              </a:cxn>
              <a:cxn ang="0">
                <a:pos x="33" y="88"/>
              </a:cxn>
              <a:cxn ang="0">
                <a:pos x="28" y="89"/>
              </a:cxn>
              <a:cxn ang="0">
                <a:pos x="12" y="90"/>
              </a:cxn>
              <a:cxn ang="0">
                <a:pos x="3" y="94"/>
              </a:cxn>
              <a:cxn ang="0">
                <a:pos x="0" y="95"/>
              </a:cxn>
              <a:cxn ang="0">
                <a:pos x="2" y="101"/>
              </a:cxn>
              <a:cxn ang="0">
                <a:pos x="4" y="106"/>
              </a:cxn>
              <a:cxn ang="0">
                <a:pos x="6" y="109"/>
              </a:cxn>
              <a:cxn ang="0">
                <a:pos x="10" y="111"/>
              </a:cxn>
              <a:cxn ang="0">
                <a:pos x="8" y="114"/>
              </a:cxn>
              <a:cxn ang="0">
                <a:pos x="14" y="119"/>
              </a:cxn>
              <a:cxn ang="0">
                <a:pos x="19" y="120"/>
              </a:cxn>
              <a:cxn ang="0">
                <a:pos x="18" y="122"/>
              </a:cxn>
              <a:cxn ang="0">
                <a:pos x="22" y="127"/>
              </a:cxn>
              <a:cxn ang="0">
                <a:pos x="22" y="123"/>
              </a:cxn>
              <a:cxn ang="0">
                <a:pos x="26" y="123"/>
              </a:cxn>
              <a:cxn ang="0">
                <a:pos x="30" y="127"/>
              </a:cxn>
              <a:cxn ang="0">
                <a:pos x="33" y="129"/>
              </a:cxn>
              <a:cxn ang="0">
                <a:pos x="34" y="120"/>
              </a:cxn>
              <a:cxn ang="0">
                <a:pos x="38" y="111"/>
              </a:cxn>
              <a:cxn ang="0">
                <a:pos x="46" y="107"/>
              </a:cxn>
              <a:cxn ang="0">
                <a:pos x="51" y="106"/>
              </a:cxn>
              <a:cxn ang="0">
                <a:pos x="59" y="108"/>
              </a:cxn>
              <a:cxn ang="0">
                <a:pos x="65" y="115"/>
              </a:cxn>
              <a:cxn ang="0">
                <a:pos x="70" y="114"/>
              </a:cxn>
              <a:cxn ang="0">
                <a:pos x="79" y="114"/>
              </a:cxn>
              <a:cxn ang="0">
                <a:pos x="88" y="117"/>
              </a:cxn>
              <a:cxn ang="0">
                <a:pos x="93" y="115"/>
              </a:cxn>
              <a:cxn ang="0">
                <a:pos x="97" y="112"/>
              </a:cxn>
              <a:cxn ang="0">
                <a:pos x="107" y="111"/>
              </a:cxn>
              <a:cxn ang="0">
                <a:pos x="116" y="114"/>
              </a:cxn>
              <a:cxn ang="0">
                <a:pos x="120" y="112"/>
              </a:cxn>
              <a:cxn ang="0">
                <a:pos x="122" y="110"/>
              </a:cxn>
              <a:cxn ang="0">
                <a:pos x="126" y="108"/>
              </a:cxn>
              <a:cxn ang="0">
                <a:pos x="129" y="99"/>
              </a:cxn>
              <a:cxn ang="0">
                <a:pos x="131" y="95"/>
              </a:cxn>
              <a:cxn ang="0">
                <a:pos x="144" y="76"/>
              </a:cxn>
              <a:cxn ang="0">
                <a:pos x="149" y="44"/>
              </a:cxn>
              <a:cxn ang="0">
                <a:pos x="150" y="32"/>
              </a:cxn>
            </a:cxnLst>
            <a:rect l="0" t="0" r="r" b="b"/>
            <a:pathLst>
              <a:path w="152" h="130">
                <a:moveTo>
                  <a:pt x="150" y="32"/>
                </a:moveTo>
                <a:cubicBezTo>
                  <a:pt x="149" y="32"/>
                  <a:pt x="149" y="31"/>
                  <a:pt x="148" y="31"/>
                </a:cubicBezTo>
                <a:cubicBezTo>
                  <a:pt x="147" y="30"/>
                  <a:pt x="147" y="29"/>
                  <a:pt x="147" y="29"/>
                </a:cubicBezTo>
                <a:cubicBezTo>
                  <a:pt x="148" y="28"/>
                  <a:pt x="148" y="28"/>
                  <a:pt x="148" y="27"/>
                </a:cubicBezTo>
                <a:cubicBezTo>
                  <a:pt x="146" y="26"/>
                  <a:pt x="146" y="24"/>
                  <a:pt x="144" y="22"/>
                </a:cubicBezTo>
                <a:cubicBezTo>
                  <a:pt x="143" y="21"/>
                  <a:pt x="144" y="19"/>
                  <a:pt x="144" y="18"/>
                </a:cubicBezTo>
                <a:cubicBezTo>
                  <a:pt x="144" y="13"/>
                  <a:pt x="143" y="9"/>
                  <a:pt x="142" y="5"/>
                </a:cubicBezTo>
                <a:cubicBezTo>
                  <a:pt x="141" y="6"/>
                  <a:pt x="139" y="7"/>
                  <a:pt x="138" y="8"/>
                </a:cubicBezTo>
                <a:cubicBezTo>
                  <a:pt x="137" y="8"/>
                  <a:pt x="137" y="9"/>
                  <a:pt x="136" y="9"/>
                </a:cubicBezTo>
                <a:cubicBezTo>
                  <a:pt x="136" y="9"/>
                  <a:pt x="135" y="10"/>
                  <a:pt x="135" y="10"/>
                </a:cubicBezTo>
                <a:cubicBezTo>
                  <a:pt x="134" y="9"/>
                  <a:pt x="134" y="9"/>
                  <a:pt x="133" y="8"/>
                </a:cubicBezTo>
                <a:cubicBezTo>
                  <a:pt x="133" y="8"/>
                  <a:pt x="132" y="8"/>
                  <a:pt x="132" y="7"/>
                </a:cubicBezTo>
                <a:cubicBezTo>
                  <a:pt x="131" y="6"/>
                  <a:pt x="130" y="5"/>
                  <a:pt x="129" y="4"/>
                </a:cubicBezTo>
                <a:cubicBezTo>
                  <a:pt x="127" y="3"/>
                  <a:pt x="124" y="2"/>
                  <a:pt x="122" y="2"/>
                </a:cubicBezTo>
                <a:cubicBezTo>
                  <a:pt x="119" y="1"/>
                  <a:pt x="116" y="0"/>
                  <a:pt x="113" y="0"/>
                </a:cubicBezTo>
                <a:cubicBezTo>
                  <a:pt x="106" y="4"/>
                  <a:pt x="98" y="10"/>
                  <a:pt x="91" y="15"/>
                </a:cubicBezTo>
                <a:cubicBezTo>
                  <a:pt x="84" y="19"/>
                  <a:pt x="79" y="23"/>
                  <a:pt x="72" y="27"/>
                </a:cubicBezTo>
                <a:cubicBezTo>
                  <a:pt x="69" y="30"/>
                  <a:pt x="67" y="32"/>
                  <a:pt x="64" y="35"/>
                </a:cubicBezTo>
                <a:cubicBezTo>
                  <a:pt x="61" y="38"/>
                  <a:pt x="58" y="40"/>
                  <a:pt x="56" y="43"/>
                </a:cubicBezTo>
                <a:cubicBezTo>
                  <a:pt x="56" y="44"/>
                  <a:pt x="55" y="44"/>
                  <a:pt x="55" y="44"/>
                </a:cubicBezTo>
                <a:cubicBezTo>
                  <a:pt x="54" y="45"/>
                  <a:pt x="53" y="45"/>
                  <a:pt x="52" y="45"/>
                </a:cubicBezTo>
                <a:cubicBezTo>
                  <a:pt x="50" y="46"/>
                  <a:pt x="48" y="46"/>
                  <a:pt x="46" y="46"/>
                </a:cubicBezTo>
                <a:cubicBezTo>
                  <a:pt x="44" y="47"/>
                  <a:pt x="42" y="47"/>
                  <a:pt x="40" y="48"/>
                </a:cubicBezTo>
                <a:cubicBezTo>
                  <a:pt x="39" y="48"/>
                  <a:pt x="40" y="49"/>
                  <a:pt x="39" y="50"/>
                </a:cubicBezTo>
                <a:cubicBezTo>
                  <a:pt x="39" y="54"/>
                  <a:pt x="39" y="57"/>
                  <a:pt x="39" y="61"/>
                </a:cubicBezTo>
                <a:cubicBezTo>
                  <a:pt x="39" y="63"/>
                  <a:pt x="39" y="67"/>
                  <a:pt x="39" y="69"/>
                </a:cubicBezTo>
                <a:cubicBezTo>
                  <a:pt x="39" y="69"/>
                  <a:pt x="39" y="70"/>
                  <a:pt x="39" y="71"/>
                </a:cubicBezTo>
                <a:cubicBezTo>
                  <a:pt x="39" y="72"/>
                  <a:pt x="39" y="72"/>
                  <a:pt x="39" y="72"/>
                </a:cubicBezTo>
                <a:cubicBezTo>
                  <a:pt x="39" y="73"/>
                  <a:pt x="39" y="74"/>
                  <a:pt x="39" y="75"/>
                </a:cubicBezTo>
                <a:cubicBezTo>
                  <a:pt x="39" y="76"/>
                  <a:pt x="39" y="77"/>
                  <a:pt x="39" y="78"/>
                </a:cubicBezTo>
                <a:cubicBezTo>
                  <a:pt x="39" y="78"/>
                  <a:pt x="38" y="79"/>
                  <a:pt x="38" y="79"/>
                </a:cubicBezTo>
                <a:cubicBezTo>
                  <a:pt x="37" y="79"/>
                  <a:pt x="37" y="80"/>
                  <a:pt x="37" y="81"/>
                </a:cubicBezTo>
                <a:cubicBezTo>
                  <a:pt x="37" y="82"/>
                  <a:pt x="37" y="82"/>
                  <a:pt x="37" y="83"/>
                </a:cubicBezTo>
                <a:cubicBezTo>
                  <a:pt x="36" y="84"/>
                  <a:pt x="36" y="84"/>
                  <a:pt x="36" y="85"/>
                </a:cubicBezTo>
                <a:cubicBezTo>
                  <a:pt x="36" y="86"/>
                  <a:pt x="35" y="86"/>
                  <a:pt x="35" y="86"/>
                </a:cubicBezTo>
                <a:cubicBezTo>
                  <a:pt x="34" y="86"/>
                  <a:pt x="33" y="87"/>
                  <a:pt x="33" y="88"/>
                </a:cubicBezTo>
                <a:cubicBezTo>
                  <a:pt x="32" y="88"/>
                  <a:pt x="33" y="89"/>
                  <a:pt x="32" y="89"/>
                </a:cubicBezTo>
                <a:cubicBezTo>
                  <a:pt x="32" y="90"/>
                  <a:pt x="31" y="89"/>
                  <a:pt x="31" y="89"/>
                </a:cubicBezTo>
                <a:cubicBezTo>
                  <a:pt x="30" y="89"/>
                  <a:pt x="28" y="88"/>
                  <a:pt x="28" y="89"/>
                </a:cubicBezTo>
                <a:cubicBezTo>
                  <a:pt x="27" y="90"/>
                  <a:pt x="25" y="90"/>
                  <a:pt x="24" y="90"/>
                </a:cubicBezTo>
                <a:cubicBezTo>
                  <a:pt x="22" y="90"/>
                  <a:pt x="20" y="90"/>
                  <a:pt x="18" y="90"/>
                </a:cubicBezTo>
                <a:cubicBezTo>
                  <a:pt x="16" y="90"/>
                  <a:pt x="14" y="90"/>
                  <a:pt x="12" y="90"/>
                </a:cubicBezTo>
                <a:cubicBezTo>
                  <a:pt x="11" y="90"/>
                  <a:pt x="10" y="91"/>
                  <a:pt x="9" y="92"/>
                </a:cubicBezTo>
                <a:cubicBezTo>
                  <a:pt x="8" y="94"/>
                  <a:pt x="7" y="94"/>
                  <a:pt x="5" y="94"/>
                </a:cubicBezTo>
                <a:cubicBezTo>
                  <a:pt x="4" y="94"/>
                  <a:pt x="4" y="93"/>
                  <a:pt x="3" y="94"/>
                </a:cubicBezTo>
                <a:cubicBezTo>
                  <a:pt x="2" y="94"/>
                  <a:pt x="2" y="94"/>
                  <a:pt x="1" y="93"/>
                </a:cubicBezTo>
                <a:cubicBezTo>
                  <a:pt x="1" y="94"/>
                  <a:pt x="1" y="94"/>
                  <a:pt x="1" y="94"/>
                </a:cubicBezTo>
                <a:cubicBezTo>
                  <a:pt x="1" y="95"/>
                  <a:pt x="0" y="95"/>
                  <a:pt x="0" y="95"/>
                </a:cubicBezTo>
                <a:cubicBezTo>
                  <a:pt x="0" y="96"/>
                  <a:pt x="1" y="96"/>
                  <a:pt x="0" y="97"/>
                </a:cubicBezTo>
                <a:cubicBezTo>
                  <a:pt x="0" y="98"/>
                  <a:pt x="0" y="99"/>
                  <a:pt x="0" y="99"/>
                </a:cubicBezTo>
                <a:cubicBezTo>
                  <a:pt x="1" y="100"/>
                  <a:pt x="1" y="100"/>
                  <a:pt x="2" y="101"/>
                </a:cubicBezTo>
                <a:cubicBezTo>
                  <a:pt x="2" y="102"/>
                  <a:pt x="2" y="102"/>
                  <a:pt x="2" y="103"/>
                </a:cubicBezTo>
                <a:cubicBezTo>
                  <a:pt x="2" y="104"/>
                  <a:pt x="2" y="104"/>
                  <a:pt x="3" y="105"/>
                </a:cubicBezTo>
                <a:cubicBezTo>
                  <a:pt x="3" y="105"/>
                  <a:pt x="3" y="106"/>
                  <a:pt x="4" y="106"/>
                </a:cubicBezTo>
                <a:cubicBezTo>
                  <a:pt x="4" y="107"/>
                  <a:pt x="4" y="107"/>
                  <a:pt x="4" y="107"/>
                </a:cubicBezTo>
                <a:cubicBezTo>
                  <a:pt x="4" y="108"/>
                  <a:pt x="4" y="108"/>
                  <a:pt x="5" y="108"/>
                </a:cubicBezTo>
                <a:cubicBezTo>
                  <a:pt x="6" y="108"/>
                  <a:pt x="6" y="108"/>
                  <a:pt x="6" y="109"/>
                </a:cubicBezTo>
                <a:cubicBezTo>
                  <a:pt x="7" y="109"/>
                  <a:pt x="8" y="109"/>
                  <a:pt x="8" y="110"/>
                </a:cubicBezTo>
                <a:cubicBezTo>
                  <a:pt x="8" y="110"/>
                  <a:pt x="8" y="110"/>
                  <a:pt x="9" y="111"/>
                </a:cubicBezTo>
                <a:cubicBezTo>
                  <a:pt x="9" y="111"/>
                  <a:pt x="10" y="111"/>
                  <a:pt x="10" y="111"/>
                </a:cubicBezTo>
                <a:cubicBezTo>
                  <a:pt x="10" y="112"/>
                  <a:pt x="10" y="111"/>
                  <a:pt x="10" y="111"/>
                </a:cubicBezTo>
                <a:cubicBezTo>
                  <a:pt x="9" y="112"/>
                  <a:pt x="9" y="111"/>
                  <a:pt x="8" y="111"/>
                </a:cubicBezTo>
                <a:cubicBezTo>
                  <a:pt x="7" y="112"/>
                  <a:pt x="8" y="114"/>
                  <a:pt x="8" y="114"/>
                </a:cubicBezTo>
                <a:cubicBezTo>
                  <a:pt x="8" y="115"/>
                  <a:pt x="8" y="115"/>
                  <a:pt x="9" y="115"/>
                </a:cubicBezTo>
                <a:cubicBezTo>
                  <a:pt x="9" y="115"/>
                  <a:pt x="10" y="116"/>
                  <a:pt x="10" y="117"/>
                </a:cubicBezTo>
                <a:cubicBezTo>
                  <a:pt x="11" y="117"/>
                  <a:pt x="12" y="119"/>
                  <a:pt x="14" y="119"/>
                </a:cubicBezTo>
                <a:cubicBezTo>
                  <a:pt x="14" y="120"/>
                  <a:pt x="16" y="120"/>
                  <a:pt x="16" y="119"/>
                </a:cubicBezTo>
                <a:cubicBezTo>
                  <a:pt x="17" y="118"/>
                  <a:pt x="18" y="118"/>
                  <a:pt x="19" y="119"/>
                </a:cubicBezTo>
                <a:cubicBezTo>
                  <a:pt x="19" y="119"/>
                  <a:pt x="19" y="119"/>
                  <a:pt x="19" y="120"/>
                </a:cubicBezTo>
                <a:cubicBezTo>
                  <a:pt x="20" y="120"/>
                  <a:pt x="19" y="120"/>
                  <a:pt x="20" y="121"/>
                </a:cubicBezTo>
                <a:cubicBezTo>
                  <a:pt x="20" y="121"/>
                  <a:pt x="20" y="122"/>
                  <a:pt x="20" y="122"/>
                </a:cubicBezTo>
                <a:cubicBezTo>
                  <a:pt x="19" y="122"/>
                  <a:pt x="18" y="122"/>
                  <a:pt x="18" y="122"/>
                </a:cubicBezTo>
                <a:cubicBezTo>
                  <a:pt x="18" y="122"/>
                  <a:pt x="18" y="123"/>
                  <a:pt x="19" y="123"/>
                </a:cubicBezTo>
                <a:cubicBezTo>
                  <a:pt x="19" y="125"/>
                  <a:pt x="20" y="126"/>
                  <a:pt x="21" y="128"/>
                </a:cubicBezTo>
                <a:cubicBezTo>
                  <a:pt x="21" y="127"/>
                  <a:pt x="21" y="127"/>
                  <a:pt x="22" y="127"/>
                </a:cubicBezTo>
                <a:cubicBezTo>
                  <a:pt x="22" y="126"/>
                  <a:pt x="22" y="126"/>
                  <a:pt x="21" y="126"/>
                </a:cubicBezTo>
                <a:cubicBezTo>
                  <a:pt x="21" y="126"/>
                  <a:pt x="21" y="124"/>
                  <a:pt x="21" y="124"/>
                </a:cubicBezTo>
                <a:cubicBezTo>
                  <a:pt x="21" y="124"/>
                  <a:pt x="22" y="123"/>
                  <a:pt x="22" y="123"/>
                </a:cubicBezTo>
                <a:cubicBezTo>
                  <a:pt x="23" y="123"/>
                  <a:pt x="23" y="123"/>
                  <a:pt x="24" y="123"/>
                </a:cubicBezTo>
                <a:cubicBezTo>
                  <a:pt x="24" y="123"/>
                  <a:pt x="24" y="122"/>
                  <a:pt x="25" y="122"/>
                </a:cubicBezTo>
                <a:cubicBezTo>
                  <a:pt x="25" y="122"/>
                  <a:pt x="26" y="122"/>
                  <a:pt x="26" y="123"/>
                </a:cubicBezTo>
                <a:cubicBezTo>
                  <a:pt x="26" y="123"/>
                  <a:pt x="27" y="123"/>
                  <a:pt x="27" y="124"/>
                </a:cubicBezTo>
                <a:cubicBezTo>
                  <a:pt x="28" y="124"/>
                  <a:pt x="29" y="125"/>
                  <a:pt x="29" y="126"/>
                </a:cubicBezTo>
                <a:cubicBezTo>
                  <a:pt x="29" y="127"/>
                  <a:pt x="30" y="127"/>
                  <a:pt x="30" y="127"/>
                </a:cubicBezTo>
                <a:cubicBezTo>
                  <a:pt x="30" y="128"/>
                  <a:pt x="30" y="127"/>
                  <a:pt x="31" y="128"/>
                </a:cubicBezTo>
                <a:cubicBezTo>
                  <a:pt x="32" y="128"/>
                  <a:pt x="32" y="129"/>
                  <a:pt x="33" y="130"/>
                </a:cubicBezTo>
                <a:cubicBezTo>
                  <a:pt x="33" y="129"/>
                  <a:pt x="34" y="129"/>
                  <a:pt x="33" y="129"/>
                </a:cubicBezTo>
                <a:cubicBezTo>
                  <a:pt x="33" y="128"/>
                  <a:pt x="33" y="128"/>
                  <a:pt x="33" y="127"/>
                </a:cubicBezTo>
                <a:cubicBezTo>
                  <a:pt x="33" y="126"/>
                  <a:pt x="33" y="125"/>
                  <a:pt x="33" y="124"/>
                </a:cubicBezTo>
                <a:cubicBezTo>
                  <a:pt x="34" y="123"/>
                  <a:pt x="33" y="121"/>
                  <a:pt x="34" y="120"/>
                </a:cubicBezTo>
                <a:cubicBezTo>
                  <a:pt x="34" y="119"/>
                  <a:pt x="35" y="119"/>
                  <a:pt x="36" y="118"/>
                </a:cubicBezTo>
                <a:cubicBezTo>
                  <a:pt x="37" y="117"/>
                  <a:pt x="37" y="116"/>
                  <a:pt x="38" y="115"/>
                </a:cubicBezTo>
                <a:cubicBezTo>
                  <a:pt x="38" y="114"/>
                  <a:pt x="38" y="112"/>
                  <a:pt x="38" y="111"/>
                </a:cubicBezTo>
                <a:cubicBezTo>
                  <a:pt x="38" y="110"/>
                  <a:pt x="39" y="110"/>
                  <a:pt x="40" y="109"/>
                </a:cubicBezTo>
                <a:cubicBezTo>
                  <a:pt x="41" y="108"/>
                  <a:pt x="41" y="108"/>
                  <a:pt x="42" y="108"/>
                </a:cubicBezTo>
                <a:cubicBezTo>
                  <a:pt x="43" y="107"/>
                  <a:pt x="45" y="107"/>
                  <a:pt x="46" y="107"/>
                </a:cubicBezTo>
                <a:cubicBezTo>
                  <a:pt x="47" y="108"/>
                  <a:pt x="48" y="107"/>
                  <a:pt x="49" y="107"/>
                </a:cubicBezTo>
                <a:cubicBezTo>
                  <a:pt x="49" y="107"/>
                  <a:pt x="50" y="107"/>
                  <a:pt x="50" y="106"/>
                </a:cubicBezTo>
                <a:cubicBezTo>
                  <a:pt x="50" y="106"/>
                  <a:pt x="51" y="106"/>
                  <a:pt x="51" y="106"/>
                </a:cubicBezTo>
                <a:cubicBezTo>
                  <a:pt x="52" y="106"/>
                  <a:pt x="53" y="106"/>
                  <a:pt x="54" y="107"/>
                </a:cubicBezTo>
                <a:cubicBezTo>
                  <a:pt x="55" y="107"/>
                  <a:pt x="56" y="108"/>
                  <a:pt x="58" y="108"/>
                </a:cubicBezTo>
                <a:cubicBezTo>
                  <a:pt x="58" y="108"/>
                  <a:pt x="58" y="108"/>
                  <a:pt x="59" y="108"/>
                </a:cubicBezTo>
                <a:cubicBezTo>
                  <a:pt x="60" y="108"/>
                  <a:pt x="60" y="109"/>
                  <a:pt x="61" y="109"/>
                </a:cubicBezTo>
                <a:cubicBezTo>
                  <a:pt x="62" y="110"/>
                  <a:pt x="62" y="111"/>
                  <a:pt x="63" y="112"/>
                </a:cubicBezTo>
                <a:cubicBezTo>
                  <a:pt x="63" y="113"/>
                  <a:pt x="64" y="114"/>
                  <a:pt x="65" y="115"/>
                </a:cubicBezTo>
                <a:cubicBezTo>
                  <a:pt x="65" y="116"/>
                  <a:pt x="66" y="116"/>
                  <a:pt x="67" y="115"/>
                </a:cubicBezTo>
                <a:cubicBezTo>
                  <a:pt x="67" y="115"/>
                  <a:pt x="67" y="114"/>
                  <a:pt x="68" y="114"/>
                </a:cubicBezTo>
                <a:cubicBezTo>
                  <a:pt x="69" y="114"/>
                  <a:pt x="69" y="114"/>
                  <a:pt x="70" y="114"/>
                </a:cubicBezTo>
                <a:cubicBezTo>
                  <a:pt x="70" y="114"/>
                  <a:pt x="71" y="113"/>
                  <a:pt x="72" y="113"/>
                </a:cubicBezTo>
                <a:cubicBezTo>
                  <a:pt x="73" y="112"/>
                  <a:pt x="74" y="111"/>
                  <a:pt x="76" y="112"/>
                </a:cubicBezTo>
                <a:cubicBezTo>
                  <a:pt x="77" y="112"/>
                  <a:pt x="78" y="114"/>
                  <a:pt x="79" y="114"/>
                </a:cubicBezTo>
                <a:cubicBezTo>
                  <a:pt x="80" y="115"/>
                  <a:pt x="81" y="114"/>
                  <a:pt x="81" y="115"/>
                </a:cubicBezTo>
                <a:cubicBezTo>
                  <a:pt x="82" y="116"/>
                  <a:pt x="82" y="116"/>
                  <a:pt x="83" y="116"/>
                </a:cubicBezTo>
                <a:cubicBezTo>
                  <a:pt x="84" y="117"/>
                  <a:pt x="86" y="117"/>
                  <a:pt x="88" y="117"/>
                </a:cubicBezTo>
                <a:cubicBezTo>
                  <a:pt x="89" y="117"/>
                  <a:pt x="89" y="117"/>
                  <a:pt x="90" y="118"/>
                </a:cubicBezTo>
                <a:cubicBezTo>
                  <a:pt x="91" y="118"/>
                  <a:pt x="91" y="118"/>
                  <a:pt x="91" y="117"/>
                </a:cubicBezTo>
                <a:cubicBezTo>
                  <a:pt x="92" y="116"/>
                  <a:pt x="93" y="115"/>
                  <a:pt x="93" y="115"/>
                </a:cubicBezTo>
                <a:cubicBezTo>
                  <a:pt x="94" y="115"/>
                  <a:pt x="94" y="114"/>
                  <a:pt x="94" y="114"/>
                </a:cubicBezTo>
                <a:cubicBezTo>
                  <a:pt x="94" y="114"/>
                  <a:pt x="94" y="113"/>
                  <a:pt x="95" y="113"/>
                </a:cubicBezTo>
                <a:cubicBezTo>
                  <a:pt x="95" y="113"/>
                  <a:pt x="96" y="113"/>
                  <a:pt x="97" y="112"/>
                </a:cubicBezTo>
                <a:cubicBezTo>
                  <a:pt x="97" y="112"/>
                  <a:pt x="98" y="112"/>
                  <a:pt x="99" y="112"/>
                </a:cubicBezTo>
                <a:cubicBezTo>
                  <a:pt x="100" y="112"/>
                  <a:pt x="100" y="111"/>
                  <a:pt x="101" y="111"/>
                </a:cubicBezTo>
                <a:cubicBezTo>
                  <a:pt x="103" y="111"/>
                  <a:pt x="105" y="111"/>
                  <a:pt x="107" y="111"/>
                </a:cubicBezTo>
                <a:cubicBezTo>
                  <a:pt x="108" y="111"/>
                  <a:pt x="110" y="112"/>
                  <a:pt x="112" y="112"/>
                </a:cubicBezTo>
                <a:cubicBezTo>
                  <a:pt x="113" y="113"/>
                  <a:pt x="113" y="113"/>
                  <a:pt x="114" y="114"/>
                </a:cubicBezTo>
                <a:cubicBezTo>
                  <a:pt x="115" y="114"/>
                  <a:pt x="116" y="114"/>
                  <a:pt x="116" y="114"/>
                </a:cubicBezTo>
                <a:cubicBezTo>
                  <a:pt x="117" y="114"/>
                  <a:pt x="118" y="115"/>
                  <a:pt x="118" y="115"/>
                </a:cubicBezTo>
                <a:cubicBezTo>
                  <a:pt x="118" y="115"/>
                  <a:pt x="119" y="114"/>
                  <a:pt x="119" y="114"/>
                </a:cubicBezTo>
                <a:cubicBezTo>
                  <a:pt x="119" y="113"/>
                  <a:pt x="119" y="113"/>
                  <a:pt x="120" y="112"/>
                </a:cubicBezTo>
                <a:cubicBezTo>
                  <a:pt x="120" y="112"/>
                  <a:pt x="120" y="112"/>
                  <a:pt x="120" y="112"/>
                </a:cubicBezTo>
                <a:cubicBezTo>
                  <a:pt x="120" y="112"/>
                  <a:pt x="120" y="112"/>
                  <a:pt x="120" y="112"/>
                </a:cubicBezTo>
                <a:cubicBezTo>
                  <a:pt x="121" y="112"/>
                  <a:pt x="122" y="111"/>
                  <a:pt x="122" y="110"/>
                </a:cubicBezTo>
                <a:cubicBezTo>
                  <a:pt x="123" y="110"/>
                  <a:pt x="123" y="109"/>
                  <a:pt x="124" y="109"/>
                </a:cubicBezTo>
                <a:cubicBezTo>
                  <a:pt x="124" y="110"/>
                  <a:pt x="125" y="109"/>
                  <a:pt x="125" y="109"/>
                </a:cubicBezTo>
                <a:cubicBezTo>
                  <a:pt x="126" y="109"/>
                  <a:pt x="126" y="109"/>
                  <a:pt x="126" y="108"/>
                </a:cubicBezTo>
                <a:cubicBezTo>
                  <a:pt x="127" y="107"/>
                  <a:pt x="128" y="108"/>
                  <a:pt x="129" y="108"/>
                </a:cubicBezTo>
                <a:cubicBezTo>
                  <a:pt x="129" y="105"/>
                  <a:pt x="128" y="103"/>
                  <a:pt x="128" y="100"/>
                </a:cubicBezTo>
                <a:cubicBezTo>
                  <a:pt x="128" y="99"/>
                  <a:pt x="128" y="99"/>
                  <a:pt x="129" y="99"/>
                </a:cubicBezTo>
                <a:cubicBezTo>
                  <a:pt x="130" y="98"/>
                  <a:pt x="129" y="98"/>
                  <a:pt x="130" y="97"/>
                </a:cubicBezTo>
                <a:cubicBezTo>
                  <a:pt x="130" y="97"/>
                  <a:pt x="131" y="97"/>
                  <a:pt x="131" y="96"/>
                </a:cubicBezTo>
                <a:cubicBezTo>
                  <a:pt x="131" y="96"/>
                  <a:pt x="131" y="95"/>
                  <a:pt x="131" y="95"/>
                </a:cubicBezTo>
                <a:cubicBezTo>
                  <a:pt x="131" y="94"/>
                  <a:pt x="131" y="93"/>
                  <a:pt x="132" y="93"/>
                </a:cubicBezTo>
                <a:cubicBezTo>
                  <a:pt x="133" y="90"/>
                  <a:pt x="135" y="88"/>
                  <a:pt x="136" y="86"/>
                </a:cubicBezTo>
                <a:cubicBezTo>
                  <a:pt x="139" y="82"/>
                  <a:pt x="141" y="79"/>
                  <a:pt x="144" y="76"/>
                </a:cubicBezTo>
                <a:cubicBezTo>
                  <a:pt x="145" y="75"/>
                  <a:pt x="147" y="74"/>
                  <a:pt x="147" y="72"/>
                </a:cubicBezTo>
                <a:cubicBezTo>
                  <a:pt x="147" y="71"/>
                  <a:pt x="147" y="69"/>
                  <a:pt x="147" y="68"/>
                </a:cubicBezTo>
                <a:cubicBezTo>
                  <a:pt x="148" y="60"/>
                  <a:pt x="148" y="52"/>
                  <a:pt x="149" y="44"/>
                </a:cubicBezTo>
                <a:cubicBezTo>
                  <a:pt x="149" y="42"/>
                  <a:pt x="149" y="40"/>
                  <a:pt x="150" y="38"/>
                </a:cubicBezTo>
                <a:cubicBezTo>
                  <a:pt x="150" y="37"/>
                  <a:pt x="152" y="35"/>
                  <a:pt x="152" y="35"/>
                </a:cubicBezTo>
                <a:cubicBezTo>
                  <a:pt x="151" y="34"/>
                  <a:pt x="150" y="33"/>
                  <a:pt x="150" y="3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8" name="Nicaragua"/>
          <p:cNvSpPr>
            <a:spLocks noEditPoints="1"/>
          </p:cNvSpPr>
          <p:nvPr/>
        </p:nvSpPr>
        <p:spPr bwMode="auto">
          <a:xfrm>
            <a:off x="2743198" y="4066960"/>
            <a:ext cx="180994" cy="173993"/>
          </a:xfrm>
          <a:custGeom>
            <a:avLst/>
            <a:gdLst/>
            <a:ahLst/>
            <a:cxnLst>
              <a:cxn ang="0">
                <a:pos x="19" y="39"/>
              </a:cxn>
              <a:cxn ang="0">
                <a:pos x="19" y="38"/>
              </a:cxn>
              <a:cxn ang="0">
                <a:pos x="45" y="1"/>
              </a:cxn>
              <a:cxn ang="0">
                <a:pos x="45" y="2"/>
              </a:cxn>
              <a:cxn ang="0">
                <a:pos x="44" y="1"/>
              </a:cxn>
              <a:cxn ang="0">
                <a:pos x="44" y="3"/>
              </a:cxn>
              <a:cxn ang="0">
                <a:pos x="45" y="5"/>
              </a:cxn>
              <a:cxn ang="0">
                <a:pos x="43" y="12"/>
              </a:cxn>
              <a:cxn ang="0">
                <a:pos x="40" y="21"/>
              </a:cxn>
              <a:cxn ang="0">
                <a:pos x="40" y="29"/>
              </a:cxn>
              <a:cxn ang="0">
                <a:pos x="39" y="27"/>
              </a:cxn>
              <a:cxn ang="0">
                <a:pos x="39" y="25"/>
              </a:cxn>
              <a:cxn ang="0">
                <a:pos x="38" y="28"/>
              </a:cxn>
              <a:cxn ang="0">
                <a:pos x="38" y="30"/>
              </a:cxn>
              <a:cxn ang="0">
                <a:pos x="38" y="31"/>
              </a:cxn>
              <a:cxn ang="0">
                <a:pos x="38" y="32"/>
              </a:cxn>
              <a:cxn ang="0">
                <a:pos x="37" y="33"/>
              </a:cxn>
              <a:cxn ang="0">
                <a:pos x="36" y="35"/>
              </a:cxn>
              <a:cxn ang="0">
                <a:pos x="38" y="38"/>
              </a:cxn>
              <a:cxn ang="0">
                <a:pos x="36" y="44"/>
              </a:cxn>
              <a:cxn ang="0">
                <a:pos x="34" y="47"/>
              </a:cxn>
              <a:cxn ang="0">
                <a:pos x="31" y="45"/>
              </a:cxn>
              <a:cxn ang="0">
                <a:pos x="29" y="44"/>
              </a:cxn>
              <a:cxn ang="0">
                <a:pos x="22" y="43"/>
              </a:cxn>
              <a:cxn ang="0">
                <a:pos x="18" y="44"/>
              </a:cxn>
              <a:cxn ang="0">
                <a:pos x="12" y="37"/>
              </a:cxn>
              <a:cxn ang="0">
                <a:pos x="9" y="33"/>
              </a:cxn>
              <a:cxn ang="0">
                <a:pos x="5" y="28"/>
              </a:cxn>
              <a:cxn ang="0">
                <a:pos x="5" y="28"/>
              </a:cxn>
              <a:cxn ang="0">
                <a:pos x="2" y="25"/>
              </a:cxn>
              <a:cxn ang="0">
                <a:pos x="0" y="23"/>
              </a:cxn>
              <a:cxn ang="0">
                <a:pos x="4" y="23"/>
              </a:cxn>
              <a:cxn ang="0">
                <a:pos x="6" y="23"/>
              </a:cxn>
              <a:cxn ang="0">
                <a:pos x="10" y="19"/>
              </a:cxn>
              <a:cxn ang="0">
                <a:pos x="10" y="14"/>
              </a:cxn>
              <a:cxn ang="0">
                <a:pos x="14" y="14"/>
              </a:cxn>
              <a:cxn ang="0">
                <a:pos x="18" y="12"/>
              </a:cxn>
              <a:cxn ang="0">
                <a:pos x="19" y="13"/>
              </a:cxn>
              <a:cxn ang="0">
                <a:pos x="22" y="11"/>
              </a:cxn>
              <a:cxn ang="0">
                <a:pos x="26" y="8"/>
              </a:cxn>
              <a:cxn ang="0">
                <a:pos x="27" y="5"/>
              </a:cxn>
              <a:cxn ang="0">
                <a:pos x="28" y="4"/>
              </a:cxn>
              <a:cxn ang="0">
                <a:pos x="30" y="2"/>
              </a:cxn>
              <a:cxn ang="0">
                <a:pos x="34" y="4"/>
              </a:cxn>
              <a:cxn ang="0">
                <a:pos x="36" y="3"/>
              </a:cxn>
              <a:cxn ang="0">
                <a:pos x="39" y="3"/>
              </a:cxn>
              <a:cxn ang="0">
                <a:pos x="42" y="1"/>
              </a:cxn>
              <a:cxn ang="0">
                <a:pos x="44" y="0"/>
              </a:cxn>
              <a:cxn ang="0">
                <a:pos x="26" y="41"/>
              </a:cxn>
              <a:cxn ang="0">
                <a:pos x="21" y="35"/>
              </a:cxn>
              <a:cxn ang="0">
                <a:pos x="19" y="32"/>
              </a:cxn>
              <a:cxn ang="0">
                <a:pos x="16" y="35"/>
              </a:cxn>
              <a:cxn ang="0">
                <a:pos x="17" y="37"/>
              </a:cxn>
              <a:cxn ang="0">
                <a:pos x="17" y="39"/>
              </a:cxn>
              <a:cxn ang="0">
                <a:pos x="24" y="44"/>
              </a:cxn>
              <a:cxn ang="0">
                <a:pos x="44" y="32"/>
              </a:cxn>
              <a:cxn ang="0">
                <a:pos x="49" y="7"/>
              </a:cxn>
            </a:cxnLst>
            <a:rect l="0" t="0" r="r" b="b"/>
            <a:pathLst>
              <a:path w="50" h="48">
                <a:moveTo>
                  <a:pt x="20" y="39"/>
                </a:moveTo>
                <a:cubicBezTo>
                  <a:pt x="20" y="40"/>
                  <a:pt x="20" y="40"/>
                  <a:pt x="20" y="40"/>
                </a:cubicBezTo>
                <a:cubicBezTo>
                  <a:pt x="19" y="40"/>
                  <a:pt x="19" y="40"/>
                  <a:pt x="19" y="39"/>
                </a:cubicBezTo>
                <a:cubicBezTo>
                  <a:pt x="19" y="39"/>
                  <a:pt x="19" y="39"/>
                  <a:pt x="19" y="39"/>
                </a:cubicBezTo>
                <a:cubicBezTo>
                  <a:pt x="19" y="39"/>
                  <a:pt x="18" y="39"/>
                  <a:pt x="18" y="39"/>
                </a:cubicBezTo>
                <a:cubicBezTo>
                  <a:pt x="18" y="38"/>
                  <a:pt x="18" y="38"/>
                  <a:pt x="19" y="38"/>
                </a:cubicBezTo>
                <a:cubicBezTo>
                  <a:pt x="19" y="38"/>
                  <a:pt x="19" y="38"/>
                  <a:pt x="20" y="39"/>
                </a:cubicBezTo>
                <a:cubicBezTo>
                  <a:pt x="20" y="39"/>
                  <a:pt x="20" y="39"/>
                  <a:pt x="20" y="39"/>
                </a:cubicBezTo>
                <a:close/>
                <a:moveTo>
                  <a:pt x="45" y="1"/>
                </a:moveTo>
                <a:cubicBezTo>
                  <a:pt x="45" y="1"/>
                  <a:pt x="46" y="0"/>
                  <a:pt x="46" y="0"/>
                </a:cubicBezTo>
                <a:cubicBezTo>
                  <a:pt x="46" y="1"/>
                  <a:pt x="46" y="1"/>
                  <a:pt x="46" y="1"/>
                </a:cubicBezTo>
                <a:cubicBezTo>
                  <a:pt x="45" y="1"/>
                  <a:pt x="45" y="1"/>
                  <a:pt x="45" y="2"/>
                </a:cubicBezTo>
                <a:cubicBezTo>
                  <a:pt x="45" y="2"/>
                  <a:pt x="45" y="3"/>
                  <a:pt x="44" y="3"/>
                </a:cubicBezTo>
                <a:cubicBezTo>
                  <a:pt x="45" y="3"/>
                  <a:pt x="44" y="2"/>
                  <a:pt x="45" y="2"/>
                </a:cubicBezTo>
                <a:cubicBezTo>
                  <a:pt x="45" y="2"/>
                  <a:pt x="45" y="1"/>
                  <a:pt x="44" y="1"/>
                </a:cubicBezTo>
                <a:cubicBezTo>
                  <a:pt x="44" y="2"/>
                  <a:pt x="43" y="2"/>
                  <a:pt x="43" y="3"/>
                </a:cubicBezTo>
                <a:cubicBezTo>
                  <a:pt x="44" y="2"/>
                  <a:pt x="44" y="3"/>
                  <a:pt x="44" y="3"/>
                </a:cubicBezTo>
                <a:cubicBezTo>
                  <a:pt x="44" y="4"/>
                  <a:pt x="45" y="3"/>
                  <a:pt x="44" y="3"/>
                </a:cubicBezTo>
                <a:cubicBezTo>
                  <a:pt x="44" y="3"/>
                  <a:pt x="44" y="3"/>
                  <a:pt x="44" y="3"/>
                </a:cubicBezTo>
                <a:cubicBezTo>
                  <a:pt x="44" y="3"/>
                  <a:pt x="44" y="3"/>
                  <a:pt x="44" y="3"/>
                </a:cubicBezTo>
                <a:cubicBezTo>
                  <a:pt x="45" y="3"/>
                  <a:pt x="45" y="4"/>
                  <a:pt x="45" y="5"/>
                </a:cubicBezTo>
                <a:cubicBezTo>
                  <a:pt x="45" y="5"/>
                  <a:pt x="45" y="6"/>
                  <a:pt x="45" y="7"/>
                </a:cubicBezTo>
                <a:cubicBezTo>
                  <a:pt x="45" y="9"/>
                  <a:pt x="44" y="9"/>
                  <a:pt x="43" y="11"/>
                </a:cubicBezTo>
                <a:cubicBezTo>
                  <a:pt x="43" y="11"/>
                  <a:pt x="43" y="11"/>
                  <a:pt x="43" y="12"/>
                </a:cubicBezTo>
                <a:cubicBezTo>
                  <a:pt x="42" y="12"/>
                  <a:pt x="42" y="13"/>
                  <a:pt x="42" y="14"/>
                </a:cubicBezTo>
                <a:cubicBezTo>
                  <a:pt x="41" y="16"/>
                  <a:pt x="41" y="17"/>
                  <a:pt x="40" y="19"/>
                </a:cubicBezTo>
                <a:cubicBezTo>
                  <a:pt x="40" y="20"/>
                  <a:pt x="40" y="20"/>
                  <a:pt x="40" y="21"/>
                </a:cubicBezTo>
                <a:cubicBezTo>
                  <a:pt x="40" y="22"/>
                  <a:pt x="41" y="22"/>
                  <a:pt x="40" y="23"/>
                </a:cubicBezTo>
                <a:cubicBezTo>
                  <a:pt x="40" y="25"/>
                  <a:pt x="39" y="26"/>
                  <a:pt x="40" y="28"/>
                </a:cubicBezTo>
                <a:cubicBezTo>
                  <a:pt x="40" y="28"/>
                  <a:pt x="41" y="29"/>
                  <a:pt x="40" y="29"/>
                </a:cubicBezTo>
                <a:cubicBezTo>
                  <a:pt x="40" y="29"/>
                  <a:pt x="39" y="29"/>
                  <a:pt x="39" y="29"/>
                </a:cubicBezTo>
                <a:cubicBezTo>
                  <a:pt x="39" y="29"/>
                  <a:pt x="39" y="29"/>
                  <a:pt x="39" y="29"/>
                </a:cubicBezTo>
                <a:cubicBezTo>
                  <a:pt x="39" y="28"/>
                  <a:pt x="39" y="27"/>
                  <a:pt x="39" y="27"/>
                </a:cubicBezTo>
                <a:cubicBezTo>
                  <a:pt x="39" y="27"/>
                  <a:pt x="39" y="27"/>
                  <a:pt x="40" y="27"/>
                </a:cubicBezTo>
                <a:cubicBezTo>
                  <a:pt x="40" y="26"/>
                  <a:pt x="40" y="25"/>
                  <a:pt x="40" y="25"/>
                </a:cubicBezTo>
                <a:cubicBezTo>
                  <a:pt x="40" y="24"/>
                  <a:pt x="39" y="24"/>
                  <a:pt x="39" y="25"/>
                </a:cubicBezTo>
                <a:cubicBezTo>
                  <a:pt x="39" y="25"/>
                  <a:pt x="39" y="26"/>
                  <a:pt x="39" y="26"/>
                </a:cubicBezTo>
                <a:cubicBezTo>
                  <a:pt x="39" y="27"/>
                  <a:pt x="37" y="27"/>
                  <a:pt x="37" y="28"/>
                </a:cubicBezTo>
                <a:cubicBezTo>
                  <a:pt x="37" y="28"/>
                  <a:pt x="38" y="28"/>
                  <a:pt x="38" y="28"/>
                </a:cubicBezTo>
                <a:cubicBezTo>
                  <a:pt x="38" y="29"/>
                  <a:pt x="38" y="29"/>
                  <a:pt x="38" y="29"/>
                </a:cubicBezTo>
                <a:cubicBezTo>
                  <a:pt x="38" y="29"/>
                  <a:pt x="38" y="29"/>
                  <a:pt x="38" y="30"/>
                </a:cubicBezTo>
                <a:cubicBezTo>
                  <a:pt x="38" y="30"/>
                  <a:pt x="38" y="30"/>
                  <a:pt x="38" y="30"/>
                </a:cubicBezTo>
                <a:cubicBezTo>
                  <a:pt x="38" y="30"/>
                  <a:pt x="38" y="30"/>
                  <a:pt x="38" y="30"/>
                </a:cubicBezTo>
                <a:cubicBezTo>
                  <a:pt x="38" y="30"/>
                  <a:pt x="39" y="29"/>
                  <a:pt x="39" y="30"/>
                </a:cubicBezTo>
                <a:cubicBezTo>
                  <a:pt x="39" y="30"/>
                  <a:pt x="38" y="31"/>
                  <a:pt x="38" y="31"/>
                </a:cubicBezTo>
                <a:cubicBezTo>
                  <a:pt x="38" y="32"/>
                  <a:pt x="38" y="33"/>
                  <a:pt x="38" y="34"/>
                </a:cubicBezTo>
                <a:cubicBezTo>
                  <a:pt x="38" y="33"/>
                  <a:pt x="38" y="33"/>
                  <a:pt x="38" y="33"/>
                </a:cubicBezTo>
                <a:cubicBezTo>
                  <a:pt x="38" y="32"/>
                  <a:pt x="38" y="33"/>
                  <a:pt x="38" y="32"/>
                </a:cubicBezTo>
                <a:cubicBezTo>
                  <a:pt x="38" y="32"/>
                  <a:pt x="37" y="31"/>
                  <a:pt x="37" y="32"/>
                </a:cubicBezTo>
                <a:cubicBezTo>
                  <a:pt x="37" y="32"/>
                  <a:pt x="38" y="32"/>
                  <a:pt x="38" y="32"/>
                </a:cubicBezTo>
                <a:cubicBezTo>
                  <a:pt x="37" y="33"/>
                  <a:pt x="38" y="33"/>
                  <a:pt x="37" y="33"/>
                </a:cubicBezTo>
                <a:cubicBezTo>
                  <a:pt x="37" y="33"/>
                  <a:pt x="37" y="33"/>
                  <a:pt x="37" y="33"/>
                </a:cubicBezTo>
                <a:cubicBezTo>
                  <a:pt x="37" y="33"/>
                  <a:pt x="37" y="34"/>
                  <a:pt x="37" y="34"/>
                </a:cubicBezTo>
                <a:cubicBezTo>
                  <a:pt x="37" y="34"/>
                  <a:pt x="37" y="34"/>
                  <a:pt x="36" y="35"/>
                </a:cubicBezTo>
                <a:cubicBezTo>
                  <a:pt x="36" y="35"/>
                  <a:pt x="37" y="36"/>
                  <a:pt x="37" y="35"/>
                </a:cubicBezTo>
                <a:cubicBezTo>
                  <a:pt x="37" y="35"/>
                  <a:pt x="38" y="35"/>
                  <a:pt x="38" y="36"/>
                </a:cubicBezTo>
                <a:cubicBezTo>
                  <a:pt x="38" y="36"/>
                  <a:pt x="38" y="37"/>
                  <a:pt x="38" y="38"/>
                </a:cubicBezTo>
                <a:cubicBezTo>
                  <a:pt x="38" y="38"/>
                  <a:pt x="37" y="38"/>
                  <a:pt x="37" y="39"/>
                </a:cubicBezTo>
                <a:cubicBezTo>
                  <a:pt x="36" y="39"/>
                  <a:pt x="36" y="40"/>
                  <a:pt x="36" y="41"/>
                </a:cubicBezTo>
                <a:cubicBezTo>
                  <a:pt x="35" y="42"/>
                  <a:pt x="36" y="43"/>
                  <a:pt x="36" y="44"/>
                </a:cubicBezTo>
                <a:cubicBezTo>
                  <a:pt x="36" y="45"/>
                  <a:pt x="37" y="45"/>
                  <a:pt x="37" y="45"/>
                </a:cubicBezTo>
                <a:cubicBezTo>
                  <a:pt x="37" y="45"/>
                  <a:pt x="37" y="47"/>
                  <a:pt x="37" y="47"/>
                </a:cubicBezTo>
                <a:cubicBezTo>
                  <a:pt x="36" y="47"/>
                  <a:pt x="35" y="48"/>
                  <a:pt x="34" y="47"/>
                </a:cubicBezTo>
                <a:cubicBezTo>
                  <a:pt x="33" y="46"/>
                  <a:pt x="33" y="47"/>
                  <a:pt x="32" y="47"/>
                </a:cubicBezTo>
                <a:cubicBezTo>
                  <a:pt x="31" y="46"/>
                  <a:pt x="32" y="46"/>
                  <a:pt x="31" y="45"/>
                </a:cubicBezTo>
                <a:cubicBezTo>
                  <a:pt x="31" y="45"/>
                  <a:pt x="31" y="45"/>
                  <a:pt x="31" y="45"/>
                </a:cubicBezTo>
                <a:cubicBezTo>
                  <a:pt x="31" y="45"/>
                  <a:pt x="31" y="45"/>
                  <a:pt x="31" y="45"/>
                </a:cubicBezTo>
                <a:cubicBezTo>
                  <a:pt x="30" y="44"/>
                  <a:pt x="30" y="45"/>
                  <a:pt x="30" y="45"/>
                </a:cubicBezTo>
                <a:cubicBezTo>
                  <a:pt x="30" y="45"/>
                  <a:pt x="29" y="45"/>
                  <a:pt x="29" y="44"/>
                </a:cubicBezTo>
                <a:cubicBezTo>
                  <a:pt x="29" y="44"/>
                  <a:pt x="28" y="43"/>
                  <a:pt x="27" y="44"/>
                </a:cubicBezTo>
                <a:cubicBezTo>
                  <a:pt x="26" y="44"/>
                  <a:pt x="25" y="45"/>
                  <a:pt x="25" y="45"/>
                </a:cubicBezTo>
                <a:cubicBezTo>
                  <a:pt x="24" y="44"/>
                  <a:pt x="23" y="44"/>
                  <a:pt x="22" y="43"/>
                </a:cubicBezTo>
                <a:cubicBezTo>
                  <a:pt x="21" y="43"/>
                  <a:pt x="21" y="43"/>
                  <a:pt x="20" y="43"/>
                </a:cubicBezTo>
                <a:cubicBezTo>
                  <a:pt x="20" y="42"/>
                  <a:pt x="19" y="42"/>
                  <a:pt x="18" y="42"/>
                </a:cubicBezTo>
                <a:cubicBezTo>
                  <a:pt x="18" y="43"/>
                  <a:pt x="18" y="44"/>
                  <a:pt x="18" y="44"/>
                </a:cubicBezTo>
                <a:cubicBezTo>
                  <a:pt x="17" y="43"/>
                  <a:pt x="17" y="43"/>
                  <a:pt x="16" y="42"/>
                </a:cubicBezTo>
                <a:cubicBezTo>
                  <a:pt x="16" y="41"/>
                  <a:pt x="14" y="40"/>
                  <a:pt x="13" y="39"/>
                </a:cubicBezTo>
                <a:cubicBezTo>
                  <a:pt x="13" y="38"/>
                  <a:pt x="12" y="38"/>
                  <a:pt x="12" y="37"/>
                </a:cubicBezTo>
                <a:cubicBezTo>
                  <a:pt x="11" y="37"/>
                  <a:pt x="11" y="36"/>
                  <a:pt x="10" y="36"/>
                </a:cubicBezTo>
                <a:cubicBezTo>
                  <a:pt x="10" y="35"/>
                  <a:pt x="10" y="35"/>
                  <a:pt x="10" y="35"/>
                </a:cubicBezTo>
                <a:cubicBezTo>
                  <a:pt x="10" y="35"/>
                  <a:pt x="9" y="34"/>
                  <a:pt x="9" y="33"/>
                </a:cubicBezTo>
                <a:cubicBezTo>
                  <a:pt x="9" y="33"/>
                  <a:pt x="9" y="31"/>
                  <a:pt x="8" y="31"/>
                </a:cubicBezTo>
                <a:cubicBezTo>
                  <a:pt x="8" y="30"/>
                  <a:pt x="7" y="30"/>
                  <a:pt x="6" y="30"/>
                </a:cubicBezTo>
                <a:cubicBezTo>
                  <a:pt x="6" y="29"/>
                  <a:pt x="5" y="29"/>
                  <a:pt x="5" y="28"/>
                </a:cubicBezTo>
                <a:cubicBezTo>
                  <a:pt x="5" y="28"/>
                  <a:pt x="5" y="29"/>
                  <a:pt x="5" y="29"/>
                </a:cubicBezTo>
                <a:cubicBezTo>
                  <a:pt x="5" y="28"/>
                  <a:pt x="5" y="28"/>
                  <a:pt x="5" y="28"/>
                </a:cubicBezTo>
                <a:cubicBezTo>
                  <a:pt x="5" y="28"/>
                  <a:pt x="5" y="28"/>
                  <a:pt x="5" y="28"/>
                </a:cubicBezTo>
                <a:cubicBezTo>
                  <a:pt x="4" y="28"/>
                  <a:pt x="4" y="27"/>
                  <a:pt x="3" y="27"/>
                </a:cubicBezTo>
                <a:cubicBezTo>
                  <a:pt x="3" y="26"/>
                  <a:pt x="3" y="26"/>
                  <a:pt x="3" y="26"/>
                </a:cubicBezTo>
                <a:cubicBezTo>
                  <a:pt x="2" y="26"/>
                  <a:pt x="2" y="25"/>
                  <a:pt x="2" y="25"/>
                </a:cubicBezTo>
                <a:cubicBezTo>
                  <a:pt x="3" y="25"/>
                  <a:pt x="2" y="24"/>
                  <a:pt x="2" y="24"/>
                </a:cubicBezTo>
                <a:cubicBezTo>
                  <a:pt x="2" y="24"/>
                  <a:pt x="2" y="25"/>
                  <a:pt x="2" y="25"/>
                </a:cubicBezTo>
                <a:cubicBezTo>
                  <a:pt x="2" y="25"/>
                  <a:pt x="0" y="24"/>
                  <a:pt x="0" y="23"/>
                </a:cubicBezTo>
                <a:cubicBezTo>
                  <a:pt x="0" y="23"/>
                  <a:pt x="1" y="22"/>
                  <a:pt x="1" y="21"/>
                </a:cubicBezTo>
                <a:cubicBezTo>
                  <a:pt x="1" y="22"/>
                  <a:pt x="2" y="22"/>
                  <a:pt x="2" y="23"/>
                </a:cubicBezTo>
                <a:cubicBezTo>
                  <a:pt x="3" y="23"/>
                  <a:pt x="3" y="23"/>
                  <a:pt x="4" y="23"/>
                </a:cubicBezTo>
                <a:cubicBezTo>
                  <a:pt x="4" y="23"/>
                  <a:pt x="3" y="23"/>
                  <a:pt x="4" y="23"/>
                </a:cubicBezTo>
                <a:cubicBezTo>
                  <a:pt x="4" y="23"/>
                  <a:pt x="4" y="22"/>
                  <a:pt x="5" y="22"/>
                </a:cubicBezTo>
                <a:cubicBezTo>
                  <a:pt x="5" y="22"/>
                  <a:pt x="6" y="23"/>
                  <a:pt x="6" y="23"/>
                </a:cubicBezTo>
                <a:cubicBezTo>
                  <a:pt x="7" y="23"/>
                  <a:pt x="8" y="21"/>
                  <a:pt x="8" y="21"/>
                </a:cubicBezTo>
                <a:cubicBezTo>
                  <a:pt x="8" y="20"/>
                  <a:pt x="8" y="19"/>
                  <a:pt x="9" y="19"/>
                </a:cubicBezTo>
                <a:cubicBezTo>
                  <a:pt x="9" y="19"/>
                  <a:pt x="10" y="20"/>
                  <a:pt x="10" y="19"/>
                </a:cubicBezTo>
                <a:cubicBezTo>
                  <a:pt x="10" y="18"/>
                  <a:pt x="10" y="18"/>
                  <a:pt x="10" y="18"/>
                </a:cubicBezTo>
                <a:cubicBezTo>
                  <a:pt x="10" y="17"/>
                  <a:pt x="10" y="17"/>
                  <a:pt x="10" y="16"/>
                </a:cubicBezTo>
                <a:cubicBezTo>
                  <a:pt x="10" y="15"/>
                  <a:pt x="9" y="14"/>
                  <a:pt x="10" y="14"/>
                </a:cubicBezTo>
                <a:cubicBezTo>
                  <a:pt x="11" y="14"/>
                  <a:pt x="11" y="14"/>
                  <a:pt x="11" y="14"/>
                </a:cubicBezTo>
                <a:cubicBezTo>
                  <a:pt x="12" y="14"/>
                  <a:pt x="12" y="14"/>
                  <a:pt x="13" y="14"/>
                </a:cubicBezTo>
                <a:cubicBezTo>
                  <a:pt x="13" y="14"/>
                  <a:pt x="14" y="14"/>
                  <a:pt x="14" y="14"/>
                </a:cubicBezTo>
                <a:cubicBezTo>
                  <a:pt x="15" y="13"/>
                  <a:pt x="15" y="12"/>
                  <a:pt x="16" y="12"/>
                </a:cubicBezTo>
                <a:cubicBezTo>
                  <a:pt x="16" y="11"/>
                  <a:pt x="17" y="11"/>
                  <a:pt x="17" y="11"/>
                </a:cubicBezTo>
                <a:cubicBezTo>
                  <a:pt x="18" y="11"/>
                  <a:pt x="18" y="12"/>
                  <a:pt x="18" y="12"/>
                </a:cubicBezTo>
                <a:cubicBezTo>
                  <a:pt x="18" y="12"/>
                  <a:pt x="18" y="12"/>
                  <a:pt x="18" y="12"/>
                </a:cubicBezTo>
                <a:cubicBezTo>
                  <a:pt x="19" y="13"/>
                  <a:pt x="19" y="12"/>
                  <a:pt x="19" y="12"/>
                </a:cubicBezTo>
                <a:cubicBezTo>
                  <a:pt x="19" y="12"/>
                  <a:pt x="19" y="13"/>
                  <a:pt x="19" y="13"/>
                </a:cubicBezTo>
                <a:cubicBezTo>
                  <a:pt x="20" y="13"/>
                  <a:pt x="20" y="13"/>
                  <a:pt x="20" y="13"/>
                </a:cubicBezTo>
                <a:cubicBezTo>
                  <a:pt x="20" y="13"/>
                  <a:pt x="20" y="12"/>
                  <a:pt x="20" y="12"/>
                </a:cubicBezTo>
                <a:cubicBezTo>
                  <a:pt x="20" y="12"/>
                  <a:pt x="21" y="11"/>
                  <a:pt x="22" y="11"/>
                </a:cubicBezTo>
                <a:cubicBezTo>
                  <a:pt x="22" y="11"/>
                  <a:pt x="23" y="10"/>
                  <a:pt x="23" y="10"/>
                </a:cubicBezTo>
                <a:cubicBezTo>
                  <a:pt x="24" y="9"/>
                  <a:pt x="24" y="9"/>
                  <a:pt x="25" y="8"/>
                </a:cubicBezTo>
                <a:cubicBezTo>
                  <a:pt x="25" y="8"/>
                  <a:pt x="25" y="8"/>
                  <a:pt x="26" y="8"/>
                </a:cubicBezTo>
                <a:cubicBezTo>
                  <a:pt x="26" y="8"/>
                  <a:pt x="26" y="7"/>
                  <a:pt x="26" y="6"/>
                </a:cubicBezTo>
                <a:cubicBezTo>
                  <a:pt x="26" y="6"/>
                  <a:pt x="26" y="5"/>
                  <a:pt x="27" y="5"/>
                </a:cubicBezTo>
                <a:cubicBezTo>
                  <a:pt x="27" y="5"/>
                  <a:pt x="27" y="6"/>
                  <a:pt x="27" y="5"/>
                </a:cubicBezTo>
                <a:cubicBezTo>
                  <a:pt x="28" y="5"/>
                  <a:pt x="28" y="5"/>
                  <a:pt x="28" y="5"/>
                </a:cubicBezTo>
                <a:cubicBezTo>
                  <a:pt x="28" y="5"/>
                  <a:pt x="28" y="5"/>
                  <a:pt x="28" y="5"/>
                </a:cubicBezTo>
                <a:cubicBezTo>
                  <a:pt x="28" y="4"/>
                  <a:pt x="27" y="4"/>
                  <a:pt x="28" y="4"/>
                </a:cubicBezTo>
                <a:cubicBezTo>
                  <a:pt x="28" y="4"/>
                  <a:pt x="28" y="4"/>
                  <a:pt x="28" y="3"/>
                </a:cubicBezTo>
                <a:cubicBezTo>
                  <a:pt x="28" y="3"/>
                  <a:pt x="29" y="3"/>
                  <a:pt x="29" y="3"/>
                </a:cubicBezTo>
                <a:cubicBezTo>
                  <a:pt x="29" y="2"/>
                  <a:pt x="29" y="2"/>
                  <a:pt x="30" y="2"/>
                </a:cubicBezTo>
                <a:cubicBezTo>
                  <a:pt x="30" y="2"/>
                  <a:pt x="30" y="4"/>
                  <a:pt x="31" y="4"/>
                </a:cubicBezTo>
                <a:cubicBezTo>
                  <a:pt x="31" y="4"/>
                  <a:pt x="32" y="4"/>
                  <a:pt x="33" y="4"/>
                </a:cubicBezTo>
                <a:cubicBezTo>
                  <a:pt x="33" y="5"/>
                  <a:pt x="34" y="4"/>
                  <a:pt x="34" y="4"/>
                </a:cubicBezTo>
                <a:cubicBezTo>
                  <a:pt x="34" y="3"/>
                  <a:pt x="35" y="4"/>
                  <a:pt x="35" y="4"/>
                </a:cubicBezTo>
                <a:cubicBezTo>
                  <a:pt x="35" y="4"/>
                  <a:pt x="35" y="3"/>
                  <a:pt x="35" y="3"/>
                </a:cubicBezTo>
                <a:cubicBezTo>
                  <a:pt x="36" y="3"/>
                  <a:pt x="35" y="3"/>
                  <a:pt x="36" y="3"/>
                </a:cubicBezTo>
                <a:cubicBezTo>
                  <a:pt x="36" y="3"/>
                  <a:pt x="36" y="4"/>
                  <a:pt x="37" y="3"/>
                </a:cubicBezTo>
                <a:cubicBezTo>
                  <a:pt x="37" y="3"/>
                  <a:pt x="36" y="3"/>
                  <a:pt x="37" y="3"/>
                </a:cubicBezTo>
                <a:cubicBezTo>
                  <a:pt x="37" y="3"/>
                  <a:pt x="38" y="4"/>
                  <a:pt x="39" y="3"/>
                </a:cubicBezTo>
                <a:cubicBezTo>
                  <a:pt x="39" y="3"/>
                  <a:pt x="40" y="2"/>
                  <a:pt x="41" y="2"/>
                </a:cubicBezTo>
                <a:cubicBezTo>
                  <a:pt x="40" y="1"/>
                  <a:pt x="42" y="2"/>
                  <a:pt x="42" y="2"/>
                </a:cubicBezTo>
                <a:cubicBezTo>
                  <a:pt x="42" y="2"/>
                  <a:pt x="42" y="1"/>
                  <a:pt x="42" y="1"/>
                </a:cubicBezTo>
                <a:cubicBezTo>
                  <a:pt x="42" y="1"/>
                  <a:pt x="42" y="1"/>
                  <a:pt x="43" y="1"/>
                </a:cubicBezTo>
                <a:cubicBezTo>
                  <a:pt x="43" y="0"/>
                  <a:pt x="43" y="0"/>
                  <a:pt x="43" y="1"/>
                </a:cubicBezTo>
                <a:cubicBezTo>
                  <a:pt x="43" y="1"/>
                  <a:pt x="44" y="0"/>
                  <a:pt x="44" y="0"/>
                </a:cubicBezTo>
                <a:cubicBezTo>
                  <a:pt x="44" y="0"/>
                  <a:pt x="44" y="0"/>
                  <a:pt x="44" y="0"/>
                </a:cubicBezTo>
                <a:cubicBezTo>
                  <a:pt x="45" y="0"/>
                  <a:pt x="45" y="0"/>
                  <a:pt x="45" y="1"/>
                </a:cubicBezTo>
                <a:close/>
                <a:moveTo>
                  <a:pt x="26" y="41"/>
                </a:moveTo>
                <a:cubicBezTo>
                  <a:pt x="26" y="41"/>
                  <a:pt x="26" y="40"/>
                  <a:pt x="25" y="39"/>
                </a:cubicBezTo>
                <a:cubicBezTo>
                  <a:pt x="25" y="39"/>
                  <a:pt x="24" y="38"/>
                  <a:pt x="24" y="38"/>
                </a:cubicBezTo>
                <a:cubicBezTo>
                  <a:pt x="24" y="37"/>
                  <a:pt x="21" y="34"/>
                  <a:pt x="21" y="35"/>
                </a:cubicBezTo>
                <a:cubicBezTo>
                  <a:pt x="20" y="35"/>
                  <a:pt x="20" y="34"/>
                  <a:pt x="20" y="34"/>
                </a:cubicBezTo>
                <a:cubicBezTo>
                  <a:pt x="20" y="33"/>
                  <a:pt x="19" y="33"/>
                  <a:pt x="19" y="33"/>
                </a:cubicBezTo>
                <a:cubicBezTo>
                  <a:pt x="19" y="33"/>
                  <a:pt x="19" y="33"/>
                  <a:pt x="19" y="32"/>
                </a:cubicBezTo>
                <a:cubicBezTo>
                  <a:pt x="18" y="32"/>
                  <a:pt x="18" y="32"/>
                  <a:pt x="17" y="32"/>
                </a:cubicBezTo>
                <a:cubicBezTo>
                  <a:pt x="16" y="33"/>
                  <a:pt x="16" y="34"/>
                  <a:pt x="16" y="35"/>
                </a:cubicBezTo>
                <a:cubicBezTo>
                  <a:pt x="16" y="35"/>
                  <a:pt x="16" y="35"/>
                  <a:pt x="16" y="35"/>
                </a:cubicBezTo>
                <a:cubicBezTo>
                  <a:pt x="16" y="35"/>
                  <a:pt x="17" y="35"/>
                  <a:pt x="16" y="36"/>
                </a:cubicBezTo>
                <a:cubicBezTo>
                  <a:pt x="16" y="36"/>
                  <a:pt x="16" y="37"/>
                  <a:pt x="17" y="37"/>
                </a:cubicBezTo>
                <a:cubicBezTo>
                  <a:pt x="17" y="37"/>
                  <a:pt x="17" y="37"/>
                  <a:pt x="17" y="37"/>
                </a:cubicBezTo>
                <a:cubicBezTo>
                  <a:pt x="17" y="37"/>
                  <a:pt x="17" y="37"/>
                  <a:pt x="17" y="37"/>
                </a:cubicBezTo>
                <a:cubicBezTo>
                  <a:pt x="17" y="38"/>
                  <a:pt x="17" y="38"/>
                  <a:pt x="16" y="38"/>
                </a:cubicBezTo>
                <a:cubicBezTo>
                  <a:pt x="16" y="38"/>
                  <a:pt x="17" y="39"/>
                  <a:pt x="17" y="39"/>
                </a:cubicBezTo>
                <a:cubicBezTo>
                  <a:pt x="17" y="39"/>
                  <a:pt x="17" y="40"/>
                  <a:pt x="18" y="41"/>
                </a:cubicBezTo>
                <a:cubicBezTo>
                  <a:pt x="18" y="42"/>
                  <a:pt x="20" y="42"/>
                  <a:pt x="21" y="43"/>
                </a:cubicBezTo>
                <a:cubicBezTo>
                  <a:pt x="22" y="43"/>
                  <a:pt x="23" y="43"/>
                  <a:pt x="24" y="44"/>
                </a:cubicBezTo>
                <a:cubicBezTo>
                  <a:pt x="25" y="44"/>
                  <a:pt x="26" y="44"/>
                  <a:pt x="26" y="44"/>
                </a:cubicBezTo>
                <a:cubicBezTo>
                  <a:pt x="27" y="43"/>
                  <a:pt x="27" y="41"/>
                  <a:pt x="26" y="41"/>
                </a:cubicBezTo>
                <a:close/>
                <a:moveTo>
                  <a:pt x="44" y="32"/>
                </a:moveTo>
                <a:cubicBezTo>
                  <a:pt x="45" y="31"/>
                  <a:pt x="44" y="31"/>
                  <a:pt x="44" y="32"/>
                </a:cubicBezTo>
                <a:close/>
                <a:moveTo>
                  <a:pt x="50" y="7"/>
                </a:moveTo>
                <a:cubicBezTo>
                  <a:pt x="49" y="7"/>
                  <a:pt x="49" y="7"/>
                  <a:pt x="49" y="7"/>
                </a:cubicBezTo>
                <a:cubicBezTo>
                  <a:pt x="49" y="7"/>
                  <a:pt x="49" y="7"/>
                  <a:pt x="49" y="8"/>
                </a:cubicBezTo>
                <a:cubicBezTo>
                  <a:pt x="49" y="7"/>
                  <a:pt x="50" y="7"/>
                  <a:pt x="50"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79" name="Norway"/>
          <p:cNvSpPr>
            <a:spLocks noEditPoints="1"/>
          </p:cNvSpPr>
          <p:nvPr/>
        </p:nvSpPr>
        <p:spPr bwMode="auto">
          <a:xfrm>
            <a:off x="5669087" y="1640051"/>
            <a:ext cx="1007962" cy="744972"/>
          </a:xfrm>
          <a:custGeom>
            <a:avLst/>
            <a:gdLst/>
            <a:ahLst/>
            <a:cxnLst>
              <a:cxn ang="0">
                <a:pos x="137" y="8"/>
              </a:cxn>
              <a:cxn ang="0">
                <a:pos x="156" y="17"/>
              </a:cxn>
              <a:cxn ang="0">
                <a:pos x="158" y="19"/>
              </a:cxn>
              <a:cxn ang="0">
                <a:pos x="157" y="25"/>
              </a:cxn>
              <a:cxn ang="0">
                <a:pos x="185" y="19"/>
              </a:cxn>
              <a:cxn ang="0">
                <a:pos x="179" y="6"/>
              </a:cxn>
              <a:cxn ang="0">
                <a:pos x="150" y="7"/>
              </a:cxn>
              <a:cxn ang="0">
                <a:pos x="206" y="15"/>
              </a:cxn>
              <a:cxn ang="0">
                <a:pos x="199" y="6"/>
              </a:cxn>
              <a:cxn ang="0">
                <a:pos x="223" y="2"/>
              </a:cxn>
              <a:cxn ang="0">
                <a:pos x="206" y="3"/>
              </a:cxn>
              <a:cxn ang="0">
                <a:pos x="181" y="3"/>
              </a:cxn>
              <a:cxn ang="0">
                <a:pos x="100" y="163"/>
              </a:cxn>
              <a:cxn ang="0">
                <a:pos x="222" y="83"/>
              </a:cxn>
              <a:cxn ang="0">
                <a:pos x="217" y="84"/>
              </a:cxn>
              <a:cxn ang="0">
                <a:pos x="189" y="93"/>
              </a:cxn>
              <a:cxn ang="0">
                <a:pos x="180" y="96"/>
              </a:cxn>
              <a:cxn ang="0">
                <a:pos x="168" y="98"/>
              </a:cxn>
              <a:cxn ang="0">
                <a:pos x="174" y="95"/>
              </a:cxn>
              <a:cxn ang="0">
                <a:pos x="170" y="100"/>
              </a:cxn>
              <a:cxn ang="0">
                <a:pos x="142" y="141"/>
              </a:cxn>
              <a:cxn ang="0">
                <a:pos x="214" y="96"/>
              </a:cxn>
              <a:cxn ang="0">
                <a:pos x="162" y="143"/>
              </a:cxn>
              <a:cxn ang="0">
                <a:pos x="143" y="195"/>
              </a:cxn>
              <a:cxn ang="0">
                <a:pos x="134" y="195"/>
              </a:cxn>
              <a:cxn ang="0">
                <a:pos x="117" y="204"/>
              </a:cxn>
              <a:cxn ang="0">
                <a:pos x="98" y="196"/>
              </a:cxn>
              <a:cxn ang="0">
                <a:pos x="98" y="191"/>
              </a:cxn>
              <a:cxn ang="0">
                <a:pos x="100" y="187"/>
              </a:cxn>
              <a:cxn ang="0">
                <a:pos x="98" y="181"/>
              </a:cxn>
              <a:cxn ang="0">
                <a:pos x="94" y="176"/>
              </a:cxn>
              <a:cxn ang="0">
                <a:pos x="108" y="174"/>
              </a:cxn>
              <a:cxn ang="0">
                <a:pos x="97" y="170"/>
              </a:cxn>
              <a:cxn ang="0">
                <a:pos x="96" y="163"/>
              </a:cxn>
              <a:cxn ang="0">
                <a:pos x="104" y="161"/>
              </a:cxn>
              <a:cxn ang="0">
                <a:pos x="113" y="156"/>
              </a:cxn>
              <a:cxn ang="0">
                <a:pos x="122" y="152"/>
              </a:cxn>
              <a:cxn ang="0">
                <a:pos x="142" y="147"/>
              </a:cxn>
              <a:cxn ang="0">
                <a:pos x="132" y="145"/>
              </a:cxn>
              <a:cxn ang="0">
                <a:pos x="143" y="138"/>
              </a:cxn>
              <a:cxn ang="0">
                <a:pos x="150" y="134"/>
              </a:cxn>
              <a:cxn ang="0">
                <a:pos x="151" y="128"/>
              </a:cxn>
              <a:cxn ang="0">
                <a:pos x="156" y="122"/>
              </a:cxn>
              <a:cxn ang="0">
                <a:pos x="168" y="114"/>
              </a:cxn>
              <a:cxn ang="0">
                <a:pos x="173" y="113"/>
              </a:cxn>
              <a:cxn ang="0">
                <a:pos x="169" y="109"/>
              </a:cxn>
              <a:cxn ang="0">
                <a:pos x="179" y="106"/>
              </a:cxn>
              <a:cxn ang="0">
                <a:pos x="179" y="103"/>
              </a:cxn>
              <a:cxn ang="0">
                <a:pos x="195" y="95"/>
              </a:cxn>
              <a:cxn ang="0">
                <a:pos x="207" y="93"/>
              </a:cxn>
              <a:cxn ang="0">
                <a:pos x="212" y="87"/>
              </a:cxn>
              <a:cxn ang="0">
                <a:pos x="224" y="86"/>
              </a:cxn>
              <a:cxn ang="0">
                <a:pos x="241" y="81"/>
              </a:cxn>
              <a:cxn ang="0">
                <a:pos x="248" y="84"/>
              </a:cxn>
              <a:cxn ang="0">
                <a:pos x="254" y="81"/>
              </a:cxn>
              <a:cxn ang="0">
                <a:pos x="273" y="84"/>
              </a:cxn>
              <a:cxn ang="0">
                <a:pos x="274" y="92"/>
              </a:cxn>
              <a:cxn ang="0">
                <a:pos x="146" y="135"/>
              </a:cxn>
              <a:cxn ang="0">
                <a:pos x="201" y="87"/>
              </a:cxn>
              <a:cxn ang="0">
                <a:pos x="117" y="151"/>
              </a:cxn>
              <a:cxn ang="0">
                <a:pos x="98" y="184"/>
              </a:cxn>
              <a:cxn ang="0">
                <a:pos x="164" y="104"/>
              </a:cxn>
            </a:cxnLst>
            <a:rect l="0" t="0" r="r" b="b"/>
            <a:pathLst>
              <a:path w="279" h="206">
                <a:moveTo>
                  <a:pt x="210" y="24"/>
                </a:moveTo>
                <a:cubicBezTo>
                  <a:pt x="209" y="24"/>
                  <a:pt x="210" y="24"/>
                  <a:pt x="210" y="24"/>
                </a:cubicBezTo>
                <a:cubicBezTo>
                  <a:pt x="211" y="24"/>
                  <a:pt x="211" y="23"/>
                  <a:pt x="212" y="23"/>
                </a:cubicBezTo>
                <a:cubicBezTo>
                  <a:pt x="211" y="23"/>
                  <a:pt x="211" y="23"/>
                  <a:pt x="210" y="23"/>
                </a:cubicBezTo>
                <a:cubicBezTo>
                  <a:pt x="210" y="23"/>
                  <a:pt x="210" y="23"/>
                  <a:pt x="211" y="23"/>
                </a:cubicBezTo>
                <a:cubicBezTo>
                  <a:pt x="210" y="23"/>
                  <a:pt x="209" y="23"/>
                  <a:pt x="208" y="23"/>
                </a:cubicBezTo>
                <a:cubicBezTo>
                  <a:pt x="208" y="24"/>
                  <a:pt x="206" y="23"/>
                  <a:pt x="205" y="23"/>
                </a:cubicBezTo>
                <a:cubicBezTo>
                  <a:pt x="204" y="23"/>
                  <a:pt x="203" y="24"/>
                  <a:pt x="202" y="24"/>
                </a:cubicBezTo>
                <a:cubicBezTo>
                  <a:pt x="202" y="24"/>
                  <a:pt x="201" y="24"/>
                  <a:pt x="200" y="24"/>
                </a:cubicBezTo>
                <a:cubicBezTo>
                  <a:pt x="200" y="24"/>
                  <a:pt x="199" y="24"/>
                  <a:pt x="200" y="23"/>
                </a:cubicBezTo>
                <a:cubicBezTo>
                  <a:pt x="200" y="23"/>
                  <a:pt x="200" y="23"/>
                  <a:pt x="199" y="23"/>
                </a:cubicBezTo>
                <a:cubicBezTo>
                  <a:pt x="200" y="23"/>
                  <a:pt x="201" y="23"/>
                  <a:pt x="201" y="23"/>
                </a:cubicBezTo>
                <a:cubicBezTo>
                  <a:pt x="202" y="23"/>
                  <a:pt x="202" y="22"/>
                  <a:pt x="202" y="22"/>
                </a:cubicBezTo>
                <a:cubicBezTo>
                  <a:pt x="202" y="21"/>
                  <a:pt x="203" y="21"/>
                  <a:pt x="203" y="20"/>
                </a:cubicBezTo>
                <a:cubicBezTo>
                  <a:pt x="204" y="20"/>
                  <a:pt x="203" y="20"/>
                  <a:pt x="204" y="20"/>
                </a:cubicBezTo>
                <a:cubicBezTo>
                  <a:pt x="203" y="19"/>
                  <a:pt x="202" y="19"/>
                  <a:pt x="201" y="19"/>
                </a:cubicBezTo>
                <a:cubicBezTo>
                  <a:pt x="200" y="19"/>
                  <a:pt x="198" y="19"/>
                  <a:pt x="200" y="18"/>
                </a:cubicBezTo>
                <a:cubicBezTo>
                  <a:pt x="201" y="18"/>
                  <a:pt x="202" y="18"/>
                  <a:pt x="203" y="18"/>
                </a:cubicBezTo>
                <a:cubicBezTo>
                  <a:pt x="205" y="17"/>
                  <a:pt x="207" y="18"/>
                  <a:pt x="209" y="17"/>
                </a:cubicBezTo>
                <a:cubicBezTo>
                  <a:pt x="211" y="17"/>
                  <a:pt x="213" y="17"/>
                  <a:pt x="215" y="18"/>
                </a:cubicBezTo>
                <a:cubicBezTo>
                  <a:pt x="215" y="18"/>
                  <a:pt x="214" y="18"/>
                  <a:pt x="213" y="19"/>
                </a:cubicBezTo>
                <a:cubicBezTo>
                  <a:pt x="213" y="19"/>
                  <a:pt x="213" y="19"/>
                  <a:pt x="213" y="19"/>
                </a:cubicBezTo>
                <a:cubicBezTo>
                  <a:pt x="214" y="20"/>
                  <a:pt x="214" y="20"/>
                  <a:pt x="215" y="20"/>
                </a:cubicBezTo>
                <a:cubicBezTo>
                  <a:pt x="215" y="20"/>
                  <a:pt x="216" y="20"/>
                  <a:pt x="217" y="20"/>
                </a:cubicBezTo>
                <a:cubicBezTo>
                  <a:pt x="218" y="21"/>
                  <a:pt x="220" y="20"/>
                  <a:pt x="221" y="20"/>
                </a:cubicBezTo>
                <a:cubicBezTo>
                  <a:pt x="222" y="20"/>
                  <a:pt x="224" y="21"/>
                  <a:pt x="225" y="21"/>
                </a:cubicBezTo>
                <a:cubicBezTo>
                  <a:pt x="224" y="22"/>
                  <a:pt x="223" y="22"/>
                  <a:pt x="222" y="22"/>
                </a:cubicBezTo>
                <a:cubicBezTo>
                  <a:pt x="220" y="22"/>
                  <a:pt x="220" y="22"/>
                  <a:pt x="219" y="23"/>
                </a:cubicBezTo>
                <a:cubicBezTo>
                  <a:pt x="218" y="24"/>
                  <a:pt x="217" y="24"/>
                  <a:pt x="216" y="24"/>
                </a:cubicBezTo>
                <a:cubicBezTo>
                  <a:pt x="215" y="24"/>
                  <a:pt x="214" y="24"/>
                  <a:pt x="213" y="25"/>
                </a:cubicBezTo>
                <a:cubicBezTo>
                  <a:pt x="213" y="25"/>
                  <a:pt x="213" y="25"/>
                  <a:pt x="212" y="25"/>
                </a:cubicBezTo>
                <a:cubicBezTo>
                  <a:pt x="212" y="25"/>
                  <a:pt x="212" y="25"/>
                  <a:pt x="211" y="25"/>
                </a:cubicBezTo>
                <a:cubicBezTo>
                  <a:pt x="211" y="25"/>
                  <a:pt x="209" y="25"/>
                  <a:pt x="210" y="25"/>
                </a:cubicBezTo>
                <a:cubicBezTo>
                  <a:pt x="210" y="25"/>
                  <a:pt x="211" y="24"/>
                  <a:pt x="210" y="24"/>
                </a:cubicBezTo>
                <a:close/>
                <a:moveTo>
                  <a:pt x="137" y="8"/>
                </a:moveTo>
                <a:cubicBezTo>
                  <a:pt x="137" y="8"/>
                  <a:pt x="137" y="8"/>
                  <a:pt x="137" y="9"/>
                </a:cubicBezTo>
                <a:cubicBezTo>
                  <a:pt x="137" y="9"/>
                  <a:pt x="138" y="9"/>
                  <a:pt x="139" y="10"/>
                </a:cubicBezTo>
                <a:cubicBezTo>
                  <a:pt x="139" y="10"/>
                  <a:pt x="139" y="11"/>
                  <a:pt x="139" y="11"/>
                </a:cubicBezTo>
                <a:cubicBezTo>
                  <a:pt x="140" y="11"/>
                  <a:pt x="141" y="10"/>
                  <a:pt x="142" y="10"/>
                </a:cubicBezTo>
                <a:cubicBezTo>
                  <a:pt x="142" y="10"/>
                  <a:pt x="141" y="9"/>
                  <a:pt x="141" y="9"/>
                </a:cubicBezTo>
                <a:cubicBezTo>
                  <a:pt x="142" y="9"/>
                  <a:pt x="142" y="9"/>
                  <a:pt x="142" y="9"/>
                </a:cubicBezTo>
                <a:cubicBezTo>
                  <a:pt x="143" y="10"/>
                  <a:pt x="143" y="10"/>
                  <a:pt x="143" y="9"/>
                </a:cubicBezTo>
                <a:cubicBezTo>
                  <a:pt x="143" y="9"/>
                  <a:pt x="145" y="9"/>
                  <a:pt x="144" y="10"/>
                </a:cubicBezTo>
                <a:cubicBezTo>
                  <a:pt x="144" y="10"/>
                  <a:pt x="144" y="10"/>
                  <a:pt x="144" y="10"/>
                </a:cubicBezTo>
                <a:cubicBezTo>
                  <a:pt x="144" y="10"/>
                  <a:pt x="143" y="10"/>
                  <a:pt x="143" y="10"/>
                </a:cubicBezTo>
                <a:cubicBezTo>
                  <a:pt x="143" y="10"/>
                  <a:pt x="142" y="11"/>
                  <a:pt x="142" y="11"/>
                </a:cubicBezTo>
                <a:cubicBezTo>
                  <a:pt x="142" y="11"/>
                  <a:pt x="144" y="11"/>
                  <a:pt x="143" y="11"/>
                </a:cubicBezTo>
                <a:cubicBezTo>
                  <a:pt x="144" y="12"/>
                  <a:pt x="145" y="11"/>
                  <a:pt x="146" y="11"/>
                </a:cubicBezTo>
                <a:cubicBezTo>
                  <a:pt x="146" y="12"/>
                  <a:pt x="146" y="12"/>
                  <a:pt x="146" y="12"/>
                </a:cubicBezTo>
                <a:cubicBezTo>
                  <a:pt x="145" y="12"/>
                  <a:pt x="145" y="12"/>
                  <a:pt x="144" y="12"/>
                </a:cubicBezTo>
                <a:cubicBezTo>
                  <a:pt x="143" y="12"/>
                  <a:pt x="140" y="11"/>
                  <a:pt x="138" y="11"/>
                </a:cubicBezTo>
                <a:cubicBezTo>
                  <a:pt x="139" y="12"/>
                  <a:pt x="140" y="12"/>
                  <a:pt x="140" y="12"/>
                </a:cubicBezTo>
                <a:cubicBezTo>
                  <a:pt x="141" y="12"/>
                  <a:pt x="141" y="12"/>
                  <a:pt x="142" y="13"/>
                </a:cubicBezTo>
                <a:cubicBezTo>
                  <a:pt x="141" y="13"/>
                  <a:pt x="140" y="12"/>
                  <a:pt x="140" y="13"/>
                </a:cubicBezTo>
                <a:cubicBezTo>
                  <a:pt x="140" y="13"/>
                  <a:pt x="141" y="13"/>
                  <a:pt x="141" y="13"/>
                </a:cubicBezTo>
                <a:cubicBezTo>
                  <a:pt x="141" y="14"/>
                  <a:pt x="142" y="14"/>
                  <a:pt x="142" y="14"/>
                </a:cubicBezTo>
                <a:cubicBezTo>
                  <a:pt x="142" y="14"/>
                  <a:pt x="143" y="15"/>
                  <a:pt x="143" y="15"/>
                </a:cubicBezTo>
                <a:cubicBezTo>
                  <a:pt x="145" y="15"/>
                  <a:pt x="146" y="15"/>
                  <a:pt x="147" y="15"/>
                </a:cubicBezTo>
                <a:cubicBezTo>
                  <a:pt x="148" y="15"/>
                  <a:pt x="149" y="15"/>
                  <a:pt x="150" y="15"/>
                </a:cubicBezTo>
                <a:cubicBezTo>
                  <a:pt x="148" y="16"/>
                  <a:pt x="146" y="15"/>
                  <a:pt x="145" y="15"/>
                </a:cubicBezTo>
                <a:cubicBezTo>
                  <a:pt x="145" y="16"/>
                  <a:pt x="146" y="16"/>
                  <a:pt x="147" y="16"/>
                </a:cubicBezTo>
                <a:cubicBezTo>
                  <a:pt x="148" y="16"/>
                  <a:pt x="148" y="17"/>
                  <a:pt x="148" y="17"/>
                </a:cubicBezTo>
                <a:cubicBezTo>
                  <a:pt x="148" y="17"/>
                  <a:pt x="148" y="17"/>
                  <a:pt x="148" y="18"/>
                </a:cubicBezTo>
                <a:cubicBezTo>
                  <a:pt x="149" y="18"/>
                  <a:pt x="150" y="18"/>
                  <a:pt x="150" y="18"/>
                </a:cubicBezTo>
                <a:cubicBezTo>
                  <a:pt x="151" y="18"/>
                  <a:pt x="151" y="18"/>
                  <a:pt x="151" y="18"/>
                </a:cubicBezTo>
                <a:cubicBezTo>
                  <a:pt x="152" y="18"/>
                  <a:pt x="153" y="18"/>
                  <a:pt x="154" y="18"/>
                </a:cubicBezTo>
                <a:cubicBezTo>
                  <a:pt x="154" y="17"/>
                  <a:pt x="154" y="17"/>
                  <a:pt x="154" y="17"/>
                </a:cubicBezTo>
                <a:cubicBezTo>
                  <a:pt x="154" y="17"/>
                  <a:pt x="155" y="18"/>
                  <a:pt x="155" y="17"/>
                </a:cubicBezTo>
                <a:cubicBezTo>
                  <a:pt x="155" y="17"/>
                  <a:pt x="155" y="17"/>
                  <a:pt x="156" y="17"/>
                </a:cubicBezTo>
                <a:cubicBezTo>
                  <a:pt x="156" y="17"/>
                  <a:pt x="156" y="17"/>
                  <a:pt x="156" y="17"/>
                </a:cubicBezTo>
                <a:cubicBezTo>
                  <a:pt x="156" y="17"/>
                  <a:pt x="156" y="17"/>
                  <a:pt x="157" y="17"/>
                </a:cubicBezTo>
                <a:cubicBezTo>
                  <a:pt x="157" y="17"/>
                  <a:pt x="157" y="17"/>
                  <a:pt x="157" y="17"/>
                </a:cubicBezTo>
                <a:cubicBezTo>
                  <a:pt x="157" y="16"/>
                  <a:pt x="157" y="16"/>
                  <a:pt x="157" y="16"/>
                </a:cubicBezTo>
                <a:cubicBezTo>
                  <a:pt x="157" y="16"/>
                  <a:pt x="158" y="16"/>
                  <a:pt x="158" y="16"/>
                </a:cubicBezTo>
                <a:cubicBezTo>
                  <a:pt x="158" y="16"/>
                  <a:pt x="159" y="16"/>
                  <a:pt x="159" y="16"/>
                </a:cubicBezTo>
                <a:cubicBezTo>
                  <a:pt x="161" y="16"/>
                  <a:pt x="159" y="16"/>
                  <a:pt x="158" y="16"/>
                </a:cubicBezTo>
                <a:cubicBezTo>
                  <a:pt x="157" y="15"/>
                  <a:pt x="159" y="15"/>
                  <a:pt x="159" y="15"/>
                </a:cubicBezTo>
                <a:cubicBezTo>
                  <a:pt x="158" y="15"/>
                  <a:pt x="159" y="14"/>
                  <a:pt x="158" y="14"/>
                </a:cubicBezTo>
                <a:cubicBezTo>
                  <a:pt x="159" y="14"/>
                  <a:pt x="160" y="13"/>
                  <a:pt x="160" y="14"/>
                </a:cubicBezTo>
                <a:cubicBezTo>
                  <a:pt x="160" y="14"/>
                  <a:pt x="160" y="14"/>
                  <a:pt x="160" y="14"/>
                </a:cubicBezTo>
                <a:cubicBezTo>
                  <a:pt x="161" y="14"/>
                  <a:pt x="161" y="15"/>
                  <a:pt x="162" y="14"/>
                </a:cubicBezTo>
                <a:cubicBezTo>
                  <a:pt x="162" y="14"/>
                  <a:pt x="163" y="14"/>
                  <a:pt x="163" y="14"/>
                </a:cubicBezTo>
                <a:cubicBezTo>
                  <a:pt x="163" y="14"/>
                  <a:pt x="163" y="13"/>
                  <a:pt x="164" y="13"/>
                </a:cubicBezTo>
                <a:cubicBezTo>
                  <a:pt x="164" y="13"/>
                  <a:pt x="165" y="13"/>
                  <a:pt x="164" y="13"/>
                </a:cubicBezTo>
                <a:cubicBezTo>
                  <a:pt x="165" y="13"/>
                  <a:pt x="165" y="14"/>
                  <a:pt x="164" y="14"/>
                </a:cubicBezTo>
                <a:cubicBezTo>
                  <a:pt x="164" y="15"/>
                  <a:pt x="163" y="14"/>
                  <a:pt x="163" y="15"/>
                </a:cubicBezTo>
                <a:cubicBezTo>
                  <a:pt x="163" y="15"/>
                  <a:pt x="163" y="15"/>
                  <a:pt x="163" y="15"/>
                </a:cubicBezTo>
                <a:cubicBezTo>
                  <a:pt x="164" y="15"/>
                  <a:pt x="164" y="16"/>
                  <a:pt x="164" y="16"/>
                </a:cubicBezTo>
                <a:cubicBezTo>
                  <a:pt x="165" y="16"/>
                  <a:pt x="166" y="16"/>
                  <a:pt x="167" y="16"/>
                </a:cubicBezTo>
                <a:cubicBezTo>
                  <a:pt x="168" y="16"/>
                  <a:pt x="168" y="15"/>
                  <a:pt x="169" y="15"/>
                </a:cubicBezTo>
                <a:cubicBezTo>
                  <a:pt x="170" y="15"/>
                  <a:pt x="170" y="15"/>
                  <a:pt x="170" y="14"/>
                </a:cubicBezTo>
                <a:cubicBezTo>
                  <a:pt x="171" y="14"/>
                  <a:pt x="171" y="13"/>
                  <a:pt x="172" y="14"/>
                </a:cubicBezTo>
                <a:cubicBezTo>
                  <a:pt x="172" y="14"/>
                  <a:pt x="173" y="14"/>
                  <a:pt x="173" y="14"/>
                </a:cubicBezTo>
                <a:cubicBezTo>
                  <a:pt x="172" y="15"/>
                  <a:pt x="172" y="15"/>
                  <a:pt x="171" y="15"/>
                </a:cubicBezTo>
                <a:cubicBezTo>
                  <a:pt x="171" y="15"/>
                  <a:pt x="170" y="16"/>
                  <a:pt x="170" y="16"/>
                </a:cubicBezTo>
                <a:cubicBezTo>
                  <a:pt x="171" y="16"/>
                  <a:pt x="171" y="16"/>
                  <a:pt x="172" y="16"/>
                </a:cubicBezTo>
                <a:cubicBezTo>
                  <a:pt x="172" y="16"/>
                  <a:pt x="173" y="16"/>
                  <a:pt x="174" y="16"/>
                </a:cubicBezTo>
                <a:cubicBezTo>
                  <a:pt x="174" y="16"/>
                  <a:pt x="175" y="16"/>
                  <a:pt x="176" y="16"/>
                </a:cubicBezTo>
                <a:cubicBezTo>
                  <a:pt x="175" y="17"/>
                  <a:pt x="172" y="17"/>
                  <a:pt x="171" y="17"/>
                </a:cubicBezTo>
                <a:cubicBezTo>
                  <a:pt x="169" y="16"/>
                  <a:pt x="167" y="16"/>
                  <a:pt x="166" y="17"/>
                </a:cubicBezTo>
                <a:cubicBezTo>
                  <a:pt x="166" y="17"/>
                  <a:pt x="166" y="17"/>
                  <a:pt x="166" y="17"/>
                </a:cubicBezTo>
                <a:cubicBezTo>
                  <a:pt x="166" y="18"/>
                  <a:pt x="164" y="17"/>
                  <a:pt x="164" y="18"/>
                </a:cubicBezTo>
                <a:cubicBezTo>
                  <a:pt x="163" y="18"/>
                  <a:pt x="162" y="18"/>
                  <a:pt x="162" y="18"/>
                </a:cubicBezTo>
                <a:cubicBezTo>
                  <a:pt x="161" y="19"/>
                  <a:pt x="161" y="18"/>
                  <a:pt x="160" y="18"/>
                </a:cubicBezTo>
                <a:cubicBezTo>
                  <a:pt x="159" y="18"/>
                  <a:pt x="159" y="19"/>
                  <a:pt x="158" y="19"/>
                </a:cubicBezTo>
                <a:cubicBezTo>
                  <a:pt x="158" y="19"/>
                  <a:pt x="156" y="19"/>
                  <a:pt x="157" y="19"/>
                </a:cubicBezTo>
                <a:cubicBezTo>
                  <a:pt x="157" y="19"/>
                  <a:pt x="158" y="20"/>
                  <a:pt x="157" y="20"/>
                </a:cubicBezTo>
                <a:cubicBezTo>
                  <a:pt x="157" y="20"/>
                  <a:pt x="157" y="19"/>
                  <a:pt x="156" y="19"/>
                </a:cubicBezTo>
                <a:cubicBezTo>
                  <a:pt x="155" y="18"/>
                  <a:pt x="154" y="19"/>
                  <a:pt x="153" y="19"/>
                </a:cubicBezTo>
                <a:cubicBezTo>
                  <a:pt x="153" y="19"/>
                  <a:pt x="153" y="20"/>
                  <a:pt x="153" y="20"/>
                </a:cubicBezTo>
                <a:cubicBezTo>
                  <a:pt x="153" y="21"/>
                  <a:pt x="154" y="21"/>
                  <a:pt x="154" y="21"/>
                </a:cubicBezTo>
                <a:cubicBezTo>
                  <a:pt x="153" y="22"/>
                  <a:pt x="155" y="22"/>
                  <a:pt x="156" y="21"/>
                </a:cubicBezTo>
                <a:cubicBezTo>
                  <a:pt x="157" y="21"/>
                  <a:pt x="158" y="21"/>
                  <a:pt x="159" y="21"/>
                </a:cubicBezTo>
                <a:cubicBezTo>
                  <a:pt x="159" y="21"/>
                  <a:pt x="159" y="21"/>
                  <a:pt x="159" y="21"/>
                </a:cubicBezTo>
                <a:cubicBezTo>
                  <a:pt x="159" y="21"/>
                  <a:pt x="160" y="21"/>
                  <a:pt x="161" y="21"/>
                </a:cubicBezTo>
                <a:cubicBezTo>
                  <a:pt x="161" y="21"/>
                  <a:pt x="162" y="21"/>
                  <a:pt x="163" y="21"/>
                </a:cubicBezTo>
                <a:cubicBezTo>
                  <a:pt x="164" y="21"/>
                  <a:pt x="165" y="20"/>
                  <a:pt x="167" y="21"/>
                </a:cubicBezTo>
                <a:cubicBezTo>
                  <a:pt x="168" y="21"/>
                  <a:pt x="170" y="21"/>
                  <a:pt x="171" y="20"/>
                </a:cubicBezTo>
                <a:cubicBezTo>
                  <a:pt x="172" y="20"/>
                  <a:pt x="174" y="20"/>
                  <a:pt x="175" y="20"/>
                </a:cubicBezTo>
                <a:cubicBezTo>
                  <a:pt x="175" y="20"/>
                  <a:pt x="175" y="20"/>
                  <a:pt x="175" y="20"/>
                </a:cubicBezTo>
                <a:cubicBezTo>
                  <a:pt x="175" y="20"/>
                  <a:pt x="175" y="20"/>
                  <a:pt x="175" y="20"/>
                </a:cubicBezTo>
                <a:cubicBezTo>
                  <a:pt x="174" y="20"/>
                  <a:pt x="173" y="20"/>
                  <a:pt x="173" y="20"/>
                </a:cubicBezTo>
                <a:cubicBezTo>
                  <a:pt x="173" y="21"/>
                  <a:pt x="175" y="21"/>
                  <a:pt x="176" y="21"/>
                </a:cubicBezTo>
                <a:cubicBezTo>
                  <a:pt x="174" y="21"/>
                  <a:pt x="173" y="21"/>
                  <a:pt x="172" y="21"/>
                </a:cubicBezTo>
                <a:cubicBezTo>
                  <a:pt x="170" y="21"/>
                  <a:pt x="169" y="21"/>
                  <a:pt x="168" y="21"/>
                </a:cubicBezTo>
                <a:cubicBezTo>
                  <a:pt x="166" y="21"/>
                  <a:pt x="165" y="21"/>
                  <a:pt x="164" y="22"/>
                </a:cubicBezTo>
                <a:cubicBezTo>
                  <a:pt x="163" y="22"/>
                  <a:pt x="161" y="22"/>
                  <a:pt x="160" y="22"/>
                </a:cubicBezTo>
                <a:cubicBezTo>
                  <a:pt x="162" y="23"/>
                  <a:pt x="164" y="23"/>
                  <a:pt x="166" y="23"/>
                </a:cubicBezTo>
                <a:cubicBezTo>
                  <a:pt x="167" y="23"/>
                  <a:pt x="169" y="23"/>
                  <a:pt x="170" y="24"/>
                </a:cubicBezTo>
                <a:cubicBezTo>
                  <a:pt x="170" y="24"/>
                  <a:pt x="170" y="24"/>
                  <a:pt x="169" y="24"/>
                </a:cubicBezTo>
                <a:cubicBezTo>
                  <a:pt x="169" y="24"/>
                  <a:pt x="168" y="23"/>
                  <a:pt x="168" y="23"/>
                </a:cubicBezTo>
                <a:cubicBezTo>
                  <a:pt x="167" y="23"/>
                  <a:pt x="165" y="23"/>
                  <a:pt x="164" y="23"/>
                </a:cubicBezTo>
                <a:cubicBezTo>
                  <a:pt x="163" y="23"/>
                  <a:pt x="161" y="23"/>
                  <a:pt x="161" y="23"/>
                </a:cubicBezTo>
                <a:cubicBezTo>
                  <a:pt x="160" y="23"/>
                  <a:pt x="160" y="24"/>
                  <a:pt x="159" y="23"/>
                </a:cubicBezTo>
                <a:cubicBezTo>
                  <a:pt x="160" y="23"/>
                  <a:pt x="159" y="23"/>
                  <a:pt x="159" y="23"/>
                </a:cubicBezTo>
                <a:cubicBezTo>
                  <a:pt x="158" y="23"/>
                  <a:pt x="157" y="23"/>
                  <a:pt x="156" y="23"/>
                </a:cubicBezTo>
                <a:cubicBezTo>
                  <a:pt x="156" y="23"/>
                  <a:pt x="155" y="23"/>
                  <a:pt x="155" y="23"/>
                </a:cubicBezTo>
                <a:cubicBezTo>
                  <a:pt x="155" y="24"/>
                  <a:pt x="156" y="24"/>
                  <a:pt x="156" y="24"/>
                </a:cubicBezTo>
                <a:cubicBezTo>
                  <a:pt x="155" y="24"/>
                  <a:pt x="155" y="24"/>
                  <a:pt x="156" y="24"/>
                </a:cubicBezTo>
                <a:cubicBezTo>
                  <a:pt x="156" y="24"/>
                  <a:pt x="156" y="24"/>
                  <a:pt x="157" y="25"/>
                </a:cubicBezTo>
                <a:cubicBezTo>
                  <a:pt x="157" y="25"/>
                  <a:pt x="157" y="25"/>
                  <a:pt x="157" y="25"/>
                </a:cubicBezTo>
                <a:cubicBezTo>
                  <a:pt x="158" y="25"/>
                  <a:pt x="158" y="25"/>
                  <a:pt x="158" y="26"/>
                </a:cubicBezTo>
                <a:cubicBezTo>
                  <a:pt x="158" y="26"/>
                  <a:pt x="159" y="26"/>
                  <a:pt x="160" y="26"/>
                </a:cubicBezTo>
                <a:cubicBezTo>
                  <a:pt x="160" y="26"/>
                  <a:pt x="161" y="26"/>
                  <a:pt x="162" y="26"/>
                </a:cubicBezTo>
                <a:cubicBezTo>
                  <a:pt x="163" y="26"/>
                  <a:pt x="163" y="27"/>
                  <a:pt x="164" y="27"/>
                </a:cubicBezTo>
                <a:cubicBezTo>
                  <a:pt x="165" y="28"/>
                  <a:pt x="167" y="28"/>
                  <a:pt x="168" y="27"/>
                </a:cubicBezTo>
                <a:cubicBezTo>
                  <a:pt x="168" y="27"/>
                  <a:pt x="168" y="27"/>
                  <a:pt x="168" y="27"/>
                </a:cubicBezTo>
                <a:cubicBezTo>
                  <a:pt x="168" y="26"/>
                  <a:pt x="169" y="27"/>
                  <a:pt x="170" y="27"/>
                </a:cubicBezTo>
                <a:cubicBezTo>
                  <a:pt x="171" y="28"/>
                  <a:pt x="171" y="27"/>
                  <a:pt x="172" y="27"/>
                </a:cubicBezTo>
                <a:cubicBezTo>
                  <a:pt x="172" y="28"/>
                  <a:pt x="171" y="28"/>
                  <a:pt x="171" y="28"/>
                </a:cubicBezTo>
                <a:cubicBezTo>
                  <a:pt x="171" y="28"/>
                  <a:pt x="171" y="28"/>
                  <a:pt x="171" y="28"/>
                </a:cubicBezTo>
                <a:cubicBezTo>
                  <a:pt x="170" y="28"/>
                  <a:pt x="170" y="28"/>
                  <a:pt x="169" y="28"/>
                </a:cubicBezTo>
                <a:cubicBezTo>
                  <a:pt x="169" y="28"/>
                  <a:pt x="166" y="28"/>
                  <a:pt x="166" y="28"/>
                </a:cubicBezTo>
                <a:cubicBezTo>
                  <a:pt x="166" y="28"/>
                  <a:pt x="168" y="29"/>
                  <a:pt x="168" y="29"/>
                </a:cubicBezTo>
                <a:cubicBezTo>
                  <a:pt x="169" y="30"/>
                  <a:pt x="170" y="29"/>
                  <a:pt x="171" y="30"/>
                </a:cubicBezTo>
                <a:cubicBezTo>
                  <a:pt x="171" y="30"/>
                  <a:pt x="171" y="31"/>
                  <a:pt x="171" y="31"/>
                </a:cubicBezTo>
                <a:cubicBezTo>
                  <a:pt x="171" y="31"/>
                  <a:pt x="172" y="31"/>
                  <a:pt x="172" y="31"/>
                </a:cubicBezTo>
                <a:cubicBezTo>
                  <a:pt x="172" y="31"/>
                  <a:pt x="173" y="31"/>
                  <a:pt x="173" y="31"/>
                </a:cubicBezTo>
                <a:cubicBezTo>
                  <a:pt x="174" y="31"/>
                  <a:pt x="174" y="31"/>
                  <a:pt x="175" y="31"/>
                </a:cubicBezTo>
                <a:cubicBezTo>
                  <a:pt x="176" y="31"/>
                  <a:pt x="176" y="31"/>
                  <a:pt x="176" y="31"/>
                </a:cubicBezTo>
                <a:cubicBezTo>
                  <a:pt x="176" y="30"/>
                  <a:pt x="176" y="30"/>
                  <a:pt x="176" y="30"/>
                </a:cubicBezTo>
                <a:cubicBezTo>
                  <a:pt x="178" y="30"/>
                  <a:pt x="175" y="29"/>
                  <a:pt x="175" y="29"/>
                </a:cubicBezTo>
                <a:cubicBezTo>
                  <a:pt x="175" y="29"/>
                  <a:pt x="176" y="28"/>
                  <a:pt x="177" y="28"/>
                </a:cubicBezTo>
                <a:cubicBezTo>
                  <a:pt x="178" y="28"/>
                  <a:pt x="177" y="28"/>
                  <a:pt x="176" y="27"/>
                </a:cubicBezTo>
                <a:cubicBezTo>
                  <a:pt x="177" y="27"/>
                  <a:pt x="177" y="27"/>
                  <a:pt x="178" y="27"/>
                </a:cubicBezTo>
                <a:cubicBezTo>
                  <a:pt x="178" y="26"/>
                  <a:pt x="178" y="26"/>
                  <a:pt x="178" y="26"/>
                </a:cubicBezTo>
                <a:cubicBezTo>
                  <a:pt x="178" y="25"/>
                  <a:pt x="178" y="26"/>
                  <a:pt x="178" y="25"/>
                </a:cubicBezTo>
                <a:cubicBezTo>
                  <a:pt x="178" y="25"/>
                  <a:pt x="179" y="25"/>
                  <a:pt x="179" y="24"/>
                </a:cubicBezTo>
                <a:cubicBezTo>
                  <a:pt x="179" y="23"/>
                  <a:pt x="180" y="23"/>
                  <a:pt x="181" y="23"/>
                </a:cubicBezTo>
                <a:cubicBezTo>
                  <a:pt x="182" y="23"/>
                  <a:pt x="182" y="24"/>
                  <a:pt x="183" y="23"/>
                </a:cubicBezTo>
                <a:cubicBezTo>
                  <a:pt x="184" y="23"/>
                  <a:pt x="183" y="23"/>
                  <a:pt x="183" y="23"/>
                </a:cubicBezTo>
                <a:cubicBezTo>
                  <a:pt x="183" y="22"/>
                  <a:pt x="184" y="21"/>
                  <a:pt x="184" y="21"/>
                </a:cubicBezTo>
                <a:cubicBezTo>
                  <a:pt x="184" y="21"/>
                  <a:pt x="184" y="21"/>
                  <a:pt x="183" y="20"/>
                </a:cubicBezTo>
                <a:cubicBezTo>
                  <a:pt x="183" y="20"/>
                  <a:pt x="184" y="20"/>
                  <a:pt x="184" y="19"/>
                </a:cubicBezTo>
                <a:cubicBezTo>
                  <a:pt x="183" y="19"/>
                  <a:pt x="184" y="19"/>
                  <a:pt x="185" y="19"/>
                </a:cubicBezTo>
                <a:cubicBezTo>
                  <a:pt x="185" y="19"/>
                  <a:pt x="186" y="19"/>
                  <a:pt x="187" y="19"/>
                </a:cubicBezTo>
                <a:cubicBezTo>
                  <a:pt x="189" y="18"/>
                  <a:pt x="186" y="18"/>
                  <a:pt x="187" y="18"/>
                </a:cubicBezTo>
                <a:cubicBezTo>
                  <a:pt x="187" y="18"/>
                  <a:pt x="187" y="18"/>
                  <a:pt x="188" y="18"/>
                </a:cubicBezTo>
                <a:cubicBezTo>
                  <a:pt x="188" y="17"/>
                  <a:pt x="187" y="17"/>
                  <a:pt x="187" y="17"/>
                </a:cubicBezTo>
                <a:cubicBezTo>
                  <a:pt x="187" y="17"/>
                  <a:pt x="187" y="17"/>
                  <a:pt x="187" y="17"/>
                </a:cubicBezTo>
                <a:cubicBezTo>
                  <a:pt x="188" y="16"/>
                  <a:pt x="187" y="16"/>
                  <a:pt x="187" y="16"/>
                </a:cubicBezTo>
                <a:cubicBezTo>
                  <a:pt x="188" y="15"/>
                  <a:pt x="190" y="16"/>
                  <a:pt x="191" y="15"/>
                </a:cubicBezTo>
                <a:cubicBezTo>
                  <a:pt x="191" y="15"/>
                  <a:pt x="190" y="14"/>
                  <a:pt x="191" y="14"/>
                </a:cubicBezTo>
                <a:cubicBezTo>
                  <a:pt x="192" y="14"/>
                  <a:pt x="193" y="15"/>
                  <a:pt x="193" y="14"/>
                </a:cubicBezTo>
                <a:cubicBezTo>
                  <a:pt x="194" y="14"/>
                  <a:pt x="195" y="14"/>
                  <a:pt x="197" y="14"/>
                </a:cubicBezTo>
                <a:cubicBezTo>
                  <a:pt x="197" y="14"/>
                  <a:pt x="197" y="14"/>
                  <a:pt x="198" y="14"/>
                </a:cubicBezTo>
                <a:cubicBezTo>
                  <a:pt x="199" y="14"/>
                  <a:pt x="200" y="14"/>
                  <a:pt x="201" y="14"/>
                </a:cubicBezTo>
                <a:cubicBezTo>
                  <a:pt x="201" y="14"/>
                  <a:pt x="202" y="14"/>
                  <a:pt x="201" y="14"/>
                </a:cubicBezTo>
                <a:cubicBezTo>
                  <a:pt x="202" y="13"/>
                  <a:pt x="202" y="13"/>
                  <a:pt x="202" y="13"/>
                </a:cubicBezTo>
                <a:cubicBezTo>
                  <a:pt x="202" y="12"/>
                  <a:pt x="200" y="12"/>
                  <a:pt x="199" y="12"/>
                </a:cubicBezTo>
                <a:cubicBezTo>
                  <a:pt x="198" y="12"/>
                  <a:pt x="197" y="12"/>
                  <a:pt x="195" y="12"/>
                </a:cubicBezTo>
                <a:cubicBezTo>
                  <a:pt x="194" y="11"/>
                  <a:pt x="193" y="12"/>
                  <a:pt x="192" y="11"/>
                </a:cubicBezTo>
                <a:cubicBezTo>
                  <a:pt x="192" y="11"/>
                  <a:pt x="192" y="11"/>
                  <a:pt x="192" y="11"/>
                </a:cubicBezTo>
                <a:cubicBezTo>
                  <a:pt x="192" y="11"/>
                  <a:pt x="191" y="10"/>
                  <a:pt x="191" y="10"/>
                </a:cubicBezTo>
                <a:cubicBezTo>
                  <a:pt x="191" y="10"/>
                  <a:pt x="190" y="10"/>
                  <a:pt x="189" y="10"/>
                </a:cubicBezTo>
                <a:cubicBezTo>
                  <a:pt x="188" y="10"/>
                  <a:pt x="187" y="10"/>
                  <a:pt x="187" y="10"/>
                </a:cubicBezTo>
                <a:cubicBezTo>
                  <a:pt x="187" y="10"/>
                  <a:pt x="186" y="10"/>
                  <a:pt x="186" y="10"/>
                </a:cubicBezTo>
                <a:cubicBezTo>
                  <a:pt x="186" y="10"/>
                  <a:pt x="186" y="10"/>
                  <a:pt x="186" y="10"/>
                </a:cubicBezTo>
                <a:cubicBezTo>
                  <a:pt x="185" y="9"/>
                  <a:pt x="184" y="10"/>
                  <a:pt x="184" y="9"/>
                </a:cubicBezTo>
                <a:cubicBezTo>
                  <a:pt x="184" y="9"/>
                  <a:pt x="185" y="9"/>
                  <a:pt x="185" y="9"/>
                </a:cubicBezTo>
                <a:cubicBezTo>
                  <a:pt x="185" y="9"/>
                  <a:pt x="185" y="8"/>
                  <a:pt x="185" y="8"/>
                </a:cubicBezTo>
                <a:cubicBezTo>
                  <a:pt x="185" y="8"/>
                  <a:pt x="185" y="8"/>
                  <a:pt x="185" y="8"/>
                </a:cubicBezTo>
                <a:cubicBezTo>
                  <a:pt x="184" y="8"/>
                  <a:pt x="184" y="7"/>
                  <a:pt x="184" y="7"/>
                </a:cubicBezTo>
                <a:cubicBezTo>
                  <a:pt x="183" y="7"/>
                  <a:pt x="182" y="6"/>
                  <a:pt x="181" y="7"/>
                </a:cubicBezTo>
                <a:cubicBezTo>
                  <a:pt x="180" y="7"/>
                  <a:pt x="180" y="8"/>
                  <a:pt x="179" y="8"/>
                </a:cubicBezTo>
                <a:cubicBezTo>
                  <a:pt x="179" y="8"/>
                  <a:pt x="178" y="9"/>
                  <a:pt x="178" y="8"/>
                </a:cubicBezTo>
                <a:cubicBezTo>
                  <a:pt x="178" y="8"/>
                  <a:pt x="179" y="8"/>
                  <a:pt x="178" y="7"/>
                </a:cubicBezTo>
                <a:cubicBezTo>
                  <a:pt x="178" y="7"/>
                  <a:pt x="178" y="7"/>
                  <a:pt x="177" y="7"/>
                </a:cubicBezTo>
                <a:cubicBezTo>
                  <a:pt x="178" y="7"/>
                  <a:pt x="178" y="7"/>
                  <a:pt x="179" y="7"/>
                </a:cubicBezTo>
                <a:cubicBezTo>
                  <a:pt x="179" y="6"/>
                  <a:pt x="179" y="6"/>
                  <a:pt x="179" y="6"/>
                </a:cubicBezTo>
                <a:cubicBezTo>
                  <a:pt x="180" y="6"/>
                  <a:pt x="180" y="6"/>
                  <a:pt x="180" y="5"/>
                </a:cubicBezTo>
                <a:cubicBezTo>
                  <a:pt x="178" y="5"/>
                  <a:pt x="177" y="4"/>
                  <a:pt x="175" y="4"/>
                </a:cubicBezTo>
                <a:cubicBezTo>
                  <a:pt x="175" y="4"/>
                  <a:pt x="173" y="4"/>
                  <a:pt x="172" y="4"/>
                </a:cubicBezTo>
                <a:cubicBezTo>
                  <a:pt x="172" y="4"/>
                  <a:pt x="173" y="4"/>
                  <a:pt x="173" y="5"/>
                </a:cubicBezTo>
                <a:cubicBezTo>
                  <a:pt x="172" y="5"/>
                  <a:pt x="172" y="5"/>
                  <a:pt x="172" y="4"/>
                </a:cubicBezTo>
                <a:cubicBezTo>
                  <a:pt x="171" y="3"/>
                  <a:pt x="169" y="3"/>
                  <a:pt x="167" y="4"/>
                </a:cubicBezTo>
                <a:cubicBezTo>
                  <a:pt x="168" y="4"/>
                  <a:pt x="168" y="4"/>
                  <a:pt x="169" y="4"/>
                </a:cubicBezTo>
                <a:cubicBezTo>
                  <a:pt x="168" y="4"/>
                  <a:pt x="169" y="4"/>
                  <a:pt x="170" y="5"/>
                </a:cubicBezTo>
                <a:cubicBezTo>
                  <a:pt x="169" y="5"/>
                  <a:pt x="167" y="4"/>
                  <a:pt x="167" y="5"/>
                </a:cubicBezTo>
                <a:cubicBezTo>
                  <a:pt x="166" y="5"/>
                  <a:pt x="168" y="7"/>
                  <a:pt x="168" y="7"/>
                </a:cubicBezTo>
                <a:cubicBezTo>
                  <a:pt x="168" y="7"/>
                  <a:pt x="169" y="9"/>
                  <a:pt x="170" y="9"/>
                </a:cubicBezTo>
                <a:cubicBezTo>
                  <a:pt x="170" y="9"/>
                  <a:pt x="170" y="10"/>
                  <a:pt x="171" y="10"/>
                </a:cubicBezTo>
                <a:cubicBezTo>
                  <a:pt x="171" y="11"/>
                  <a:pt x="171" y="11"/>
                  <a:pt x="172" y="12"/>
                </a:cubicBezTo>
                <a:cubicBezTo>
                  <a:pt x="172" y="12"/>
                  <a:pt x="173" y="12"/>
                  <a:pt x="172" y="12"/>
                </a:cubicBezTo>
                <a:cubicBezTo>
                  <a:pt x="171" y="12"/>
                  <a:pt x="171" y="12"/>
                  <a:pt x="171" y="12"/>
                </a:cubicBezTo>
                <a:cubicBezTo>
                  <a:pt x="170" y="11"/>
                  <a:pt x="169" y="10"/>
                  <a:pt x="168" y="10"/>
                </a:cubicBezTo>
                <a:cubicBezTo>
                  <a:pt x="168" y="10"/>
                  <a:pt x="167" y="11"/>
                  <a:pt x="167" y="10"/>
                </a:cubicBezTo>
                <a:cubicBezTo>
                  <a:pt x="167" y="10"/>
                  <a:pt x="168" y="10"/>
                  <a:pt x="168" y="10"/>
                </a:cubicBezTo>
                <a:cubicBezTo>
                  <a:pt x="168" y="9"/>
                  <a:pt x="166" y="9"/>
                  <a:pt x="166" y="9"/>
                </a:cubicBezTo>
                <a:cubicBezTo>
                  <a:pt x="165" y="9"/>
                  <a:pt x="165" y="8"/>
                  <a:pt x="165" y="7"/>
                </a:cubicBezTo>
                <a:cubicBezTo>
                  <a:pt x="164" y="6"/>
                  <a:pt x="162" y="6"/>
                  <a:pt x="161" y="5"/>
                </a:cubicBezTo>
                <a:cubicBezTo>
                  <a:pt x="161" y="5"/>
                  <a:pt x="160" y="5"/>
                  <a:pt x="159" y="5"/>
                </a:cubicBezTo>
                <a:cubicBezTo>
                  <a:pt x="159" y="6"/>
                  <a:pt x="158" y="6"/>
                  <a:pt x="158" y="6"/>
                </a:cubicBezTo>
                <a:cubicBezTo>
                  <a:pt x="158" y="6"/>
                  <a:pt x="158" y="6"/>
                  <a:pt x="157" y="6"/>
                </a:cubicBezTo>
                <a:cubicBezTo>
                  <a:pt x="158" y="7"/>
                  <a:pt x="158" y="7"/>
                  <a:pt x="158" y="7"/>
                </a:cubicBezTo>
                <a:cubicBezTo>
                  <a:pt x="157" y="7"/>
                  <a:pt x="157" y="7"/>
                  <a:pt x="156" y="7"/>
                </a:cubicBezTo>
                <a:cubicBezTo>
                  <a:pt x="155" y="7"/>
                  <a:pt x="156" y="8"/>
                  <a:pt x="156" y="8"/>
                </a:cubicBezTo>
                <a:cubicBezTo>
                  <a:pt x="157" y="8"/>
                  <a:pt x="157" y="8"/>
                  <a:pt x="157" y="8"/>
                </a:cubicBezTo>
                <a:cubicBezTo>
                  <a:pt x="157" y="8"/>
                  <a:pt x="158" y="9"/>
                  <a:pt x="157" y="9"/>
                </a:cubicBezTo>
                <a:cubicBezTo>
                  <a:pt x="156" y="10"/>
                  <a:pt x="156" y="9"/>
                  <a:pt x="155" y="8"/>
                </a:cubicBezTo>
                <a:cubicBezTo>
                  <a:pt x="155" y="8"/>
                  <a:pt x="154" y="7"/>
                  <a:pt x="153" y="8"/>
                </a:cubicBezTo>
                <a:cubicBezTo>
                  <a:pt x="153" y="8"/>
                  <a:pt x="153" y="8"/>
                  <a:pt x="153" y="8"/>
                </a:cubicBezTo>
                <a:cubicBezTo>
                  <a:pt x="153" y="8"/>
                  <a:pt x="152" y="8"/>
                  <a:pt x="152" y="7"/>
                </a:cubicBezTo>
                <a:cubicBezTo>
                  <a:pt x="152" y="7"/>
                  <a:pt x="153" y="7"/>
                  <a:pt x="153" y="7"/>
                </a:cubicBezTo>
                <a:cubicBezTo>
                  <a:pt x="153" y="7"/>
                  <a:pt x="150" y="7"/>
                  <a:pt x="150" y="7"/>
                </a:cubicBezTo>
                <a:cubicBezTo>
                  <a:pt x="149" y="7"/>
                  <a:pt x="147" y="7"/>
                  <a:pt x="147" y="7"/>
                </a:cubicBezTo>
                <a:cubicBezTo>
                  <a:pt x="147" y="7"/>
                  <a:pt x="151" y="6"/>
                  <a:pt x="151" y="6"/>
                </a:cubicBezTo>
                <a:cubicBezTo>
                  <a:pt x="152" y="6"/>
                  <a:pt x="155" y="6"/>
                  <a:pt x="156" y="6"/>
                </a:cubicBezTo>
                <a:cubicBezTo>
                  <a:pt x="157" y="5"/>
                  <a:pt x="155" y="5"/>
                  <a:pt x="155" y="5"/>
                </a:cubicBezTo>
                <a:cubicBezTo>
                  <a:pt x="154" y="5"/>
                  <a:pt x="153" y="5"/>
                  <a:pt x="152" y="5"/>
                </a:cubicBezTo>
                <a:cubicBezTo>
                  <a:pt x="150" y="5"/>
                  <a:pt x="149" y="6"/>
                  <a:pt x="147" y="6"/>
                </a:cubicBezTo>
                <a:cubicBezTo>
                  <a:pt x="148" y="5"/>
                  <a:pt x="144" y="5"/>
                  <a:pt x="145" y="5"/>
                </a:cubicBezTo>
                <a:cubicBezTo>
                  <a:pt x="145" y="6"/>
                  <a:pt x="146" y="6"/>
                  <a:pt x="146" y="6"/>
                </a:cubicBezTo>
                <a:cubicBezTo>
                  <a:pt x="146" y="7"/>
                  <a:pt x="145" y="6"/>
                  <a:pt x="144" y="6"/>
                </a:cubicBezTo>
                <a:cubicBezTo>
                  <a:pt x="144" y="6"/>
                  <a:pt x="143" y="5"/>
                  <a:pt x="143" y="5"/>
                </a:cubicBezTo>
                <a:cubicBezTo>
                  <a:pt x="143" y="5"/>
                  <a:pt x="141" y="5"/>
                  <a:pt x="141" y="5"/>
                </a:cubicBezTo>
                <a:cubicBezTo>
                  <a:pt x="141" y="6"/>
                  <a:pt x="139" y="5"/>
                  <a:pt x="139" y="6"/>
                </a:cubicBezTo>
                <a:cubicBezTo>
                  <a:pt x="139" y="6"/>
                  <a:pt x="140" y="6"/>
                  <a:pt x="140" y="6"/>
                </a:cubicBezTo>
                <a:cubicBezTo>
                  <a:pt x="140" y="7"/>
                  <a:pt x="139" y="6"/>
                  <a:pt x="139" y="6"/>
                </a:cubicBezTo>
                <a:cubicBezTo>
                  <a:pt x="138" y="6"/>
                  <a:pt x="137" y="6"/>
                  <a:pt x="137" y="7"/>
                </a:cubicBezTo>
                <a:cubicBezTo>
                  <a:pt x="137" y="7"/>
                  <a:pt x="138" y="7"/>
                  <a:pt x="139" y="7"/>
                </a:cubicBezTo>
                <a:cubicBezTo>
                  <a:pt x="138" y="7"/>
                  <a:pt x="137" y="7"/>
                  <a:pt x="136" y="7"/>
                </a:cubicBezTo>
                <a:cubicBezTo>
                  <a:pt x="135" y="7"/>
                  <a:pt x="137" y="8"/>
                  <a:pt x="137" y="8"/>
                </a:cubicBezTo>
                <a:cubicBezTo>
                  <a:pt x="137" y="8"/>
                  <a:pt x="137" y="8"/>
                  <a:pt x="137" y="8"/>
                </a:cubicBezTo>
                <a:close/>
                <a:moveTo>
                  <a:pt x="233" y="13"/>
                </a:moveTo>
                <a:cubicBezTo>
                  <a:pt x="232" y="13"/>
                  <a:pt x="234" y="14"/>
                  <a:pt x="234" y="14"/>
                </a:cubicBezTo>
                <a:cubicBezTo>
                  <a:pt x="235" y="15"/>
                  <a:pt x="236" y="14"/>
                  <a:pt x="236" y="14"/>
                </a:cubicBezTo>
                <a:cubicBezTo>
                  <a:pt x="236" y="14"/>
                  <a:pt x="235" y="14"/>
                  <a:pt x="234" y="13"/>
                </a:cubicBezTo>
                <a:cubicBezTo>
                  <a:pt x="234" y="13"/>
                  <a:pt x="233" y="13"/>
                  <a:pt x="233" y="13"/>
                </a:cubicBezTo>
                <a:close/>
                <a:moveTo>
                  <a:pt x="192" y="49"/>
                </a:moveTo>
                <a:cubicBezTo>
                  <a:pt x="192" y="48"/>
                  <a:pt x="191" y="48"/>
                  <a:pt x="190" y="48"/>
                </a:cubicBezTo>
                <a:cubicBezTo>
                  <a:pt x="188" y="49"/>
                  <a:pt x="190" y="49"/>
                  <a:pt x="191" y="50"/>
                </a:cubicBezTo>
                <a:cubicBezTo>
                  <a:pt x="191" y="50"/>
                  <a:pt x="193" y="50"/>
                  <a:pt x="192" y="49"/>
                </a:cubicBezTo>
                <a:close/>
                <a:moveTo>
                  <a:pt x="198" y="17"/>
                </a:moveTo>
                <a:cubicBezTo>
                  <a:pt x="199" y="17"/>
                  <a:pt x="199" y="18"/>
                  <a:pt x="200" y="18"/>
                </a:cubicBezTo>
                <a:cubicBezTo>
                  <a:pt x="201" y="18"/>
                  <a:pt x="202" y="17"/>
                  <a:pt x="203" y="17"/>
                </a:cubicBezTo>
                <a:cubicBezTo>
                  <a:pt x="204" y="17"/>
                  <a:pt x="204" y="17"/>
                  <a:pt x="205" y="17"/>
                </a:cubicBezTo>
                <a:cubicBezTo>
                  <a:pt x="206" y="17"/>
                  <a:pt x="207" y="17"/>
                  <a:pt x="207" y="17"/>
                </a:cubicBezTo>
                <a:cubicBezTo>
                  <a:pt x="207" y="17"/>
                  <a:pt x="207" y="16"/>
                  <a:pt x="207" y="15"/>
                </a:cubicBezTo>
                <a:cubicBezTo>
                  <a:pt x="207" y="15"/>
                  <a:pt x="207" y="15"/>
                  <a:pt x="206" y="15"/>
                </a:cubicBezTo>
                <a:cubicBezTo>
                  <a:pt x="206" y="15"/>
                  <a:pt x="206" y="15"/>
                  <a:pt x="206" y="15"/>
                </a:cubicBezTo>
                <a:cubicBezTo>
                  <a:pt x="206" y="14"/>
                  <a:pt x="205" y="15"/>
                  <a:pt x="205" y="15"/>
                </a:cubicBezTo>
                <a:cubicBezTo>
                  <a:pt x="205" y="15"/>
                  <a:pt x="204" y="15"/>
                  <a:pt x="204" y="15"/>
                </a:cubicBezTo>
                <a:cubicBezTo>
                  <a:pt x="203" y="14"/>
                  <a:pt x="203" y="15"/>
                  <a:pt x="202" y="15"/>
                </a:cubicBezTo>
                <a:cubicBezTo>
                  <a:pt x="202" y="14"/>
                  <a:pt x="201" y="14"/>
                  <a:pt x="200" y="14"/>
                </a:cubicBezTo>
                <a:cubicBezTo>
                  <a:pt x="200" y="15"/>
                  <a:pt x="200" y="15"/>
                  <a:pt x="199" y="15"/>
                </a:cubicBezTo>
                <a:cubicBezTo>
                  <a:pt x="197" y="15"/>
                  <a:pt x="196" y="15"/>
                  <a:pt x="194" y="15"/>
                </a:cubicBezTo>
                <a:cubicBezTo>
                  <a:pt x="194" y="15"/>
                  <a:pt x="194" y="15"/>
                  <a:pt x="194" y="16"/>
                </a:cubicBezTo>
                <a:cubicBezTo>
                  <a:pt x="195" y="16"/>
                  <a:pt x="196" y="15"/>
                  <a:pt x="197" y="16"/>
                </a:cubicBezTo>
                <a:cubicBezTo>
                  <a:pt x="198" y="17"/>
                  <a:pt x="197" y="16"/>
                  <a:pt x="196" y="17"/>
                </a:cubicBezTo>
                <a:cubicBezTo>
                  <a:pt x="197" y="17"/>
                  <a:pt x="198" y="17"/>
                  <a:pt x="198" y="17"/>
                </a:cubicBezTo>
                <a:cubicBezTo>
                  <a:pt x="198" y="17"/>
                  <a:pt x="198" y="18"/>
                  <a:pt x="197" y="18"/>
                </a:cubicBezTo>
                <a:cubicBezTo>
                  <a:pt x="198" y="18"/>
                  <a:pt x="198" y="18"/>
                  <a:pt x="198" y="17"/>
                </a:cubicBezTo>
                <a:close/>
                <a:moveTo>
                  <a:pt x="180" y="3"/>
                </a:moveTo>
                <a:cubicBezTo>
                  <a:pt x="181" y="4"/>
                  <a:pt x="182" y="3"/>
                  <a:pt x="182" y="3"/>
                </a:cubicBezTo>
                <a:cubicBezTo>
                  <a:pt x="183" y="3"/>
                  <a:pt x="184" y="4"/>
                  <a:pt x="185" y="3"/>
                </a:cubicBezTo>
                <a:cubicBezTo>
                  <a:pt x="185" y="4"/>
                  <a:pt x="185" y="3"/>
                  <a:pt x="184" y="4"/>
                </a:cubicBezTo>
                <a:cubicBezTo>
                  <a:pt x="184" y="4"/>
                  <a:pt x="185" y="4"/>
                  <a:pt x="184" y="4"/>
                </a:cubicBezTo>
                <a:cubicBezTo>
                  <a:pt x="184" y="4"/>
                  <a:pt x="184" y="4"/>
                  <a:pt x="183" y="4"/>
                </a:cubicBezTo>
                <a:cubicBezTo>
                  <a:pt x="183" y="4"/>
                  <a:pt x="183" y="4"/>
                  <a:pt x="183" y="4"/>
                </a:cubicBezTo>
                <a:cubicBezTo>
                  <a:pt x="183" y="4"/>
                  <a:pt x="183" y="4"/>
                  <a:pt x="183" y="4"/>
                </a:cubicBezTo>
                <a:cubicBezTo>
                  <a:pt x="183" y="4"/>
                  <a:pt x="181" y="4"/>
                  <a:pt x="180" y="4"/>
                </a:cubicBezTo>
                <a:cubicBezTo>
                  <a:pt x="181" y="4"/>
                  <a:pt x="182" y="5"/>
                  <a:pt x="182" y="5"/>
                </a:cubicBezTo>
                <a:cubicBezTo>
                  <a:pt x="183" y="5"/>
                  <a:pt x="183" y="5"/>
                  <a:pt x="184" y="5"/>
                </a:cubicBezTo>
                <a:cubicBezTo>
                  <a:pt x="184" y="6"/>
                  <a:pt x="184" y="6"/>
                  <a:pt x="184" y="6"/>
                </a:cubicBezTo>
                <a:cubicBezTo>
                  <a:pt x="185" y="6"/>
                  <a:pt x="186" y="6"/>
                  <a:pt x="187" y="6"/>
                </a:cubicBezTo>
                <a:cubicBezTo>
                  <a:pt x="188" y="6"/>
                  <a:pt x="189" y="6"/>
                  <a:pt x="190" y="6"/>
                </a:cubicBezTo>
                <a:cubicBezTo>
                  <a:pt x="191" y="5"/>
                  <a:pt x="192" y="5"/>
                  <a:pt x="193" y="5"/>
                </a:cubicBezTo>
                <a:cubicBezTo>
                  <a:pt x="194" y="5"/>
                  <a:pt x="196" y="5"/>
                  <a:pt x="197" y="5"/>
                </a:cubicBezTo>
                <a:cubicBezTo>
                  <a:pt x="199" y="5"/>
                  <a:pt x="201" y="5"/>
                  <a:pt x="203" y="5"/>
                </a:cubicBezTo>
                <a:cubicBezTo>
                  <a:pt x="203" y="5"/>
                  <a:pt x="203" y="5"/>
                  <a:pt x="202" y="5"/>
                </a:cubicBezTo>
                <a:cubicBezTo>
                  <a:pt x="203" y="5"/>
                  <a:pt x="204" y="5"/>
                  <a:pt x="204" y="5"/>
                </a:cubicBezTo>
                <a:cubicBezTo>
                  <a:pt x="205" y="5"/>
                  <a:pt x="206" y="5"/>
                  <a:pt x="206" y="5"/>
                </a:cubicBezTo>
                <a:cubicBezTo>
                  <a:pt x="206" y="5"/>
                  <a:pt x="203" y="5"/>
                  <a:pt x="203" y="6"/>
                </a:cubicBezTo>
                <a:cubicBezTo>
                  <a:pt x="202" y="6"/>
                  <a:pt x="200" y="6"/>
                  <a:pt x="199" y="6"/>
                </a:cubicBezTo>
                <a:cubicBezTo>
                  <a:pt x="198" y="6"/>
                  <a:pt x="196" y="6"/>
                  <a:pt x="195" y="6"/>
                </a:cubicBezTo>
                <a:cubicBezTo>
                  <a:pt x="196" y="7"/>
                  <a:pt x="198" y="6"/>
                  <a:pt x="199" y="7"/>
                </a:cubicBezTo>
                <a:cubicBezTo>
                  <a:pt x="198" y="7"/>
                  <a:pt x="198" y="7"/>
                  <a:pt x="197" y="7"/>
                </a:cubicBezTo>
                <a:cubicBezTo>
                  <a:pt x="196" y="7"/>
                  <a:pt x="195" y="7"/>
                  <a:pt x="194" y="7"/>
                </a:cubicBezTo>
                <a:cubicBezTo>
                  <a:pt x="193" y="6"/>
                  <a:pt x="191" y="6"/>
                  <a:pt x="190" y="7"/>
                </a:cubicBezTo>
                <a:cubicBezTo>
                  <a:pt x="189" y="7"/>
                  <a:pt x="191" y="7"/>
                  <a:pt x="191" y="7"/>
                </a:cubicBezTo>
                <a:cubicBezTo>
                  <a:pt x="192" y="7"/>
                  <a:pt x="193" y="8"/>
                  <a:pt x="194" y="8"/>
                </a:cubicBezTo>
                <a:cubicBezTo>
                  <a:pt x="195" y="8"/>
                  <a:pt x="195" y="8"/>
                  <a:pt x="196" y="8"/>
                </a:cubicBezTo>
                <a:cubicBezTo>
                  <a:pt x="197" y="8"/>
                  <a:pt x="198" y="8"/>
                  <a:pt x="197" y="8"/>
                </a:cubicBezTo>
                <a:cubicBezTo>
                  <a:pt x="198" y="9"/>
                  <a:pt x="199" y="8"/>
                  <a:pt x="200" y="8"/>
                </a:cubicBezTo>
                <a:cubicBezTo>
                  <a:pt x="201" y="8"/>
                  <a:pt x="202" y="9"/>
                  <a:pt x="203" y="8"/>
                </a:cubicBezTo>
                <a:cubicBezTo>
                  <a:pt x="205" y="8"/>
                  <a:pt x="208" y="9"/>
                  <a:pt x="210" y="8"/>
                </a:cubicBezTo>
                <a:cubicBezTo>
                  <a:pt x="210" y="8"/>
                  <a:pt x="208" y="9"/>
                  <a:pt x="208" y="9"/>
                </a:cubicBezTo>
                <a:cubicBezTo>
                  <a:pt x="209" y="10"/>
                  <a:pt x="212" y="10"/>
                  <a:pt x="212" y="10"/>
                </a:cubicBezTo>
                <a:cubicBezTo>
                  <a:pt x="213" y="10"/>
                  <a:pt x="214" y="10"/>
                  <a:pt x="214" y="10"/>
                </a:cubicBezTo>
                <a:cubicBezTo>
                  <a:pt x="215" y="10"/>
                  <a:pt x="216" y="10"/>
                  <a:pt x="217" y="10"/>
                </a:cubicBezTo>
                <a:cubicBezTo>
                  <a:pt x="217" y="10"/>
                  <a:pt x="218" y="10"/>
                  <a:pt x="218" y="10"/>
                </a:cubicBezTo>
                <a:cubicBezTo>
                  <a:pt x="219" y="9"/>
                  <a:pt x="218" y="9"/>
                  <a:pt x="219" y="9"/>
                </a:cubicBezTo>
                <a:cubicBezTo>
                  <a:pt x="219" y="9"/>
                  <a:pt x="220" y="9"/>
                  <a:pt x="220" y="9"/>
                </a:cubicBezTo>
                <a:cubicBezTo>
                  <a:pt x="221" y="9"/>
                  <a:pt x="222" y="8"/>
                  <a:pt x="222" y="9"/>
                </a:cubicBezTo>
                <a:cubicBezTo>
                  <a:pt x="224" y="9"/>
                  <a:pt x="224" y="9"/>
                  <a:pt x="226" y="8"/>
                </a:cubicBezTo>
                <a:cubicBezTo>
                  <a:pt x="226" y="8"/>
                  <a:pt x="227" y="8"/>
                  <a:pt x="227" y="8"/>
                </a:cubicBezTo>
                <a:cubicBezTo>
                  <a:pt x="228" y="8"/>
                  <a:pt x="228" y="8"/>
                  <a:pt x="228" y="8"/>
                </a:cubicBezTo>
                <a:cubicBezTo>
                  <a:pt x="229" y="7"/>
                  <a:pt x="228" y="7"/>
                  <a:pt x="227" y="7"/>
                </a:cubicBezTo>
                <a:cubicBezTo>
                  <a:pt x="229" y="6"/>
                  <a:pt x="230" y="6"/>
                  <a:pt x="231" y="6"/>
                </a:cubicBezTo>
                <a:cubicBezTo>
                  <a:pt x="232" y="5"/>
                  <a:pt x="233" y="5"/>
                  <a:pt x="235" y="5"/>
                </a:cubicBezTo>
                <a:cubicBezTo>
                  <a:pt x="235" y="5"/>
                  <a:pt x="236" y="4"/>
                  <a:pt x="235" y="4"/>
                </a:cubicBezTo>
                <a:cubicBezTo>
                  <a:pt x="235" y="4"/>
                  <a:pt x="235" y="3"/>
                  <a:pt x="235" y="3"/>
                </a:cubicBezTo>
                <a:cubicBezTo>
                  <a:pt x="234" y="3"/>
                  <a:pt x="232" y="2"/>
                  <a:pt x="231" y="2"/>
                </a:cubicBezTo>
                <a:cubicBezTo>
                  <a:pt x="230" y="2"/>
                  <a:pt x="229" y="2"/>
                  <a:pt x="228" y="2"/>
                </a:cubicBezTo>
                <a:cubicBezTo>
                  <a:pt x="228" y="2"/>
                  <a:pt x="227" y="2"/>
                  <a:pt x="226" y="2"/>
                </a:cubicBezTo>
                <a:cubicBezTo>
                  <a:pt x="226" y="2"/>
                  <a:pt x="226" y="2"/>
                  <a:pt x="226" y="2"/>
                </a:cubicBezTo>
                <a:cubicBezTo>
                  <a:pt x="226" y="2"/>
                  <a:pt x="226" y="2"/>
                  <a:pt x="225" y="2"/>
                </a:cubicBezTo>
                <a:cubicBezTo>
                  <a:pt x="225" y="2"/>
                  <a:pt x="225" y="2"/>
                  <a:pt x="224" y="2"/>
                </a:cubicBezTo>
                <a:cubicBezTo>
                  <a:pt x="224" y="2"/>
                  <a:pt x="223" y="2"/>
                  <a:pt x="223" y="2"/>
                </a:cubicBezTo>
                <a:cubicBezTo>
                  <a:pt x="223" y="2"/>
                  <a:pt x="223" y="2"/>
                  <a:pt x="224" y="2"/>
                </a:cubicBezTo>
                <a:cubicBezTo>
                  <a:pt x="222" y="1"/>
                  <a:pt x="221" y="2"/>
                  <a:pt x="220" y="2"/>
                </a:cubicBezTo>
                <a:cubicBezTo>
                  <a:pt x="221" y="1"/>
                  <a:pt x="220" y="1"/>
                  <a:pt x="220" y="1"/>
                </a:cubicBezTo>
                <a:cubicBezTo>
                  <a:pt x="220" y="2"/>
                  <a:pt x="218" y="2"/>
                  <a:pt x="218" y="2"/>
                </a:cubicBezTo>
                <a:cubicBezTo>
                  <a:pt x="218" y="1"/>
                  <a:pt x="219" y="1"/>
                  <a:pt x="219" y="1"/>
                </a:cubicBezTo>
                <a:cubicBezTo>
                  <a:pt x="218" y="1"/>
                  <a:pt x="217" y="1"/>
                  <a:pt x="216" y="1"/>
                </a:cubicBezTo>
                <a:cubicBezTo>
                  <a:pt x="217" y="1"/>
                  <a:pt x="217" y="1"/>
                  <a:pt x="218" y="1"/>
                </a:cubicBezTo>
                <a:cubicBezTo>
                  <a:pt x="217" y="1"/>
                  <a:pt x="217" y="1"/>
                  <a:pt x="218" y="1"/>
                </a:cubicBezTo>
                <a:cubicBezTo>
                  <a:pt x="217" y="2"/>
                  <a:pt x="216" y="1"/>
                  <a:pt x="215" y="1"/>
                </a:cubicBezTo>
                <a:cubicBezTo>
                  <a:pt x="215" y="1"/>
                  <a:pt x="215" y="2"/>
                  <a:pt x="216" y="2"/>
                </a:cubicBezTo>
                <a:cubicBezTo>
                  <a:pt x="215" y="2"/>
                  <a:pt x="214" y="1"/>
                  <a:pt x="214" y="1"/>
                </a:cubicBezTo>
                <a:cubicBezTo>
                  <a:pt x="214" y="2"/>
                  <a:pt x="214" y="2"/>
                  <a:pt x="214" y="2"/>
                </a:cubicBezTo>
                <a:cubicBezTo>
                  <a:pt x="214" y="2"/>
                  <a:pt x="214" y="2"/>
                  <a:pt x="215" y="2"/>
                </a:cubicBezTo>
                <a:cubicBezTo>
                  <a:pt x="214" y="3"/>
                  <a:pt x="213" y="3"/>
                  <a:pt x="212" y="2"/>
                </a:cubicBezTo>
                <a:cubicBezTo>
                  <a:pt x="213" y="2"/>
                  <a:pt x="212" y="2"/>
                  <a:pt x="212" y="2"/>
                </a:cubicBezTo>
                <a:cubicBezTo>
                  <a:pt x="212" y="2"/>
                  <a:pt x="212" y="3"/>
                  <a:pt x="212" y="2"/>
                </a:cubicBezTo>
                <a:cubicBezTo>
                  <a:pt x="211" y="2"/>
                  <a:pt x="211" y="2"/>
                  <a:pt x="210" y="2"/>
                </a:cubicBezTo>
                <a:cubicBezTo>
                  <a:pt x="210" y="3"/>
                  <a:pt x="211" y="3"/>
                  <a:pt x="211" y="3"/>
                </a:cubicBezTo>
                <a:cubicBezTo>
                  <a:pt x="210" y="3"/>
                  <a:pt x="209" y="2"/>
                  <a:pt x="210" y="2"/>
                </a:cubicBezTo>
                <a:cubicBezTo>
                  <a:pt x="210" y="2"/>
                  <a:pt x="211" y="2"/>
                  <a:pt x="211" y="1"/>
                </a:cubicBezTo>
                <a:cubicBezTo>
                  <a:pt x="211" y="1"/>
                  <a:pt x="210" y="1"/>
                  <a:pt x="210" y="1"/>
                </a:cubicBezTo>
                <a:cubicBezTo>
                  <a:pt x="210" y="1"/>
                  <a:pt x="211" y="1"/>
                  <a:pt x="211" y="0"/>
                </a:cubicBezTo>
                <a:cubicBezTo>
                  <a:pt x="211" y="0"/>
                  <a:pt x="210" y="0"/>
                  <a:pt x="209" y="0"/>
                </a:cubicBezTo>
                <a:cubicBezTo>
                  <a:pt x="209" y="0"/>
                  <a:pt x="208" y="0"/>
                  <a:pt x="208" y="0"/>
                </a:cubicBezTo>
                <a:cubicBezTo>
                  <a:pt x="208" y="0"/>
                  <a:pt x="208" y="0"/>
                  <a:pt x="208" y="1"/>
                </a:cubicBezTo>
                <a:cubicBezTo>
                  <a:pt x="208" y="1"/>
                  <a:pt x="207" y="1"/>
                  <a:pt x="208" y="1"/>
                </a:cubicBezTo>
                <a:cubicBezTo>
                  <a:pt x="207" y="1"/>
                  <a:pt x="207" y="1"/>
                  <a:pt x="207" y="1"/>
                </a:cubicBezTo>
                <a:cubicBezTo>
                  <a:pt x="207" y="0"/>
                  <a:pt x="207" y="0"/>
                  <a:pt x="207" y="0"/>
                </a:cubicBezTo>
                <a:cubicBezTo>
                  <a:pt x="206" y="0"/>
                  <a:pt x="205" y="1"/>
                  <a:pt x="205" y="1"/>
                </a:cubicBezTo>
                <a:cubicBezTo>
                  <a:pt x="206" y="1"/>
                  <a:pt x="207" y="1"/>
                  <a:pt x="207" y="1"/>
                </a:cubicBezTo>
                <a:cubicBezTo>
                  <a:pt x="207" y="2"/>
                  <a:pt x="206" y="2"/>
                  <a:pt x="206" y="2"/>
                </a:cubicBezTo>
                <a:cubicBezTo>
                  <a:pt x="206" y="2"/>
                  <a:pt x="206" y="2"/>
                  <a:pt x="206" y="2"/>
                </a:cubicBezTo>
                <a:cubicBezTo>
                  <a:pt x="206" y="2"/>
                  <a:pt x="206" y="2"/>
                  <a:pt x="206" y="2"/>
                </a:cubicBezTo>
                <a:cubicBezTo>
                  <a:pt x="206" y="3"/>
                  <a:pt x="206" y="3"/>
                  <a:pt x="206" y="3"/>
                </a:cubicBezTo>
                <a:cubicBezTo>
                  <a:pt x="206" y="3"/>
                  <a:pt x="206" y="3"/>
                  <a:pt x="206" y="3"/>
                </a:cubicBezTo>
                <a:cubicBezTo>
                  <a:pt x="206" y="3"/>
                  <a:pt x="206" y="3"/>
                  <a:pt x="207" y="4"/>
                </a:cubicBezTo>
                <a:cubicBezTo>
                  <a:pt x="206" y="4"/>
                  <a:pt x="206" y="3"/>
                  <a:pt x="206" y="3"/>
                </a:cubicBezTo>
                <a:cubicBezTo>
                  <a:pt x="206" y="3"/>
                  <a:pt x="206" y="4"/>
                  <a:pt x="206" y="4"/>
                </a:cubicBezTo>
                <a:cubicBezTo>
                  <a:pt x="205" y="4"/>
                  <a:pt x="205" y="3"/>
                  <a:pt x="204" y="3"/>
                </a:cubicBezTo>
                <a:cubicBezTo>
                  <a:pt x="204" y="3"/>
                  <a:pt x="203" y="3"/>
                  <a:pt x="203" y="3"/>
                </a:cubicBezTo>
                <a:cubicBezTo>
                  <a:pt x="202" y="3"/>
                  <a:pt x="202" y="3"/>
                  <a:pt x="201" y="3"/>
                </a:cubicBezTo>
                <a:cubicBezTo>
                  <a:pt x="201" y="3"/>
                  <a:pt x="203" y="2"/>
                  <a:pt x="203" y="2"/>
                </a:cubicBezTo>
                <a:cubicBezTo>
                  <a:pt x="202" y="2"/>
                  <a:pt x="201" y="2"/>
                  <a:pt x="202" y="2"/>
                </a:cubicBezTo>
                <a:cubicBezTo>
                  <a:pt x="201" y="2"/>
                  <a:pt x="200" y="2"/>
                  <a:pt x="200" y="2"/>
                </a:cubicBezTo>
                <a:cubicBezTo>
                  <a:pt x="199" y="2"/>
                  <a:pt x="199" y="2"/>
                  <a:pt x="199" y="2"/>
                </a:cubicBezTo>
                <a:cubicBezTo>
                  <a:pt x="198" y="2"/>
                  <a:pt x="197" y="2"/>
                  <a:pt x="196" y="2"/>
                </a:cubicBezTo>
                <a:cubicBezTo>
                  <a:pt x="196" y="2"/>
                  <a:pt x="196" y="2"/>
                  <a:pt x="196" y="1"/>
                </a:cubicBezTo>
                <a:cubicBezTo>
                  <a:pt x="196" y="1"/>
                  <a:pt x="195" y="2"/>
                  <a:pt x="195" y="1"/>
                </a:cubicBezTo>
                <a:cubicBezTo>
                  <a:pt x="195" y="1"/>
                  <a:pt x="195" y="1"/>
                  <a:pt x="194" y="1"/>
                </a:cubicBezTo>
                <a:cubicBezTo>
                  <a:pt x="194" y="1"/>
                  <a:pt x="193" y="0"/>
                  <a:pt x="192" y="1"/>
                </a:cubicBezTo>
                <a:cubicBezTo>
                  <a:pt x="192" y="1"/>
                  <a:pt x="192" y="0"/>
                  <a:pt x="191" y="0"/>
                </a:cubicBezTo>
                <a:cubicBezTo>
                  <a:pt x="191" y="0"/>
                  <a:pt x="189" y="0"/>
                  <a:pt x="189" y="0"/>
                </a:cubicBezTo>
                <a:cubicBezTo>
                  <a:pt x="189" y="0"/>
                  <a:pt x="189" y="0"/>
                  <a:pt x="189" y="0"/>
                </a:cubicBezTo>
                <a:cubicBezTo>
                  <a:pt x="189" y="0"/>
                  <a:pt x="188" y="0"/>
                  <a:pt x="188" y="0"/>
                </a:cubicBezTo>
                <a:cubicBezTo>
                  <a:pt x="188" y="1"/>
                  <a:pt x="188" y="1"/>
                  <a:pt x="188" y="1"/>
                </a:cubicBezTo>
                <a:cubicBezTo>
                  <a:pt x="189" y="1"/>
                  <a:pt x="190" y="1"/>
                  <a:pt x="191" y="1"/>
                </a:cubicBezTo>
                <a:cubicBezTo>
                  <a:pt x="190" y="1"/>
                  <a:pt x="189" y="1"/>
                  <a:pt x="190" y="1"/>
                </a:cubicBezTo>
                <a:cubicBezTo>
                  <a:pt x="189" y="1"/>
                  <a:pt x="191" y="1"/>
                  <a:pt x="190" y="2"/>
                </a:cubicBezTo>
                <a:cubicBezTo>
                  <a:pt x="190" y="2"/>
                  <a:pt x="190" y="2"/>
                  <a:pt x="190" y="2"/>
                </a:cubicBezTo>
                <a:cubicBezTo>
                  <a:pt x="190" y="2"/>
                  <a:pt x="190" y="2"/>
                  <a:pt x="190" y="2"/>
                </a:cubicBezTo>
                <a:cubicBezTo>
                  <a:pt x="188" y="3"/>
                  <a:pt x="187" y="0"/>
                  <a:pt x="185" y="1"/>
                </a:cubicBezTo>
                <a:cubicBezTo>
                  <a:pt x="186" y="1"/>
                  <a:pt x="186" y="2"/>
                  <a:pt x="187" y="2"/>
                </a:cubicBezTo>
                <a:cubicBezTo>
                  <a:pt x="188" y="2"/>
                  <a:pt x="188" y="2"/>
                  <a:pt x="189" y="3"/>
                </a:cubicBezTo>
                <a:cubicBezTo>
                  <a:pt x="188" y="3"/>
                  <a:pt x="188" y="2"/>
                  <a:pt x="188" y="3"/>
                </a:cubicBezTo>
                <a:cubicBezTo>
                  <a:pt x="187" y="3"/>
                  <a:pt x="187" y="3"/>
                  <a:pt x="187" y="3"/>
                </a:cubicBezTo>
                <a:cubicBezTo>
                  <a:pt x="186" y="2"/>
                  <a:pt x="185" y="2"/>
                  <a:pt x="184" y="2"/>
                </a:cubicBezTo>
                <a:cubicBezTo>
                  <a:pt x="184" y="3"/>
                  <a:pt x="183" y="2"/>
                  <a:pt x="183" y="2"/>
                </a:cubicBezTo>
                <a:cubicBezTo>
                  <a:pt x="182" y="2"/>
                  <a:pt x="182" y="2"/>
                  <a:pt x="181" y="2"/>
                </a:cubicBezTo>
                <a:cubicBezTo>
                  <a:pt x="180" y="2"/>
                  <a:pt x="179" y="2"/>
                  <a:pt x="178" y="3"/>
                </a:cubicBezTo>
                <a:cubicBezTo>
                  <a:pt x="179" y="3"/>
                  <a:pt x="180" y="3"/>
                  <a:pt x="181" y="3"/>
                </a:cubicBezTo>
                <a:cubicBezTo>
                  <a:pt x="181" y="3"/>
                  <a:pt x="181" y="3"/>
                  <a:pt x="180" y="3"/>
                </a:cubicBezTo>
                <a:close/>
                <a:moveTo>
                  <a:pt x="268" y="3"/>
                </a:moveTo>
                <a:cubicBezTo>
                  <a:pt x="269" y="3"/>
                  <a:pt x="270" y="2"/>
                  <a:pt x="271" y="2"/>
                </a:cubicBezTo>
                <a:cubicBezTo>
                  <a:pt x="272" y="2"/>
                  <a:pt x="273" y="2"/>
                  <a:pt x="273" y="2"/>
                </a:cubicBezTo>
                <a:cubicBezTo>
                  <a:pt x="272" y="2"/>
                  <a:pt x="271" y="2"/>
                  <a:pt x="270" y="2"/>
                </a:cubicBezTo>
                <a:cubicBezTo>
                  <a:pt x="269" y="2"/>
                  <a:pt x="268" y="2"/>
                  <a:pt x="266" y="2"/>
                </a:cubicBezTo>
                <a:cubicBezTo>
                  <a:pt x="265" y="3"/>
                  <a:pt x="264" y="3"/>
                  <a:pt x="263" y="3"/>
                </a:cubicBezTo>
                <a:cubicBezTo>
                  <a:pt x="262" y="3"/>
                  <a:pt x="261" y="3"/>
                  <a:pt x="261" y="3"/>
                </a:cubicBezTo>
                <a:cubicBezTo>
                  <a:pt x="261" y="3"/>
                  <a:pt x="261" y="3"/>
                  <a:pt x="261" y="3"/>
                </a:cubicBezTo>
                <a:cubicBezTo>
                  <a:pt x="264" y="3"/>
                  <a:pt x="266" y="3"/>
                  <a:pt x="268" y="3"/>
                </a:cubicBezTo>
                <a:close/>
                <a:moveTo>
                  <a:pt x="245" y="12"/>
                </a:moveTo>
                <a:cubicBezTo>
                  <a:pt x="246" y="12"/>
                  <a:pt x="247" y="12"/>
                  <a:pt x="248" y="12"/>
                </a:cubicBezTo>
                <a:cubicBezTo>
                  <a:pt x="249" y="12"/>
                  <a:pt x="251" y="13"/>
                  <a:pt x="253" y="12"/>
                </a:cubicBezTo>
                <a:cubicBezTo>
                  <a:pt x="252" y="12"/>
                  <a:pt x="251" y="12"/>
                  <a:pt x="250" y="12"/>
                </a:cubicBezTo>
                <a:cubicBezTo>
                  <a:pt x="249" y="12"/>
                  <a:pt x="248" y="12"/>
                  <a:pt x="247" y="12"/>
                </a:cubicBezTo>
                <a:cubicBezTo>
                  <a:pt x="246" y="12"/>
                  <a:pt x="246" y="12"/>
                  <a:pt x="245" y="12"/>
                </a:cubicBezTo>
                <a:cubicBezTo>
                  <a:pt x="244" y="12"/>
                  <a:pt x="245" y="12"/>
                  <a:pt x="244" y="12"/>
                </a:cubicBezTo>
                <a:cubicBezTo>
                  <a:pt x="244" y="12"/>
                  <a:pt x="243" y="12"/>
                  <a:pt x="242" y="12"/>
                </a:cubicBezTo>
                <a:cubicBezTo>
                  <a:pt x="242" y="12"/>
                  <a:pt x="242" y="12"/>
                  <a:pt x="241" y="13"/>
                </a:cubicBezTo>
                <a:cubicBezTo>
                  <a:pt x="242" y="13"/>
                  <a:pt x="244" y="12"/>
                  <a:pt x="245" y="12"/>
                </a:cubicBezTo>
                <a:close/>
                <a:moveTo>
                  <a:pt x="231" y="30"/>
                </a:moveTo>
                <a:cubicBezTo>
                  <a:pt x="231" y="30"/>
                  <a:pt x="229" y="30"/>
                  <a:pt x="229" y="30"/>
                </a:cubicBezTo>
                <a:cubicBezTo>
                  <a:pt x="229" y="31"/>
                  <a:pt x="228" y="31"/>
                  <a:pt x="227" y="32"/>
                </a:cubicBezTo>
                <a:cubicBezTo>
                  <a:pt x="227" y="32"/>
                  <a:pt x="227" y="32"/>
                  <a:pt x="228" y="32"/>
                </a:cubicBezTo>
                <a:cubicBezTo>
                  <a:pt x="228" y="32"/>
                  <a:pt x="228" y="31"/>
                  <a:pt x="228" y="31"/>
                </a:cubicBezTo>
                <a:cubicBezTo>
                  <a:pt x="229" y="31"/>
                  <a:pt x="230" y="31"/>
                  <a:pt x="231" y="30"/>
                </a:cubicBezTo>
                <a:close/>
                <a:moveTo>
                  <a:pt x="117" y="154"/>
                </a:moveTo>
                <a:cubicBezTo>
                  <a:pt x="119" y="154"/>
                  <a:pt x="118" y="153"/>
                  <a:pt x="117" y="153"/>
                </a:cubicBezTo>
                <a:cubicBezTo>
                  <a:pt x="116" y="153"/>
                  <a:pt x="116" y="154"/>
                  <a:pt x="117" y="154"/>
                </a:cubicBezTo>
                <a:close/>
                <a:moveTo>
                  <a:pt x="100" y="163"/>
                </a:moveTo>
                <a:cubicBezTo>
                  <a:pt x="100" y="163"/>
                  <a:pt x="100" y="162"/>
                  <a:pt x="100" y="162"/>
                </a:cubicBezTo>
                <a:cubicBezTo>
                  <a:pt x="99" y="162"/>
                  <a:pt x="99" y="162"/>
                  <a:pt x="98" y="162"/>
                </a:cubicBezTo>
                <a:cubicBezTo>
                  <a:pt x="98" y="162"/>
                  <a:pt x="98" y="163"/>
                  <a:pt x="98" y="163"/>
                </a:cubicBezTo>
                <a:cubicBezTo>
                  <a:pt x="98" y="163"/>
                  <a:pt x="98" y="163"/>
                  <a:pt x="98" y="163"/>
                </a:cubicBezTo>
                <a:cubicBezTo>
                  <a:pt x="98" y="163"/>
                  <a:pt x="99" y="163"/>
                  <a:pt x="100" y="163"/>
                </a:cubicBezTo>
                <a:close/>
                <a:moveTo>
                  <a:pt x="226" y="84"/>
                </a:moveTo>
                <a:cubicBezTo>
                  <a:pt x="226" y="84"/>
                  <a:pt x="226" y="83"/>
                  <a:pt x="226" y="83"/>
                </a:cubicBezTo>
                <a:cubicBezTo>
                  <a:pt x="225" y="83"/>
                  <a:pt x="224" y="83"/>
                  <a:pt x="224" y="83"/>
                </a:cubicBezTo>
                <a:cubicBezTo>
                  <a:pt x="224" y="83"/>
                  <a:pt x="225" y="83"/>
                  <a:pt x="225" y="83"/>
                </a:cubicBezTo>
                <a:cubicBezTo>
                  <a:pt x="225" y="83"/>
                  <a:pt x="225" y="84"/>
                  <a:pt x="225" y="84"/>
                </a:cubicBezTo>
                <a:cubicBezTo>
                  <a:pt x="225" y="84"/>
                  <a:pt x="225" y="83"/>
                  <a:pt x="225" y="84"/>
                </a:cubicBezTo>
                <a:cubicBezTo>
                  <a:pt x="224" y="84"/>
                  <a:pt x="224" y="84"/>
                  <a:pt x="224" y="84"/>
                </a:cubicBezTo>
                <a:cubicBezTo>
                  <a:pt x="224" y="84"/>
                  <a:pt x="224" y="84"/>
                  <a:pt x="224" y="84"/>
                </a:cubicBezTo>
                <a:cubicBezTo>
                  <a:pt x="224" y="85"/>
                  <a:pt x="223" y="83"/>
                  <a:pt x="223" y="84"/>
                </a:cubicBezTo>
                <a:cubicBezTo>
                  <a:pt x="223" y="84"/>
                  <a:pt x="223" y="84"/>
                  <a:pt x="223" y="84"/>
                </a:cubicBezTo>
                <a:cubicBezTo>
                  <a:pt x="223" y="84"/>
                  <a:pt x="223" y="84"/>
                  <a:pt x="222" y="84"/>
                </a:cubicBezTo>
                <a:cubicBezTo>
                  <a:pt x="222" y="84"/>
                  <a:pt x="221" y="84"/>
                  <a:pt x="221" y="85"/>
                </a:cubicBezTo>
                <a:cubicBezTo>
                  <a:pt x="221" y="85"/>
                  <a:pt x="221" y="85"/>
                  <a:pt x="222" y="85"/>
                </a:cubicBezTo>
                <a:cubicBezTo>
                  <a:pt x="221" y="85"/>
                  <a:pt x="221" y="85"/>
                  <a:pt x="221" y="85"/>
                </a:cubicBezTo>
                <a:cubicBezTo>
                  <a:pt x="222" y="85"/>
                  <a:pt x="222" y="86"/>
                  <a:pt x="223" y="85"/>
                </a:cubicBezTo>
                <a:cubicBezTo>
                  <a:pt x="223" y="85"/>
                  <a:pt x="222" y="86"/>
                  <a:pt x="223" y="86"/>
                </a:cubicBezTo>
                <a:cubicBezTo>
                  <a:pt x="223" y="86"/>
                  <a:pt x="225" y="86"/>
                  <a:pt x="224" y="86"/>
                </a:cubicBezTo>
                <a:cubicBezTo>
                  <a:pt x="224" y="86"/>
                  <a:pt x="224" y="86"/>
                  <a:pt x="224" y="86"/>
                </a:cubicBezTo>
                <a:cubicBezTo>
                  <a:pt x="224" y="85"/>
                  <a:pt x="226" y="85"/>
                  <a:pt x="225" y="85"/>
                </a:cubicBezTo>
                <a:cubicBezTo>
                  <a:pt x="225" y="85"/>
                  <a:pt x="226" y="85"/>
                  <a:pt x="226" y="85"/>
                </a:cubicBezTo>
                <a:cubicBezTo>
                  <a:pt x="227" y="84"/>
                  <a:pt x="226" y="84"/>
                  <a:pt x="226" y="84"/>
                </a:cubicBezTo>
                <a:close/>
                <a:moveTo>
                  <a:pt x="204" y="87"/>
                </a:moveTo>
                <a:cubicBezTo>
                  <a:pt x="204" y="88"/>
                  <a:pt x="204" y="88"/>
                  <a:pt x="205" y="88"/>
                </a:cubicBezTo>
                <a:cubicBezTo>
                  <a:pt x="205" y="88"/>
                  <a:pt x="205" y="88"/>
                  <a:pt x="205" y="88"/>
                </a:cubicBezTo>
                <a:cubicBezTo>
                  <a:pt x="205" y="88"/>
                  <a:pt x="205" y="88"/>
                  <a:pt x="205" y="88"/>
                </a:cubicBezTo>
                <a:cubicBezTo>
                  <a:pt x="205" y="88"/>
                  <a:pt x="206" y="88"/>
                  <a:pt x="206" y="88"/>
                </a:cubicBezTo>
                <a:cubicBezTo>
                  <a:pt x="207" y="89"/>
                  <a:pt x="207" y="88"/>
                  <a:pt x="207" y="87"/>
                </a:cubicBezTo>
                <a:cubicBezTo>
                  <a:pt x="207" y="86"/>
                  <a:pt x="204" y="86"/>
                  <a:pt x="204" y="87"/>
                </a:cubicBezTo>
                <a:close/>
                <a:moveTo>
                  <a:pt x="218" y="84"/>
                </a:moveTo>
                <a:cubicBezTo>
                  <a:pt x="218" y="84"/>
                  <a:pt x="218" y="84"/>
                  <a:pt x="218" y="84"/>
                </a:cubicBezTo>
                <a:cubicBezTo>
                  <a:pt x="219" y="84"/>
                  <a:pt x="219" y="84"/>
                  <a:pt x="219" y="84"/>
                </a:cubicBezTo>
                <a:cubicBezTo>
                  <a:pt x="219" y="84"/>
                  <a:pt x="219" y="84"/>
                  <a:pt x="220" y="84"/>
                </a:cubicBezTo>
                <a:cubicBezTo>
                  <a:pt x="219" y="84"/>
                  <a:pt x="220" y="84"/>
                  <a:pt x="220" y="84"/>
                </a:cubicBezTo>
                <a:cubicBezTo>
                  <a:pt x="220" y="84"/>
                  <a:pt x="222" y="84"/>
                  <a:pt x="221" y="83"/>
                </a:cubicBezTo>
                <a:cubicBezTo>
                  <a:pt x="221" y="83"/>
                  <a:pt x="222" y="84"/>
                  <a:pt x="222" y="83"/>
                </a:cubicBezTo>
                <a:cubicBezTo>
                  <a:pt x="222" y="83"/>
                  <a:pt x="223" y="83"/>
                  <a:pt x="222" y="83"/>
                </a:cubicBezTo>
                <a:cubicBezTo>
                  <a:pt x="223" y="83"/>
                  <a:pt x="223" y="83"/>
                  <a:pt x="223" y="82"/>
                </a:cubicBezTo>
                <a:cubicBezTo>
                  <a:pt x="223" y="82"/>
                  <a:pt x="223" y="82"/>
                  <a:pt x="224" y="82"/>
                </a:cubicBezTo>
                <a:cubicBezTo>
                  <a:pt x="223" y="82"/>
                  <a:pt x="224" y="82"/>
                  <a:pt x="224" y="82"/>
                </a:cubicBezTo>
                <a:cubicBezTo>
                  <a:pt x="224" y="82"/>
                  <a:pt x="224" y="82"/>
                  <a:pt x="225" y="82"/>
                </a:cubicBezTo>
                <a:cubicBezTo>
                  <a:pt x="225" y="82"/>
                  <a:pt x="224" y="82"/>
                  <a:pt x="224" y="82"/>
                </a:cubicBezTo>
                <a:cubicBezTo>
                  <a:pt x="224" y="81"/>
                  <a:pt x="225" y="82"/>
                  <a:pt x="225" y="81"/>
                </a:cubicBezTo>
                <a:cubicBezTo>
                  <a:pt x="225" y="81"/>
                  <a:pt x="224" y="81"/>
                  <a:pt x="224" y="81"/>
                </a:cubicBezTo>
                <a:cubicBezTo>
                  <a:pt x="224" y="81"/>
                  <a:pt x="223" y="81"/>
                  <a:pt x="224" y="81"/>
                </a:cubicBezTo>
                <a:cubicBezTo>
                  <a:pt x="224" y="82"/>
                  <a:pt x="223" y="81"/>
                  <a:pt x="223" y="81"/>
                </a:cubicBezTo>
                <a:cubicBezTo>
                  <a:pt x="223" y="81"/>
                  <a:pt x="223" y="81"/>
                  <a:pt x="223" y="81"/>
                </a:cubicBezTo>
                <a:cubicBezTo>
                  <a:pt x="223" y="81"/>
                  <a:pt x="222" y="81"/>
                  <a:pt x="222" y="81"/>
                </a:cubicBezTo>
                <a:cubicBezTo>
                  <a:pt x="222" y="82"/>
                  <a:pt x="222" y="81"/>
                  <a:pt x="222" y="81"/>
                </a:cubicBezTo>
                <a:cubicBezTo>
                  <a:pt x="222" y="82"/>
                  <a:pt x="222" y="82"/>
                  <a:pt x="223" y="82"/>
                </a:cubicBezTo>
                <a:cubicBezTo>
                  <a:pt x="223" y="82"/>
                  <a:pt x="222" y="82"/>
                  <a:pt x="222" y="82"/>
                </a:cubicBezTo>
                <a:cubicBezTo>
                  <a:pt x="222" y="82"/>
                  <a:pt x="222" y="82"/>
                  <a:pt x="222" y="82"/>
                </a:cubicBezTo>
                <a:cubicBezTo>
                  <a:pt x="222" y="83"/>
                  <a:pt x="221" y="82"/>
                  <a:pt x="221" y="82"/>
                </a:cubicBezTo>
                <a:cubicBezTo>
                  <a:pt x="221" y="82"/>
                  <a:pt x="220" y="82"/>
                  <a:pt x="219" y="82"/>
                </a:cubicBezTo>
                <a:cubicBezTo>
                  <a:pt x="219" y="82"/>
                  <a:pt x="220" y="83"/>
                  <a:pt x="220" y="83"/>
                </a:cubicBezTo>
                <a:cubicBezTo>
                  <a:pt x="220" y="83"/>
                  <a:pt x="220" y="83"/>
                  <a:pt x="220" y="83"/>
                </a:cubicBezTo>
                <a:cubicBezTo>
                  <a:pt x="219" y="83"/>
                  <a:pt x="219" y="83"/>
                  <a:pt x="219" y="83"/>
                </a:cubicBezTo>
                <a:cubicBezTo>
                  <a:pt x="219" y="83"/>
                  <a:pt x="219" y="83"/>
                  <a:pt x="219" y="83"/>
                </a:cubicBezTo>
                <a:cubicBezTo>
                  <a:pt x="219" y="83"/>
                  <a:pt x="219" y="82"/>
                  <a:pt x="219" y="82"/>
                </a:cubicBezTo>
                <a:cubicBezTo>
                  <a:pt x="219" y="82"/>
                  <a:pt x="218" y="82"/>
                  <a:pt x="218" y="82"/>
                </a:cubicBezTo>
                <a:cubicBezTo>
                  <a:pt x="218" y="82"/>
                  <a:pt x="218" y="82"/>
                  <a:pt x="218" y="82"/>
                </a:cubicBezTo>
                <a:cubicBezTo>
                  <a:pt x="218" y="82"/>
                  <a:pt x="217" y="82"/>
                  <a:pt x="217" y="82"/>
                </a:cubicBezTo>
                <a:cubicBezTo>
                  <a:pt x="217" y="82"/>
                  <a:pt x="218" y="83"/>
                  <a:pt x="217" y="83"/>
                </a:cubicBezTo>
                <a:cubicBezTo>
                  <a:pt x="217" y="83"/>
                  <a:pt x="216" y="82"/>
                  <a:pt x="216" y="82"/>
                </a:cubicBezTo>
                <a:cubicBezTo>
                  <a:pt x="217" y="83"/>
                  <a:pt x="214" y="82"/>
                  <a:pt x="214" y="83"/>
                </a:cubicBezTo>
                <a:cubicBezTo>
                  <a:pt x="214" y="83"/>
                  <a:pt x="215" y="83"/>
                  <a:pt x="215" y="83"/>
                </a:cubicBezTo>
                <a:cubicBezTo>
                  <a:pt x="215" y="83"/>
                  <a:pt x="215" y="83"/>
                  <a:pt x="215" y="83"/>
                </a:cubicBezTo>
                <a:cubicBezTo>
                  <a:pt x="216" y="83"/>
                  <a:pt x="216" y="83"/>
                  <a:pt x="217" y="83"/>
                </a:cubicBezTo>
                <a:cubicBezTo>
                  <a:pt x="216" y="83"/>
                  <a:pt x="216" y="84"/>
                  <a:pt x="215" y="84"/>
                </a:cubicBezTo>
                <a:cubicBezTo>
                  <a:pt x="216" y="84"/>
                  <a:pt x="216" y="84"/>
                  <a:pt x="217" y="84"/>
                </a:cubicBezTo>
                <a:cubicBezTo>
                  <a:pt x="217" y="83"/>
                  <a:pt x="217" y="84"/>
                  <a:pt x="217" y="84"/>
                </a:cubicBezTo>
                <a:cubicBezTo>
                  <a:pt x="217" y="84"/>
                  <a:pt x="217" y="84"/>
                  <a:pt x="218" y="84"/>
                </a:cubicBezTo>
                <a:close/>
                <a:moveTo>
                  <a:pt x="198" y="90"/>
                </a:moveTo>
                <a:cubicBezTo>
                  <a:pt x="198" y="89"/>
                  <a:pt x="198" y="89"/>
                  <a:pt x="198" y="89"/>
                </a:cubicBezTo>
                <a:cubicBezTo>
                  <a:pt x="199" y="89"/>
                  <a:pt x="200" y="89"/>
                  <a:pt x="199" y="88"/>
                </a:cubicBezTo>
                <a:cubicBezTo>
                  <a:pt x="199" y="88"/>
                  <a:pt x="199" y="89"/>
                  <a:pt x="198" y="89"/>
                </a:cubicBezTo>
                <a:cubicBezTo>
                  <a:pt x="198" y="89"/>
                  <a:pt x="198" y="88"/>
                  <a:pt x="198" y="88"/>
                </a:cubicBezTo>
                <a:cubicBezTo>
                  <a:pt x="198" y="88"/>
                  <a:pt x="198" y="88"/>
                  <a:pt x="197" y="88"/>
                </a:cubicBezTo>
                <a:cubicBezTo>
                  <a:pt x="197" y="88"/>
                  <a:pt x="197" y="89"/>
                  <a:pt x="197" y="88"/>
                </a:cubicBezTo>
                <a:cubicBezTo>
                  <a:pt x="196" y="88"/>
                  <a:pt x="197" y="88"/>
                  <a:pt x="196" y="88"/>
                </a:cubicBezTo>
                <a:cubicBezTo>
                  <a:pt x="196" y="88"/>
                  <a:pt x="196" y="88"/>
                  <a:pt x="196" y="88"/>
                </a:cubicBezTo>
                <a:cubicBezTo>
                  <a:pt x="195" y="88"/>
                  <a:pt x="195" y="88"/>
                  <a:pt x="195" y="88"/>
                </a:cubicBezTo>
                <a:cubicBezTo>
                  <a:pt x="196" y="89"/>
                  <a:pt x="193" y="88"/>
                  <a:pt x="193" y="89"/>
                </a:cubicBezTo>
                <a:cubicBezTo>
                  <a:pt x="193" y="89"/>
                  <a:pt x="194" y="89"/>
                  <a:pt x="194" y="89"/>
                </a:cubicBezTo>
                <a:cubicBezTo>
                  <a:pt x="194" y="89"/>
                  <a:pt x="193" y="89"/>
                  <a:pt x="193" y="89"/>
                </a:cubicBezTo>
                <a:cubicBezTo>
                  <a:pt x="193" y="89"/>
                  <a:pt x="194" y="90"/>
                  <a:pt x="194" y="90"/>
                </a:cubicBezTo>
                <a:cubicBezTo>
                  <a:pt x="195" y="90"/>
                  <a:pt x="195" y="91"/>
                  <a:pt x="196" y="90"/>
                </a:cubicBezTo>
                <a:cubicBezTo>
                  <a:pt x="197" y="90"/>
                  <a:pt x="197" y="90"/>
                  <a:pt x="198" y="90"/>
                </a:cubicBezTo>
                <a:close/>
                <a:moveTo>
                  <a:pt x="193" y="92"/>
                </a:moveTo>
                <a:cubicBezTo>
                  <a:pt x="194" y="92"/>
                  <a:pt x="195" y="91"/>
                  <a:pt x="195" y="91"/>
                </a:cubicBezTo>
                <a:cubicBezTo>
                  <a:pt x="195" y="90"/>
                  <a:pt x="194" y="90"/>
                  <a:pt x="193" y="90"/>
                </a:cubicBezTo>
                <a:cubicBezTo>
                  <a:pt x="193" y="90"/>
                  <a:pt x="192" y="90"/>
                  <a:pt x="192" y="90"/>
                </a:cubicBezTo>
                <a:cubicBezTo>
                  <a:pt x="193" y="90"/>
                  <a:pt x="193" y="90"/>
                  <a:pt x="193" y="90"/>
                </a:cubicBezTo>
                <a:cubicBezTo>
                  <a:pt x="193" y="91"/>
                  <a:pt x="192" y="91"/>
                  <a:pt x="193" y="92"/>
                </a:cubicBezTo>
                <a:cubicBezTo>
                  <a:pt x="192" y="92"/>
                  <a:pt x="193" y="90"/>
                  <a:pt x="192" y="90"/>
                </a:cubicBezTo>
                <a:cubicBezTo>
                  <a:pt x="191" y="90"/>
                  <a:pt x="192" y="91"/>
                  <a:pt x="191" y="91"/>
                </a:cubicBezTo>
                <a:cubicBezTo>
                  <a:pt x="191" y="91"/>
                  <a:pt x="191" y="91"/>
                  <a:pt x="191" y="91"/>
                </a:cubicBezTo>
                <a:cubicBezTo>
                  <a:pt x="190" y="91"/>
                  <a:pt x="190" y="90"/>
                  <a:pt x="190" y="91"/>
                </a:cubicBezTo>
                <a:cubicBezTo>
                  <a:pt x="190" y="91"/>
                  <a:pt x="190" y="91"/>
                  <a:pt x="190" y="91"/>
                </a:cubicBezTo>
                <a:cubicBezTo>
                  <a:pt x="191" y="91"/>
                  <a:pt x="191" y="91"/>
                  <a:pt x="192" y="91"/>
                </a:cubicBezTo>
                <a:cubicBezTo>
                  <a:pt x="191" y="91"/>
                  <a:pt x="190" y="91"/>
                  <a:pt x="189" y="91"/>
                </a:cubicBezTo>
                <a:cubicBezTo>
                  <a:pt x="189" y="92"/>
                  <a:pt x="190" y="92"/>
                  <a:pt x="190" y="92"/>
                </a:cubicBezTo>
                <a:cubicBezTo>
                  <a:pt x="190" y="92"/>
                  <a:pt x="190" y="92"/>
                  <a:pt x="190" y="92"/>
                </a:cubicBezTo>
                <a:cubicBezTo>
                  <a:pt x="190" y="92"/>
                  <a:pt x="190" y="92"/>
                  <a:pt x="190" y="92"/>
                </a:cubicBezTo>
                <a:cubicBezTo>
                  <a:pt x="189" y="92"/>
                  <a:pt x="189" y="92"/>
                  <a:pt x="188" y="92"/>
                </a:cubicBezTo>
                <a:cubicBezTo>
                  <a:pt x="187" y="93"/>
                  <a:pt x="189" y="93"/>
                  <a:pt x="189" y="93"/>
                </a:cubicBezTo>
                <a:cubicBezTo>
                  <a:pt x="190" y="93"/>
                  <a:pt x="191" y="93"/>
                  <a:pt x="191" y="93"/>
                </a:cubicBezTo>
                <a:cubicBezTo>
                  <a:pt x="192" y="93"/>
                  <a:pt x="193" y="93"/>
                  <a:pt x="193" y="93"/>
                </a:cubicBezTo>
                <a:cubicBezTo>
                  <a:pt x="194" y="92"/>
                  <a:pt x="193" y="92"/>
                  <a:pt x="193" y="92"/>
                </a:cubicBezTo>
                <a:cubicBezTo>
                  <a:pt x="193" y="92"/>
                  <a:pt x="193" y="92"/>
                  <a:pt x="193" y="92"/>
                </a:cubicBezTo>
                <a:close/>
                <a:moveTo>
                  <a:pt x="188" y="94"/>
                </a:moveTo>
                <a:cubicBezTo>
                  <a:pt x="188" y="94"/>
                  <a:pt x="188" y="94"/>
                  <a:pt x="188" y="94"/>
                </a:cubicBezTo>
                <a:cubicBezTo>
                  <a:pt x="188" y="94"/>
                  <a:pt x="187" y="94"/>
                  <a:pt x="187" y="94"/>
                </a:cubicBezTo>
                <a:cubicBezTo>
                  <a:pt x="188" y="94"/>
                  <a:pt x="189" y="93"/>
                  <a:pt x="188" y="93"/>
                </a:cubicBezTo>
                <a:cubicBezTo>
                  <a:pt x="187" y="93"/>
                  <a:pt x="187" y="94"/>
                  <a:pt x="187" y="94"/>
                </a:cubicBezTo>
                <a:cubicBezTo>
                  <a:pt x="187" y="93"/>
                  <a:pt x="188" y="93"/>
                  <a:pt x="187" y="93"/>
                </a:cubicBezTo>
                <a:cubicBezTo>
                  <a:pt x="187" y="92"/>
                  <a:pt x="186" y="93"/>
                  <a:pt x="186" y="93"/>
                </a:cubicBezTo>
                <a:cubicBezTo>
                  <a:pt x="186" y="93"/>
                  <a:pt x="186" y="92"/>
                  <a:pt x="185" y="92"/>
                </a:cubicBezTo>
                <a:cubicBezTo>
                  <a:pt x="185" y="93"/>
                  <a:pt x="186" y="93"/>
                  <a:pt x="186" y="93"/>
                </a:cubicBezTo>
                <a:cubicBezTo>
                  <a:pt x="185" y="93"/>
                  <a:pt x="185" y="92"/>
                  <a:pt x="184" y="92"/>
                </a:cubicBezTo>
                <a:cubicBezTo>
                  <a:pt x="184" y="92"/>
                  <a:pt x="184" y="93"/>
                  <a:pt x="184" y="93"/>
                </a:cubicBezTo>
                <a:cubicBezTo>
                  <a:pt x="185" y="93"/>
                  <a:pt x="185" y="93"/>
                  <a:pt x="185" y="94"/>
                </a:cubicBezTo>
                <a:cubicBezTo>
                  <a:pt x="185" y="94"/>
                  <a:pt x="184" y="93"/>
                  <a:pt x="183" y="93"/>
                </a:cubicBezTo>
                <a:cubicBezTo>
                  <a:pt x="183" y="93"/>
                  <a:pt x="183" y="93"/>
                  <a:pt x="184" y="93"/>
                </a:cubicBezTo>
                <a:cubicBezTo>
                  <a:pt x="183" y="93"/>
                  <a:pt x="183" y="94"/>
                  <a:pt x="183" y="94"/>
                </a:cubicBezTo>
                <a:cubicBezTo>
                  <a:pt x="183" y="93"/>
                  <a:pt x="183" y="93"/>
                  <a:pt x="182" y="93"/>
                </a:cubicBezTo>
                <a:cubicBezTo>
                  <a:pt x="182" y="93"/>
                  <a:pt x="182" y="94"/>
                  <a:pt x="182" y="94"/>
                </a:cubicBezTo>
                <a:cubicBezTo>
                  <a:pt x="183" y="94"/>
                  <a:pt x="184" y="94"/>
                  <a:pt x="184" y="94"/>
                </a:cubicBezTo>
                <a:cubicBezTo>
                  <a:pt x="184" y="94"/>
                  <a:pt x="183" y="94"/>
                  <a:pt x="183" y="94"/>
                </a:cubicBezTo>
                <a:cubicBezTo>
                  <a:pt x="183" y="94"/>
                  <a:pt x="184" y="94"/>
                  <a:pt x="184" y="94"/>
                </a:cubicBezTo>
                <a:cubicBezTo>
                  <a:pt x="183" y="94"/>
                  <a:pt x="182" y="94"/>
                  <a:pt x="182" y="94"/>
                </a:cubicBezTo>
                <a:cubicBezTo>
                  <a:pt x="181" y="95"/>
                  <a:pt x="181" y="94"/>
                  <a:pt x="180" y="94"/>
                </a:cubicBezTo>
                <a:cubicBezTo>
                  <a:pt x="181" y="95"/>
                  <a:pt x="181" y="94"/>
                  <a:pt x="182" y="95"/>
                </a:cubicBezTo>
                <a:cubicBezTo>
                  <a:pt x="182" y="95"/>
                  <a:pt x="181" y="95"/>
                  <a:pt x="181" y="95"/>
                </a:cubicBezTo>
                <a:cubicBezTo>
                  <a:pt x="181" y="95"/>
                  <a:pt x="182" y="95"/>
                  <a:pt x="182" y="95"/>
                </a:cubicBezTo>
                <a:cubicBezTo>
                  <a:pt x="181" y="95"/>
                  <a:pt x="181" y="95"/>
                  <a:pt x="180" y="95"/>
                </a:cubicBezTo>
                <a:cubicBezTo>
                  <a:pt x="180" y="95"/>
                  <a:pt x="181" y="95"/>
                  <a:pt x="181" y="95"/>
                </a:cubicBezTo>
                <a:cubicBezTo>
                  <a:pt x="180" y="95"/>
                  <a:pt x="181" y="95"/>
                  <a:pt x="181" y="95"/>
                </a:cubicBezTo>
                <a:cubicBezTo>
                  <a:pt x="181" y="96"/>
                  <a:pt x="182" y="95"/>
                  <a:pt x="182" y="95"/>
                </a:cubicBezTo>
                <a:cubicBezTo>
                  <a:pt x="182" y="95"/>
                  <a:pt x="182" y="96"/>
                  <a:pt x="182" y="96"/>
                </a:cubicBezTo>
                <a:cubicBezTo>
                  <a:pt x="181" y="96"/>
                  <a:pt x="181" y="95"/>
                  <a:pt x="180" y="96"/>
                </a:cubicBezTo>
                <a:cubicBezTo>
                  <a:pt x="180" y="96"/>
                  <a:pt x="180" y="96"/>
                  <a:pt x="180" y="96"/>
                </a:cubicBezTo>
                <a:cubicBezTo>
                  <a:pt x="181" y="96"/>
                  <a:pt x="182" y="96"/>
                  <a:pt x="182" y="96"/>
                </a:cubicBezTo>
                <a:cubicBezTo>
                  <a:pt x="182" y="96"/>
                  <a:pt x="181" y="97"/>
                  <a:pt x="181" y="97"/>
                </a:cubicBezTo>
                <a:cubicBezTo>
                  <a:pt x="181" y="97"/>
                  <a:pt x="180" y="97"/>
                  <a:pt x="180" y="97"/>
                </a:cubicBezTo>
                <a:cubicBezTo>
                  <a:pt x="179" y="98"/>
                  <a:pt x="182" y="97"/>
                  <a:pt x="182" y="97"/>
                </a:cubicBezTo>
                <a:cubicBezTo>
                  <a:pt x="182" y="97"/>
                  <a:pt x="182" y="97"/>
                  <a:pt x="181" y="97"/>
                </a:cubicBezTo>
                <a:cubicBezTo>
                  <a:pt x="181" y="98"/>
                  <a:pt x="181" y="98"/>
                  <a:pt x="182" y="98"/>
                </a:cubicBezTo>
                <a:cubicBezTo>
                  <a:pt x="182" y="98"/>
                  <a:pt x="182" y="98"/>
                  <a:pt x="183" y="97"/>
                </a:cubicBezTo>
                <a:cubicBezTo>
                  <a:pt x="183" y="98"/>
                  <a:pt x="182" y="97"/>
                  <a:pt x="183" y="97"/>
                </a:cubicBezTo>
                <a:cubicBezTo>
                  <a:pt x="183" y="97"/>
                  <a:pt x="183" y="97"/>
                  <a:pt x="183" y="97"/>
                </a:cubicBezTo>
                <a:cubicBezTo>
                  <a:pt x="184" y="97"/>
                  <a:pt x="184" y="96"/>
                  <a:pt x="185" y="96"/>
                </a:cubicBezTo>
                <a:cubicBezTo>
                  <a:pt x="185" y="96"/>
                  <a:pt x="184" y="96"/>
                  <a:pt x="184" y="96"/>
                </a:cubicBezTo>
                <a:cubicBezTo>
                  <a:pt x="185" y="97"/>
                  <a:pt x="187" y="97"/>
                  <a:pt x="188" y="96"/>
                </a:cubicBezTo>
                <a:cubicBezTo>
                  <a:pt x="188" y="96"/>
                  <a:pt x="187" y="96"/>
                  <a:pt x="187" y="96"/>
                </a:cubicBezTo>
                <a:cubicBezTo>
                  <a:pt x="188" y="96"/>
                  <a:pt x="187" y="95"/>
                  <a:pt x="187" y="95"/>
                </a:cubicBezTo>
                <a:cubicBezTo>
                  <a:pt x="188" y="95"/>
                  <a:pt x="189" y="95"/>
                  <a:pt x="188" y="94"/>
                </a:cubicBezTo>
                <a:close/>
                <a:moveTo>
                  <a:pt x="163" y="101"/>
                </a:moveTo>
                <a:cubicBezTo>
                  <a:pt x="163" y="101"/>
                  <a:pt x="163" y="101"/>
                  <a:pt x="163" y="101"/>
                </a:cubicBezTo>
                <a:cubicBezTo>
                  <a:pt x="163" y="101"/>
                  <a:pt x="165" y="102"/>
                  <a:pt x="165" y="101"/>
                </a:cubicBezTo>
                <a:cubicBezTo>
                  <a:pt x="165" y="101"/>
                  <a:pt x="166" y="101"/>
                  <a:pt x="166" y="101"/>
                </a:cubicBezTo>
                <a:cubicBezTo>
                  <a:pt x="166" y="101"/>
                  <a:pt x="166" y="100"/>
                  <a:pt x="167" y="100"/>
                </a:cubicBezTo>
                <a:cubicBezTo>
                  <a:pt x="167" y="100"/>
                  <a:pt x="168" y="100"/>
                  <a:pt x="167" y="100"/>
                </a:cubicBezTo>
                <a:cubicBezTo>
                  <a:pt x="168" y="100"/>
                  <a:pt x="168" y="100"/>
                  <a:pt x="168" y="101"/>
                </a:cubicBezTo>
                <a:cubicBezTo>
                  <a:pt x="168" y="100"/>
                  <a:pt x="168" y="101"/>
                  <a:pt x="167" y="101"/>
                </a:cubicBezTo>
                <a:cubicBezTo>
                  <a:pt x="167" y="101"/>
                  <a:pt x="166" y="101"/>
                  <a:pt x="166" y="101"/>
                </a:cubicBezTo>
                <a:cubicBezTo>
                  <a:pt x="166" y="101"/>
                  <a:pt x="166" y="101"/>
                  <a:pt x="166" y="101"/>
                </a:cubicBezTo>
                <a:cubicBezTo>
                  <a:pt x="166" y="102"/>
                  <a:pt x="168" y="102"/>
                  <a:pt x="168" y="102"/>
                </a:cubicBezTo>
                <a:cubicBezTo>
                  <a:pt x="168" y="101"/>
                  <a:pt x="169" y="101"/>
                  <a:pt x="169" y="101"/>
                </a:cubicBezTo>
                <a:cubicBezTo>
                  <a:pt x="169" y="101"/>
                  <a:pt x="170" y="101"/>
                  <a:pt x="170" y="101"/>
                </a:cubicBezTo>
                <a:cubicBezTo>
                  <a:pt x="170" y="100"/>
                  <a:pt x="169" y="100"/>
                  <a:pt x="169" y="100"/>
                </a:cubicBezTo>
                <a:cubicBezTo>
                  <a:pt x="169" y="100"/>
                  <a:pt x="170" y="100"/>
                  <a:pt x="170" y="99"/>
                </a:cubicBezTo>
                <a:cubicBezTo>
                  <a:pt x="169" y="99"/>
                  <a:pt x="169" y="99"/>
                  <a:pt x="169" y="99"/>
                </a:cubicBezTo>
                <a:cubicBezTo>
                  <a:pt x="169" y="99"/>
                  <a:pt x="169" y="99"/>
                  <a:pt x="169" y="99"/>
                </a:cubicBezTo>
                <a:cubicBezTo>
                  <a:pt x="169" y="98"/>
                  <a:pt x="168" y="99"/>
                  <a:pt x="168" y="98"/>
                </a:cubicBezTo>
                <a:cubicBezTo>
                  <a:pt x="169" y="98"/>
                  <a:pt x="168" y="98"/>
                  <a:pt x="168" y="98"/>
                </a:cubicBezTo>
                <a:cubicBezTo>
                  <a:pt x="169" y="98"/>
                  <a:pt x="167" y="97"/>
                  <a:pt x="167" y="98"/>
                </a:cubicBezTo>
                <a:cubicBezTo>
                  <a:pt x="167" y="99"/>
                  <a:pt x="168" y="99"/>
                  <a:pt x="168" y="100"/>
                </a:cubicBezTo>
                <a:cubicBezTo>
                  <a:pt x="168" y="99"/>
                  <a:pt x="167" y="99"/>
                  <a:pt x="167" y="100"/>
                </a:cubicBezTo>
                <a:cubicBezTo>
                  <a:pt x="167" y="99"/>
                  <a:pt x="167" y="99"/>
                  <a:pt x="166" y="99"/>
                </a:cubicBezTo>
                <a:cubicBezTo>
                  <a:pt x="167" y="99"/>
                  <a:pt x="166" y="101"/>
                  <a:pt x="166" y="100"/>
                </a:cubicBezTo>
                <a:cubicBezTo>
                  <a:pt x="166" y="100"/>
                  <a:pt x="166" y="100"/>
                  <a:pt x="165" y="100"/>
                </a:cubicBezTo>
                <a:cubicBezTo>
                  <a:pt x="165" y="100"/>
                  <a:pt x="165" y="100"/>
                  <a:pt x="165" y="100"/>
                </a:cubicBezTo>
                <a:cubicBezTo>
                  <a:pt x="165" y="99"/>
                  <a:pt x="164" y="100"/>
                  <a:pt x="164" y="100"/>
                </a:cubicBezTo>
                <a:cubicBezTo>
                  <a:pt x="164" y="100"/>
                  <a:pt x="164" y="99"/>
                  <a:pt x="163" y="100"/>
                </a:cubicBezTo>
                <a:cubicBezTo>
                  <a:pt x="163" y="100"/>
                  <a:pt x="164" y="100"/>
                  <a:pt x="164" y="100"/>
                </a:cubicBezTo>
                <a:cubicBezTo>
                  <a:pt x="164" y="100"/>
                  <a:pt x="163" y="100"/>
                  <a:pt x="163" y="101"/>
                </a:cubicBezTo>
                <a:cubicBezTo>
                  <a:pt x="163" y="101"/>
                  <a:pt x="163" y="101"/>
                  <a:pt x="163" y="101"/>
                </a:cubicBezTo>
                <a:close/>
                <a:moveTo>
                  <a:pt x="95" y="188"/>
                </a:moveTo>
                <a:cubicBezTo>
                  <a:pt x="94" y="188"/>
                  <a:pt x="94" y="190"/>
                  <a:pt x="94" y="189"/>
                </a:cubicBezTo>
                <a:cubicBezTo>
                  <a:pt x="95" y="189"/>
                  <a:pt x="95" y="189"/>
                  <a:pt x="95" y="188"/>
                </a:cubicBezTo>
                <a:cubicBezTo>
                  <a:pt x="95" y="188"/>
                  <a:pt x="94" y="189"/>
                  <a:pt x="94" y="188"/>
                </a:cubicBezTo>
                <a:cubicBezTo>
                  <a:pt x="95" y="188"/>
                  <a:pt x="95" y="188"/>
                  <a:pt x="95" y="188"/>
                </a:cubicBezTo>
                <a:cubicBezTo>
                  <a:pt x="95" y="188"/>
                  <a:pt x="96" y="188"/>
                  <a:pt x="95" y="188"/>
                </a:cubicBezTo>
                <a:cubicBezTo>
                  <a:pt x="96" y="188"/>
                  <a:pt x="95" y="187"/>
                  <a:pt x="95" y="187"/>
                </a:cubicBezTo>
                <a:cubicBezTo>
                  <a:pt x="95" y="187"/>
                  <a:pt x="94" y="187"/>
                  <a:pt x="94" y="187"/>
                </a:cubicBezTo>
                <a:cubicBezTo>
                  <a:pt x="94" y="187"/>
                  <a:pt x="94" y="187"/>
                  <a:pt x="94" y="187"/>
                </a:cubicBezTo>
                <a:cubicBezTo>
                  <a:pt x="94" y="187"/>
                  <a:pt x="94" y="187"/>
                  <a:pt x="94" y="188"/>
                </a:cubicBezTo>
                <a:cubicBezTo>
                  <a:pt x="94" y="188"/>
                  <a:pt x="94" y="188"/>
                  <a:pt x="94" y="187"/>
                </a:cubicBezTo>
                <a:cubicBezTo>
                  <a:pt x="94" y="188"/>
                  <a:pt x="94" y="188"/>
                  <a:pt x="95" y="188"/>
                </a:cubicBezTo>
                <a:close/>
                <a:moveTo>
                  <a:pt x="94" y="191"/>
                </a:moveTo>
                <a:cubicBezTo>
                  <a:pt x="94" y="191"/>
                  <a:pt x="94" y="191"/>
                  <a:pt x="94" y="192"/>
                </a:cubicBezTo>
                <a:cubicBezTo>
                  <a:pt x="94" y="192"/>
                  <a:pt x="94" y="192"/>
                  <a:pt x="94" y="192"/>
                </a:cubicBezTo>
                <a:cubicBezTo>
                  <a:pt x="94" y="192"/>
                  <a:pt x="94" y="192"/>
                  <a:pt x="95" y="192"/>
                </a:cubicBezTo>
                <a:cubicBezTo>
                  <a:pt x="94" y="192"/>
                  <a:pt x="94" y="194"/>
                  <a:pt x="95" y="194"/>
                </a:cubicBezTo>
                <a:cubicBezTo>
                  <a:pt x="95" y="194"/>
                  <a:pt x="95" y="193"/>
                  <a:pt x="95" y="192"/>
                </a:cubicBezTo>
                <a:cubicBezTo>
                  <a:pt x="95" y="192"/>
                  <a:pt x="95" y="191"/>
                  <a:pt x="94" y="191"/>
                </a:cubicBezTo>
                <a:close/>
                <a:moveTo>
                  <a:pt x="173" y="97"/>
                </a:moveTo>
                <a:cubicBezTo>
                  <a:pt x="174" y="97"/>
                  <a:pt x="174" y="97"/>
                  <a:pt x="174" y="97"/>
                </a:cubicBezTo>
                <a:cubicBezTo>
                  <a:pt x="175" y="96"/>
                  <a:pt x="175" y="96"/>
                  <a:pt x="175" y="95"/>
                </a:cubicBezTo>
                <a:cubicBezTo>
                  <a:pt x="175" y="95"/>
                  <a:pt x="174" y="95"/>
                  <a:pt x="174" y="95"/>
                </a:cubicBezTo>
                <a:cubicBezTo>
                  <a:pt x="174" y="95"/>
                  <a:pt x="174" y="95"/>
                  <a:pt x="173" y="96"/>
                </a:cubicBezTo>
                <a:cubicBezTo>
                  <a:pt x="173" y="96"/>
                  <a:pt x="173" y="96"/>
                  <a:pt x="172" y="97"/>
                </a:cubicBezTo>
                <a:cubicBezTo>
                  <a:pt x="172" y="97"/>
                  <a:pt x="171" y="97"/>
                  <a:pt x="171" y="97"/>
                </a:cubicBezTo>
                <a:cubicBezTo>
                  <a:pt x="171" y="97"/>
                  <a:pt x="170" y="98"/>
                  <a:pt x="170" y="98"/>
                </a:cubicBezTo>
                <a:cubicBezTo>
                  <a:pt x="170" y="99"/>
                  <a:pt x="170" y="99"/>
                  <a:pt x="171" y="99"/>
                </a:cubicBezTo>
                <a:cubicBezTo>
                  <a:pt x="171" y="99"/>
                  <a:pt x="172" y="98"/>
                  <a:pt x="171" y="98"/>
                </a:cubicBezTo>
                <a:cubicBezTo>
                  <a:pt x="171" y="98"/>
                  <a:pt x="172" y="98"/>
                  <a:pt x="172" y="98"/>
                </a:cubicBezTo>
                <a:cubicBezTo>
                  <a:pt x="173" y="98"/>
                  <a:pt x="173" y="98"/>
                  <a:pt x="173" y="97"/>
                </a:cubicBezTo>
                <a:close/>
                <a:moveTo>
                  <a:pt x="176" y="102"/>
                </a:moveTo>
                <a:cubicBezTo>
                  <a:pt x="177" y="102"/>
                  <a:pt x="177" y="102"/>
                  <a:pt x="177" y="102"/>
                </a:cubicBezTo>
                <a:cubicBezTo>
                  <a:pt x="178" y="102"/>
                  <a:pt x="178" y="101"/>
                  <a:pt x="179" y="101"/>
                </a:cubicBezTo>
                <a:cubicBezTo>
                  <a:pt x="179" y="101"/>
                  <a:pt x="178" y="101"/>
                  <a:pt x="178" y="101"/>
                </a:cubicBezTo>
                <a:cubicBezTo>
                  <a:pt x="178" y="101"/>
                  <a:pt x="178" y="101"/>
                  <a:pt x="178" y="100"/>
                </a:cubicBezTo>
                <a:cubicBezTo>
                  <a:pt x="178" y="100"/>
                  <a:pt x="178" y="100"/>
                  <a:pt x="178" y="100"/>
                </a:cubicBezTo>
                <a:cubicBezTo>
                  <a:pt x="178" y="100"/>
                  <a:pt x="178" y="100"/>
                  <a:pt x="178" y="100"/>
                </a:cubicBezTo>
                <a:cubicBezTo>
                  <a:pt x="178" y="100"/>
                  <a:pt x="178" y="100"/>
                  <a:pt x="178" y="100"/>
                </a:cubicBezTo>
                <a:cubicBezTo>
                  <a:pt x="178" y="100"/>
                  <a:pt x="178" y="99"/>
                  <a:pt x="178" y="99"/>
                </a:cubicBezTo>
                <a:cubicBezTo>
                  <a:pt x="178" y="99"/>
                  <a:pt x="178" y="100"/>
                  <a:pt x="178" y="99"/>
                </a:cubicBezTo>
                <a:cubicBezTo>
                  <a:pt x="177" y="99"/>
                  <a:pt x="178" y="99"/>
                  <a:pt x="177" y="99"/>
                </a:cubicBezTo>
                <a:cubicBezTo>
                  <a:pt x="177" y="99"/>
                  <a:pt x="176" y="99"/>
                  <a:pt x="176" y="99"/>
                </a:cubicBezTo>
                <a:cubicBezTo>
                  <a:pt x="176" y="99"/>
                  <a:pt x="176" y="99"/>
                  <a:pt x="177" y="99"/>
                </a:cubicBezTo>
                <a:cubicBezTo>
                  <a:pt x="176" y="99"/>
                  <a:pt x="175" y="99"/>
                  <a:pt x="175" y="100"/>
                </a:cubicBezTo>
                <a:cubicBezTo>
                  <a:pt x="175" y="100"/>
                  <a:pt x="176" y="100"/>
                  <a:pt x="176" y="100"/>
                </a:cubicBezTo>
                <a:cubicBezTo>
                  <a:pt x="175" y="100"/>
                  <a:pt x="175" y="100"/>
                  <a:pt x="175" y="100"/>
                </a:cubicBezTo>
                <a:cubicBezTo>
                  <a:pt x="174" y="101"/>
                  <a:pt x="175" y="101"/>
                  <a:pt x="175" y="101"/>
                </a:cubicBezTo>
                <a:cubicBezTo>
                  <a:pt x="175" y="101"/>
                  <a:pt x="173" y="101"/>
                  <a:pt x="173" y="101"/>
                </a:cubicBezTo>
                <a:cubicBezTo>
                  <a:pt x="173" y="102"/>
                  <a:pt x="173" y="102"/>
                  <a:pt x="172" y="102"/>
                </a:cubicBezTo>
                <a:cubicBezTo>
                  <a:pt x="173" y="102"/>
                  <a:pt x="172" y="101"/>
                  <a:pt x="173" y="101"/>
                </a:cubicBezTo>
                <a:cubicBezTo>
                  <a:pt x="173" y="101"/>
                  <a:pt x="174" y="101"/>
                  <a:pt x="174" y="100"/>
                </a:cubicBezTo>
                <a:cubicBezTo>
                  <a:pt x="175" y="99"/>
                  <a:pt x="173" y="100"/>
                  <a:pt x="173" y="100"/>
                </a:cubicBezTo>
                <a:cubicBezTo>
                  <a:pt x="173" y="100"/>
                  <a:pt x="174" y="98"/>
                  <a:pt x="173" y="98"/>
                </a:cubicBezTo>
                <a:cubicBezTo>
                  <a:pt x="173" y="98"/>
                  <a:pt x="171" y="98"/>
                  <a:pt x="172" y="99"/>
                </a:cubicBezTo>
                <a:cubicBezTo>
                  <a:pt x="171" y="99"/>
                  <a:pt x="171" y="99"/>
                  <a:pt x="171" y="99"/>
                </a:cubicBezTo>
                <a:cubicBezTo>
                  <a:pt x="171" y="99"/>
                  <a:pt x="172" y="99"/>
                  <a:pt x="172" y="100"/>
                </a:cubicBezTo>
                <a:cubicBezTo>
                  <a:pt x="172" y="100"/>
                  <a:pt x="170" y="99"/>
                  <a:pt x="170" y="100"/>
                </a:cubicBezTo>
                <a:cubicBezTo>
                  <a:pt x="170" y="100"/>
                  <a:pt x="171" y="100"/>
                  <a:pt x="171" y="100"/>
                </a:cubicBezTo>
                <a:cubicBezTo>
                  <a:pt x="172" y="100"/>
                  <a:pt x="172" y="100"/>
                  <a:pt x="172" y="101"/>
                </a:cubicBezTo>
                <a:cubicBezTo>
                  <a:pt x="172" y="101"/>
                  <a:pt x="171" y="100"/>
                  <a:pt x="170" y="100"/>
                </a:cubicBezTo>
                <a:cubicBezTo>
                  <a:pt x="170" y="101"/>
                  <a:pt x="171" y="101"/>
                  <a:pt x="171" y="101"/>
                </a:cubicBezTo>
                <a:cubicBezTo>
                  <a:pt x="171" y="101"/>
                  <a:pt x="170" y="101"/>
                  <a:pt x="170" y="101"/>
                </a:cubicBezTo>
                <a:cubicBezTo>
                  <a:pt x="170" y="101"/>
                  <a:pt x="169" y="101"/>
                  <a:pt x="170" y="102"/>
                </a:cubicBezTo>
                <a:cubicBezTo>
                  <a:pt x="169" y="102"/>
                  <a:pt x="168" y="102"/>
                  <a:pt x="169" y="102"/>
                </a:cubicBezTo>
                <a:cubicBezTo>
                  <a:pt x="169" y="102"/>
                  <a:pt x="170" y="102"/>
                  <a:pt x="170" y="102"/>
                </a:cubicBezTo>
                <a:cubicBezTo>
                  <a:pt x="170" y="103"/>
                  <a:pt x="169" y="102"/>
                  <a:pt x="169" y="103"/>
                </a:cubicBezTo>
                <a:cubicBezTo>
                  <a:pt x="169" y="103"/>
                  <a:pt x="170" y="103"/>
                  <a:pt x="170" y="103"/>
                </a:cubicBezTo>
                <a:cubicBezTo>
                  <a:pt x="169" y="103"/>
                  <a:pt x="168" y="103"/>
                  <a:pt x="168" y="104"/>
                </a:cubicBezTo>
                <a:cubicBezTo>
                  <a:pt x="168" y="104"/>
                  <a:pt x="167" y="105"/>
                  <a:pt x="167" y="105"/>
                </a:cubicBezTo>
                <a:cubicBezTo>
                  <a:pt x="168" y="105"/>
                  <a:pt x="170" y="104"/>
                  <a:pt x="169" y="104"/>
                </a:cubicBezTo>
                <a:cubicBezTo>
                  <a:pt x="169" y="104"/>
                  <a:pt x="171" y="103"/>
                  <a:pt x="171" y="102"/>
                </a:cubicBezTo>
                <a:cubicBezTo>
                  <a:pt x="172" y="103"/>
                  <a:pt x="170" y="104"/>
                  <a:pt x="170" y="104"/>
                </a:cubicBezTo>
                <a:cubicBezTo>
                  <a:pt x="170" y="104"/>
                  <a:pt x="171" y="104"/>
                  <a:pt x="171" y="104"/>
                </a:cubicBezTo>
                <a:cubicBezTo>
                  <a:pt x="172" y="104"/>
                  <a:pt x="172" y="104"/>
                  <a:pt x="173" y="104"/>
                </a:cubicBezTo>
                <a:cubicBezTo>
                  <a:pt x="172" y="104"/>
                  <a:pt x="173" y="103"/>
                  <a:pt x="173" y="103"/>
                </a:cubicBezTo>
                <a:cubicBezTo>
                  <a:pt x="174" y="103"/>
                  <a:pt x="173" y="103"/>
                  <a:pt x="173" y="103"/>
                </a:cubicBezTo>
                <a:cubicBezTo>
                  <a:pt x="174" y="103"/>
                  <a:pt x="173" y="103"/>
                  <a:pt x="173" y="104"/>
                </a:cubicBezTo>
                <a:cubicBezTo>
                  <a:pt x="174" y="104"/>
                  <a:pt x="176" y="103"/>
                  <a:pt x="175" y="102"/>
                </a:cubicBezTo>
                <a:cubicBezTo>
                  <a:pt x="175" y="102"/>
                  <a:pt x="176" y="102"/>
                  <a:pt x="176" y="102"/>
                </a:cubicBezTo>
                <a:close/>
                <a:moveTo>
                  <a:pt x="121" y="149"/>
                </a:moveTo>
                <a:cubicBezTo>
                  <a:pt x="121" y="149"/>
                  <a:pt x="121" y="149"/>
                  <a:pt x="122" y="149"/>
                </a:cubicBezTo>
                <a:cubicBezTo>
                  <a:pt x="122" y="149"/>
                  <a:pt x="123" y="149"/>
                  <a:pt x="123" y="148"/>
                </a:cubicBezTo>
                <a:cubicBezTo>
                  <a:pt x="123" y="147"/>
                  <a:pt x="122" y="147"/>
                  <a:pt x="122" y="148"/>
                </a:cubicBezTo>
                <a:cubicBezTo>
                  <a:pt x="122" y="148"/>
                  <a:pt x="122" y="148"/>
                  <a:pt x="123" y="148"/>
                </a:cubicBezTo>
                <a:cubicBezTo>
                  <a:pt x="122" y="148"/>
                  <a:pt x="122" y="148"/>
                  <a:pt x="121" y="148"/>
                </a:cubicBezTo>
                <a:cubicBezTo>
                  <a:pt x="121" y="148"/>
                  <a:pt x="121" y="148"/>
                  <a:pt x="121" y="148"/>
                </a:cubicBezTo>
                <a:cubicBezTo>
                  <a:pt x="120" y="148"/>
                  <a:pt x="119" y="148"/>
                  <a:pt x="119" y="149"/>
                </a:cubicBezTo>
                <a:cubicBezTo>
                  <a:pt x="119" y="149"/>
                  <a:pt x="120" y="149"/>
                  <a:pt x="121" y="149"/>
                </a:cubicBezTo>
                <a:close/>
                <a:moveTo>
                  <a:pt x="142" y="141"/>
                </a:moveTo>
                <a:cubicBezTo>
                  <a:pt x="142" y="141"/>
                  <a:pt x="141" y="141"/>
                  <a:pt x="141" y="141"/>
                </a:cubicBezTo>
                <a:cubicBezTo>
                  <a:pt x="141" y="141"/>
                  <a:pt x="142" y="141"/>
                  <a:pt x="141" y="141"/>
                </a:cubicBezTo>
                <a:cubicBezTo>
                  <a:pt x="141" y="141"/>
                  <a:pt x="141" y="141"/>
                  <a:pt x="142" y="141"/>
                </a:cubicBezTo>
                <a:close/>
                <a:moveTo>
                  <a:pt x="278" y="93"/>
                </a:moveTo>
                <a:cubicBezTo>
                  <a:pt x="277" y="93"/>
                  <a:pt x="276" y="93"/>
                  <a:pt x="275" y="93"/>
                </a:cubicBezTo>
                <a:cubicBezTo>
                  <a:pt x="274" y="93"/>
                  <a:pt x="274" y="92"/>
                  <a:pt x="273" y="92"/>
                </a:cubicBezTo>
                <a:cubicBezTo>
                  <a:pt x="273" y="92"/>
                  <a:pt x="274" y="92"/>
                  <a:pt x="273" y="93"/>
                </a:cubicBezTo>
                <a:cubicBezTo>
                  <a:pt x="273" y="94"/>
                  <a:pt x="273" y="94"/>
                  <a:pt x="272" y="94"/>
                </a:cubicBezTo>
                <a:cubicBezTo>
                  <a:pt x="271" y="95"/>
                  <a:pt x="268" y="95"/>
                  <a:pt x="268" y="95"/>
                </a:cubicBezTo>
                <a:cubicBezTo>
                  <a:pt x="268" y="97"/>
                  <a:pt x="266" y="98"/>
                  <a:pt x="266" y="98"/>
                </a:cubicBezTo>
                <a:cubicBezTo>
                  <a:pt x="264" y="97"/>
                  <a:pt x="264" y="96"/>
                  <a:pt x="266" y="95"/>
                </a:cubicBezTo>
                <a:cubicBezTo>
                  <a:pt x="267" y="94"/>
                  <a:pt x="268" y="94"/>
                  <a:pt x="266" y="93"/>
                </a:cubicBezTo>
                <a:cubicBezTo>
                  <a:pt x="265" y="91"/>
                  <a:pt x="264" y="91"/>
                  <a:pt x="262" y="91"/>
                </a:cubicBezTo>
                <a:cubicBezTo>
                  <a:pt x="262" y="91"/>
                  <a:pt x="262" y="91"/>
                  <a:pt x="261" y="91"/>
                </a:cubicBezTo>
                <a:cubicBezTo>
                  <a:pt x="261" y="90"/>
                  <a:pt x="260" y="91"/>
                  <a:pt x="260" y="90"/>
                </a:cubicBezTo>
                <a:cubicBezTo>
                  <a:pt x="259" y="89"/>
                  <a:pt x="258" y="89"/>
                  <a:pt x="258" y="89"/>
                </a:cubicBezTo>
                <a:cubicBezTo>
                  <a:pt x="257" y="88"/>
                  <a:pt x="256" y="88"/>
                  <a:pt x="255" y="88"/>
                </a:cubicBezTo>
                <a:cubicBezTo>
                  <a:pt x="254" y="88"/>
                  <a:pt x="253" y="89"/>
                  <a:pt x="253" y="89"/>
                </a:cubicBezTo>
                <a:cubicBezTo>
                  <a:pt x="253" y="89"/>
                  <a:pt x="250" y="89"/>
                  <a:pt x="250" y="89"/>
                </a:cubicBezTo>
                <a:cubicBezTo>
                  <a:pt x="249" y="89"/>
                  <a:pt x="247" y="89"/>
                  <a:pt x="246" y="90"/>
                </a:cubicBezTo>
                <a:cubicBezTo>
                  <a:pt x="246" y="90"/>
                  <a:pt x="245" y="91"/>
                  <a:pt x="245" y="91"/>
                </a:cubicBezTo>
                <a:cubicBezTo>
                  <a:pt x="245" y="91"/>
                  <a:pt x="243" y="91"/>
                  <a:pt x="243" y="92"/>
                </a:cubicBezTo>
                <a:cubicBezTo>
                  <a:pt x="244" y="92"/>
                  <a:pt x="244" y="93"/>
                  <a:pt x="243" y="93"/>
                </a:cubicBezTo>
                <a:cubicBezTo>
                  <a:pt x="243" y="93"/>
                  <a:pt x="243" y="94"/>
                  <a:pt x="243" y="95"/>
                </a:cubicBezTo>
                <a:cubicBezTo>
                  <a:pt x="242" y="95"/>
                  <a:pt x="243" y="96"/>
                  <a:pt x="243" y="97"/>
                </a:cubicBezTo>
                <a:cubicBezTo>
                  <a:pt x="243" y="97"/>
                  <a:pt x="243" y="98"/>
                  <a:pt x="243" y="98"/>
                </a:cubicBezTo>
                <a:cubicBezTo>
                  <a:pt x="243" y="98"/>
                  <a:pt x="242" y="99"/>
                  <a:pt x="242" y="99"/>
                </a:cubicBezTo>
                <a:cubicBezTo>
                  <a:pt x="241" y="99"/>
                  <a:pt x="240" y="99"/>
                  <a:pt x="240" y="99"/>
                </a:cubicBezTo>
                <a:cubicBezTo>
                  <a:pt x="238" y="100"/>
                  <a:pt x="239" y="101"/>
                  <a:pt x="238" y="101"/>
                </a:cubicBezTo>
                <a:cubicBezTo>
                  <a:pt x="237" y="102"/>
                  <a:pt x="237" y="102"/>
                  <a:pt x="237" y="102"/>
                </a:cubicBezTo>
                <a:cubicBezTo>
                  <a:pt x="236" y="101"/>
                  <a:pt x="235" y="101"/>
                  <a:pt x="234" y="101"/>
                </a:cubicBezTo>
                <a:cubicBezTo>
                  <a:pt x="233" y="100"/>
                  <a:pt x="231" y="100"/>
                  <a:pt x="230" y="99"/>
                </a:cubicBezTo>
                <a:cubicBezTo>
                  <a:pt x="229" y="99"/>
                  <a:pt x="229" y="100"/>
                  <a:pt x="229" y="100"/>
                </a:cubicBezTo>
                <a:cubicBezTo>
                  <a:pt x="228" y="101"/>
                  <a:pt x="227" y="101"/>
                  <a:pt x="226" y="101"/>
                </a:cubicBezTo>
                <a:cubicBezTo>
                  <a:pt x="224" y="101"/>
                  <a:pt x="222" y="101"/>
                  <a:pt x="221" y="100"/>
                </a:cubicBezTo>
                <a:cubicBezTo>
                  <a:pt x="220" y="100"/>
                  <a:pt x="220" y="100"/>
                  <a:pt x="219" y="100"/>
                </a:cubicBezTo>
                <a:cubicBezTo>
                  <a:pt x="218" y="99"/>
                  <a:pt x="218" y="99"/>
                  <a:pt x="217" y="98"/>
                </a:cubicBezTo>
                <a:cubicBezTo>
                  <a:pt x="217" y="98"/>
                  <a:pt x="215" y="97"/>
                  <a:pt x="214" y="96"/>
                </a:cubicBezTo>
                <a:cubicBezTo>
                  <a:pt x="212" y="95"/>
                  <a:pt x="211" y="95"/>
                  <a:pt x="210" y="95"/>
                </a:cubicBezTo>
                <a:cubicBezTo>
                  <a:pt x="209" y="96"/>
                  <a:pt x="211" y="97"/>
                  <a:pt x="209" y="97"/>
                </a:cubicBezTo>
                <a:cubicBezTo>
                  <a:pt x="208" y="97"/>
                  <a:pt x="208" y="97"/>
                  <a:pt x="207" y="97"/>
                </a:cubicBezTo>
                <a:cubicBezTo>
                  <a:pt x="207" y="97"/>
                  <a:pt x="207" y="97"/>
                  <a:pt x="207" y="97"/>
                </a:cubicBezTo>
                <a:cubicBezTo>
                  <a:pt x="206" y="98"/>
                  <a:pt x="206" y="97"/>
                  <a:pt x="205" y="97"/>
                </a:cubicBezTo>
                <a:cubicBezTo>
                  <a:pt x="205" y="97"/>
                  <a:pt x="204" y="97"/>
                  <a:pt x="203" y="98"/>
                </a:cubicBezTo>
                <a:cubicBezTo>
                  <a:pt x="204" y="98"/>
                  <a:pt x="205" y="99"/>
                  <a:pt x="205" y="100"/>
                </a:cubicBezTo>
                <a:cubicBezTo>
                  <a:pt x="204" y="101"/>
                  <a:pt x="203" y="102"/>
                  <a:pt x="202" y="102"/>
                </a:cubicBezTo>
                <a:cubicBezTo>
                  <a:pt x="203" y="102"/>
                  <a:pt x="203" y="102"/>
                  <a:pt x="204" y="103"/>
                </a:cubicBezTo>
                <a:cubicBezTo>
                  <a:pt x="204" y="103"/>
                  <a:pt x="203" y="103"/>
                  <a:pt x="203" y="104"/>
                </a:cubicBezTo>
                <a:cubicBezTo>
                  <a:pt x="201" y="104"/>
                  <a:pt x="199" y="103"/>
                  <a:pt x="198" y="103"/>
                </a:cubicBezTo>
                <a:cubicBezTo>
                  <a:pt x="197" y="103"/>
                  <a:pt x="196" y="103"/>
                  <a:pt x="195" y="102"/>
                </a:cubicBezTo>
                <a:cubicBezTo>
                  <a:pt x="194" y="102"/>
                  <a:pt x="193" y="102"/>
                  <a:pt x="192" y="102"/>
                </a:cubicBezTo>
                <a:cubicBezTo>
                  <a:pt x="191" y="102"/>
                  <a:pt x="190" y="102"/>
                  <a:pt x="190" y="102"/>
                </a:cubicBezTo>
                <a:cubicBezTo>
                  <a:pt x="189" y="103"/>
                  <a:pt x="189" y="104"/>
                  <a:pt x="189" y="105"/>
                </a:cubicBezTo>
                <a:cubicBezTo>
                  <a:pt x="190" y="106"/>
                  <a:pt x="189" y="108"/>
                  <a:pt x="187" y="107"/>
                </a:cubicBezTo>
                <a:cubicBezTo>
                  <a:pt x="186" y="107"/>
                  <a:pt x="186" y="107"/>
                  <a:pt x="185" y="106"/>
                </a:cubicBezTo>
                <a:cubicBezTo>
                  <a:pt x="184" y="106"/>
                  <a:pt x="184" y="106"/>
                  <a:pt x="183" y="107"/>
                </a:cubicBezTo>
                <a:cubicBezTo>
                  <a:pt x="182" y="107"/>
                  <a:pt x="180" y="108"/>
                  <a:pt x="180" y="109"/>
                </a:cubicBezTo>
                <a:cubicBezTo>
                  <a:pt x="179" y="110"/>
                  <a:pt x="179" y="112"/>
                  <a:pt x="177" y="112"/>
                </a:cubicBezTo>
                <a:cubicBezTo>
                  <a:pt x="175" y="112"/>
                  <a:pt x="177" y="114"/>
                  <a:pt x="177" y="114"/>
                </a:cubicBezTo>
                <a:cubicBezTo>
                  <a:pt x="178" y="115"/>
                  <a:pt x="178" y="115"/>
                  <a:pt x="178" y="116"/>
                </a:cubicBezTo>
                <a:cubicBezTo>
                  <a:pt x="178" y="116"/>
                  <a:pt x="177" y="117"/>
                  <a:pt x="176" y="117"/>
                </a:cubicBezTo>
                <a:cubicBezTo>
                  <a:pt x="175" y="118"/>
                  <a:pt x="174" y="119"/>
                  <a:pt x="173" y="120"/>
                </a:cubicBezTo>
                <a:cubicBezTo>
                  <a:pt x="172" y="121"/>
                  <a:pt x="172" y="121"/>
                  <a:pt x="171" y="121"/>
                </a:cubicBezTo>
                <a:cubicBezTo>
                  <a:pt x="171" y="122"/>
                  <a:pt x="171" y="122"/>
                  <a:pt x="171" y="123"/>
                </a:cubicBezTo>
                <a:cubicBezTo>
                  <a:pt x="172" y="124"/>
                  <a:pt x="169" y="124"/>
                  <a:pt x="168" y="125"/>
                </a:cubicBezTo>
                <a:cubicBezTo>
                  <a:pt x="167" y="125"/>
                  <a:pt x="166" y="125"/>
                  <a:pt x="165" y="125"/>
                </a:cubicBezTo>
                <a:cubicBezTo>
                  <a:pt x="164" y="125"/>
                  <a:pt x="165" y="126"/>
                  <a:pt x="165" y="126"/>
                </a:cubicBezTo>
                <a:cubicBezTo>
                  <a:pt x="166" y="128"/>
                  <a:pt x="165" y="129"/>
                  <a:pt x="165" y="131"/>
                </a:cubicBezTo>
                <a:cubicBezTo>
                  <a:pt x="165" y="132"/>
                  <a:pt x="165" y="133"/>
                  <a:pt x="164" y="134"/>
                </a:cubicBezTo>
                <a:cubicBezTo>
                  <a:pt x="164" y="134"/>
                  <a:pt x="163" y="135"/>
                  <a:pt x="163" y="136"/>
                </a:cubicBezTo>
                <a:cubicBezTo>
                  <a:pt x="162" y="137"/>
                  <a:pt x="160" y="137"/>
                  <a:pt x="160" y="139"/>
                </a:cubicBezTo>
                <a:cubicBezTo>
                  <a:pt x="159" y="140"/>
                  <a:pt x="160" y="140"/>
                  <a:pt x="161" y="141"/>
                </a:cubicBezTo>
                <a:cubicBezTo>
                  <a:pt x="162" y="141"/>
                  <a:pt x="163" y="142"/>
                  <a:pt x="162" y="143"/>
                </a:cubicBezTo>
                <a:cubicBezTo>
                  <a:pt x="162" y="145"/>
                  <a:pt x="160" y="145"/>
                  <a:pt x="159" y="145"/>
                </a:cubicBezTo>
                <a:cubicBezTo>
                  <a:pt x="157" y="145"/>
                  <a:pt x="156" y="145"/>
                  <a:pt x="154" y="145"/>
                </a:cubicBezTo>
                <a:cubicBezTo>
                  <a:pt x="153" y="145"/>
                  <a:pt x="152" y="145"/>
                  <a:pt x="152" y="146"/>
                </a:cubicBezTo>
                <a:cubicBezTo>
                  <a:pt x="151" y="146"/>
                  <a:pt x="150" y="147"/>
                  <a:pt x="150" y="148"/>
                </a:cubicBezTo>
                <a:cubicBezTo>
                  <a:pt x="149" y="148"/>
                  <a:pt x="149" y="149"/>
                  <a:pt x="148" y="149"/>
                </a:cubicBezTo>
                <a:cubicBezTo>
                  <a:pt x="148" y="150"/>
                  <a:pt x="148" y="150"/>
                  <a:pt x="148" y="151"/>
                </a:cubicBezTo>
                <a:cubicBezTo>
                  <a:pt x="148" y="151"/>
                  <a:pt x="147" y="152"/>
                  <a:pt x="147" y="152"/>
                </a:cubicBezTo>
                <a:cubicBezTo>
                  <a:pt x="147" y="153"/>
                  <a:pt x="147" y="153"/>
                  <a:pt x="147" y="154"/>
                </a:cubicBezTo>
                <a:cubicBezTo>
                  <a:pt x="148" y="154"/>
                  <a:pt x="148" y="155"/>
                  <a:pt x="148" y="155"/>
                </a:cubicBezTo>
                <a:cubicBezTo>
                  <a:pt x="148" y="156"/>
                  <a:pt x="148" y="156"/>
                  <a:pt x="148" y="157"/>
                </a:cubicBezTo>
                <a:cubicBezTo>
                  <a:pt x="148" y="158"/>
                  <a:pt x="148" y="159"/>
                  <a:pt x="148" y="159"/>
                </a:cubicBezTo>
                <a:cubicBezTo>
                  <a:pt x="148" y="160"/>
                  <a:pt x="148" y="161"/>
                  <a:pt x="149" y="161"/>
                </a:cubicBezTo>
                <a:cubicBezTo>
                  <a:pt x="149" y="162"/>
                  <a:pt x="149" y="162"/>
                  <a:pt x="149" y="163"/>
                </a:cubicBezTo>
                <a:cubicBezTo>
                  <a:pt x="149" y="164"/>
                  <a:pt x="149" y="165"/>
                  <a:pt x="149" y="166"/>
                </a:cubicBezTo>
                <a:cubicBezTo>
                  <a:pt x="148" y="167"/>
                  <a:pt x="149" y="169"/>
                  <a:pt x="150" y="169"/>
                </a:cubicBezTo>
                <a:cubicBezTo>
                  <a:pt x="151" y="170"/>
                  <a:pt x="151" y="170"/>
                  <a:pt x="152" y="170"/>
                </a:cubicBezTo>
                <a:cubicBezTo>
                  <a:pt x="153" y="171"/>
                  <a:pt x="153" y="171"/>
                  <a:pt x="153" y="172"/>
                </a:cubicBezTo>
                <a:cubicBezTo>
                  <a:pt x="153" y="173"/>
                  <a:pt x="153" y="173"/>
                  <a:pt x="153" y="174"/>
                </a:cubicBezTo>
                <a:cubicBezTo>
                  <a:pt x="152" y="175"/>
                  <a:pt x="152" y="175"/>
                  <a:pt x="151" y="175"/>
                </a:cubicBezTo>
                <a:cubicBezTo>
                  <a:pt x="151" y="175"/>
                  <a:pt x="149" y="174"/>
                  <a:pt x="149" y="176"/>
                </a:cubicBezTo>
                <a:cubicBezTo>
                  <a:pt x="150" y="177"/>
                  <a:pt x="150" y="178"/>
                  <a:pt x="151" y="179"/>
                </a:cubicBezTo>
                <a:cubicBezTo>
                  <a:pt x="152" y="180"/>
                  <a:pt x="152" y="181"/>
                  <a:pt x="151" y="182"/>
                </a:cubicBezTo>
                <a:cubicBezTo>
                  <a:pt x="151" y="182"/>
                  <a:pt x="151" y="183"/>
                  <a:pt x="151" y="184"/>
                </a:cubicBezTo>
                <a:cubicBezTo>
                  <a:pt x="151" y="184"/>
                  <a:pt x="150" y="185"/>
                  <a:pt x="150" y="185"/>
                </a:cubicBezTo>
                <a:cubicBezTo>
                  <a:pt x="149" y="186"/>
                  <a:pt x="149" y="186"/>
                  <a:pt x="148" y="186"/>
                </a:cubicBezTo>
                <a:cubicBezTo>
                  <a:pt x="147" y="186"/>
                  <a:pt x="147" y="186"/>
                  <a:pt x="146" y="186"/>
                </a:cubicBezTo>
                <a:cubicBezTo>
                  <a:pt x="146" y="186"/>
                  <a:pt x="146" y="187"/>
                  <a:pt x="146" y="187"/>
                </a:cubicBezTo>
                <a:cubicBezTo>
                  <a:pt x="147" y="187"/>
                  <a:pt x="146" y="188"/>
                  <a:pt x="146" y="188"/>
                </a:cubicBezTo>
                <a:cubicBezTo>
                  <a:pt x="146" y="189"/>
                  <a:pt x="145" y="189"/>
                  <a:pt x="145" y="189"/>
                </a:cubicBezTo>
                <a:cubicBezTo>
                  <a:pt x="144" y="190"/>
                  <a:pt x="145" y="190"/>
                  <a:pt x="145" y="191"/>
                </a:cubicBezTo>
                <a:cubicBezTo>
                  <a:pt x="145" y="191"/>
                  <a:pt x="146" y="192"/>
                  <a:pt x="146" y="192"/>
                </a:cubicBezTo>
                <a:cubicBezTo>
                  <a:pt x="146" y="193"/>
                  <a:pt x="145" y="193"/>
                  <a:pt x="145" y="194"/>
                </a:cubicBezTo>
                <a:cubicBezTo>
                  <a:pt x="145" y="195"/>
                  <a:pt x="145" y="196"/>
                  <a:pt x="145" y="196"/>
                </a:cubicBezTo>
                <a:cubicBezTo>
                  <a:pt x="144" y="196"/>
                  <a:pt x="144" y="197"/>
                  <a:pt x="143" y="196"/>
                </a:cubicBezTo>
                <a:cubicBezTo>
                  <a:pt x="143" y="196"/>
                  <a:pt x="143" y="195"/>
                  <a:pt x="143" y="195"/>
                </a:cubicBezTo>
                <a:cubicBezTo>
                  <a:pt x="142" y="194"/>
                  <a:pt x="142" y="194"/>
                  <a:pt x="141" y="194"/>
                </a:cubicBezTo>
                <a:cubicBezTo>
                  <a:pt x="142" y="194"/>
                  <a:pt x="141" y="194"/>
                  <a:pt x="141" y="194"/>
                </a:cubicBezTo>
                <a:cubicBezTo>
                  <a:pt x="141" y="194"/>
                  <a:pt x="141" y="194"/>
                  <a:pt x="141" y="194"/>
                </a:cubicBezTo>
                <a:cubicBezTo>
                  <a:pt x="141" y="194"/>
                  <a:pt x="141" y="193"/>
                  <a:pt x="141" y="193"/>
                </a:cubicBezTo>
                <a:cubicBezTo>
                  <a:pt x="141" y="193"/>
                  <a:pt x="141" y="193"/>
                  <a:pt x="141" y="193"/>
                </a:cubicBezTo>
                <a:cubicBezTo>
                  <a:pt x="141" y="194"/>
                  <a:pt x="140" y="194"/>
                  <a:pt x="140" y="193"/>
                </a:cubicBezTo>
                <a:cubicBezTo>
                  <a:pt x="141" y="194"/>
                  <a:pt x="140" y="194"/>
                  <a:pt x="140" y="194"/>
                </a:cubicBezTo>
                <a:cubicBezTo>
                  <a:pt x="140" y="193"/>
                  <a:pt x="139" y="193"/>
                  <a:pt x="139" y="193"/>
                </a:cubicBezTo>
                <a:cubicBezTo>
                  <a:pt x="139" y="193"/>
                  <a:pt x="139" y="194"/>
                  <a:pt x="139" y="194"/>
                </a:cubicBezTo>
                <a:cubicBezTo>
                  <a:pt x="139" y="194"/>
                  <a:pt x="139" y="193"/>
                  <a:pt x="139" y="193"/>
                </a:cubicBezTo>
                <a:cubicBezTo>
                  <a:pt x="139" y="193"/>
                  <a:pt x="139" y="193"/>
                  <a:pt x="138" y="193"/>
                </a:cubicBezTo>
                <a:cubicBezTo>
                  <a:pt x="138" y="194"/>
                  <a:pt x="138" y="193"/>
                  <a:pt x="138" y="193"/>
                </a:cubicBezTo>
                <a:cubicBezTo>
                  <a:pt x="137" y="193"/>
                  <a:pt x="137" y="192"/>
                  <a:pt x="138" y="192"/>
                </a:cubicBezTo>
                <a:cubicBezTo>
                  <a:pt x="137" y="192"/>
                  <a:pt x="137" y="192"/>
                  <a:pt x="137" y="191"/>
                </a:cubicBezTo>
                <a:cubicBezTo>
                  <a:pt x="137" y="191"/>
                  <a:pt x="137" y="191"/>
                  <a:pt x="137" y="191"/>
                </a:cubicBezTo>
                <a:cubicBezTo>
                  <a:pt x="137" y="190"/>
                  <a:pt x="137" y="190"/>
                  <a:pt x="137" y="190"/>
                </a:cubicBezTo>
                <a:cubicBezTo>
                  <a:pt x="137" y="189"/>
                  <a:pt x="136" y="188"/>
                  <a:pt x="136" y="187"/>
                </a:cubicBezTo>
                <a:cubicBezTo>
                  <a:pt x="137" y="186"/>
                  <a:pt x="137" y="187"/>
                  <a:pt x="137" y="188"/>
                </a:cubicBezTo>
                <a:cubicBezTo>
                  <a:pt x="137" y="187"/>
                  <a:pt x="138" y="186"/>
                  <a:pt x="137" y="186"/>
                </a:cubicBezTo>
                <a:cubicBezTo>
                  <a:pt x="136" y="186"/>
                  <a:pt x="135" y="186"/>
                  <a:pt x="136" y="187"/>
                </a:cubicBezTo>
                <a:cubicBezTo>
                  <a:pt x="136" y="188"/>
                  <a:pt x="137" y="189"/>
                  <a:pt x="136" y="190"/>
                </a:cubicBezTo>
                <a:cubicBezTo>
                  <a:pt x="136" y="190"/>
                  <a:pt x="135" y="190"/>
                  <a:pt x="135" y="190"/>
                </a:cubicBezTo>
                <a:cubicBezTo>
                  <a:pt x="135" y="190"/>
                  <a:pt x="135" y="189"/>
                  <a:pt x="135" y="189"/>
                </a:cubicBezTo>
                <a:cubicBezTo>
                  <a:pt x="135" y="190"/>
                  <a:pt x="134" y="190"/>
                  <a:pt x="134" y="190"/>
                </a:cubicBezTo>
                <a:cubicBezTo>
                  <a:pt x="134" y="190"/>
                  <a:pt x="135" y="190"/>
                  <a:pt x="135" y="191"/>
                </a:cubicBezTo>
                <a:cubicBezTo>
                  <a:pt x="135" y="191"/>
                  <a:pt x="136" y="192"/>
                  <a:pt x="136" y="192"/>
                </a:cubicBezTo>
                <a:cubicBezTo>
                  <a:pt x="136" y="192"/>
                  <a:pt x="136" y="192"/>
                  <a:pt x="136" y="192"/>
                </a:cubicBezTo>
                <a:cubicBezTo>
                  <a:pt x="135" y="193"/>
                  <a:pt x="135" y="192"/>
                  <a:pt x="135" y="193"/>
                </a:cubicBezTo>
                <a:cubicBezTo>
                  <a:pt x="135" y="193"/>
                  <a:pt x="136" y="194"/>
                  <a:pt x="135" y="194"/>
                </a:cubicBezTo>
                <a:cubicBezTo>
                  <a:pt x="134" y="194"/>
                  <a:pt x="135" y="193"/>
                  <a:pt x="135" y="192"/>
                </a:cubicBezTo>
                <a:cubicBezTo>
                  <a:pt x="135" y="193"/>
                  <a:pt x="134" y="193"/>
                  <a:pt x="134" y="194"/>
                </a:cubicBezTo>
                <a:cubicBezTo>
                  <a:pt x="134" y="194"/>
                  <a:pt x="134" y="194"/>
                  <a:pt x="134" y="194"/>
                </a:cubicBezTo>
                <a:cubicBezTo>
                  <a:pt x="134" y="194"/>
                  <a:pt x="134" y="194"/>
                  <a:pt x="134" y="195"/>
                </a:cubicBezTo>
                <a:cubicBezTo>
                  <a:pt x="134" y="194"/>
                  <a:pt x="134" y="194"/>
                  <a:pt x="134" y="194"/>
                </a:cubicBezTo>
                <a:cubicBezTo>
                  <a:pt x="134" y="194"/>
                  <a:pt x="134" y="195"/>
                  <a:pt x="134" y="195"/>
                </a:cubicBezTo>
                <a:cubicBezTo>
                  <a:pt x="134" y="195"/>
                  <a:pt x="134" y="194"/>
                  <a:pt x="133" y="194"/>
                </a:cubicBezTo>
                <a:cubicBezTo>
                  <a:pt x="133" y="194"/>
                  <a:pt x="134" y="195"/>
                  <a:pt x="133" y="195"/>
                </a:cubicBezTo>
                <a:cubicBezTo>
                  <a:pt x="133" y="195"/>
                  <a:pt x="133" y="195"/>
                  <a:pt x="133" y="195"/>
                </a:cubicBezTo>
                <a:cubicBezTo>
                  <a:pt x="133" y="195"/>
                  <a:pt x="132" y="195"/>
                  <a:pt x="132" y="195"/>
                </a:cubicBezTo>
                <a:cubicBezTo>
                  <a:pt x="132" y="195"/>
                  <a:pt x="132" y="195"/>
                  <a:pt x="132" y="195"/>
                </a:cubicBezTo>
                <a:cubicBezTo>
                  <a:pt x="132" y="196"/>
                  <a:pt x="131" y="196"/>
                  <a:pt x="130" y="196"/>
                </a:cubicBezTo>
                <a:cubicBezTo>
                  <a:pt x="131" y="195"/>
                  <a:pt x="129" y="195"/>
                  <a:pt x="129" y="194"/>
                </a:cubicBezTo>
                <a:cubicBezTo>
                  <a:pt x="129" y="195"/>
                  <a:pt x="129" y="194"/>
                  <a:pt x="128" y="194"/>
                </a:cubicBezTo>
                <a:cubicBezTo>
                  <a:pt x="128" y="194"/>
                  <a:pt x="130" y="195"/>
                  <a:pt x="129" y="195"/>
                </a:cubicBezTo>
                <a:cubicBezTo>
                  <a:pt x="130" y="196"/>
                  <a:pt x="129" y="196"/>
                  <a:pt x="129" y="196"/>
                </a:cubicBezTo>
                <a:cubicBezTo>
                  <a:pt x="129" y="196"/>
                  <a:pt x="128" y="196"/>
                  <a:pt x="128" y="196"/>
                </a:cubicBezTo>
                <a:cubicBezTo>
                  <a:pt x="128" y="196"/>
                  <a:pt x="127" y="196"/>
                  <a:pt x="127" y="196"/>
                </a:cubicBezTo>
                <a:cubicBezTo>
                  <a:pt x="127" y="196"/>
                  <a:pt x="127" y="196"/>
                  <a:pt x="127" y="196"/>
                </a:cubicBezTo>
                <a:cubicBezTo>
                  <a:pt x="127" y="197"/>
                  <a:pt x="126" y="196"/>
                  <a:pt x="126" y="197"/>
                </a:cubicBezTo>
                <a:cubicBezTo>
                  <a:pt x="126" y="197"/>
                  <a:pt x="127" y="197"/>
                  <a:pt x="127" y="197"/>
                </a:cubicBezTo>
                <a:cubicBezTo>
                  <a:pt x="127" y="197"/>
                  <a:pt x="127" y="197"/>
                  <a:pt x="127" y="197"/>
                </a:cubicBezTo>
                <a:cubicBezTo>
                  <a:pt x="128" y="197"/>
                  <a:pt x="127" y="197"/>
                  <a:pt x="127" y="198"/>
                </a:cubicBezTo>
                <a:cubicBezTo>
                  <a:pt x="127" y="198"/>
                  <a:pt x="126" y="198"/>
                  <a:pt x="126" y="198"/>
                </a:cubicBezTo>
                <a:cubicBezTo>
                  <a:pt x="126" y="198"/>
                  <a:pt x="125" y="198"/>
                  <a:pt x="124" y="198"/>
                </a:cubicBezTo>
                <a:cubicBezTo>
                  <a:pt x="125" y="198"/>
                  <a:pt x="125" y="198"/>
                  <a:pt x="126" y="198"/>
                </a:cubicBezTo>
                <a:cubicBezTo>
                  <a:pt x="125" y="198"/>
                  <a:pt x="125" y="198"/>
                  <a:pt x="125" y="198"/>
                </a:cubicBezTo>
                <a:cubicBezTo>
                  <a:pt x="125" y="198"/>
                  <a:pt x="126" y="198"/>
                  <a:pt x="126" y="198"/>
                </a:cubicBezTo>
                <a:cubicBezTo>
                  <a:pt x="126" y="199"/>
                  <a:pt x="124" y="199"/>
                  <a:pt x="123" y="199"/>
                </a:cubicBezTo>
                <a:cubicBezTo>
                  <a:pt x="124" y="200"/>
                  <a:pt x="123" y="200"/>
                  <a:pt x="123" y="200"/>
                </a:cubicBezTo>
                <a:cubicBezTo>
                  <a:pt x="123" y="200"/>
                  <a:pt x="123" y="200"/>
                  <a:pt x="122" y="201"/>
                </a:cubicBezTo>
                <a:cubicBezTo>
                  <a:pt x="122" y="201"/>
                  <a:pt x="122" y="201"/>
                  <a:pt x="122" y="201"/>
                </a:cubicBezTo>
                <a:cubicBezTo>
                  <a:pt x="122" y="201"/>
                  <a:pt x="122" y="201"/>
                  <a:pt x="122" y="201"/>
                </a:cubicBezTo>
                <a:cubicBezTo>
                  <a:pt x="121" y="201"/>
                  <a:pt x="122" y="202"/>
                  <a:pt x="121" y="202"/>
                </a:cubicBezTo>
                <a:cubicBezTo>
                  <a:pt x="121" y="202"/>
                  <a:pt x="121" y="202"/>
                  <a:pt x="120" y="202"/>
                </a:cubicBezTo>
                <a:cubicBezTo>
                  <a:pt x="120" y="202"/>
                  <a:pt x="120" y="203"/>
                  <a:pt x="120" y="203"/>
                </a:cubicBezTo>
                <a:cubicBezTo>
                  <a:pt x="120" y="203"/>
                  <a:pt x="119" y="203"/>
                  <a:pt x="120" y="203"/>
                </a:cubicBezTo>
                <a:cubicBezTo>
                  <a:pt x="119" y="203"/>
                  <a:pt x="119" y="203"/>
                  <a:pt x="118" y="203"/>
                </a:cubicBezTo>
                <a:cubicBezTo>
                  <a:pt x="119" y="203"/>
                  <a:pt x="118" y="204"/>
                  <a:pt x="118" y="204"/>
                </a:cubicBezTo>
                <a:cubicBezTo>
                  <a:pt x="118" y="203"/>
                  <a:pt x="118" y="204"/>
                  <a:pt x="118" y="204"/>
                </a:cubicBezTo>
                <a:cubicBezTo>
                  <a:pt x="118" y="204"/>
                  <a:pt x="117" y="204"/>
                  <a:pt x="117" y="204"/>
                </a:cubicBezTo>
                <a:cubicBezTo>
                  <a:pt x="117" y="204"/>
                  <a:pt x="117" y="204"/>
                  <a:pt x="117" y="204"/>
                </a:cubicBezTo>
                <a:cubicBezTo>
                  <a:pt x="116" y="204"/>
                  <a:pt x="117" y="203"/>
                  <a:pt x="116" y="203"/>
                </a:cubicBezTo>
                <a:cubicBezTo>
                  <a:pt x="116" y="203"/>
                  <a:pt x="116" y="204"/>
                  <a:pt x="116" y="204"/>
                </a:cubicBezTo>
                <a:cubicBezTo>
                  <a:pt x="116" y="204"/>
                  <a:pt x="116" y="204"/>
                  <a:pt x="116" y="204"/>
                </a:cubicBezTo>
                <a:cubicBezTo>
                  <a:pt x="116" y="204"/>
                  <a:pt x="116" y="204"/>
                  <a:pt x="116" y="204"/>
                </a:cubicBezTo>
                <a:cubicBezTo>
                  <a:pt x="115" y="205"/>
                  <a:pt x="114" y="204"/>
                  <a:pt x="114" y="205"/>
                </a:cubicBezTo>
                <a:cubicBezTo>
                  <a:pt x="114" y="205"/>
                  <a:pt x="114" y="205"/>
                  <a:pt x="113" y="204"/>
                </a:cubicBezTo>
                <a:cubicBezTo>
                  <a:pt x="114" y="205"/>
                  <a:pt x="113" y="205"/>
                  <a:pt x="113" y="205"/>
                </a:cubicBezTo>
                <a:cubicBezTo>
                  <a:pt x="113" y="206"/>
                  <a:pt x="111" y="205"/>
                  <a:pt x="111" y="205"/>
                </a:cubicBezTo>
                <a:cubicBezTo>
                  <a:pt x="110" y="205"/>
                  <a:pt x="109" y="205"/>
                  <a:pt x="109" y="205"/>
                </a:cubicBezTo>
                <a:cubicBezTo>
                  <a:pt x="108" y="206"/>
                  <a:pt x="108" y="205"/>
                  <a:pt x="109" y="205"/>
                </a:cubicBezTo>
                <a:cubicBezTo>
                  <a:pt x="109" y="205"/>
                  <a:pt x="110" y="205"/>
                  <a:pt x="109" y="204"/>
                </a:cubicBezTo>
                <a:cubicBezTo>
                  <a:pt x="109" y="204"/>
                  <a:pt x="109" y="204"/>
                  <a:pt x="109" y="205"/>
                </a:cubicBezTo>
                <a:cubicBezTo>
                  <a:pt x="109" y="205"/>
                  <a:pt x="108" y="205"/>
                  <a:pt x="108" y="205"/>
                </a:cubicBezTo>
                <a:cubicBezTo>
                  <a:pt x="108" y="205"/>
                  <a:pt x="108" y="205"/>
                  <a:pt x="108" y="204"/>
                </a:cubicBezTo>
                <a:cubicBezTo>
                  <a:pt x="108" y="204"/>
                  <a:pt x="108" y="205"/>
                  <a:pt x="108" y="205"/>
                </a:cubicBezTo>
                <a:cubicBezTo>
                  <a:pt x="108" y="205"/>
                  <a:pt x="108" y="205"/>
                  <a:pt x="108" y="204"/>
                </a:cubicBezTo>
                <a:cubicBezTo>
                  <a:pt x="107" y="205"/>
                  <a:pt x="107" y="204"/>
                  <a:pt x="106" y="205"/>
                </a:cubicBezTo>
                <a:cubicBezTo>
                  <a:pt x="107" y="205"/>
                  <a:pt x="106" y="205"/>
                  <a:pt x="106" y="205"/>
                </a:cubicBezTo>
                <a:cubicBezTo>
                  <a:pt x="105" y="205"/>
                  <a:pt x="105" y="205"/>
                  <a:pt x="105" y="204"/>
                </a:cubicBezTo>
                <a:cubicBezTo>
                  <a:pt x="104" y="204"/>
                  <a:pt x="107" y="203"/>
                  <a:pt x="107" y="203"/>
                </a:cubicBezTo>
                <a:cubicBezTo>
                  <a:pt x="107" y="203"/>
                  <a:pt x="105" y="203"/>
                  <a:pt x="106" y="203"/>
                </a:cubicBezTo>
                <a:cubicBezTo>
                  <a:pt x="105" y="203"/>
                  <a:pt x="105" y="203"/>
                  <a:pt x="105" y="203"/>
                </a:cubicBezTo>
                <a:cubicBezTo>
                  <a:pt x="104" y="203"/>
                  <a:pt x="103" y="202"/>
                  <a:pt x="101" y="202"/>
                </a:cubicBezTo>
                <a:cubicBezTo>
                  <a:pt x="101" y="202"/>
                  <a:pt x="100" y="202"/>
                  <a:pt x="100" y="201"/>
                </a:cubicBezTo>
                <a:cubicBezTo>
                  <a:pt x="100" y="201"/>
                  <a:pt x="99" y="201"/>
                  <a:pt x="99" y="200"/>
                </a:cubicBezTo>
                <a:cubicBezTo>
                  <a:pt x="98" y="200"/>
                  <a:pt x="97" y="199"/>
                  <a:pt x="97" y="198"/>
                </a:cubicBezTo>
                <a:cubicBezTo>
                  <a:pt x="96" y="198"/>
                  <a:pt x="97" y="198"/>
                  <a:pt x="97" y="197"/>
                </a:cubicBezTo>
                <a:cubicBezTo>
                  <a:pt x="97" y="197"/>
                  <a:pt x="97" y="196"/>
                  <a:pt x="97" y="196"/>
                </a:cubicBezTo>
                <a:cubicBezTo>
                  <a:pt x="97" y="196"/>
                  <a:pt x="97" y="196"/>
                  <a:pt x="97" y="196"/>
                </a:cubicBezTo>
                <a:cubicBezTo>
                  <a:pt x="97" y="196"/>
                  <a:pt x="97" y="196"/>
                  <a:pt x="97" y="196"/>
                </a:cubicBezTo>
                <a:cubicBezTo>
                  <a:pt x="98" y="196"/>
                  <a:pt x="98" y="196"/>
                  <a:pt x="98" y="196"/>
                </a:cubicBezTo>
                <a:cubicBezTo>
                  <a:pt x="98" y="196"/>
                  <a:pt x="97" y="196"/>
                  <a:pt x="97" y="195"/>
                </a:cubicBezTo>
                <a:cubicBezTo>
                  <a:pt x="97" y="195"/>
                  <a:pt x="98" y="195"/>
                  <a:pt x="98" y="195"/>
                </a:cubicBezTo>
                <a:cubicBezTo>
                  <a:pt x="99" y="196"/>
                  <a:pt x="98" y="196"/>
                  <a:pt x="98" y="196"/>
                </a:cubicBezTo>
                <a:cubicBezTo>
                  <a:pt x="98" y="196"/>
                  <a:pt x="100" y="195"/>
                  <a:pt x="100" y="196"/>
                </a:cubicBezTo>
                <a:cubicBezTo>
                  <a:pt x="100" y="196"/>
                  <a:pt x="102" y="197"/>
                  <a:pt x="102" y="197"/>
                </a:cubicBezTo>
                <a:cubicBezTo>
                  <a:pt x="102" y="197"/>
                  <a:pt x="100" y="197"/>
                  <a:pt x="101" y="196"/>
                </a:cubicBezTo>
                <a:cubicBezTo>
                  <a:pt x="103" y="195"/>
                  <a:pt x="104" y="195"/>
                  <a:pt x="105" y="195"/>
                </a:cubicBezTo>
                <a:cubicBezTo>
                  <a:pt x="104" y="195"/>
                  <a:pt x="103" y="195"/>
                  <a:pt x="102" y="196"/>
                </a:cubicBezTo>
                <a:cubicBezTo>
                  <a:pt x="101" y="196"/>
                  <a:pt x="101" y="197"/>
                  <a:pt x="100" y="196"/>
                </a:cubicBezTo>
                <a:cubicBezTo>
                  <a:pt x="100" y="196"/>
                  <a:pt x="100" y="195"/>
                  <a:pt x="101" y="195"/>
                </a:cubicBezTo>
                <a:cubicBezTo>
                  <a:pt x="101" y="195"/>
                  <a:pt x="99" y="195"/>
                  <a:pt x="100" y="194"/>
                </a:cubicBezTo>
                <a:cubicBezTo>
                  <a:pt x="100" y="194"/>
                  <a:pt x="101" y="194"/>
                  <a:pt x="102" y="194"/>
                </a:cubicBezTo>
                <a:cubicBezTo>
                  <a:pt x="101" y="194"/>
                  <a:pt x="100" y="194"/>
                  <a:pt x="101" y="193"/>
                </a:cubicBezTo>
                <a:cubicBezTo>
                  <a:pt x="102" y="192"/>
                  <a:pt x="103" y="192"/>
                  <a:pt x="105" y="192"/>
                </a:cubicBezTo>
                <a:cubicBezTo>
                  <a:pt x="104" y="192"/>
                  <a:pt x="103" y="192"/>
                  <a:pt x="103" y="192"/>
                </a:cubicBezTo>
                <a:cubicBezTo>
                  <a:pt x="103" y="192"/>
                  <a:pt x="101" y="193"/>
                  <a:pt x="101" y="192"/>
                </a:cubicBezTo>
                <a:cubicBezTo>
                  <a:pt x="101" y="192"/>
                  <a:pt x="103" y="192"/>
                  <a:pt x="103" y="192"/>
                </a:cubicBezTo>
                <a:cubicBezTo>
                  <a:pt x="102" y="192"/>
                  <a:pt x="102" y="192"/>
                  <a:pt x="102" y="192"/>
                </a:cubicBezTo>
                <a:cubicBezTo>
                  <a:pt x="102" y="192"/>
                  <a:pt x="102" y="192"/>
                  <a:pt x="102" y="192"/>
                </a:cubicBezTo>
                <a:cubicBezTo>
                  <a:pt x="102" y="192"/>
                  <a:pt x="102" y="192"/>
                  <a:pt x="102" y="192"/>
                </a:cubicBezTo>
                <a:cubicBezTo>
                  <a:pt x="102" y="192"/>
                  <a:pt x="102" y="192"/>
                  <a:pt x="102" y="192"/>
                </a:cubicBezTo>
                <a:cubicBezTo>
                  <a:pt x="101" y="192"/>
                  <a:pt x="101" y="192"/>
                  <a:pt x="101" y="192"/>
                </a:cubicBezTo>
                <a:cubicBezTo>
                  <a:pt x="101" y="192"/>
                  <a:pt x="101" y="192"/>
                  <a:pt x="101" y="192"/>
                </a:cubicBezTo>
                <a:cubicBezTo>
                  <a:pt x="101" y="191"/>
                  <a:pt x="101" y="191"/>
                  <a:pt x="102" y="191"/>
                </a:cubicBezTo>
                <a:cubicBezTo>
                  <a:pt x="102" y="191"/>
                  <a:pt x="102" y="191"/>
                  <a:pt x="102" y="191"/>
                </a:cubicBezTo>
                <a:cubicBezTo>
                  <a:pt x="102" y="191"/>
                  <a:pt x="102" y="190"/>
                  <a:pt x="103" y="190"/>
                </a:cubicBezTo>
                <a:cubicBezTo>
                  <a:pt x="104" y="190"/>
                  <a:pt x="104" y="190"/>
                  <a:pt x="105" y="190"/>
                </a:cubicBezTo>
                <a:cubicBezTo>
                  <a:pt x="104" y="189"/>
                  <a:pt x="104" y="190"/>
                  <a:pt x="103" y="190"/>
                </a:cubicBezTo>
                <a:cubicBezTo>
                  <a:pt x="103" y="190"/>
                  <a:pt x="103" y="189"/>
                  <a:pt x="103" y="189"/>
                </a:cubicBezTo>
                <a:cubicBezTo>
                  <a:pt x="103" y="189"/>
                  <a:pt x="103" y="190"/>
                  <a:pt x="102" y="190"/>
                </a:cubicBezTo>
                <a:cubicBezTo>
                  <a:pt x="102" y="191"/>
                  <a:pt x="102" y="191"/>
                  <a:pt x="101" y="191"/>
                </a:cubicBezTo>
                <a:cubicBezTo>
                  <a:pt x="100" y="192"/>
                  <a:pt x="100" y="191"/>
                  <a:pt x="100" y="191"/>
                </a:cubicBezTo>
                <a:cubicBezTo>
                  <a:pt x="101" y="190"/>
                  <a:pt x="101" y="191"/>
                  <a:pt x="102" y="190"/>
                </a:cubicBezTo>
                <a:cubicBezTo>
                  <a:pt x="101" y="190"/>
                  <a:pt x="99" y="191"/>
                  <a:pt x="99" y="190"/>
                </a:cubicBezTo>
                <a:cubicBezTo>
                  <a:pt x="99" y="190"/>
                  <a:pt x="99" y="190"/>
                  <a:pt x="99" y="190"/>
                </a:cubicBezTo>
                <a:cubicBezTo>
                  <a:pt x="99" y="190"/>
                  <a:pt x="99" y="190"/>
                  <a:pt x="99" y="190"/>
                </a:cubicBezTo>
                <a:cubicBezTo>
                  <a:pt x="99" y="191"/>
                  <a:pt x="99" y="191"/>
                  <a:pt x="98" y="190"/>
                </a:cubicBezTo>
                <a:cubicBezTo>
                  <a:pt x="99" y="191"/>
                  <a:pt x="98" y="191"/>
                  <a:pt x="98" y="191"/>
                </a:cubicBezTo>
                <a:cubicBezTo>
                  <a:pt x="98" y="191"/>
                  <a:pt x="99" y="191"/>
                  <a:pt x="99" y="191"/>
                </a:cubicBezTo>
                <a:cubicBezTo>
                  <a:pt x="99" y="191"/>
                  <a:pt x="100" y="192"/>
                  <a:pt x="99" y="192"/>
                </a:cubicBezTo>
                <a:cubicBezTo>
                  <a:pt x="99" y="192"/>
                  <a:pt x="99" y="192"/>
                  <a:pt x="98" y="192"/>
                </a:cubicBezTo>
                <a:cubicBezTo>
                  <a:pt x="98" y="192"/>
                  <a:pt x="98" y="192"/>
                  <a:pt x="98" y="192"/>
                </a:cubicBezTo>
                <a:cubicBezTo>
                  <a:pt x="97" y="192"/>
                  <a:pt x="98" y="192"/>
                  <a:pt x="98" y="192"/>
                </a:cubicBezTo>
                <a:cubicBezTo>
                  <a:pt x="98" y="191"/>
                  <a:pt x="97" y="191"/>
                  <a:pt x="98" y="190"/>
                </a:cubicBezTo>
                <a:cubicBezTo>
                  <a:pt x="97" y="190"/>
                  <a:pt x="96" y="191"/>
                  <a:pt x="96" y="191"/>
                </a:cubicBezTo>
                <a:cubicBezTo>
                  <a:pt x="96" y="191"/>
                  <a:pt x="97" y="191"/>
                  <a:pt x="97" y="191"/>
                </a:cubicBezTo>
                <a:cubicBezTo>
                  <a:pt x="98" y="190"/>
                  <a:pt x="97" y="191"/>
                  <a:pt x="97" y="191"/>
                </a:cubicBezTo>
                <a:cubicBezTo>
                  <a:pt x="98" y="191"/>
                  <a:pt x="97" y="192"/>
                  <a:pt x="97" y="192"/>
                </a:cubicBezTo>
                <a:cubicBezTo>
                  <a:pt x="96" y="193"/>
                  <a:pt x="96" y="192"/>
                  <a:pt x="96" y="191"/>
                </a:cubicBezTo>
                <a:cubicBezTo>
                  <a:pt x="96" y="191"/>
                  <a:pt x="96" y="192"/>
                  <a:pt x="96" y="192"/>
                </a:cubicBezTo>
                <a:cubicBezTo>
                  <a:pt x="96" y="192"/>
                  <a:pt x="96" y="191"/>
                  <a:pt x="96" y="191"/>
                </a:cubicBezTo>
                <a:cubicBezTo>
                  <a:pt x="95" y="191"/>
                  <a:pt x="96" y="192"/>
                  <a:pt x="95" y="191"/>
                </a:cubicBezTo>
                <a:cubicBezTo>
                  <a:pt x="95" y="191"/>
                  <a:pt x="95" y="191"/>
                  <a:pt x="95" y="191"/>
                </a:cubicBezTo>
                <a:cubicBezTo>
                  <a:pt x="94" y="190"/>
                  <a:pt x="95" y="190"/>
                  <a:pt x="95" y="190"/>
                </a:cubicBezTo>
                <a:cubicBezTo>
                  <a:pt x="95" y="190"/>
                  <a:pt x="94" y="190"/>
                  <a:pt x="95" y="190"/>
                </a:cubicBezTo>
                <a:cubicBezTo>
                  <a:pt x="95" y="190"/>
                  <a:pt x="95" y="190"/>
                  <a:pt x="95" y="190"/>
                </a:cubicBezTo>
                <a:cubicBezTo>
                  <a:pt x="94" y="190"/>
                  <a:pt x="96" y="188"/>
                  <a:pt x="96" y="189"/>
                </a:cubicBezTo>
                <a:cubicBezTo>
                  <a:pt x="97" y="189"/>
                  <a:pt x="96" y="189"/>
                  <a:pt x="96" y="188"/>
                </a:cubicBezTo>
                <a:cubicBezTo>
                  <a:pt x="97" y="188"/>
                  <a:pt x="97" y="188"/>
                  <a:pt x="97" y="189"/>
                </a:cubicBezTo>
                <a:cubicBezTo>
                  <a:pt x="97" y="189"/>
                  <a:pt x="97" y="190"/>
                  <a:pt x="97" y="190"/>
                </a:cubicBezTo>
                <a:cubicBezTo>
                  <a:pt x="97" y="190"/>
                  <a:pt x="95" y="190"/>
                  <a:pt x="96" y="190"/>
                </a:cubicBezTo>
                <a:cubicBezTo>
                  <a:pt x="95" y="190"/>
                  <a:pt x="96" y="190"/>
                  <a:pt x="96" y="190"/>
                </a:cubicBezTo>
                <a:cubicBezTo>
                  <a:pt x="97" y="190"/>
                  <a:pt x="97" y="190"/>
                  <a:pt x="97" y="189"/>
                </a:cubicBezTo>
                <a:cubicBezTo>
                  <a:pt x="97" y="188"/>
                  <a:pt x="99" y="189"/>
                  <a:pt x="99" y="189"/>
                </a:cubicBezTo>
                <a:cubicBezTo>
                  <a:pt x="99" y="189"/>
                  <a:pt x="99" y="189"/>
                  <a:pt x="99" y="189"/>
                </a:cubicBezTo>
                <a:cubicBezTo>
                  <a:pt x="99" y="189"/>
                  <a:pt x="100" y="189"/>
                  <a:pt x="100" y="189"/>
                </a:cubicBezTo>
                <a:cubicBezTo>
                  <a:pt x="100" y="189"/>
                  <a:pt x="99" y="189"/>
                  <a:pt x="99" y="188"/>
                </a:cubicBezTo>
                <a:cubicBezTo>
                  <a:pt x="99" y="188"/>
                  <a:pt x="100" y="188"/>
                  <a:pt x="100" y="188"/>
                </a:cubicBezTo>
                <a:cubicBezTo>
                  <a:pt x="101" y="188"/>
                  <a:pt x="103" y="187"/>
                  <a:pt x="103" y="187"/>
                </a:cubicBezTo>
                <a:cubicBezTo>
                  <a:pt x="103" y="187"/>
                  <a:pt x="102" y="187"/>
                  <a:pt x="101" y="187"/>
                </a:cubicBezTo>
                <a:cubicBezTo>
                  <a:pt x="101" y="188"/>
                  <a:pt x="101" y="188"/>
                  <a:pt x="101" y="188"/>
                </a:cubicBezTo>
                <a:cubicBezTo>
                  <a:pt x="100" y="188"/>
                  <a:pt x="100" y="187"/>
                  <a:pt x="100" y="187"/>
                </a:cubicBezTo>
                <a:cubicBezTo>
                  <a:pt x="100" y="187"/>
                  <a:pt x="100" y="187"/>
                  <a:pt x="100" y="187"/>
                </a:cubicBezTo>
                <a:cubicBezTo>
                  <a:pt x="99" y="187"/>
                  <a:pt x="99" y="187"/>
                  <a:pt x="99" y="187"/>
                </a:cubicBezTo>
                <a:cubicBezTo>
                  <a:pt x="98" y="187"/>
                  <a:pt x="99" y="186"/>
                  <a:pt x="100" y="186"/>
                </a:cubicBezTo>
                <a:cubicBezTo>
                  <a:pt x="101" y="186"/>
                  <a:pt x="100" y="185"/>
                  <a:pt x="101" y="184"/>
                </a:cubicBezTo>
                <a:cubicBezTo>
                  <a:pt x="101" y="184"/>
                  <a:pt x="103" y="184"/>
                  <a:pt x="103" y="184"/>
                </a:cubicBezTo>
                <a:cubicBezTo>
                  <a:pt x="103" y="183"/>
                  <a:pt x="102" y="185"/>
                  <a:pt x="102" y="183"/>
                </a:cubicBezTo>
                <a:cubicBezTo>
                  <a:pt x="102" y="183"/>
                  <a:pt x="103" y="182"/>
                  <a:pt x="104" y="182"/>
                </a:cubicBezTo>
                <a:cubicBezTo>
                  <a:pt x="104" y="181"/>
                  <a:pt x="104" y="181"/>
                  <a:pt x="105" y="181"/>
                </a:cubicBezTo>
                <a:cubicBezTo>
                  <a:pt x="105" y="181"/>
                  <a:pt x="105" y="180"/>
                  <a:pt x="106" y="181"/>
                </a:cubicBezTo>
                <a:cubicBezTo>
                  <a:pt x="106" y="182"/>
                  <a:pt x="105" y="183"/>
                  <a:pt x="105" y="184"/>
                </a:cubicBezTo>
                <a:cubicBezTo>
                  <a:pt x="106" y="183"/>
                  <a:pt x="106" y="182"/>
                  <a:pt x="107" y="181"/>
                </a:cubicBezTo>
                <a:cubicBezTo>
                  <a:pt x="107" y="180"/>
                  <a:pt x="109" y="181"/>
                  <a:pt x="110" y="180"/>
                </a:cubicBezTo>
                <a:cubicBezTo>
                  <a:pt x="109" y="180"/>
                  <a:pt x="108" y="180"/>
                  <a:pt x="108" y="180"/>
                </a:cubicBezTo>
                <a:cubicBezTo>
                  <a:pt x="108" y="180"/>
                  <a:pt x="109" y="179"/>
                  <a:pt x="109" y="179"/>
                </a:cubicBezTo>
                <a:cubicBezTo>
                  <a:pt x="109" y="179"/>
                  <a:pt x="108" y="180"/>
                  <a:pt x="108" y="180"/>
                </a:cubicBezTo>
                <a:cubicBezTo>
                  <a:pt x="108" y="180"/>
                  <a:pt x="108" y="180"/>
                  <a:pt x="108" y="180"/>
                </a:cubicBezTo>
                <a:cubicBezTo>
                  <a:pt x="107" y="180"/>
                  <a:pt x="107" y="180"/>
                  <a:pt x="107" y="181"/>
                </a:cubicBezTo>
                <a:cubicBezTo>
                  <a:pt x="106" y="181"/>
                  <a:pt x="106" y="181"/>
                  <a:pt x="106" y="181"/>
                </a:cubicBezTo>
                <a:cubicBezTo>
                  <a:pt x="106" y="180"/>
                  <a:pt x="106" y="180"/>
                  <a:pt x="106" y="180"/>
                </a:cubicBezTo>
                <a:cubicBezTo>
                  <a:pt x="106" y="180"/>
                  <a:pt x="106" y="180"/>
                  <a:pt x="105" y="180"/>
                </a:cubicBezTo>
                <a:cubicBezTo>
                  <a:pt x="105" y="181"/>
                  <a:pt x="104" y="181"/>
                  <a:pt x="103" y="181"/>
                </a:cubicBezTo>
                <a:cubicBezTo>
                  <a:pt x="103" y="181"/>
                  <a:pt x="102" y="181"/>
                  <a:pt x="102" y="182"/>
                </a:cubicBezTo>
                <a:cubicBezTo>
                  <a:pt x="102" y="182"/>
                  <a:pt x="102" y="182"/>
                  <a:pt x="102" y="183"/>
                </a:cubicBezTo>
                <a:cubicBezTo>
                  <a:pt x="102" y="183"/>
                  <a:pt x="101" y="182"/>
                  <a:pt x="101" y="183"/>
                </a:cubicBezTo>
                <a:cubicBezTo>
                  <a:pt x="101" y="183"/>
                  <a:pt x="100" y="183"/>
                  <a:pt x="100" y="184"/>
                </a:cubicBezTo>
                <a:cubicBezTo>
                  <a:pt x="100" y="184"/>
                  <a:pt x="100" y="185"/>
                  <a:pt x="100" y="185"/>
                </a:cubicBezTo>
                <a:cubicBezTo>
                  <a:pt x="100" y="185"/>
                  <a:pt x="99" y="186"/>
                  <a:pt x="99" y="185"/>
                </a:cubicBezTo>
                <a:cubicBezTo>
                  <a:pt x="99" y="186"/>
                  <a:pt x="98" y="184"/>
                  <a:pt x="99" y="184"/>
                </a:cubicBezTo>
                <a:cubicBezTo>
                  <a:pt x="98" y="184"/>
                  <a:pt x="99" y="183"/>
                  <a:pt x="99" y="183"/>
                </a:cubicBezTo>
                <a:cubicBezTo>
                  <a:pt x="99" y="183"/>
                  <a:pt x="97" y="184"/>
                  <a:pt x="97" y="183"/>
                </a:cubicBezTo>
                <a:cubicBezTo>
                  <a:pt x="97" y="183"/>
                  <a:pt x="98" y="183"/>
                  <a:pt x="99" y="183"/>
                </a:cubicBezTo>
                <a:cubicBezTo>
                  <a:pt x="98" y="183"/>
                  <a:pt x="98" y="183"/>
                  <a:pt x="98" y="183"/>
                </a:cubicBezTo>
                <a:cubicBezTo>
                  <a:pt x="98" y="183"/>
                  <a:pt x="98" y="182"/>
                  <a:pt x="98" y="182"/>
                </a:cubicBezTo>
                <a:cubicBezTo>
                  <a:pt x="98" y="182"/>
                  <a:pt x="98" y="183"/>
                  <a:pt x="98" y="183"/>
                </a:cubicBezTo>
                <a:cubicBezTo>
                  <a:pt x="98" y="183"/>
                  <a:pt x="99" y="181"/>
                  <a:pt x="99" y="181"/>
                </a:cubicBezTo>
                <a:cubicBezTo>
                  <a:pt x="99" y="181"/>
                  <a:pt x="98" y="181"/>
                  <a:pt x="98" y="181"/>
                </a:cubicBezTo>
                <a:cubicBezTo>
                  <a:pt x="98" y="181"/>
                  <a:pt x="97" y="183"/>
                  <a:pt x="97" y="183"/>
                </a:cubicBezTo>
                <a:cubicBezTo>
                  <a:pt x="97" y="183"/>
                  <a:pt x="96" y="183"/>
                  <a:pt x="96" y="184"/>
                </a:cubicBezTo>
                <a:cubicBezTo>
                  <a:pt x="96" y="184"/>
                  <a:pt x="95" y="183"/>
                  <a:pt x="96" y="183"/>
                </a:cubicBezTo>
                <a:cubicBezTo>
                  <a:pt x="96" y="183"/>
                  <a:pt x="95" y="183"/>
                  <a:pt x="95" y="183"/>
                </a:cubicBezTo>
                <a:cubicBezTo>
                  <a:pt x="95" y="183"/>
                  <a:pt x="95" y="183"/>
                  <a:pt x="96" y="182"/>
                </a:cubicBezTo>
                <a:cubicBezTo>
                  <a:pt x="95" y="182"/>
                  <a:pt x="94" y="183"/>
                  <a:pt x="95" y="182"/>
                </a:cubicBezTo>
                <a:cubicBezTo>
                  <a:pt x="95" y="182"/>
                  <a:pt x="95" y="182"/>
                  <a:pt x="95" y="182"/>
                </a:cubicBezTo>
                <a:cubicBezTo>
                  <a:pt x="95" y="182"/>
                  <a:pt x="94" y="181"/>
                  <a:pt x="95" y="181"/>
                </a:cubicBezTo>
                <a:cubicBezTo>
                  <a:pt x="96" y="181"/>
                  <a:pt x="95" y="180"/>
                  <a:pt x="95" y="180"/>
                </a:cubicBezTo>
                <a:cubicBezTo>
                  <a:pt x="96" y="180"/>
                  <a:pt x="96" y="180"/>
                  <a:pt x="97" y="181"/>
                </a:cubicBezTo>
                <a:cubicBezTo>
                  <a:pt x="97" y="180"/>
                  <a:pt x="98" y="181"/>
                  <a:pt x="99" y="180"/>
                </a:cubicBezTo>
                <a:cubicBezTo>
                  <a:pt x="99" y="180"/>
                  <a:pt x="99" y="180"/>
                  <a:pt x="99" y="179"/>
                </a:cubicBezTo>
                <a:cubicBezTo>
                  <a:pt x="99" y="179"/>
                  <a:pt x="99" y="178"/>
                  <a:pt x="99" y="178"/>
                </a:cubicBezTo>
                <a:cubicBezTo>
                  <a:pt x="99" y="178"/>
                  <a:pt x="98" y="178"/>
                  <a:pt x="98" y="178"/>
                </a:cubicBezTo>
                <a:cubicBezTo>
                  <a:pt x="98" y="178"/>
                  <a:pt x="99" y="178"/>
                  <a:pt x="99" y="177"/>
                </a:cubicBezTo>
                <a:cubicBezTo>
                  <a:pt x="98" y="178"/>
                  <a:pt x="98" y="178"/>
                  <a:pt x="98" y="179"/>
                </a:cubicBezTo>
                <a:cubicBezTo>
                  <a:pt x="97" y="179"/>
                  <a:pt x="96" y="179"/>
                  <a:pt x="96" y="179"/>
                </a:cubicBezTo>
                <a:cubicBezTo>
                  <a:pt x="96" y="180"/>
                  <a:pt x="95" y="180"/>
                  <a:pt x="95" y="179"/>
                </a:cubicBezTo>
                <a:cubicBezTo>
                  <a:pt x="95" y="179"/>
                  <a:pt x="94" y="179"/>
                  <a:pt x="94" y="178"/>
                </a:cubicBezTo>
                <a:cubicBezTo>
                  <a:pt x="94" y="178"/>
                  <a:pt x="95" y="179"/>
                  <a:pt x="95" y="179"/>
                </a:cubicBezTo>
                <a:cubicBezTo>
                  <a:pt x="95" y="178"/>
                  <a:pt x="94" y="178"/>
                  <a:pt x="94" y="178"/>
                </a:cubicBezTo>
                <a:cubicBezTo>
                  <a:pt x="94" y="178"/>
                  <a:pt x="93" y="177"/>
                  <a:pt x="93" y="177"/>
                </a:cubicBezTo>
                <a:cubicBezTo>
                  <a:pt x="93" y="177"/>
                  <a:pt x="94" y="177"/>
                  <a:pt x="95" y="177"/>
                </a:cubicBezTo>
                <a:cubicBezTo>
                  <a:pt x="96" y="178"/>
                  <a:pt x="96" y="178"/>
                  <a:pt x="96" y="179"/>
                </a:cubicBezTo>
                <a:cubicBezTo>
                  <a:pt x="96" y="178"/>
                  <a:pt x="96" y="178"/>
                  <a:pt x="97" y="179"/>
                </a:cubicBezTo>
                <a:cubicBezTo>
                  <a:pt x="96" y="178"/>
                  <a:pt x="96" y="178"/>
                  <a:pt x="96" y="178"/>
                </a:cubicBezTo>
                <a:cubicBezTo>
                  <a:pt x="96" y="178"/>
                  <a:pt x="97" y="178"/>
                  <a:pt x="97" y="178"/>
                </a:cubicBezTo>
                <a:cubicBezTo>
                  <a:pt x="97" y="178"/>
                  <a:pt x="96" y="178"/>
                  <a:pt x="95" y="177"/>
                </a:cubicBezTo>
                <a:cubicBezTo>
                  <a:pt x="95" y="177"/>
                  <a:pt x="96" y="177"/>
                  <a:pt x="96" y="177"/>
                </a:cubicBezTo>
                <a:cubicBezTo>
                  <a:pt x="97" y="176"/>
                  <a:pt x="97" y="177"/>
                  <a:pt x="98" y="176"/>
                </a:cubicBezTo>
                <a:cubicBezTo>
                  <a:pt x="97" y="176"/>
                  <a:pt x="97" y="176"/>
                  <a:pt x="97" y="176"/>
                </a:cubicBezTo>
                <a:cubicBezTo>
                  <a:pt x="97" y="176"/>
                  <a:pt x="96" y="176"/>
                  <a:pt x="96" y="176"/>
                </a:cubicBezTo>
                <a:cubicBezTo>
                  <a:pt x="96" y="177"/>
                  <a:pt x="95" y="177"/>
                  <a:pt x="95" y="177"/>
                </a:cubicBezTo>
                <a:cubicBezTo>
                  <a:pt x="94" y="177"/>
                  <a:pt x="94" y="177"/>
                  <a:pt x="93" y="175"/>
                </a:cubicBezTo>
                <a:cubicBezTo>
                  <a:pt x="94" y="176"/>
                  <a:pt x="94" y="176"/>
                  <a:pt x="94" y="176"/>
                </a:cubicBezTo>
                <a:cubicBezTo>
                  <a:pt x="94" y="176"/>
                  <a:pt x="94" y="176"/>
                  <a:pt x="94" y="176"/>
                </a:cubicBezTo>
                <a:cubicBezTo>
                  <a:pt x="94" y="175"/>
                  <a:pt x="95" y="175"/>
                  <a:pt x="95" y="175"/>
                </a:cubicBezTo>
                <a:cubicBezTo>
                  <a:pt x="95" y="175"/>
                  <a:pt x="95" y="175"/>
                  <a:pt x="95" y="175"/>
                </a:cubicBezTo>
                <a:cubicBezTo>
                  <a:pt x="94" y="176"/>
                  <a:pt x="93" y="175"/>
                  <a:pt x="94" y="175"/>
                </a:cubicBezTo>
                <a:cubicBezTo>
                  <a:pt x="94" y="174"/>
                  <a:pt x="96" y="175"/>
                  <a:pt x="97" y="175"/>
                </a:cubicBezTo>
                <a:cubicBezTo>
                  <a:pt x="97" y="174"/>
                  <a:pt x="98" y="174"/>
                  <a:pt x="99" y="174"/>
                </a:cubicBezTo>
                <a:cubicBezTo>
                  <a:pt x="98" y="174"/>
                  <a:pt x="99" y="174"/>
                  <a:pt x="99" y="174"/>
                </a:cubicBezTo>
                <a:cubicBezTo>
                  <a:pt x="100" y="174"/>
                  <a:pt x="99" y="174"/>
                  <a:pt x="100" y="174"/>
                </a:cubicBezTo>
                <a:cubicBezTo>
                  <a:pt x="99" y="174"/>
                  <a:pt x="101" y="174"/>
                  <a:pt x="102" y="174"/>
                </a:cubicBezTo>
                <a:cubicBezTo>
                  <a:pt x="102" y="174"/>
                  <a:pt x="104" y="174"/>
                  <a:pt x="103" y="175"/>
                </a:cubicBezTo>
                <a:cubicBezTo>
                  <a:pt x="103" y="175"/>
                  <a:pt x="104" y="174"/>
                  <a:pt x="104" y="174"/>
                </a:cubicBezTo>
                <a:cubicBezTo>
                  <a:pt x="104" y="175"/>
                  <a:pt x="104" y="175"/>
                  <a:pt x="104" y="175"/>
                </a:cubicBezTo>
                <a:cubicBezTo>
                  <a:pt x="104" y="175"/>
                  <a:pt x="104" y="175"/>
                  <a:pt x="104" y="175"/>
                </a:cubicBezTo>
                <a:cubicBezTo>
                  <a:pt x="104" y="174"/>
                  <a:pt x="105" y="174"/>
                  <a:pt x="105" y="174"/>
                </a:cubicBezTo>
                <a:cubicBezTo>
                  <a:pt x="106" y="174"/>
                  <a:pt x="106" y="174"/>
                  <a:pt x="106" y="173"/>
                </a:cubicBezTo>
                <a:cubicBezTo>
                  <a:pt x="106" y="173"/>
                  <a:pt x="107" y="174"/>
                  <a:pt x="107" y="174"/>
                </a:cubicBezTo>
                <a:cubicBezTo>
                  <a:pt x="108" y="174"/>
                  <a:pt x="108" y="174"/>
                  <a:pt x="108" y="174"/>
                </a:cubicBezTo>
                <a:cubicBezTo>
                  <a:pt x="108" y="174"/>
                  <a:pt x="109" y="174"/>
                  <a:pt x="109" y="175"/>
                </a:cubicBezTo>
                <a:cubicBezTo>
                  <a:pt x="109" y="175"/>
                  <a:pt x="109" y="175"/>
                  <a:pt x="108" y="176"/>
                </a:cubicBezTo>
                <a:cubicBezTo>
                  <a:pt x="108" y="175"/>
                  <a:pt x="109" y="175"/>
                  <a:pt x="109" y="175"/>
                </a:cubicBezTo>
                <a:cubicBezTo>
                  <a:pt x="110" y="175"/>
                  <a:pt x="110" y="176"/>
                  <a:pt x="110" y="176"/>
                </a:cubicBezTo>
                <a:cubicBezTo>
                  <a:pt x="111" y="176"/>
                  <a:pt x="108" y="175"/>
                  <a:pt x="109" y="174"/>
                </a:cubicBezTo>
                <a:cubicBezTo>
                  <a:pt x="110" y="173"/>
                  <a:pt x="111" y="174"/>
                  <a:pt x="112" y="174"/>
                </a:cubicBezTo>
                <a:cubicBezTo>
                  <a:pt x="112" y="174"/>
                  <a:pt x="112" y="174"/>
                  <a:pt x="112" y="174"/>
                </a:cubicBezTo>
                <a:cubicBezTo>
                  <a:pt x="112" y="173"/>
                  <a:pt x="114" y="173"/>
                  <a:pt x="114" y="173"/>
                </a:cubicBezTo>
                <a:cubicBezTo>
                  <a:pt x="114" y="173"/>
                  <a:pt x="113" y="173"/>
                  <a:pt x="112" y="173"/>
                </a:cubicBezTo>
                <a:cubicBezTo>
                  <a:pt x="112" y="173"/>
                  <a:pt x="111" y="173"/>
                  <a:pt x="111" y="172"/>
                </a:cubicBezTo>
                <a:cubicBezTo>
                  <a:pt x="111" y="172"/>
                  <a:pt x="113" y="171"/>
                  <a:pt x="113" y="170"/>
                </a:cubicBezTo>
                <a:cubicBezTo>
                  <a:pt x="113" y="171"/>
                  <a:pt x="112" y="171"/>
                  <a:pt x="111" y="171"/>
                </a:cubicBezTo>
                <a:cubicBezTo>
                  <a:pt x="112" y="172"/>
                  <a:pt x="111" y="172"/>
                  <a:pt x="111" y="172"/>
                </a:cubicBezTo>
                <a:cubicBezTo>
                  <a:pt x="111" y="172"/>
                  <a:pt x="111" y="172"/>
                  <a:pt x="111" y="173"/>
                </a:cubicBezTo>
                <a:cubicBezTo>
                  <a:pt x="111" y="173"/>
                  <a:pt x="111" y="173"/>
                  <a:pt x="112" y="173"/>
                </a:cubicBezTo>
                <a:cubicBezTo>
                  <a:pt x="111" y="174"/>
                  <a:pt x="111" y="173"/>
                  <a:pt x="110" y="173"/>
                </a:cubicBezTo>
                <a:cubicBezTo>
                  <a:pt x="110" y="173"/>
                  <a:pt x="109" y="174"/>
                  <a:pt x="109" y="174"/>
                </a:cubicBezTo>
                <a:cubicBezTo>
                  <a:pt x="108" y="174"/>
                  <a:pt x="108" y="174"/>
                  <a:pt x="108" y="174"/>
                </a:cubicBezTo>
                <a:cubicBezTo>
                  <a:pt x="109" y="174"/>
                  <a:pt x="109" y="173"/>
                  <a:pt x="110" y="173"/>
                </a:cubicBezTo>
                <a:cubicBezTo>
                  <a:pt x="110" y="173"/>
                  <a:pt x="110" y="173"/>
                  <a:pt x="110" y="172"/>
                </a:cubicBezTo>
                <a:cubicBezTo>
                  <a:pt x="110" y="172"/>
                  <a:pt x="109" y="173"/>
                  <a:pt x="109" y="173"/>
                </a:cubicBezTo>
                <a:cubicBezTo>
                  <a:pt x="108" y="174"/>
                  <a:pt x="107" y="173"/>
                  <a:pt x="107" y="173"/>
                </a:cubicBezTo>
                <a:cubicBezTo>
                  <a:pt x="107" y="173"/>
                  <a:pt x="106" y="173"/>
                  <a:pt x="106" y="173"/>
                </a:cubicBezTo>
                <a:cubicBezTo>
                  <a:pt x="106" y="172"/>
                  <a:pt x="106" y="172"/>
                  <a:pt x="107" y="172"/>
                </a:cubicBezTo>
                <a:cubicBezTo>
                  <a:pt x="107" y="172"/>
                  <a:pt x="107" y="171"/>
                  <a:pt x="107" y="171"/>
                </a:cubicBezTo>
                <a:cubicBezTo>
                  <a:pt x="107" y="171"/>
                  <a:pt x="106" y="172"/>
                  <a:pt x="106" y="172"/>
                </a:cubicBezTo>
                <a:cubicBezTo>
                  <a:pt x="106" y="173"/>
                  <a:pt x="105" y="172"/>
                  <a:pt x="105" y="172"/>
                </a:cubicBezTo>
                <a:cubicBezTo>
                  <a:pt x="105" y="173"/>
                  <a:pt x="105" y="173"/>
                  <a:pt x="105" y="173"/>
                </a:cubicBezTo>
                <a:cubicBezTo>
                  <a:pt x="105" y="173"/>
                  <a:pt x="105" y="173"/>
                  <a:pt x="105" y="173"/>
                </a:cubicBezTo>
                <a:cubicBezTo>
                  <a:pt x="106" y="173"/>
                  <a:pt x="105" y="174"/>
                  <a:pt x="104" y="174"/>
                </a:cubicBezTo>
                <a:cubicBezTo>
                  <a:pt x="104" y="174"/>
                  <a:pt x="103" y="174"/>
                  <a:pt x="103" y="173"/>
                </a:cubicBezTo>
                <a:cubicBezTo>
                  <a:pt x="102" y="173"/>
                  <a:pt x="101" y="174"/>
                  <a:pt x="102" y="173"/>
                </a:cubicBezTo>
                <a:cubicBezTo>
                  <a:pt x="101" y="173"/>
                  <a:pt x="100" y="174"/>
                  <a:pt x="100" y="173"/>
                </a:cubicBezTo>
                <a:cubicBezTo>
                  <a:pt x="99" y="174"/>
                  <a:pt x="96" y="175"/>
                  <a:pt x="96" y="174"/>
                </a:cubicBezTo>
                <a:cubicBezTo>
                  <a:pt x="96" y="174"/>
                  <a:pt x="95" y="174"/>
                  <a:pt x="95" y="174"/>
                </a:cubicBezTo>
                <a:cubicBezTo>
                  <a:pt x="95" y="174"/>
                  <a:pt x="95" y="174"/>
                  <a:pt x="95" y="174"/>
                </a:cubicBezTo>
                <a:cubicBezTo>
                  <a:pt x="95" y="173"/>
                  <a:pt x="94" y="174"/>
                  <a:pt x="94" y="173"/>
                </a:cubicBezTo>
                <a:cubicBezTo>
                  <a:pt x="94" y="173"/>
                  <a:pt x="95" y="173"/>
                  <a:pt x="95" y="173"/>
                </a:cubicBezTo>
                <a:cubicBezTo>
                  <a:pt x="95" y="173"/>
                  <a:pt x="95" y="173"/>
                  <a:pt x="95" y="173"/>
                </a:cubicBezTo>
                <a:cubicBezTo>
                  <a:pt x="96" y="174"/>
                  <a:pt x="95" y="173"/>
                  <a:pt x="96" y="173"/>
                </a:cubicBezTo>
                <a:cubicBezTo>
                  <a:pt x="95" y="173"/>
                  <a:pt x="93" y="173"/>
                  <a:pt x="94" y="172"/>
                </a:cubicBezTo>
                <a:cubicBezTo>
                  <a:pt x="94" y="172"/>
                  <a:pt x="93" y="172"/>
                  <a:pt x="93" y="172"/>
                </a:cubicBezTo>
                <a:cubicBezTo>
                  <a:pt x="94" y="172"/>
                  <a:pt x="95" y="172"/>
                  <a:pt x="95" y="172"/>
                </a:cubicBezTo>
                <a:cubicBezTo>
                  <a:pt x="95" y="172"/>
                  <a:pt x="95" y="172"/>
                  <a:pt x="95" y="172"/>
                </a:cubicBezTo>
                <a:cubicBezTo>
                  <a:pt x="95" y="172"/>
                  <a:pt x="94" y="172"/>
                  <a:pt x="94" y="172"/>
                </a:cubicBezTo>
                <a:cubicBezTo>
                  <a:pt x="95" y="171"/>
                  <a:pt x="94" y="172"/>
                  <a:pt x="94" y="171"/>
                </a:cubicBezTo>
                <a:cubicBezTo>
                  <a:pt x="94" y="171"/>
                  <a:pt x="94" y="171"/>
                  <a:pt x="95" y="171"/>
                </a:cubicBezTo>
                <a:cubicBezTo>
                  <a:pt x="95" y="171"/>
                  <a:pt x="93" y="171"/>
                  <a:pt x="93" y="171"/>
                </a:cubicBezTo>
                <a:cubicBezTo>
                  <a:pt x="94" y="170"/>
                  <a:pt x="96" y="171"/>
                  <a:pt x="96" y="171"/>
                </a:cubicBezTo>
                <a:cubicBezTo>
                  <a:pt x="96" y="170"/>
                  <a:pt x="97" y="170"/>
                  <a:pt x="97" y="170"/>
                </a:cubicBezTo>
                <a:cubicBezTo>
                  <a:pt x="97" y="170"/>
                  <a:pt x="97" y="170"/>
                  <a:pt x="97" y="170"/>
                </a:cubicBezTo>
                <a:cubicBezTo>
                  <a:pt x="97" y="170"/>
                  <a:pt x="96" y="170"/>
                  <a:pt x="95" y="170"/>
                </a:cubicBezTo>
                <a:cubicBezTo>
                  <a:pt x="94" y="170"/>
                  <a:pt x="96" y="170"/>
                  <a:pt x="97" y="170"/>
                </a:cubicBezTo>
                <a:cubicBezTo>
                  <a:pt x="96" y="169"/>
                  <a:pt x="96" y="169"/>
                  <a:pt x="95" y="169"/>
                </a:cubicBezTo>
                <a:cubicBezTo>
                  <a:pt x="95" y="169"/>
                  <a:pt x="95" y="169"/>
                  <a:pt x="95" y="169"/>
                </a:cubicBezTo>
                <a:cubicBezTo>
                  <a:pt x="95" y="169"/>
                  <a:pt x="94" y="169"/>
                  <a:pt x="94" y="169"/>
                </a:cubicBezTo>
                <a:cubicBezTo>
                  <a:pt x="95" y="169"/>
                  <a:pt x="96" y="169"/>
                  <a:pt x="97" y="169"/>
                </a:cubicBezTo>
                <a:cubicBezTo>
                  <a:pt x="96" y="169"/>
                  <a:pt x="93" y="169"/>
                  <a:pt x="94" y="168"/>
                </a:cubicBezTo>
                <a:cubicBezTo>
                  <a:pt x="94" y="167"/>
                  <a:pt x="94" y="168"/>
                  <a:pt x="95" y="168"/>
                </a:cubicBezTo>
                <a:cubicBezTo>
                  <a:pt x="95" y="168"/>
                  <a:pt x="96" y="168"/>
                  <a:pt x="95" y="168"/>
                </a:cubicBezTo>
                <a:cubicBezTo>
                  <a:pt x="95" y="167"/>
                  <a:pt x="96" y="167"/>
                  <a:pt x="96" y="167"/>
                </a:cubicBezTo>
                <a:cubicBezTo>
                  <a:pt x="96" y="167"/>
                  <a:pt x="95" y="168"/>
                  <a:pt x="95" y="167"/>
                </a:cubicBezTo>
                <a:cubicBezTo>
                  <a:pt x="95" y="167"/>
                  <a:pt x="96" y="167"/>
                  <a:pt x="96" y="167"/>
                </a:cubicBezTo>
                <a:cubicBezTo>
                  <a:pt x="96" y="167"/>
                  <a:pt x="97" y="166"/>
                  <a:pt x="97" y="166"/>
                </a:cubicBezTo>
                <a:cubicBezTo>
                  <a:pt x="98" y="166"/>
                  <a:pt x="99" y="166"/>
                  <a:pt x="99" y="167"/>
                </a:cubicBezTo>
                <a:cubicBezTo>
                  <a:pt x="99" y="167"/>
                  <a:pt x="99" y="167"/>
                  <a:pt x="99" y="167"/>
                </a:cubicBezTo>
                <a:cubicBezTo>
                  <a:pt x="99" y="167"/>
                  <a:pt x="100" y="166"/>
                  <a:pt x="101" y="167"/>
                </a:cubicBezTo>
                <a:cubicBezTo>
                  <a:pt x="102" y="167"/>
                  <a:pt x="101" y="168"/>
                  <a:pt x="100" y="168"/>
                </a:cubicBezTo>
                <a:cubicBezTo>
                  <a:pt x="101" y="168"/>
                  <a:pt x="101" y="167"/>
                  <a:pt x="101" y="167"/>
                </a:cubicBezTo>
                <a:cubicBezTo>
                  <a:pt x="102" y="167"/>
                  <a:pt x="102" y="168"/>
                  <a:pt x="103" y="167"/>
                </a:cubicBezTo>
                <a:cubicBezTo>
                  <a:pt x="103" y="167"/>
                  <a:pt x="102" y="167"/>
                  <a:pt x="102" y="167"/>
                </a:cubicBezTo>
                <a:cubicBezTo>
                  <a:pt x="103" y="167"/>
                  <a:pt x="104" y="167"/>
                  <a:pt x="105" y="167"/>
                </a:cubicBezTo>
                <a:cubicBezTo>
                  <a:pt x="105" y="167"/>
                  <a:pt x="106" y="167"/>
                  <a:pt x="106" y="167"/>
                </a:cubicBezTo>
                <a:cubicBezTo>
                  <a:pt x="106" y="166"/>
                  <a:pt x="107" y="167"/>
                  <a:pt x="108" y="166"/>
                </a:cubicBezTo>
                <a:cubicBezTo>
                  <a:pt x="107" y="166"/>
                  <a:pt x="106" y="166"/>
                  <a:pt x="105" y="166"/>
                </a:cubicBezTo>
                <a:cubicBezTo>
                  <a:pt x="105" y="167"/>
                  <a:pt x="104" y="167"/>
                  <a:pt x="104" y="167"/>
                </a:cubicBezTo>
                <a:cubicBezTo>
                  <a:pt x="103" y="167"/>
                  <a:pt x="102" y="166"/>
                  <a:pt x="101" y="166"/>
                </a:cubicBezTo>
                <a:cubicBezTo>
                  <a:pt x="101" y="166"/>
                  <a:pt x="100" y="167"/>
                  <a:pt x="99" y="166"/>
                </a:cubicBezTo>
                <a:cubicBezTo>
                  <a:pt x="100" y="166"/>
                  <a:pt x="101" y="166"/>
                  <a:pt x="101" y="166"/>
                </a:cubicBezTo>
                <a:cubicBezTo>
                  <a:pt x="101" y="166"/>
                  <a:pt x="100" y="166"/>
                  <a:pt x="100" y="166"/>
                </a:cubicBezTo>
                <a:cubicBezTo>
                  <a:pt x="99" y="166"/>
                  <a:pt x="98" y="166"/>
                  <a:pt x="97" y="166"/>
                </a:cubicBezTo>
                <a:cubicBezTo>
                  <a:pt x="97" y="166"/>
                  <a:pt x="96" y="166"/>
                  <a:pt x="95" y="166"/>
                </a:cubicBezTo>
                <a:cubicBezTo>
                  <a:pt x="95" y="166"/>
                  <a:pt x="95" y="165"/>
                  <a:pt x="95" y="165"/>
                </a:cubicBezTo>
                <a:cubicBezTo>
                  <a:pt x="95" y="165"/>
                  <a:pt x="96" y="165"/>
                  <a:pt x="96" y="165"/>
                </a:cubicBezTo>
                <a:cubicBezTo>
                  <a:pt x="96" y="165"/>
                  <a:pt x="97" y="165"/>
                  <a:pt x="97" y="165"/>
                </a:cubicBezTo>
                <a:cubicBezTo>
                  <a:pt x="97" y="165"/>
                  <a:pt x="95" y="164"/>
                  <a:pt x="95" y="164"/>
                </a:cubicBezTo>
                <a:cubicBezTo>
                  <a:pt x="95" y="164"/>
                  <a:pt x="95" y="164"/>
                  <a:pt x="95" y="164"/>
                </a:cubicBezTo>
                <a:cubicBezTo>
                  <a:pt x="94" y="163"/>
                  <a:pt x="96" y="163"/>
                  <a:pt x="96" y="163"/>
                </a:cubicBezTo>
                <a:cubicBezTo>
                  <a:pt x="96" y="164"/>
                  <a:pt x="98" y="165"/>
                  <a:pt x="97" y="165"/>
                </a:cubicBezTo>
                <a:cubicBezTo>
                  <a:pt x="98" y="165"/>
                  <a:pt x="98" y="164"/>
                  <a:pt x="98" y="165"/>
                </a:cubicBezTo>
                <a:cubicBezTo>
                  <a:pt x="99" y="164"/>
                  <a:pt x="97" y="164"/>
                  <a:pt x="97" y="164"/>
                </a:cubicBezTo>
                <a:cubicBezTo>
                  <a:pt x="97" y="164"/>
                  <a:pt x="98" y="163"/>
                  <a:pt x="98" y="163"/>
                </a:cubicBezTo>
                <a:cubicBezTo>
                  <a:pt x="98" y="163"/>
                  <a:pt x="98" y="163"/>
                  <a:pt x="99" y="164"/>
                </a:cubicBezTo>
                <a:cubicBezTo>
                  <a:pt x="99" y="164"/>
                  <a:pt x="99" y="164"/>
                  <a:pt x="99" y="164"/>
                </a:cubicBezTo>
                <a:cubicBezTo>
                  <a:pt x="99" y="164"/>
                  <a:pt x="99" y="164"/>
                  <a:pt x="99" y="163"/>
                </a:cubicBezTo>
                <a:cubicBezTo>
                  <a:pt x="100" y="163"/>
                  <a:pt x="100" y="163"/>
                  <a:pt x="101" y="163"/>
                </a:cubicBezTo>
                <a:cubicBezTo>
                  <a:pt x="102" y="163"/>
                  <a:pt x="101" y="164"/>
                  <a:pt x="100" y="165"/>
                </a:cubicBezTo>
                <a:cubicBezTo>
                  <a:pt x="101" y="165"/>
                  <a:pt x="101" y="164"/>
                  <a:pt x="101" y="164"/>
                </a:cubicBezTo>
                <a:cubicBezTo>
                  <a:pt x="102" y="164"/>
                  <a:pt x="102" y="164"/>
                  <a:pt x="102" y="164"/>
                </a:cubicBezTo>
                <a:cubicBezTo>
                  <a:pt x="103" y="164"/>
                  <a:pt x="103" y="164"/>
                  <a:pt x="104" y="164"/>
                </a:cubicBezTo>
                <a:cubicBezTo>
                  <a:pt x="103" y="164"/>
                  <a:pt x="102" y="164"/>
                  <a:pt x="101" y="163"/>
                </a:cubicBezTo>
                <a:cubicBezTo>
                  <a:pt x="102" y="163"/>
                  <a:pt x="102" y="163"/>
                  <a:pt x="102" y="163"/>
                </a:cubicBezTo>
                <a:cubicBezTo>
                  <a:pt x="102" y="163"/>
                  <a:pt x="102" y="163"/>
                  <a:pt x="101" y="163"/>
                </a:cubicBezTo>
                <a:cubicBezTo>
                  <a:pt x="102" y="162"/>
                  <a:pt x="104" y="161"/>
                  <a:pt x="104" y="162"/>
                </a:cubicBezTo>
                <a:cubicBezTo>
                  <a:pt x="105" y="162"/>
                  <a:pt x="106" y="164"/>
                  <a:pt x="106" y="164"/>
                </a:cubicBezTo>
                <a:cubicBezTo>
                  <a:pt x="106" y="164"/>
                  <a:pt x="105" y="163"/>
                  <a:pt x="106" y="163"/>
                </a:cubicBezTo>
                <a:cubicBezTo>
                  <a:pt x="105" y="163"/>
                  <a:pt x="105" y="162"/>
                  <a:pt x="105" y="162"/>
                </a:cubicBezTo>
                <a:cubicBezTo>
                  <a:pt x="105" y="162"/>
                  <a:pt x="105" y="161"/>
                  <a:pt x="105" y="161"/>
                </a:cubicBezTo>
                <a:cubicBezTo>
                  <a:pt x="105" y="161"/>
                  <a:pt x="106" y="161"/>
                  <a:pt x="106" y="162"/>
                </a:cubicBezTo>
                <a:cubicBezTo>
                  <a:pt x="106" y="160"/>
                  <a:pt x="108" y="161"/>
                  <a:pt x="108" y="161"/>
                </a:cubicBezTo>
                <a:cubicBezTo>
                  <a:pt x="108" y="162"/>
                  <a:pt x="109" y="162"/>
                  <a:pt x="109" y="162"/>
                </a:cubicBezTo>
                <a:cubicBezTo>
                  <a:pt x="110" y="163"/>
                  <a:pt x="109" y="164"/>
                  <a:pt x="108" y="164"/>
                </a:cubicBezTo>
                <a:cubicBezTo>
                  <a:pt x="109" y="164"/>
                  <a:pt x="109" y="164"/>
                  <a:pt x="109" y="164"/>
                </a:cubicBezTo>
                <a:cubicBezTo>
                  <a:pt x="110" y="164"/>
                  <a:pt x="110" y="164"/>
                  <a:pt x="111" y="164"/>
                </a:cubicBezTo>
                <a:cubicBezTo>
                  <a:pt x="110" y="164"/>
                  <a:pt x="110" y="164"/>
                  <a:pt x="109" y="164"/>
                </a:cubicBezTo>
                <a:cubicBezTo>
                  <a:pt x="108" y="164"/>
                  <a:pt x="109" y="164"/>
                  <a:pt x="109" y="163"/>
                </a:cubicBezTo>
                <a:cubicBezTo>
                  <a:pt x="109" y="162"/>
                  <a:pt x="109" y="162"/>
                  <a:pt x="110" y="162"/>
                </a:cubicBezTo>
                <a:cubicBezTo>
                  <a:pt x="111" y="163"/>
                  <a:pt x="111" y="162"/>
                  <a:pt x="112" y="163"/>
                </a:cubicBezTo>
                <a:cubicBezTo>
                  <a:pt x="112" y="162"/>
                  <a:pt x="108" y="163"/>
                  <a:pt x="109" y="162"/>
                </a:cubicBezTo>
                <a:cubicBezTo>
                  <a:pt x="109" y="161"/>
                  <a:pt x="109" y="161"/>
                  <a:pt x="108" y="161"/>
                </a:cubicBezTo>
                <a:cubicBezTo>
                  <a:pt x="108" y="160"/>
                  <a:pt x="107" y="160"/>
                  <a:pt x="107" y="160"/>
                </a:cubicBezTo>
                <a:cubicBezTo>
                  <a:pt x="106" y="161"/>
                  <a:pt x="106" y="161"/>
                  <a:pt x="105" y="161"/>
                </a:cubicBezTo>
                <a:cubicBezTo>
                  <a:pt x="104" y="161"/>
                  <a:pt x="104" y="161"/>
                  <a:pt x="104" y="161"/>
                </a:cubicBezTo>
                <a:cubicBezTo>
                  <a:pt x="104" y="160"/>
                  <a:pt x="105" y="160"/>
                  <a:pt x="105" y="160"/>
                </a:cubicBezTo>
                <a:cubicBezTo>
                  <a:pt x="106" y="160"/>
                  <a:pt x="106" y="160"/>
                  <a:pt x="107" y="160"/>
                </a:cubicBezTo>
                <a:cubicBezTo>
                  <a:pt x="106" y="160"/>
                  <a:pt x="106" y="160"/>
                  <a:pt x="105" y="160"/>
                </a:cubicBezTo>
                <a:cubicBezTo>
                  <a:pt x="105" y="160"/>
                  <a:pt x="106" y="160"/>
                  <a:pt x="106" y="160"/>
                </a:cubicBezTo>
                <a:cubicBezTo>
                  <a:pt x="105" y="160"/>
                  <a:pt x="104" y="160"/>
                  <a:pt x="104" y="160"/>
                </a:cubicBezTo>
                <a:cubicBezTo>
                  <a:pt x="103" y="159"/>
                  <a:pt x="105" y="159"/>
                  <a:pt x="105" y="159"/>
                </a:cubicBezTo>
                <a:cubicBezTo>
                  <a:pt x="105" y="158"/>
                  <a:pt x="106" y="159"/>
                  <a:pt x="106" y="159"/>
                </a:cubicBezTo>
                <a:cubicBezTo>
                  <a:pt x="106" y="159"/>
                  <a:pt x="107" y="159"/>
                  <a:pt x="107" y="159"/>
                </a:cubicBezTo>
                <a:cubicBezTo>
                  <a:pt x="108" y="159"/>
                  <a:pt x="108" y="159"/>
                  <a:pt x="108" y="159"/>
                </a:cubicBezTo>
                <a:cubicBezTo>
                  <a:pt x="108" y="159"/>
                  <a:pt x="109" y="159"/>
                  <a:pt x="108" y="159"/>
                </a:cubicBezTo>
                <a:cubicBezTo>
                  <a:pt x="109" y="159"/>
                  <a:pt x="109" y="159"/>
                  <a:pt x="110" y="159"/>
                </a:cubicBezTo>
                <a:cubicBezTo>
                  <a:pt x="110" y="159"/>
                  <a:pt x="109" y="159"/>
                  <a:pt x="109" y="159"/>
                </a:cubicBezTo>
                <a:cubicBezTo>
                  <a:pt x="110" y="159"/>
                  <a:pt x="110" y="159"/>
                  <a:pt x="110" y="160"/>
                </a:cubicBezTo>
                <a:cubicBezTo>
                  <a:pt x="110" y="159"/>
                  <a:pt x="110" y="159"/>
                  <a:pt x="111" y="159"/>
                </a:cubicBezTo>
                <a:cubicBezTo>
                  <a:pt x="111" y="159"/>
                  <a:pt x="112" y="159"/>
                  <a:pt x="112" y="160"/>
                </a:cubicBezTo>
                <a:cubicBezTo>
                  <a:pt x="113" y="160"/>
                  <a:pt x="114" y="160"/>
                  <a:pt x="115" y="159"/>
                </a:cubicBezTo>
                <a:cubicBezTo>
                  <a:pt x="114" y="159"/>
                  <a:pt x="113" y="160"/>
                  <a:pt x="113" y="159"/>
                </a:cubicBezTo>
                <a:cubicBezTo>
                  <a:pt x="112" y="159"/>
                  <a:pt x="112" y="159"/>
                  <a:pt x="113" y="159"/>
                </a:cubicBezTo>
                <a:cubicBezTo>
                  <a:pt x="113" y="159"/>
                  <a:pt x="113" y="159"/>
                  <a:pt x="113" y="159"/>
                </a:cubicBezTo>
                <a:cubicBezTo>
                  <a:pt x="113" y="159"/>
                  <a:pt x="113" y="159"/>
                  <a:pt x="113" y="159"/>
                </a:cubicBezTo>
                <a:cubicBezTo>
                  <a:pt x="114" y="158"/>
                  <a:pt x="114" y="158"/>
                  <a:pt x="115" y="158"/>
                </a:cubicBezTo>
                <a:cubicBezTo>
                  <a:pt x="115" y="158"/>
                  <a:pt x="115" y="158"/>
                  <a:pt x="116" y="158"/>
                </a:cubicBezTo>
                <a:cubicBezTo>
                  <a:pt x="116" y="158"/>
                  <a:pt x="116" y="158"/>
                  <a:pt x="117" y="158"/>
                </a:cubicBezTo>
                <a:cubicBezTo>
                  <a:pt x="117" y="158"/>
                  <a:pt x="117" y="158"/>
                  <a:pt x="118" y="158"/>
                </a:cubicBezTo>
                <a:cubicBezTo>
                  <a:pt x="116" y="156"/>
                  <a:pt x="114" y="159"/>
                  <a:pt x="112" y="158"/>
                </a:cubicBezTo>
                <a:cubicBezTo>
                  <a:pt x="112" y="158"/>
                  <a:pt x="112" y="158"/>
                  <a:pt x="112" y="158"/>
                </a:cubicBezTo>
                <a:cubicBezTo>
                  <a:pt x="113" y="158"/>
                  <a:pt x="114" y="158"/>
                  <a:pt x="114" y="157"/>
                </a:cubicBezTo>
                <a:cubicBezTo>
                  <a:pt x="114" y="157"/>
                  <a:pt x="113" y="157"/>
                  <a:pt x="112" y="158"/>
                </a:cubicBezTo>
                <a:cubicBezTo>
                  <a:pt x="111" y="158"/>
                  <a:pt x="111" y="158"/>
                  <a:pt x="110" y="158"/>
                </a:cubicBezTo>
                <a:cubicBezTo>
                  <a:pt x="109" y="158"/>
                  <a:pt x="109" y="158"/>
                  <a:pt x="109" y="157"/>
                </a:cubicBezTo>
                <a:cubicBezTo>
                  <a:pt x="110" y="157"/>
                  <a:pt x="110" y="157"/>
                  <a:pt x="111" y="157"/>
                </a:cubicBezTo>
                <a:cubicBezTo>
                  <a:pt x="110" y="157"/>
                  <a:pt x="110" y="157"/>
                  <a:pt x="110" y="157"/>
                </a:cubicBezTo>
                <a:cubicBezTo>
                  <a:pt x="109" y="157"/>
                  <a:pt x="109" y="157"/>
                  <a:pt x="109" y="156"/>
                </a:cubicBezTo>
                <a:cubicBezTo>
                  <a:pt x="108" y="156"/>
                  <a:pt x="110" y="155"/>
                  <a:pt x="111" y="155"/>
                </a:cubicBezTo>
                <a:cubicBezTo>
                  <a:pt x="112" y="155"/>
                  <a:pt x="112" y="156"/>
                  <a:pt x="113" y="156"/>
                </a:cubicBezTo>
                <a:cubicBezTo>
                  <a:pt x="114" y="156"/>
                  <a:pt x="114" y="155"/>
                  <a:pt x="115" y="156"/>
                </a:cubicBezTo>
                <a:cubicBezTo>
                  <a:pt x="115" y="156"/>
                  <a:pt x="114" y="156"/>
                  <a:pt x="114" y="156"/>
                </a:cubicBezTo>
                <a:cubicBezTo>
                  <a:pt x="116" y="156"/>
                  <a:pt x="117" y="155"/>
                  <a:pt x="118" y="157"/>
                </a:cubicBezTo>
                <a:cubicBezTo>
                  <a:pt x="118" y="157"/>
                  <a:pt x="119" y="157"/>
                  <a:pt x="120" y="158"/>
                </a:cubicBezTo>
                <a:cubicBezTo>
                  <a:pt x="120" y="158"/>
                  <a:pt x="121" y="158"/>
                  <a:pt x="121" y="158"/>
                </a:cubicBezTo>
                <a:cubicBezTo>
                  <a:pt x="121" y="158"/>
                  <a:pt x="119" y="157"/>
                  <a:pt x="119" y="157"/>
                </a:cubicBezTo>
                <a:cubicBezTo>
                  <a:pt x="119" y="157"/>
                  <a:pt x="117" y="156"/>
                  <a:pt x="118" y="156"/>
                </a:cubicBezTo>
                <a:cubicBezTo>
                  <a:pt x="118" y="156"/>
                  <a:pt x="118" y="156"/>
                  <a:pt x="117" y="156"/>
                </a:cubicBezTo>
                <a:cubicBezTo>
                  <a:pt x="117" y="155"/>
                  <a:pt x="117" y="155"/>
                  <a:pt x="116" y="155"/>
                </a:cubicBezTo>
                <a:cubicBezTo>
                  <a:pt x="117" y="155"/>
                  <a:pt x="116" y="155"/>
                  <a:pt x="116" y="155"/>
                </a:cubicBezTo>
                <a:cubicBezTo>
                  <a:pt x="116" y="155"/>
                  <a:pt x="117" y="154"/>
                  <a:pt x="117" y="154"/>
                </a:cubicBezTo>
                <a:cubicBezTo>
                  <a:pt x="118" y="154"/>
                  <a:pt x="118" y="155"/>
                  <a:pt x="118" y="155"/>
                </a:cubicBezTo>
                <a:cubicBezTo>
                  <a:pt x="118" y="155"/>
                  <a:pt x="118" y="155"/>
                  <a:pt x="119" y="155"/>
                </a:cubicBezTo>
                <a:cubicBezTo>
                  <a:pt x="119" y="155"/>
                  <a:pt x="119" y="156"/>
                  <a:pt x="119" y="157"/>
                </a:cubicBezTo>
                <a:cubicBezTo>
                  <a:pt x="120" y="156"/>
                  <a:pt x="120" y="157"/>
                  <a:pt x="121" y="157"/>
                </a:cubicBezTo>
                <a:cubicBezTo>
                  <a:pt x="120" y="157"/>
                  <a:pt x="120" y="156"/>
                  <a:pt x="120" y="156"/>
                </a:cubicBezTo>
                <a:cubicBezTo>
                  <a:pt x="120" y="156"/>
                  <a:pt x="121" y="156"/>
                  <a:pt x="121" y="157"/>
                </a:cubicBezTo>
                <a:cubicBezTo>
                  <a:pt x="121" y="157"/>
                  <a:pt x="122" y="157"/>
                  <a:pt x="122" y="157"/>
                </a:cubicBezTo>
                <a:cubicBezTo>
                  <a:pt x="122" y="157"/>
                  <a:pt x="120" y="156"/>
                  <a:pt x="120" y="156"/>
                </a:cubicBezTo>
                <a:cubicBezTo>
                  <a:pt x="120" y="156"/>
                  <a:pt x="121" y="156"/>
                  <a:pt x="122" y="155"/>
                </a:cubicBezTo>
                <a:cubicBezTo>
                  <a:pt x="122" y="155"/>
                  <a:pt x="121" y="155"/>
                  <a:pt x="120" y="155"/>
                </a:cubicBezTo>
                <a:cubicBezTo>
                  <a:pt x="121" y="155"/>
                  <a:pt x="121" y="155"/>
                  <a:pt x="121" y="155"/>
                </a:cubicBezTo>
                <a:cubicBezTo>
                  <a:pt x="121" y="155"/>
                  <a:pt x="120" y="156"/>
                  <a:pt x="119" y="155"/>
                </a:cubicBezTo>
                <a:cubicBezTo>
                  <a:pt x="120" y="155"/>
                  <a:pt x="120" y="155"/>
                  <a:pt x="120" y="155"/>
                </a:cubicBezTo>
                <a:cubicBezTo>
                  <a:pt x="120" y="155"/>
                  <a:pt x="119" y="155"/>
                  <a:pt x="119" y="155"/>
                </a:cubicBezTo>
                <a:cubicBezTo>
                  <a:pt x="119" y="155"/>
                  <a:pt x="118" y="154"/>
                  <a:pt x="118" y="154"/>
                </a:cubicBezTo>
                <a:cubicBezTo>
                  <a:pt x="118" y="154"/>
                  <a:pt x="119" y="154"/>
                  <a:pt x="119" y="154"/>
                </a:cubicBezTo>
                <a:cubicBezTo>
                  <a:pt x="119" y="154"/>
                  <a:pt x="119" y="154"/>
                  <a:pt x="119" y="154"/>
                </a:cubicBezTo>
                <a:cubicBezTo>
                  <a:pt x="119" y="154"/>
                  <a:pt x="119" y="154"/>
                  <a:pt x="119" y="154"/>
                </a:cubicBezTo>
                <a:cubicBezTo>
                  <a:pt x="120" y="154"/>
                  <a:pt x="121" y="154"/>
                  <a:pt x="121" y="154"/>
                </a:cubicBezTo>
                <a:cubicBezTo>
                  <a:pt x="121" y="154"/>
                  <a:pt x="121" y="154"/>
                  <a:pt x="121" y="154"/>
                </a:cubicBezTo>
                <a:cubicBezTo>
                  <a:pt x="121" y="154"/>
                  <a:pt x="122" y="153"/>
                  <a:pt x="122" y="153"/>
                </a:cubicBezTo>
                <a:cubicBezTo>
                  <a:pt x="123" y="153"/>
                  <a:pt x="124" y="153"/>
                  <a:pt x="124" y="153"/>
                </a:cubicBezTo>
                <a:cubicBezTo>
                  <a:pt x="123" y="153"/>
                  <a:pt x="122" y="154"/>
                  <a:pt x="121" y="153"/>
                </a:cubicBezTo>
                <a:cubicBezTo>
                  <a:pt x="120" y="152"/>
                  <a:pt x="122" y="152"/>
                  <a:pt x="122" y="152"/>
                </a:cubicBezTo>
                <a:cubicBezTo>
                  <a:pt x="122" y="152"/>
                  <a:pt x="122" y="151"/>
                  <a:pt x="122" y="151"/>
                </a:cubicBezTo>
                <a:cubicBezTo>
                  <a:pt x="123" y="151"/>
                  <a:pt x="123" y="151"/>
                  <a:pt x="123" y="151"/>
                </a:cubicBezTo>
                <a:cubicBezTo>
                  <a:pt x="124" y="151"/>
                  <a:pt x="124" y="151"/>
                  <a:pt x="124" y="151"/>
                </a:cubicBezTo>
                <a:cubicBezTo>
                  <a:pt x="124" y="151"/>
                  <a:pt x="125" y="151"/>
                  <a:pt x="125" y="151"/>
                </a:cubicBezTo>
                <a:cubicBezTo>
                  <a:pt x="125" y="152"/>
                  <a:pt x="125" y="152"/>
                  <a:pt x="125" y="153"/>
                </a:cubicBezTo>
                <a:cubicBezTo>
                  <a:pt x="125" y="152"/>
                  <a:pt x="127" y="152"/>
                  <a:pt x="128" y="151"/>
                </a:cubicBezTo>
                <a:cubicBezTo>
                  <a:pt x="128" y="151"/>
                  <a:pt x="126" y="152"/>
                  <a:pt x="126" y="151"/>
                </a:cubicBezTo>
                <a:cubicBezTo>
                  <a:pt x="126" y="151"/>
                  <a:pt x="128" y="151"/>
                  <a:pt x="128" y="151"/>
                </a:cubicBezTo>
                <a:cubicBezTo>
                  <a:pt x="128" y="151"/>
                  <a:pt x="127" y="151"/>
                  <a:pt x="126" y="151"/>
                </a:cubicBezTo>
                <a:cubicBezTo>
                  <a:pt x="126" y="151"/>
                  <a:pt x="125" y="151"/>
                  <a:pt x="126" y="150"/>
                </a:cubicBezTo>
                <a:cubicBezTo>
                  <a:pt x="126" y="150"/>
                  <a:pt x="126" y="150"/>
                  <a:pt x="127" y="150"/>
                </a:cubicBezTo>
                <a:cubicBezTo>
                  <a:pt x="127" y="150"/>
                  <a:pt x="127" y="150"/>
                  <a:pt x="127" y="150"/>
                </a:cubicBezTo>
                <a:cubicBezTo>
                  <a:pt x="128" y="150"/>
                  <a:pt x="128" y="150"/>
                  <a:pt x="129" y="150"/>
                </a:cubicBezTo>
                <a:cubicBezTo>
                  <a:pt x="129" y="150"/>
                  <a:pt x="128" y="150"/>
                  <a:pt x="128" y="150"/>
                </a:cubicBezTo>
                <a:cubicBezTo>
                  <a:pt x="128" y="149"/>
                  <a:pt x="129" y="149"/>
                  <a:pt x="129" y="149"/>
                </a:cubicBezTo>
                <a:cubicBezTo>
                  <a:pt x="130" y="149"/>
                  <a:pt x="130" y="149"/>
                  <a:pt x="130" y="150"/>
                </a:cubicBezTo>
                <a:cubicBezTo>
                  <a:pt x="131" y="150"/>
                  <a:pt x="131" y="151"/>
                  <a:pt x="131" y="151"/>
                </a:cubicBezTo>
                <a:cubicBezTo>
                  <a:pt x="132" y="152"/>
                  <a:pt x="131" y="152"/>
                  <a:pt x="130" y="152"/>
                </a:cubicBezTo>
                <a:cubicBezTo>
                  <a:pt x="131" y="152"/>
                  <a:pt x="131" y="152"/>
                  <a:pt x="132" y="152"/>
                </a:cubicBezTo>
                <a:cubicBezTo>
                  <a:pt x="133" y="152"/>
                  <a:pt x="133" y="152"/>
                  <a:pt x="134" y="152"/>
                </a:cubicBezTo>
                <a:cubicBezTo>
                  <a:pt x="133" y="152"/>
                  <a:pt x="133" y="152"/>
                  <a:pt x="132" y="152"/>
                </a:cubicBezTo>
                <a:cubicBezTo>
                  <a:pt x="132" y="151"/>
                  <a:pt x="133" y="151"/>
                  <a:pt x="133" y="151"/>
                </a:cubicBezTo>
                <a:cubicBezTo>
                  <a:pt x="134" y="151"/>
                  <a:pt x="134" y="151"/>
                  <a:pt x="134" y="151"/>
                </a:cubicBezTo>
                <a:cubicBezTo>
                  <a:pt x="135" y="151"/>
                  <a:pt x="135" y="151"/>
                  <a:pt x="135" y="151"/>
                </a:cubicBezTo>
                <a:cubicBezTo>
                  <a:pt x="135" y="151"/>
                  <a:pt x="136" y="151"/>
                  <a:pt x="136" y="151"/>
                </a:cubicBezTo>
                <a:cubicBezTo>
                  <a:pt x="136" y="151"/>
                  <a:pt x="137" y="151"/>
                  <a:pt x="138" y="151"/>
                </a:cubicBezTo>
                <a:cubicBezTo>
                  <a:pt x="138" y="151"/>
                  <a:pt x="139" y="151"/>
                  <a:pt x="138" y="151"/>
                </a:cubicBezTo>
                <a:cubicBezTo>
                  <a:pt x="138" y="151"/>
                  <a:pt x="137" y="150"/>
                  <a:pt x="137" y="150"/>
                </a:cubicBezTo>
                <a:cubicBezTo>
                  <a:pt x="138" y="150"/>
                  <a:pt x="138" y="150"/>
                  <a:pt x="139" y="150"/>
                </a:cubicBezTo>
                <a:cubicBezTo>
                  <a:pt x="138" y="150"/>
                  <a:pt x="138" y="150"/>
                  <a:pt x="139" y="149"/>
                </a:cubicBezTo>
                <a:cubicBezTo>
                  <a:pt x="138" y="150"/>
                  <a:pt x="137" y="150"/>
                  <a:pt x="137" y="150"/>
                </a:cubicBezTo>
                <a:cubicBezTo>
                  <a:pt x="137" y="149"/>
                  <a:pt x="137" y="149"/>
                  <a:pt x="138" y="149"/>
                </a:cubicBezTo>
                <a:cubicBezTo>
                  <a:pt x="139" y="149"/>
                  <a:pt x="139" y="148"/>
                  <a:pt x="140" y="148"/>
                </a:cubicBezTo>
                <a:cubicBezTo>
                  <a:pt x="140" y="148"/>
                  <a:pt x="141" y="148"/>
                  <a:pt x="142" y="148"/>
                </a:cubicBezTo>
                <a:cubicBezTo>
                  <a:pt x="142" y="148"/>
                  <a:pt x="143" y="148"/>
                  <a:pt x="142" y="147"/>
                </a:cubicBezTo>
                <a:cubicBezTo>
                  <a:pt x="142" y="147"/>
                  <a:pt x="143" y="147"/>
                  <a:pt x="142" y="147"/>
                </a:cubicBezTo>
                <a:cubicBezTo>
                  <a:pt x="142" y="147"/>
                  <a:pt x="141" y="147"/>
                  <a:pt x="141" y="147"/>
                </a:cubicBezTo>
                <a:cubicBezTo>
                  <a:pt x="141" y="147"/>
                  <a:pt x="140" y="147"/>
                  <a:pt x="140" y="147"/>
                </a:cubicBezTo>
                <a:cubicBezTo>
                  <a:pt x="140" y="146"/>
                  <a:pt x="143" y="146"/>
                  <a:pt x="143" y="145"/>
                </a:cubicBezTo>
                <a:cubicBezTo>
                  <a:pt x="142" y="145"/>
                  <a:pt x="142" y="145"/>
                  <a:pt x="141" y="145"/>
                </a:cubicBezTo>
                <a:cubicBezTo>
                  <a:pt x="140" y="145"/>
                  <a:pt x="142" y="145"/>
                  <a:pt x="142" y="144"/>
                </a:cubicBezTo>
                <a:cubicBezTo>
                  <a:pt x="141" y="144"/>
                  <a:pt x="140" y="146"/>
                  <a:pt x="140" y="146"/>
                </a:cubicBezTo>
                <a:cubicBezTo>
                  <a:pt x="139" y="146"/>
                  <a:pt x="139" y="147"/>
                  <a:pt x="138" y="147"/>
                </a:cubicBezTo>
                <a:cubicBezTo>
                  <a:pt x="137" y="147"/>
                  <a:pt x="137" y="147"/>
                  <a:pt x="136" y="147"/>
                </a:cubicBezTo>
                <a:cubicBezTo>
                  <a:pt x="137" y="147"/>
                  <a:pt x="138" y="147"/>
                  <a:pt x="139" y="147"/>
                </a:cubicBezTo>
                <a:cubicBezTo>
                  <a:pt x="139" y="146"/>
                  <a:pt x="140" y="147"/>
                  <a:pt x="139" y="147"/>
                </a:cubicBezTo>
                <a:cubicBezTo>
                  <a:pt x="139" y="148"/>
                  <a:pt x="138" y="148"/>
                  <a:pt x="138" y="148"/>
                </a:cubicBezTo>
                <a:cubicBezTo>
                  <a:pt x="137" y="149"/>
                  <a:pt x="136" y="149"/>
                  <a:pt x="135" y="150"/>
                </a:cubicBezTo>
                <a:cubicBezTo>
                  <a:pt x="135" y="150"/>
                  <a:pt x="134" y="150"/>
                  <a:pt x="134" y="150"/>
                </a:cubicBezTo>
                <a:cubicBezTo>
                  <a:pt x="133" y="150"/>
                  <a:pt x="133" y="150"/>
                  <a:pt x="133" y="150"/>
                </a:cubicBezTo>
                <a:cubicBezTo>
                  <a:pt x="132" y="151"/>
                  <a:pt x="131" y="151"/>
                  <a:pt x="131" y="150"/>
                </a:cubicBezTo>
                <a:cubicBezTo>
                  <a:pt x="131" y="150"/>
                  <a:pt x="130" y="149"/>
                  <a:pt x="131" y="149"/>
                </a:cubicBezTo>
                <a:cubicBezTo>
                  <a:pt x="131" y="148"/>
                  <a:pt x="132" y="148"/>
                  <a:pt x="133" y="148"/>
                </a:cubicBezTo>
                <a:cubicBezTo>
                  <a:pt x="132" y="148"/>
                  <a:pt x="132" y="148"/>
                  <a:pt x="132" y="148"/>
                </a:cubicBezTo>
                <a:cubicBezTo>
                  <a:pt x="132" y="148"/>
                  <a:pt x="132" y="148"/>
                  <a:pt x="132" y="148"/>
                </a:cubicBezTo>
                <a:cubicBezTo>
                  <a:pt x="132" y="148"/>
                  <a:pt x="131" y="148"/>
                  <a:pt x="130" y="148"/>
                </a:cubicBezTo>
                <a:cubicBezTo>
                  <a:pt x="130" y="148"/>
                  <a:pt x="129" y="149"/>
                  <a:pt x="128" y="149"/>
                </a:cubicBezTo>
                <a:cubicBezTo>
                  <a:pt x="129" y="148"/>
                  <a:pt x="129" y="148"/>
                  <a:pt x="130" y="148"/>
                </a:cubicBezTo>
                <a:cubicBezTo>
                  <a:pt x="130" y="148"/>
                  <a:pt x="129" y="148"/>
                  <a:pt x="129" y="148"/>
                </a:cubicBezTo>
                <a:cubicBezTo>
                  <a:pt x="129" y="148"/>
                  <a:pt x="130" y="147"/>
                  <a:pt x="130" y="147"/>
                </a:cubicBezTo>
                <a:cubicBezTo>
                  <a:pt x="130" y="147"/>
                  <a:pt x="130" y="147"/>
                  <a:pt x="129" y="147"/>
                </a:cubicBezTo>
                <a:cubicBezTo>
                  <a:pt x="130" y="147"/>
                  <a:pt x="130" y="147"/>
                  <a:pt x="131" y="147"/>
                </a:cubicBezTo>
                <a:cubicBezTo>
                  <a:pt x="131" y="147"/>
                  <a:pt x="131" y="147"/>
                  <a:pt x="131" y="147"/>
                </a:cubicBezTo>
                <a:cubicBezTo>
                  <a:pt x="131" y="146"/>
                  <a:pt x="132" y="147"/>
                  <a:pt x="132" y="146"/>
                </a:cubicBezTo>
                <a:cubicBezTo>
                  <a:pt x="132" y="146"/>
                  <a:pt x="133" y="146"/>
                  <a:pt x="134" y="146"/>
                </a:cubicBezTo>
                <a:cubicBezTo>
                  <a:pt x="133" y="145"/>
                  <a:pt x="132" y="147"/>
                  <a:pt x="131" y="146"/>
                </a:cubicBezTo>
                <a:cubicBezTo>
                  <a:pt x="131" y="146"/>
                  <a:pt x="133" y="146"/>
                  <a:pt x="133" y="146"/>
                </a:cubicBezTo>
                <a:cubicBezTo>
                  <a:pt x="131" y="146"/>
                  <a:pt x="133" y="146"/>
                  <a:pt x="133" y="146"/>
                </a:cubicBezTo>
                <a:cubicBezTo>
                  <a:pt x="132" y="146"/>
                  <a:pt x="132" y="146"/>
                  <a:pt x="131" y="146"/>
                </a:cubicBezTo>
                <a:cubicBezTo>
                  <a:pt x="132" y="146"/>
                  <a:pt x="132" y="145"/>
                  <a:pt x="132" y="145"/>
                </a:cubicBezTo>
                <a:cubicBezTo>
                  <a:pt x="132" y="145"/>
                  <a:pt x="132" y="145"/>
                  <a:pt x="132" y="145"/>
                </a:cubicBezTo>
                <a:cubicBezTo>
                  <a:pt x="133" y="145"/>
                  <a:pt x="133" y="145"/>
                  <a:pt x="134" y="144"/>
                </a:cubicBezTo>
                <a:cubicBezTo>
                  <a:pt x="132" y="145"/>
                  <a:pt x="133" y="144"/>
                  <a:pt x="133" y="144"/>
                </a:cubicBezTo>
                <a:cubicBezTo>
                  <a:pt x="133" y="144"/>
                  <a:pt x="133" y="144"/>
                  <a:pt x="134" y="144"/>
                </a:cubicBezTo>
                <a:cubicBezTo>
                  <a:pt x="134" y="144"/>
                  <a:pt x="135" y="144"/>
                  <a:pt x="135" y="144"/>
                </a:cubicBezTo>
                <a:cubicBezTo>
                  <a:pt x="135" y="143"/>
                  <a:pt x="134" y="143"/>
                  <a:pt x="134" y="143"/>
                </a:cubicBezTo>
                <a:cubicBezTo>
                  <a:pt x="134" y="143"/>
                  <a:pt x="135" y="143"/>
                  <a:pt x="135" y="143"/>
                </a:cubicBezTo>
                <a:cubicBezTo>
                  <a:pt x="135" y="142"/>
                  <a:pt x="136" y="142"/>
                  <a:pt x="136" y="142"/>
                </a:cubicBezTo>
                <a:cubicBezTo>
                  <a:pt x="135" y="142"/>
                  <a:pt x="137" y="142"/>
                  <a:pt x="137" y="142"/>
                </a:cubicBezTo>
                <a:cubicBezTo>
                  <a:pt x="136" y="142"/>
                  <a:pt x="136" y="141"/>
                  <a:pt x="136" y="141"/>
                </a:cubicBezTo>
                <a:cubicBezTo>
                  <a:pt x="136" y="141"/>
                  <a:pt x="137" y="141"/>
                  <a:pt x="137" y="141"/>
                </a:cubicBezTo>
                <a:cubicBezTo>
                  <a:pt x="137" y="141"/>
                  <a:pt x="137" y="142"/>
                  <a:pt x="138" y="142"/>
                </a:cubicBezTo>
                <a:cubicBezTo>
                  <a:pt x="138" y="142"/>
                  <a:pt x="138" y="141"/>
                  <a:pt x="138" y="141"/>
                </a:cubicBezTo>
                <a:cubicBezTo>
                  <a:pt x="137" y="141"/>
                  <a:pt x="137" y="141"/>
                  <a:pt x="137" y="141"/>
                </a:cubicBezTo>
                <a:cubicBezTo>
                  <a:pt x="137" y="141"/>
                  <a:pt x="137" y="141"/>
                  <a:pt x="137" y="141"/>
                </a:cubicBezTo>
                <a:cubicBezTo>
                  <a:pt x="138" y="140"/>
                  <a:pt x="138" y="141"/>
                  <a:pt x="138" y="141"/>
                </a:cubicBezTo>
                <a:cubicBezTo>
                  <a:pt x="138" y="140"/>
                  <a:pt x="139" y="141"/>
                  <a:pt x="139" y="141"/>
                </a:cubicBezTo>
                <a:cubicBezTo>
                  <a:pt x="139" y="140"/>
                  <a:pt x="139" y="140"/>
                  <a:pt x="139" y="140"/>
                </a:cubicBezTo>
                <a:cubicBezTo>
                  <a:pt x="139" y="139"/>
                  <a:pt x="139" y="140"/>
                  <a:pt x="139" y="140"/>
                </a:cubicBezTo>
                <a:cubicBezTo>
                  <a:pt x="140" y="140"/>
                  <a:pt x="140" y="140"/>
                  <a:pt x="140" y="140"/>
                </a:cubicBezTo>
                <a:cubicBezTo>
                  <a:pt x="140" y="141"/>
                  <a:pt x="140" y="140"/>
                  <a:pt x="140" y="141"/>
                </a:cubicBezTo>
                <a:cubicBezTo>
                  <a:pt x="140" y="141"/>
                  <a:pt x="140" y="141"/>
                  <a:pt x="140" y="141"/>
                </a:cubicBezTo>
                <a:cubicBezTo>
                  <a:pt x="141" y="141"/>
                  <a:pt x="141" y="141"/>
                  <a:pt x="141" y="141"/>
                </a:cubicBezTo>
                <a:cubicBezTo>
                  <a:pt x="142" y="141"/>
                  <a:pt x="141" y="142"/>
                  <a:pt x="141" y="142"/>
                </a:cubicBezTo>
                <a:cubicBezTo>
                  <a:pt x="141" y="142"/>
                  <a:pt x="142" y="142"/>
                  <a:pt x="142" y="142"/>
                </a:cubicBezTo>
                <a:cubicBezTo>
                  <a:pt x="142" y="141"/>
                  <a:pt x="144" y="141"/>
                  <a:pt x="144" y="141"/>
                </a:cubicBezTo>
                <a:cubicBezTo>
                  <a:pt x="144" y="141"/>
                  <a:pt x="143" y="141"/>
                  <a:pt x="143" y="141"/>
                </a:cubicBezTo>
                <a:cubicBezTo>
                  <a:pt x="142" y="141"/>
                  <a:pt x="143" y="140"/>
                  <a:pt x="143" y="140"/>
                </a:cubicBezTo>
                <a:cubicBezTo>
                  <a:pt x="143" y="140"/>
                  <a:pt x="143" y="140"/>
                  <a:pt x="143" y="140"/>
                </a:cubicBezTo>
                <a:cubicBezTo>
                  <a:pt x="144" y="140"/>
                  <a:pt x="144" y="140"/>
                  <a:pt x="145" y="140"/>
                </a:cubicBezTo>
                <a:cubicBezTo>
                  <a:pt x="145" y="140"/>
                  <a:pt x="144" y="140"/>
                  <a:pt x="144" y="140"/>
                </a:cubicBezTo>
                <a:cubicBezTo>
                  <a:pt x="144" y="140"/>
                  <a:pt x="144" y="139"/>
                  <a:pt x="143" y="140"/>
                </a:cubicBezTo>
                <a:cubicBezTo>
                  <a:pt x="144" y="140"/>
                  <a:pt x="143" y="140"/>
                  <a:pt x="142" y="140"/>
                </a:cubicBezTo>
                <a:cubicBezTo>
                  <a:pt x="142" y="139"/>
                  <a:pt x="142" y="139"/>
                  <a:pt x="142" y="139"/>
                </a:cubicBezTo>
                <a:cubicBezTo>
                  <a:pt x="142" y="138"/>
                  <a:pt x="144" y="138"/>
                  <a:pt x="143" y="138"/>
                </a:cubicBezTo>
                <a:cubicBezTo>
                  <a:pt x="144" y="138"/>
                  <a:pt x="145" y="138"/>
                  <a:pt x="145" y="138"/>
                </a:cubicBezTo>
                <a:cubicBezTo>
                  <a:pt x="145" y="138"/>
                  <a:pt x="144" y="138"/>
                  <a:pt x="144" y="138"/>
                </a:cubicBezTo>
                <a:cubicBezTo>
                  <a:pt x="144" y="137"/>
                  <a:pt x="145" y="138"/>
                  <a:pt x="145" y="137"/>
                </a:cubicBezTo>
                <a:cubicBezTo>
                  <a:pt x="145" y="137"/>
                  <a:pt x="144" y="137"/>
                  <a:pt x="144" y="137"/>
                </a:cubicBezTo>
                <a:cubicBezTo>
                  <a:pt x="144" y="137"/>
                  <a:pt x="144" y="137"/>
                  <a:pt x="144" y="137"/>
                </a:cubicBezTo>
                <a:cubicBezTo>
                  <a:pt x="144" y="137"/>
                  <a:pt x="144" y="137"/>
                  <a:pt x="144" y="137"/>
                </a:cubicBezTo>
                <a:cubicBezTo>
                  <a:pt x="143" y="138"/>
                  <a:pt x="142" y="138"/>
                  <a:pt x="141" y="138"/>
                </a:cubicBezTo>
                <a:cubicBezTo>
                  <a:pt x="141" y="138"/>
                  <a:pt x="142" y="138"/>
                  <a:pt x="142" y="138"/>
                </a:cubicBezTo>
                <a:cubicBezTo>
                  <a:pt x="142" y="138"/>
                  <a:pt x="141" y="138"/>
                  <a:pt x="141" y="138"/>
                </a:cubicBezTo>
                <a:cubicBezTo>
                  <a:pt x="141" y="137"/>
                  <a:pt x="141" y="137"/>
                  <a:pt x="142" y="137"/>
                </a:cubicBezTo>
                <a:cubicBezTo>
                  <a:pt x="142" y="137"/>
                  <a:pt x="141" y="137"/>
                  <a:pt x="141" y="137"/>
                </a:cubicBezTo>
                <a:cubicBezTo>
                  <a:pt x="141" y="137"/>
                  <a:pt x="142" y="137"/>
                  <a:pt x="142" y="137"/>
                </a:cubicBezTo>
                <a:cubicBezTo>
                  <a:pt x="143" y="136"/>
                  <a:pt x="143" y="137"/>
                  <a:pt x="144" y="136"/>
                </a:cubicBezTo>
                <a:cubicBezTo>
                  <a:pt x="143" y="137"/>
                  <a:pt x="143" y="137"/>
                  <a:pt x="143" y="136"/>
                </a:cubicBezTo>
                <a:cubicBezTo>
                  <a:pt x="143" y="136"/>
                  <a:pt x="144" y="136"/>
                  <a:pt x="144" y="136"/>
                </a:cubicBezTo>
                <a:cubicBezTo>
                  <a:pt x="144" y="136"/>
                  <a:pt x="145" y="136"/>
                  <a:pt x="145" y="136"/>
                </a:cubicBezTo>
                <a:cubicBezTo>
                  <a:pt x="144" y="136"/>
                  <a:pt x="144" y="136"/>
                  <a:pt x="144" y="136"/>
                </a:cubicBezTo>
                <a:cubicBezTo>
                  <a:pt x="144" y="136"/>
                  <a:pt x="144" y="136"/>
                  <a:pt x="145" y="136"/>
                </a:cubicBezTo>
                <a:cubicBezTo>
                  <a:pt x="145" y="136"/>
                  <a:pt x="145" y="136"/>
                  <a:pt x="145" y="136"/>
                </a:cubicBezTo>
                <a:cubicBezTo>
                  <a:pt x="145" y="136"/>
                  <a:pt x="145" y="136"/>
                  <a:pt x="145" y="136"/>
                </a:cubicBezTo>
                <a:cubicBezTo>
                  <a:pt x="145" y="135"/>
                  <a:pt x="146" y="135"/>
                  <a:pt x="146" y="135"/>
                </a:cubicBezTo>
                <a:cubicBezTo>
                  <a:pt x="146" y="134"/>
                  <a:pt x="147" y="134"/>
                  <a:pt x="147" y="134"/>
                </a:cubicBezTo>
                <a:cubicBezTo>
                  <a:pt x="147" y="135"/>
                  <a:pt x="147" y="135"/>
                  <a:pt x="147" y="135"/>
                </a:cubicBezTo>
                <a:cubicBezTo>
                  <a:pt x="147" y="135"/>
                  <a:pt x="147" y="135"/>
                  <a:pt x="147" y="135"/>
                </a:cubicBezTo>
                <a:cubicBezTo>
                  <a:pt x="147" y="135"/>
                  <a:pt x="147" y="135"/>
                  <a:pt x="148" y="135"/>
                </a:cubicBezTo>
                <a:cubicBezTo>
                  <a:pt x="147" y="135"/>
                  <a:pt x="148" y="134"/>
                  <a:pt x="148" y="134"/>
                </a:cubicBezTo>
                <a:cubicBezTo>
                  <a:pt x="149" y="134"/>
                  <a:pt x="148" y="135"/>
                  <a:pt x="149" y="135"/>
                </a:cubicBezTo>
                <a:cubicBezTo>
                  <a:pt x="148" y="135"/>
                  <a:pt x="147" y="135"/>
                  <a:pt x="147" y="135"/>
                </a:cubicBezTo>
                <a:cubicBezTo>
                  <a:pt x="147" y="135"/>
                  <a:pt x="150" y="136"/>
                  <a:pt x="150" y="135"/>
                </a:cubicBezTo>
                <a:cubicBezTo>
                  <a:pt x="150" y="135"/>
                  <a:pt x="150" y="135"/>
                  <a:pt x="150" y="135"/>
                </a:cubicBezTo>
                <a:cubicBezTo>
                  <a:pt x="150" y="134"/>
                  <a:pt x="151" y="134"/>
                  <a:pt x="152" y="134"/>
                </a:cubicBezTo>
                <a:cubicBezTo>
                  <a:pt x="152" y="134"/>
                  <a:pt x="154" y="133"/>
                  <a:pt x="154" y="133"/>
                </a:cubicBezTo>
                <a:cubicBezTo>
                  <a:pt x="153" y="133"/>
                  <a:pt x="151" y="134"/>
                  <a:pt x="151" y="134"/>
                </a:cubicBezTo>
                <a:cubicBezTo>
                  <a:pt x="150" y="135"/>
                  <a:pt x="150" y="135"/>
                  <a:pt x="149" y="134"/>
                </a:cubicBezTo>
                <a:cubicBezTo>
                  <a:pt x="149" y="134"/>
                  <a:pt x="150" y="134"/>
                  <a:pt x="150" y="134"/>
                </a:cubicBezTo>
                <a:cubicBezTo>
                  <a:pt x="150" y="134"/>
                  <a:pt x="149" y="134"/>
                  <a:pt x="149" y="134"/>
                </a:cubicBezTo>
                <a:cubicBezTo>
                  <a:pt x="149" y="133"/>
                  <a:pt x="149" y="133"/>
                  <a:pt x="150" y="133"/>
                </a:cubicBezTo>
                <a:cubicBezTo>
                  <a:pt x="149" y="133"/>
                  <a:pt x="149" y="133"/>
                  <a:pt x="148" y="134"/>
                </a:cubicBezTo>
                <a:cubicBezTo>
                  <a:pt x="149" y="133"/>
                  <a:pt x="149" y="133"/>
                  <a:pt x="150" y="133"/>
                </a:cubicBezTo>
                <a:cubicBezTo>
                  <a:pt x="150" y="133"/>
                  <a:pt x="150" y="133"/>
                  <a:pt x="150" y="133"/>
                </a:cubicBezTo>
                <a:cubicBezTo>
                  <a:pt x="150" y="133"/>
                  <a:pt x="150" y="132"/>
                  <a:pt x="150" y="132"/>
                </a:cubicBezTo>
                <a:cubicBezTo>
                  <a:pt x="149" y="132"/>
                  <a:pt x="149" y="133"/>
                  <a:pt x="148" y="133"/>
                </a:cubicBezTo>
                <a:cubicBezTo>
                  <a:pt x="149" y="133"/>
                  <a:pt x="147" y="134"/>
                  <a:pt x="147" y="134"/>
                </a:cubicBezTo>
                <a:cubicBezTo>
                  <a:pt x="147" y="133"/>
                  <a:pt x="147" y="133"/>
                  <a:pt x="147" y="133"/>
                </a:cubicBezTo>
                <a:cubicBezTo>
                  <a:pt x="147" y="133"/>
                  <a:pt x="147" y="133"/>
                  <a:pt x="147" y="133"/>
                </a:cubicBezTo>
                <a:cubicBezTo>
                  <a:pt x="147" y="133"/>
                  <a:pt x="148" y="132"/>
                  <a:pt x="148" y="132"/>
                </a:cubicBezTo>
                <a:cubicBezTo>
                  <a:pt x="147" y="132"/>
                  <a:pt x="149" y="132"/>
                  <a:pt x="149" y="131"/>
                </a:cubicBezTo>
                <a:cubicBezTo>
                  <a:pt x="149" y="131"/>
                  <a:pt x="148" y="132"/>
                  <a:pt x="148" y="131"/>
                </a:cubicBezTo>
                <a:cubicBezTo>
                  <a:pt x="148" y="131"/>
                  <a:pt x="148" y="131"/>
                  <a:pt x="148" y="131"/>
                </a:cubicBezTo>
                <a:cubicBezTo>
                  <a:pt x="148" y="131"/>
                  <a:pt x="148" y="130"/>
                  <a:pt x="149" y="130"/>
                </a:cubicBezTo>
                <a:cubicBezTo>
                  <a:pt x="149" y="131"/>
                  <a:pt x="150" y="132"/>
                  <a:pt x="150" y="132"/>
                </a:cubicBezTo>
                <a:cubicBezTo>
                  <a:pt x="150" y="131"/>
                  <a:pt x="150" y="131"/>
                  <a:pt x="151" y="132"/>
                </a:cubicBezTo>
                <a:cubicBezTo>
                  <a:pt x="151" y="132"/>
                  <a:pt x="151" y="132"/>
                  <a:pt x="152" y="132"/>
                </a:cubicBezTo>
                <a:cubicBezTo>
                  <a:pt x="151" y="132"/>
                  <a:pt x="151" y="132"/>
                  <a:pt x="152" y="131"/>
                </a:cubicBezTo>
                <a:cubicBezTo>
                  <a:pt x="152" y="131"/>
                  <a:pt x="151" y="131"/>
                  <a:pt x="151" y="131"/>
                </a:cubicBezTo>
                <a:cubicBezTo>
                  <a:pt x="151" y="131"/>
                  <a:pt x="151" y="131"/>
                  <a:pt x="151" y="131"/>
                </a:cubicBezTo>
                <a:cubicBezTo>
                  <a:pt x="151" y="131"/>
                  <a:pt x="151" y="131"/>
                  <a:pt x="151" y="131"/>
                </a:cubicBezTo>
                <a:cubicBezTo>
                  <a:pt x="151" y="131"/>
                  <a:pt x="151" y="130"/>
                  <a:pt x="151" y="130"/>
                </a:cubicBezTo>
                <a:cubicBezTo>
                  <a:pt x="151" y="130"/>
                  <a:pt x="150" y="131"/>
                  <a:pt x="150" y="131"/>
                </a:cubicBezTo>
                <a:cubicBezTo>
                  <a:pt x="150" y="131"/>
                  <a:pt x="150" y="130"/>
                  <a:pt x="150" y="130"/>
                </a:cubicBezTo>
                <a:cubicBezTo>
                  <a:pt x="150" y="130"/>
                  <a:pt x="150" y="131"/>
                  <a:pt x="150" y="131"/>
                </a:cubicBezTo>
                <a:cubicBezTo>
                  <a:pt x="149" y="131"/>
                  <a:pt x="149" y="130"/>
                  <a:pt x="150" y="130"/>
                </a:cubicBezTo>
                <a:cubicBezTo>
                  <a:pt x="149" y="130"/>
                  <a:pt x="149" y="129"/>
                  <a:pt x="150" y="129"/>
                </a:cubicBezTo>
                <a:cubicBezTo>
                  <a:pt x="150" y="129"/>
                  <a:pt x="151" y="129"/>
                  <a:pt x="151" y="129"/>
                </a:cubicBezTo>
                <a:cubicBezTo>
                  <a:pt x="151" y="129"/>
                  <a:pt x="151" y="129"/>
                  <a:pt x="151" y="129"/>
                </a:cubicBezTo>
                <a:cubicBezTo>
                  <a:pt x="151" y="130"/>
                  <a:pt x="152" y="130"/>
                  <a:pt x="152" y="130"/>
                </a:cubicBezTo>
                <a:cubicBezTo>
                  <a:pt x="152" y="130"/>
                  <a:pt x="152" y="130"/>
                  <a:pt x="151" y="129"/>
                </a:cubicBezTo>
                <a:cubicBezTo>
                  <a:pt x="151" y="129"/>
                  <a:pt x="151" y="129"/>
                  <a:pt x="151" y="129"/>
                </a:cubicBezTo>
                <a:cubicBezTo>
                  <a:pt x="150" y="128"/>
                  <a:pt x="151" y="128"/>
                  <a:pt x="152" y="128"/>
                </a:cubicBezTo>
                <a:cubicBezTo>
                  <a:pt x="152" y="128"/>
                  <a:pt x="151" y="128"/>
                  <a:pt x="151" y="128"/>
                </a:cubicBezTo>
                <a:cubicBezTo>
                  <a:pt x="151" y="126"/>
                  <a:pt x="154" y="127"/>
                  <a:pt x="155" y="128"/>
                </a:cubicBezTo>
                <a:cubicBezTo>
                  <a:pt x="155" y="127"/>
                  <a:pt x="154" y="127"/>
                  <a:pt x="153" y="126"/>
                </a:cubicBezTo>
                <a:cubicBezTo>
                  <a:pt x="153" y="126"/>
                  <a:pt x="153" y="126"/>
                  <a:pt x="154" y="125"/>
                </a:cubicBezTo>
                <a:cubicBezTo>
                  <a:pt x="153" y="125"/>
                  <a:pt x="152" y="126"/>
                  <a:pt x="151" y="126"/>
                </a:cubicBezTo>
                <a:cubicBezTo>
                  <a:pt x="152" y="126"/>
                  <a:pt x="152" y="126"/>
                  <a:pt x="152" y="126"/>
                </a:cubicBezTo>
                <a:cubicBezTo>
                  <a:pt x="152" y="126"/>
                  <a:pt x="152" y="126"/>
                  <a:pt x="151" y="126"/>
                </a:cubicBezTo>
                <a:cubicBezTo>
                  <a:pt x="152" y="125"/>
                  <a:pt x="153" y="125"/>
                  <a:pt x="153" y="125"/>
                </a:cubicBezTo>
                <a:cubicBezTo>
                  <a:pt x="154" y="125"/>
                  <a:pt x="155" y="124"/>
                  <a:pt x="155" y="124"/>
                </a:cubicBezTo>
                <a:cubicBezTo>
                  <a:pt x="156" y="124"/>
                  <a:pt x="156" y="124"/>
                  <a:pt x="157" y="124"/>
                </a:cubicBezTo>
                <a:cubicBezTo>
                  <a:pt x="157" y="124"/>
                  <a:pt x="158" y="124"/>
                  <a:pt x="157" y="124"/>
                </a:cubicBezTo>
                <a:cubicBezTo>
                  <a:pt x="158" y="124"/>
                  <a:pt x="157" y="125"/>
                  <a:pt x="158" y="125"/>
                </a:cubicBezTo>
                <a:cubicBezTo>
                  <a:pt x="158" y="125"/>
                  <a:pt x="158" y="125"/>
                  <a:pt x="159" y="125"/>
                </a:cubicBezTo>
                <a:cubicBezTo>
                  <a:pt x="159" y="125"/>
                  <a:pt x="160" y="125"/>
                  <a:pt x="160" y="125"/>
                </a:cubicBezTo>
                <a:cubicBezTo>
                  <a:pt x="160" y="124"/>
                  <a:pt x="159" y="124"/>
                  <a:pt x="159" y="124"/>
                </a:cubicBezTo>
                <a:cubicBezTo>
                  <a:pt x="158" y="124"/>
                  <a:pt x="158" y="124"/>
                  <a:pt x="158" y="124"/>
                </a:cubicBezTo>
                <a:cubicBezTo>
                  <a:pt x="158" y="124"/>
                  <a:pt x="160" y="124"/>
                  <a:pt x="159" y="124"/>
                </a:cubicBezTo>
                <a:cubicBezTo>
                  <a:pt x="159" y="124"/>
                  <a:pt x="162" y="123"/>
                  <a:pt x="162" y="123"/>
                </a:cubicBezTo>
                <a:cubicBezTo>
                  <a:pt x="162" y="123"/>
                  <a:pt x="159" y="124"/>
                  <a:pt x="159" y="124"/>
                </a:cubicBezTo>
                <a:cubicBezTo>
                  <a:pt x="159" y="124"/>
                  <a:pt x="159" y="124"/>
                  <a:pt x="159" y="123"/>
                </a:cubicBezTo>
                <a:cubicBezTo>
                  <a:pt x="159" y="123"/>
                  <a:pt x="159" y="124"/>
                  <a:pt x="158" y="124"/>
                </a:cubicBezTo>
                <a:cubicBezTo>
                  <a:pt x="158" y="124"/>
                  <a:pt x="158" y="123"/>
                  <a:pt x="158" y="123"/>
                </a:cubicBezTo>
                <a:cubicBezTo>
                  <a:pt x="157" y="123"/>
                  <a:pt x="157" y="124"/>
                  <a:pt x="156" y="124"/>
                </a:cubicBezTo>
                <a:cubicBezTo>
                  <a:pt x="156" y="124"/>
                  <a:pt x="155" y="124"/>
                  <a:pt x="155" y="124"/>
                </a:cubicBezTo>
                <a:cubicBezTo>
                  <a:pt x="155" y="124"/>
                  <a:pt x="154" y="124"/>
                  <a:pt x="154" y="124"/>
                </a:cubicBezTo>
                <a:cubicBezTo>
                  <a:pt x="154" y="124"/>
                  <a:pt x="154" y="124"/>
                  <a:pt x="154" y="124"/>
                </a:cubicBezTo>
                <a:cubicBezTo>
                  <a:pt x="155" y="124"/>
                  <a:pt x="156" y="123"/>
                  <a:pt x="157" y="123"/>
                </a:cubicBezTo>
                <a:cubicBezTo>
                  <a:pt x="157" y="123"/>
                  <a:pt x="157" y="123"/>
                  <a:pt x="156" y="123"/>
                </a:cubicBezTo>
                <a:cubicBezTo>
                  <a:pt x="156" y="123"/>
                  <a:pt x="154" y="123"/>
                  <a:pt x="155" y="123"/>
                </a:cubicBezTo>
                <a:cubicBezTo>
                  <a:pt x="155" y="123"/>
                  <a:pt x="154" y="123"/>
                  <a:pt x="154" y="123"/>
                </a:cubicBezTo>
                <a:cubicBezTo>
                  <a:pt x="154" y="122"/>
                  <a:pt x="155" y="122"/>
                  <a:pt x="154" y="122"/>
                </a:cubicBezTo>
                <a:cubicBezTo>
                  <a:pt x="154" y="122"/>
                  <a:pt x="154" y="122"/>
                  <a:pt x="155" y="122"/>
                </a:cubicBezTo>
                <a:cubicBezTo>
                  <a:pt x="154" y="121"/>
                  <a:pt x="154" y="121"/>
                  <a:pt x="153" y="121"/>
                </a:cubicBezTo>
                <a:cubicBezTo>
                  <a:pt x="154" y="121"/>
                  <a:pt x="154" y="121"/>
                  <a:pt x="155" y="121"/>
                </a:cubicBezTo>
                <a:cubicBezTo>
                  <a:pt x="155" y="121"/>
                  <a:pt x="156" y="121"/>
                  <a:pt x="155" y="122"/>
                </a:cubicBezTo>
                <a:cubicBezTo>
                  <a:pt x="156" y="122"/>
                  <a:pt x="156" y="122"/>
                  <a:pt x="156" y="122"/>
                </a:cubicBezTo>
                <a:cubicBezTo>
                  <a:pt x="156" y="122"/>
                  <a:pt x="156" y="122"/>
                  <a:pt x="156" y="122"/>
                </a:cubicBezTo>
                <a:cubicBezTo>
                  <a:pt x="155" y="121"/>
                  <a:pt x="156" y="121"/>
                  <a:pt x="156" y="121"/>
                </a:cubicBezTo>
                <a:cubicBezTo>
                  <a:pt x="157" y="121"/>
                  <a:pt x="158" y="121"/>
                  <a:pt x="158" y="121"/>
                </a:cubicBezTo>
                <a:cubicBezTo>
                  <a:pt x="158" y="121"/>
                  <a:pt x="157" y="121"/>
                  <a:pt x="157" y="121"/>
                </a:cubicBezTo>
                <a:cubicBezTo>
                  <a:pt x="158" y="120"/>
                  <a:pt x="158" y="120"/>
                  <a:pt x="159" y="120"/>
                </a:cubicBezTo>
                <a:cubicBezTo>
                  <a:pt x="158" y="120"/>
                  <a:pt x="157" y="121"/>
                  <a:pt x="156" y="121"/>
                </a:cubicBezTo>
                <a:cubicBezTo>
                  <a:pt x="155" y="121"/>
                  <a:pt x="156" y="120"/>
                  <a:pt x="156" y="120"/>
                </a:cubicBezTo>
                <a:cubicBezTo>
                  <a:pt x="156" y="120"/>
                  <a:pt x="155" y="120"/>
                  <a:pt x="155" y="120"/>
                </a:cubicBezTo>
                <a:cubicBezTo>
                  <a:pt x="155" y="120"/>
                  <a:pt x="157" y="120"/>
                  <a:pt x="157" y="120"/>
                </a:cubicBezTo>
                <a:cubicBezTo>
                  <a:pt x="157" y="119"/>
                  <a:pt x="156" y="119"/>
                  <a:pt x="155" y="119"/>
                </a:cubicBezTo>
                <a:cubicBezTo>
                  <a:pt x="156" y="119"/>
                  <a:pt x="157" y="119"/>
                  <a:pt x="157" y="119"/>
                </a:cubicBezTo>
                <a:cubicBezTo>
                  <a:pt x="158" y="119"/>
                  <a:pt x="158" y="119"/>
                  <a:pt x="158" y="119"/>
                </a:cubicBezTo>
                <a:cubicBezTo>
                  <a:pt x="158" y="119"/>
                  <a:pt x="158" y="119"/>
                  <a:pt x="158" y="119"/>
                </a:cubicBezTo>
                <a:cubicBezTo>
                  <a:pt x="157" y="119"/>
                  <a:pt x="158" y="119"/>
                  <a:pt x="158" y="119"/>
                </a:cubicBezTo>
                <a:cubicBezTo>
                  <a:pt x="158" y="119"/>
                  <a:pt x="157" y="119"/>
                  <a:pt x="157" y="119"/>
                </a:cubicBezTo>
                <a:cubicBezTo>
                  <a:pt x="157" y="118"/>
                  <a:pt x="160" y="119"/>
                  <a:pt x="161" y="118"/>
                </a:cubicBezTo>
                <a:cubicBezTo>
                  <a:pt x="160" y="118"/>
                  <a:pt x="159" y="118"/>
                  <a:pt x="158" y="118"/>
                </a:cubicBezTo>
                <a:cubicBezTo>
                  <a:pt x="159" y="118"/>
                  <a:pt x="158" y="118"/>
                  <a:pt x="158" y="118"/>
                </a:cubicBezTo>
                <a:cubicBezTo>
                  <a:pt x="158" y="118"/>
                  <a:pt x="158" y="118"/>
                  <a:pt x="157" y="118"/>
                </a:cubicBezTo>
                <a:cubicBezTo>
                  <a:pt x="157" y="117"/>
                  <a:pt x="157" y="117"/>
                  <a:pt x="157" y="117"/>
                </a:cubicBezTo>
                <a:cubicBezTo>
                  <a:pt x="158" y="117"/>
                  <a:pt x="159" y="117"/>
                  <a:pt x="159" y="117"/>
                </a:cubicBezTo>
                <a:cubicBezTo>
                  <a:pt x="159" y="117"/>
                  <a:pt x="159" y="117"/>
                  <a:pt x="159" y="117"/>
                </a:cubicBezTo>
                <a:cubicBezTo>
                  <a:pt x="159" y="117"/>
                  <a:pt x="160" y="116"/>
                  <a:pt x="161" y="117"/>
                </a:cubicBezTo>
                <a:cubicBezTo>
                  <a:pt x="161" y="117"/>
                  <a:pt x="160" y="117"/>
                  <a:pt x="160" y="117"/>
                </a:cubicBezTo>
                <a:cubicBezTo>
                  <a:pt x="160" y="117"/>
                  <a:pt x="161" y="117"/>
                  <a:pt x="161" y="117"/>
                </a:cubicBezTo>
                <a:cubicBezTo>
                  <a:pt x="161" y="117"/>
                  <a:pt x="161" y="116"/>
                  <a:pt x="161" y="116"/>
                </a:cubicBezTo>
                <a:cubicBezTo>
                  <a:pt x="161" y="116"/>
                  <a:pt x="162" y="116"/>
                  <a:pt x="162" y="117"/>
                </a:cubicBezTo>
                <a:cubicBezTo>
                  <a:pt x="162" y="117"/>
                  <a:pt x="163" y="116"/>
                  <a:pt x="162" y="116"/>
                </a:cubicBezTo>
                <a:cubicBezTo>
                  <a:pt x="163" y="116"/>
                  <a:pt x="164" y="116"/>
                  <a:pt x="164" y="116"/>
                </a:cubicBezTo>
                <a:cubicBezTo>
                  <a:pt x="164" y="116"/>
                  <a:pt x="165" y="116"/>
                  <a:pt x="165" y="116"/>
                </a:cubicBezTo>
                <a:cubicBezTo>
                  <a:pt x="165" y="115"/>
                  <a:pt x="163" y="116"/>
                  <a:pt x="163" y="116"/>
                </a:cubicBezTo>
                <a:cubicBezTo>
                  <a:pt x="163" y="116"/>
                  <a:pt x="163" y="115"/>
                  <a:pt x="163" y="115"/>
                </a:cubicBezTo>
                <a:cubicBezTo>
                  <a:pt x="163" y="115"/>
                  <a:pt x="164" y="115"/>
                  <a:pt x="164" y="115"/>
                </a:cubicBezTo>
                <a:cubicBezTo>
                  <a:pt x="164" y="115"/>
                  <a:pt x="166" y="115"/>
                  <a:pt x="165" y="115"/>
                </a:cubicBezTo>
                <a:cubicBezTo>
                  <a:pt x="166" y="114"/>
                  <a:pt x="167" y="114"/>
                  <a:pt x="168" y="114"/>
                </a:cubicBezTo>
                <a:cubicBezTo>
                  <a:pt x="167" y="115"/>
                  <a:pt x="167" y="115"/>
                  <a:pt x="168" y="115"/>
                </a:cubicBezTo>
                <a:cubicBezTo>
                  <a:pt x="168" y="115"/>
                  <a:pt x="167" y="115"/>
                  <a:pt x="168" y="115"/>
                </a:cubicBezTo>
                <a:cubicBezTo>
                  <a:pt x="168" y="114"/>
                  <a:pt x="169" y="115"/>
                  <a:pt x="169" y="115"/>
                </a:cubicBezTo>
                <a:cubicBezTo>
                  <a:pt x="170" y="115"/>
                  <a:pt x="171" y="115"/>
                  <a:pt x="171" y="115"/>
                </a:cubicBezTo>
                <a:cubicBezTo>
                  <a:pt x="171" y="115"/>
                  <a:pt x="170" y="116"/>
                  <a:pt x="171" y="116"/>
                </a:cubicBezTo>
                <a:cubicBezTo>
                  <a:pt x="171" y="115"/>
                  <a:pt x="171" y="114"/>
                  <a:pt x="171" y="114"/>
                </a:cubicBezTo>
                <a:cubicBezTo>
                  <a:pt x="171" y="114"/>
                  <a:pt x="172" y="115"/>
                  <a:pt x="173" y="115"/>
                </a:cubicBezTo>
                <a:cubicBezTo>
                  <a:pt x="173" y="114"/>
                  <a:pt x="172" y="114"/>
                  <a:pt x="171" y="114"/>
                </a:cubicBezTo>
                <a:cubicBezTo>
                  <a:pt x="171" y="114"/>
                  <a:pt x="170" y="115"/>
                  <a:pt x="170" y="114"/>
                </a:cubicBezTo>
                <a:cubicBezTo>
                  <a:pt x="170" y="114"/>
                  <a:pt x="170" y="114"/>
                  <a:pt x="170" y="114"/>
                </a:cubicBezTo>
                <a:cubicBezTo>
                  <a:pt x="169" y="114"/>
                  <a:pt x="169" y="114"/>
                  <a:pt x="168" y="114"/>
                </a:cubicBezTo>
                <a:cubicBezTo>
                  <a:pt x="170" y="114"/>
                  <a:pt x="167" y="113"/>
                  <a:pt x="168" y="114"/>
                </a:cubicBezTo>
                <a:cubicBezTo>
                  <a:pt x="167" y="114"/>
                  <a:pt x="167" y="114"/>
                  <a:pt x="166" y="114"/>
                </a:cubicBezTo>
                <a:cubicBezTo>
                  <a:pt x="166" y="114"/>
                  <a:pt x="166" y="114"/>
                  <a:pt x="166" y="114"/>
                </a:cubicBezTo>
                <a:cubicBezTo>
                  <a:pt x="165" y="114"/>
                  <a:pt x="164" y="114"/>
                  <a:pt x="163" y="114"/>
                </a:cubicBezTo>
                <a:cubicBezTo>
                  <a:pt x="163" y="114"/>
                  <a:pt x="163" y="114"/>
                  <a:pt x="164" y="114"/>
                </a:cubicBezTo>
                <a:cubicBezTo>
                  <a:pt x="164" y="114"/>
                  <a:pt x="165" y="113"/>
                  <a:pt x="165" y="113"/>
                </a:cubicBezTo>
                <a:cubicBezTo>
                  <a:pt x="165" y="113"/>
                  <a:pt x="165" y="113"/>
                  <a:pt x="165" y="113"/>
                </a:cubicBezTo>
                <a:cubicBezTo>
                  <a:pt x="165" y="113"/>
                  <a:pt x="165" y="113"/>
                  <a:pt x="166" y="113"/>
                </a:cubicBezTo>
                <a:cubicBezTo>
                  <a:pt x="166" y="113"/>
                  <a:pt x="167" y="112"/>
                  <a:pt x="167" y="113"/>
                </a:cubicBezTo>
                <a:cubicBezTo>
                  <a:pt x="167" y="113"/>
                  <a:pt x="167" y="113"/>
                  <a:pt x="166" y="113"/>
                </a:cubicBezTo>
                <a:cubicBezTo>
                  <a:pt x="167" y="113"/>
                  <a:pt x="168" y="112"/>
                  <a:pt x="168" y="112"/>
                </a:cubicBezTo>
                <a:cubicBezTo>
                  <a:pt x="167" y="112"/>
                  <a:pt x="166" y="113"/>
                  <a:pt x="165" y="112"/>
                </a:cubicBezTo>
                <a:cubicBezTo>
                  <a:pt x="166" y="112"/>
                  <a:pt x="167" y="111"/>
                  <a:pt x="168" y="111"/>
                </a:cubicBezTo>
                <a:cubicBezTo>
                  <a:pt x="169" y="111"/>
                  <a:pt x="169" y="111"/>
                  <a:pt x="169" y="111"/>
                </a:cubicBezTo>
                <a:cubicBezTo>
                  <a:pt x="168" y="111"/>
                  <a:pt x="168" y="111"/>
                  <a:pt x="168" y="111"/>
                </a:cubicBezTo>
                <a:cubicBezTo>
                  <a:pt x="168" y="111"/>
                  <a:pt x="168" y="112"/>
                  <a:pt x="168" y="112"/>
                </a:cubicBezTo>
                <a:cubicBezTo>
                  <a:pt x="168" y="112"/>
                  <a:pt x="168" y="112"/>
                  <a:pt x="167" y="112"/>
                </a:cubicBezTo>
                <a:cubicBezTo>
                  <a:pt x="168" y="112"/>
                  <a:pt x="169" y="111"/>
                  <a:pt x="169" y="112"/>
                </a:cubicBezTo>
                <a:cubicBezTo>
                  <a:pt x="169" y="112"/>
                  <a:pt x="168" y="113"/>
                  <a:pt x="169" y="112"/>
                </a:cubicBezTo>
                <a:cubicBezTo>
                  <a:pt x="169" y="112"/>
                  <a:pt x="170" y="112"/>
                  <a:pt x="170" y="112"/>
                </a:cubicBezTo>
                <a:cubicBezTo>
                  <a:pt x="171" y="112"/>
                  <a:pt x="171" y="112"/>
                  <a:pt x="172" y="113"/>
                </a:cubicBezTo>
                <a:cubicBezTo>
                  <a:pt x="172" y="113"/>
                  <a:pt x="172" y="113"/>
                  <a:pt x="172" y="113"/>
                </a:cubicBezTo>
                <a:cubicBezTo>
                  <a:pt x="172" y="113"/>
                  <a:pt x="172" y="113"/>
                  <a:pt x="172" y="113"/>
                </a:cubicBezTo>
                <a:cubicBezTo>
                  <a:pt x="173" y="113"/>
                  <a:pt x="173" y="113"/>
                  <a:pt x="173" y="113"/>
                </a:cubicBezTo>
                <a:cubicBezTo>
                  <a:pt x="173" y="113"/>
                  <a:pt x="172" y="113"/>
                  <a:pt x="173" y="113"/>
                </a:cubicBezTo>
                <a:cubicBezTo>
                  <a:pt x="172" y="113"/>
                  <a:pt x="172" y="113"/>
                  <a:pt x="172" y="113"/>
                </a:cubicBezTo>
                <a:cubicBezTo>
                  <a:pt x="172" y="113"/>
                  <a:pt x="171" y="112"/>
                  <a:pt x="172" y="112"/>
                </a:cubicBezTo>
                <a:cubicBezTo>
                  <a:pt x="172" y="112"/>
                  <a:pt x="172" y="112"/>
                  <a:pt x="172" y="112"/>
                </a:cubicBezTo>
                <a:cubicBezTo>
                  <a:pt x="172" y="111"/>
                  <a:pt x="173" y="111"/>
                  <a:pt x="174" y="111"/>
                </a:cubicBezTo>
                <a:cubicBezTo>
                  <a:pt x="173" y="111"/>
                  <a:pt x="171" y="112"/>
                  <a:pt x="170" y="112"/>
                </a:cubicBezTo>
                <a:cubicBezTo>
                  <a:pt x="170" y="112"/>
                  <a:pt x="169" y="111"/>
                  <a:pt x="169" y="111"/>
                </a:cubicBezTo>
                <a:cubicBezTo>
                  <a:pt x="169" y="111"/>
                  <a:pt x="171" y="111"/>
                  <a:pt x="171" y="111"/>
                </a:cubicBezTo>
                <a:cubicBezTo>
                  <a:pt x="171" y="111"/>
                  <a:pt x="169" y="111"/>
                  <a:pt x="169" y="111"/>
                </a:cubicBezTo>
                <a:cubicBezTo>
                  <a:pt x="169" y="110"/>
                  <a:pt x="170" y="110"/>
                  <a:pt x="170" y="110"/>
                </a:cubicBezTo>
                <a:cubicBezTo>
                  <a:pt x="170" y="110"/>
                  <a:pt x="170" y="110"/>
                  <a:pt x="170" y="110"/>
                </a:cubicBezTo>
                <a:cubicBezTo>
                  <a:pt x="170" y="109"/>
                  <a:pt x="171" y="110"/>
                  <a:pt x="171" y="110"/>
                </a:cubicBezTo>
                <a:cubicBezTo>
                  <a:pt x="171" y="110"/>
                  <a:pt x="171" y="110"/>
                  <a:pt x="172" y="110"/>
                </a:cubicBezTo>
                <a:cubicBezTo>
                  <a:pt x="171" y="110"/>
                  <a:pt x="171" y="110"/>
                  <a:pt x="171" y="110"/>
                </a:cubicBezTo>
                <a:cubicBezTo>
                  <a:pt x="171" y="109"/>
                  <a:pt x="172" y="109"/>
                  <a:pt x="172" y="110"/>
                </a:cubicBezTo>
                <a:cubicBezTo>
                  <a:pt x="172" y="110"/>
                  <a:pt x="174" y="110"/>
                  <a:pt x="174" y="110"/>
                </a:cubicBezTo>
                <a:cubicBezTo>
                  <a:pt x="173" y="110"/>
                  <a:pt x="173" y="109"/>
                  <a:pt x="172" y="109"/>
                </a:cubicBezTo>
                <a:cubicBezTo>
                  <a:pt x="172" y="109"/>
                  <a:pt x="171" y="109"/>
                  <a:pt x="171" y="109"/>
                </a:cubicBezTo>
                <a:cubicBezTo>
                  <a:pt x="171" y="109"/>
                  <a:pt x="170" y="109"/>
                  <a:pt x="170" y="108"/>
                </a:cubicBezTo>
                <a:cubicBezTo>
                  <a:pt x="170" y="109"/>
                  <a:pt x="170" y="109"/>
                  <a:pt x="170" y="109"/>
                </a:cubicBezTo>
                <a:cubicBezTo>
                  <a:pt x="169" y="109"/>
                  <a:pt x="169" y="109"/>
                  <a:pt x="169" y="110"/>
                </a:cubicBezTo>
                <a:cubicBezTo>
                  <a:pt x="169" y="110"/>
                  <a:pt x="169" y="110"/>
                  <a:pt x="169" y="110"/>
                </a:cubicBezTo>
                <a:cubicBezTo>
                  <a:pt x="168" y="110"/>
                  <a:pt x="167" y="111"/>
                  <a:pt x="166" y="110"/>
                </a:cubicBezTo>
                <a:cubicBezTo>
                  <a:pt x="166" y="110"/>
                  <a:pt x="166" y="110"/>
                  <a:pt x="167" y="110"/>
                </a:cubicBezTo>
                <a:cubicBezTo>
                  <a:pt x="166" y="110"/>
                  <a:pt x="166" y="110"/>
                  <a:pt x="166" y="110"/>
                </a:cubicBezTo>
                <a:cubicBezTo>
                  <a:pt x="167" y="109"/>
                  <a:pt x="168" y="110"/>
                  <a:pt x="168" y="110"/>
                </a:cubicBezTo>
                <a:cubicBezTo>
                  <a:pt x="168" y="109"/>
                  <a:pt x="167" y="110"/>
                  <a:pt x="168" y="109"/>
                </a:cubicBezTo>
                <a:cubicBezTo>
                  <a:pt x="167" y="109"/>
                  <a:pt x="167" y="109"/>
                  <a:pt x="166" y="109"/>
                </a:cubicBezTo>
                <a:cubicBezTo>
                  <a:pt x="167" y="109"/>
                  <a:pt x="165" y="109"/>
                  <a:pt x="166" y="109"/>
                </a:cubicBezTo>
                <a:cubicBezTo>
                  <a:pt x="167" y="109"/>
                  <a:pt x="168" y="109"/>
                  <a:pt x="168" y="109"/>
                </a:cubicBezTo>
                <a:cubicBezTo>
                  <a:pt x="168" y="109"/>
                  <a:pt x="167" y="109"/>
                  <a:pt x="167" y="109"/>
                </a:cubicBezTo>
                <a:cubicBezTo>
                  <a:pt x="167" y="108"/>
                  <a:pt x="167" y="108"/>
                  <a:pt x="167" y="108"/>
                </a:cubicBezTo>
                <a:cubicBezTo>
                  <a:pt x="167" y="108"/>
                  <a:pt x="167" y="108"/>
                  <a:pt x="167" y="108"/>
                </a:cubicBezTo>
                <a:cubicBezTo>
                  <a:pt x="167" y="108"/>
                  <a:pt x="169" y="108"/>
                  <a:pt x="169" y="108"/>
                </a:cubicBezTo>
                <a:cubicBezTo>
                  <a:pt x="169" y="108"/>
                  <a:pt x="169" y="108"/>
                  <a:pt x="169" y="109"/>
                </a:cubicBezTo>
                <a:cubicBezTo>
                  <a:pt x="169" y="109"/>
                  <a:pt x="169" y="108"/>
                  <a:pt x="170" y="108"/>
                </a:cubicBezTo>
                <a:cubicBezTo>
                  <a:pt x="170" y="108"/>
                  <a:pt x="170" y="108"/>
                  <a:pt x="171" y="108"/>
                </a:cubicBezTo>
                <a:cubicBezTo>
                  <a:pt x="171" y="108"/>
                  <a:pt x="172" y="108"/>
                  <a:pt x="171" y="108"/>
                </a:cubicBezTo>
                <a:cubicBezTo>
                  <a:pt x="172" y="108"/>
                  <a:pt x="172" y="107"/>
                  <a:pt x="173" y="108"/>
                </a:cubicBezTo>
                <a:cubicBezTo>
                  <a:pt x="174" y="108"/>
                  <a:pt x="174" y="108"/>
                  <a:pt x="174" y="107"/>
                </a:cubicBezTo>
                <a:cubicBezTo>
                  <a:pt x="175" y="107"/>
                  <a:pt x="173" y="107"/>
                  <a:pt x="173" y="107"/>
                </a:cubicBezTo>
                <a:cubicBezTo>
                  <a:pt x="172" y="107"/>
                  <a:pt x="172" y="107"/>
                  <a:pt x="171" y="106"/>
                </a:cubicBezTo>
                <a:cubicBezTo>
                  <a:pt x="171" y="107"/>
                  <a:pt x="171" y="107"/>
                  <a:pt x="170" y="107"/>
                </a:cubicBezTo>
                <a:cubicBezTo>
                  <a:pt x="171" y="107"/>
                  <a:pt x="169" y="107"/>
                  <a:pt x="169" y="107"/>
                </a:cubicBezTo>
                <a:cubicBezTo>
                  <a:pt x="170" y="107"/>
                  <a:pt x="170" y="107"/>
                  <a:pt x="170" y="107"/>
                </a:cubicBezTo>
                <a:cubicBezTo>
                  <a:pt x="170" y="106"/>
                  <a:pt x="170" y="106"/>
                  <a:pt x="170" y="106"/>
                </a:cubicBezTo>
                <a:cubicBezTo>
                  <a:pt x="170" y="106"/>
                  <a:pt x="171" y="106"/>
                  <a:pt x="171" y="106"/>
                </a:cubicBezTo>
                <a:cubicBezTo>
                  <a:pt x="171" y="106"/>
                  <a:pt x="171" y="106"/>
                  <a:pt x="172" y="106"/>
                </a:cubicBezTo>
                <a:cubicBezTo>
                  <a:pt x="172" y="106"/>
                  <a:pt x="172" y="105"/>
                  <a:pt x="172" y="105"/>
                </a:cubicBezTo>
                <a:cubicBezTo>
                  <a:pt x="172" y="105"/>
                  <a:pt x="172" y="106"/>
                  <a:pt x="172" y="106"/>
                </a:cubicBezTo>
                <a:cubicBezTo>
                  <a:pt x="172" y="106"/>
                  <a:pt x="172" y="106"/>
                  <a:pt x="172" y="106"/>
                </a:cubicBezTo>
                <a:cubicBezTo>
                  <a:pt x="172" y="107"/>
                  <a:pt x="173" y="106"/>
                  <a:pt x="174" y="106"/>
                </a:cubicBezTo>
                <a:cubicBezTo>
                  <a:pt x="174" y="106"/>
                  <a:pt x="173" y="106"/>
                  <a:pt x="173" y="105"/>
                </a:cubicBezTo>
                <a:cubicBezTo>
                  <a:pt x="173" y="105"/>
                  <a:pt x="174" y="105"/>
                  <a:pt x="174" y="105"/>
                </a:cubicBezTo>
                <a:cubicBezTo>
                  <a:pt x="173" y="104"/>
                  <a:pt x="176" y="105"/>
                  <a:pt x="175" y="105"/>
                </a:cubicBezTo>
                <a:cubicBezTo>
                  <a:pt x="175" y="106"/>
                  <a:pt x="175" y="105"/>
                  <a:pt x="175" y="106"/>
                </a:cubicBezTo>
                <a:cubicBezTo>
                  <a:pt x="175" y="107"/>
                  <a:pt x="175" y="107"/>
                  <a:pt x="176" y="107"/>
                </a:cubicBezTo>
                <a:cubicBezTo>
                  <a:pt x="176" y="108"/>
                  <a:pt x="176" y="108"/>
                  <a:pt x="176" y="108"/>
                </a:cubicBezTo>
                <a:cubicBezTo>
                  <a:pt x="177" y="108"/>
                  <a:pt x="178" y="109"/>
                  <a:pt x="178" y="109"/>
                </a:cubicBezTo>
                <a:cubicBezTo>
                  <a:pt x="178" y="109"/>
                  <a:pt x="177" y="108"/>
                  <a:pt x="177" y="108"/>
                </a:cubicBezTo>
                <a:cubicBezTo>
                  <a:pt x="176" y="108"/>
                  <a:pt x="176" y="108"/>
                  <a:pt x="176" y="108"/>
                </a:cubicBezTo>
                <a:cubicBezTo>
                  <a:pt x="177" y="107"/>
                  <a:pt x="176" y="107"/>
                  <a:pt x="176" y="107"/>
                </a:cubicBezTo>
                <a:cubicBezTo>
                  <a:pt x="177" y="107"/>
                  <a:pt x="177" y="108"/>
                  <a:pt x="178" y="108"/>
                </a:cubicBezTo>
                <a:cubicBezTo>
                  <a:pt x="178" y="108"/>
                  <a:pt x="177" y="108"/>
                  <a:pt x="177" y="107"/>
                </a:cubicBezTo>
                <a:cubicBezTo>
                  <a:pt x="177" y="107"/>
                  <a:pt x="178" y="108"/>
                  <a:pt x="178" y="107"/>
                </a:cubicBezTo>
                <a:cubicBezTo>
                  <a:pt x="178" y="107"/>
                  <a:pt x="178" y="107"/>
                  <a:pt x="178" y="107"/>
                </a:cubicBezTo>
                <a:cubicBezTo>
                  <a:pt x="178" y="107"/>
                  <a:pt x="178" y="107"/>
                  <a:pt x="178" y="107"/>
                </a:cubicBezTo>
                <a:cubicBezTo>
                  <a:pt x="178" y="107"/>
                  <a:pt x="177" y="107"/>
                  <a:pt x="177" y="106"/>
                </a:cubicBezTo>
                <a:cubicBezTo>
                  <a:pt x="178" y="106"/>
                  <a:pt x="179" y="107"/>
                  <a:pt x="179" y="107"/>
                </a:cubicBezTo>
                <a:cubicBezTo>
                  <a:pt x="179" y="107"/>
                  <a:pt x="179" y="106"/>
                  <a:pt x="179" y="106"/>
                </a:cubicBezTo>
                <a:cubicBezTo>
                  <a:pt x="179" y="106"/>
                  <a:pt x="180" y="106"/>
                  <a:pt x="180" y="106"/>
                </a:cubicBezTo>
                <a:cubicBezTo>
                  <a:pt x="179" y="106"/>
                  <a:pt x="179" y="106"/>
                  <a:pt x="179" y="106"/>
                </a:cubicBezTo>
                <a:cubicBezTo>
                  <a:pt x="178" y="106"/>
                  <a:pt x="178" y="106"/>
                  <a:pt x="178" y="106"/>
                </a:cubicBezTo>
                <a:cubicBezTo>
                  <a:pt x="177" y="106"/>
                  <a:pt x="177" y="106"/>
                  <a:pt x="177" y="106"/>
                </a:cubicBezTo>
                <a:cubicBezTo>
                  <a:pt x="177" y="106"/>
                  <a:pt x="177" y="106"/>
                  <a:pt x="176" y="106"/>
                </a:cubicBezTo>
                <a:cubicBezTo>
                  <a:pt x="177" y="106"/>
                  <a:pt x="177" y="106"/>
                  <a:pt x="177" y="106"/>
                </a:cubicBezTo>
                <a:cubicBezTo>
                  <a:pt x="177" y="105"/>
                  <a:pt x="178" y="106"/>
                  <a:pt x="178" y="106"/>
                </a:cubicBezTo>
                <a:cubicBezTo>
                  <a:pt x="178" y="105"/>
                  <a:pt x="178" y="105"/>
                  <a:pt x="177" y="105"/>
                </a:cubicBezTo>
                <a:cubicBezTo>
                  <a:pt x="178" y="105"/>
                  <a:pt x="178" y="106"/>
                  <a:pt x="179" y="105"/>
                </a:cubicBezTo>
                <a:cubicBezTo>
                  <a:pt x="178" y="105"/>
                  <a:pt x="178" y="105"/>
                  <a:pt x="178" y="105"/>
                </a:cubicBezTo>
                <a:cubicBezTo>
                  <a:pt x="177" y="105"/>
                  <a:pt x="176" y="105"/>
                  <a:pt x="176" y="105"/>
                </a:cubicBezTo>
                <a:cubicBezTo>
                  <a:pt x="176" y="105"/>
                  <a:pt x="177" y="105"/>
                  <a:pt x="177" y="105"/>
                </a:cubicBezTo>
                <a:cubicBezTo>
                  <a:pt x="177" y="105"/>
                  <a:pt x="175" y="105"/>
                  <a:pt x="175" y="104"/>
                </a:cubicBezTo>
                <a:cubicBezTo>
                  <a:pt x="176" y="104"/>
                  <a:pt x="176" y="104"/>
                  <a:pt x="176" y="104"/>
                </a:cubicBezTo>
                <a:cubicBezTo>
                  <a:pt x="177" y="104"/>
                  <a:pt x="178" y="104"/>
                  <a:pt x="178" y="105"/>
                </a:cubicBezTo>
                <a:cubicBezTo>
                  <a:pt x="179" y="105"/>
                  <a:pt x="179" y="106"/>
                  <a:pt x="180" y="106"/>
                </a:cubicBezTo>
                <a:cubicBezTo>
                  <a:pt x="180" y="106"/>
                  <a:pt x="180" y="106"/>
                  <a:pt x="179" y="105"/>
                </a:cubicBezTo>
                <a:cubicBezTo>
                  <a:pt x="179" y="105"/>
                  <a:pt x="179" y="105"/>
                  <a:pt x="179" y="105"/>
                </a:cubicBezTo>
                <a:cubicBezTo>
                  <a:pt x="178" y="104"/>
                  <a:pt x="177" y="104"/>
                  <a:pt x="177" y="104"/>
                </a:cubicBezTo>
                <a:cubicBezTo>
                  <a:pt x="177" y="104"/>
                  <a:pt x="176" y="104"/>
                  <a:pt x="176" y="104"/>
                </a:cubicBezTo>
                <a:cubicBezTo>
                  <a:pt x="177" y="103"/>
                  <a:pt x="178" y="103"/>
                  <a:pt x="179" y="103"/>
                </a:cubicBezTo>
                <a:cubicBezTo>
                  <a:pt x="179" y="103"/>
                  <a:pt x="181" y="104"/>
                  <a:pt x="180" y="104"/>
                </a:cubicBezTo>
                <a:cubicBezTo>
                  <a:pt x="181" y="104"/>
                  <a:pt x="182" y="104"/>
                  <a:pt x="183" y="104"/>
                </a:cubicBezTo>
                <a:cubicBezTo>
                  <a:pt x="183" y="104"/>
                  <a:pt x="184" y="105"/>
                  <a:pt x="184" y="105"/>
                </a:cubicBezTo>
                <a:cubicBezTo>
                  <a:pt x="184" y="105"/>
                  <a:pt x="184" y="105"/>
                  <a:pt x="184" y="105"/>
                </a:cubicBezTo>
                <a:cubicBezTo>
                  <a:pt x="184" y="105"/>
                  <a:pt x="183" y="104"/>
                  <a:pt x="184" y="103"/>
                </a:cubicBezTo>
                <a:cubicBezTo>
                  <a:pt x="184" y="103"/>
                  <a:pt x="185" y="104"/>
                  <a:pt x="186" y="104"/>
                </a:cubicBezTo>
                <a:cubicBezTo>
                  <a:pt x="185" y="104"/>
                  <a:pt x="185" y="103"/>
                  <a:pt x="184" y="103"/>
                </a:cubicBezTo>
                <a:cubicBezTo>
                  <a:pt x="185" y="102"/>
                  <a:pt x="187" y="104"/>
                  <a:pt x="188" y="103"/>
                </a:cubicBezTo>
                <a:cubicBezTo>
                  <a:pt x="187" y="103"/>
                  <a:pt x="187" y="103"/>
                  <a:pt x="187" y="103"/>
                </a:cubicBezTo>
                <a:cubicBezTo>
                  <a:pt x="186" y="103"/>
                  <a:pt x="185" y="103"/>
                  <a:pt x="185" y="103"/>
                </a:cubicBezTo>
                <a:cubicBezTo>
                  <a:pt x="185" y="102"/>
                  <a:pt x="185" y="102"/>
                  <a:pt x="185" y="102"/>
                </a:cubicBezTo>
                <a:cubicBezTo>
                  <a:pt x="184" y="103"/>
                  <a:pt x="183" y="103"/>
                  <a:pt x="182" y="103"/>
                </a:cubicBezTo>
                <a:cubicBezTo>
                  <a:pt x="182" y="103"/>
                  <a:pt x="182" y="103"/>
                  <a:pt x="182" y="103"/>
                </a:cubicBezTo>
                <a:cubicBezTo>
                  <a:pt x="181" y="102"/>
                  <a:pt x="180" y="103"/>
                  <a:pt x="179" y="103"/>
                </a:cubicBezTo>
                <a:cubicBezTo>
                  <a:pt x="178" y="103"/>
                  <a:pt x="178" y="103"/>
                  <a:pt x="178" y="103"/>
                </a:cubicBezTo>
                <a:cubicBezTo>
                  <a:pt x="177" y="102"/>
                  <a:pt x="179" y="102"/>
                  <a:pt x="179" y="102"/>
                </a:cubicBezTo>
                <a:cubicBezTo>
                  <a:pt x="178" y="102"/>
                  <a:pt x="179" y="101"/>
                  <a:pt x="179" y="101"/>
                </a:cubicBezTo>
                <a:cubicBezTo>
                  <a:pt x="179" y="101"/>
                  <a:pt x="182" y="100"/>
                  <a:pt x="182" y="101"/>
                </a:cubicBezTo>
                <a:cubicBezTo>
                  <a:pt x="182" y="101"/>
                  <a:pt x="183" y="100"/>
                  <a:pt x="183" y="100"/>
                </a:cubicBezTo>
                <a:cubicBezTo>
                  <a:pt x="184" y="100"/>
                  <a:pt x="185" y="101"/>
                  <a:pt x="186" y="101"/>
                </a:cubicBezTo>
                <a:cubicBezTo>
                  <a:pt x="185" y="101"/>
                  <a:pt x="185" y="100"/>
                  <a:pt x="184" y="100"/>
                </a:cubicBezTo>
                <a:cubicBezTo>
                  <a:pt x="184" y="100"/>
                  <a:pt x="183" y="100"/>
                  <a:pt x="183" y="100"/>
                </a:cubicBezTo>
                <a:cubicBezTo>
                  <a:pt x="184" y="99"/>
                  <a:pt x="186" y="100"/>
                  <a:pt x="187" y="100"/>
                </a:cubicBezTo>
                <a:cubicBezTo>
                  <a:pt x="186" y="99"/>
                  <a:pt x="185" y="100"/>
                  <a:pt x="185" y="99"/>
                </a:cubicBezTo>
                <a:cubicBezTo>
                  <a:pt x="185" y="99"/>
                  <a:pt x="185" y="99"/>
                  <a:pt x="185" y="99"/>
                </a:cubicBezTo>
                <a:cubicBezTo>
                  <a:pt x="186" y="99"/>
                  <a:pt x="187" y="99"/>
                  <a:pt x="186" y="99"/>
                </a:cubicBezTo>
                <a:cubicBezTo>
                  <a:pt x="186" y="99"/>
                  <a:pt x="187" y="99"/>
                  <a:pt x="187" y="99"/>
                </a:cubicBezTo>
                <a:cubicBezTo>
                  <a:pt x="186" y="99"/>
                  <a:pt x="186" y="99"/>
                  <a:pt x="185" y="99"/>
                </a:cubicBezTo>
                <a:cubicBezTo>
                  <a:pt x="184" y="99"/>
                  <a:pt x="184" y="98"/>
                  <a:pt x="185" y="98"/>
                </a:cubicBezTo>
                <a:cubicBezTo>
                  <a:pt x="185" y="98"/>
                  <a:pt x="184" y="98"/>
                  <a:pt x="185" y="98"/>
                </a:cubicBezTo>
                <a:cubicBezTo>
                  <a:pt x="185" y="97"/>
                  <a:pt x="186" y="97"/>
                  <a:pt x="186" y="97"/>
                </a:cubicBezTo>
                <a:cubicBezTo>
                  <a:pt x="186" y="97"/>
                  <a:pt x="187" y="97"/>
                  <a:pt x="188" y="97"/>
                </a:cubicBezTo>
                <a:cubicBezTo>
                  <a:pt x="188" y="96"/>
                  <a:pt x="189" y="97"/>
                  <a:pt x="189" y="96"/>
                </a:cubicBezTo>
                <a:cubicBezTo>
                  <a:pt x="189" y="96"/>
                  <a:pt x="188" y="96"/>
                  <a:pt x="189" y="96"/>
                </a:cubicBezTo>
                <a:cubicBezTo>
                  <a:pt x="187" y="96"/>
                  <a:pt x="189" y="95"/>
                  <a:pt x="189" y="94"/>
                </a:cubicBezTo>
                <a:cubicBezTo>
                  <a:pt x="189" y="94"/>
                  <a:pt x="189" y="94"/>
                  <a:pt x="189" y="94"/>
                </a:cubicBezTo>
                <a:cubicBezTo>
                  <a:pt x="190" y="93"/>
                  <a:pt x="191" y="93"/>
                  <a:pt x="190" y="94"/>
                </a:cubicBezTo>
                <a:cubicBezTo>
                  <a:pt x="190" y="94"/>
                  <a:pt x="191" y="94"/>
                  <a:pt x="191" y="95"/>
                </a:cubicBezTo>
                <a:cubicBezTo>
                  <a:pt x="192" y="95"/>
                  <a:pt x="191" y="95"/>
                  <a:pt x="191" y="96"/>
                </a:cubicBezTo>
                <a:cubicBezTo>
                  <a:pt x="192" y="96"/>
                  <a:pt x="192" y="95"/>
                  <a:pt x="192" y="95"/>
                </a:cubicBezTo>
                <a:cubicBezTo>
                  <a:pt x="192" y="94"/>
                  <a:pt x="193" y="95"/>
                  <a:pt x="193" y="95"/>
                </a:cubicBezTo>
                <a:cubicBezTo>
                  <a:pt x="193" y="95"/>
                  <a:pt x="192" y="95"/>
                  <a:pt x="193" y="95"/>
                </a:cubicBezTo>
                <a:cubicBezTo>
                  <a:pt x="194" y="95"/>
                  <a:pt x="194" y="95"/>
                  <a:pt x="195" y="95"/>
                </a:cubicBezTo>
                <a:cubicBezTo>
                  <a:pt x="195" y="95"/>
                  <a:pt x="193" y="95"/>
                  <a:pt x="193" y="95"/>
                </a:cubicBezTo>
                <a:cubicBezTo>
                  <a:pt x="192" y="94"/>
                  <a:pt x="191" y="94"/>
                  <a:pt x="191" y="94"/>
                </a:cubicBezTo>
                <a:cubicBezTo>
                  <a:pt x="191" y="93"/>
                  <a:pt x="192" y="93"/>
                  <a:pt x="192" y="93"/>
                </a:cubicBezTo>
                <a:cubicBezTo>
                  <a:pt x="193" y="93"/>
                  <a:pt x="193" y="93"/>
                  <a:pt x="193" y="93"/>
                </a:cubicBezTo>
                <a:cubicBezTo>
                  <a:pt x="194" y="93"/>
                  <a:pt x="194" y="93"/>
                  <a:pt x="194" y="93"/>
                </a:cubicBezTo>
                <a:cubicBezTo>
                  <a:pt x="194" y="93"/>
                  <a:pt x="195" y="94"/>
                  <a:pt x="195" y="95"/>
                </a:cubicBezTo>
                <a:cubicBezTo>
                  <a:pt x="196" y="95"/>
                  <a:pt x="198" y="95"/>
                  <a:pt x="198" y="95"/>
                </a:cubicBezTo>
                <a:cubicBezTo>
                  <a:pt x="198" y="95"/>
                  <a:pt x="197" y="95"/>
                  <a:pt x="197" y="96"/>
                </a:cubicBezTo>
                <a:cubicBezTo>
                  <a:pt x="197" y="96"/>
                  <a:pt x="198" y="96"/>
                  <a:pt x="199" y="96"/>
                </a:cubicBezTo>
                <a:cubicBezTo>
                  <a:pt x="199" y="96"/>
                  <a:pt x="198" y="96"/>
                  <a:pt x="198" y="95"/>
                </a:cubicBezTo>
                <a:cubicBezTo>
                  <a:pt x="198" y="95"/>
                  <a:pt x="198" y="95"/>
                  <a:pt x="198" y="94"/>
                </a:cubicBezTo>
                <a:cubicBezTo>
                  <a:pt x="197" y="94"/>
                  <a:pt x="196" y="95"/>
                  <a:pt x="195" y="94"/>
                </a:cubicBezTo>
                <a:cubicBezTo>
                  <a:pt x="195" y="94"/>
                  <a:pt x="194" y="93"/>
                  <a:pt x="195" y="93"/>
                </a:cubicBezTo>
                <a:cubicBezTo>
                  <a:pt x="195" y="93"/>
                  <a:pt x="196" y="93"/>
                  <a:pt x="197" y="93"/>
                </a:cubicBezTo>
                <a:cubicBezTo>
                  <a:pt x="196" y="92"/>
                  <a:pt x="194" y="93"/>
                  <a:pt x="194" y="92"/>
                </a:cubicBezTo>
                <a:cubicBezTo>
                  <a:pt x="194" y="92"/>
                  <a:pt x="196" y="91"/>
                  <a:pt x="196" y="91"/>
                </a:cubicBezTo>
                <a:cubicBezTo>
                  <a:pt x="197" y="90"/>
                  <a:pt x="198" y="90"/>
                  <a:pt x="199" y="90"/>
                </a:cubicBezTo>
                <a:cubicBezTo>
                  <a:pt x="200" y="90"/>
                  <a:pt x="200" y="91"/>
                  <a:pt x="199" y="92"/>
                </a:cubicBezTo>
                <a:cubicBezTo>
                  <a:pt x="200" y="92"/>
                  <a:pt x="200" y="92"/>
                  <a:pt x="200" y="93"/>
                </a:cubicBezTo>
                <a:cubicBezTo>
                  <a:pt x="200" y="93"/>
                  <a:pt x="199" y="93"/>
                  <a:pt x="199" y="93"/>
                </a:cubicBezTo>
                <a:cubicBezTo>
                  <a:pt x="200" y="93"/>
                  <a:pt x="200" y="93"/>
                  <a:pt x="200" y="93"/>
                </a:cubicBezTo>
                <a:cubicBezTo>
                  <a:pt x="200" y="94"/>
                  <a:pt x="199" y="94"/>
                  <a:pt x="199" y="94"/>
                </a:cubicBezTo>
                <a:cubicBezTo>
                  <a:pt x="200" y="94"/>
                  <a:pt x="200" y="93"/>
                  <a:pt x="200" y="92"/>
                </a:cubicBezTo>
                <a:cubicBezTo>
                  <a:pt x="200" y="92"/>
                  <a:pt x="201" y="92"/>
                  <a:pt x="201" y="92"/>
                </a:cubicBezTo>
                <a:cubicBezTo>
                  <a:pt x="201" y="92"/>
                  <a:pt x="200" y="92"/>
                  <a:pt x="200" y="92"/>
                </a:cubicBezTo>
                <a:cubicBezTo>
                  <a:pt x="200" y="91"/>
                  <a:pt x="202" y="90"/>
                  <a:pt x="202" y="90"/>
                </a:cubicBezTo>
                <a:cubicBezTo>
                  <a:pt x="202" y="90"/>
                  <a:pt x="201" y="91"/>
                  <a:pt x="202" y="91"/>
                </a:cubicBezTo>
                <a:cubicBezTo>
                  <a:pt x="202" y="91"/>
                  <a:pt x="202" y="89"/>
                  <a:pt x="203" y="89"/>
                </a:cubicBezTo>
                <a:cubicBezTo>
                  <a:pt x="203" y="89"/>
                  <a:pt x="203" y="90"/>
                  <a:pt x="203" y="90"/>
                </a:cubicBezTo>
                <a:cubicBezTo>
                  <a:pt x="203" y="89"/>
                  <a:pt x="204" y="89"/>
                  <a:pt x="204" y="89"/>
                </a:cubicBezTo>
                <a:cubicBezTo>
                  <a:pt x="205" y="90"/>
                  <a:pt x="203" y="91"/>
                  <a:pt x="204" y="92"/>
                </a:cubicBezTo>
                <a:cubicBezTo>
                  <a:pt x="205" y="92"/>
                  <a:pt x="204" y="92"/>
                  <a:pt x="204" y="93"/>
                </a:cubicBezTo>
                <a:cubicBezTo>
                  <a:pt x="204" y="93"/>
                  <a:pt x="204" y="93"/>
                  <a:pt x="204" y="93"/>
                </a:cubicBezTo>
                <a:cubicBezTo>
                  <a:pt x="204" y="94"/>
                  <a:pt x="204" y="93"/>
                  <a:pt x="203" y="94"/>
                </a:cubicBezTo>
                <a:cubicBezTo>
                  <a:pt x="203" y="94"/>
                  <a:pt x="203" y="94"/>
                  <a:pt x="203" y="94"/>
                </a:cubicBezTo>
                <a:cubicBezTo>
                  <a:pt x="203" y="94"/>
                  <a:pt x="202" y="95"/>
                  <a:pt x="202" y="95"/>
                </a:cubicBezTo>
                <a:cubicBezTo>
                  <a:pt x="202" y="95"/>
                  <a:pt x="203" y="94"/>
                  <a:pt x="203" y="94"/>
                </a:cubicBezTo>
                <a:cubicBezTo>
                  <a:pt x="204" y="94"/>
                  <a:pt x="204" y="94"/>
                  <a:pt x="204" y="93"/>
                </a:cubicBezTo>
                <a:cubicBezTo>
                  <a:pt x="205" y="93"/>
                  <a:pt x="205" y="92"/>
                  <a:pt x="206" y="93"/>
                </a:cubicBezTo>
                <a:cubicBezTo>
                  <a:pt x="206" y="93"/>
                  <a:pt x="207" y="93"/>
                  <a:pt x="208" y="93"/>
                </a:cubicBezTo>
                <a:cubicBezTo>
                  <a:pt x="207" y="93"/>
                  <a:pt x="207" y="93"/>
                  <a:pt x="207" y="93"/>
                </a:cubicBezTo>
                <a:cubicBezTo>
                  <a:pt x="206" y="93"/>
                  <a:pt x="206" y="92"/>
                  <a:pt x="206" y="92"/>
                </a:cubicBezTo>
                <a:cubicBezTo>
                  <a:pt x="205" y="92"/>
                  <a:pt x="206" y="91"/>
                  <a:pt x="205" y="91"/>
                </a:cubicBezTo>
                <a:cubicBezTo>
                  <a:pt x="205" y="91"/>
                  <a:pt x="208" y="90"/>
                  <a:pt x="207" y="90"/>
                </a:cubicBezTo>
                <a:cubicBezTo>
                  <a:pt x="207" y="90"/>
                  <a:pt x="209" y="89"/>
                  <a:pt x="209" y="89"/>
                </a:cubicBezTo>
                <a:cubicBezTo>
                  <a:pt x="209" y="89"/>
                  <a:pt x="208" y="90"/>
                  <a:pt x="208" y="90"/>
                </a:cubicBezTo>
                <a:cubicBezTo>
                  <a:pt x="208" y="90"/>
                  <a:pt x="208" y="90"/>
                  <a:pt x="208" y="90"/>
                </a:cubicBezTo>
                <a:cubicBezTo>
                  <a:pt x="208" y="90"/>
                  <a:pt x="209" y="91"/>
                  <a:pt x="209" y="90"/>
                </a:cubicBezTo>
                <a:cubicBezTo>
                  <a:pt x="209" y="90"/>
                  <a:pt x="209" y="90"/>
                  <a:pt x="209" y="90"/>
                </a:cubicBezTo>
                <a:cubicBezTo>
                  <a:pt x="209" y="90"/>
                  <a:pt x="209" y="90"/>
                  <a:pt x="210" y="90"/>
                </a:cubicBezTo>
                <a:cubicBezTo>
                  <a:pt x="210" y="90"/>
                  <a:pt x="210" y="90"/>
                  <a:pt x="210" y="90"/>
                </a:cubicBezTo>
                <a:cubicBezTo>
                  <a:pt x="210" y="90"/>
                  <a:pt x="210" y="90"/>
                  <a:pt x="210" y="90"/>
                </a:cubicBezTo>
                <a:cubicBezTo>
                  <a:pt x="210" y="90"/>
                  <a:pt x="211" y="90"/>
                  <a:pt x="211" y="89"/>
                </a:cubicBezTo>
                <a:cubicBezTo>
                  <a:pt x="210" y="89"/>
                  <a:pt x="209" y="89"/>
                  <a:pt x="210" y="89"/>
                </a:cubicBezTo>
                <a:cubicBezTo>
                  <a:pt x="211" y="88"/>
                  <a:pt x="212" y="88"/>
                  <a:pt x="212" y="89"/>
                </a:cubicBezTo>
                <a:cubicBezTo>
                  <a:pt x="212" y="89"/>
                  <a:pt x="212" y="89"/>
                  <a:pt x="213" y="89"/>
                </a:cubicBezTo>
                <a:cubicBezTo>
                  <a:pt x="213" y="90"/>
                  <a:pt x="214" y="90"/>
                  <a:pt x="214" y="90"/>
                </a:cubicBezTo>
                <a:cubicBezTo>
                  <a:pt x="214" y="90"/>
                  <a:pt x="215" y="90"/>
                  <a:pt x="215" y="90"/>
                </a:cubicBezTo>
                <a:cubicBezTo>
                  <a:pt x="215" y="91"/>
                  <a:pt x="216" y="91"/>
                  <a:pt x="216" y="91"/>
                </a:cubicBezTo>
                <a:cubicBezTo>
                  <a:pt x="216" y="91"/>
                  <a:pt x="215" y="91"/>
                  <a:pt x="215" y="91"/>
                </a:cubicBezTo>
                <a:cubicBezTo>
                  <a:pt x="216" y="91"/>
                  <a:pt x="216" y="91"/>
                  <a:pt x="217" y="91"/>
                </a:cubicBezTo>
                <a:cubicBezTo>
                  <a:pt x="216" y="91"/>
                  <a:pt x="216" y="91"/>
                  <a:pt x="216" y="90"/>
                </a:cubicBezTo>
                <a:cubicBezTo>
                  <a:pt x="215" y="90"/>
                  <a:pt x="215" y="90"/>
                  <a:pt x="215" y="90"/>
                </a:cubicBezTo>
                <a:cubicBezTo>
                  <a:pt x="215" y="90"/>
                  <a:pt x="216" y="90"/>
                  <a:pt x="216" y="90"/>
                </a:cubicBezTo>
                <a:cubicBezTo>
                  <a:pt x="216" y="90"/>
                  <a:pt x="214" y="89"/>
                  <a:pt x="215" y="89"/>
                </a:cubicBezTo>
                <a:cubicBezTo>
                  <a:pt x="214" y="89"/>
                  <a:pt x="215" y="89"/>
                  <a:pt x="215" y="89"/>
                </a:cubicBezTo>
                <a:cubicBezTo>
                  <a:pt x="215" y="89"/>
                  <a:pt x="216" y="89"/>
                  <a:pt x="216" y="89"/>
                </a:cubicBezTo>
                <a:cubicBezTo>
                  <a:pt x="216" y="89"/>
                  <a:pt x="216" y="89"/>
                  <a:pt x="215" y="89"/>
                </a:cubicBezTo>
                <a:cubicBezTo>
                  <a:pt x="216" y="88"/>
                  <a:pt x="216" y="88"/>
                  <a:pt x="216" y="88"/>
                </a:cubicBezTo>
                <a:cubicBezTo>
                  <a:pt x="215" y="88"/>
                  <a:pt x="214" y="89"/>
                  <a:pt x="214" y="88"/>
                </a:cubicBezTo>
                <a:cubicBezTo>
                  <a:pt x="214" y="88"/>
                  <a:pt x="216" y="88"/>
                  <a:pt x="216" y="88"/>
                </a:cubicBezTo>
                <a:cubicBezTo>
                  <a:pt x="216" y="88"/>
                  <a:pt x="215" y="88"/>
                  <a:pt x="214" y="88"/>
                </a:cubicBezTo>
                <a:cubicBezTo>
                  <a:pt x="214" y="88"/>
                  <a:pt x="214" y="88"/>
                  <a:pt x="214" y="88"/>
                </a:cubicBezTo>
                <a:cubicBezTo>
                  <a:pt x="214" y="88"/>
                  <a:pt x="214" y="88"/>
                  <a:pt x="213" y="88"/>
                </a:cubicBezTo>
                <a:cubicBezTo>
                  <a:pt x="213" y="88"/>
                  <a:pt x="213" y="88"/>
                  <a:pt x="212" y="88"/>
                </a:cubicBezTo>
                <a:cubicBezTo>
                  <a:pt x="212" y="88"/>
                  <a:pt x="211" y="87"/>
                  <a:pt x="212" y="87"/>
                </a:cubicBezTo>
                <a:cubicBezTo>
                  <a:pt x="211" y="87"/>
                  <a:pt x="209" y="87"/>
                  <a:pt x="209" y="87"/>
                </a:cubicBezTo>
                <a:cubicBezTo>
                  <a:pt x="210" y="86"/>
                  <a:pt x="210" y="86"/>
                  <a:pt x="211" y="86"/>
                </a:cubicBezTo>
                <a:cubicBezTo>
                  <a:pt x="211" y="86"/>
                  <a:pt x="211" y="87"/>
                  <a:pt x="212" y="87"/>
                </a:cubicBezTo>
                <a:cubicBezTo>
                  <a:pt x="212" y="87"/>
                  <a:pt x="211" y="85"/>
                  <a:pt x="212" y="86"/>
                </a:cubicBezTo>
                <a:cubicBezTo>
                  <a:pt x="213" y="86"/>
                  <a:pt x="214" y="87"/>
                  <a:pt x="214" y="87"/>
                </a:cubicBezTo>
                <a:cubicBezTo>
                  <a:pt x="214" y="87"/>
                  <a:pt x="213" y="87"/>
                  <a:pt x="214" y="86"/>
                </a:cubicBezTo>
                <a:cubicBezTo>
                  <a:pt x="214" y="86"/>
                  <a:pt x="215" y="86"/>
                  <a:pt x="215" y="86"/>
                </a:cubicBezTo>
                <a:cubicBezTo>
                  <a:pt x="215" y="86"/>
                  <a:pt x="215" y="86"/>
                  <a:pt x="215" y="86"/>
                </a:cubicBezTo>
                <a:cubicBezTo>
                  <a:pt x="215" y="86"/>
                  <a:pt x="215" y="86"/>
                  <a:pt x="216" y="86"/>
                </a:cubicBezTo>
                <a:cubicBezTo>
                  <a:pt x="216" y="86"/>
                  <a:pt x="216" y="86"/>
                  <a:pt x="216" y="86"/>
                </a:cubicBezTo>
                <a:cubicBezTo>
                  <a:pt x="216" y="86"/>
                  <a:pt x="216" y="86"/>
                  <a:pt x="217" y="86"/>
                </a:cubicBezTo>
                <a:cubicBezTo>
                  <a:pt x="218" y="86"/>
                  <a:pt x="217" y="86"/>
                  <a:pt x="217" y="87"/>
                </a:cubicBezTo>
                <a:cubicBezTo>
                  <a:pt x="217" y="87"/>
                  <a:pt x="217" y="87"/>
                  <a:pt x="217" y="87"/>
                </a:cubicBezTo>
                <a:cubicBezTo>
                  <a:pt x="217" y="87"/>
                  <a:pt x="217" y="87"/>
                  <a:pt x="217" y="87"/>
                </a:cubicBezTo>
                <a:cubicBezTo>
                  <a:pt x="217" y="87"/>
                  <a:pt x="217" y="87"/>
                  <a:pt x="218" y="87"/>
                </a:cubicBezTo>
                <a:cubicBezTo>
                  <a:pt x="218" y="87"/>
                  <a:pt x="219" y="88"/>
                  <a:pt x="219" y="88"/>
                </a:cubicBezTo>
                <a:cubicBezTo>
                  <a:pt x="219" y="87"/>
                  <a:pt x="217" y="87"/>
                  <a:pt x="217" y="87"/>
                </a:cubicBezTo>
                <a:cubicBezTo>
                  <a:pt x="218" y="86"/>
                  <a:pt x="219" y="87"/>
                  <a:pt x="220" y="87"/>
                </a:cubicBezTo>
                <a:cubicBezTo>
                  <a:pt x="220" y="87"/>
                  <a:pt x="221" y="87"/>
                  <a:pt x="221" y="87"/>
                </a:cubicBezTo>
                <a:cubicBezTo>
                  <a:pt x="222" y="87"/>
                  <a:pt x="221" y="87"/>
                  <a:pt x="221" y="88"/>
                </a:cubicBezTo>
                <a:cubicBezTo>
                  <a:pt x="220" y="88"/>
                  <a:pt x="218" y="88"/>
                  <a:pt x="217" y="88"/>
                </a:cubicBezTo>
                <a:cubicBezTo>
                  <a:pt x="218" y="88"/>
                  <a:pt x="219" y="88"/>
                  <a:pt x="219" y="88"/>
                </a:cubicBezTo>
                <a:cubicBezTo>
                  <a:pt x="220" y="88"/>
                  <a:pt x="220" y="88"/>
                  <a:pt x="220" y="88"/>
                </a:cubicBezTo>
                <a:cubicBezTo>
                  <a:pt x="221" y="88"/>
                  <a:pt x="222" y="87"/>
                  <a:pt x="222" y="87"/>
                </a:cubicBezTo>
                <a:cubicBezTo>
                  <a:pt x="222" y="87"/>
                  <a:pt x="222" y="88"/>
                  <a:pt x="222" y="88"/>
                </a:cubicBezTo>
                <a:cubicBezTo>
                  <a:pt x="223" y="88"/>
                  <a:pt x="224" y="89"/>
                  <a:pt x="223" y="89"/>
                </a:cubicBezTo>
                <a:cubicBezTo>
                  <a:pt x="223" y="89"/>
                  <a:pt x="224" y="89"/>
                  <a:pt x="224" y="89"/>
                </a:cubicBezTo>
                <a:cubicBezTo>
                  <a:pt x="224" y="89"/>
                  <a:pt x="226" y="89"/>
                  <a:pt x="226" y="89"/>
                </a:cubicBezTo>
                <a:cubicBezTo>
                  <a:pt x="226" y="89"/>
                  <a:pt x="224" y="88"/>
                  <a:pt x="223" y="88"/>
                </a:cubicBezTo>
                <a:cubicBezTo>
                  <a:pt x="224" y="88"/>
                  <a:pt x="225" y="88"/>
                  <a:pt x="225" y="88"/>
                </a:cubicBezTo>
                <a:cubicBezTo>
                  <a:pt x="225" y="87"/>
                  <a:pt x="224" y="87"/>
                  <a:pt x="224" y="87"/>
                </a:cubicBezTo>
                <a:cubicBezTo>
                  <a:pt x="224" y="87"/>
                  <a:pt x="225" y="87"/>
                  <a:pt x="225" y="87"/>
                </a:cubicBezTo>
                <a:cubicBezTo>
                  <a:pt x="224" y="87"/>
                  <a:pt x="224" y="87"/>
                  <a:pt x="224" y="87"/>
                </a:cubicBezTo>
                <a:cubicBezTo>
                  <a:pt x="224" y="86"/>
                  <a:pt x="225" y="87"/>
                  <a:pt x="226" y="86"/>
                </a:cubicBezTo>
                <a:cubicBezTo>
                  <a:pt x="225" y="86"/>
                  <a:pt x="225" y="87"/>
                  <a:pt x="224" y="86"/>
                </a:cubicBezTo>
                <a:cubicBezTo>
                  <a:pt x="225" y="86"/>
                  <a:pt x="225" y="86"/>
                  <a:pt x="226" y="86"/>
                </a:cubicBezTo>
                <a:cubicBezTo>
                  <a:pt x="226" y="86"/>
                  <a:pt x="226" y="86"/>
                  <a:pt x="225" y="86"/>
                </a:cubicBezTo>
                <a:cubicBezTo>
                  <a:pt x="225" y="85"/>
                  <a:pt x="227" y="85"/>
                  <a:pt x="227" y="84"/>
                </a:cubicBezTo>
                <a:cubicBezTo>
                  <a:pt x="229" y="84"/>
                  <a:pt x="230" y="84"/>
                  <a:pt x="231" y="84"/>
                </a:cubicBezTo>
                <a:cubicBezTo>
                  <a:pt x="231" y="84"/>
                  <a:pt x="230" y="84"/>
                  <a:pt x="230" y="84"/>
                </a:cubicBezTo>
                <a:cubicBezTo>
                  <a:pt x="230" y="84"/>
                  <a:pt x="230" y="83"/>
                  <a:pt x="230" y="83"/>
                </a:cubicBezTo>
                <a:cubicBezTo>
                  <a:pt x="231" y="82"/>
                  <a:pt x="232" y="83"/>
                  <a:pt x="233" y="83"/>
                </a:cubicBezTo>
                <a:cubicBezTo>
                  <a:pt x="233" y="83"/>
                  <a:pt x="234" y="83"/>
                  <a:pt x="233" y="83"/>
                </a:cubicBezTo>
                <a:cubicBezTo>
                  <a:pt x="233" y="83"/>
                  <a:pt x="233" y="82"/>
                  <a:pt x="233" y="82"/>
                </a:cubicBezTo>
                <a:cubicBezTo>
                  <a:pt x="232" y="82"/>
                  <a:pt x="232" y="82"/>
                  <a:pt x="231" y="82"/>
                </a:cubicBezTo>
                <a:cubicBezTo>
                  <a:pt x="230" y="82"/>
                  <a:pt x="230" y="81"/>
                  <a:pt x="231" y="81"/>
                </a:cubicBezTo>
                <a:cubicBezTo>
                  <a:pt x="231" y="81"/>
                  <a:pt x="232" y="81"/>
                  <a:pt x="232" y="81"/>
                </a:cubicBezTo>
                <a:cubicBezTo>
                  <a:pt x="233" y="82"/>
                  <a:pt x="232" y="81"/>
                  <a:pt x="232" y="81"/>
                </a:cubicBezTo>
                <a:cubicBezTo>
                  <a:pt x="233" y="81"/>
                  <a:pt x="233" y="81"/>
                  <a:pt x="233" y="81"/>
                </a:cubicBezTo>
                <a:cubicBezTo>
                  <a:pt x="233" y="81"/>
                  <a:pt x="233" y="81"/>
                  <a:pt x="232" y="80"/>
                </a:cubicBezTo>
                <a:cubicBezTo>
                  <a:pt x="233" y="80"/>
                  <a:pt x="232" y="80"/>
                  <a:pt x="233" y="80"/>
                </a:cubicBezTo>
                <a:cubicBezTo>
                  <a:pt x="232" y="80"/>
                  <a:pt x="232" y="80"/>
                  <a:pt x="232" y="80"/>
                </a:cubicBezTo>
                <a:cubicBezTo>
                  <a:pt x="232" y="80"/>
                  <a:pt x="232" y="80"/>
                  <a:pt x="233" y="80"/>
                </a:cubicBezTo>
                <a:cubicBezTo>
                  <a:pt x="232" y="80"/>
                  <a:pt x="232" y="79"/>
                  <a:pt x="232" y="79"/>
                </a:cubicBezTo>
                <a:cubicBezTo>
                  <a:pt x="232" y="79"/>
                  <a:pt x="233" y="79"/>
                  <a:pt x="233" y="80"/>
                </a:cubicBezTo>
                <a:cubicBezTo>
                  <a:pt x="233" y="80"/>
                  <a:pt x="233" y="80"/>
                  <a:pt x="234" y="80"/>
                </a:cubicBezTo>
                <a:cubicBezTo>
                  <a:pt x="234" y="80"/>
                  <a:pt x="234" y="80"/>
                  <a:pt x="234" y="80"/>
                </a:cubicBezTo>
                <a:cubicBezTo>
                  <a:pt x="234" y="80"/>
                  <a:pt x="235" y="80"/>
                  <a:pt x="235" y="80"/>
                </a:cubicBezTo>
                <a:cubicBezTo>
                  <a:pt x="235" y="80"/>
                  <a:pt x="235" y="80"/>
                  <a:pt x="235" y="80"/>
                </a:cubicBezTo>
                <a:cubicBezTo>
                  <a:pt x="236" y="80"/>
                  <a:pt x="235" y="81"/>
                  <a:pt x="235" y="81"/>
                </a:cubicBezTo>
                <a:cubicBezTo>
                  <a:pt x="235" y="81"/>
                  <a:pt x="235" y="81"/>
                  <a:pt x="235" y="81"/>
                </a:cubicBezTo>
                <a:cubicBezTo>
                  <a:pt x="236" y="80"/>
                  <a:pt x="236" y="80"/>
                  <a:pt x="236" y="80"/>
                </a:cubicBezTo>
                <a:cubicBezTo>
                  <a:pt x="237" y="81"/>
                  <a:pt x="237" y="81"/>
                  <a:pt x="237" y="81"/>
                </a:cubicBezTo>
                <a:cubicBezTo>
                  <a:pt x="237" y="81"/>
                  <a:pt x="238" y="81"/>
                  <a:pt x="238" y="81"/>
                </a:cubicBezTo>
                <a:cubicBezTo>
                  <a:pt x="238" y="81"/>
                  <a:pt x="237" y="80"/>
                  <a:pt x="237" y="80"/>
                </a:cubicBezTo>
                <a:cubicBezTo>
                  <a:pt x="238" y="80"/>
                  <a:pt x="238" y="80"/>
                  <a:pt x="239" y="80"/>
                </a:cubicBezTo>
                <a:cubicBezTo>
                  <a:pt x="239" y="80"/>
                  <a:pt x="239" y="81"/>
                  <a:pt x="238" y="81"/>
                </a:cubicBezTo>
                <a:cubicBezTo>
                  <a:pt x="238" y="81"/>
                  <a:pt x="239" y="81"/>
                  <a:pt x="239" y="81"/>
                </a:cubicBezTo>
                <a:cubicBezTo>
                  <a:pt x="240" y="80"/>
                  <a:pt x="240" y="81"/>
                  <a:pt x="240" y="81"/>
                </a:cubicBezTo>
                <a:cubicBezTo>
                  <a:pt x="240" y="81"/>
                  <a:pt x="241" y="80"/>
                  <a:pt x="241" y="81"/>
                </a:cubicBezTo>
                <a:cubicBezTo>
                  <a:pt x="241" y="81"/>
                  <a:pt x="241" y="81"/>
                  <a:pt x="241" y="81"/>
                </a:cubicBezTo>
                <a:cubicBezTo>
                  <a:pt x="241" y="81"/>
                  <a:pt x="241" y="81"/>
                  <a:pt x="242" y="81"/>
                </a:cubicBezTo>
                <a:cubicBezTo>
                  <a:pt x="241" y="81"/>
                  <a:pt x="241" y="81"/>
                  <a:pt x="241" y="81"/>
                </a:cubicBezTo>
                <a:cubicBezTo>
                  <a:pt x="241" y="81"/>
                  <a:pt x="240" y="82"/>
                  <a:pt x="240" y="82"/>
                </a:cubicBezTo>
                <a:cubicBezTo>
                  <a:pt x="240" y="82"/>
                  <a:pt x="240" y="82"/>
                  <a:pt x="240" y="82"/>
                </a:cubicBezTo>
                <a:cubicBezTo>
                  <a:pt x="240" y="82"/>
                  <a:pt x="239" y="82"/>
                  <a:pt x="239" y="82"/>
                </a:cubicBezTo>
                <a:cubicBezTo>
                  <a:pt x="238" y="83"/>
                  <a:pt x="238" y="83"/>
                  <a:pt x="238" y="83"/>
                </a:cubicBezTo>
                <a:cubicBezTo>
                  <a:pt x="237" y="84"/>
                  <a:pt x="237" y="84"/>
                  <a:pt x="236" y="84"/>
                </a:cubicBezTo>
                <a:cubicBezTo>
                  <a:pt x="237" y="84"/>
                  <a:pt x="237" y="84"/>
                  <a:pt x="237" y="84"/>
                </a:cubicBezTo>
                <a:cubicBezTo>
                  <a:pt x="238" y="84"/>
                  <a:pt x="236" y="84"/>
                  <a:pt x="236" y="84"/>
                </a:cubicBezTo>
                <a:cubicBezTo>
                  <a:pt x="237" y="84"/>
                  <a:pt x="237" y="84"/>
                  <a:pt x="238" y="84"/>
                </a:cubicBezTo>
                <a:cubicBezTo>
                  <a:pt x="238" y="84"/>
                  <a:pt x="238" y="85"/>
                  <a:pt x="237" y="85"/>
                </a:cubicBezTo>
                <a:cubicBezTo>
                  <a:pt x="237" y="85"/>
                  <a:pt x="237" y="85"/>
                  <a:pt x="236" y="85"/>
                </a:cubicBezTo>
                <a:cubicBezTo>
                  <a:pt x="237" y="85"/>
                  <a:pt x="237" y="86"/>
                  <a:pt x="237" y="86"/>
                </a:cubicBezTo>
                <a:cubicBezTo>
                  <a:pt x="238" y="85"/>
                  <a:pt x="236" y="86"/>
                  <a:pt x="236" y="86"/>
                </a:cubicBezTo>
                <a:cubicBezTo>
                  <a:pt x="236" y="87"/>
                  <a:pt x="236" y="87"/>
                  <a:pt x="236" y="87"/>
                </a:cubicBezTo>
                <a:cubicBezTo>
                  <a:pt x="236" y="88"/>
                  <a:pt x="236" y="88"/>
                  <a:pt x="236" y="88"/>
                </a:cubicBezTo>
                <a:cubicBezTo>
                  <a:pt x="236" y="88"/>
                  <a:pt x="237" y="88"/>
                  <a:pt x="236" y="88"/>
                </a:cubicBezTo>
                <a:cubicBezTo>
                  <a:pt x="236" y="87"/>
                  <a:pt x="237" y="87"/>
                  <a:pt x="237" y="87"/>
                </a:cubicBezTo>
                <a:cubicBezTo>
                  <a:pt x="237" y="87"/>
                  <a:pt x="237" y="87"/>
                  <a:pt x="237" y="87"/>
                </a:cubicBezTo>
                <a:cubicBezTo>
                  <a:pt x="237" y="87"/>
                  <a:pt x="237" y="88"/>
                  <a:pt x="237" y="88"/>
                </a:cubicBezTo>
                <a:cubicBezTo>
                  <a:pt x="237" y="89"/>
                  <a:pt x="238" y="87"/>
                  <a:pt x="238" y="87"/>
                </a:cubicBezTo>
                <a:cubicBezTo>
                  <a:pt x="239" y="86"/>
                  <a:pt x="240" y="86"/>
                  <a:pt x="239" y="86"/>
                </a:cubicBezTo>
                <a:cubicBezTo>
                  <a:pt x="239" y="85"/>
                  <a:pt x="241" y="84"/>
                  <a:pt x="242" y="83"/>
                </a:cubicBezTo>
                <a:cubicBezTo>
                  <a:pt x="242" y="83"/>
                  <a:pt x="242" y="83"/>
                  <a:pt x="242" y="83"/>
                </a:cubicBezTo>
                <a:cubicBezTo>
                  <a:pt x="243" y="82"/>
                  <a:pt x="243" y="82"/>
                  <a:pt x="244" y="82"/>
                </a:cubicBezTo>
                <a:cubicBezTo>
                  <a:pt x="244" y="81"/>
                  <a:pt x="246" y="79"/>
                  <a:pt x="247" y="80"/>
                </a:cubicBezTo>
                <a:cubicBezTo>
                  <a:pt x="248" y="80"/>
                  <a:pt x="246" y="81"/>
                  <a:pt x="247" y="81"/>
                </a:cubicBezTo>
                <a:cubicBezTo>
                  <a:pt x="247" y="82"/>
                  <a:pt x="246" y="82"/>
                  <a:pt x="245" y="83"/>
                </a:cubicBezTo>
                <a:cubicBezTo>
                  <a:pt x="245" y="83"/>
                  <a:pt x="247" y="82"/>
                  <a:pt x="247" y="83"/>
                </a:cubicBezTo>
                <a:cubicBezTo>
                  <a:pt x="247" y="83"/>
                  <a:pt x="246" y="84"/>
                  <a:pt x="247" y="84"/>
                </a:cubicBezTo>
                <a:cubicBezTo>
                  <a:pt x="247" y="84"/>
                  <a:pt x="247" y="85"/>
                  <a:pt x="246" y="85"/>
                </a:cubicBezTo>
                <a:cubicBezTo>
                  <a:pt x="246" y="86"/>
                  <a:pt x="247" y="85"/>
                  <a:pt x="247" y="85"/>
                </a:cubicBezTo>
                <a:cubicBezTo>
                  <a:pt x="247" y="85"/>
                  <a:pt x="248" y="85"/>
                  <a:pt x="248" y="85"/>
                </a:cubicBezTo>
                <a:cubicBezTo>
                  <a:pt x="248" y="85"/>
                  <a:pt x="248" y="84"/>
                  <a:pt x="248" y="84"/>
                </a:cubicBezTo>
                <a:cubicBezTo>
                  <a:pt x="249" y="84"/>
                  <a:pt x="249" y="84"/>
                  <a:pt x="249" y="84"/>
                </a:cubicBezTo>
                <a:cubicBezTo>
                  <a:pt x="249" y="85"/>
                  <a:pt x="250" y="84"/>
                  <a:pt x="250" y="84"/>
                </a:cubicBezTo>
                <a:cubicBezTo>
                  <a:pt x="250" y="84"/>
                  <a:pt x="249" y="84"/>
                  <a:pt x="250" y="84"/>
                </a:cubicBezTo>
                <a:cubicBezTo>
                  <a:pt x="249" y="83"/>
                  <a:pt x="250" y="83"/>
                  <a:pt x="250" y="83"/>
                </a:cubicBezTo>
                <a:cubicBezTo>
                  <a:pt x="250" y="83"/>
                  <a:pt x="251" y="83"/>
                  <a:pt x="251" y="83"/>
                </a:cubicBezTo>
                <a:cubicBezTo>
                  <a:pt x="251" y="83"/>
                  <a:pt x="251" y="83"/>
                  <a:pt x="250" y="83"/>
                </a:cubicBezTo>
                <a:cubicBezTo>
                  <a:pt x="250" y="83"/>
                  <a:pt x="251" y="83"/>
                  <a:pt x="250" y="82"/>
                </a:cubicBezTo>
                <a:cubicBezTo>
                  <a:pt x="250" y="82"/>
                  <a:pt x="250" y="82"/>
                  <a:pt x="250" y="82"/>
                </a:cubicBezTo>
                <a:cubicBezTo>
                  <a:pt x="250" y="82"/>
                  <a:pt x="250" y="82"/>
                  <a:pt x="250" y="82"/>
                </a:cubicBezTo>
                <a:cubicBezTo>
                  <a:pt x="251" y="82"/>
                  <a:pt x="251" y="82"/>
                  <a:pt x="252" y="82"/>
                </a:cubicBezTo>
                <a:cubicBezTo>
                  <a:pt x="251" y="82"/>
                  <a:pt x="251" y="81"/>
                  <a:pt x="252" y="81"/>
                </a:cubicBezTo>
                <a:cubicBezTo>
                  <a:pt x="252" y="81"/>
                  <a:pt x="253" y="81"/>
                  <a:pt x="254" y="81"/>
                </a:cubicBezTo>
                <a:cubicBezTo>
                  <a:pt x="253" y="81"/>
                  <a:pt x="253" y="81"/>
                  <a:pt x="252" y="81"/>
                </a:cubicBezTo>
                <a:cubicBezTo>
                  <a:pt x="253" y="81"/>
                  <a:pt x="253" y="81"/>
                  <a:pt x="253" y="81"/>
                </a:cubicBezTo>
                <a:cubicBezTo>
                  <a:pt x="252" y="81"/>
                  <a:pt x="252" y="81"/>
                  <a:pt x="252" y="81"/>
                </a:cubicBezTo>
                <a:cubicBezTo>
                  <a:pt x="252" y="81"/>
                  <a:pt x="252" y="80"/>
                  <a:pt x="252" y="80"/>
                </a:cubicBezTo>
                <a:cubicBezTo>
                  <a:pt x="252" y="80"/>
                  <a:pt x="250" y="81"/>
                  <a:pt x="250" y="80"/>
                </a:cubicBezTo>
                <a:cubicBezTo>
                  <a:pt x="250" y="80"/>
                  <a:pt x="251" y="80"/>
                  <a:pt x="251" y="80"/>
                </a:cubicBezTo>
                <a:cubicBezTo>
                  <a:pt x="251" y="80"/>
                  <a:pt x="250" y="79"/>
                  <a:pt x="251" y="79"/>
                </a:cubicBezTo>
                <a:cubicBezTo>
                  <a:pt x="251" y="79"/>
                  <a:pt x="253" y="80"/>
                  <a:pt x="253" y="80"/>
                </a:cubicBezTo>
                <a:cubicBezTo>
                  <a:pt x="253" y="80"/>
                  <a:pt x="253" y="79"/>
                  <a:pt x="252" y="79"/>
                </a:cubicBezTo>
                <a:cubicBezTo>
                  <a:pt x="252" y="79"/>
                  <a:pt x="253" y="79"/>
                  <a:pt x="253" y="78"/>
                </a:cubicBezTo>
                <a:cubicBezTo>
                  <a:pt x="254" y="78"/>
                  <a:pt x="254" y="79"/>
                  <a:pt x="254" y="79"/>
                </a:cubicBezTo>
                <a:cubicBezTo>
                  <a:pt x="254" y="79"/>
                  <a:pt x="255" y="79"/>
                  <a:pt x="255" y="79"/>
                </a:cubicBezTo>
                <a:cubicBezTo>
                  <a:pt x="256" y="79"/>
                  <a:pt x="256" y="79"/>
                  <a:pt x="257" y="79"/>
                </a:cubicBezTo>
                <a:cubicBezTo>
                  <a:pt x="257" y="79"/>
                  <a:pt x="257" y="79"/>
                  <a:pt x="258" y="79"/>
                </a:cubicBezTo>
                <a:cubicBezTo>
                  <a:pt x="258" y="79"/>
                  <a:pt x="257" y="79"/>
                  <a:pt x="257" y="80"/>
                </a:cubicBezTo>
                <a:cubicBezTo>
                  <a:pt x="257" y="80"/>
                  <a:pt x="258" y="80"/>
                  <a:pt x="258" y="80"/>
                </a:cubicBezTo>
                <a:cubicBezTo>
                  <a:pt x="258" y="79"/>
                  <a:pt x="259" y="80"/>
                  <a:pt x="259" y="80"/>
                </a:cubicBezTo>
                <a:cubicBezTo>
                  <a:pt x="260" y="80"/>
                  <a:pt x="259" y="81"/>
                  <a:pt x="259" y="81"/>
                </a:cubicBezTo>
                <a:cubicBezTo>
                  <a:pt x="259" y="81"/>
                  <a:pt x="259" y="81"/>
                  <a:pt x="259" y="81"/>
                </a:cubicBezTo>
                <a:cubicBezTo>
                  <a:pt x="259" y="81"/>
                  <a:pt x="258" y="81"/>
                  <a:pt x="258" y="81"/>
                </a:cubicBezTo>
                <a:cubicBezTo>
                  <a:pt x="258" y="81"/>
                  <a:pt x="258" y="81"/>
                  <a:pt x="258" y="81"/>
                </a:cubicBezTo>
                <a:cubicBezTo>
                  <a:pt x="258" y="82"/>
                  <a:pt x="257" y="81"/>
                  <a:pt x="256" y="81"/>
                </a:cubicBezTo>
                <a:cubicBezTo>
                  <a:pt x="256" y="81"/>
                  <a:pt x="255" y="81"/>
                  <a:pt x="254" y="81"/>
                </a:cubicBezTo>
                <a:cubicBezTo>
                  <a:pt x="255" y="81"/>
                  <a:pt x="255" y="82"/>
                  <a:pt x="255" y="82"/>
                </a:cubicBezTo>
                <a:cubicBezTo>
                  <a:pt x="255" y="82"/>
                  <a:pt x="256" y="81"/>
                  <a:pt x="257" y="82"/>
                </a:cubicBezTo>
                <a:cubicBezTo>
                  <a:pt x="256" y="82"/>
                  <a:pt x="255" y="83"/>
                  <a:pt x="254" y="83"/>
                </a:cubicBezTo>
                <a:cubicBezTo>
                  <a:pt x="255" y="83"/>
                  <a:pt x="256" y="83"/>
                  <a:pt x="257" y="83"/>
                </a:cubicBezTo>
                <a:cubicBezTo>
                  <a:pt x="257" y="82"/>
                  <a:pt x="258" y="82"/>
                  <a:pt x="258" y="82"/>
                </a:cubicBezTo>
                <a:cubicBezTo>
                  <a:pt x="259" y="83"/>
                  <a:pt x="256" y="84"/>
                  <a:pt x="255" y="84"/>
                </a:cubicBezTo>
                <a:cubicBezTo>
                  <a:pt x="256" y="84"/>
                  <a:pt x="256" y="85"/>
                  <a:pt x="256" y="85"/>
                </a:cubicBezTo>
                <a:cubicBezTo>
                  <a:pt x="256" y="85"/>
                  <a:pt x="256" y="84"/>
                  <a:pt x="256" y="84"/>
                </a:cubicBezTo>
                <a:cubicBezTo>
                  <a:pt x="256" y="84"/>
                  <a:pt x="256" y="84"/>
                  <a:pt x="256" y="84"/>
                </a:cubicBezTo>
                <a:cubicBezTo>
                  <a:pt x="257" y="84"/>
                  <a:pt x="257" y="84"/>
                  <a:pt x="258" y="84"/>
                </a:cubicBezTo>
                <a:cubicBezTo>
                  <a:pt x="258" y="84"/>
                  <a:pt x="257" y="84"/>
                  <a:pt x="257" y="85"/>
                </a:cubicBezTo>
                <a:cubicBezTo>
                  <a:pt x="257" y="85"/>
                  <a:pt x="259" y="84"/>
                  <a:pt x="259" y="84"/>
                </a:cubicBezTo>
                <a:cubicBezTo>
                  <a:pt x="259" y="84"/>
                  <a:pt x="259" y="85"/>
                  <a:pt x="259" y="85"/>
                </a:cubicBezTo>
                <a:cubicBezTo>
                  <a:pt x="258" y="85"/>
                  <a:pt x="258" y="85"/>
                  <a:pt x="258" y="86"/>
                </a:cubicBezTo>
                <a:cubicBezTo>
                  <a:pt x="258" y="86"/>
                  <a:pt x="258" y="85"/>
                  <a:pt x="258" y="85"/>
                </a:cubicBezTo>
                <a:cubicBezTo>
                  <a:pt x="258" y="85"/>
                  <a:pt x="259" y="85"/>
                  <a:pt x="259" y="85"/>
                </a:cubicBezTo>
                <a:cubicBezTo>
                  <a:pt x="260" y="84"/>
                  <a:pt x="260" y="85"/>
                  <a:pt x="260" y="84"/>
                </a:cubicBezTo>
                <a:cubicBezTo>
                  <a:pt x="260" y="84"/>
                  <a:pt x="259" y="84"/>
                  <a:pt x="259" y="83"/>
                </a:cubicBezTo>
                <a:cubicBezTo>
                  <a:pt x="260" y="83"/>
                  <a:pt x="260" y="83"/>
                  <a:pt x="261" y="82"/>
                </a:cubicBezTo>
                <a:cubicBezTo>
                  <a:pt x="259" y="82"/>
                  <a:pt x="262" y="81"/>
                  <a:pt x="262" y="81"/>
                </a:cubicBezTo>
                <a:cubicBezTo>
                  <a:pt x="262" y="81"/>
                  <a:pt x="264" y="80"/>
                  <a:pt x="264" y="81"/>
                </a:cubicBezTo>
                <a:cubicBezTo>
                  <a:pt x="264" y="81"/>
                  <a:pt x="265" y="81"/>
                  <a:pt x="266" y="82"/>
                </a:cubicBezTo>
                <a:cubicBezTo>
                  <a:pt x="266" y="82"/>
                  <a:pt x="265" y="82"/>
                  <a:pt x="265" y="82"/>
                </a:cubicBezTo>
                <a:cubicBezTo>
                  <a:pt x="265" y="82"/>
                  <a:pt x="266" y="82"/>
                  <a:pt x="266" y="82"/>
                </a:cubicBezTo>
                <a:cubicBezTo>
                  <a:pt x="266" y="82"/>
                  <a:pt x="266" y="82"/>
                  <a:pt x="265" y="82"/>
                </a:cubicBezTo>
                <a:cubicBezTo>
                  <a:pt x="266" y="82"/>
                  <a:pt x="266" y="82"/>
                  <a:pt x="265" y="82"/>
                </a:cubicBezTo>
                <a:cubicBezTo>
                  <a:pt x="265" y="83"/>
                  <a:pt x="267" y="82"/>
                  <a:pt x="267" y="82"/>
                </a:cubicBezTo>
                <a:cubicBezTo>
                  <a:pt x="268" y="82"/>
                  <a:pt x="268" y="82"/>
                  <a:pt x="268" y="82"/>
                </a:cubicBezTo>
                <a:cubicBezTo>
                  <a:pt x="269" y="82"/>
                  <a:pt x="269" y="83"/>
                  <a:pt x="268" y="83"/>
                </a:cubicBezTo>
                <a:cubicBezTo>
                  <a:pt x="269" y="83"/>
                  <a:pt x="271" y="82"/>
                  <a:pt x="272" y="83"/>
                </a:cubicBezTo>
                <a:cubicBezTo>
                  <a:pt x="271" y="83"/>
                  <a:pt x="271" y="83"/>
                  <a:pt x="271" y="83"/>
                </a:cubicBezTo>
                <a:cubicBezTo>
                  <a:pt x="271" y="83"/>
                  <a:pt x="272" y="83"/>
                  <a:pt x="272" y="83"/>
                </a:cubicBezTo>
                <a:cubicBezTo>
                  <a:pt x="273" y="84"/>
                  <a:pt x="271" y="83"/>
                  <a:pt x="271" y="84"/>
                </a:cubicBezTo>
                <a:cubicBezTo>
                  <a:pt x="271" y="84"/>
                  <a:pt x="271" y="84"/>
                  <a:pt x="271" y="84"/>
                </a:cubicBezTo>
                <a:cubicBezTo>
                  <a:pt x="271" y="84"/>
                  <a:pt x="272" y="84"/>
                  <a:pt x="273" y="84"/>
                </a:cubicBezTo>
                <a:cubicBezTo>
                  <a:pt x="273" y="84"/>
                  <a:pt x="274" y="84"/>
                  <a:pt x="274" y="84"/>
                </a:cubicBezTo>
                <a:cubicBezTo>
                  <a:pt x="275" y="84"/>
                  <a:pt x="275" y="84"/>
                  <a:pt x="275" y="84"/>
                </a:cubicBezTo>
                <a:cubicBezTo>
                  <a:pt x="276" y="84"/>
                  <a:pt x="276" y="85"/>
                  <a:pt x="276" y="85"/>
                </a:cubicBezTo>
                <a:cubicBezTo>
                  <a:pt x="277" y="84"/>
                  <a:pt x="278" y="85"/>
                  <a:pt x="278" y="85"/>
                </a:cubicBezTo>
                <a:cubicBezTo>
                  <a:pt x="279" y="87"/>
                  <a:pt x="275" y="86"/>
                  <a:pt x="275" y="87"/>
                </a:cubicBezTo>
                <a:cubicBezTo>
                  <a:pt x="274" y="87"/>
                  <a:pt x="273" y="87"/>
                  <a:pt x="274" y="87"/>
                </a:cubicBezTo>
                <a:cubicBezTo>
                  <a:pt x="274" y="88"/>
                  <a:pt x="271" y="88"/>
                  <a:pt x="272" y="88"/>
                </a:cubicBezTo>
                <a:cubicBezTo>
                  <a:pt x="270" y="88"/>
                  <a:pt x="268" y="88"/>
                  <a:pt x="266" y="88"/>
                </a:cubicBezTo>
                <a:cubicBezTo>
                  <a:pt x="266" y="88"/>
                  <a:pt x="265" y="88"/>
                  <a:pt x="264" y="87"/>
                </a:cubicBezTo>
                <a:cubicBezTo>
                  <a:pt x="263" y="87"/>
                  <a:pt x="262" y="87"/>
                  <a:pt x="261" y="87"/>
                </a:cubicBezTo>
                <a:cubicBezTo>
                  <a:pt x="262" y="87"/>
                  <a:pt x="262" y="87"/>
                  <a:pt x="262" y="87"/>
                </a:cubicBezTo>
                <a:cubicBezTo>
                  <a:pt x="262" y="87"/>
                  <a:pt x="262" y="87"/>
                  <a:pt x="261" y="88"/>
                </a:cubicBezTo>
                <a:cubicBezTo>
                  <a:pt x="262" y="88"/>
                  <a:pt x="262" y="87"/>
                  <a:pt x="263" y="88"/>
                </a:cubicBezTo>
                <a:cubicBezTo>
                  <a:pt x="263" y="88"/>
                  <a:pt x="263" y="88"/>
                  <a:pt x="262" y="88"/>
                </a:cubicBezTo>
                <a:cubicBezTo>
                  <a:pt x="263" y="88"/>
                  <a:pt x="264" y="88"/>
                  <a:pt x="265" y="88"/>
                </a:cubicBezTo>
                <a:cubicBezTo>
                  <a:pt x="265" y="88"/>
                  <a:pt x="265" y="88"/>
                  <a:pt x="265" y="88"/>
                </a:cubicBezTo>
                <a:cubicBezTo>
                  <a:pt x="266" y="89"/>
                  <a:pt x="268" y="88"/>
                  <a:pt x="269" y="89"/>
                </a:cubicBezTo>
                <a:cubicBezTo>
                  <a:pt x="269" y="89"/>
                  <a:pt x="268" y="89"/>
                  <a:pt x="268" y="89"/>
                </a:cubicBezTo>
                <a:cubicBezTo>
                  <a:pt x="268" y="89"/>
                  <a:pt x="267" y="90"/>
                  <a:pt x="267" y="90"/>
                </a:cubicBezTo>
                <a:cubicBezTo>
                  <a:pt x="267" y="90"/>
                  <a:pt x="269" y="89"/>
                  <a:pt x="269" y="89"/>
                </a:cubicBezTo>
                <a:cubicBezTo>
                  <a:pt x="270" y="89"/>
                  <a:pt x="270" y="90"/>
                  <a:pt x="270" y="90"/>
                </a:cubicBezTo>
                <a:cubicBezTo>
                  <a:pt x="270" y="90"/>
                  <a:pt x="270" y="91"/>
                  <a:pt x="269" y="91"/>
                </a:cubicBezTo>
                <a:cubicBezTo>
                  <a:pt x="270" y="91"/>
                  <a:pt x="268" y="91"/>
                  <a:pt x="268" y="91"/>
                </a:cubicBezTo>
                <a:cubicBezTo>
                  <a:pt x="268" y="91"/>
                  <a:pt x="268" y="92"/>
                  <a:pt x="268" y="92"/>
                </a:cubicBezTo>
                <a:cubicBezTo>
                  <a:pt x="269" y="92"/>
                  <a:pt x="269" y="91"/>
                  <a:pt x="270" y="91"/>
                </a:cubicBezTo>
                <a:cubicBezTo>
                  <a:pt x="270" y="91"/>
                  <a:pt x="272" y="91"/>
                  <a:pt x="272" y="91"/>
                </a:cubicBezTo>
                <a:cubicBezTo>
                  <a:pt x="272" y="91"/>
                  <a:pt x="272" y="91"/>
                  <a:pt x="271" y="91"/>
                </a:cubicBezTo>
                <a:cubicBezTo>
                  <a:pt x="272" y="91"/>
                  <a:pt x="272" y="91"/>
                  <a:pt x="273" y="92"/>
                </a:cubicBezTo>
                <a:cubicBezTo>
                  <a:pt x="273" y="91"/>
                  <a:pt x="273" y="91"/>
                  <a:pt x="273" y="91"/>
                </a:cubicBezTo>
                <a:cubicBezTo>
                  <a:pt x="273" y="91"/>
                  <a:pt x="273" y="91"/>
                  <a:pt x="273" y="91"/>
                </a:cubicBezTo>
                <a:cubicBezTo>
                  <a:pt x="273" y="91"/>
                  <a:pt x="273" y="90"/>
                  <a:pt x="273" y="90"/>
                </a:cubicBezTo>
                <a:cubicBezTo>
                  <a:pt x="272" y="90"/>
                  <a:pt x="274" y="90"/>
                  <a:pt x="274" y="90"/>
                </a:cubicBezTo>
                <a:cubicBezTo>
                  <a:pt x="274" y="90"/>
                  <a:pt x="274" y="90"/>
                  <a:pt x="273" y="90"/>
                </a:cubicBezTo>
                <a:cubicBezTo>
                  <a:pt x="274" y="90"/>
                  <a:pt x="274" y="90"/>
                  <a:pt x="274" y="90"/>
                </a:cubicBezTo>
                <a:cubicBezTo>
                  <a:pt x="275" y="91"/>
                  <a:pt x="275" y="92"/>
                  <a:pt x="274" y="92"/>
                </a:cubicBezTo>
                <a:cubicBezTo>
                  <a:pt x="275" y="92"/>
                  <a:pt x="275" y="92"/>
                  <a:pt x="275" y="91"/>
                </a:cubicBezTo>
                <a:cubicBezTo>
                  <a:pt x="275" y="91"/>
                  <a:pt x="275" y="91"/>
                  <a:pt x="275" y="90"/>
                </a:cubicBezTo>
                <a:cubicBezTo>
                  <a:pt x="275" y="90"/>
                  <a:pt x="276" y="90"/>
                  <a:pt x="277" y="91"/>
                </a:cubicBezTo>
                <a:cubicBezTo>
                  <a:pt x="277" y="91"/>
                  <a:pt x="277" y="91"/>
                  <a:pt x="277" y="91"/>
                </a:cubicBezTo>
                <a:cubicBezTo>
                  <a:pt x="277" y="91"/>
                  <a:pt x="277" y="91"/>
                  <a:pt x="277" y="91"/>
                </a:cubicBezTo>
                <a:cubicBezTo>
                  <a:pt x="278" y="91"/>
                  <a:pt x="278" y="91"/>
                  <a:pt x="278" y="92"/>
                </a:cubicBezTo>
                <a:cubicBezTo>
                  <a:pt x="279" y="92"/>
                  <a:pt x="278" y="93"/>
                  <a:pt x="278" y="93"/>
                </a:cubicBezTo>
                <a:close/>
                <a:moveTo>
                  <a:pt x="172" y="110"/>
                </a:moveTo>
                <a:cubicBezTo>
                  <a:pt x="172" y="110"/>
                  <a:pt x="172" y="110"/>
                  <a:pt x="172" y="110"/>
                </a:cubicBezTo>
                <a:cubicBezTo>
                  <a:pt x="172" y="110"/>
                  <a:pt x="172" y="110"/>
                  <a:pt x="172" y="110"/>
                </a:cubicBezTo>
                <a:close/>
                <a:moveTo>
                  <a:pt x="160" y="119"/>
                </a:moveTo>
                <a:cubicBezTo>
                  <a:pt x="160" y="119"/>
                  <a:pt x="159" y="119"/>
                  <a:pt x="158" y="119"/>
                </a:cubicBezTo>
                <a:cubicBezTo>
                  <a:pt x="159" y="119"/>
                  <a:pt x="159" y="119"/>
                  <a:pt x="160" y="119"/>
                </a:cubicBezTo>
                <a:close/>
                <a:moveTo>
                  <a:pt x="97" y="169"/>
                </a:moveTo>
                <a:cubicBezTo>
                  <a:pt x="97" y="169"/>
                  <a:pt x="96" y="169"/>
                  <a:pt x="96" y="169"/>
                </a:cubicBezTo>
                <a:cubicBezTo>
                  <a:pt x="96" y="169"/>
                  <a:pt x="97" y="169"/>
                  <a:pt x="96" y="169"/>
                </a:cubicBezTo>
                <a:cubicBezTo>
                  <a:pt x="97" y="169"/>
                  <a:pt x="97" y="169"/>
                  <a:pt x="97" y="169"/>
                </a:cubicBezTo>
                <a:close/>
                <a:moveTo>
                  <a:pt x="99" y="171"/>
                </a:moveTo>
                <a:cubicBezTo>
                  <a:pt x="98" y="171"/>
                  <a:pt x="97" y="171"/>
                  <a:pt x="96" y="171"/>
                </a:cubicBezTo>
                <a:cubicBezTo>
                  <a:pt x="96" y="171"/>
                  <a:pt x="96" y="172"/>
                  <a:pt x="95" y="172"/>
                </a:cubicBezTo>
                <a:cubicBezTo>
                  <a:pt x="95" y="172"/>
                  <a:pt x="96" y="172"/>
                  <a:pt x="96" y="172"/>
                </a:cubicBezTo>
                <a:cubicBezTo>
                  <a:pt x="96" y="172"/>
                  <a:pt x="96" y="172"/>
                  <a:pt x="96" y="172"/>
                </a:cubicBezTo>
                <a:cubicBezTo>
                  <a:pt x="97" y="171"/>
                  <a:pt x="98" y="172"/>
                  <a:pt x="99" y="171"/>
                </a:cubicBezTo>
                <a:close/>
                <a:moveTo>
                  <a:pt x="100" y="171"/>
                </a:moveTo>
                <a:cubicBezTo>
                  <a:pt x="100" y="169"/>
                  <a:pt x="98" y="171"/>
                  <a:pt x="97" y="171"/>
                </a:cubicBezTo>
                <a:cubicBezTo>
                  <a:pt x="97" y="171"/>
                  <a:pt x="98" y="171"/>
                  <a:pt x="98" y="171"/>
                </a:cubicBezTo>
                <a:cubicBezTo>
                  <a:pt x="99" y="171"/>
                  <a:pt x="99" y="170"/>
                  <a:pt x="100" y="171"/>
                </a:cubicBezTo>
                <a:close/>
                <a:moveTo>
                  <a:pt x="108" y="176"/>
                </a:moveTo>
                <a:cubicBezTo>
                  <a:pt x="108" y="176"/>
                  <a:pt x="108" y="176"/>
                  <a:pt x="108" y="176"/>
                </a:cubicBezTo>
                <a:cubicBezTo>
                  <a:pt x="108" y="176"/>
                  <a:pt x="108" y="176"/>
                  <a:pt x="108" y="176"/>
                </a:cubicBezTo>
                <a:close/>
                <a:moveTo>
                  <a:pt x="125" y="153"/>
                </a:moveTo>
                <a:cubicBezTo>
                  <a:pt x="125" y="153"/>
                  <a:pt x="124" y="153"/>
                  <a:pt x="125" y="153"/>
                </a:cubicBezTo>
                <a:cubicBezTo>
                  <a:pt x="125" y="153"/>
                  <a:pt x="125" y="153"/>
                  <a:pt x="125" y="153"/>
                </a:cubicBezTo>
                <a:close/>
                <a:moveTo>
                  <a:pt x="145" y="136"/>
                </a:moveTo>
                <a:cubicBezTo>
                  <a:pt x="146" y="135"/>
                  <a:pt x="146" y="135"/>
                  <a:pt x="146" y="135"/>
                </a:cubicBezTo>
                <a:cubicBezTo>
                  <a:pt x="146" y="135"/>
                  <a:pt x="146" y="135"/>
                  <a:pt x="145" y="136"/>
                </a:cubicBezTo>
                <a:close/>
                <a:moveTo>
                  <a:pt x="144" y="137"/>
                </a:moveTo>
                <a:cubicBezTo>
                  <a:pt x="144" y="137"/>
                  <a:pt x="143" y="137"/>
                  <a:pt x="143" y="137"/>
                </a:cubicBezTo>
                <a:cubicBezTo>
                  <a:pt x="143" y="137"/>
                  <a:pt x="144" y="137"/>
                  <a:pt x="144" y="137"/>
                </a:cubicBezTo>
                <a:close/>
                <a:moveTo>
                  <a:pt x="150" y="137"/>
                </a:moveTo>
                <a:cubicBezTo>
                  <a:pt x="149" y="136"/>
                  <a:pt x="147" y="136"/>
                  <a:pt x="146" y="136"/>
                </a:cubicBezTo>
                <a:cubicBezTo>
                  <a:pt x="146" y="136"/>
                  <a:pt x="146" y="137"/>
                  <a:pt x="145" y="137"/>
                </a:cubicBezTo>
                <a:cubicBezTo>
                  <a:pt x="146" y="136"/>
                  <a:pt x="146" y="136"/>
                  <a:pt x="147" y="136"/>
                </a:cubicBezTo>
                <a:cubicBezTo>
                  <a:pt x="147" y="136"/>
                  <a:pt x="148" y="136"/>
                  <a:pt x="148" y="136"/>
                </a:cubicBezTo>
                <a:cubicBezTo>
                  <a:pt x="149" y="136"/>
                  <a:pt x="149" y="137"/>
                  <a:pt x="150" y="137"/>
                </a:cubicBezTo>
                <a:close/>
                <a:moveTo>
                  <a:pt x="201" y="92"/>
                </a:moveTo>
                <a:cubicBezTo>
                  <a:pt x="202" y="92"/>
                  <a:pt x="203" y="93"/>
                  <a:pt x="203" y="92"/>
                </a:cubicBezTo>
                <a:cubicBezTo>
                  <a:pt x="202" y="92"/>
                  <a:pt x="202" y="92"/>
                  <a:pt x="201" y="92"/>
                </a:cubicBezTo>
                <a:close/>
                <a:moveTo>
                  <a:pt x="121" y="150"/>
                </a:moveTo>
                <a:cubicBezTo>
                  <a:pt x="121" y="150"/>
                  <a:pt x="122" y="150"/>
                  <a:pt x="122" y="150"/>
                </a:cubicBezTo>
                <a:cubicBezTo>
                  <a:pt x="122" y="150"/>
                  <a:pt x="119" y="150"/>
                  <a:pt x="119" y="151"/>
                </a:cubicBezTo>
                <a:cubicBezTo>
                  <a:pt x="120" y="151"/>
                  <a:pt x="121" y="151"/>
                  <a:pt x="123" y="151"/>
                </a:cubicBezTo>
                <a:cubicBezTo>
                  <a:pt x="123" y="150"/>
                  <a:pt x="124" y="150"/>
                  <a:pt x="125" y="150"/>
                </a:cubicBezTo>
                <a:cubicBezTo>
                  <a:pt x="125" y="150"/>
                  <a:pt x="126" y="150"/>
                  <a:pt x="126" y="150"/>
                </a:cubicBezTo>
                <a:cubicBezTo>
                  <a:pt x="125" y="150"/>
                  <a:pt x="125" y="150"/>
                  <a:pt x="125" y="150"/>
                </a:cubicBezTo>
                <a:cubicBezTo>
                  <a:pt x="125" y="149"/>
                  <a:pt x="125" y="149"/>
                  <a:pt x="125" y="149"/>
                </a:cubicBezTo>
                <a:cubicBezTo>
                  <a:pt x="125" y="149"/>
                  <a:pt x="124" y="150"/>
                  <a:pt x="124" y="150"/>
                </a:cubicBezTo>
                <a:cubicBezTo>
                  <a:pt x="124" y="149"/>
                  <a:pt x="124" y="149"/>
                  <a:pt x="124" y="149"/>
                </a:cubicBezTo>
                <a:cubicBezTo>
                  <a:pt x="123" y="149"/>
                  <a:pt x="123" y="149"/>
                  <a:pt x="123" y="149"/>
                </a:cubicBezTo>
                <a:cubicBezTo>
                  <a:pt x="123" y="149"/>
                  <a:pt x="121" y="149"/>
                  <a:pt x="121" y="150"/>
                </a:cubicBezTo>
                <a:close/>
                <a:moveTo>
                  <a:pt x="201" y="87"/>
                </a:moveTo>
                <a:cubicBezTo>
                  <a:pt x="201" y="87"/>
                  <a:pt x="201" y="87"/>
                  <a:pt x="200" y="87"/>
                </a:cubicBezTo>
                <a:cubicBezTo>
                  <a:pt x="200" y="86"/>
                  <a:pt x="200" y="87"/>
                  <a:pt x="200" y="87"/>
                </a:cubicBezTo>
                <a:cubicBezTo>
                  <a:pt x="199" y="87"/>
                  <a:pt x="198" y="85"/>
                  <a:pt x="198" y="86"/>
                </a:cubicBezTo>
                <a:cubicBezTo>
                  <a:pt x="198" y="86"/>
                  <a:pt x="198" y="87"/>
                  <a:pt x="198" y="87"/>
                </a:cubicBezTo>
                <a:cubicBezTo>
                  <a:pt x="199" y="87"/>
                  <a:pt x="199" y="87"/>
                  <a:pt x="199" y="87"/>
                </a:cubicBezTo>
                <a:cubicBezTo>
                  <a:pt x="200" y="88"/>
                  <a:pt x="200" y="88"/>
                  <a:pt x="201" y="88"/>
                </a:cubicBezTo>
                <a:cubicBezTo>
                  <a:pt x="201" y="88"/>
                  <a:pt x="202" y="88"/>
                  <a:pt x="201" y="88"/>
                </a:cubicBezTo>
                <a:cubicBezTo>
                  <a:pt x="202" y="88"/>
                  <a:pt x="202" y="88"/>
                  <a:pt x="202" y="88"/>
                </a:cubicBezTo>
                <a:cubicBezTo>
                  <a:pt x="202" y="87"/>
                  <a:pt x="201" y="88"/>
                  <a:pt x="201" y="87"/>
                </a:cubicBezTo>
                <a:close/>
                <a:moveTo>
                  <a:pt x="95" y="167"/>
                </a:moveTo>
                <a:cubicBezTo>
                  <a:pt x="95" y="167"/>
                  <a:pt x="95" y="167"/>
                  <a:pt x="96" y="167"/>
                </a:cubicBezTo>
                <a:cubicBezTo>
                  <a:pt x="95" y="166"/>
                  <a:pt x="93" y="166"/>
                  <a:pt x="92" y="167"/>
                </a:cubicBezTo>
                <a:cubicBezTo>
                  <a:pt x="93" y="167"/>
                  <a:pt x="93" y="167"/>
                  <a:pt x="94" y="167"/>
                </a:cubicBezTo>
                <a:cubicBezTo>
                  <a:pt x="92" y="168"/>
                  <a:pt x="95" y="167"/>
                  <a:pt x="95" y="167"/>
                </a:cubicBezTo>
                <a:close/>
                <a:moveTo>
                  <a:pt x="95" y="187"/>
                </a:moveTo>
                <a:cubicBezTo>
                  <a:pt x="95" y="187"/>
                  <a:pt x="96" y="187"/>
                  <a:pt x="96" y="187"/>
                </a:cubicBezTo>
                <a:cubicBezTo>
                  <a:pt x="96" y="188"/>
                  <a:pt x="97" y="188"/>
                  <a:pt x="97" y="187"/>
                </a:cubicBezTo>
                <a:cubicBezTo>
                  <a:pt x="97" y="186"/>
                  <a:pt x="96" y="185"/>
                  <a:pt x="95" y="186"/>
                </a:cubicBezTo>
                <a:cubicBezTo>
                  <a:pt x="96" y="186"/>
                  <a:pt x="95" y="186"/>
                  <a:pt x="95" y="186"/>
                </a:cubicBezTo>
                <a:cubicBezTo>
                  <a:pt x="95" y="186"/>
                  <a:pt x="95" y="187"/>
                  <a:pt x="95" y="187"/>
                </a:cubicBezTo>
                <a:close/>
                <a:moveTo>
                  <a:pt x="160" y="104"/>
                </a:moveTo>
                <a:cubicBezTo>
                  <a:pt x="161" y="105"/>
                  <a:pt x="160" y="103"/>
                  <a:pt x="159" y="104"/>
                </a:cubicBezTo>
                <a:cubicBezTo>
                  <a:pt x="159" y="105"/>
                  <a:pt x="158" y="104"/>
                  <a:pt x="157" y="105"/>
                </a:cubicBezTo>
                <a:cubicBezTo>
                  <a:pt x="157" y="105"/>
                  <a:pt x="158" y="105"/>
                  <a:pt x="158" y="105"/>
                </a:cubicBezTo>
                <a:cubicBezTo>
                  <a:pt x="158" y="105"/>
                  <a:pt x="156" y="105"/>
                  <a:pt x="157" y="105"/>
                </a:cubicBezTo>
                <a:cubicBezTo>
                  <a:pt x="156" y="106"/>
                  <a:pt x="157" y="105"/>
                  <a:pt x="157" y="106"/>
                </a:cubicBezTo>
                <a:cubicBezTo>
                  <a:pt x="157" y="106"/>
                  <a:pt x="157" y="106"/>
                  <a:pt x="157" y="106"/>
                </a:cubicBezTo>
                <a:cubicBezTo>
                  <a:pt x="157" y="106"/>
                  <a:pt x="157" y="106"/>
                  <a:pt x="157" y="106"/>
                </a:cubicBezTo>
                <a:cubicBezTo>
                  <a:pt x="157" y="106"/>
                  <a:pt x="156" y="106"/>
                  <a:pt x="157" y="106"/>
                </a:cubicBezTo>
                <a:cubicBezTo>
                  <a:pt x="157" y="107"/>
                  <a:pt x="158" y="106"/>
                  <a:pt x="157" y="106"/>
                </a:cubicBezTo>
                <a:cubicBezTo>
                  <a:pt x="157" y="106"/>
                  <a:pt x="159" y="107"/>
                  <a:pt x="158" y="106"/>
                </a:cubicBezTo>
                <a:cubicBezTo>
                  <a:pt x="158" y="106"/>
                  <a:pt x="160" y="106"/>
                  <a:pt x="159" y="106"/>
                </a:cubicBezTo>
                <a:cubicBezTo>
                  <a:pt x="160" y="106"/>
                  <a:pt x="161" y="106"/>
                  <a:pt x="161" y="105"/>
                </a:cubicBezTo>
                <a:cubicBezTo>
                  <a:pt x="162" y="104"/>
                  <a:pt x="160" y="105"/>
                  <a:pt x="160" y="104"/>
                </a:cubicBezTo>
                <a:close/>
                <a:moveTo>
                  <a:pt x="102" y="162"/>
                </a:moveTo>
                <a:cubicBezTo>
                  <a:pt x="102" y="162"/>
                  <a:pt x="102" y="161"/>
                  <a:pt x="102" y="161"/>
                </a:cubicBezTo>
                <a:cubicBezTo>
                  <a:pt x="102" y="161"/>
                  <a:pt x="102" y="161"/>
                  <a:pt x="102" y="161"/>
                </a:cubicBezTo>
                <a:cubicBezTo>
                  <a:pt x="102" y="161"/>
                  <a:pt x="101" y="161"/>
                  <a:pt x="100" y="161"/>
                </a:cubicBezTo>
                <a:cubicBezTo>
                  <a:pt x="100" y="162"/>
                  <a:pt x="101" y="162"/>
                  <a:pt x="100" y="163"/>
                </a:cubicBezTo>
                <a:cubicBezTo>
                  <a:pt x="101" y="163"/>
                  <a:pt x="102" y="162"/>
                  <a:pt x="102" y="162"/>
                </a:cubicBezTo>
                <a:close/>
                <a:moveTo>
                  <a:pt x="116" y="152"/>
                </a:moveTo>
                <a:cubicBezTo>
                  <a:pt x="116" y="152"/>
                  <a:pt x="117" y="152"/>
                  <a:pt x="117" y="152"/>
                </a:cubicBezTo>
                <a:cubicBezTo>
                  <a:pt x="117" y="152"/>
                  <a:pt x="118" y="152"/>
                  <a:pt x="118" y="152"/>
                </a:cubicBezTo>
                <a:cubicBezTo>
                  <a:pt x="118" y="151"/>
                  <a:pt x="118" y="151"/>
                  <a:pt x="117" y="151"/>
                </a:cubicBezTo>
                <a:cubicBezTo>
                  <a:pt x="117" y="151"/>
                  <a:pt x="117" y="151"/>
                  <a:pt x="116" y="151"/>
                </a:cubicBezTo>
                <a:cubicBezTo>
                  <a:pt x="115" y="151"/>
                  <a:pt x="115" y="152"/>
                  <a:pt x="116" y="152"/>
                </a:cubicBezTo>
                <a:close/>
                <a:moveTo>
                  <a:pt x="221" y="86"/>
                </a:moveTo>
                <a:cubicBezTo>
                  <a:pt x="221" y="86"/>
                  <a:pt x="222" y="86"/>
                  <a:pt x="222" y="86"/>
                </a:cubicBezTo>
                <a:cubicBezTo>
                  <a:pt x="222" y="86"/>
                  <a:pt x="222" y="86"/>
                  <a:pt x="221" y="86"/>
                </a:cubicBezTo>
                <a:cubicBezTo>
                  <a:pt x="222" y="86"/>
                  <a:pt x="222" y="86"/>
                  <a:pt x="222" y="86"/>
                </a:cubicBezTo>
                <a:cubicBezTo>
                  <a:pt x="222" y="85"/>
                  <a:pt x="221" y="86"/>
                  <a:pt x="221" y="85"/>
                </a:cubicBezTo>
                <a:cubicBezTo>
                  <a:pt x="220" y="84"/>
                  <a:pt x="220" y="86"/>
                  <a:pt x="220" y="86"/>
                </a:cubicBezTo>
                <a:cubicBezTo>
                  <a:pt x="220" y="85"/>
                  <a:pt x="219" y="85"/>
                  <a:pt x="219" y="85"/>
                </a:cubicBezTo>
                <a:cubicBezTo>
                  <a:pt x="218" y="85"/>
                  <a:pt x="219" y="85"/>
                  <a:pt x="218" y="86"/>
                </a:cubicBezTo>
                <a:cubicBezTo>
                  <a:pt x="218" y="86"/>
                  <a:pt x="218" y="85"/>
                  <a:pt x="218" y="86"/>
                </a:cubicBezTo>
                <a:cubicBezTo>
                  <a:pt x="217" y="86"/>
                  <a:pt x="220" y="86"/>
                  <a:pt x="221" y="86"/>
                </a:cubicBezTo>
                <a:close/>
                <a:moveTo>
                  <a:pt x="154" y="108"/>
                </a:moveTo>
                <a:cubicBezTo>
                  <a:pt x="155" y="107"/>
                  <a:pt x="154" y="107"/>
                  <a:pt x="154" y="107"/>
                </a:cubicBezTo>
                <a:cubicBezTo>
                  <a:pt x="154" y="107"/>
                  <a:pt x="155" y="106"/>
                  <a:pt x="154" y="106"/>
                </a:cubicBezTo>
                <a:cubicBezTo>
                  <a:pt x="154" y="106"/>
                  <a:pt x="153" y="107"/>
                  <a:pt x="153" y="107"/>
                </a:cubicBezTo>
                <a:cubicBezTo>
                  <a:pt x="153" y="107"/>
                  <a:pt x="152" y="109"/>
                  <a:pt x="152" y="109"/>
                </a:cubicBezTo>
                <a:cubicBezTo>
                  <a:pt x="152" y="109"/>
                  <a:pt x="155" y="108"/>
                  <a:pt x="153" y="108"/>
                </a:cubicBezTo>
                <a:cubicBezTo>
                  <a:pt x="154" y="107"/>
                  <a:pt x="154" y="108"/>
                  <a:pt x="154" y="108"/>
                </a:cubicBezTo>
                <a:close/>
                <a:moveTo>
                  <a:pt x="230" y="83"/>
                </a:moveTo>
                <a:cubicBezTo>
                  <a:pt x="230" y="83"/>
                  <a:pt x="229" y="82"/>
                  <a:pt x="229" y="82"/>
                </a:cubicBezTo>
                <a:cubicBezTo>
                  <a:pt x="228" y="82"/>
                  <a:pt x="228" y="82"/>
                  <a:pt x="227" y="82"/>
                </a:cubicBezTo>
                <a:cubicBezTo>
                  <a:pt x="228" y="82"/>
                  <a:pt x="227" y="82"/>
                  <a:pt x="227" y="82"/>
                </a:cubicBezTo>
                <a:cubicBezTo>
                  <a:pt x="226" y="82"/>
                  <a:pt x="226" y="83"/>
                  <a:pt x="226" y="83"/>
                </a:cubicBezTo>
                <a:cubicBezTo>
                  <a:pt x="226" y="83"/>
                  <a:pt x="226" y="83"/>
                  <a:pt x="226" y="83"/>
                </a:cubicBezTo>
                <a:cubicBezTo>
                  <a:pt x="226" y="83"/>
                  <a:pt x="226" y="83"/>
                  <a:pt x="226" y="83"/>
                </a:cubicBezTo>
                <a:cubicBezTo>
                  <a:pt x="228" y="84"/>
                  <a:pt x="229" y="84"/>
                  <a:pt x="230" y="83"/>
                </a:cubicBezTo>
                <a:close/>
                <a:moveTo>
                  <a:pt x="98" y="184"/>
                </a:moveTo>
                <a:cubicBezTo>
                  <a:pt x="97" y="185"/>
                  <a:pt x="96" y="184"/>
                  <a:pt x="97" y="185"/>
                </a:cubicBezTo>
                <a:cubicBezTo>
                  <a:pt x="97" y="186"/>
                  <a:pt x="96" y="185"/>
                  <a:pt x="96" y="185"/>
                </a:cubicBezTo>
                <a:cubicBezTo>
                  <a:pt x="96" y="186"/>
                  <a:pt x="97" y="186"/>
                  <a:pt x="97" y="185"/>
                </a:cubicBezTo>
                <a:cubicBezTo>
                  <a:pt x="97" y="186"/>
                  <a:pt x="97" y="186"/>
                  <a:pt x="97" y="186"/>
                </a:cubicBezTo>
                <a:cubicBezTo>
                  <a:pt x="97" y="186"/>
                  <a:pt x="98" y="186"/>
                  <a:pt x="98" y="186"/>
                </a:cubicBezTo>
                <a:cubicBezTo>
                  <a:pt x="98" y="186"/>
                  <a:pt x="98" y="186"/>
                  <a:pt x="98" y="185"/>
                </a:cubicBezTo>
                <a:cubicBezTo>
                  <a:pt x="98" y="185"/>
                  <a:pt x="99" y="184"/>
                  <a:pt x="98" y="184"/>
                </a:cubicBezTo>
                <a:close/>
                <a:moveTo>
                  <a:pt x="239" y="79"/>
                </a:moveTo>
                <a:cubicBezTo>
                  <a:pt x="239" y="79"/>
                  <a:pt x="238" y="80"/>
                  <a:pt x="238" y="80"/>
                </a:cubicBezTo>
                <a:cubicBezTo>
                  <a:pt x="238" y="80"/>
                  <a:pt x="239" y="80"/>
                  <a:pt x="240" y="80"/>
                </a:cubicBezTo>
                <a:cubicBezTo>
                  <a:pt x="240" y="80"/>
                  <a:pt x="240" y="80"/>
                  <a:pt x="241" y="80"/>
                </a:cubicBezTo>
                <a:cubicBezTo>
                  <a:pt x="241" y="80"/>
                  <a:pt x="244" y="80"/>
                  <a:pt x="243" y="79"/>
                </a:cubicBezTo>
                <a:cubicBezTo>
                  <a:pt x="243" y="79"/>
                  <a:pt x="242" y="80"/>
                  <a:pt x="241" y="79"/>
                </a:cubicBezTo>
                <a:cubicBezTo>
                  <a:pt x="242" y="79"/>
                  <a:pt x="242" y="79"/>
                  <a:pt x="242" y="79"/>
                </a:cubicBezTo>
                <a:cubicBezTo>
                  <a:pt x="242" y="79"/>
                  <a:pt x="241" y="79"/>
                  <a:pt x="241" y="79"/>
                </a:cubicBezTo>
                <a:cubicBezTo>
                  <a:pt x="241" y="79"/>
                  <a:pt x="242" y="79"/>
                  <a:pt x="242" y="79"/>
                </a:cubicBezTo>
                <a:cubicBezTo>
                  <a:pt x="242" y="78"/>
                  <a:pt x="241" y="78"/>
                  <a:pt x="241" y="78"/>
                </a:cubicBezTo>
                <a:cubicBezTo>
                  <a:pt x="241" y="78"/>
                  <a:pt x="241" y="79"/>
                  <a:pt x="241" y="78"/>
                </a:cubicBezTo>
                <a:cubicBezTo>
                  <a:pt x="241" y="78"/>
                  <a:pt x="241" y="78"/>
                  <a:pt x="241" y="78"/>
                </a:cubicBezTo>
                <a:cubicBezTo>
                  <a:pt x="240" y="78"/>
                  <a:pt x="240" y="78"/>
                  <a:pt x="240" y="78"/>
                </a:cubicBezTo>
                <a:cubicBezTo>
                  <a:pt x="239" y="78"/>
                  <a:pt x="239" y="78"/>
                  <a:pt x="239" y="78"/>
                </a:cubicBezTo>
                <a:cubicBezTo>
                  <a:pt x="239" y="78"/>
                  <a:pt x="240" y="78"/>
                  <a:pt x="240" y="79"/>
                </a:cubicBezTo>
                <a:cubicBezTo>
                  <a:pt x="239" y="79"/>
                  <a:pt x="239" y="79"/>
                  <a:pt x="238" y="79"/>
                </a:cubicBezTo>
                <a:cubicBezTo>
                  <a:pt x="238" y="79"/>
                  <a:pt x="237" y="79"/>
                  <a:pt x="237" y="79"/>
                </a:cubicBezTo>
                <a:cubicBezTo>
                  <a:pt x="237" y="79"/>
                  <a:pt x="237" y="79"/>
                  <a:pt x="237" y="79"/>
                </a:cubicBezTo>
                <a:cubicBezTo>
                  <a:pt x="238" y="80"/>
                  <a:pt x="238" y="79"/>
                  <a:pt x="239" y="79"/>
                </a:cubicBezTo>
                <a:close/>
                <a:moveTo>
                  <a:pt x="121" y="153"/>
                </a:moveTo>
                <a:cubicBezTo>
                  <a:pt x="121" y="153"/>
                  <a:pt x="120" y="152"/>
                  <a:pt x="120" y="153"/>
                </a:cubicBezTo>
                <a:cubicBezTo>
                  <a:pt x="120" y="153"/>
                  <a:pt x="120" y="153"/>
                  <a:pt x="119" y="153"/>
                </a:cubicBezTo>
                <a:cubicBezTo>
                  <a:pt x="119" y="153"/>
                  <a:pt x="119" y="153"/>
                  <a:pt x="119" y="153"/>
                </a:cubicBezTo>
                <a:cubicBezTo>
                  <a:pt x="119" y="153"/>
                  <a:pt x="119" y="152"/>
                  <a:pt x="119" y="153"/>
                </a:cubicBezTo>
                <a:cubicBezTo>
                  <a:pt x="119" y="153"/>
                  <a:pt x="119" y="153"/>
                  <a:pt x="119" y="153"/>
                </a:cubicBezTo>
                <a:cubicBezTo>
                  <a:pt x="119" y="153"/>
                  <a:pt x="121" y="154"/>
                  <a:pt x="121" y="153"/>
                </a:cubicBezTo>
                <a:close/>
                <a:moveTo>
                  <a:pt x="169" y="103"/>
                </a:moveTo>
                <a:cubicBezTo>
                  <a:pt x="168" y="103"/>
                  <a:pt x="167" y="103"/>
                  <a:pt x="167" y="103"/>
                </a:cubicBezTo>
                <a:cubicBezTo>
                  <a:pt x="167" y="103"/>
                  <a:pt x="166" y="104"/>
                  <a:pt x="166" y="104"/>
                </a:cubicBezTo>
                <a:cubicBezTo>
                  <a:pt x="167" y="103"/>
                  <a:pt x="165" y="103"/>
                  <a:pt x="165" y="103"/>
                </a:cubicBezTo>
                <a:cubicBezTo>
                  <a:pt x="165" y="103"/>
                  <a:pt x="164" y="103"/>
                  <a:pt x="164" y="104"/>
                </a:cubicBezTo>
                <a:cubicBezTo>
                  <a:pt x="164" y="104"/>
                  <a:pt x="164" y="103"/>
                  <a:pt x="164" y="103"/>
                </a:cubicBezTo>
                <a:cubicBezTo>
                  <a:pt x="164" y="103"/>
                  <a:pt x="163" y="103"/>
                  <a:pt x="163" y="104"/>
                </a:cubicBezTo>
                <a:cubicBezTo>
                  <a:pt x="163" y="104"/>
                  <a:pt x="163" y="104"/>
                  <a:pt x="163" y="104"/>
                </a:cubicBezTo>
                <a:cubicBezTo>
                  <a:pt x="164" y="104"/>
                  <a:pt x="164" y="104"/>
                  <a:pt x="164" y="104"/>
                </a:cubicBezTo>
                <a:cubicBezTo>
                  <a:pt x="164" y="104"/>
                  <a:pt x="163" y="104"/>
                  <a:pt x="163" y="104"/>
                </a:cubicBezTo>
                <a:cubicBezTo>
                  <a:pt x="163" y="104"/>
                  <a:pt x="162" y="104"/>
                  <a:pt x="163" y="105"/>
                </a:cubicBezTo>
                <a:cubicBezTo>
                  <a:pt x="163" y="105"/>
                  <a:pt x="162" y="105"/>
                  <a:pt x="162" y="105"/>
                </a:cubicBezTo>
                <a:cubicBezTo>
                  <a:pt x="162" y="105"/>
                  <a:pt x="161" y="105"/>
                  <a:pt x="162" y="106"/>
                </a:cubicBezTo>
                <a:cubicBezTo>
                  <a:pt x="162" y="106"/>
                  <a:pt x="163" y="105"/>
                  <a:pt x="163" y="105"/>
                </a:cubicBezTo>
                <a:cubicBezTo>
                  <a:pt x="163" y="105"/>
                  <a:pt x="164" y="105"/>
                  <a:pt x="164" y="105"/>
                </a:cubicBezTo>
                <a:cubicBezTo>
                  <a:pt x="164" y="105"/>
                  <a:pt x="165" y="105"/>
                  <a:pt x="165" y="105"/>
                </a:cubicBezTo>
                <a:cubicBezTo>
                  <a:pt x="165" y="105"/>
                  <a:pt x="165" y="104"/>
                  <a:pt x="165" y="104"/>
                </a:cubicBezTo>
                <a:cubicBezTo>
                  <a:pt x="165" y="104"/>
                  <a:pt x="166" y="104"/>
                  <a:pt x="166" y="104"/>
                </a:cubicBezTo>
                <a:cubicBezTo>
                  <a:pt x="166" y="104"/>
                  <a:pt x="165" y="104"/>
                  <a:pt x="165" y="105"/>
                </a:cubicBezTo>
                <a:cubicBezTo>
                  <a:pt x="167" y="105"/>
                  <a:pt x="168" y="104"/>
                  <a:pt x="169" y="103"/>
                </a:cubicBezTo>
                <a:close/>
                <a:moveTo>
                  <a:pt x="3" y="80"/>
                </a:moveTo>
                <a:cubicBezTo>
                  <a:pt x="2" y="80"/>
                  <a:pt x="0" y="80"/>
                  <a:pt x="0" y="81"/>
                </a:cubicBezTo>
                <a:cubicBezTo>
                  <a:pt x="0" y="81"/>
                  <a:pt x="1" y="81"/>
                  <a:pt x="2" y="80"/>
                </a:cubicBezTo>
                <a:cubicBezTo>
                  <a:pt x="3" y="80"/>
                  <a:pt x="4" y="80"/>
                  <a:pt x="5" y="80"/>
                </a:cubicBezTo>
                <a:cubicBezTo>
                  <a:pt x="5" y="80"/>
                  <a:pt x="8" y="79"/>
                  <a:pt x="8" y="79"/>
                </a:cubicBezTo>
                <a:cubicBezTo>
                  <a:pt x="7" y="79"/>
                  <a:pt x="9" y="78"/>
                  <a:pt x="8" y="78"/>
                </a:cubicBezTo>
                <a:cubicBezTo>
                  <a:pt x="6" y="77"/>
                  <a:pt x="4" y="79"/>
                  <a:pt x="3" y="8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0" name="Northern Mariana Islands"/>
          <p:cNvSpPr>
            <a:spLocks noEditPoints="1"/>
          </p:cNvSpPr>
          <p:nvPr/>
        </p:nvSpPr>
        <p:spPr bwMode="auto">
          <a:xfrm>
            <a:off x="10783896" y="3845968"/>
            <a:ext cx="72998" cy="256991"/>
          </a:xfrm>
          <a:custGeom>
            <a:avLst/>
            <a:gdLst/>
            <a:ahLst/>
            <a:cxnLst>
              <a:cxn ang="0">
                <a:pos x="16" y="71"/>
              </a:cxn>
              <a:cxn ang="0">
                <a:pos x="16" y="71"/>
              </a:cxn>
              <a:cxn ang="0">
                <a:pos x="16" y="70"/>
              </a:cxn>
              <a:cxn ang="0">
                <a:pos x="16" y="71"/>
              </a:cxn>
              <a:cxn ang="0">
                <a:pos x="19" y="61"/>
              </a:cxn>
              <a:cxn ang="0">
                <a:pos x="19" y="62"/>
              </a:cxn>
              <a:cxn ang="0">
                <a:pos x="19" y="61"/>
              </a:cxn>
              <a:cxn ang="0">
                <a:pos x="12" y="20"/>
              </a:cxn>
              <a:cxn ang="0">
                <a:pos x="12" y="21"/>
              </a:cxn>
              <a:cxn ang="0">
                <a:pos x="12" y="20"/>
              </a:cxn>
              <a:cxn ang="0">
                <a:pos x="16" y="33"/>
              </a:cxn>
              <a:cxn ang="0">
                <a:pos x="16" y="33"/>
              </a:cxn>
              <a:cxn ang="0">
                <a:pos x="17" y="36"/>
              </a:cxn>
              <a:cxn ang="0">
                <a:pos x="17" y="36"/>
              </a:cxn>
              <a:cxn ang="0">
                <a:pos x="17" y="36"/>
              </a:cxn>
              <a:cxn ang="0">
                <a:pos x="17" y="43"/>
              </a:cxn>
              <a:cxn ang="0">
                <a:pos x="17" y="43"/>
              </a:cxn>
              <a:cxn ang="0">
                <a:pos x="17" y="46"/>
              </a:cxn>
              <a:cxn ang="0">
                <a:pos x="17" y="47"/>
              </a:cxn>
              <a:cxn ang="0">
                <a:pos x="17" y="46"/>
              </a:cxn>
              <a:cxn ang="0">
                <a:pos x="5" y="6"/>
              </a:cxn>
              <a:cxn ang="0">
                <a:pos x="5" y="6"/>
              </a:cxn>
              <a:cxn ang="0">
                <a:pos x="7" y="10"/>
              </a:cxn>
              <a:cxn ang="0">
                <a:pos x="7" y="10"/>
              </a:cxn>
              <a:cxn ang="0">
                <a:pos x="1" y="1"/>
              </a:cxn>
              <a:cxn ang="0">
                <a:pos x="1" y="1"/>
              </a:cxn>
              <a:cxn ang="0">
                <a:pos x="20" y="58"/>
              </a:cxn>
              <a:cxn ang="0">
                <a:pos x="20" y="60"/>
              </a:cxn>
              <a:cxn ang="0">
                <a:pos x="20" y="60"/>
              </a:cxn>
              <a:cxn ang="0">
                <a:pos x="20" y="59"/>
              </a:cxn>
              <a:cxn ang="0">
                <a:pos x="20" y="58"/>
              </a:cxn>
              <a:cxn ang="0">
                <a:pos x="14" y="26"/>
              </a:cxn>
              <a:cxn ang="0">
                <a:pos x="14" y="28"/>
              </a:cxn>
              <a:cxn ang="0">
                <a:pos x="15" y="27"/>
              </a:cxn>
              <a:cxn ang="0">
                <a:pos x="14" y="26"/>
              </a:cxn>
            </a:cxnLst>
            <a:rect l="0" t="0" r="r" b="b"/>
            <a:pathLst>
              <a:path w="20" h="71">
                <a:moveTo>
                  <a:pt x="16" y="71"/>
                </a:moveTo>
                <a:cubicBezTo>
                  <a:pt x="16" y="71"/>
                  <a:pt x="16" y="71"/>
                  <a:pt x="16" y="71"/>
                </a:cubicBezTo>
                <a:cubicBezTo>
                  <a:pt x="16" y="71"/>
                  <a:pt x="16" y="70"/>
                  <a:pt x="16" y="70"/>
                </a:cubicBezTo>
                <a:cubicBezTo>
                  <a:pt x="17" y="70"/>
                  <a:pt x="17" y="71"/>
                  <a:pt x="16" y="71"/>
                </a:cubicBezTo>
                <a:close/>
                <a:moveTo>
                  <a:pt x="19" y="61"/>
                </a:moveTo>
                <a:cubicBezTo>
                  <a:pt x="18" y="61"/>
                  <a:pt x="18" y="62"/>
                  <a:pt x="19" y="62"/>
                </a:cubicBezTo>
                <a:cubicBezTo>
                  <a:pt x="20" y="62"/>
                  <a:pt x="19" y="60"/>
                  <a:pt x="19" y="61"/>
                </a:cubicBezTo>
                <a:close/>
                <a:moveTo>
                  <a:pt x="12" y="20"/>
                </a:moveTo>
                <a:cubicBezTo>
                  <a:pt x="11" y="20"/>
                  <a:pt x="12" y="20"/>
                  <a:pt x="12" y="21"/>
                </a:cubicBezTo>
                <a:cubicBezTo>
                  <a:pt x="12" y="20"/>
                  <a:pt x="12" y="19"/>
                  <a:pt x="12" y="20"/>
                </a:cubicBezTo>
                <a:close/>
                <a:moveTo>
                  <a:pt x="16" y="33"/>
                </a:moveTo>
                <a:cubicBezTo>
                  <a:pt x="17" y="33"/>
                  <a:pt x="15" y="33"/>
                  <a:pt x="16" y="33"/>
                </a:cubicBezTo>
                <a:close/>
                <a:moveTo>
                  <a:pt x="17" y="36"/>
                </a:moveTo>
                <a:cubicBezTo>
                  <a:pt x="17" y="36"/>
                  <a:pt x="17" y="36"/>
                  <a:pt x="17" y="36"/>
                </a:cubicBezTo>
                <a:cubicBezTo>
                  <a:pt x="17" y="36"/>
                  <a:pt x="17" y="36"/>
                  <a:pt x="17" y="36"/>
                </a:cubicBezTo>
                <a:close/>
                <a:moveTo>
                  <a:pt x="17" y="43"/>
                </a:moveTo>
                <a:cubicBezTo>
                  <a:pt x="18" y="43"/>
                  <a:pt x="17" y="43"/>
                  <a:pt x="17" y="43"/>
                </a:cubicBezTo>
                <a:close/>
                <a:moveTo>
                  <a:pt x="17" y="46"/>
                </a:moveTo>
                <a:cubicBezTo>
                  <a:pt x="16" y="46"/>
                  <a:pt x="16" y="47"/>
                  <a:pt x="17" y="47"/>
                </a:cubicBezTo>
                <a:cubicBezTo>
                  <a:pt x="17" y="47"/>
                  <a:pt x="17" y="46"/>
                  <a:pt x="17" y="46"/>
                </a:cubicBezTo>
                <a:close/>
                <a:moveTo>
                  <a:pt x="5" y="6"/>
                </a:moveTo>
                <a:cubicBezTo>
                  <a:pt x="6" y="6"/>
                  <a:pt x="4" y="6"/>
                  <a:pt x="5" y="6"/>
                </a:cubicBezTo>
                <a:close/>
                <a:moveTo>
                  <a:pt x="7" y="10"/>
                </a:moveTo>
                <a:cubicBezTo>
                  <a:pt x="8" y="10"/>
                  <a:pt x="7" y="10"/>
                  <a:pt x="7" y="10"/>
                </a:cubicBezTo>
                <a:close/>
                <a:moveTo>
                  <a:pt x="1" y="1"/>
                </a:moveTo>
                <a:cubicBezTo>
                  <a:pt x="1" y="0"/>
                  <a:pt x="0" y="0"/>
                  <a:pt x="1" y="1"/>
                </a:cubicBezTo>
                <a:close/>
                <a:moveTo>
                  <a:pt x="20" y="58"/>
                </a:moveTo>
                <a:cubicBezTo>
                  <a:pt x="19" y="58"/>
                  <a:pt x="19" y="60"/>
                  <a:pt x="20" y="60"/>
                </a:cubicBezTo>
                <a:cubicBezTo>
                  <a:pt x="20" y="60"/>
                  <a:pt x="20" y="60"/>
                  <a:pt x="20" y="60"/>
                </a:cubicBezTo>
                <a:cubicBezTo>
                  <a:pt x="20" y="60"/>
                  <a:pt x="20" y="60"/>
                  <a:pt x="20" y="59"/>
                </a:cubicBezTo>
                <a:cubicBezTo>
                  <a:pt x="20" y="59"/>
                  <a:pt x="20" y="58"/>
                  <a:pt x="20" y="58"/>
                </a:cubicBezTo>
                <a:close/>
                <a:moveTo>
                  <a:pt x="14" y="26"/>
                </a:moveTo>
                <a:cubicBezTo>
                  <a:pt x="14" y="27"/>
                  <a:pt x="14" y="28"/>
                  <a:pt x="14" y="28"/>
                </a:cubicBezTo>
                <a:cubicBezTo>
                  <a:pt x="14" y="28"/>
                  <a:pt x="14" y="27"/>
                  <a:pt x="15" y="27"/>
                </a:cubicBezTo>
                <a:cubicBezTo>
                  <a:pt x="15" y="27"/>
                  <a:pt x="15" y="26"/>
                  <a:pt x="14" y="2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1" name="North Korea"/>
          <p:cNvSpPr>
            <a:spLocks noEditPoints="1"/>
          </p:cNvSpPr>
          <p:nvPr/>
        </p:nvSpPr>
        <p:spPr bwMode="auto">
          <a:xfrm>
            <a:off x="9837931" y="2957001"/>
            <a:ext cx="158994" cy="208992"/>
          </a:xfrm>
          <a:custGeom>
            <a:avLst/>
            <a:gdLst/>
            <a:ahLst/>
            <a:cxnLst>
              <a:cxn ang="0">
                <a:pos x="41" y="10"/>
              </a:cxn>
              <a:cxn ang="0">
                <a:pos x="40" y="13"/>
              </a:cxn>
              <a:cxn ang="0">
                <a:pos x="42" y="18"/>
              </a:cxn>
              <a:cxn ang="0">
                <a:pos x="41" y="25"/>
              </a:cxn>
              <a:cxn ang="0">
                <a:pos x="38" y="30"/>
              </a:cxn>
              <a:cxn ang="0">
                <a:pos x="35" y="32"/>
              </a:cxn>
              <a:cxn ang="0">
                <a:pos x="30" y="36"/>
              </a:cxn>
              <a:cxn ang="0">
                <a:pos x="32" y="39"/>
              </a:cxn>
              <a:cxn ang="0">
                <a:pos x="32" y="40"/>
              </a:cxn>
              <a:cxn ang="0">
                <a:pos x="34" y="42"/>
              </a:cxn>
              <a:cxn ang="0">
                <a:pos x="39" y="45"/>
              </a:cxn>
              <a:cxn ang="0">
                <a:pos x="44" y="49"/>
              </a:cxn>
              <a:cxn ang="0">
                <a:pos x="37" y="51"/>
              </a:cxn>
              <a:cxn ang="0">
                <a:pos x="32" y="55"/>
              </a:cxn>
              <a:cxn ang="0">
                <a:pos x="28" y="56"/>
              </a:cxn>
              <a:cxn ang="0">
                <a:pos x="25" y="56"/>
              </a:cxn>
              <a:cxn ang="0">
                <a:pos x="23" y="56"/>
              </a:cxn>
              <a:cxn ang="0">
                <a:pos x="22" y="58"/>
              </a:cxn>
              <a:cxn ang="0">
                <a:pos x="21" y="57"/>
              </a:cxn>
              <a:cxn ang="0">
                <a:pos x="21" y="56"/>
              </a:cxn>
              <a:cxn ang="0">
                <a:pos x="19" y="56"/>
              </a:cxn>
              <a:cxn ang="0">
                <a:pos x="17" y="54"/>
              </a:cxn>
              <a:cxn ang="0">
                <a:pos x="14" y="54"/>
              </a:cxn>
              <a:cxn ang="0">
                <a:pos x="15" y="52"/>
              </a:cxn>
              <a:cxn ang="0">
                <a:pos x="14" y="49"/>
              </a:cxn>
              <a:cxn ang="0">
                <a:pos x="16" y="47"/>
              </a:cxn>
              <a:cxn ang="0">
                <a:pos x="19" y="48"/>
              </a:cxn>
              <a:cxn ang="0">
                <a:pos x="16" y="47"/>
              </a:cxn>
              <a:cxn ang="0">
                <a:pos x="14" y="46"/>
              </a:cxn>
              <a:cxn ang="0">
                <a:pos x="14" y="41"/>
              </a:cxn>
              <a:cxn ang="0">
                <a:pos x="12" y="39"/>
              </a:cxn>
              <a:cxn ang="0">
                <a:pos x="8" y="37"/>
              </a:cxn>
              <a:cxn ang="0">
                <a:pos x="5" y="37"/>
              </a:cxn>
              <a:cxn ang="0">
                <a:pos x="1" y="33"/>
              </a:cxn>
              <a:cxn ang="0">
                <a:pos x="2" y="29"/>
              </a:cxn>
              <a:cxn ang="0">
                <a:pos x="4" y="27"/>
              </a:cxn>
              <a:cxn ang="0">
                <a:pos x="7" y="25"/>
              </a:cxn>
              <a:cxn ang="0">
                <a:pos x="9" y="23"/>
              </a:cxn>
              <a:cxn ang="0">
                <a:pos x="11" y="20"/>
              </a:cxn>
              <a:cxn ang="0">
                <a:pos x="12" y="17"/>
              </a:cxn>
              <a:cxn ang="0">
                <a:pos x="12" y="14"/>
              </a:cxn>
              <a:cxn ang="0">
                <a:pos x="16" y="15"/>
              </a:cxn>
              <a:cxn ang="0">
                <a:pos x="19" y="17"/>
              </a:cxn>
              <a:cxn ang="0">
                <a:pos x="25" y="17"/>
              </a:cxn>
              <a:cxn ang="0">
                <a:pos x="26" y="11"/>
              </a:cxn>
              <a:cxn ang="0">
                <a:pos x="30" y="10"/>
              </a:cxn>
              <a:cxn ang="0">
                <a:pos x="31" y="7"/>
              </a:cxn>
              <a:cxn ang="0">
                <a:pos x="33" y="7"/>
              </a:cxn>
              <a:cxn ang="0">
                <a:pos x="33" y="3"/>
              </a:cxn>
              <a:cxn ang="0">
                <a:pos x="35" y="0"/>
              </a:cxn>
              <a:cxn ang="0">
                <a:pos x="39" y="4"/>
              </a:cxn>
              <a:cxn ang="0">
                <a:pos x="43" y="7"/>
              </a:cxn>
              <a:cxn ang="0">
                <a:pos x="13" y="55"/>
              </a:cxn>
              <a:cxn ang="0">
                <a:pos x="14" y="55"/>
              </a:cxn>
            </a:cxnLst>
            <a:rect l="0" t="0" r="r" b="b"/>
            <a:pathLst>
              <a:path w="44" h="58">
                <a:moveTo>
                  <a:pt x="41" y="8"/>
                </a:moveTo>
                <a:cubicBezTo>
                  <a:pt x="41" y="8"/>
                  <a:pt x="42" y="8"/>
                  <a:pt x="42" y="8"/>
                </a:cubicBezTo>
                <a:cubicBezTo>
                  <a:pt x="41" y="8"/>
                  <a:pt x="42" y="9"/>
                  <a:pt x="41" y="9"/>
                </a:cubicBezTo>
                <a:cubicBezTo>
                  <a:pt x="41" y="8"/>
                  <a:pt x="41" y="10"/>
                  <a:pt x="41" y="10"/>
                </a:cubicBezTo>
                <a:cubicBezTo>
                  <a:pt x="41" y="10"/>
                  <a:pt x="41" y="10"/>
                  <a:pt x="41" y="10"/>
                </a:cubicBezTo>
                <a:cubicBezTo>
                  <a:pt x="40" y="10"/>
                  <a:pt x="40" y="11"/>
                  <a:pt x="40" y="11"/>
                </a:cubicBezTo>
                <a:cubicBezTo>
                  <a:pt x="40" y="11"/>
                  <a:pt x="40" y="12"/>
                  <a:pt x="40" y="12"/>
                </a:cubicBezTo>
                <a:cubicBezTo>
                  <a:pt x="39" y="12"/>
                  <a:pt x="40" y="13"/>
                  <a:pt x="40" y="13"/>
                </a:cubicBezTo>
                <a:cubicBezTo>
                  <a:pt x="40" y="14"/>
                  <a:pt x="39" y="14"/>
                  <a:pt x="39" y="14"/>
                </a:cubicBezTo>
                <a:cubicBezTo>
                  <a:pt x="39" y="14"/>
                  <a:pt x="39" y="14"/>
                  <a:pt x="39" y="15"/>
                </a:cubicBezTo>
                <a:cubicBezTo>
                  <a:pt x="39" y="15"/>
                  <a:pt x="39" y="16"/>
                  <a:pt x="40" y="17"/>
                </a:cubicBezTo>
                <a:cubicBezTo>
                  <a:pt x="40" y="17"/>
                  <a:pt x="41" y="17"/>
                  <a:pt x="42" y="18"/>
                </a:cubicBezTo>
                <a:cubicBezTo>
                  <a:pt x="42" y="19"/>
                  <a:pt x="42" y="20"/>
                  <a:pt x="42" y="21"/>
                </a:cubicBezTo>
                <a:cubicBezTo>
                  <a:pt x="43" y="22"/>
                  <a:pt x="44" y="22"/>
                  <a:pt x="44" y="23"/>
                </a:cubicBezTo>
                <a:cubicBezTo>
                  <a:pt x="44" y="24"/>
                  <a:pt x="43" y="24"/>
                  <a:pt x="43" y="24"/>
                </a:cubicBezTo>
                <a:cubicBezTo>
                  <a:pt x="42" y="24"/>
                  <a:pt x="41" y="25"/>
                  <a:pt x="41" y="25"/>
                </a:cubicBezTo>
                <a:cubicBezTo>
                  <a:pt x="41" y="26"/>
                  <a:pt x="40" y="25"/>
                  <a:pt x="40" y="26"/>
                </a:cubicBezTo>
                <a:cubicBezTo>
                  <a:pt x="41" y="27"/>
                  <a:pt x="41" y="28"/>
                  <a:pt x="40" y="28"/>
                </a:cubicBezTo>
                <a:cubicBezTo>
                  <a:pt x="39" y="28"/>
                  <a:pt x="39" y="29"/>
                  <a:pt x="38" y="29"/>
                </a:cubicBezTo>
                <a:cubicBezTo>
                  <a:pt x="37" y="30"/>
                  <a:pt x="37" y="30"/>
                  <a:pt x="38" y="30"/>
                </a:cubicBezTo>
                <a:cubicBezTo>
                  <a:pt x="38" y="31"/>
                  <a:pt x="37" y="31"/>
                  <a:pt x="37" y="32"/>
                </a:cubicBezTo>
                <a:cubicBezTo>
                  <a:pt x="37" y="32"/>
                  <a:pt x="36" y="32"/>
                  <a:pt x="36" y="32"/>
                </a:cubicBezTo>
                <a:cubicBezTo>
                  <a:pt x="36" y="32"/>
                  <a:pt x="36" y="33"/>
                  <a:pt x="36" y="33"/>
                </a:cubicBezTo>
                <a:cubicBezTo>
                  <a:pt x="36" y="33"/>
                  <a:pt x="35" y="32"/>
                  <a:pt x="35" y="32"/>
                </a:cubicBezTo>
                <a:cubicBezTo>
                  <a:pt x="35" y="33"/>
                  <a:pt x="34" y="32"/>
                  <a:pt x="33" y="32"/>
                </a:cubicBezTo>
                <a:cubicBezTo>
                  <a:pt x="33" y="32"/>
                  <a:pt x="33" y="33"/>
                  <a:pt x="32" y="33"/>
                </a:cubicBezTo>
                <a:cubicBezTo>
                  <a:pt x="32" y="34"/>
                  <a:pt x="33" y="34"/>
                  <a:pt x="32" y="34"/>
                </a:cubicBezTo>
                <a:cubicBezTo>
                  <a:pt x="32" y="35"/>
                  <a:pt x="30" y="35"/>
                  <a:pt x="30" y="36"/>
                </a:cubicBezTo>
                <a:cubicBezTo>
                  <a:pt x="31" y="37"/>
                  <a:pt x="31" y="37"/>
                  <a:pt x="31" y="37"/>
                </a:cubicBezTo>
                <a:cubicBezTo>
                  <a:pt x="32" y="37"/>
                  <a:pt x="32" y="38"/>
                  <a:pt x="32" y="38"/>
                </a:cubicBezTo>
                <a:cubicBezTo>
                  <a:pt x="32" y="39"/>
                  <a:pt x="33" y="40"/>
                  <a:pt x="33" y="40"/>
                </a:cubicBezTo>
                <a:cubicBezTo>
                  <a:pt x="33" y="40"/>
                  <a:pt x="32" y="39"/>
                  <a:pt x="32" y="39"/>
                </a:cubicBezTo>
                <a:cubicBezTo>
                  <a:pt x="32" y="39"/>
                  <a:pt x="31" y="39"/>
                  <a:pt x="31" y="40"/>
                </a:cubicBezTo>
                <a:cubicBezTo>
                  <a:pt x="31" y="40"/>
                  <a:pt x="32" y="40"/>
                  <a:pt x="32" y="40"/>
                </a:cubicBezTo>
                <a:cubicBezTo>
                  <a:pt x="32" y="40"/>
                  <a:pt x="32" y="40"/>
                  <a:pt x="32" y="40"/>
                </a:cubicBezTo>
                <a:cubicBezTo>
                  <a:pt x="32" y="40"/>
                  <a:pt x="32" y="40"/>
                  <a:pt x="32" y="40"/>
                </a:cubicBezTo>
                <a:cubicBezTo>
                  <a:pt x="32" y="40"/>
                  <a:pt x="32" y="40"/>
                  <a:pt x="31" y="40"/>
                </a:cubicBezTo>
                <a:cubicBezTo>
                  <a:pt x="31" y="40"/>
                  <a:pt x="32" y="41"/>
                  <a:pt x="32" y="41"/>
                </a:cubicBezTo>
                <a:cubicBezTo>
                  <a:pt x="32" y="42"/>
                  <a:pt x="33" y="42"/>
                  <a:pt x="33" y="42"/>
                </a:cubicBezTo>
                <a:cubicBezTo>
                  <a:pt x="33" y="42"/>
                  <a:pt x="33" y="42"/>
                  <a:pt x="34" y="42"/>
                </a:cubicBezTo>
                <a:cubicBezTo>
                  <a:pt x="34" y="42"/>
                  <a:pt x="34" y="42"/>
                  <a:pt x="35" y="42"/>
                </a:cubicBezTo>
                <a:cubicBezTo>
                  <a:pt x="35" y="42"/>
                  <a:pt x="35" y="42"/>
                  <a:pt x="36" y="42"/>
                </a:cubicBezTo>
                <a:cubicBezTo>
                  <a:pt x="36" y="43"/>
                  <a:pt x="37" y="44"/>
                  <a:pt x="38" y="44"/>
                </a:cubicBezTo>
                <a:cubicBezTo>
                  <a:pt x="38" y="45"/>
                  <a:pt x="39" y="45"/>
                  <a:pt x="39" y="45"/>
                </a:cubicBezTo>
                <a:cubicBezTo>
                  <a:pt x="40" y="46"/>
                  <a:pt x="40" y="46"/>
                  <a:pt x="41" y="46"/>
                </a:cubicBezTo>
                <a:cubicBezTo>
                  <a:pt x="41" y="47"/>
                  <a:pt x="42" y="47"/>
                  <a:pt x="43" y="47"/>
                </a:cubicBezTo>
                <a:cubicBezTo>
                  <a:pt x="43" y="47"/>
                  <a:pt x="44" y="48"/>
                  <a:pt x="44" y="48"/>
                </a:cubicBezTo>
                <a:cubicBezTo>
                  <a:pt x="43" y="48"/>
                  <a:pt x="43" y="49"/>
                  <a:pt x="44" y="49"/>
                </a:cubicBezTo>
                <a:cubicBezTo>
                  <a:pt x="44" y="50"/>
                  <a:pt x="44" y="51"/>
                  <a:pt x="43" y="51"/>
                </a:cubicBezTo>
                <a:cubicBezTo>
                  <a:pt x="42" y="51"/>
                  <a:pt x="41" y="51"/>
                  <a:pt x="40" y="51"/>
                </a:cubicBezTo>
                <a:cubicBezTo>
                  <a:pt x="40" y="51"/>
                  <a:pt x="39" y="51"/>
                  <a:pt x="38" y="51"/>
                </a:cubicBezTo>
                <a:cubicBezTo>
                  <a:pt x="38" y="51"/>
                  <a:pt x="37" y="51"/>
                  <a:pt x="37" y="51"/>
                </a:cubicBezTo>
                <a:cubicBezTo>
                  <a:pt x="36" y="51"/>
                  <a:pt x="36" y="51"/>
                  <a:pt x="35" y="51"/>
                </a:cubicBezTo>
                <a:cubicBezTo>
                  <a:pt x="35" y="51"/>
                  <a:pt x="34" y="52"/>
                  <a:pt x="34" y="52"/>
                </a:cubicBezTo>
                <a:cubicBezTo>
                  <a:pt x="33" y="53"/>
                  <a:pt x="33" y="54"/>
                  <a:pt x="33" y="54"/>
                </a:cubicBezTo>
                <a:cubicBezTo>
                  <a:pt x="33" y="55"/>
                  <a:pt x="33" y="55"/>
                  <a:pt x="32" y="55"/>
                </a:cubicBezTo>
                <a:cubicBezTo>
                  <a:pt x="32" y="55"/>
                  <a:pt x="32" y="56"/>
                  <a:pt x="32" y="56"/>
                </a:cubicBezTo>
                <a:cubicBezTo>
                  <a:pt x="32" y="57"/>
                  <a:pt x="32" y="57"/>
                  <a:pt x="31" y="57"/>
                </a:cubicBezTo>
                <a:cubicBezTo>
                  <a:pt x="31" y="57"/>
                  <a:pt x="30" y="56"/>
                  <a:pt x="29" y="56"/>
                </a:cubicBezTo>
                <a:cubicBezTo>
                  <a:pt x="29" y="56"/>
                  <a:pt x="28" y="56"/>
                  <a:pt x="28" y="56"/>
                </a:cubicBezTo>
                <a:cubicBezTo>
                  <a:pt x="28" y="56"/>
                  <a:pt x="28" y="57"/>
                  <a:pt x="28" y="57"/>
                </a:cubicBezTo>
                <a:cubicBezTo>
                  <a:pt x="28" y="58"/>
                  <a:pt x="28" y="58"/>
                  <a:pt x="27" y="57"/>
                </a:cubicBezTo>
                <a:cubicBezTo>
                  <a:pt x="27" y="57"/>
                  <a:pt x="27" y="57"/>
                  <a:pt x="27" y="56"/>
                </a:cubicBezTo>
                <a:cubicBezTo>
                  <a:pt x="26" y="56"/>
                  <a:pt x="25" y="56"/>
                  <a:pt x="25" y="56"/>
                </a:cubicBezTo>
                <a:cubicBezTo>
                  <a:pt x="25" y="56"/>
                  <a:pt x="26" y="57"/>
                  <a:pt x="26" y="57"/>
                </a:cubicBezTo>
                <a:cubicBezTo>
                  <a:pt x="25" y="56"/>
                  <a:pt x="25" y="56"/>
                  <a:pt x="24" y="55"/>
                </a:cubicBezTo>
                <a:cubicBezTo>
                  <a:pt x="23" y="55"/>
                  <a:pt x="23" y="55"/>
                  <a:pt x="22" y="54"/>
                </a:cubicBezTo>
                <a:cubicBezTo>
                  <a:pt x="20" y="54"/>
                  <a:pt x="23" y="55"/>
                  <a:pt x="23" y="56"/>
                </a:cubicBezTo>
                <a:cubicBezTo>
                  <a:pt x="23" y="56"/>
                  <a:pt x="23" y="56"/>
                  <a:pt x="22" y="56"/>
                </a:cubicBezTo>
                <a:cubicBezTo>
                  <a:pt x="23" y="56"/>
                  <a:pt x="23" y="57"/>
                  <a:pt x="23" y="57"/>
                </a:cubicBezTo>
                <a:cubicBezTo>
                  <a:pt x="23" y="58"/>
                  <a:pt x="22" y="57"/>
                  <a:pt x="22" y="57"/>
                </a:cubicBezTo>
                <a:cubicBezTo>
                  <a:pt x="22" y="58"/>
                  <a:pt x="22" y="58"/>
                  <a:pt x="22" y="58"/>
                </a:cubicBezTo>
                <a:cubicBezTo>
                  <a:pt x="21" y="58"/>
                  <a:pt x="21" y="58"/>
                  <a:pt x="21" y="58"/>
                </a:cubicBezTo>
                <a:cubicBezTo>
                  <a:pt x="21" y="58"/>
                  <a:pt x="21" y="58"/>
                  <a:pt x="21" y="58"/>
                </a:cubicBezTo>
                <a:cubicBezTo>
                  <a:pt x="21" y="57"/>
                  <a:pt x="21" y="57"/>
                  <a:pt x="21" y="57"/>
                </a:cubicBezTo>
                <a:cubicBezTo>
                  <a:pt x="21" y="57"/>
                  <a:pt x="21" y="57"/>
                  <a:pt x="21" y="57"/>
                </a:cubicBezTo>
                <a:cubicBezTo>
                  <a:pt x="21" y="57"/>
                  <a:pt x="22" y="57"/>
                  <a:pt x="22" y="57"/>
                </a:cubicBezTo>
                <a:cubicBezTo>
                  <a:pt x="22" y="57"/>
                  <a:pt x="21" y="56"/>
                  <a:pt x="21" y="56"/>
                </a:cubicBezTo>
                <a:cubicBezTo>
                  <a:pt x="21" y="55"/>
                  <a:pt x="21" y="56"/>
                  <a:pt x="20" y="56"/>
                </a:cubicBezTo>
                <a:cubicBezTo>
                  <a:pt x="21" y="56"/>
                  <a:pt x="21" y="56"/>
                  <a:pt x="21" y="56"/>
                </a:cubicBezTo>
                <a:cubicBezTo>
                  <a:pt x="21" y="56"/>
                  <a:pt x="21" y="56"/>
                  <a:pt x="20" y="56"/>
                </a:cubicBezTo>
                <a:cubicBezTo>
                  <a:pt x="20" y="56"/>
                  <a:pt x="20" y="57"/>
                  <a:pt x="20" y="57"/>
                </a:cubicBezTo>
                <a:cubicBezTo>
                  <a:pt x="19" y="57"/>
                  <a:pt x="20" y="56"/>
                  <a:pt x="20" y="56"/>
                </a:cubicBezTo>
                <a:cubicBezTo>
                  <a:pt x="19" y="56"/>
                  <a:pt x="19" y="55"/>
                  <a:pt x="19" y="56"/>
                </a:cubicBezTo>
                <a:cubicBezTo>
                  <a:pt x="19" y="56"/>
                  <a:pt x="18" y="56"/>
                  <a:pt x="17" y="56"/>
                </a:cubicBezTo>
                <a:cubicBezTo>
                  <a:pt x="17" y="56"/>
                  <a:pt x="16" y="55"/>
                  <a:pt x="17" y="55"/>
                </a:cubicBezTo>
                <a:cubicBezTo>
                  <a:pt x="17" y="55"/>
                  <a:pt x="18" y="55"/>
                  <a:pt x="18" y="55"/>
                </a:cubicBezTo>
                <a:cubicBezTo>
                  <a:pt x="18" y="55"/>
                  <a:pt x="17" y="55"/>
                  <a:pt x="17" y="54"/>
                </a:cubicBezTo>
                <a:cubicBezTo>
                  <a:pt x="17" y="54"/>
                  <a:pt x="18" y="55"/>
                  <a:pt x="18" y="55"/>
                </a:cubicBezTo>
                <a:cubicBezTo>
                  <a:pt x="19" y="54"/>
                  <a:pt x="18" y="54"/>
                  <a:pt x="18" y="54"/>
                </a:cubicBezTo>
                <a:cubicBezTo>
                  <a:pt x="17" y="54"/>
                  <a:pt x="16" y="54"/>
                  <a:pt x="16" y="54"/>
                </a:cubicBezTo>
                <a:cubicBezTo>
                  <a:pt x="15" y="54"/>
                  <a:pt x="15" y="53"/>
                  <a:pt x="14" y="54"/>
                </a:cubicBezTo>
                <a:cubicBezTo>
                  <a:pt x="14" y="54"/>
                  <a:pt x="13" y="54"/>
                  <a:pt x="13" y="53"/>
                </a:cubicBezTo>
                <a:cubicBezTo>
                  <a:pt x="13" y="53"/>
                  <a:pt x="13" y="53"/>
                  <a:pt x="14" y="53"/>
                </a:cubicBezTo>
                <a:cubicBezTo>
                  <a:pt x="14" y="53"/>
                  <a:pt x="14" y="52"/>
                  <a:pt x="14" y="52"/>
                </a:cubicBezTo>
                <a:cubicBezTo>
                  <a:pt x="14" y="52"/>
                  <a:pt x="15" y="53"/>
                  <a:pt x="15" y="52"/>
                </a:cubicBezTo>
                <a:cubicBezTo>
                  <a:pt x="15" y="52"/>
                  <a:pt x="14" y="52"/>
                  <a:pt x="14" y="52"/>
                </a:cubicBezTo>
                <a:cubicBezTo>
                  <a:pt x="13" y="52"/>
                  <a:pt x="14" y="50"/>
                  <a:pt x="14" y="50"/>
                </a:cubicBezTo>
                <a:cubicBezTo>
                  <a:pt x="14" y="50"/>
                  <a:pt x="14" y="48"/>
                  <a:pt x="14" y="48"/>
                </a:cubicBezTo>
                <a:cubicBezTo>
                  <a:pt x="14" y="48"/>
                  <a:pt x="14" y="49"/>
                  <a:pt x="14" y="49"/>
                </a:cubicBezTo>
                <a:cubicBezTo>
                  <a:pt x="15" y="48"/>
                  <a:pt x="14" y="48"/>
                  <a:pt x="14" y="48"/>
                </a:cubicBezTo>
                <a:cubicBezTo>
                  <a:pt x="14" y="47"/>
                  <a:pt x="15" y="48"/>
                  <a:pt x="15" y="48"/>
                </a:cubicBezTo>
                <a:cubicBezTo>
                  <a:pt x="15" y="48"/>
                  <a:pt x="15" y="48"/>
                  <a:pt x="15" y="48"/>
                </a:cubicBezTo>
                <a:cubicBezTo>
                  <a:pt x="15" y="47"/>
                  <a:pt x="16" y="48"/>
                  <a:pt x="16" y="47"/>
                </a:cubicBezTo>
                <a:cubicBezTo>
                  <a:pt x="17" y="47"/>
                  <a:pt x="17" y="47"/>
                  <a:pt x="18" y="47"/>
                </a:cubicBezTo>
                <a:cubicBezTo>
                  <a:pt x="18" y="47"/>
                  <a:pt x="18" y="48"/>
                  <a:pt x="18" y="47"/>
                </a:cubicBezTo>
                <a:cubicBezTo>
                  <a:pt x="18" y="47"/>
                  <a:pt x="18" y="47"/>
                  <a:pt x="18" y="47"/>
                </a:cubicBezTo>
                <a:cubicBezTo>
                  <a:pt x="19" y="48"/>
                  <a:pt x="19" y="48"/>
                  <a:pt x="19" y="48"/>
                </a:cubicBezTo>
                <a:cubicBezTo>
                  <a:pt x="19" y="47"/>
                  <a:pt x="17" y="47"/>
                  <a:pt x="17" y="46"/>
                </a:cubicBezTo>
                <a:cubicBezTo>
                  <a:pt x="16" y="47"/>
                  <a:pt x="17" y="47"/>
                  <a:pt x="17" y="47"/>
                </a:cubicBezTo>
                <a:cubicBezTo>
                  <a:pt x="17" y="47"/>
                  <a:pt x="16" y="47"/>
                  <a:pt x="16" y="47"/>
                </a:cubicBezTo>
                <a:cubicBezTo>
                  <a:pt x="16" y="47"/>
                  <a:pt x="16" y="47"/>
                  <a:pt x="16" y="47"/>
                </a:cubicBezTo>
                <a:cubicBezTo>
                  <a:pt x="16" y="47"/>
                  <a:pt x="15" y="47"/>
                  <a:pt x="15" y="47"/>
                </a:cubicBezTo>
                <a:cubicBezTo>
                  <a:pt x="15" y="47"/>
                  <a:pt x="15" y="46"/>
                  <a:pt x="15" y="46"/>
                </a:cubicBezTo>
                <a:cubicBezTo>
                  <a:pt x="15" y="46"/>
                  <a:pt x="15" y="46"/>
                  <a:pt x="15" y="47"/>
                </a:cubicBezTo>
                <a:cubicBezTo>
                  <a:pt x="14" y="46"/>
                  <a:pt x="14" y="46"/>
                  <a:pt x="14" y="46"/>
                </a:cubicBezTo>
                <a:cubicBezTo>
                  <a:pt x="13" y="45"/>
                  <a:pt x="14" y="45"/>
                  <a:pt x="14" y="44"/>
                </a:cubicBezTo>
                <a:cubicBezTo>
                  <a:pt x="13" y="44"/>
                  <a:pt x="14" y="44"/>
                  <a:pt x="13" y="44"/>
                </a:cubicBezTo>
                <a:cubicBezTo>
                  <a:pt x="13" y="43"/>
                  <a:pt x="14" y="43"/>
                  <a:pt x="14" y="43"/>
                </a:cubicBezTo>
                <a:cubicBezTo>
                  <a:pt x="13" y="43"/>
                  <a:pt x="13" y="41"/>
                  <a:pt x="14" y="41"/>
                </a:cubicBezTo>
                <a:cubicBezTo>
                  <a:pt x="14" y="41"/>
                  <a:pt x="14" y="41"/>
                  <a:pt x="14" y="40"/>
                </a:cubicBezTo>
                <a:cubicBezTo>
                  <a:pt x="14" y="40"/>
                  <a:pt x="13" y="40"/>
                  <a:pt x="13" y="40"/>
                </a:cubicBezTo>
                <a:cubicBezTo>
                  <a:pt x="13" y="40"/>
                  <a:pt x="13" y="40"/>
                  <a:pt x="14" y="40"/>
                </a:cubicBezTo>
                <a:cubicBezTo>
                  <a:pt x="14" y="40"/>
                  <a:pt x="12" y="39"/>
                  <a:pt x="12" y="39"/>
                </a:cubicBezTo>
                <a:cubicBezTo>
                  <a:pt x="12" y="39"/>
                  <a:pt x="13" y="37"/>
                  <a:pt x="12" y="38"/>
                </a:cubicBezTo>
                <a:cubicBezTo>
                  <a:pt x="12" y="38"/>
                  <a:pt x="12" y="38"/>
                  <a:pt x="11" y="38"/>
                </a:cubicBezTo>
                <a:cubicBezTo>
                  <a:pt x="11" y="38"/>
                  <a:pt x="10" y="37"/>
                  <a:pt x="10" y="38"/>
                </a:cubicBezTo>
                <a:cubicBezTo>
                  <a:pt x="10" y="38"/>
                  <a:pt x="8" y="37"/>
                  <a:pt x="8" y="37"/>
                </a:cubicBezTo>
                <a:cubicBezTo>
                  <a:pt x="8" y="36"/>
                  <a:pt x="7" y="36"/>
                  <a:pt x="7" y="36"/>
                </a:cubicBezTo>
                <a:cubicBezTo>
                  <a:pt x="6" y="36"/>
                  <a:pt x="6" y="36"/>
                  <a:pt x="5" y="35"/>
                </a:cubicBezTo>
                <a:cubicBezTo>
                  <a:pt x="5" y="36"/>
                  <a:pt x="6" y="36"/>
                  <a:pt x="6" y="36"/>
                </a:cubicBezTo>
                <a:cubicBezTo>
                  <a:pt x="6" y="37"/>
                  <a:pt x="5" y="38"/>
                  <a:pt x="5" y="37"/>
                </a:cubicBezTo>
                <a:cubicBezTo>
                  <a:pt x="5" y="37"/>
                  <a:pt x="5" y="36"/>
                  <a:pt x="5" y="36"/>
                </a:cubicBezTo>
                <a:cubicBezTo>
                  <a:pt x="4" y="36"/>
                  <a:pt x="4" y="35"/>
                  <a:pt x="3" y="35"/>
                </a:cubicBezTo>
                <a:cubicBezTo>
                  <a:pt x="3" y="35"/>
                  <a:pt x="1" y="35"/>
                  <a:pt x="1" y="34"/>
                </a:cubicBezTo>
                <a:cubicBezTo>
                  <a:pt x="1" y="34"/>
                  <a:pt x="1" y="33"/>
                  <a:pt x="1" y="33"/>
                </a:cubicBezTo>
                <a:cubicBezTo>
                  <a:pt x="1" y="32"/>
                  <a:pt x="1" y="33"/>
                  <a:pt x="2" y="33"/>
                </a:cubicBezTo>
                <a:cubicBezTo>
                  <a:pt x="1" y="32"/>
                  <a:pt x="0" y="32"/>
                  <a:pt x="0" y="32"/>
                </a:cubicBezTo>
                <a:cubicBezTo>
                  <a:pt x="1" y="31"/>
                  <a:pt x="1" y="30"/>
                  <a:pt x="2" y="30"/>
                </a:cubicBezTo>
                <a:cubicBezTo>
                  <a:pt x="2" y="29"/>
                  <a:pt x="2" y="29"/>
                  <a:pt x="2" y="29"/>
                </a:cubicBezTo>
                <a:cubicBezTo>
                  <a:pt x="2" y="28"/>
                  <a:pt x="3" y="28"/>
                  <a:pt x="3" y="28"/>
                </a:cubicBezTo>
                <a:cubicBezTo>
                  <a:pt x="3" y="27"/>
                  <a:pt x="4" y="28"/>
                  <a:pt x="4" y="28"/>
                </a:cubicBezTo>
                <a:cubicBezTo>
                  <a:pt x="4" y="28"/>
                  <a:pt x="4" y="27"/>
                  <a:pt x="4" y="27"/>
                </a:cubicBezTo>
                <a:cubicBezTo>
                  <a:pt x="4" y="27"/>
                  <a:pt x="4" y="27"/>
                  <a:pt x="4" y="27"/>
                </a:cubicBezTo>
                <a:cubicBezTo>
                  <a:pt x="5" y="26"/>
                  <a:pt x="5" y="26"/>
                  <a:pt x="6" y="26"/>
                </a:cubicBezTo>
                <a:cubicBezTo>
                  <a:pt x="6" y="26"/>
                  <a:pt x="7" y="26"/>
                  <a:pt x="7" y="26"/>
                </a:cubicBezTo>
                <a:cubicBezTo>
                  <a:pt x="7" y="26"/>
                  <a:pt x="7" y="26"/>
                  <a:pt x="7" y="25"/>
                </a:cubicBezTo>
                <a:cubicBezTo>
                  <a:pt x="7" y="25"/>
                  <a:pt x="7" y="25"/>
                  <a:pt x="7" y="25"/>
                </a:cubicBezTo>
                <a:cubicBezTo>
                  <a:pt x="7" y="25"/>
                  <a:pt x="7" y="24"/>
                  <a:pt x="7" y="24"/>
                </a:cubicBezTo>
                <a:cubicBezTo>
                  <a:pt x="8" y="25"/>
                  <a:pt x="8" y="25"/>
                  <a:pt x="8" y="24"/>
                </a:cubicBezTo>
                <a:cubicBezTo>
                  <a:pt x="8" y="25"/>
                  <a:pt x="8" y="24"/>
                  <a:pt x="8" y="24"/>
                </a:cubicBezTo>
                <a:cubicBezTo>
                  <a:pt x="8" y="24"/>
                  <a:pt x="8" y="23"/>
                  <a:pt x="9" y="23"/>
                </a:cubicBezTo>
                <a:cubicBezTo>
                  <a:pt x="9" y="23"/>
                  <a:pt x="9" y="24"/>
                  <a:pt x="9" y="23"/>
                </a:cubicBezTo>
                <a:cubicBezTo>
                  <a:pt x="10" y="23"/>
                  <a:pt x="10" y="23"/>
                  <a:pt x="11" y="23"/>
                </a:cubicBezTo>
                <a:cubicBezTo>
                  <a:pt x="10" y="23"/>
                  <a:pt x="11" y="22"/>
                  <a:pt x="11" y="22"/>
                </a:cubicBezTo>
                <a:cubicBezTo>
                  <a:pt x="11" y="21"/>
                  <a:pt x="11" y="21"/>
                  <a:pt x="11" y="20"/>
                </a:cubicBezTo>
                <a:cubicBezTo>
                  <a:pt x="12" y="20"/>
                  <a:pt x="12" y="19"/>
                  <a:pt x="12" y="19"/>
                </a:cubicBezTo>
                <a:cubicBezTo>
                  <a:pt x="12" y="19"/>
                  <a:pt x="12" y="18"/>
                  <a:pt x="12" y="18"/>
                </a:cubicBezTo>
                <a:cubicBezTo>
                  <a:pt x="12" y="18"/>
                  <a:pt x="12" y="18"/>
                  <a:pt x="12" y="18"/>
                </a:cubicBezTo>
                <a:cubicBezTo>
                  <a:pt x="13" y="18"/>
                  <a:pt x="12" y="18"/>
                  <a:pt x="12" y="17"/>
                </a:cubicBezTo>
                <a:cubicBezTo>
                  <a:pt x="12" y="17"/>
                  <a:pt x="12" y="17"/>
                  <a:pt x="12" y="16"/>
                </a:cubicBezTo>
                <a:cubicBezTo>
                  <a:pt x="12" y="16"/>
                  <a:pt x="12" y="16"/>
                  <a:pt x="12" y="15"/>
                </a:cubicBezTo>
                <a:cubicBezTo>
                  <a:pt x="11" y="15"/>
                  <a:pt x="12" y="15"/>
                  <a:pt x="12" y="15"/>
                </a:cubicBezTo>
                <a:cubicBezTo>
                  <a:pt x="12" y="14"/>
                  <a:pt x="12" y="14"/>
                  <a:pt x="12" y="14"/>
                </a:cubicBezTo>
                <a:cubicBezTo>
                  <a:pt x="12" y="14"/>
                  <a:pt x="13" y="15"/>
                  <a:pt x="13" y="14"/>
                </a:cubicBezTo>
                <a:cubicBezTo>
                  <a:pt x="14" y="14"/>
                  <a:pt x="13" y="13"/>
                  <a:pt x="14" y="13"/>
                </a:cubicBezTo>
                <a:cubicBezTo>
                  <a:pt x="14" y="14"/>
                  <a:pt x="14" y="14"/>
                  <a:pt x="15" y="14"/>
                </a:cubicBezTo>
                <a:cubicBezTo>
                  <a:pt x="15" y="14"/>
                  <a:pt x="15" y="14"/>
                  <a:pt x="16" y="15"/>
                </a:cubicBezTo>
                <a:cubicBezTo>
                  <a:pt x="15" y="15"/>
                  <a:pt x="17" y="15"/>
                  <a:pt x="17" y="16"/>
                </a:cubicBezTo>
                <a:cubicBezTo>
                  <a:pt x="17" y="16"/>
                  <a:pt x="17" y="16"/>
                  <a:pt x="17" y="16"/>
                </a:cubicBezTo>
                <a:cubicBezTo>
                  <a:pt x="17" y="16"/>
                  <a:pt x="18" y="16"/>
                  <a:pt x="18" y="16"/>
                </a:cubicBezTo>
                <a:cubicBezTo>
                  <a:pt x="19" y="17"/>
                  <a:pt x="18" y="17"/>
                  <a:pt x="19" y="17"/>
                </a:cubicBezTo>
                <a:cubicBezTo>
                  <a:pt x="19" y="17"/>
                  <a:pt x="19" y="17"/>
                  <a:pt x="20" y="17"/>
                </a:cubicBezTo>
                <a:cubicBezTo>
                  <a:pt x="20" y="17"/>
                  <a:pt x="21" y="17"/>
                  <a:pt x="22" y="17"/>
                </a:cubicBezTo>
                <a:cubicBezTo>
                  <a:pt x="22" y="18"/>
                  <a:pt x="23" y="18"/>
                  <a:pt x="24" y="17"/>
                </a:cubicBezTo>
                <a:cubicBezTo>
                  <a:pt x="24" y="17"/>
                  <a:pt x="24" y="17"/>
                  <a:pt x="25" y="17"/>
                </a:cubicBezTo>
                <a:cubicBezTo>
                  <a:pt x="26" y="17"/>
                  <a:pt x="27" y="19"/>
                  <a:pt x="27" y="17"/>
                </a:cubicBezTo>
                <a:cubicBezTo>
                  <a:pt x="27" y="15"/>
                  <a:pt x="26" y="15"/>
                  <a:pt x="25" y="14"/>
                </a:cubicBezTo>
                <a:cubicBezTo>
                  <a:pt x="25" y="14"/>
                  <a:pt x="21" y="11"/>
                  <a:pt x="23" y="11"/>
                </a:cubicBezTo>
                <a:cubicBezTo>
                  <a:pt x="24" y="11"/>
                  <a:pt x="25" y="10"/>
                  <a:pt x="26" y="11"/>
                </a:cubicBezTo>
                <a:cubicBezTo>
                  <a:pt x="26" y="11"/>
                  <a:pt x="26" y="11"/>
                  <a:pt x="28" y="11"/>
                </a:cubicBezTo>
                <a:cubicBezTo>
                  <a:pt x="28" y="11"/>
                  <a:pt x="29" y="10"/>
                  <a:pt x="29" y="11"/>
                </a:cubicBezTo>
                <a:cubicBezTo>
                  <a:pt x="29" y="11"/>
                  <a:pt x="30" y="11"/>
                  <a:pt x="30" y="11"/>
                </a:cubicBezTo>
                <a:cubicBezTo>
                  <a:pt x="30" y="11"/>
                  <a:pt x="30" y="10"/>
                  <a:pt x="30" y="10"/>
                </a:cubicBezTo>
                <a:cubicBezTo>
                  <a:pt x="31" y="9"/>
                  <a:pt x="31" y="10"/>
                  <a:pt x="31" y="9"/>
                </a:cubicBezTo>
                <a:cubicBezTo>
                  <a:pt x="31" y="9"/>
                  <a:pt x="31" y="9"/>
                  <a:pt x="31" y="8"/>
                </a:cubicBezTo>
                <a:cubicBezTo>
                  <a:pt x="31" y="8"/>
                  <a:pt x="31" y="8"/>
                  <a:pt x="31" y="8"/>
                </a:cubicBezTo>
                <a:cubicBezTo>
                  <a:pt x="31" y="7"/>
                  <a:pt x="31" y="7"/>
                  <a:pt x="31" y="7"/>
                </a:cubicBezTo>
                <a:cubicBezTo>
                  <a:pt x="31" y="7"/>
                  <a:pt x="32" y="7"/>
                  <a:pt x="31" y="6"/>
                </a:cubicBezTo>
                <a:cubicBezTo>
                  <a:pt x="32" y="6"/>
                  <a:pt x="32" y="6"/>
                  <a:pt x="32" y="6"/>
                </a:cubicBezTo>
                <a:cubicBezTo>
                  <a:pt x="32" y="6"/>
                  <a:pt x="33" y="7"/>
                  <a:pt x="33" y="7"/>
                </a:cubicBezTo>
                <a:cubicBezTo>
                  <a:pt x="33" y="7"/>
                  <a:pt x="33" y="7"/>
                  <a:pt x="33" y="7"/>
                </a:cubicBezTo>
                <a:cubicBezTo>
                  <a:pt x="34" y="7"/>
                  <a:pt x="34" y="6"/>
                  <a:pt x="34" y="6"/>
                </a:cubicBezTo>
                <a:cubicBezTo>
                  <a:pt x="34" y="6"/>
                  <a:pt x="35" y="7"/>
                  <a:pt x="34" y="6"/>
                </a:cubicBezTo>
                <a:cubicBezTo>
                  <a:pt x="34" y="5"/>
                  <a:pt x="34" y="4"/>
                  <a:pt x="34" y="4"/>
                </a:cubicBezTo>
                <a:cubicBezTo>
                  <a:pt x="34" y="3"/>
                  <a:pt x="34" y="4"/>
                  <a:pt x="33" y="3"/>
                </a:cubicBezTo>
                <a:cubicBezTo>
                  <a:pt x="33" y="3"/>
                  <a:pt x="33" y="2"/>
                  <a:pt x="33" y="2"/>
                </a:cubicBezTo>
                <a:cubicBezTo>
                  <a:pt x="33" y="2"/>
                  <a:pt x="33" y="0"/>
                  <a:pt x="33" y="0"/>
                </a:cubicBezTo>
                <a:cubicBezTo>
                  <a:pt x="33" y="0"/>
                  <a:pt x="33" y="0"/>
                  <a:pt x="33" y="0"/>
                </a:cubicBezTo>
                <a:cubicBezTo>
                  <a:pt x="34" y="1"/>
                  <a:pt x="34" y="0"/>
                  <a:pt x="35" y="0"/>
                </a:cubicBezTo>
                <a:cubicBezTo>
                  <a:pt x="35" y="0"/>
                  <a:pt x="35" y="1"/>
                  <a:pt x="35" y="1"/>
                </a:cubicBezTo>
                <a:cubicBezTo>
                  <a:pt x="36" y="1"/>
                  <a:pt x="36" y="1"/>
                  <a:pt x="37" y="1"/>
                </a:cubicBezTo>
                <a:cubicBezTo>
                  <a:pt x="37" y="2"/>
                  <a:pt x="37" y="2"/>
                  <a:pt x="37" y="3"/>
                </a:cubicBezTo>
                <a:cubicBezTo>
                  <a:pt x="38" y="3"/>
                  <a:pt x="38" y="4"/>
                  <a:pt x="39" y="4"/>
                </a:cubicBezTo>
                <a:cubicBezTo>
                  <a:pt x="39" y="4"/>
                  <a:pt x="41" y="5"/>
                  <a:pt x="41" y="5"/>
                </a:cubicBezTo>
                <a:cubicBezTo>
                  <a:pt x="41" y="5"/>
                  <a:pt x="40" y="4"/>
                  <a:pt x="40" y="4"/>
                </a:cubicBezTo>
                <a:cubicBezTo>
                  <a:pt x="41" y="4"/>
                  <a:pt x="41" y="5"/>
                  <a:pt x="42" y="6"/>
                </a:cubicBezTo>
                <a:cubicBezTo>
                  <a:pt x="42" y="6"/>
                  <a:pt x="43" y="6"/>
                  <a:pt x="43" y="7"/>
                </a:cubicBezTo>
                <a:cubicBezTo>
                  <a:pt x="43" y="7"/>
                  <a:pt x="44" y="8"/>
                  <a:pt x="44" y="8"/>
                </a:cubicBezTo>
                <a:cubicBezTo>
                  <a:pt x="44" y="8"/>
                  <a:pt x="44" y="8"/>
                  <a:pt x="43" y="8"/>
                </a:cubicBezTo>
                <a:cubicBezTo>
                  <a:pt x="43" y="7"/>
                  <a:pt x="42" y="8"/>
                  <a:pt x="41" y="8"/>
                </a:cubicBezTo>
                <a:close/>
                <a:moveTo>
                  <a:pt x="13" y="55"/>
                </a:moveTo>
                <a:cubicBezTo>
                  <a:pt x="13" y="55"/>
                  <a:pt x="14" y="56"/>
                  <a:pt x="14" y="56"/>
                </a:cubicBezTo>
                <a:cubicBezTo>
                  <a:pt x="14" y="55"/>
                  <a:pt x="14" y="55"/>
                  <a:pt x="14" y="55"/>
                </a:cubicBezTo>
                <a:cubicBezTo>
                  <a:pt x="14" y="55"/>
                  <a:pt x="14" y="55"/>
                  <a:pt x="14" y="55"/>
                </a:cubicBezTo>
                <a:cubicBezTo>
                  <a:pt x="14" y="55"/>
                  <a:pt x="14" y="55"/>
                  <a:pt x="14" y="55"/>
                </a:cubicBezTo>
                <a:cubicBezTo>
                  <a:pt x="14" y="55"/>
                  <a:pt x="13" y="55"/>
                  <a:pt x="13" y="5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2" name="New Zealand"/>
          <p:cNvSpPr>
            <a:spLocks noEditPoints="1"/>
          </p:cNvSpPr>
          <p:nvPr/>
        </p:nvSpPr>
        <p:spPr bwMode="auto">
          <a:xfrm>
            <a:off x="10509906" y="5816894"/>
            <a:ext cx="1144957" cy="1009962"/>
          </a:xfrm>
          <a:custGeom>
            <a:avLst/>
            <a:gdLst/>
            <a:ahLst/>
            <a:cxnLst>
              <a:cxn ang="0">
                <a:pos x="129" y="208"/>
              </a:cxn>
              <a:cxn ang="0">
                <a:pos x="310" y="165"/>
              </a:cxn>
              <a:cxn ang="0">
                <a:pos x="313" y="162"/>
              </a:cxn>
              <a:cxn ang="0">
                <a:pos x="217" y="225"/>
              </a:cxn>
              <a:cxn ang="0">
                <a:pos x="99" y="237"/>
              </a:cxn>
              <a:cxn ang="0">
                <a:pos x="103" y="234"/>
              </a:cxn>
              <a:cxn ang="0">
                <a:pos x="109" y="255"/>
              </a:cxn>
              <a:cxn ang="0">
                <a:pos x="4" y="276"/>
              </a:cxn>
              <a:cxn ang="0">
                <a:pos x="149" y="195"/>
              </a:cxn>
              <a:cxn ang="0">
                <a:pos x="146" y="198"/>
              </a:cxn>
              <a:cxn ang="0">
                <a:pos x="149" y="196"/>
              </a:cxn>
              <a:cxn ang="0">
                <a:pos x="298" y="97"/>
              </a:cxn>
              <a:cxn ang="0">
                <a:pos x="295" y="91"/>
              </a:cxn>
              <a:cxn ang="0">
                <a:pos x="296" y="83"/>
              </a:cxn>
              <a:cxn ang="0">
                <a:pos x="291" y="87"/>
              </a:cxn>
              <a:cxn ang="0">
                <a:pos x="287" y="85"/>
              </a:cxn>
              <a:cxn ang="0">
                <a:pos x="292" y="81"/>
              </a:cxn>
              <a:cxn ang="0">
                <a:pos x="293" y="73"/>
              </a:cxn>
              <a:cxn ang="0">
                <a:pos x="292" y="69"/>
              </a:cxn>
              <a:cxn ang="0">
                <a:pos x="291" y="66"/>
              </a:cxn>
              <a:cxn ang="0">
                <a:pos x="288" y="64"/>
              </a:cxn>
              <a:cxn ang="0">
                <a:pos x="286" y="63"/>
              </a:cxn>
              <a:cxn ang="0">
                <a:pos x="286" y="60"/>
              </a:cxn>
              <a:cxn ang="0">
                <a:pos x="283" y="69"/>
              </a:cxn>
              <a:cxn ang="0">
                <a:pos x="286" y="69"/>
              </a:cxn>
              <a:cxn ang="0">
                <a:pos x="285" y="78"/>
              </a:cxn>
              <a:cxn ang="0">
                <a:pos x="287" y="80"/>
              </a:cxn>
              <a:cxn ang="0">
                <a:pos x="285" y="82"/>
              </a:cxn>
              <a:cxn ang="0">
                <a:pos x="287" y="89"/>
              </a:cxn>
              <a:cxn ang="0">
                <a:pos x="283" y="93"/>
              </a:cxn>
              <a:cxn ang="0">
                <a:pos x="280" y="100"/>
              </a:cxn>
              <a:cxn ang="0">
                <a:pos x="263" y="112"/>
              </a:cxn>
              <a:cxn ang="0">
                <a:pos x="260" y="131"/>
              </a:cxn>
              <a:cxn ang="0">
                <a:pos x="256" y="136"/>
              </a:cxn>
              <a:cxn ang="0">
                <a:pos x="280" y="124"/>
              </a:cxn>
              <a:cxn ang="0">
                <a:pos x="293" y="112"/>
              </a:cxn>
              <a:cxn ang="0">
                <a:pos x="306" y="106"/>
              </a:cxn>
              <a:cxn ang="0">
                <a:pos x="316" y="95"/>
              </a:cxn>
              <a:cxn ang="0">
                <a:pos x="250" y="132"/>
              </a:cxn>
              <a:cxn ang="0">
                <a:pos x="251" y="131"/>
              </a:cxn>
              <a:cxn ang="0">
                <a:pos x="242" y="135"/>
              </a:cxn>
              <a:cxn ang="0">
                <a:pos x="243" y="126"/>
              </a:cxn>
              <a:cxn ang="0">
                <a:pos x="232" y="134"/>
              </a:cxn>
              <a:cxn ang="0">
                <a:pos x="208" y="152"/>
              </a:cxn>
              <a:cxn ang="0">
                <a:pos x="196" y="158"/>
              </a:cxn>
              <a:cxn ang="0">
                <a:pos x="172" y="168"/>
              </a:cxn>
              <a:cxn ang="0">
                <a:pos x="163" y="173"/>
              </a:cxn>
              <a:cxn ang="0">
                <a:pos x="157" y="177"/>
              </a:cxn>
              <a:cxn ang="0">
                <a:pos x="154" y="179"/>
              </a:cxn>
              <a:cxn ang="0">
                <a:pos x="152" y="181"/>
              </a:cxn>
              <a:cxn ang="0">
                <a:pos x="145" y="185"/>
              </a:cxn>
              <a:cxn ang="0">
                <a:pos x="147" y="186"/>
              </a:cxn>
              <a:cxn ang="0">
                <a:pos x="156" y="191"/>
              </a:cxn>
              <a:cxn ang="0">
                <a:pos x="157" y="192"/>
              </a:cxn>
              <a:cxn ang="0">
                <a:pos x="164" y="192"/>
              </a:cxn>
              <a:cxn ang="0">
                <a:pos x="182" y="184"/>
              </a:cxn>
              <a:cxn ang="0">
                <a:pos x="189" y="178"/>
              </a:cxn>
              <a:cxn ang="0">
                <a:pos x="216" y="161"/>
              </a:cxn>
              <a:cxn ang="0">
                <a:pos x="221" y="162"/>
              </a:cxn>
              <a:cxn ang="0">
                <a:pos x="226" y="154"/>
              </a:cxn>
              <a:cxn ang="0">
                <a:pos x="248" y="139"/>
              </a:cxn>
              <a:cxn ang="0">
                <a:pos x="251" y="134"/>
              </a:cxn>
            </a:cxnLst>
            <a:rect l="0" t="0" r="r" b="b"/>
            <a:pathLst>
              <a:path w="317" h="279">
                <a:moveTo>
                  <a:pt x="237" y="205"/>
                </a:moveTo>
                <a:cubicBezTo>
                  <a:pt x="237" y="205"/>
                  <a:pt x="237" y="204"/>
                  <a:pt x="237" y="204"/>
                </a:cubicBezTo>
                <a:cubicBezTo>
                  <a:pt x="237" y="205"/>
                  <a:pt x="237" y="205"/>
                  <a:pt x="237" y="205"/>
                </a:cubicBezTo>
                <a:cubicBezTo>
                  <a:pt x="237" y="205"/>
                  <a:pt x="237" y="205"/>
                  <a:pt x="237" y="205"/>
                </a:cubicBezTo>
                <a:close/>
                <a:moveTo>
                  <a:pt x="129" y="208"/>
                </a:moveTo>
                <a:cubicBezTo>
                  <a:pt x="129" y="208"/>
                  <a:pt x="129" y="207"/>
                  <a:pt x="129" y="207"/>
                </a:cubicBezTo>
                <a:cubicBezTo>
                  <a:pt x="129" y="207"/>
                  <a:pt x="128" y="207"/>
                  <a:pt x="128" y="208"/>
                </a:cubicBezTo>
                <a:cubicBezTo>
                  <a:pt x="128" y="208"/>
                  <a:pt x="129" y="208"/>
                  <a:pt x="129" y="208"/>
                </a:cubicBezTo>
                <a:close/>
                <a:moveTo>
                  <a:pt x="313" y="161"/>
                </a:moveTo>
                <a:cubicBezTo>
                  <a:pt x="312" y="161"/>
                  <a:pt x="312" y="161"/>
                  <a:pt x="311" y="162"/>
                </a:cubicBezTo>
                <a:cubicBezTo>
                  <a:pt x="310" y="162"/>
                  <a:pt x="310" y="161"/>
                  <a:pt x="309" y="162"/>
                </a:cubicBezTo>
                <a:cubicBezTo>
                  <a:pt x="309" y="162"/>
                  <a:pt x="308" y="162"/>
                  <a:pt x="308" y="162"/>
                </a:cubicBezTo>
                <a:cubicBezTo>
                  <a:pt x="309" y="163"/>
                  <a:pt x="311" y="162"/>
                  <a:pt x="311" y="163"/>
                </a:cubicBezTo>
                <a:cubicBezTo>
                  <a:pt x="311" y="164"/>
                  <a:pt x="309" y="164"/>
                  <a:pt x="308" y="164"/>
                </a:cubicBezTo>
                <a:cubicBezTo>
                  <a:pt x="308" y="165"/>
                  <a:pt x="308" y="165"/>
                  <a:pt x="308" y="166"/>
                </a:cubicBezTo>
                <a:cubicBezTo>
                  <a:pt x="309" y="166"/>
                  <a:pt x="309" y="165"/>
                  <a:pt x="310" y="165"/>
                </a:cubicBezTo>
                <a:cubicBezTo>
                  <a:pt x="310" y="165"/>
                  <a:pt x="311" y="165"/>
                  <a:pt x="311" y="165"/>
                </a:cubicBezTo>
                <a:cubicBezTo>
                  <a:pt x="311" y="164"/>
                  <a:pt x="311" y="164"/>
                  <a:pt x="311" y="164"/>
                </a:cubicBezTo>
                <a:cubicBezTo>
                  <a:pt x="311" y="164"/>
                  <a:pt x="311" y="163"/>
                  <a:pt x="311" y="163"/>
                </a:cubicBezTo>
                <a:cubicBezTo>
                  <a:pt x="311" y="162"/>
                  <a:pt x="312" y="162"/>
                  <a:pt x="312" y="162"/>
                </a:cubicBezTo>
                <a:cubicBezTo>
                  <a:pt x="312" y="162"/>
                  <a:pt x="311" y="162"/>
                  <a:pt x="312" y="162"/>
                </a:cubicBezTo>
                <a:cubicBezTo>
                  <a:pt x="312" y="161"/>
                  <a:pt x="312" y="161"/>
                  <a:pt x="313" y="162"/>
                </a:cubicBezTo>
                <a:cubicBezTo>
                  <a:pt x="314" y="162"/>
                  <a:pt x="312" y="163"/>
                  <a:pt x="312" y="163"/>
                </a:cubicBezTo>
                <a:cubicBezTo>
                  <a:pt x="312" y="163"/>
                  <a:pt x="313" y="162"/>
                  <a:pt x="313" y="162"/>
                </a:cubicBezTo>
                <a:cubicBezTo>
                  <a:pt x="314" y="162"/>
                  <a:pt x="315" y="161"/>
                  <a:pt x="315" y="161"/>
                </a:cubicBezTo>
                <a:cubicBezTo>
                  <a:pt x="314" y="161"/>
                  <a:pt x="313" y="161"/>
                  <a:pt x="313" y="161"/>
                </a:cubicBezTo>
                <a:close/>
                <a:moveTo>
                  <a:pt x="310" y="168"/>
                </a:moveTo>
                <a:cubicBezTo>
                  <a:pt x="309" y="168"/>
                  <a:pt x="309" y="168"/>
                  <a:pt x="309" y="168"/>
                </a:cubicBezTo>
                <a:cubicBezTo>
                  <a:pt x="310" y="168"/>
                  <a:pt x="311" y="167"/>
                  <a:pt x="311" y="167"/>
                </a:cubicBezTo>
                <a:cubicBezTo>
                  <a:pt x="311" y="166"/>
                  <a:pt x="310" y="167"/>
                  <a:pt x="310" y="168"/>
                </a:cubicBezTo>
                <a:close/>
                <a:moveTo>
                  <a:pt x="216" y="225"/>
                </a:moveTo>
                <a:cubicBezTo>
                  <a:pt x="216" y="226"/>
                  <a:pt x="217" y="225"/>
                  <a:pt x="217" y="225"/>
                </a:cubicBezTo>
                <a:cubicBezTo>
                  <a:pt x="217" y="225"/>
                  <a:pt x="218" y="225"/>
                  <a:pt x="218" y="225"/>
                </a:cubicBezTo>
                <a:cubicBezTo>
                  <a:pt x="217" y="224"/>
                  <a:pt x="216" y="225"/>
                  <a:pt x="216" y="225"/>
                </a:cubicBezTo>
                <a:close/>
                <a:moveTo>
                  <a:pt x="101" y="235"/>
                </a:moveTo>
                <a:cubicBezTo>
                  <a:pt x="101" y="235"/>
                  <a:pt x="101" y="236"/>
                  <a:pt x="100" y="236"/>
                </a:cubicBezTo>
                <a:cubicBezTo>
                  <a:pt x="99" y="236"/>
                  <a:pt x="98" y="236"/>
                  <a:pt x="97" y="238"/>
                </a:cubicBezTo>
                <a:cubicBezTo>
                  <a:pt x="98" y="237"/>
                  <a:pt x="98" y="238"/>
                  <a:pt x="98" y="237"/>
                </a:cubicBezTo>
                <a:cubicBezTo>
                  <a:pt x="98" y="237"/>
                  <a:pt x="99" y="237"/>
                  <a:pt x="99" y="237"/>
                </a:cubicBezTo>
                <a:cubicBezTo>
                  <a:pt x="99" y="237"/>
                  <a:pt x="99" y="237"/>
                  <a:pt x="99" y="237"/>
                </a:cubicBezTo>
                <a:cubicBezTo>
                  <a:pt x="99" y="237"/>
                  <a:pt x="99" y="238"/>
                  <a:pt x="100" y="238"/>
                </a:cubicBezTo>
                <a:cubicBezTo>
                  <a:pt x="100" y="238"/>
                  <a:pt x="100" y="237"/>
                  <a:pt x="100" y="237"/>
                </a:cubicBezTo>
                <a:cubicBezTo>
                  <a:pt x="100" y="237"/>
                  <a:pt x="100" y="237"/>
                  <a:pt x="101" y="237"/>
                </a:cubicBezTo>
                <a:cubicBezTo>
                  <a:pt x="100" y="237"/>
                  <a:pt x="100" y="237"/>
                  <a:pt x="100" y="237"/>
                </a:cubicBezTo>
                <a:cubicBezTo>
                  <a:pt x="101" y="236"/>
                  <a:pt x="101" y="236"/>
                  <a:pt x="100" y="236"/>
                </a:cubicBezTo>
                <a:cubicBezTo>
                  <a:pt x="100" y="236"/>
                  <a:pt x="101" y="236"/>
                  <a:pt x="101" y="236"/>
                </a:cubicBezTo>
                <a:cubicBezTo>
                  <a:pt x="101" y="235"/>
                  <a:pt x="102" y="235"/>
                  <a:pt x="103" y="235"/>
                </a:cubicBezTo>
                <a:cubicBezTo>
                  <a:pt x="103" y="235"/>
                  <a:pt x="103" y="234"/>
                  <a:pt x="103" y="234"/>
                </a:cubicBezTo>
                <a:cubicBezTo>
                  <a:pt x="103" y="234"/>
                  <a:pt x="103" y="234"/>
                  <a:pt x="103" y="234"/>
                </a:cubicBezTo>
                <a:cubicBezTo>
                  <a:pt x="103" y="234"/>
                  <a:pt x="102" y="234"/>
                  <a:pt x="101" y="235"/>
                </a:cubicBezTo>
                <a:close/>
                <a:moveTo>
                  <a:pt x="106" y="255"/>
                </a:moveTo>
                <a:cubicBezTo>
                  <a:pt x="106" y="256"/>
                  <a:pt x="108" y="256"/>
                  <a:pt x="108" y="255"/>
                </a:cubicBezTo>
                <a:cubicBezTo>
                  <a:pt x="108" y="255"/>
                  <a:pt x="107" y="255"/>
                  <a:pt x="107" y="255"/>
                </a:cubicBezTo>
                <a:cubicBezTo>
                  <a:pt x="107" y="255"/>
                  <a:pt x="109" y="255"/>
                  <a:pt x="108" y="255"/>
                </a:cubicBezTo>
                <a:cubicBezTo>
                  <a:pt x="108" y="255"/>
                  <a:pt x="108" y="255"/>
                  <a:pt x="108" y="255"/>
                </a:cubicBezTo>
                <a:cubicBezTo>
                  <a:pt x="108" y="255"/>
                  <a:pt x="109" y="255"/>
                  <a:pt x="109" y="255"/>
                </a:cubicBezTo>
                <a:cubicBezTo>
                  <a:pt x="109" y="255"/>
                  <a:pt x="109" y="255"/>
                  <a:pt x="109" y="254"/>
                </a:cubicBezTo>
                <a:cubicBezTo>
                  <a:pt x="108" y="254"/>
                  <a:pt x="108" y="255"/>
                  <a:pt x="107" y="255"/>
                </a:cubicBezTo>
                <a:cubicBezTo>
                  <a:pt x="107" y="255"/>
                  <a:pt x="107" y="255"/>
                  <a:pt x="106" y="255"/>
                </a:cubicBezTo>
                <a:close/>
                <a:moveTo>
                  <a:pt x="268" y="1"/>
                </a:moveTo>
                <a:cubicBezTo>
                  <a:pt x="269" y="0"/>
                  <a:pt x="268" y="0"/>
                  <a:pt x="268" y="1"/>
                </a:cubicBezTo>
                <a:cubicBezTo>
                  <a:pt x="268" y="1"/>
                  <a:pt x="268" y="1"/>
                  <a:pt x="268" y="1"/>
                </a:cubicBezTo>
                <a:close/>
                <a:moveTo>
                  <a:pt x="1" y="279"/>
                </a:moveTo>
                <a:cubicBezTo>
                  <a:pt x="2" y="278"/>
                  <a:pt x="3" y="277"/>
                  <a:pt x="4" y="276"/>
                </a:cubicBezTo>
                <a:cubicBezTo>
                  <a:pt x="3" y="276"/>
                  <a:pt x="2" y="277"/>
                  <a:pt x="2" y="278"/>
                </a:cubicBezTo>
                <a:cubicBezTo>
                  <a:pt x="1" y="278"/>
                  <a:pt x="0" y="279"/>
                  <a:pt x="1" y="279"/>
                </a:cubicBezTo>
                <a:close/>
                <a:moveTo>
                  <a:pt x="150" y="195"/>
                </a:moveTo>
                <a:cubicBezTo>
                  <a:pt x="150" y="195"/>
                  <a:pt x="151" y="196"/>
                  <a:pt x="151" y="195"/>
                </a:cubicBezTo>
                <a:cubicBezTo>
                  <a:pt x="151" y="195"/>
                  <a:pt x="152" y="195"/>
                  <a:pt x="152" y="195"/>
                </a:cubicBezTo>
                <a:cubicBezTo>
                  <a:pt x="151" y="194"/>
                  <a:pt x="152" y="194"/>
                  <a:pt x="152" y="193"/>
                </a:cubicBezTo>
                <a:cubicBezTo>
                  <a:pt x="151" y="193"/>
                  <a:pt x="150" y="193"/>
                  <a:pt x="150" y="193"/>
                </a:cubicBezTo>
                <a:cubicBezTo>
                  <a:pt x="149" y="193"/>
                  <a:pt x="149" y="194"/>
                  <a:pt x="149" y="195"/>
                </a:cubicBezTo>
                <a:cubicBezTo>
                  <a:pt x="148" y="196"/>
                  <a:pt x="148" y="196"/>
                  <a:pt x="147" y="196"/>
                </a:cubicBezTo>
                <a:cubicBezTo>
                  <a:pt x="147" y="197"/>
                  <a:pt x="147" y="197"/>
                  <a:pt x="146" y="197"/>
                </a:cubicBezTo>
                <a:cubicBezTo>
                  <a:pt x="146" y="197"/>
                  <a:pt x="145" y="197"/>
                  <a:pt x="145" y="197"/>
                </a:cubicBezTo>
                <a:cubicBezTo>
                  <a:pt x="145" y="198"/>
                  <a:pt x="144" y="198"/>
                  <a:pt x="144" y="199"/>
                </a:cubicBezTo>
                <a:cubicBezTo>
                  <a:pt x="143" y="199"/>
                  <a:pt x="142" y="199"/>
                  <a:pt x="143" y="199"/>
                </a:cubicBezTo>
                <a:cubicBezTo>
                  <a:pt x="143" y="200"/>
                  <a:pt x="144" y="199"/>
                  <a:pt x="145" y="199"/>
                </a:cubicBezTo>
                <a:cubicBezTo>
                  <a:pt x="144" y="199"/>
                  <a:pt x="144" y="199"/>
                  <a:pt x="144" y="199"/>
                </a:cubicBezTo>
                <a:cubicBezTo>
                  <a:pt x="144" y="199"/>
                  <a:pt x="145" y="198"/>
                  <a:pt x="146" y="198"/>
                </a:cubicBezTo>
                <a:cubicBezTo>
                  <a:pt x="146" y="198"/>
                  <a:pt x="146" y="198"/>
                  <a:pt x="147" y="198"/>
                </a:cubicBezTo>
                <a:cubicBezTo>
                  <a:pt x="148" y="198"/>
                  <a:pt x="149" y="198"/>
                  <a:pt x="149" y="198"/>
                </a:cubicBezTo>
                <a:cubicBezTo>
                  <a:pt x="150" y="198"/>
                  <a:pt x="150" y="197"/>
                  <a:pt x="151" y="197"/>
                </a:cubicBezTo>
                <a:cubicBezTo>
                  <a:pt x="151" y="197"/>
                  <a:pt x="151" y="196"/>
                  <a:pt x="152" y="196"/>
                </a:cubicBezTo>
                <a:cubicBezTo>
                  <a:pt x="151" y="196"/>
                  <a:pt x="151" y="196"/>
                  <a:pt x="150" y="196"/>
                </a:cubicBezTo>
                <a:cubicBezTo>
                  <a:pt x="151" y="196"/>
                  <a:pt x="151" y="196"/>
                  <a:pt x="151" y="196"/>
                </a:cubicBezTo>
                <a:cubicBezTo>
                  <a:pt x="151" y="196"/>
                  <a:pt x="150" y="196"/>
                  <a:pt x="150" y="196"/>
                </a:cubicBezTo>
                <a:cubicBezTo>
                  <a:pt x="150" y="196"/>
                  <a:pt x="149" y="196"/>
                  <a:pt x="149" y="196"/>
                </a:cubicBezTo>
                <a:cubicBezTo>
                  <a:pt x="150" y="196"/>
                  <a:pt x="150" y="196"/>
                  <a:pt x="150" y="195"/>
                </a:cubicBezTo>
                <a:close/>
                <a:moveTo>
                  <a:pt x="315" y="94"/>
                </a:moveTo>
                <a:cubicBezTo>
                  <a:pt x="314" y="93"/>
                  <a:pt x="313" y="94"/>
                  <a:pt x="312" y="94"/>
                </a:cubicBezTo>
                <a:cubicBezTo>
                  <a:pt x="310" y="95"/>
                  <a:pt x="309" y="95"/>
                  <a:pt x="308" y="96"/>
                </a:cubicBezTo>
                <a:cubicBezTo>
                  <a:pt x="307" y="97"/>
                  <a:pt x="306" y="98"/>
                  <a:pt x="304" y="98"/>
                </a:cubicBezTo>
                <a:cubicBezTo>
                  <a:pt x="303" y="99"/>
                  <a:pt x="302" y="98"/>
                  <a:pt x="301" y="99"/>
                </a:cubicBezTo>
                <a:cubicBezTo>
                  <a:pt x="301" y="99"/>
                  <a:pt x="301" y="99"/>
                  <a:pt x="301" y="99"/>
                </a:cubicBezTo>
                <a:cubicBezTo>
                  <a:pt x="301" y="98"/>
                  <a:pt x="299" y="98"/>
                  <a:pt x="298" y="97"/>
                </a:cubicBezTo>
                <a:cubicBezTo>
                  <a:pt x="297" y="97"/>
                  <a:pt x="297" y="96"/>
                  <a:pt x="296" y="96"/>
                </a:cubicBezTo>
                <a:cubicBezTo>
                  <a:pt x="296" y="96"/>
                  <a:pt x="295" y="95"/>
                  <a:pt x="295" y="95"/>
                </a:cubicBezTo>
                <a:cubicBezTo>
                  <a:pt x="295" y="95"/>
                  <a:pt x="295" y="95"/>
                  <a:pt x="295" y="95"/>
                </a:cubicBezTo>
                <a:cubicBezTo>
                  <a:pt x="295" y="95"/>
                  <a:pt x="294" y="95"/>
                  <a:pt x="294" y="95"/>
                </a:cubicBezTo>
                <a:cubicBezTo>
                  <a:pt x="294" y="95"/>
                  <a:pt x="294" y="94"/>
                  <a:pt x="293" y="95"/>
                </a:cubicBezTo>
                <a:cubicBezTo>
                  <a:pt x="294" y="94"/>
                  <a:pt x="293" y="94"/>
                  <a:pt x="294" y="94"/>
                </a:cubicBezTo>
                <a:cubicBezTo>
                  <a:pt x="294" y="94"/>
                  <a:pt x="294" y="93"/>
                  <a:pt x="295" y="93"/>
                </a:cubicBezTo>
                <a:cubicBezTo>
                  <a:pt x="295" y="92"/>
                  <a:pt x="295" y="92"/>
                  <a:pt x="295" y="91"/>
                </a:cubicBezTo>
                <a:cubicBezTo>
                  <a:pt x="295" y="91"/>
                  <a:pt x="295" y="90"/>
                  <a:pt x="295" y="90"/>
                </a:cubicBezTo>
                <a:cubicBezTo>
                  <a:pt x="296" y="89"/>
                  <a:pt x="297" y="88"/>
                  <a:pt x="297" y="87"/>
                </a:cubicBezTo>
                <a:cubicBezTo>
                  <a:pt x="297" y="86"/>
                  <a:pt x="297" y="86"/>
                  <a:pt x="296" y="86"/>
                </a:cubicBezTo>
                <a:cubicBezTo>
                  <a:pt x="296" y="86"/>
                  <a:pt x="296" y="86"/>
                  <a:pt x="296" y="86"/>
                </a:cubicBezTo>
                <a:cubicBezTo>
                  <a:pt x="296" y="85"/>
                  <a:pt x="298" y="85"/>
                  <a:pt x="298" y="85"/>
                </a:cubicBezTo>
                <a:cubicBezTo>
                  <a:pt x="298" y="84"/>
                  <a:pt x="296" y="85"/>
                  <a:pt x="296" y="85"/>
                </a:cubicBezTo>
                <a:cubicBezTo>
                  <a:pt x="296" y="85"/>
                  <a:pt x="296" y="84"/>
                  <a:pt x="296" y="84"/>
                </a:cubicBezTo>
                <a:cubicBezTo>
                  <a:pt x="296" y="84"/>
                  <a:pt x="297" y="83"/>
                  <a:pt x="296" y="83"/>
                </a:cubicBezTo>
                <a:cubicBezTo>
                  <a:pt x="296" y="82"/>
                  <a:pt x="296" y="82"/>
                  <a:pt x="295" y="82"/>
                </a:cubicBezTo>
                <a:cubicBezTo>
                  <a:pt x="294" y="83"/>
                  <a:pt x="296" y="83"/>
                  <a:pt x="295" y="84"/>
                </a:cubicBezTo>
                <a:cubicBezTo>
                  <a:pt x="295" y="84"/>
                  <a:pt x="295" y="85"/>
                  <a:pt x="295" y="85"/>
                </a:cubicBezTo>
                <a:cubicBezTo>
                  <a:pt x="294" y="86"/>
                  <a:pt x="294" y="86"/>
                  <a:pt x="294" y="86"/>
                </a:cubicBezTo>
                <a:cubicBezTo>
                  <a:pt x="293" y="87"/>
                  <a:pt x="293" y="87"/>
                  <a:pt x="293" y="88"/>
                </a:cubicBezTo>
                <a:cubicBezTo>
                  <a:pt x="293" y="88"/>
                  <a:pt x="293" y="89"/>
                  <a:pt x="293" y="89"/>
                </a:cubicBezTo>
                <a:cubicBezTo>
                  <a:pt x="292" y="90"/>
                  <a:pt x="291" y="91"/>
                  <a:pt x="290" y="90"/>
                </a:cubicBezTo>
                <a:cubicBezTo>
                  <a:pt x="290" y="89"/>
                  <a:pt x="291" y="88"/>
                  <a:pt x="291" y="87"/>
                </a:cubicBezTo>
                <a:cubicBezTo>
                  <a:pt x="291" y="87"/>
                  <a:pt x="290" y="87"/>
                  <a:pt x="290" y="87"/>
                </a:cubicBezTo>
                <a:cubicBezTo>
                  <a:pt x="290" y="87"/>
                  <a:pt x="290" y="86"/>
                  <a:pt x="290" y="86"/>
                </a:cubicBezTo>
                <a:cubicBezTo>
                  <a:pt x="290" y="86"/>
                  <a:pt x="289" y="87"/>
                  <a:pt x="289" y="87"/>
                </a:cubicBezTo>
                <a:cubicBezTo>
                  <a:pt x="289" y="87"/>
                  <a:pt x="289" y="86"/>
                  <a:pt x="288" y="87"/>
                </a:cubicBezTo>
                <a:cubicBezTo>
                  <a:pt x="288" y="86"/>
                  <a:pt x="288" y="86"/>
                  <a:pt x="288" y="86"/>
                </a:cubicBezTo>
                <a:cubicBezTo>
                  <a:pt x="288" y="86"/>
                  <a:pt x="287" y="86"/>
                  <a:pt x="287" y="86"/>
                </a:cubicBezTo>
                <a:cubicBezTo>
                  <a:pt x="286" y="86"/>
                  <a:pt x="287" y="86"/>
                  <a:pt x="287" y="85"/>
                </a:cubicBezTo>
                <a:cubicBezTo>
                  <a:pt x="287" y="85"/>
                  <a:pt x="287" y="85"/>
                  <a:pt x="287" y="85"/>
                </a:cubicBezTo>
                <a:cubicBezTo>
                  <a:pt x="287" y="85"/>
                  <a:pt x="288" y="86"/>
                  <a:pt x="288" y="86"/>
                </a:cubicBezTo>
                <a:cubicBezTo>
                  <a:pt x="289" y="86"/>
                  <a:pt x="288" y="85"/>
                  <a:pt x="289" y="84"/>
                </a:cubicBezTo>
                <a:cubicBezTo>
                  <a:pt x="289" y="84"/>
                  <a:pt x="290" y="83"/>
                  <a:pt x="290" y="83"/>
                </a:cubicBezTo>
                <a:cubicBezTo>
                  <a:pt x="290" y="83"/>
                  <a:pt x="289" y="84"/>
                  <a:pt x="289" y="83"/>
                </a:cubicBezTo>
                <a:cubicBezTo>
                  <a:pt x="289" y="83"/>
                  <a:pt x="289" y="82"/>
                  <a:pt x="290" y="81"/>
                </a:cubicBezTo>
                <a:cubicBezTo>
                  <a:pt x="290" y="82"/>
                  <a:pt x="290" y="82"/>
                  <a:pt x="290" y="82"/>
                </a:cubicBezTo>
                <a:cubicBezTo>
                  <a:pt x="290" y="82"/>
                  <a:pt x="290" y="82"/>
                  <a:pt x="290" y="81"/>
                </a:cubicBezTo>
                <a:cubicBezTo>
                  <a:pt x="291" y="81"/>
                  <a:pt x="291" y="81"/>
                  <a:pt x="292" y="81"/>
                </a:cubicBezTo>
                <a:cubicBezTo>
                  <a:pt x="291" y="80"/>
                  <a:pt x="292" y="80"/>
                  <a:pt x="292" y="80"/>
                </a:cubicBezTo>
                <a:cubicBezTo>
                  <a:pt x="291" y="79"/>
                  <a:pt x="291" y="79"/>
                  <a:pt x="291" y="79"/>
                </a:cubicBezTo>
                <a:cubicBezTo>
                  <a:pt x="291" y="78"/>
                  <a:pt x="291" y="78"/>
                  <a:pt x="291" y="77"/>
                </a:cubicBezTo>
                <a:cubicBezTo>
                  <a:pt x="291" y="76"/>
                  <a:pt x="291" y="76"/>
                  <a:pt x="291" y="75"/>
                </a:cubicBezTo>
                <a:cubicBezTo>
                  <a:pt x="292" y="75"/>
                  <a:pt x="291" y="75"/>
                  <a:pt x="290" y="75"/>
                </a:cubicBezTo>
                <a:cubicBezTo>
                  <a:pt x="290" y="75"/>
                  <a:pt x="291" y="74"/>
                  <a:pt x="291" y="74"/>
                </a:cubicBezTo>
                <a:cubicBezTo>
                  <a:pt x="291" y="74"/>
                  <a:pt x="291" y="75"/>
                  <a:pt x="292" y="74"/>
                </a:cubicBezTo>
                <a:cubicBezTo>
                  <a:pt x="292" y="77"/>
                  <a:pt x="293" y="73"/>
                  <a:pt x="293" y="73"/>
                </a:cubicBezTo>
                <a:cubicBezTo>
                  <a:pt x="293" y="73"/>
                  <a:pt x="293" y="73"/>
                  <a:pt x="294" y="72"/>
                </a:cubicBezTo>
                <a:cubicBezTo>
                  <a:pt x="294" y="72"/>
                  <a:pt x="293" y="72"/>
                  <a:pt x="293" y="72"/>
                </a:cubicBezTo>
                <a:cubicBezTo>
                  <a:pt x="293" y="71"/>
                  <a:pt x="294" y="71"/>
                  <a:pt x="293" y="71"/>
                </a:cubicBezTo>
                <a:cubicBezTo>
                  <a:pt x="293" y="70"/>
                  <a:pt x="293" y="70"/>
                  <a:pt x="293" y="70"/>
                </a:cubicBezTo>
                <a:cubicBezTo>
                  <a:pt x="294" y="70"/>
                  <a:pt x="294" y="69"/>
                  <a:pt x="294" y="69"/>
                </a:cubicBezTo>
                <a:cubicBezTo>
                  <a:pt x="293" y="69"/>
                  <a:pt x="294" y="68"/>
                  <a:pt x="294" y="68"/>
                </a:cubicBezTo>
                <a:cubicBezTo>
                  <a:pt x="294" y="68"/>
                  <a:pt x="292" y="69"/>
                  <a:pt x="292" y="69"/>
                </a:cubicBezTo>
                <a:cubicBezTo>
                  <a:pt x="292" y="69"/>
                  <a:pt x="292" y="69"/>
                  <a:pt x="292" y="69"/>
                </a:cubicBezTo>
                <a:cubicBezTo>
                  <a:pt x="292" y="69"/>
                  <a:pt x="292" y="69"/>
                  <a:pt x="292" y="69"/>
                </a:cubicBezTo>
                <a:cubicBezTo>
                  <a:pt x="292" y="69"/>
                  <a:pt x="291" y="70"/>
                  <a:pt x="291" y="70"/>
                </a:cubicBezTo>
                <a:cubicBezTo>
                  <a:pt x="291" y="69"/>
                  <a:pt x="292" y="68"/>
                  <a:pt x="291" y="68"/>
                </a:cubicBezTo>
                <a:cubicBezTo>
                  <a:pt x="291" y="68"/>
                  <a:pt x="291" y="68"/>
                  <a:pt x="291" y="68"/>
                </a:cubicBezTo>
                <a:cubicBezTo>
                  <a:pt x="291" y="68"/>
                  <a:pt x="291" y="68"/>
                  <a:pt x="291" y="68"/>
                </a:cubicBezTo>
                <a:cubicBezTo>
                  <a:pt x="292" y="67"/>
                  <a:pt x="292" y="68"/>
                  <a:pt x="292" y="68"/>
                </a:cubicBezTo>
                <a:cubicBezTo>
                  <a:pt x="293" y="67"/>
                  <a:pt x="292" y="67"/>
                  <a:pt x="291" y="67"/>
                </a:cubicBezTo>
                <a:cubicBezTo>
                  <a:pt x="291" y="67"/>
                  <a:pt x="292" y="66"/>
                  <a:pt x="291" y="66"/>
                </a:cubicBezTo>
                <a:cubicBezTo>
                  <a:pt x="290" y="66"/>
                  <a:pt x="290" y="67"/>
                  <a:pt x="289" y="67"/>
                </a:cubicBezTo>
                <a:cubicBezTo>
                  <a:pt x="289" y="66"/>
                  <a:pt x="290" y="66"/>
                  <a:pt x="290" y="66"/>
                </a:cubicBezTo>
                <a:cubicBezTo>
                  <a:pt x="290" y="66"/>
                  <a:pt x="290" y="65"/>
                  <a:pt x="290" y="65"/>
                </a:cubicBezTo>
                <a:cubicBezTo>
                  <a:pt x="289" y="66"/>
                  <a:pt x="289" y="65"/>
                  <a:pt x="289" y="65"/>
                </a:cubicBezTo>
                <a:cubicBezTo>
                  <a:pt x="288" y="65"/>
                  <a:pt x="289" y="66"/>
                  <a:pt x="288" y="66"/>
                </a:cubicBezTo>
                <a:cubicBezTo>
                  <a:pt x="287" y="66"/>
                  <a:pt x="287" y="65"/>
                  <a:pt x="288" y="65"/>
                </a:cubicBezTo>
                <a:cubicBezTo>
                  <a:pt x="288" y="65"/>
                  <a:pt x="288" y="65"/>
                  <a:pt x="288" y="64"/>
                </a:cubicBezTo>
                <a:cubicBezTo>
                  <a:pt x="288" y="64"/>
                  <a:pt x="288" y="64"/>
                  <a:pt x="288" y="64"/>
                </a:cubicBezTo>
                <a:cubicBezTo>
                  <a:pt x="288" y="64"/>
                  <a:pt x="288" y="64"/>
                  <a:pt x="288" y="64"/>
                </a:cubicBezTo>
                <a:cubicBezTo>
                  <a:pt x="288" y="64"/>
                  <a:pt x="288" y="64"/>
                  <a:pt x="287" y="64"/>
                </a:cubicBezTo>
                <a:cubicBezTo>
                  <a:pt x="287" y="64"/>
                  <a:pt x="287" y="64"/>
                  <a:pt x="287" y="64"/>
                </a:cubicBezTo>
                <a:cubicBezTo>
                  <a:pt x="287" y="64"/>
                  <a:pt x="287" y="65"/>
                  <a:pt x="287" y="65"/>
                </a:cubicBezTo>
                <a:cubicBezTo>
                  <a:pt x="286" y="65"/>
                  <a:pt x="286" y="66"/>
                  <a:pt x="286" y="66"/>
                </a:cubicBezTo>
                <a:cubicBezTo>
                  <a:pt x="286" y="66"/>
                  <a:pt x="285" y="66"/>
                  <a:pt x="285" y="66"/>
                </a:cubicBezTo>
                <a:cubicBezTo>
                  <a:pt x="285" y="65"/>
                  <a:pt x="286" y="65"/>
                  <a:pt x="286" y="65"/>
                </a:cubicBezTo>
                <a:cubicBezTo>
                  <a:pt x="286" y="64"/>
                  <a:pt x="285" y="64"/>
                  <a:pt x="286" y="63"/>
                </a:cubicBezTo>
                <a:cubicBezTo>
                  <a:pt x="286" y="64"/>
                  <a:pt x="286" y="64"/>
                  <a:pt x="286" y="64"/>
                </a:cubicBezTo>
                <a:cubicBezTo>
                  <a:pt x="286" y="64"/>
                  <a:pt x="286" y="62"/>
                  <a:pt x="286" y="62"/>
                </a:cubicBezTo>
                <a:cubicBezTo>
                  <a:pt x="286" y="62"/>
                  <a:pt x="286" y="61"/>
                  <a:pt x="286" y="61"/>
                </a:cubicBezTo>
                <a:cubicBezTo>
                  <a:pt x="286" y="61"/>
                  <a:pt x="286" y="61"/>
                  <a:pt x="285" y="62"/>
                </a:cubicBezTo>
                <a:cubicBezTo>
                  <a:pt x="285" y="61"/>
                  <a:pt x="285" y="61"/>
                  <a:pt x="285" y="61"/>
                </a:cubicBezTo>
                <a:cubicBezTo>
                  <a:pt x="285" y="61"/>
                  <a:pt x="285" y="61"/>
                  <a:pt x="285" y="61"/>
                </a:cubicBezTo>
                <a:cubicBezTo>
                  <a:pt x="285" y="61"/>
                  <a:pt x="285" y="60"/>
                  <a:pt x="286" y="60"/>
                </a:cubicBezTo>
                <a:cubicBezTo>
                  <a:pt x="286" y="60"/>
                  <a:pt x="286" y="61"/>
                  <a:pt x="286" y="60"/>
                </a:cubicBezTo>
                <a:cubicBezTo>
                  <a:pt x="286" y="60"/>
                  <a:pt x="287" y="59"/>
                  <a:pt x="287" y="59"/>
                </a:cubicBezTo>
                <a:cubicBezTo>
                  <a:pt x="287" y="59"/>
                  <a:pt x="286" y="59"/>
                  <a:pt x="286" y="59"/>
                </a:cubicBezTo>
                <a:cubicBezTo>
                  <a:pt x="285" y="59"/>
                  <a:pt x="285" y="60"/>
                  <a:pt x="285" y="60"/>
                </a:cubicBezTo>
                <a:cubicBezTo>
                  <a:pt x="285" y="60"/>
                  <a:pt x="284" y="60"/>
                  <a:pt x="284" y="60"/>
                </a:cubicBezTo>
                <a:cubicBezTo>
                  <a:pt x="283" y="60"/>
                  <a:pt x="284" y="62"/>
                  <a:pt x="284" y="62"/>
                </a:cubicBezTo>
                <a:cubicBezTo>
                  <a:pt x="284" y="63"/>
                  <a:pt x="285" y="64"/>
                  <a:pt x="285" y="65"/>
                </a:cubicBezTo>
                <a:cubicBezTo>
                  <a:pt x="285" y="66"/>
                  <a:pt x="284" y="67"/>
                  <a:pt x="283" y="68"/>
                </a:cubicBezTo>
                <a:cubicBezTo>
                  <a:pt x="282" y="68"/>
                  <a:pt x="283" y="69"/>
                  <a:pt x="283" y="69"/>
                </a:cubicBezTo>
                <a:cubicBezTo>
                  <a:pt x="283" y="69"/>
                  <a:pt x="283" y="69"/>
                  <a:pt x="283" y="70"/>
                </a:cubicBezTo>
                <a:cubicBezTo>
                  <a:pt x="283" y="70"/>
                  <a:pt x="283" y="69"/>
                  <a:pt x="284" y="69"/>
                </a:cubicBezTo>
                <a:cubicBezTo>
                  <a:pt x="283" y="70"/>
                  <a:pt x="283" y="70"/>
                  <a:pt x="283" y="70"/>
                </a:cubicBezTo>
                <a:cubicBezTo>
                  <a:pt x="283" y="70"/>
                  <a:pt x="283" y="71"/>
                  <a:pt x="283" y="71"/>
                </a:cubicBezTo>
                <a:cubicBezTo>
                  <a:pt x="283" y="71"/>
                  <a:pt x="283" y="72"/>
                  <a:pt x="284" y="71"/>
                </a:cubicBezTo>
                <a:cubicBezTo>
                  <a:pt x="284" y="71"/>
                  <a:pt x="285" y="70"/>
                  <a:pt x="285" y="70"/>
                </a:cubicBezTo>
                <a:cubicBezTo>
                  <a:pt x="285" y="70"/>
                  <a:pt x="286" y="70"/>
                  <a:pt x="286" y="70"/>
                </a:cubicBezTo>
                <a:cubicBezTo>
                  <a:pt x="286" y="70"/>
                  <a:pt x="286" y="69"/>
                  <a:pt x="286" y="69"/>
                </a:cubicBezTo>
                <a:cubicBezTo>
                  <a:pt x="286" y="69"/>
                  <a:pt x="286" y="70"/>
                  <a:pt x="287" y="69"/>
                </a:cubicBezTo>
                <a:cubicBezTo>
                  <a:pt x="286" y="70"/>
                  <a:pt x="286" y="70"/>
                  <a:pt x="285" y="71"/>
                </a:cubicBezTo>
                <a:cubicBezTo>
                  <a:pt x="285" y="70"/>
                  <a:pt x="285" y="70"/>
                  <a:pt x="285" y="71"/>
                </a:cubicBezTo>
                <a:cubicBezTo>
                  <a:pt x="285" y="70"/>
                  <a:pt x="284" y="71"/>
                  <a:pt x="284" y="71"/>
                </a:cubicBezTo>
                <a:cubicBezTo>
                  <a:pt x="283" y="72"/>
                  <a:pt x="283" y="72"/>
                  <a:pt x="283" y="73"/>
                </a:cubicBezTo>
                <a:cubicBezTo>
                  <a:pt x="284" y="75"/>
                  <a:pt x="284" y="77"/>
                  <a:pt x="284" y="78"/>
                </a:cubicBezTo>
                <a:cubicBezTo>
                  <a:pt x="284" y="79"/>
                  <a:pt x="284" y="82"/>
                  <a:pt x="285" y="81"/>
                </a:cubicBezTo>
                <a:cubicBezTo>
                  <a:pt x="286" y="80"/>
                  <a:pt x="285" y="79"/>
                  <a:pt x="285" y="78"/>
                </a:cubicBezTo>
                <a:cubicBezTo>
                  <a:pt x="285" y="79"/>
                  <a:pt x="286" y="78"/>
                  <a:pt x="286" y="79"/>
                </a:cubicBezTo>
                <a:cubicBezTo>
                  <a:pt x="286" y="79"/>
                  <a:pt x="286" y="79"/>
                  <a:pt x="286" y="79"/>
                </a:cubicBezTo>
                <a:cubicBezTo>
                  <a:pt x="287" y="80"/>
                  <a:pt x="287" y="79"/>
                  <a:pt x="287" y="79"/>
                </a:cubicBezTo>
                <a:cubicBezTo>
                  <a:pt x="287" y="79"/>
                  <a:pt x="287" y="78"/>
                  <a:pt x="287" y="78"/>
                </a:cubicBezTo>
                <a:cubicBezTo>
                  <a:pt x="287" y="79"/>
                  <a:pt x="287" y="79"/>
                  <a:pt x="287" y="79"/>
                </a:cubicBezTo>
                <a:cubicBezTo>
                  <a:pt x="288" y="79"/>
                  <a:pt x="288" y="79"/>
                  <a:pt x="289" y="78"/>
                </a:cubicBezTo>
                <a:cubicBezTo>
                  <a:pt x="289" y="79"/>
                  <a:pt x="288" y="79"/>
                  <a:pt x="288" y="79"/>
                </a:cubicBezTo>
                <a:cubicBezTo>
                  <a:pt x="288" y="79"/>
                  <a:pt x="288" y="80"/>
                  <a:pt x="287" y="80"/>
                </a:cubicBezTo>
                <a:cubicBezTo>
                  <a:pt x="287" y="80"/>
                  <a:pt x="287" y="80"/>
                  <a:pt x="287" y="80"/>
                </a:cubicBezTo>
                <a:cubicBezTo>
                  <a:pt x="286" y="80"/>
                  <a:pt x="288" y="80"/>
                  <a:pt x="289" y="80"/>
                </a:cubicBezTo>
                <a:cubicBezTo>
                  <a:pt x="288" y="80"/>
                  <a:pt x="287" y="80"/>
                  <a:pt x="286" y="81"/>
                </a:cubicBezTo>
                <a:cubicBezTo>
                  <a:pt x="286" y="81"/>
                  <a:pt x="287" y="81"/>
                  <a:pt x="287" y="81"/>
                </a:cubicBezTo>
                <a:cubicBezTo>
                  <a:pt x="287" y="81"/>
                  <a:pt x="287" y="81"/>
                  <a:pt x="288" y="81"/>
                </a:cubicBezTo>
                <a:cubicBezTo>
                  <a:pt x="287" y="81"/>
                  <a:pt x="287" y="84"/>
                  <a:pt x="286" y="84"/>
                </a:cubicBezTo>
                <a:cubicBezTo>
                  <a:pt x="285" y="84"/>
                  <a:pt x="286" y="81"/>
                  <a:pt x="285" y="82"/>
                </a:cubicBezTo>
                <a:cubicBezTo>
                  <a:pt x="285" y="81"/>
                  <a:pt x="285" y="82"/>
                  <a:pt x="285" y="82"/>
                </a:cubicBezTo>
                <a:cubicBezTo>
                  <a:pt x="284" y="83"/>
                  <a:pt x="285" y="83"/>
                  <a:pt x="285" y="84"/>
                </a:cubicBezTo>
                <a:cubicBezTo>
                  <a:pt x="285" y="84"/>
                  <a:pt x="285" y="85"/>
                  <a:pt x="285" y="86"/>
                </a:cubicBezTo>
                <a:cubicBezTo>
                  <a:pt x="284" y="86"/>
                  <a:pt x="284" y="88"/>
                  <a:pt x="284" y="88"/>
                </a:cubicBezTo>
                <a:cubicBezTo>
                  <a:pt x="284" y="88"/>
                  <a:pt x="285" y="88"/>
                  <a:pt x="285" y="88"/>
                </a:cubicBezTo>
                <a:cubicBezTo>
                  <a:pt x="285" y="88"/>
                  <a:pt x="287" y="87"/>
                  <a:pt x="287" y="87"/>
                </a:cubicBezTo>
                <a:cubicBezTo>
                  <a:pt x="287" y="87"/>
                  <a:pt x="286" y="87"/>
                  <a:pt x="286" y="88"/>
                </a:cubicBezTo>
                <a:cubicBezTo>
                  <a:pt x="286" y="88"/>
                  <a:pt x="287" y="88"/>
                  <a:pt x="287" y="88"/>
                </a:cubicBezTo>
                <a:cubicBezTo>
                  <a:pt x="287" y="88"/>
                  <a:pt x="287" y="88"/>
                  <a:pt x="287" y="89"/>
                </a:cubicBezTo>
                <a:cubicBezTo>
                  <a:pt x="287" y="88"/>
                  <a:pt x="286" y="89"/>
                  <a:pt x="286" y="89"/>
                </a:cubicBezTo>
                <a:cubicBezTo>
                  <a:pt x="286" y="89"/>
                  <a:pt x="285" y="89"/>
                  <a:pt x="285" y="89"/>
                </a:cubicBezTo>
                <a:cubicBezTo>
                  <a:pt x="285" y="90"/>
                  <a:pt x="285" y="90"/>
                  <a:pt x="285" y="90"/>
                </a:cubicBezTo>
                <a:cubicBezTo>
                  <a:pt x="285" y="90"/>
                  <a:pt x="285" y="88"/>
                  <a:pt x="285" y="88"/>
                </a:cubicBezTo>
                <a:cubicBezTo>
                  <a:pt x="284" y="88"/>
                  <a:pt x="284" y="89"/>
                  <a:pt x="284" y="89"/>
                </a:cubicBezTo>
                <a:cubicBezTo>
                  <a:pt x="284" y="90"/>
                  <a:pt x="284" y="91"/>
                  <a:pt x="284" y="92"/>
                </a:cubicBezTo>
                <a:cubicBezTo>
                  <a:pt x="284" y="92"/>
                  <a:pt x="284" y="91"/>
                  <a:pt x="284" y="91"/>
                </a:cubicBezTo>
                <a:cubicBezTo>
                  <a:pt x="284" y="92"/>
                  <a:pt x="283" y="92"/>
                  <a:pt x="283" y="93"/>
                </a:cubicBezTo>
                <a:cubicBezTo>
                  <a:pt x="283" y="93"/>
                  <a:pt x="283" y="93"/>
                  <a:pt x="283" y="94"/>
                </a:cubicBezTo>
                <a:cubicBezTo>
                  <a:pt x="283" y="94"/>
                  <a:pt x="282" y="95"/>
                  <a:pt x="282" y="96"/>
                </a:cubicBezTo>
                <a:cubicBezTo>
                  <a:pt x="282" y="97"/>
                  <a:pt x="282" y="96"/>
                  <a:pt x="283" y="96"/>
                </a:cubicBezTo>
                <a:cubicBezTo>
                  <a:pt x="283" y="96"/>
                  <a:pt x="283" y="97"/>
                  <a:pt x="282" y="97"/>
                </a:cubicBezTo>
                <a:cubicBezTo>
                  <a:pt x="281" y="97"/>
                  <a:pt x="280" y="98"/>
                  <a:pt x="280" y="99"/>
                </a:cubicBezTo>
                <a:cubicBezTo>
                  <a:pt x="280" y="99"/>
                  <a:pt x="281" y="98"/>
                  <a:pt x="281" y="98"/>
                </a:cubicBezTo>
                <a:cubicBezTo>
                  <a:pt x="281" y="99"/>
                  <a:pt x="280" y="99"/>
                  <a:pt x="280" y="100"/>
                </a:cubicBezTo>
                <a:cubicBezTo>
                  <a:pt x="281" y="99"/>
                  <a:pt x="281" y="100"/>
                  <a:pt x="280" y="100"/>
                </a:cubicBezTo>
                <a:cubicBezTo>
                  <a:pt x="279" y="100"/>
                  <a:pt x="279" y="100"/>
                  <a:pt x="279" y="100"/>
                </a:cubicBezTo>
                <a:cubicBezTo>
                  <a:pt x="278" y="100"/>
                  <a:pt x="278" y="101"/>
                  <a:pt x="278" y="101"/>
                </a:cubicBezTo>
                <a:cubicBezTo>
                  <a:pt x="277" y="103"/>
                  <a:pt x="276" y="102"/>
                  <a:pt x="275" y="105"/>
                </a:cubicBezTo>
                <a:cubicBezTo>
                  <a:pt x="274" y="106"/>
                  <a:pt x="273" y="107"/>
                  <a:pt x="272" y="108"/>
                </a:cubicBezTo>
                <a:cubicBezTo>
                  <a:pt x="271" y="109"/>
                  <a:pt x="270" y="109"/>
                  <a:pt x="269" y="109"/>
                </a:cubicBezTo>
                <a:cubicBezTo>
                  <a:pt x="269" y="109"/>
                  <a:pt x="269" y="109"/>
                  <a:pt x="269" y="109"/>
                </a:cubicBezTo>
                <a:cubicBezTo>
                  <a:pt x="268" y="110"/>
                  <a:pt x="267" y="110"/>
                  <a:pt x="267" y="110"/>
                </a:cubicBezTo>
                <a:cubicBezTo>
                  <a:pt x="266" y="110"/>
                  <a:pt x="264" y="111"/>
                  <a:pt x="263" y="112"/>
                </a:cubicBezTo>
                <a:cubicBezTo>
                  <a:pt x="262" y="112"/>
                  <a:pt x="261" y="113"/>
                  <a:pt x="261" y="115"/>
                </a:cubicBezTo>
                <a:cubicBezTo>
                  <a:pt x="261" y="116"/>
                  <a:pt x="262" y="116"/>
                  <a:pt x="263" y="116"/>
                </a:cubicBezTo>
                <a:cubicBezTo>
                  <a:pt x="264" y="116"/>
                  <a:pt x="264" y="117"/>
                  <a:pt x="265" y="118"/>
                </a:cubicBezTo>
                <a:cubicBezTo>
                  <a:pt x="265" y="119"/>
                  <a:pt x="266" y="119"/>
                  <a:pt x="266" y="119"/>
                </a:cubicBezTo>
                <a:cubicBezTo>
                  <a:pt x="267" y="119"/>
                  <a:pt x="268" y="119"/>
                  <a:pt x="268" y="120"/>
                </a:cubicBezTo>
                <a:cubicBezTo>
                  <a:pt x="269" y="122"/>
                  <a:pt x="268" y="124"/>
                  <a:pt x="267" y="125"/>
                </a:cubicBezTo>
                <a:cubicBezTo>
                  <a:pt x="266" y="126"/>
                  <a:pt x="265" y="127"/>
                  <a:pt x="264" y="128"/>
                </a:cubicBezTo>
                <a:cubicBezTo>
                  <a:pt x="262" y="129"/>
                  <a:pt x="261" y="130"/>
                  <a:pt x="260" y="131"/>
                </a:cubicBezTo>
                <a:cubicBezTo>
                  <a:pt x="259" y="132"/>
                  <a:pt x="258" y="132"/>
                  <a:pt x="258" y="132"/>
                </a:cubicBezTo>
                <a:cubicBezTo>
                  <a:pt x="258" y="133"/>
                  <a:pt x="257" y="133"/>
                  <a:pt x="257" y="133"/>
                </a:cubicBezTo>
                <a:cubicBezTo>
                  <a:pt x="256" y="133"/>
                  <a:pt x="256" y="134"/>
                  <a:pt x="255" y="134"/>
                </a:cubicBezTo>
                <a:cubicBezTo>
                  <a:pt x="255" y="134"/>
                  <a:pt x="254" y="135"/>
                  <a:pt x="254" y="135"/>
                </a:cubicBezTo>
                <a:cubicBezTo>
                  <a:pt x="255" y="136"/>
                  <a:pt x="256" y="135"/>
                  <a:pt x="256" y="135"/>
                </a:cubicBezTo>
                <a:cubicBezTo>
                  <a:pt x="256" y="135"/>
                  <a:pt x="256" y="134"/>
                  <a:pt x="256" y="134"/>
                </a:cubicBezTo>
                <a:cubicBezTo>
                  <a:pt x="257" y="134"/>
                  <a:pt x="257" y="135"/>
                  <a:pt x="256" y="135"/>
                </a:cubicBezTo>
                <a:cubicBezTo>
                  <a:pt x="256" y="135"/>
                  <a:pt x="256" y="136"/>
                  <a:pt x="256" y="136"/>
                </a:cubicBezTo>
                <a:cubicBezTo>
                  <a:pt x="256" y="136"/>
                  <a:pt x="258" y="136"/>
                  <a:pt x="258" y="136"/>
                </a:cubicBezTo>
                <a:cubicBezTo>
                  <a:pt x="258" y="136"/>
                  <a:pt x="258" y="136"/>
                  <a:pt x="258" y="136"/>
                </a:cubicBezTo>
                <a:cubicBezTo>
                  <a:pt x="258" y="137"/>
                  <a:pt x="258" y="137"/>
                  <a:pt x="258" y="137"/>
                </a:cubicBezTo>
                <a:cubicBezTo>
                  <a:pt x="257" y="138"/>
                  <a:pt x="258" y="138"/>
                  <a:pt x="259" y="138"/>
                </a:cubicBezTo>
                <a:cubicBezTo>
                  <a:pt x="260" y="137"/>
                  <a:pt x="262" y="137"/>
                  <a:pt x="263" y="136"/>
                </a:cubicBezTo>
                <a:cubicBezTo>
                  <a:pt x="267" y="134"/>
                  <a:pt x="270" y="132"/>
                  <a:pt x="273" y="129"/>
                </a:cubicBezTo>
                <a:cubicBezTo>
                  <a:pt x="275" y="128"/>
                  <a:pt x="276" y="127"/>
                  <a:pt x="278" y="126"/>
                </a:cubicBezTo>
                <a:cubicBezTo>
                  <a:pt x="279" y="126"/>
                  <a:pt x="279" y="125"/>
                  <a:pt x="280" y="124"/>
                </a:cubicBezTo>
                <a:cubicBezTo>
                  <a:pt x="281" y="124"/>
                  <a:pt x="281" y="123"/>
                  <a:pt x="282" y="123"/>
                </a:cubicBezTo>
                <a:cubicBezTo>
                  <a:pt x="284" y="122"/>
                  <a:pt x="285" y="121"/>
                  <a:pt x="286" y="120"/>
                </a:cubicBezTo>
                <a:cubicBezTo>
                  <a:pt x="287" y="119"/>
                  <a:pt x="287" y="118"/>
                  <a:pt x="288" y="118"/>
                </a:cubicBezTo>
                <a:cubicBezTo>
                  <a:pt x="288" y="118"/>
                  <a:pt x="289" y="117"/>
                  <a:pt x="289" y="117"/>
                </a:cubicBezTo>
                <a:cubicBezTo>
                  <a:pt x="288" y="117"/>
                  <a:pt x="288" y="116"/>
                  <a:pt x="288" y="116"/>
                </a:cubicBezTo>
                <a:cubicBezTo>
                  <a:pt x="288" y="116"/>
                  <a:pt x="289" y="115"/>
                  <a:pt x="289" y="115"/>
                </a:cubicBezTo>
                <a:cubicBezTo>
                  <a:pt x="288" y="115"/>
                  <a:pt x="289" y="115"/>
                  <a:pt x="289" y="115"/>
                </a:cubicBezTo>
                <a:cubicBezTo>
                  <a:pt x="289" y="113"/>
                  <a:pt x="291" y="112"/>
                  <a:pt x="293" y="112"/>
                </a:cubicBezTo>
                <a:cubicBezTo>
                  <a:pt x="294" y="111"/>
                  <a:pt x="296" y="110"/>
                  <a:pt x="298" y="110"/>
                </a:cubicBezTo>
                <a:cubicBezTo>
                  <a:pt x="299" y="110"/>
                  <a:pt x="300" y="110"/>
                  <a:pt x="300" y="111"/>
                </a:cubicBezTo>
                <a:cubicBezTo>
                  <a:pt x="300" y="111"/>
                  <a:pt x="299" y="112"/>
                  <a:pt x="299" y="112"/>
                </a:cubicBezTo>
                <a:cubicBezTo>
                  <a:pt x="299" y="112"/>
                  <a:pt x="300" y="112"/>
                  <a:pt x="301" y="111"/>
                </a:cubicBezTo>
                <a:cubicBezTo>
                  <a:pt x="302" y="111"/>
                  <a:pt x="300" y="110"/>
                  <a:pt x="301" y="110"/>
                </a:cubicBezTo>
                <a:cubicBezTo>
                  <a:pt x="302" y="109"/>
                  <a:pt x="303" y="108"/>
                  <a:pt x="304" y="107"/>
                </a:cubicBezTo>
                <a:cubicBezTo>
                  <a:pt x="304" y="106"/>
                  <a:pt x="304" y="106"/>
                  <a:pt x="305" y="106"/>
                </a:cubicBezTo>
                <a:cubicBezTo>
                  <a:pt x="305" y="106"/>
                  <a:pt x="306" y="106"/>
                  <a:pt x="306" y="106"/>
                </a:cubicBezTo>
                <a:cubicBezTo>
                  <a:pt x="307" y="105"/>
                  <a:pt x="308" y="104"/>
                  <a:pt x="309" y="103"/>
                </a:cubicBezTo>
                <a:cubicBezTo>
                  <a:pt x="310" y="103"/>
                  <a:pt x="309" y="103"/>
                  <a:pt x="309" y="103"/>
                </a:cubicBezTo>
                <a:cubicBezTo>
                  <a:pt x="310" y="103"/>
                  <a:pt x="310" y="103"/>
                  <a:pt x="310" y="102"/>
                </a:cubicBezTo>
                <a:cubicBezTo>
                  <a:pt x="310" y="102"/>
                  <a:pt x="310" y="102"/>
                  <a:pt x="311" y="101"/>
                </a:cubicBezTo>
                <a:cubicBezTo>
                  <a:pt x="311" y="100"/>
                  <a:pt x="312" y="100"/>
                  <a:pt x="312" y="99"/>
                </a:cubicBezTo>
                <a:cubicBezTo>
                  <a:pt x="313" y="98"/>
                  <a:pt x="314" y="97"/>
                  <a:pt x="315" y="96"/>
                </a:cubicBezTo>
                <a:cubicBezTo>
                  <a:pt x="315" y="97"/>
                  <a:pt x="314" y="97"/>
                  <a:pt x="314" y="97"/>
                </a:cubicBezTo>
                <a:cubicBezTo>
                  <a:pt x="314" y="96"/>
                  <a:pt x="317" y="96"/>
                  <a:pt x="316" y="95"/>
                </a:cubicBezTo>
                <a:cubicBezTo>
                  <a:pt x="316" y="95"/>
                  <a:pt x="314" y="95"/>
                  <a:pt x="315" y="94"/>
                </a:cubicBezTo>
                <a:close/>
                <a:moveTo>
                  <a:pt x="253" y="131"/>
                </a:moveTo>
                <a:cubicBezTo>
                  <a:pt x="253" y="131"/>
                  <a:pt x="252" y="132"/>
                  <a:pt x="252" y="132"/>
                </a:cubicBezTo>
                <a:cubicBezTo>
                  <a:pt x="252" y="131"/>
                  <a:pt x="252" y="131"/>
                  <a:pt x="252" y="131"/>
                </a:cubicBezTo>
                <a:cubicBezTo>
                  <a:pt x="251" y="131"/>
                  <a:pt x="251" y="132"/>
                  <a:pt x="251" y="132"/>
                </a:cubicBezTo>
                <a:cubicBezTo>
                  <a:pt x="251" y="132"/>
                  <a:pt x="251" y="132"/>
                  <a:pt x="251" y="132"/>
                </a:cubicBezTo>
                <a:cubicBezTo>
                  <a:pt x="251" y="132"/>
                  <a:pt x="251" y="133"/>
                  <a:pt x="250" y="133"/>
                </a:cubicBezTo>
                <a:cubicBezTo>
                  <a:pt x="250" y="133"/>
                  <a:pt x="250" y="132"/>
                  <a:pt x="250" y="132"/>
                </a:cubicBezTo>
                <a:cubicBezTo>
                  <a:pt x="250" y="133"/>
                  <a:pt x="249" y="133"/>
                  <a:pt x="249" y="134"/>
                </a:cubicBezTo>
                <a:cubicBezTo>
                  <a:pt x="249" y="134"/>
                  <a:pt x="250" y="133"/>
                  <a:pt x="251" y="133"/>
                </a:cubicBezTo>
                <a:cubicBezTo>
                  <a:pt x="250" y="134"/>
                  <a:pt x="249" y="134"/>
                  <a:pt x="249" y="134"/>
                </a:cubicBezTo>
                <a:cubicBezTo>
                  <a:pt x="249" y="134"/>
                  <a:pt x="247" y="135"/>
                  <a:pt x="247" y="134"/>
                </a:cubicBezTo>
                <a:cubicBezTo>
                  <a:pt x="247" y="134"/>
                  <a:pt x="249" y="133"/>
                  <a:pt x="249" y="133"/>
                </a:cubicBezTo>
                <a:cubicBezTo>
                  <a:pt x="249" y="133"/>
                  <a:pt x="250" y="132"/>
                  <a:pt x="250" y="132"/>
                </a:cubicBezTo>
                <a:cubicBezTo>
                  <a:pt x="250" y="132"/>
                  <a:pt x="249" y="132"/>
                  <a:pt x="249" y="132"/>
                </a:cubicBezTo>
                <a:cubicBezTo>
                  <a:pt x="249" y="132"/>
                  <a:pt x="250" y="132"/>
                  <a:pt x="251" y="131"/>
                </a:cubicBezTo>
                <a:cubicBezTo>
                  <a:pt x="251" y="131"/>
                  <a:pt x="252" y="131"/>
                  <a:pt x="252" y="130"/>
                </a:cubicBezTo>
                <a:cubicBezTo>
                  <a:pt x="252" y="130"/>
                  <a:pt x="250" y="131"/>
                  <a:pt x="250" y="131"/>
                </a:cubicBezTo>
                <a:cubicBezTo>
                  <a:pt x="250" y="131"/>
                  <a:pt x="249" y="131"/>
                  <a:pt x="249" y="131"/>
                </a:cubicBezTo>
                <a:cubicBezTo>
                  <a:pt x="249" y="131"/>
                  <a:pt x="248" y="132"/>
                  <a:pt x="249" y="132"/>
                </a:cubicBezTo>
                <a:cubicBezTo>
                  <a:pt x="248" y="132"/>
                  <a:pt x="248" y="133"/>
                  <a:pt x="247" y="132"/>
                </a:cubicBezTo>
                <a:cubicBezTo>
                  <a:pt x="247" y="132"/>
                  <a:pt x="246" y="133"/>
                  <a:pt x="246" y="133"/>
                </a:cubicBezTo>
                <a:cubicBezTo>
                  <a:pt x="245" y="133"/>
                  <a:pt x="244" y="133"/>
                  <a:pt x="244" y="134"/>
                </a:cubicBezTo>
                <a:cubicBezTo>
                  <a:pt x="243" y="134"/>
                  <a:pt x="243" y="135"/>
                  <a:pt x="242" y="135"/>
                </a:cubicBezTo>
                <a:cubicBezTo>
                  <a:pt x="241" y="135"/>
                  <a:pt x="242" y="133"/>
                  <a:pt x="242" y="132"/>
                </a:cubicBezTo>
                <a:cubicBezTo>
                  <a:pt x="242" y="131"/>
                  <a:pt x="243" y="131"/>
                  <a:pt x="244" y="130"/>
                </a:cubicBezTo>
                <a:cubicBezTo>
                  <a:pt x="244" y="130"/>
                  <a:pt x="244" y="129"/>
                  <a:pt x="244" y="129"/>
                </a:cubicBezTo>
                <a:cubicBezTo>
                  <a:pt x="244" y="129"/>
                  <a:pt x="242" y="130"/>
                  <a:pt x="242" y="129"/>
                </a:cubicBezTo>
                <a:cubicBezTo>
                  <a:pt x="242" y="129"/>
                  <a:pt x="242" y="128"/>
                  <a:pt x="242" y="127"/>
                </a:cubicBezTo>
                <a:cubicBezTo>
                  <a:pt x="243" y="127"/>
                  <a:pt x="244" y="126"/>
                  <a:pt x="245" y="126"/>
                </a:cubicBezTo>
                <a:cubicBezTo>
                  <a:pt x="245" y="126"/>
                  <a:pt x="246" y="127"/>
                  <a:pt x="246" y="126"/>
                </a:cubicBezTo>
                <a:cubicBezTo>
                  <a:pt x="246" y="126"/>
                  <a:pt x="243" y="126"/>
                  <a:pt x="243" y="126"/>
                </a:cubicBezTo>
                <a:cubicBezTo>
                  <a:pt x="243" y="126"/>
                  <a:pt x="242" y="126"/>
                  <a:pt x="242" y="127"/>
                </a:cubicBezTo>
                <a:cubicBezTo>
                  <a:pt x="242" y="127"/>
                  <a:pt x="242" y="127"/>
                  <a:pt x="242" y="127"/>
                </a:cubicBezTo>
                <a:cubicBezTo>
                  <a:pt x="242" y="127"/>
                  <a:pt x="241" y="127"/>
                  <a:pt x="241" y="127"/>
                </a:cubicBezTo>
                <a:cubicBezTo>
                  <a:pt x="241" y="127"/>
                  <a:pt x="241" y="127"/>
                  <a:pt x="241" y="127"/>
                </a:cubicBezTo>
                <a:cubicBezTo>
                  <a:pt x="240" y="127"/>
                  <a:pt x="240" y="128"/>
                  <a:pt x="239" y="128"/>
                </a:cubicBezTo>
                <a:cubicBezTo>
                  <a:pt x="238" y="129"/>
                  <a:pt x="237" y="129"/>
                  <a:pt x="236" y="130"/>
                </a:cubicBezTo>
                <a:cubicBezTo>
                  <a:pt x="235" y="130"/>
                  <a:pt x="235" y="131"/>
                  <a:pt x="234" y="132"/>
                </a:cubicBezTo>
                <a:cubicBezTo>
                  <a:pt x="234" y="133"/>
                  <a:pt x="233" y="134"/>
                  <a:pt x="232" y="134"/>
                </a:cubicBezTo>
                <a:cubicBezTo>
                  <a:pt x="231" y="136"/>
                  <a:pt x="229" y="137"/>
                  <a:pt x="227" y="138"/>
                </a:cubicBezTo>
                <a:cubicBezTo>
                  <a:pt x="226" y="139"/>
                  <a:pt x="226" y="139"/>
                  <a:pt x="225" y="140"/>
                </a:cubicBezTo>
                <a:cubicBezTo>
                  <a:pt x="224" y="140"/>
                  <a:pt x="223" y="139"/>
                  <a:pt x="223" y="140"/>
                </a:cubicBezTo>
                <a:cubicBezTo>
                  <a:pt x="221" y="142"/>
                  <a:pt x="219" y="143"/>
                  <a:pt x="218" y="145"/>
                </a:cubicBezTo>
                <a:cubicBezTo>
                  <a:pt x="217" y="146"/>
                  <a:pt x="216" y="146"/>
                  <a:pt x="215" y="147"/>
                </a:cubicBezTo>
                <a:cubicBezTo>
                  <a:pt x="215" y="147"/>
                  <a:pt x="214" y="148"/>
                  <a:pt x="214" y="148"/>
                </a:cubicBezTo>
                <a:cubicBezTo>
                  <a:pt x="213" y="149"/>
                  <a:pt x="212" y="150"/>
                  <a:pt x="211" y="150"/>
                </a:cubicBezTo>
                <a:cubicBezTo>
                  <a:pt x="210" y="151"/>
                  <a:pt x="209" y="151"/>
                  <a:pt x="208" y="152"/>
                </a:cubicBezTo>
                <a:cubicBezTo>
                  <a:pt x="207" y="152"/>
                  <a:pt x="206" y="153"/>
                  <a:pt x="205" y="153"/>
                </a:cubicBezTo>
                <a:cubicBezTo>
                  <a:pt x="204" y="153"/>
                  <a:pt x="204" y="154"/>
                  <a:pt x="203" y="154"/>
                </a:cubicBezTo>
                <a:cubicBezTo>
                  <a:pt x="203" y="154"/>
                  <a:pt x="202" y="154"/>
                  <a:pt x="202" y="154"/>
                </a:cubicBezTo>
                <a:cubicBezTo>
                  <a:pt x="202" y="155"/>
                  <a:pt x="202" y="154"/>
                  <a:pt x="201" y="155"/>
                </a:cubicBezTo>
                <a:cubicBezTo>
                  <a:pt x="201" y="155"/>
                  <a:pt x="200" y="155"/>
                  <a:pt x="200" y="155"/>
                </a:cubicBezTo>
                <a:cubicBezTo>
                  <a:pt x="200" y="155"/>
                  <a:pt x="200" y="155"/>
                  <a:pt x="201" y="155"/>
                </a:cubicBezTo>
                <a:cubicBezTo>
                  <a:pt x="200" y="156"/>
                  <a:pt x="199" y="156"/>
                  <a:pt x="198" y="156"/>
                </a:cubicBezTo>
                <a:cubicBezTo>
                  <a:pt x="198" y="157"/>
                  <a:pt x="197" y="158"/>
                  <a:pt x="196" y="158"/>
                </a:cubicBezTo>
                <a:cubicBezTo>
                  <a:pt x="194" y="157"/>
                  <a:pt x="193" y="160"/>
                  <a:pt x="191" y="160"/>
                </a:cubicBezTo>
                <a:cubicBezTo>
                  <a:pt x="190" y="160"/>
                  <a:pt x="188" y="161"/>
                  <a:pt x="186" y="162"/>
                </a:cubicBezTo>
                <a:cubicBezTo>
                  <a:pt x="185" y="162"/>
                  <a:pt x="185" y="162"/>
                  <a:pt x="184" y="163"/>
                </a:cubicBezTo>
                <a:cubicBezTo>
                  <a:pt x="183" y="163"/>
                  <a:pt x="182" y="164"/>
                  <a:pt x="181" y="164"/>
                </a:cubicBezTo>
                <a:cubicBezTo>
                  <a:pt x="180" y="164"/>
                  <a:pt x="179" y="164"/>
                  <a:pt x="179" y="164"/>
                </a:cubicBezTo>
                <a:cubicBezTo>
                  <a:pt x="178" y="164"/>
                  <a:pt x="177" y="165"/>
                  <a:pt x="176" y="165"/>
                </a:cubicBezTo>
                <a:cubicBezTo>
                  <a:pt x="175" y="166"/>
                  <a:pt x="174" y="166"/>
                  <a:pt x="173" y="167"/>
                </a:cubicBezTo>
                <a:cubicBezTo>
                  <a:pt x="173" y="167"/>
                  <a:pt x="173" y="167"/>
                  <a:pt x="172" y="168"/>
                </a:cubicBezTo>
                <a:cubicBezTo>
                  <a:pt x="172" y="168"/>
                  <a:pt x="171" y="168"/>
                  <a:pt x="170" y="169"/>
                </a:cubicBezTo>
                <a:cubicBezTo>
                  <a:pt x="169" y="169"/>
                  <a:pt x="169" y="169"/>
                  <a:pt x="168" y="170"/>
                </a:cubicBezTo>
                <a:cubicBezTo>
                  <a:pt x="168" y="170"/>
                  <a:pt x="168" y="171"/>
                  <a:pt x="168" y="171"/>
                </a:cubicBezTo>
                <a:cubicBezTo>
                  <a:pt x="168" y="171"/>
                  <a:pt x="168" y="171"/>
                  <a:pt x="168" y="171"/>
                </a:cubicBezTo>
                <a:cubicBezTo>
                  <a:pt x="167" y="170"/>
                  <a:pt x="167" y="171"/>
                  <a:pt x="167" y="171"/>
                </a:cubicBezTo>
                <a:cubicBezTo>
                  <a:pt x="166" y="171"/>
                  <a:pt x="166" y="172"/>
                  <a:pt x="166" y="172"/>
                </a:cubicBezTo>
                <a:cubicBezTo>
                  <a:pt x="165" y="171"/>
                  <a:pt x="165" y="172"/>
                  <a:pt x="165" y="172"/>
                </a:cubicBezTo>
                <a:cubicBezTo>
                  <a:pt x="165" y="172"/>
                  <a:pt x="164" y="173"/>
                  <a:pt x="163" y="173"/>
                </a:cubicBezTo>
                <a:cubicBezTo>
                  <a:pt x="162" y="173"/>
                  <a:pt x="162" y="173"/>
                  <a:pt x="161" y="174"/>
                </a:cubicBezTo>
                <a:cubicBezTo>
                  <a:pt x="161" y="175"/>
                  <a:pt x="161" y="175"/>
                  <a:pt x="161" y="174"/>
                </a:cubicBezTo>
                <a:cubicBezTo>
                  <a:pt x="162" y="173"/>
                  <a:pt x="161" y="174"/>
                  <a:pt x="161" y="174"/>
                </a:cubicBezTo>
                <a:cubicBezTo>
                  <a:pt x="160" y="174"/>
                  <a:pt x="160" y="174"/>
                  <a:pt x="159" y="175"/>
                </a:cubicBezTo>
                <a:cubicBezTo>
                  <a:pt x="158" y="175"/>
                  <a:pt x="159" y="175"/>
                  <a:pt x="160" y="175"/>
                </a:cubicBezTo>
                <a:cubicBezTo>
                  <a:pt x="160" y="176"/>
                  <a:pt x="159" y="175"/>
                  <a:pt x="159" y="175"/>
                </a:cubicBezTo>
                <a:cubicBezTo>
                  <a:pt x="158" y="175"/>
                  <a:pt x="158" y="175"/>
                  <a:pt x="158" y="176"/>
                </a:cubicBezTo>
                <a:cubicBezTo>
                  <a:pt x="157" y="175"/>
                  <a:pt x="157" y="177"/>
                  <a:pt x="157" y="177"/>
                </a:cubicBezTo>
                <a:cubicBezTo>
                  <a:pt x="157" y="177"/>
                  <a:pt x="157" y="176"/>
                  <a:pt x="156" y="176"/>
                </a:cubicBezTo>
                <a:cubicBezTo>
                  <a:pt x="156" y="176"/>
                  <a:pt x="156" y="177"/>
                  <a:pt x="156" y="177"/>
                </a:cubicBezTo>
                <a:cubicBezTo>
                  <a:pt x="155" y="178"/>
                  <a:pt x="156" y="178"/>
                  <a:pt x="157" y="178"/>
                </a:cubicBezTo>
                <a:cubicBezTo>
                  <a:pt x="156" y="179"/>
                  <a:pt x="155" y="178"/>
                  <a:pt x="155" y="178"/>
                </a:cubicBezTo>
                <a:cubicBezTo>
                  <a:pt x="155" y="179"/>
                  <a:pt x="155" y="179"/>
                  <a:pt x="155" y="180"/>
                </a:cubicBezTo>
                <a:cubicBezTo>
                  <a:pt x="155" y="180"/>
                  <a:pt x="154" y="180"/>
                  <a:pt x="154" y="180"/>
                </a:cubicBezTo>
                <a:cubicBezTo>
                  <a:pt x="154" y="180"/>
                  <a:pt x="155" y="179"/>
                  <a:pt x="155" y="179"/>
                </a:cubicBezTo>
                <a:cubicBezTo>
                  <a:pt x="154" y="179"/>
                  <a:pt x="154" y="179"/>
                  <a:pt x="154" y="179"/>
                </a:cubicBezTo>
                <a:cubicBezTo>
                  <a:pt x="154" y="179"/>
                  <a:pt x="155" y="178"/>
                  <a:pt x="154" y="179"/>
                </a:cubicBezTo>
                <a:cubicBezTo>
                  <a:pt x="154" y="178"/>
                  <a:pt x="154" y="178"/>
                  <a:pt x="154" y="178"/>
                </a:cubicBezTo>
                <a:cubicBezTo>
                  <a:pt x="153" y="178"/>
                  <a:pt x="153" y="178"/>
                  <a:pt x="153" y="178"/>
                </a:cubicBezTo>
                <a:cubicBezTo>
                  <a:pt x="152" y="179"/>
                  <a:pt x="153" y="179"/>
                  <a:pt x="153" y="180"/>
                </a:cubicBezTo>
                <a:cubicBezTo>
                  <a:pt x="153" y="179"/>
                  <a:pt x="151" y="181"/>
                  <a:pt x="150" y="181"/>
                </a:cubicBezTo>
                <a:cubicBezTo>
                  <a:pt x="150" y="181"/>
                  <a:pt x="150" y="181"/>
                  <a:pt x="151" y="181"/>
                </a:cubicBezTo>
                <a:cubicBezTo>
                  <a:pt x="152" y="181"/>
                  <a:pt x="152" y="180"/>
                  <a:pt x="153" y="180"/>
                </a:cubicBezTo>
                <a:cubicBezTo>
                  <a:pt x="153" y="181"/>
                  <a:pt x="152" y="181"/>
                  <a:pt x="152" y="181"/>
                </a:cubicBezTo>
                <a:cubicBezTo>
                  <a:pt x="152" y="181"/>
                  <a:pt x="153" y="181"/>
                  <a:pt x="153" y="181"/>
                </a:cubicBezTo>
                <a:cubicBezTo>
                  <a:pt x="152" y="181"/>
                  <a:pt x="150" y="181"/>
                  <a:pt x="150" y="182"/>
                </a:cubicBezTo>
                <a:cubicBezTo>
                  <a:pt x="150" y="182"/>
                  <a:pt x="152" y="182"/>
                  <a:pt x="152" y="182"/>
                </a:cubicBezTo>
                <a:cubicBezTo>
                  <a:pt x="151" y="182"/>
                  <a:pt x="150" y="182"/>
                  <a:pt x="149" y="183"/>
                </a:cubicBezTo>
                <a:cubicBezTo>
                  <a:pt x="150" y="183"/>
                  <a:pt x="151" y="183"/>
                  <a:pt x="151" y="183"/>
                </a:cubicBezTo>
                <a:cubicBezTo>
                  <a:pt x="151" y="183"/>
                  <a:pt x="150" y="183"/>
                  <a:pt x="149" y="183"/>
                </a:cubicBezTo>
                <a:cubicBezTo>
                  <a:pt x="148" y="184"/>
                  <a:pt x="147" y="183"/>
                  <a:pt x="146" y="184"/>
                </a:cubicBezTo>
                <a:cubicBezTo>
                  <a:pt x="145" y="184"/>
                  <a:pt x="145" y="185"/>
                  <a:pt x="145" y="185"/>
                </a:cubicBezTo>
                <a:cubicBezTo>
                  <a:pt x="145" y="185"/>
                  <a:pt x="144" y="186"/>
                  <a:pt x="145" y="186"/>
                </a:cubicBezTo>
                <a:cubicBezTo>
                  <a:pt x="146" y="186"/>
                  <a:pt x="147" y="185"/>
                  <a:pt x="148" y="184"/>
                </a:cubicBezTo>
                <a:cubicBezTo>
                  <a:pt x="147" y="185"/>
                  <a:pt x="147" y="185"/>
                  <a:pt x="147" y="185"/>
                </a:cubicBezTo>
                <a:cubicBezTo>
                  <a:pt x="147" y="185"/>
                  <a:pt x="147" y="185"/>
                  <a:pt x="148" y="185"/>
                </a:cubicBezTo>
                <a:cubicBezTo>
                  <a:pt x="147" y="186"/>
                  <a:pt x="145" y="186"/>
                  <a:pt x="145" y="187"/>
                </a:cubicBezTo>
                <a:cubicBezTo>
                  <a:pt x="145" y="187"/>
                  <a:pt x="146" y="186"/>
                  <a:pt x="146" y="186"/>
                </a:cubicBezTo>
                <a:cubicBezTo>
                  <a:pt x="146" y="186"/>
                  <a:pt x="146" y="186"/>
                  <a:pt x="146" y="186"/>
                </a:cubicBezTo>
                <a:cubicBezTo>
                  <a:pt x="147" y="186"/>
                  <a:pt x="147" y="186"/>
                  <a:pt x="147" y="186"/>
                </a:cubicBezTo>
                <a:cubicBezTo>
                  <a:pt x="148" y="185"/>
                  <a:pt x="148" y="185"/>
                  <a:pt x="149" y="185"/>
                </a:cubicBezTo>
                <a:cubicBezTo>
                  <a:pt x="148" y="186"/>
                  <a:pt x="144" y="187"/>
                  <a:pt x="145" y="188"/>
                </a:cubicBezTo>
                <a:cubicBezTo>
                  <a:pt x="145" y="188"/>
                  <a:pt x="147" y="188"/>
                  <a:pt x="147" y="188"/>
                </a:cubicBezTo>
                <a:cubicBezTo>
                  <a:pt x="148" y="189"/>
                  <a:pt x="150" y="189"/>
                  <a:pt x="151" y="188"/>
                </a:cubicBezTo>
                <a:cubicBezTo>
                  <a:pt x="151" y="188"/>
                  <a:pt x="153" y="187"/>
                  <a:pt x="153" y="188"/>
                </a:cubicBezTo>
                <a:cubicBezTo>
                  <a:pt x="153" y="189"/>
                  <a:pt x="152" y="190"/>
                  <a:pt x="153" y="190"/>
                </a:cubicBezTo>
                <a:cubicBezTo>
                  <a:pt x="154" y="190"/>
                  <a:pt x="155" y="190"/>
                  <a:pt x="155" y="190"/>
                </a:cubicBezTo>
                <a:cubicBezTo>
                  <a:pt x="157" y="189"/>
                  <a:pt x="156" y="191"/>
                  <a:pt x="156" y="191"/>
                </a:cubicBezTo>
                <a:cubicBezTo>
                  <a:pt x="156" y="191"/>
                  <a:pt x="157" y="190"/>
                  <a:pt x="157" y="190"/>
                </a:cubicBezTo>
                <a:cubicBezTo>
                  <a:pt x="157" y="190"/>
                  <a:pt x="157" y="191"/>
                  <a:pt x="157" y="191"/>
                </a:cubicBezTo>
                <a:cubicBezTo>
                  <a:pt x="156" y="191"/>
                  <a:pt x="156" y="191"/>
                  <a:pt x="155" y="191"/>
                </a:cubicBezTo>
                <a:cubicBezTo>
                  <a:pt x="155" y="191"/>
                  <a:pt x="155" y="192"/>
                  <a:pt x="156" y="192"/>
                </a:cubicBezTo>
                <a:cubicBezTo>
                  <a:pt x="156" y="192"/>
                  <a:pt x="156" y="192"/>
                  <a:pt x="156" y="192"/>
                </a:cubicBezTo>
                <a:cubicBezTo>
                  <a:pt x="157" y="192"/>
                  <a:pt x="157" y="192"/>
                  <a:pt x="157" y="192"/>
                </a:cubicBezTo>
                <a:cubicBezTo>
                  <a:pt x="157" y="192"/>
                  <a:pt x="157" y="192"/>
                  <a:pt x="156" y="192"/>
                </a:cubicBezTo>
                <a:cubicBezTo>
                  <a:pt x="156" y="192"/>
                  <a:pt x="157" y="192"/>
                  <a:pt x="157" y="192"/>
                </a:cubicBezTo>
                <a:cubicBezTo>
                  <a:pt x="157" y="192"/>
                  <a:pt x="158" y="192"/>
                  <a:pt x="158" y="192"/>
                </a:cubicBezTo>
                <a:cubicBezTo>
                  <a:pt x="158" y="192"/>
                  <a:pt x="158" y="192"/>
                  <a:pt x="159" y="192"/>
                </a:cubicBezTo>
                <a:cubicBezTo>
                  <a:pt x="158" y="192"/>
                  <a:pt x="159" y="192"/>
                  <a:pt x="160" y="192"/>
                </a:cubicBezTo>
                <a:cubicBezTo>
                  <a:pt x="160" y="192"/>
                  <a:pt x="159" y="193"/>
                  <a:pt x="160" y="193"/>
                </a:cubicBezTo>
                <a:cubicBezTo>
                  <a:pt x="160" y="193"/>
                  <a:pt x="161" y="193"/>
                  <a:pt x="161" y="193"/>
                </a:cubicBezTo>
                <a:cubicBezTo>
                  <a:pt x="162" y="193"/>
                  <a:pt x="162" y="193"/>
                  <a:pt x="162" y="193"/>
                </a:cubicBezTo>
                <a:cubicBezTo>
                  <a:pt x="163" y="193"/>
                  <a:pt x="163" y="193"/>
                  <a:pt x="163" y="193"/>
                </a:cubicBezTo>
                <a:cubicBezTo>
                  <a:pt x="164" y="193"/>
                  <a:pt x="164" y="193"/>
                  <a:pt x="164" y="192"/>
                </a:cubicBezTo>
                <a:cubicBezTo>
                  <a:pt x="165" y="192"/>
                  <a:pt x="165" y="192"/>
                  <a:pt x="166" y="192"/>
                </a:cubicBezTo>
                <a:cubicBezTo>
                  <a:pt x="167" y="192"/>
                  <a:pt x="167" y="192"/>
                  <a:pt x="168" y="191"/>
                </a:cubicBezTo>
                <a:cubicBezTo>
                  <a:pt x="169" y="191"/>
                  <a:pt x="169" y="191"/>
                  <a:pt x="170" y="190"/>
                </a:cubicBezTo>
                <a:cubicBezTo>
                  <a:pt x="171" y="189"/>
                  <a:pt x="173" y="189"/>
                  <a:pt x="174" y="188"/>
                </a:cubicBezTo>
                <a:cubicBezTo>
                  <a:pt x="175" y="188"/>
                  <a:pt x="176" y="187"/>
                  <a:pt x="177" y="186"/>
                </a:cubicBezTo>
                <a:cubicBezTo>
                  <a:pt x="178" y="185"/>
                  <a:pt x="179" y="185"/>
                  <a:pt x="181" y="185"/>
                </a:cubicBezTo>
                <a:cubicBezTo>
                  <a:pt x="181" y="185"/>
                  <a:pt x="183" y="185"/>
                  <a:pt x="183" y="184"/>
                </a:cubicBezTo>
                <a:cubicBezTo>
                  <a:pt x="183" y="184"/>
                  <a:pt x="183" y="184"/>
                  <a:pt x="182" y="184"/>
                </a:cubicBezTo>
                <a:cubicBezTo>
                  <a:pt x="183" y="184"/>
                  <a:pt x="183" y="184"/>
                  <a:pt x="183" y="183"/>
                </a:cubicBezTo>
                <a:cubicBezTo>
                  <a:pt x="182" y="184"/>
                  <a:pt x="182" y="184"/>
                  <a:pt x="181" y="184"/>
                </a:cubicBezTo>
                <a:cubicBezTo>
                  <a:pt x="181" y="184"/>
                  <a:pt x="182" y="184"/>
                  <a:pt x="183" y="183"/>
                </a:cubicBezTo>
                <a:cubicBezTo>
                  <a:pt x="184" y="183"/>
                  <a:pt x="182" y="183"/>
                  <a:pt x="182" y="183"/>
                </a:cubicBezTo>
                <a:cubicBezTo>
                  <a:pt x="183" y="182"/>
                  <a:pt x="184" y="182"/>
                  <a:pt x="185" y="181"/>
                </a:cubicBezTo>
                <a:cubicBezTo>
                  <a:pt x="186" y="181"/>
                  <a:pt x="187" y="180"/>
                  <a:pt x="188" y="179"/>
                </a:cubicBezTo>
                <a:cubicBezTo>
                  <a:pt x="188" y="179"/>
                  <a:pt x="188" y="179"/>
                  <a:pt x="188" y="179"/>
                </a:cubicBezTo>
                <a:cubicBezTo>
                  <a:pt x="188" y="178"/>
                  <a:pt x="188" y="178"/>
                  <a:pt x="189" y="178"/>
                </a:cubicBezTo>
                <a:cubicBezTo>
                  <a:pt x="189" y="177"/>
                  <a:pt x="190" y="177"/>
                  <a:pt x="191" y="176"/>
                </a:cubicBezTo>
                <a:cubicBezTo>
                  <a:pt x="193" y="175"/>
                  <a:pt x="195" y="174"/>
                  <a:pt x="196" y="172"/>
                </a:cubicBezTo>
                <a:cubicBezTo>
                  <a:pt x="196" y="171"/>
                  <a:pt x="197" y="171"/>
                  <a:pt x="198" y="170"/>
                </a:cubicBezTo>
                <a:cubicBezTo>
                  <a:pt x="198" y="169"/>
                  <a:pt x="199" y="169"/>
                  <a:pt x="200" y="168"/>
                </a:cubicBezTo>
                <a:cubicBezTo>
                  <a:pt x="201" y="167"/>
                  <a:pt x="203" y="166"/>
                  <a:pt x="205" y="165"/>
                </a:cubicBezTo>
                <a:cubicBezTo>
                  <a:pt x="207" y="165"/>
                  <a:pt x="209" y="164"/>
                  <a:pt x="211" y="163"/>
                </a:cubicBezTo>
                <a:cubicBezTo>
                  <a:pt x="212" y="163"/>
                  <a:pt x="213" y="163"/>
                  <a:pt x="214" y="162"/>
                </a:cubicBezTo>
                <a:cubicBezTo>
                  <a:pt x="215" y="162"/>
                  <a:pt x="215" y="161"/>
                  <a:pt x="216" y="161"/>
                </a:cubicBezTo>
                <a:cubicBezTo>
                  <a:pt x="217" y="162"/>
                  <a:pt x="217" y="162"/>
                  <a:pt x="216" y="162"/>
                </a:cubicBezTo>
                <a:cubicBezTo>
                  <a:pt x="215" y="162"/>
                  <a:pt x="215" y="162"/>
                  <a:pt x="214" y="163"/>
                </a:cubicBezTo>
                <a:cubicBezTo>
                  <a:pt x="215" y="163"/>
                  <a:pt x="216" y="162"/>
                  <a:pt x="216" y="162"/>
                </a:cubicBezTo>
                <a:cubicBezTo>
                  <a:pt x="217" y="162"/>
                  <a:pt x="217" y="163"/>
                  <a:pt x="218" y="163"/>
                </a:cubicBezTo>
                <a:cubicBezTo>
                  <a:pt x="218" y="163"/>
                  <a:pt x="219" y="163"/>
                  <a:pt x="219" y="162"/>
                </a:cubicBezTo>
                <a:cubicBezTo>
                  <a:pt x="219" y="162"/>
                  <a:pt x="219" y="162"/>
                  <a:pt x="219" y="162"/>
                </a:cubicBezTo>
                <a:cubicBezTo>
                  <a:pt x="219" y="162"/>
                  <a:pt x="218" y="163"/>
                  <a:pt x="219" y="163"/>
                </a:cubicBezTo>
                <a:cubicBezTo>
                  <a:pt x="220" y="163"/>
                  <a:pt x="221" y="162"/>
                  <a:pt x="221" y="162"/>
                </a:cubicBezTo>
                <a:cubicBezTo>
                  <a:pt x="221" y="161"/>
                  <a:pt x="222" y="160"/>
                  <a:pt x="221" y="161"/>
                </a:cubicBezTo>
                <a:cubicBezTo>
                  <a:pt x="221" y="160"/>
                  <a:pt x="220" y="160"/>
                  <a:pt x="220" y="161"/>
                </a:cubicBezTo>
                <a:cubicBezTo>
                  <a:pt x="220" y="160"/>
                  <a:pt x="220" y="160"/>
                  <a:pt x="219" y="160"/>
                </a:cubicBezTo>
                <a:cubicBezTo>
                  <a:pt x="220" y="160"/>
                  <a:pt x="218" y="160"/>
                  <a:pt x="218" y="160"/>
                </a:cubicBezTo>
                <a:cubicBezTo>
                  <a:pt x="218" y="160"/>
                  <a:pt x="220" y="160"/>
                  <a:pt x="220" y="159"/>
                </a:cubicBezTo>
                <a:cubicBezTo>
                  <a:pt x="220" y="159"/>
                  <a:pt x="220" y="158"/>
                  <a:pt x="220" y="158"/>
                </a:cubicBezTo>
                <a:cubicBezTo>
                  <a:pt x="220" y="158"/>
                  <a:pt x="221" y="157"/>
                  <a:pt x="221" y="157"/>
                </a:cubicBezTo>
                <a:cubicBezTo>
                  <a:pt x="223" y="155"/>
                  <a:pt x="224" y="155"/>
                  <a:pt x="226" y="154"/>
                </a:cubicBezTo>
                <a:cubicBezTo>
                  <a:pt x="227" y="154"/>
                  <a:pt x="228" y="153"/>
                  <a:pt x="230" y="152"/>
                </a:cubicBezTo>
                <a:cubicBezTo>
                  <a:pt x="231" y="151"/>
                  <a:pt x="233" y="150"/>
                  <a:pt x="234" y="149"/>
                </a:cubicBezTo>
                <a:cubicBezTo>
                  <a:pt x="235" y="148"/>
                  <a:pt x="235" y="148"/>
                  <a:pt x="236" y="147"/>
                </a:cubicBezTo>
                <a:cubicBezTo>
                  <a:pt x="236" y="147"/>
                  <a:pt x="237" y="147"/>
                  <a:pt x="237" y="147"/>
                </a:cubicBezTo>
                <a:cubicBezTo>
                  <a:pt x="237" y="147"/>
                  <a:pt x="237" y="147"/>
                  <a:pt x="237" y="147"/>
                </a:cubicBezTo>
                <a:cubicBezTo>
                  <a:pt x="238" y="146"/>
                  <a:pt x="240" y="145"/>
                  <a:pt x="241" y="144"/>
                </a:cubicBezTo>
                <a:cubicBezTo>
                  <a:pt x="242" y="143"/>
                  <a:pt x="243" y="142"/>
                  <a:pt x="245" y="142"/>
                </a:cubicBezTo>
                <a:cubicBezTo>
                  <a:pt x="246" y="141"/>
                  <a:pt x="247" y="140"/>
                  <a:pt x="248" y="139"/>
                </a:cubicBezTo>
                <a:cubicBezTo>
                  <a:pt x="247" y="139"/>
                  <a:pt x="247" y="139"/>
                  <a:pt x="248" y="139"/>
                </a:cubicBezTo>
                <a:cubicBezTo>
                  <a:pt x="248" y="138"/>
                  <a:pt x="248" y="138"/>
                  <a:pt x="248" y="137"/>
                </a:cubicBezTo>
                <a:cubicBezTo>
                  <a:pt x="248" y="136"/>
                  <a:pt x="249" y="135"/>
                  <a:pt x="250" y="135"/>
                </a:cubicBezTo>
                <a:cubicBezTo>
                  <a:pt x="250" y="135"/>
                  <a:pt x="250" y="135"/>
                  <a:pt x="250" y="135"/>
                </a:cubicBezTo>
                <a:cubicBezTo>
                  <a:pt x="250" y="135"/>
                  <a:pt x="252" y="135"/>
                  <a:pt x="252" y="134"/>
                </a:cubicBezTo>
                <a:cubicBezTo>
                  <a:pt x="251" y="134"/>
                  <a:pt x="251" y="134"/>
                  <a:pt x="250" y="134"/>
                </a:cubicBezTo>
                <a:cubicBezTo>
                  <a:pt x="249" y="134"/>
                  <a:pt x="249" y="135"/>
                  <a:pt x="248" y="134"/>
                </a:cubicBezTo>
                <a:cubicBezTo>
                  <a:pt x="249" y="134"/>
                  <a:pt x="250" y="134"/>
                  <a:pt x="251" y="134"/>
                </a:cubicBezTo>
                <a:cubicBezTo>
                  <a:pt x="251" y="134"/>
                  <a:pt x="251" y="134"/>
                  <a:pt x="252" y="133"/>
                </a:cubicBezTo>
                <a:cubicBezTo>
                  <a:pt x="252" y="133"/>
                  <a:pt x="252" y="133"/>
                  <a:pt x="252" y="133"/>
                </a:cubicBezTo>
                <a:cubicBezTo>
                  <a:pt x="252" y="133"/>
                  <a:pt x="254" y="132"/>
                  <a:pt x="254" y="132"/>
                </a:cubicBezTo>
                <a:cubicBezTo>
                  <a:pt x="254" y="132"/>
                  <a:pt x="253" y="132"/>
                  <a:pt x="253" y="132"/>
                </a:cubicBezTo>
                <a:cubicBezTo>
                  <a:pt x="253" y="132"/>
                  <a:pt x="253" y="132"/>
                  <a:pt x="253" y="13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3" name="New Caledonia"/>
          <p:cNvSpPr>
            <a:spLocks noEditPoints="1"/>
          </p:cNvSpPr>
          <p:nvPr/>
        </p:nvSpPr>
        <p:spPr bwMode="auto">
          <a:xfrm>
            <a:off x="11314875" y="5422909"/>
            <a:ext cx="277990" cy="140995"/>
          </a:xfrm>
          <a:custGeom>
            <a:avLst/>
            <a:gdLst/>
            <a:ahLst/>
            <a:cxnLst>
              <a:cxn ang="0">
                <a:pos x="34" y="6"/>
              </a:cxn>
              <a:cxn ang="0">
                <a:pos x="39" y="12"/>
              </a:cxn>
              <a:cxn ang="0">
                <a:pos x="57" y="31"/>
              </a:cxn>
              <a:cxn ang="0">
                <a:pos x="55" y="28"/>
              </a:cxn>
              <a:cxn ang="0">
                <a:pos x="53" y="27"/>
              </a:cxn>
              <a:cxn ang="0">
                <a:pos x="51" y="26"/>
              </a:cxn>
              <a:cxn ang="0">
                <a:pos x="50" y="24"/>
              </a:cxn>
              <a:cxn ang="0">
                <a:pos x="49" y="23"/>
              </a:cxn>
              <a:cxn ang="0">
                <a:pos x="47" y="20"/>
              </a:cxn>
              <a:cxn ang="0">
                <a:pos x="43" y="17"/>
              </a:cxn>
              <a:cxn ang="0">
                <a:pos x="40" y="13"/>
              </a:cxn>
              <a:cxn ang="0">
                <a:pos x="38" y="13"/>
              </a:cxn>
              <a:cxn ang="0">
                <a:pos x="36" y="12"/>
              </a:cxn>
              <a:cxn ang="0">
                <a:pos x="37" y="13"/>
              </a:cxn>
              <a:cxn ang="0">
                <a:pos x="37" y="16"/>
              </a:cxn>
              <a:cxn ang="0">
                <a:pos x="39" y="20"/>
              </a:cxn>
              <a:cxn ang="0">
                <a:pos x="41" y="22"/>
              </a:cxn>
              <a:cxn ang="0">
                <a:pos x="42" y="24"/>
              </a:cxn>
              <a:cxn ang="0">
                <a:pos x="43" y="25"/>
              </a:cxn>
              <a:cxn ang="0">
                <a:pos x="45" y="27"/>
              </a:cxn>
              <a:cxn ang="0">
                <a:pos x="47" y="28"/>
              </a:cxn>
              <a:cxn ang="0">
                <a:pos x="49" y="29"/>
              </a:cxn>
              <a:cxn ang="0">
                <a:pos x="50" y="31"/>
              </a:cxn>
              <a:cxn ang="0">
                <a:pos x="52" y="32"/>
              </a:cxn>
              <a:cxn ang="0">
                <a:pos x="52" y="33"/>
              </a:cxn>
              <a:cxn ang="0">
                <a:pos x="53" y="35"/>
              </a:cxn>
              <a:cxn ang="0">
                <a:pos x="54" y="35"/>
              </a:cxn>
              <a:cxn ang="0">
                <a:pos x="56" y="35"/>
              </a:cxn>
              <a:cxn ang="0">
                <a:pos x="58" y="35"/>
              </a:cxn>
              <a:cxn ang="0">
                <a:pos x="59" y="36"/>
              </a:cxn>
              <a:cxn ang="0">
                <a:pos x="57" y="32"/>
              </a:cxn>
              <a:cxn ang="0">
                <a:pos x="77" y="39"/>
              </a:cxn>
              <a:cxn ang="0">
                <a:pos x="64" y="39"/>
              </a:cxn>
              <a:cxn ang="0">
                <a:pos x="60" y="14"/>
              </a:cxn>
              <a:cxn ang="0">
                <a:pos x="59" y="18"/>
              </a:cxn>
              <a:cxn ang="0">
                <a:pos x="61" y="15"/>
              </a:cxn>
              <a:cxn ang="0">
                <a:pos x="58" y="18"/>
              </a:cxn>
              <a:cxn ang="0">
                <a:pos x="66" y="20"/>
              </a:cxn>
              <a:cxn ang="0">
                <a:pos x="64" y="19"/>
              </a:cxn>
              <a:cxn ang="0">
                <a:pos x="64" y="20"/>
              </a:cxn>
              <a:cxn ang="0">
                <a:pos x="64" y="22"/>
              </a:cxn>
              <a:cxn ang="0">
                <a:pos x="67" y="21"/>
              </a:cxn>
              <a:cxn ang="0">
                <a:pos x="0" y="2"/>
              </a:cxn>
              <a:cxn ang="0">
                <a:pos x="0" y="1"/>
              </a:cxn>
              <a:cxn ang="0">
                <a:pos x="70" y="25"/>
              </a:cxn>
              <a:cxn ang="0">
                <a:pos x="70" y="28"/>
              </a:cxn>
              <a:cxn ang="0">
                <a:pos x="72" y="27"/>
              </a:cxn>
            </a:cxnLst>
            <a:rect l="0" t="0" r="r" b="b"/>
            <a:pathLst>
              <a:path w="77" h="39">
                <a:moveTo>
                  <a:pt x="34" y="6"/>
                </a:moveTo>
                <a:cubicBezTo>
                  <a:pt x="34" y="6"/>
                  <a:pt x="35" y="7"/>
                  <a:pt x="34" y="8"/>
                </a:cubicBezTo>
                <a:cubicBezTo>
                  <a:pt x="34" y="8"/>
                  <a:pt x="34" y="6"/>
                  <a:pt x="34" y="6"/>
                </a:cubicBezTo>
                <a:close/>
                <a:moveTo>
                  <a:pt x="39" y="12"/>
                </a:moveTo>
                <a:cubicBezTo>
                  <a:pt x="39" y="12"/>
                  <a:pt x="39" y="11"/>
                  <a:pt x="38" y="11"/>
                </a:cubicBezTo>
                <a:cubicBezTo>
                  <a:pt x="38" y="11"/>
                  <a:pt x="38" y="12"/>
                  <a:pt x="39" y="12"/>
                </a:cubicBezTo>
                <a:close/>
                <a:moveTo>
                  <a:pt x="57" y="32"/>
                </a:moveTo>
                <a:cubicBezTo>
                  <a:pt x="57" y="32"/>
                  <a:pt x="58" y="32"/>
                  <a:pt x="58" y="32"/>
                </a:cubicBezTo>
                <a:cubicBezTo>
                  <a:pt x="58" y="31"/>
                  <a:pt x="57" y="31"/>
                  <a:pt x="57" y="31"/>
                </a:cubicBezTo>
                <a:cubicBezTo>
                  <a:pt x="57" y="31"/>
                  <a:pt x="57" y="31"/>
                  <a:pt x="56" y="30"/>
                </a:cubicBezTo>
                <a:cubicBezTo>
                  <a:pt x="56" y="30"/>
                  <a:pt x="56" y="29"/>
                  <a:pt x="55" y="29"/>
                </a:cubicBezTo>
                <a:cubicBezTo>
                  <a:pt x="55" y="29"/>
                  <a:pt x="55" y="28"/>
                  <a:pt x="55" y="28"/>
                </a:cubicBezTo>
                <a:cubicBezTo>
                  <a:pt x="55" y="28"/>
                  <a:pt x="54" y="28"/>
                  <a:pt x="54" y="28"/>
                </a:cubicBezTo>
                <a:cubicBezTo>
                  <a:pt x="54" y="28"/>
                  <a:pt x="54" y="27"/>
                  <a:pt x="53" y="27"/>
                </a:cubicBezTo>
                <a:cubicBezTo>
                  <a:pt x="53" y="27"/>
                  <a:pt x="53" y="27"/>
                  <a:pt x="53" y="27"/>
                </a:cubicBezTo>
                <a:cubicBezTo>
                  <a:pt x="53" y="27"/>
                  <a:pt x="53" y="27"/>
                  <a:pt x="53" y="27"/>
                </a:cubicBezTo>
                <a:cubicBezTo>
                  <a:pt x="53" y="27"/>
                  <a:pt x="52" y="25"/>
                  <a:pt x="52" y="26"/>
                </a:cubicBezTo>
                <a:cubicBezTo>
                  <a:pt x="52" y="26"/>
                  <a:pt x="52" y="27"/>
                  <a:pt x="51" y="26"/>
                </a:cubicBezTo>
                <a:cubicBezTo>
                  <a:pt x="52" y="26"/>
                  <a:pt x="51" y="25"/>
                  <a:pt x="51" y="25"/>
                </a:cubicBezTo>
                <a:cubicBezTo>
                  <a:pt x="51" y="25"/>
                  <a:pt x="51" y="25"/>
                  <a:pt x="51" y="26"/>
                </a:cubicBezTo>
                <a:cubicBezTo>
                  <a:pt x="51" y="25"/>
                  <a:pt x="51" y="25"/>
                  <a:pt x="50" y="24"/>
                </a:cubicBezTo>
                <a:cubicBezTo>
                  <a:pt x="49" y="24"/>
                  <a:pt x="49" y="24"/>
                  <a:pt x="49" y="23"/>
                </a:cubicBezTo>
                <a:cubicBezTo>
                  <a:pt x="49" y="23"/>
                  <a:pt x="49" y="23"/>
                  <a:pt x="49" y="23"/>
                </a:cubicBezTo>
                <a:cubicBezTo>
                  <a:pt x="49" y="23"/>
                  <a:pt x="49" y="23"/>
                  <a:pt x="49" y="23"/>
                </a:cubicBezTo>
                <a:cubicBezTo>
                  <a:pt x="48" y="22"/>
                  <a:pt x="47" y="22"/>
                  <a:pt x="48" y="21"/>
                </a:cubicBezTo>
                <a:cubicBezTo>
                  <a:pt x="48" y="21"/>
                  <a:pt x="48" y="20"/>
                  <a:pt x="47" y="20"/>
                </a:cubicBezTo>
                <a:cubicBezTo>
                  <a:pt x="47" y="20"/>
                  <a:pt x="47" y="20"/>
                  <a:pt x="47" y="20"/>
                </a:cubicBezTo>
                <a:cubicBezTo>
                  <a:pt x="46" y="19"/>
                  <a:pt x="47" y="19"/>
                  <a:pt x="46" y="18"/>
                </a:cubicBezTo>
                <a:cubicBezTo>
                  <a:pt x="45" y="18"/>
                  <a:pt x="45" y="18"/>
                  <a:pt x="44" y="17"/>
                </a:cubicBezTo>
                <a:cubicBezTo>
                  <a:pt x="44" y="17"/>
                  <a:pt x="44" y="17"/>
                  <a:pt x="43" y="17"/>
                </a:cubicBezTo>
                <a:cubicBezTo>
                  <a:pt x="43" y="16"/>
                  <a:pt x="43" y="16"/>
                  <a:pt x="43" y="16"/>
                </a:cubicBezTo>
                <a:cubicBezTo>
                  <a:pt x="42" y="15"/>
                  <a:pt x="42" y="15"/>
                  <a:pt x="42" y="15"/>
                </a:cubicBezTo>
                <a:cubicBezTo>
                  <a:pt x="41" y="13"/>
                  <a:pt x="41" y="13"/>
                  <a:pt x="40" y="13"/>
                </a:cubicBezTo>
                <a:cubicBezTo>
                  <a:pt x="39" y="13"/>
                  <a:pt x="39" y="13"/>
                  <a:pt x="39" y="14"/>
                </a:cubicBezTo>
                <a:cubicBezTo>
                  <a:pt x="39" y="14"/>
                  <a:pt x="39" y="13"/>
                  <a:pt x="39" y="13"/>
                </a:cubicBezTo>
                <a:cubicBezTo>
                  <a:pt x="39" y="13"/>
                  <a:pt x="38" y="13"/>
                  <a:pt x="38" y="13"/>
                </a:cubicBezTo>
                <a:cubicBezTo>
                  <a:pt x="38" y="13"/>
                  <a:pt x="38" y="12"/>
                  <a:pt x="37" y="12"/>
                </a:cubicBezTo>
                <a:cubicBezTo>
                  <a:pt x="37" y="12"/>
                  <a:pt x="37" y="11"/>
                  <a:pt x="37" y="11"/>
                </a:cubicBezTo>
                <a:cubicBezTo>
                  <a:pt x="36" y="11"/>
                  <a:pt x="36" y="12"/>
                  <a:pt x="36" y="12"/>
                </a:cubicBezTo>
                <a:cubicBezTo>
                  <a:pt x="36" y="12"/>
                  <a:pt x="37" y="11"/>
                  <a:pt x="37" y="12"/>
                </a:cubicBezTo>
                <a:cubicBezTo>
                  <a:pt x="37" y="12"/>
                  <a:pt x="37" y="13"/>
                  <a:pt x="37" y="13"/>
                </a:cubicBezTo>
                <a:cubicBezTo>
                  <a:pt x="36" y="12"/>
                  <a:pt x="37" y="14"/>
                  <a:pt x="37" y="13"/>
                </a:cubicBezTo>
                <a:cubicBezTo>
                  <a:pt x="37" y="14"/>
                  <a:pt x="38" y="13"/>
                  <a:pt x="38" y="14"/>
                </a:cubicBezTo>
                <a:cubicBezTo>
                  <a:pt x="38" y="14"/>
                  <a:pt x="37" y="14"/>
                  <a:pt x="37" y="14"/>
                </a:cubicBezTo>
                <a:cubicBezTo>
                  <a:pt x="37" y="15"/>
                  <a:pt x="37" y="15"/>
                  <a:pt x="37" y="16"/>
                </a:cubicBezTo>
                <a:cubicBezTo>
                  <a:pt x="37" y="16"/>
                  <a:pt x="38" y="16"/>
                  <a:pt x="38" y="17"/>
                </a:cubicBezTo>
                <a:cubicBezTo>
                  <a:pt x="38" y="17"/>
                  <a:pt x="39" y="18"/>
                  <a:pt x="38" y="18"/>
                </a:cubicBezTo>
                <a:cubicBezTo>
                  <a:pt x="38" y="19"/>
                  <a:pt x="39" y="19"/>
                  <a:pt x="39" y="20"/>
                </a:cubicBezTo>
                <a:cubicBezTo>
                  <a:pt x="40" y="20"/>
                  <a:pt x="40" y="20"/>
                  <a:pt x="41" y="20"/>
                </a:cubicBezTo>
                <a:cubicBezTo>
                  <a:pt x="41" y="20"/>
                  <a:pt x="41" y="21"/>
                  <a:pt x="41" y="21"/>
                </a:cubicBezTo>
                <a:cubicBezTo>
                  <a:pt x="41" y="22"/>
                  <a:pt x="41" y="22"/>
                  <a:pt x="41" y="22"/>
                </a:cubicBezTo>
                <a:cubicBezTo>
                  <a:pt x="41" y="22"/>
                  <a:pt x="42" y="22"/>
                  <a:pt x="42" y="22"/>
                </a:cubicBezTo>
                <a:cubicBezTo>
                  <a:pt x="42" y="22"/>
                  <a:pt x="42" y="23"/>
                  <a:pt x="42" y="23"/>
                </a:cubicBezTo>
                <a:cubicBezTo>
                  <a:pt x="42" y="23"/>
                  <a:pt x="42" y="24"/>
                  <a:pt x="42" y="24"/>
                </a:cubicBezTo>
                <a:cubicBezTo>
                  <a:pt x="42" y="24"/>
                  <a:pt x="43" y="25"/>
                  <a:pt x="43" y="25"/>
                </a:cubicBezTo>
                <a:cubicBezTo>
                  <a:pt x="43" y="25"/>
                  <a:pt x="43" y="25"/>
                  <a:pt x="43" y="25"/>
                </a:cubicBezTo>
                <a:cubicBezTo>
                  <a:pt x="43" y="25"/>
                  <a:pt x="43" y="25"/>
                  <a:pt x="43" y="25"/>
                </a:cubicBezTo>
                <a:cubicBezTo>
                  <a:pt x="43" y="26"/>
                  <a:pt x="44" y="25"/>
                  <a:pt x="44" y="25"/>
                </a:cubicBezTo>
                <a:cubicBezTo>
                  <a:pt x="44" y="25"/>
                  <a:pt x="44" y="26"/>
                  <a:pt x="44" y="26"/>
                </a:cubicBezTo>
                <a:cubicBezTo>
                  <a:pt x="44" y="26"/>
                  <a:pt x="45" y="26"/>
                  <a:pt x="45" y="27"/>
                </a:cubicBezTo>
                <a:cubicBezTo>
                  <a:pt x="45" y="27"/>
                  <a:pt x="45" y="28"/>
                  <a:pt x="46" y="28"/>
                </a:cubicBezTo>
                <a:cubicBezTo>
                  <a:pt x="46" y="28"/>
                  <a:pt x="46" y="28"/>
                  <a:pt x="47" y="28"/>
                </a:cubicBezTo>
                <a:cubicBezTo>
                  <a:pt x="47" y="28"/>
                  <a:pt x="47" y="28"/>
                  <a:pt x="47" y="28"/>
                </a:cubicBezTo>
                <a:cubicBezTo>
                  <a:pt x="47" y="28"/>
                  <a:pt x="47" y="28"/>
                  <a:pt x="47" y="28"/>
                </a:cubicBezTo>
                <a:cubicBezTo>
                  <a:pt x="46" y="29"/>
                  <a:pt x="48" y="29"/>
                  <a:pt x="48" y="29"/>
                </a:cubicBezTo>
                <a:cubicBezTo>
                  <a:pt x="49" y="29"/>
                  <a:pt x="49" y="29"/>
                  <a:pt x="49" y="29"/>
                </a:cubicBezTo>
                <a:cubicBezTo>
                  <a:pt x="49" y="29"/>
                  <a:pt x="49" y="30"/>
                  <a:pt x="49" y="30"/>
                </a:cubicBezTo>
                <a:cubicBezTo>
                  <a:pt x="49" y="30"/>
                  <a:pt x="50" y="30"/>
                  <a:pt x="49" y="30"/>
                </a:cubicBezTo>
                <a:cubicBezTo>
                  <a:pt x="50" y="31"/>
                  <a:pt x="50" y="31"/>
                  <a:pt x="50" y="31"/>
                </a:cubicBezTo>
                <a:cubicBezTo>
                  <a:pt x="50" y="31"/>
                  <a:pt x="51" y="32"/>
                  <a:pt x="51" y="32"/>
                </a:cubicBezTo>
                <a:cubicBezTo>
                  <a:pt x="51" y="31"/>
                  <a:pt x="52" y="31"/>
                  <a:pt x="52" y="31"/>
                </a:cubicBezTo>
                <a:cubicBezTo>
                  <a:pt x="52" y="31"/>
                  <a:pt x="52" y="32"/>
                  <a:pt x="52" y="32"/>
                </a:cubicBezTo>
                <a:cubicBezTo>
                  <a:pt x="52" y="32"/>
                  <a:pt x="52" y="32"/>
                  <a:pt x="52" y="32"/>
                </a:cubicBezTo>
                <a:cubicBezTo>
                  <a:pt x="52" y="32"/>
                  <a:pt x="52" y="33"/>
                  <a:pt x="52" y="33"/>
                </a:cubicBezTo>
                <a:cubicBezTo>
                  <a:pt x="52" y="33"/>
                  <a:pt x="52" y="33"/>
                  <a:pt x="52" y="33"/>
                </a:cubicBezTo>
                <a:cubicBezTo>
                  <a:pt x="52" y="33"/>
                  <a:pt x="52" y="33"/>
                  <a:pt x="52" y="34"/>
                </a:cubicBezTo>
                <a:cubicBezTo>
                  <a:pt x="53" y="34"/>
                  <a:pt x="53" y="34"/>
                  <a:pt x="53" y="34"/>
                </a:cubicBezTo>
                <a:cubicBezTo>
                  <a:pt x="53" y="34"/>
                  <a:pt x="54" y="34"/>
                  <a:pt x="53" y="35"/>
                </a:cubicBezTo>
                <a:cubicBezTo>
                  <a:pt x="54" y="34"/>
                  <a:pt x="54" y="34"/>
                  <a:pt x="54" y="34"/>
                </a:cubicBezTo>
                <a:cubicBezTo>
                  <a:pt x="54" y="35"/>
                  <a:pt x="54" y="35"/>
                  <a:pt x="54" y="35"/>
                </a:cubicBezTo>
                <a:cubicBezTo>
                  <a:pt x="54" y="35"/>
                  <a:pt x="54" y="36"/>
                  <a:pt x="54" y="35"/>
                </a:cubicBezTo>
                <a:cubicBezTo>
                  <a:pt x="54" y="35"/>
                  <a:pt x="55" y="34"/>
                  <a:pt x="55" y="35"/>
                </a:cubicBezTo>
                <a:cubicBezTo>
                  <a:pt x="55" y="35"/>
                  <a:pt x="55" y="35"/>
                  <a:pt x="56" y="35"/>
                </a:cubicBezTo>
                <a:cubicBezTo>
                  <a:pt x="56" y="35"/>
                  <a:pt x="56" y="35"/>
                  <a:pt x="56" y="35"/>
                </a:cubicBezTo>
                <a:cubicBezTo>
                  <a:pt x="56" y="35"/>
                  <a:pt x="57" y="36"/>
                  <a:pt x="57" y="36"/>
                </a:cubicBezTo>
                <a:cubicBezTo>
                  <a:pt x="56" y="36"/>
                  <a:pt x="57" y="36"/>
                  <a:pt x="57" y="36"/>
                </a:cubicBezTo>
                <a:cubicBezTo>
                  <a:pt x="58" y="36"/>
                  <a:pt x="58" y="36"/>
                  <a:pt x="58" y="35"/>
                </a:cubicBezTo>
                <a:cubicBezTo>
                  <a:pt x="58" y="36"/>
                  <a:pt x="58" y="36"/>
                  <a:pt x="58" y="36"/>
                </a:cubicBezTo>
                <a:cubicBezTo>
                  <a:pt x="58" y="35"/>
                  <a:pt x="58" y="36"/>
                  <a:pt x="58" y="36"/>
                </a:cubicBezTo>
                <a:cubicBezTo>
                  <a:pt x="58" y="37"/>
                  <a:pt x="59" y="36"/>
                  <a:pt x="59" y="36"/>
                </a:cubicBezTo>
                <a:cubicBezTo>
                  <a:pt x="59" y="36"/>
                  <a:pt x="60" y="35"/>
                  <a:pt x="60" y="35"/>
                </a:cubicBezTo>
                <a:cubicBezTo>
                  <a:pt x="60" y="35"/>
                  <a:pt x="59" y="34"/>
                  <a:pt x="59" y="33"/>
                </a:cubicBezTo>
                <a:cubicBezTo>
                  <a:pt x="60" y="32"/>
                  <a:pt x="58" y="32"/>
                  <a:pt x="57" y="32"/>
                </a:cubicBezTo>
                <a:close/>
                <a:moveTo>
                  <a:pt x="77" y="39"/>
                </a:moveTo>
                <a:cubicBezTo>
                  <a:pt x="77" y="39"/>
                  <a:pt x="77" y="39"/>
                  <a:pt x="77" y="39"/>
                </a:cubicBezTo>
                <a:cubicBezTo>
                  <a:pt x="77" y="39"/>
                  <a:pt x="77" y="39"/>
                  <a:pt x="77" y="39"/>
                </a:cubicBezTo>
                <a:close/>
                <a:moveTo>
                  <a:pt x="63" y="38"/>
                </a:moveTo>
                <a:cubicBezTo>
                  <a:pt x="62" y="38"/>
                  <a:pt x="63" y="39"/>
                  <a:pt x="63" y="39"/>
                </a:cubicBezTo>
                <a:cubicBezTo>
                  <a:pt x="63" y="39"/>
                  <a:pt x="63" y="39"/>
                  <a:pt x="64" y="39"/>
                </a:cubicBezTo>
                <a:cubicBezTo>
                  <a:pt x="64" y="39"/>
                  <a:pt x="64" y="39"/>
                  <a:pt x="64" y="38"/>
                </a:cubicBezTo>
                <a:cubicBezTo>
                  <a:pt x="63" y="38"/>
                  <a:pt x="63" y="38"/>
                  <a:pt x="63" y="38"/>
                </a:cubicBezTo>
                <a:close/>
                <a:moveTo>
                  <a:pt x="60" y="14"/>
                </a:moveTo>
                <a:cubicBezTo>
                  <a:pt x="60" y="14"/>
                  <a:pt x="61" y="15"/>
                  <a:pt x="60" y="15"/>
                </a:cubicBezTo>
                <a:cubicBezTo>
                  <a:pt x="60" y="16"/>
                  <a:pt x="60" y="17"/>
                  <a:pt x="59" y="18"/>
                </a:cubicBezTo>
                <a:cubicBezTo>
                  <a:pt x="59" y="18"/>
                  <a:pt x="59" y="18"/>
                  <a:pt x="59" y="18"/>
                </a:cubicBezTo>
                <a:cubicBezTo>
                  <a:pt x="59" y="18"/>
                  <a:pt x="59" y="18"/>
                  <a:pt x="59" y="18"/>
                </a:cubicBezTo>
                <a:cubicBezTo>
                  <a:pt x="59" y="18"/>
                  <a:pt x="60" y="17"/>
                  <a:pt x="60" y="17"/>
                </a:cubicBezTo>
                <a:cubicBezTo>
                  <a:pt x="60" y="17"/>
                  <a:pt x="61" y="15"/>
                  <a:pt x="61" y="15"/>
                </a:cubicBezTo>
                <a:cubicBezTo>
                  <a:pt x="61" y="15"/>
                  <a:pt x="61" y="14"/>
                  <a:pt x="60" y="14"/>
                </a:cubicBezTo>
                <a:close/>
                <a:moveTo>
                  <a:pt x="58" y="18"/>
                </a:moveTo>
                <a:cubicBezTo>
                  <a:pt x="58" y="18"/>
                  <a:pt x="58" y="18"/>
                  <a:pt x="58" y="18"/>
                </a:cubicBezTo>
                <a:cubicBezTo>
                  <a:pt x="58" y="18"/>
                  <a:pt x="58" y="18"/>
                  <a:pt x="58" y="18"/>
                </a:cubicBezTo>
                <a:cubicBezTo>
                  <a:pt x="58" y="18"/>
                  <a:pt x="58" y="18"/>
                  <a:pt x="58" y="18"/>
                </a:cubicBezTo>
                <a:close/>
                <a:moveTo>
                  <a:pt x="66" y="20"/>
                </a:moveTo>
                <a:cubicBezTo>
                  <a:pt x="66" y="20"/>
                  <a:pt x="66" y="20"/>
                  <a:pt x="66" y="19"/>
                </a:cubicBezTo>
                <a:cubicBezTo>
                  <a:pt x="66" y="19"/>
                  <a:pt x="67" y="18"/>
                  <a:pt x="66" y="18"/>
                </a:cubicBezTo>
                <a:cubicBezTo>
                  <a:pt x="65" y="18"/>
                  <a:pt x="63" y="18"/>
                  <a:pt x="64" y="19"/>
                </a:cubicBezTo>
                <a:cubicBezTo>
                  <a:pt x="64" y="19"/>
                  <a:pt x="65" y="18"/>
                  <a:pt x="65" y="18"/>
                </a:cubicBezTo>
                <a:cubicBezTo>
                  <a:pt x="65" y="19"/>
                  <a:pt x="65" y="19"/>
                  <a:pt x="65" y="19"/>
                </a:cubicBezTo>
                <a:cubicBezTo>
                  <a:pt x="65" y="20"/>
                  <a:pt x="64" y="20"/>
                  <a:pt x="64" y="20"/>
                </a:cubicBezTo>
                <a:cubicBezTo>
                  <a:pt x="64" y="20"/>
                  <a:pt x="63" y="20"/>
                  <a:pt x="63" y="20"/>
                </a:cubicBezTo>
                <a:cubicBezTo>
                  <a:pt x="63" y="20"/>
                  <a:pt x="63" y="21"/>
                  <a:pt x="64" y="21"/>
                </a:cubicBezTo>
                <a:cubicBezTo>
                  <a:pt x="64" y="22"/>
                  <a:pt x="64" y="22"/>
                  <a:pt x="64" y="22"/>
                </a:cubicBezTo>
                <a:cubicBezTo>
                  <a:pt x="65" y="22"/>
                  <a:pt x="65" y="22"/>
                  <a:pt x="65" y="22"/>
                </a:cubicBezTo>
                <a:cubicBezTo>
                  <a:pt x="65" y="23"/>
                  <a:pt x="66" y="23"/>
                  <a:pt x="66" y="23"/>
                </a:cubicBezTo>
                <a:cubicBezTo>
                  <a:pt x="66" y="23"/>
                  <a:pt x="67" y="22"/>
                  <a:pt x="67" y="21"/>
                </a:cubicBezTo>
                <a:cubicBezTo>
                  <a:pt x="66" y="21"/>
                  <a:pt x="67" y="21"/>
                  <a:pt x="66" y="20"/>
                </a:cubicBezTo>
                <a:close/>
                <a:moveTo>
                  <a:pt x="0" y="1"/>
                </a:moveTo>
                <a:cubicBezTo>
                  <a:pt x="0" y="1"/>
                  <a:pt x="0" y="1"/>
                  <a:pt x="0" y="2"/>
                </a:cubicBezTo>
                <a:cubicBezTo>
                  <a:pt x="0" y="2"/>
                  <a:pt x="0" y="3"/>
                  <a:pt x="0" y="3"/>
                </a:cubicBezTo>
                <a:cubicBezTo>
                  <a:pt x="0" y="2"/>
                  <a:pt x="0" y="2"/>
                  <a:pt x="0" y="1"/>
                </a:cubicBezTo>
                <a:cubicBezTo>
                  <a:pt x="0" y="1"/>
                  <a:pt x="1" y="0"/>
                  <a:pt x="0" y="1"/>
                </a:cubicBezTo>
                <a:close/>
                <a:moveTo>
                  <a:pt x="71" y="26"/>
                </a:moveTo>
                <a:cubicBezTo>
                  <a:pt x="71" y="26"/>
                  <a:pt x="71" y="25"/>
                  <a:pt x="71" y="25"/>
                </a:cubicBezTo>
                <a:cubicBezTo>
                  <a:pt x="71" y="25"/>
                  <a:pt x="71" y="25"/>
                  <a:pt x="70" y="25"/>
                </a:cubicBezTo>
                <a:cubicBezTo>
                  <a:pt x="70" y="25"/>
                  <a:pt x="70" y="25"/>
                  <a:pt x="70" y="25"/>
                </a:cubicBezTo>
                <a:cubicBezTo>
                  <a:pt x="70" y="26"/>
                  <a:pt x="70" y="26"/>
                  <a:pt x="70" y="27"/>
                </a:cubicBezTo>
                <a:cubicBezTo>
                  <a:pt x="70" y="27"/>
                  <a:pt x="70" y="28"/>
                  <a:pt x="70" y="28"/>
                </a:cubicBezTo>
                <a:cubicBezTo>
                  <a:pt x="70" y="28"/>
                  <a:pt x="70" y="28"/>
                  <a:pt x="70" y="28"/>
                </a:cubicBezTo>
                <a:cubicBezTo>
                  <a:pt x="71" y="28"/>
                  <a:pt x="70" y="28"/>
                  <a:pt x="71" y="28"/>
                </a:cubicBezTo>
                <a:cubicBezTo>
                  <a:pt x="71" y="28"/>
                  <a:pt x="72" y="28"/>
                  <a:pt x="72" y="27"/>
                </a:cubicBezTo>
                <a:cubicBezTo>
                  <a:pt x="72" y="27"/>
                  <a:pt x="73" y="26"/>
                  <a:pt x="73" y="26"/>
                </a:cubicBezTo>
                <a:cubicBezTo>
                  <a:pt x="73" y="26"/>
                  <a:pt x="72" y="26"/>
                  <a:pt x="71" y="2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4" name="Netherlands Antilles"/>
          <p:cNvSpPr>
            <a:spLocks noEditPoints="1"/>
          </p:cNvSpPr>
          <p:nvPr/>
        </p:nvSpPr>
        <p:spPr bwMode="auto">
          <a:xfrm>
            <a:off x="3357174" y="3947963"/>
            <a:ext cx="267990" cy="237991"/>
          </a:xfrm>
          <a:custGeom>
            <a:avLst/>
            <a:gdLst/>
            <a:ahLst/>
            <a:cxnLst>
              <a:cxn ang="0">
                <a:pos x="12" y="66"/>
              </a:cxn>
              <a:cxn ang="0">
                <a:pos x="12" y="66"/>
              </a:cxn>
              <a:cxn ang="0">
                <a:pos x="10" y="65"/>
              </a:cxn>
              <a:cxn ang="0">
                <a:pos x="9" y="64"/>
              </a:cxn>
              <a:cxn ang="0">
                <a:pos x="9" y="64"/>
              </a:cxn>
              <a:cxn ang="0">
                <a:pos x="9" y="64"/>
              </a:cxn>
              <a:cxn ang="0">
                <a:pos x="8" y="63"/>
              </a:cxn>
              <a:cxn ang="0">
                <a:pos x="8" y="62"/>
              </a:cxn>
              <a:cxn ang="0">
                <a:pos x="9" y="63"/>
              </a:cxn>
              <a:cxn ang="0">
                <a:pos x="10" y="64"/>
              </a:cxn>
              <a:cxn ang="0">
                <a:pos x="11" y="64"/>
              </a:cxn>
              <a:cxn ang="0">
                <a:pos x="12" y="66"/>
              </a:cxn>
              <a:cxn ang="0">
                <a:pos x="73" y="6"/>
              </a:cxn>
              <a:cxn ang="0">
                <a:pos x="73" y="6"/>
              </a:cxn>
              <a:cxn ang="0">
                <a:pos x="17" y="64"/>
              </a:cxn>
              <a:cxn ang="0">
                <a:pos x="16" y="63"/>
              </a:cxn>
              <a:cxn ang="0">
                <a:pos x="15" y="63"/>
              </a:cxn>
              <a:cxn ang="0">
                <a:pos x="16" y="64"/>
              </a:cxn>
              <a:cxn ang="0">
                <a:pos x="16" y="64"/>
              </a:cxn>
              <a:cxn ang="0">
                <a:pos x="17" y="66"/>
              </a:cxn>
              <a:cxn ang="0">
                <a:pos x="17" y="65"/>
              </a:cxn>
              <a:cxn ang="0">
                <a:pos x="17" y="65"/>
              </a:cxn>
              <a:cxn ang="0">
                <a:pos x="17" y="64"/>
              </a:cxn>
              <a:cxn ang="0">
                <a:pos x="17" y="64"/>
              </a:cxn>
              <a:cxn ang="0">
                <a:pos x="73" y="0"/>
              </a:cxn>
              <a:cxn ang="0">
                <a:pos x="72" y="0"/>
              </a:cxn>
              <a:cxn ang="0">
                <a:pos x="72" y="0"/>
              </a:cxn>
              <a:cxn ang="0">
                <a:pos x="73" y="0"/>
              </a:cxn>
              <a:cxn ang="0">
                <a:pos x="1" y="61"/>
              </a:cxn>
              <a:cxn ang="0">
                <a:pos x="1" y="60"/>
              </a:cxn>
              <a:cxn ang="0">
                <a:pos x="0" y="59"/>
              </a:cxn>
              <a:cxn ang="0">
                <a:pos x="0" y="60"/>
              </a:cxn>
              <a:cxn ang="0">
                <a:pos x="0" y="61"/>
              </a:cxn>
              <a:cxn ang="0">
                <a:pos x="1" y="62"/>
              </a:cxn>
              <a:cxn ang="0">
                <a:pos x="1" y="62"/>
              </a:cxn>
              <a:cxn ang="0">
                <a:pos x="1" y="61"/>
              </a:cxn>
            </a:cxnLst>
            <a:rect l="0" t="0" r="r" b="b"/>
            <a:pathLst>
              <a:path w="74" h="66">
                <a:moveTo>
                  <a:pt x="12" y="66"/>
                </a:moveTo>
                <a:cubicBezTo>
                  <a:pt x="12" y="66"/>
                  <a:pt x="12" y="66"/>
                  <a:pt x="12" y="66"/>
                </a:cubicBezTo>
                <a:cubicBezTo>
                  <a:pt x="11" y="66"/>
                  <a:pt x="11" y="66"/>
                  <a:pt x="10" y="65"/>
                </a:cubicBezTo>
                <a:cubicBezTo>
                  <a:pt x="10" y="65"/>
                  <a:pt x="10" y="64"/>
                  <a:pt x="9" y="64"/>
                </a:cubicBezTo>
                <a:cubicBezTo>
                  <a:pt x="9" y="64"/>
                  <a:pt x="9" y="64"/>
                  <a:pt x="9" y="64"/>
                </a:cubicBezTo>
                <a:cubicBezTo>
                  <a:pt x="9" y="64"/>
                  <a:pt x="9" y="64"/>
                  <a:pt x="9" y="64"/>
                </a:cubicBezTo>
                <a:cubicBezTo>
                  <a:pt x="9" y="64"/>
                  <a:pt x="8" y="63"/>
                  <a:pt x="8" y="63"/>
                </a:cubicBezTo>
                <a:cubicBezTo>
                  <a:pt x="8" y="63"/>
                  <a:pt x="8" y="62"/>
                  <a:pt x="8" y="62"/>
                </a:cubicBezTo>
                <a:cubicBezTo>
                  <a:pt x="9" y="62"/>
                  <a:pt x="9" y="63"/>
                  <a:pt x="9" y="63"/>
                </a:cubicBezTo>
                <a:cubicBezTo>
                  <a:pt x="9" y="63"/>
                  <a:pt x="9" y="64"/>
                  <a:pt x="10" y="64"/>
                </a:cubicBezTo>
                <a:cubicBezTo>
                  <a:pt x="10" y="64"/>
                  <a:pt x="11" y="64"/>
                  <a:pt x="11" y="64"/>
                </a:cubicBezTo>
                <a:cubicBezTo>
                  <a:pt x="11" y="65"/>
                  <a:pt x="12" y="65"/>
                  <a:pt x="12" y="66"/>
                </a:cubicBezTo>
                <a:close/>
                <a:moveTo>
                  <a:pt x="73" y="6"/>
                </a:moveTo>
                <a:cubicBezTo>
                  <a:pt x="74" y="6"/>
                  <a:pt x="72" y="5"/>
                  <a:pt x="73" y="6"/>
                </a:cubicBezTo>
                <a:close/>
                <a:moveTo>
                  <a:pt x="17" y="64"/>
                </a:moveTo>
                <a:cubicBezTo>
                  <a:pt x="17" y="64"/>
                  <a:pt x="16" y="64"/>
                  <a:pt x="16" y="63"/>
                </a:cubicBezTo>
                <a:cubicBezTo>
                  <a:pt x="16" y="63"/>
                  <a:pt x="16" y="63"/>
                  <a:pt x="15" y="63"/>
                </a:cubicBezTo>
                <a:cubicBezTo>
                  <a:pt x="15" y="64"/>
                  <a:pt x="16" y="64"/>
                  <a:pt x="16" y="64"/>
                </a:cubicBezTo>
                <a:cubicBezTo>
                  <a:pt x="16" y="64"/>
                  <a:pt x="16" y="64"/>
                  <a:pt x="16" y="64"/>
                </a:cubicBezTo>
                <a:cubicBezTo>
                  <a:pt x="17" y="65"/>
                  <a:pt x="16" y="66"/>
                  <a:pt x="17" y="66"/>
                </a:cubicBezTo>
                <a:cubicBezTo>
                  <a:pt x="17" y="66"/>
                  <a:pt x="17" y="66"/>
                  <a:pt x="17" y="65"/>
                </a:cubicBezTo>
                <a:cubicBezTo>
                  <a:pt x="17" y="65"/>
                  <a:pt x="17" y="65"/>
                  <a:pt x="17" y="65"/>
                </a:cubicBezTo>
                <a:cubicBezTo>
                  <a:pt x="17" y="65"/>
                  <a:pt x="17" y="65"/>
                  <a:pt x="17" y="64"/>
                </a:cubicBezTo>
                <a:cubicBezTo>
                  <a:pt x="17" y="64"/>
                  <a:pt x="18" y="64"/>
                  <a:pt x="17" y="64"/>
                </a:cubicBezTo>
                <a:close/>
                <a:moveTo>
                  <a:pt x="73" y="0"/>
                </a:moveTo>
                <a:cubicBezTo>
                  <a:pt x="73" y="0"/>
                  <a:pt x="72" y="0"/>
                  <a:pt x="72" y="0"/>
                </a:cubicBezTo>
                <a:cubicBezTo>
                  <a:pt x="72" y="0"/>
                  <a:pt x="72" y="0"/>
                  <a:pt x="72" y="0"/>
                </a:cubicBezTo>
                <a:cubicBezTo>
                  <a:pt x="72" y="0"/>
                  <a:pt x="73" y="0"/>
                  <a:pt x="73" y="0"/>
                </a:cubicBezTo>
                <a:close/>
                <a:moveTo>
                  <a:pt x="1" y="61"/>
                </a:moveTo>
                <a:cubicBezTo>
                  <a:pt x="1" y="61"/>
                  <a:pt x="1" y="61"/>
                  <a:pt x="1" y="60"/>
                </a:cubicBezTo>
                <a:cubicBezTo>
                  <a:pt x="0" y="60"/>
                  <a:pt x="0" y="59"/>
                  <a:pt x="0" y="59"/>
                </a:cubicBezTo>
                <a:cubicBezTo>
                  <a:pt x="0" y="59"/>
                  <a:pt x="0" y="60"/>
                  <a:pt x="0" y="60"/>
                </a:cubicBezTo>
                <a:cubicBezTo>
                  <a:pt x="0" y="61"/>
                  <a:pt x="0" y="61"/>
                  <a:pt x="0" y="61"/>
                </a:cubicBezTo>
                <a:cubicBezTo>
                  <a:pt x="0" y="61"/>
                  <a:pt x="1" y="61"/>
                  <a:pt x="1" y="62"/>
                </a:cubicBezTo>
                <a:cubicBezTo>
                  <a:pt x="1" y="62"/>
                  <a:pt x="1" y="62"/>
                  <a:pt x="1" y="62"/>
                </a:cubicBezTo>
                <a:cubicBezTo>
                  <a:pt x="1" y="62"/>
                  <a:pt x="2" y="62"/>
                  <a:pt x="1" y="6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5" name="Netherlands"/>
          <p:cNvSpPr>
            <a:spLocks noEditPoints="1"/>
          </p:cNvSpPr>
          <p:nvPr/>
        </p:nvSpPr>
        <p:spPr bwMode="auto">
          <a:xfrm>
            <a:off x="5944077" y="2548016"/>
            <a:ext cx="118996" cy="107996"/>
          </a:xfrm>
          <a:custGeom>
            <a:avLst/>
            <a:gdLst/>
            <a:ahLst/>
            <a:cxnLst>
              <a:cxn ang="0">
                <a:pos x="25" y="1"/>
              </a:cxn>
              <a:cxn ang="0">
                <a:pos x="7" y="20"/>
              </a:cxn>
              <a:cxn ang="0">
                <a:pos x="5" y="19"/>
              </a:cxn>
              <a:cxn ang="0">
                <a:pos x="32" y="5"/>
              </a:cxn>
              <a:cxn ang="0">
                <a:pos x="30" y="10"/>
              </a:cxn>
              <a:cxn ang="0">
                <a:pos x="29" y="12"/>
              </a:cxn>
              <a:cxn ang="0">
                <a:pos x="31" y="13"/>
              </a:cxn>
              <a:cxn ang="0">
                <a:pos x="30" y="15"/>
              </a:cxn>
              <a:cxn ang="0">
                <a:pos x="29" y="17"/>
              </a:cxn>
              <a:cxn ang="0">
                <a:pos x="26" y="18"/>
              </a:cxn>
              <a:cxn ang="0">
                <a:pos x="23" y="18"/>
              </a:cxn>
              <a:cxn ang="0">
                <a:pos x="22" y="20"/>
              </a:cxn>
              <a:cxn ang="0">
                <a:pos x="23" y="24"/>
              </a:cxn>
              <a:cxn ang="0">
                <a:pos x="23" y="26"/>
              </a:cxn>
              <a:cxn ang="0">
                <a:pos x="21" y="28"/>
              </a:cxn>
              <a:cxn ang="0">
                <a:pos x="22" y="29"/>
              </a:cxn>
              <a:cxn ang="0">
                <a:pos x="19" y="30"/>
              </a:cxn>
              <a:cxn ang="0">
                <a:pos x="20" y="28"/>
              </a:cxn>
              <a:cxn ang="0">
                <a:pos x="21" y="26"/>
              </a:cxn>
              <a:cxn ang="0">
                <a:pos x="16" y="24"/>
              </a:cxn>
              <a:cxn ang="0">
                <a:pos x="15" y="23"/>
              </a:cxn>
              <a:cxn ang="0">
                <a:pos x="12" y="22"/>
              </a:cxn>
              <a:cxn ang="0">
                <a:pos x="10" y="22"/>
              </a:cxn>
              <a:cxn ang="0">
                <a:pos x="8" y="23"/>
              </a:cxn>
              <a:cxn ang="0">
                <a:pos x="3" y="23"/>
              </a:cxn>
              <a:cxn ang="0">
                <a:pos x="3" y="21"/>
              </a:cxn>
              <a:cxn ang="0">
                <a:pos x="7" y="23"/>
              </a:cxn>
              <a:cxn ang="0">
                <a:pos x="7" y="21"/>
              </a:cxn>
              <a:cxn ang="0">
                <a:pos x="10" y="20"/>
              </a:cxn>
              <a:cxn ang="0">
                <a:pos x="12" y="19"/>
              </a:cxn>
              <a:cxn ang="0">
                <a:pos x="7" y="19"/>
              </a:cxn>
              <a:cxn ang="0">
                <a:pos x="8" y="16"/>
              </a:cxn>
              <a:cxn ang="0">
                <a:pos x="11" y="9"/>
              </a:cxn>
              <a:cxn ang="0">
                <a:pos x="15" y="7"/>
              </a:cxn>
              <a:cxn ang="0">
                <a:pos x="20" y="3"/>
              </a:cxn>
              <a:cxn ang="0">
                <a:pos x="27" y="2"/>
              </a:cxn>
              <a:cxn ang="0">
                <a:pos x="32" y="4"/>
              </a:cxn>
              <a:cxn ang="0">
                <a:pos x="21" y="11"/>
              </a:cxn>
              <a:cxn ang="0">
                <a:pos x="19" y="8"/>
              </a:cxn>
              <a:cxn ang="0">
                <a:pos x="15" y="7"/>
              </a:cxn>
              <a:cxn ang="0">
                <a:pos x="15" y="10"/>
              </a:cxn>
              <a:cxn ang="0">
                <a:pos x="14" y="13"/>
              </a:cxn>
              <a:cxn ang="0">
                <a:pos x="21" y="12"/>
              </a:cxn>
              <a:cxn ang="0">
                <a:pos x="19" y="14"/>
              </a:cxn>
              <a:cxn ang="0">
                <a:pos x="18" y="11"/>
              </a:cxn>
              <a:cxn ang="0">
                <a:pos x="21" y="11"/>
              </a:cxn>
              <a:cxn ang="0">
                <a:pos x="16" y="3"/>
              </a:cxn>
              <a:cxn ang="0">
                <a:pos x="5" y="23"/>
              </a:cxn>
              <a:cxn ang="0">
                <a:pos x="1" y="25"/>
              </a:cxn>
              <a:cxn ang="0">
                <a:pos x="4" y="25"/>
              </a:cxn>
              <a:cxn ang="0">
                <a:pos x="6" y="23"/>
              </a:cxn>
              <a:cxn ang="0">
                <a:pos x="13" y="4"/>
              </a:cxn>
              <a:cxn ang="0">
                <a:pos x="22" y="1"/>
              </a:cxn>
              <a:cxn ang="0">
                <a:pos x="21" y="2"/>
              </a:cxn>
              <a:cxn ang="0">
                <a:pos x="5" y="19"/>
              </a:cxn>
              <a:cxn ang="0">
                <a:pos x="29" y="0"/>
              </a:cxn>
              <a:cxn ang="0">
                <a:pos x="29" y="0"/>
              </a:cxn>
            </a:cxnLst>
            <a:rect l="0" t="0" r="r" b="b"/>
            <a:pathLst>
              <a:path w="33" h="30">
                <a:moveTo>
                  <a:pt x="24" y="1"/>
                </a:moveTo>
                <a:cubicBezTo>
                  <a:pt x="23" y="1"/>
                  <a:pt x="24" y="1"/>
                  <a:pt x="24" y="1"/>
                </a:cubicBezTo>
                <a:cubicBezTo>
                  <a:pt x="25" y="1"/>
                  <a:pt x="25" y="1"/>
                  <a:pt x="25" y="1"/>
                </a:cubicBezTo>
                <a:cubicBezTo>
                  <a:pt x="25" y="1"/>
                  <a:pt x="25" y="1"/>
                  <a:pt x="25" y="1"/>
                </a:cubicBezTo>
                <a:cubicBezTo>
                  <a:pt x="24" y="1"/>
                  <a:pt x="24" y="1"/>
                  <a:pt x="24" y="1"/>
                </a:cubicBezTo>
                <a:close/>
                <a:moveTo>
                  <a:pt x="7" y="20"/>
                </a:moveTo>
                <a:cubicBezTo>
                  <a:pt x="7" y="20"/>
                  <a:pt x="8" y="21"/>
                  <a:pt x="8" y="20"/>
                </a:cubicBezTo>
                <a:cubicBezTo>
                  <a:pt x="9" y="20"/>
                  <a:pt x="7" y="19"/>
                  <a:pt x="7" y="19"/>
                </a:cubicBezTo>
                <a:cubicBezTo>
                  <a:pt x="6" y="19"/>
                  <a:pt x="5" y="18"/>
                  <a:pt x="5" y="19"/>
                </a:cubicBezTo>
                <a:cubicBezTo>
                  <a:pt x="4" y="19"/>
                  <a:pt x="6" y="19"/>
                  <a:pt x="6" y="19"/>
                </a:cubicBezTo>
                <a:cubicBezTo>
                  <a:pt x="6" y="20"/>
                  <a:pt x="6" y="20"/>
                  <a:pt x="7" y="20"/>
                </a:cubicBezTo>
                <a:close/>
                <a:moveTo>
                  <a:pt x="32" y="5"/>
                </a:moveTo>
                <a:cubicBezTo>
                  <a:pt x="32" y="5"/>
                  <a:pt x="33" y="6"/>
                  <a:pt x="32" y="6"/>
                </a:cubicBezTo>
                <a:cubicBezTo>
                  <a:pt x="32" y="7"/>
                  <a:pt x="32" y="7"/>
                  <a:pt x="31" y="8"/>
                </a:cubicBezTo>
                <a:cubicBezTo>
                  <a:pt x="31" y="9"/>
                  <a:pt x="32" y="10"/>
                  <a:pt x="30" y="10"/>
                </a:cubicBezTo>
                <a:cubicBezTo>
                  <a:pt x="30" y="10"/>
                  <a:pt x="29" y="10"/>
                  <a:pt x="29" y="10"/>
                </a:cubicBezTo>
                <a:cubicBezTo>
                  <a:pt x="28" y="10"/>
                  <a:pt x="28" y="11"/>
                  <a:pt x="29" y="11"/>
                </a:cubicBezTo>
                <a:cubicBezTo>
                  <a:pt x="28" y="11"/>
                  <a:pt x="28" y="12"/>
                  <a:pt x="29" y="12"/>
                </a:cubicBezTo>
                <a:cubicBezTo>
                  <a:pt x="29" y="12"/>
                  <a:pt x="30" y="12"/>
                  <a:pt x="30" y="12"/>
                </a:cubicBezTo>
                <a:cubicBezTo>
                  <a:pt x="30" y="12"/>
                  <a:pt x="30" y="12"/>
                  <a:pt x="31" y="12"/>
                </a:cubicBezTo>
                <a:cubicBezTo>
                  <a:pt x="31" y="12"/>
                  <a:pt x="31" y="13"/>
                  <a:pt x="31" y="13"/>
                </a:cubicBezTo>
                <a:cubicBezTo>
                  <a:pt x="31" y="14"/>
                  <a:pt x="31" y="14"/>
                  <a:pt x="31" y="14"/>
                </a:cubicBezTo>
                <a:cubicBezTo>
                  <a:pt x="31" y="14"/>
                  <a:pt x="30" y="14"/>
                  <a:pt x="30" y="15"/>
                </a:cubicBezTo>
                <a:cubicBezTo>
                  <a:pt x="30" y="15"/>
                  <a:pt x="30" y="15"/>
                  <a:pt x="30" y="15"/>
                </a:cubicBezTo>
                <a:cubicBezTo>
                  <a:pt x="29" y="16"/>
                  <a:pt x="29" y="15"/>
                  <a:pt x="29" y="16"/>
                </a:cubicBezTo>
                <a:cubicBezTo>
                  <a:pt x="28" y="16"/>
                  <a:pt x="28" y="16"/>
                  <a:pt x="28" y="16"/>
                </a:cubicBezTo>
                <a:cubicBezTo>
                  <a:pt x="28" y="16"/>
                  <a:pt x="29" y="16"/>
                  <a:pt x="29" y="17"/>
                </a:cubicBezTo>
                <a:cubicBezTo>
                  <a:pt x="29" y="17"/>
                  <a:pt x="29" y="18"/>
                  <a:pt x="28" y="18"/>
                </a:cubicBezTo>
                <a:cubicBezTo>
                  <a:pt x="28" y="18"/>
                  <a:pt x="27" y="18"/>
                  <a:pt x="27" y="18"/>
                </a:cubicBezTo>
                <a:cubicBezTo>
                  <a:pt x="26" y="18"/>
                  <a:pt x="26" y="18"/>
                  <a:pt x="26" y="18"/>
                </a:cubicBezTo>
                <a:cubicBezTo>
                  <a:pt x="26" y="19"/>
                  <a:pt x="25" y="18"/>
                  <a:pt x="25" y="18"/>
                </a:cubicBezTo>
                <a:cubicBezTo>
                  <a:pt x="25" y="18"/>
                  <a:pt x="23" y="18"/>
                  <a:pt x="23" y="18"/>
                </a:cubicBezTo>
                <a:cubicBezTo>
                  <a:pt x="23" y="18"/>
                  <a:pt x="24" y="19"/>
                  <a:pt x="23" y="18"/>
                </a:cubicBezTo>
                <a:cubicBezTo>
                  <a:pt x="23" y="18"/>
                  <a:pt x="22" y="18"/>
                  <a:pt x="22" y="19"/>
                </a:cubicBezTo>
                <a:cubicBezTo>
                  <a:pt x="22" y="19"/>
                  <a:pt x="22" y="19"/>
                  <a:pt x="22" y="19"/>
                </a:cubicBezTo>
                <a:cubicBezTo>
                  <a:pt x="22" y="20"/>
                  <a:pt x="22" y="20"/>
                  <a:pt x="22" y="20"/>
                </a:cubicBezTo>
                <a:cubicBezTo>
                  <a:pt x="22" y="20"/>
                  <a:pt x="23" y="20"/>
                  <a:pt x="23" y="20"/>
                </a:cubicBezTo>
                <a:cubicBezTo>
                  <a:pt x="23" y="21"/>
                  <a:pt x="24" y="22"/>
                  <a:pt x="24" y="22"/>
                </a:cubicBezTo>
                <a:cubicBezTo>
                  <a:pt x="24" y="23"/>
                  <a:pt x="24" y="24"/>
                  <a:pt x="23" y="24"/>
                </a:cubicBezTo>
                <a:cubicBezTo>
                  <a:pt x="23" y="25"/>
                  <a:pt x="23" y="25"/>
                  <a:pt x="23" y="25"/>
                </a:cubicBezTo>
                <a:cubicBezTo>
                  <a:pt x="23" y="26"/>
                  <a:pt x="23" y="25"/>
                  <a:pt x="23" y="25"/>
                </a:cubicBezTo>
                <a:cubicBezTo>
                  <a:pt x="23" y="25"/>
                  <a:pt x="23" y="25"/>
                  <a:pt x="23" y="26"/>
                </a:cubicBezTo>
                <a:cubicBezTo>
                  <a:pt x="23" y="26"/>
                  <a:pt x="22" y="27"/>
                  <a:pt x="21" y="27"/>
                </a:cubicBezTo>
                <a:cubicBezTo>
                  <a:pt x="21" y="27"/>
                  <a:pt x="21" y="27"/>
                  <a:pt x="21" y="27"/>
                </a:cubicBezTo>
                <a:cubicBezTo>
                  <a:pt x="21" y="27"/>
                  <a:pt x="21" y="27"/>
                  <a:pt x="21" y="28"/>
                </a:cubicBezTo>
                <a:cubicBezTo>
                  <a:pt x="21" y="27"/>
                  <a:pt x="22" y="27"/>
                  <a:pt x="22" y="28"/>
                </a:cubicBezTo>
                <a:cubicBezTo>
                  <a:pt x="22" y="28"/>
                  <a:pt x="23" y="28"/>
                  <a:pt x="23" y="29"/>
                </a:cubicBezTo>
                <a:cubicBezTo>
                  <a:pt x="23" y="29"/>
                  <a:pt x="22" y="29"/>
                  <a:pt x="22" y="29"/>
                </a:cubicBezTo>
                <a:cubicBezTo>
                  <a:pt x="22" y="30"/>
                  <a:pt x="22" y="30"/>
                  <a:pt x="21" y="30"/>
                </a:cubicBezTo>
                <a:cubicBezTo>
                  <a:pt x="21" y="30"/>
                  <a:pt x="21" y="30"/>
                  <a:pt x="21" y="30"/>
                </a:cubicBezTo>
                <a:cubicBezTo>
                  <a:pt x="20" y="30"/>
                  <a:pt x="20" y="30"/>
                  <a:pt x="19" y="30"/>
                </a:cubicBezTo>
                <a:cubicBezTo>
                  <a:pt x="20" y="29"/>
                  <a:pt x="19" y="29"/>
                  <a:pt x="19" y="29"/>
                </a:cubicBezTo>
                <a:cubicBezTo>
                  <a:pt x="19" y="29"/>
                  <a:pt x="20" y="28"/>
                  <a:pt x="20" y="28"/>
                </a:cubicBezTo>
                <a:cubicBezTo>
                  <a:pt x="20" y="28"/>
                  <a:pt x="20" y="28"/>
                  <a:pt x="20" y="28"/>
                </a:cubicBezTo>
                <a:cubicBezTo>
                  <a:pt x="20" y="27"/>
                  <a:pt x="20" y="27"/>
                  <a:pt x="20" y="27"/>
                </a:cubicBezTo>
                <a:cubicBezTo>
                  <a:pt x="20" y="27"/>
                  <a:pt x="20" y="26"/>
                  <a:pt x="21" y="26"/>
                </a:cubicBezTo>
                <a:cubicBezTo>
                  <a:pt x="20" y="26"/>
                  <a:pt x="21" y="26"/>
                  <a:pt x="21" y="26"/>
                </a:cubicBezTo>
                <a:cubicBezTo>
                  <a:pt x="20" y="25"/>
                  <a:pt x="19" y="25"/>
                  <a:pt x="19" y="25"/>
                </a:cubicBezTo>
                <a:cubicBezTo>
                  <a:pt x="18" y="25"/>
                  <a:pt x="18" y="24"/>
                  <a:pt x="18" y="24"/>
                </a:cubicBezTo>
                <a:cubicBezTo>
                  <a:pt x="17" y="24"/>
                  <a:pt x="17" y="24"/>
                  <a:pt x="16" y="24"/>
                </a:cubicBezTo>
                <a:cubicBezTo>
                  <a:pt x="16" y="25"/>
                  <a:pt x="16" y="24"/>
                  <a:pt x="15" y="24"/>
                </a:cubicBezTo>
                <a:cubicBezTo>
                  <a:pt x="15" y="24"/>
                  <a:pt x="15" y="24"/>
                  <a:pt x="15" y="24"/>
                </a:cubicBezTo>
                <a:cubicBezTo>
                  <a:pt x="15" y="23"/>
                  <a:pt x="15" y="23"/>
                  <a:pt x="15" y="23"/>
                </a:cubicBezTo>
                <a:cubicBezTo>
                  <a:pt x="14" y="22"/>
                  <a:pt x="14" y="22"/>
                  <a:pt x="14" y="23"/>
                </a:cubicBezTo>
                <a:cubicBezTo>
                  <a:pt x="13" y="23"/>
                  <a:pt x="12" y="23"/>
                  <a:pt x="12" y="23"/>
                </a:cubicBezTo>
                <a:cubicBezTo>
                  <a:pt x="12" y="23"/>
                  <a:pt x="12" y="23"/>
                  <a:pt x="12" y="22"/>
                </a:cubicBezTo>
                <a:cubicBezTo>
                  <a:pt x="13" y="22"/>
                  <a:pt x="12" y="22"/>
                  <a:pt x="11" y="22"/>
                </a:cubicBezTo>
                <a:cubicBezTo>
                  <a:pt x="11" y="23"/>
                  <a:pt x="11" y="23"/>
                  <a:pt x="10" y="23"/>
                </a:cubicBezTo>
                <a:cubicBezTo>
                  <a:pt x="10" y="23"/>
                  <a:pt x="10" y="22"/>
                  <a:pt x="10" y="22"/>
                </a:cubicBezTo>
                <a:cubicBezTo>
                  <a:pt x="10" y="22"/>
                  <a:pt x="9" y="22"/>
                  <a:pt x="9" y="22"/>
                </a:cubicBezTo>
                <a:cubicBezTo>
                  <a:pt x="8" y="23"/>
                  <a:pt x="9" y="23"/>
                  <a:pt x="9" y="23"/>
                </a:cubicBezTo>
                <a:cubicBezTo>
                  <a:pt x="9" y="24"/>
                  <a:pt x="8" y="23"/>
                  <a:pt x="8" y="23"/>
                </a:cubicBezTo>
                <a:cubicBezTo>
                  <a:pt x="7" y="23"/>
                  <a:pt x="8" y="23"/>
                  <a:pt x="7" y="23"/>
                </a:cubicBezTo>
                <a:cubicBezTo>
                  <a:pt x="7" y="23"/>
                  <a:pt x="6" y="23"/>
                  <a:pt x="6" y="23"/>
                </a:cubicBezTo>
                <a:cubicBezTo>
                  <a:pt x="5" y="22"/>
                  <a:pt x="4" y="23"/>
                  <a:pt x="3" y="23"/>
                </a:cubicBezTo>
                <a:cubicBezTo>
                  <a:pt x="3" y="23"/>
                  <a:pt x="3" y="22"/>
                  <a:pt x="2" y="23"/>
                </a:cubicBezTo>
                <a:cubicBezTo>
                  <a:pt x="2" y="23"/>
                  <a:pt x="1" y="22"/>
                  <a:pt x="1" y="22"/>
                </a:cubicBezTo>
                <a:cubicBezTo>
                  <a:pt x="1" y="21"/>
                  <a:pt x="2" y="21"/>
                  <a:pt x="3" y="21"/>
                </a:cubicBezTo>
                <a:cubicBezTo>
                  <a:pt x="3" y="21"/>
                  <a:pt x="5" y="21"/>
                  <a:pt x="4" y="22"/>
                </a:cubicBezTo>
                <a:cubicBezTo>
                  <a:pt x="5" y="21"/>
                  <a:pt x="5" y="22"/>
                  <a:pt x="6" y="22"/>
                </a:cubicBezTo>
                <a:cubicBezTo>
                  <a:pt x="6" y="22"/>
                  <a:pt x="6" y="23"/>
                  <a:pt x="7" y="23"/>
                </a:cubicBezTo>
                <a:cubicBezTo>
                  <a:pt x="7" y="23"/>
                  <a:pt x="9" y="22"/>
                  <a:pt x="7" y="22"/>
                </a:cubicBezTo>
                <a:cubicBezTo>
                  <a:pt x="7" y="22"/>
                  <a:pt x="6" y="22"/>
                  <a:pt x="6" y="21"/>
                </a:cubicBezTo>
                <a:cubicBezTo>
                  <a:pt x="5" y="21"/>
                  <a:pt x="7" y="21"/>
                  <a:pt x="7" y="21"/>
                </a:cubicBezTo>
                <a:cubicBezTo>
                  <a:pt x="7" y="21"/>
                  <a:pt x="6" y="21"/>
                  <a:pt x="6" y="20"/>
                </a:cubicBezTo>
                <a:cubicBezTo>
                  <a:pt x="7" y="20"/>
                  <a:pt x="8" y="21"/>
                  <a:pt x="8" y="21"/>
                </a:cubicBezTo>
                <a:cubicBezTo>
                  <a:pt x="9" y="20"/>
                  <a:pt x="9" y="20"/>
                  <a:pt x="10" y="20"/>
                </a:cubicBezTo>
                <a:cubicBezTo>
                  <a:pt x="11" y="20"/>
                  <a:pt x="11" y="20"/>
                  <a:pt x="12" y="20"/>
                </a:cubicBezTo>
                <a:cubicBezTo>
                  <a:pt x="12" y="20"/>
                  <a:pt x="12" y="20"/>
                  <a:pt x="12" y="19"/>
                </a:cubicBezTo>
                <a:cubicBezTo>
                  <a:pt x="12" y="19"/>
                  <a:pt x="12" y="19"/>
                  <a:pt x="12" y="19"/>
                </a:cubicBezTo>
                <a:cubicBezTo>
                  <a:pt x="12" y="19"/>
                  <a:pt x="12" y="19"/>
                  <a:pt x="12" y="19"/>
                </a:cubicBezTo>
                <a:cubicBezTo>
                  <a:pt x="11" y="19"/>
                  <a:pt x="11" y="20"/>
                  <a:pt x="10" y="20"/>
                </a:cubicBezTo>
                <a:cubicBezTo>
                  <a:pt x="8" y="20"/>
                  <a:pt x="8" y="19"/>
                  <a:pt x="7" y="19"/>
                </a:cubicBezTo>
                <a:cubicBezTo>
                  <a:pt x="6" y="18"/>
                  <a:pt x="6" y="18"/>
                  <a:pt x="6" y="17"/>
                </a:cubicBezTo>
                <a:cubicBezTo>
                  <a:pt x="6" y="17"/>
                  <a:pt x="6" y="17"/>
                  <a:pt x="6" y="17"/>
                </a:cubicBezTo>
                <a:cubicBezTo>
                  <a:pt x="7" y="17"/>
                  <a:pt x="7" y="16"/>
                  <a:pt x="8" y="16"/>
                </a:cubicBezTo>
                <a:cubicBezTo>
                  <a:pt x="8" y="15"/>
                  <a:pt x="9" y="15"/>
                  <a:pt x="9" y="14"/>
                </a:cubicBezTo>
                <a:cubicBezTo>
                  <a:pt x="10" y="13"/>
                  <a:pt x="11" y="12"/>
                  <a:pt x="11" y="11"/>
                </a:cubicBezTo>
                <a:cubicBezTo>
                  <a:pt x="11" y="10"/>
                  <a:pt x="11" y="10"/>
                  <a:pt x="11" y="9"/>
                </a:cubicBezTo>
                <a:cubicBezTo>
                  <a:pt x="12" y="8"/>
                  <a:pt x="12" y="6"/>
                  <a:pt x="13" y="7"/>
                </a:cubicBezTo>
                <a:cubicBezTo>
                  <a:pt x="12" y="7"/>
                  <a:pt x="13" y="7"/>
                  <a:pt x="14" y="7"/>
                </a:cubicBezTo>
                <a:cubicBezTo>
                  <a:pt x="14" y="7"/>
                  <a:pt x="15" y="7"/>
                  <a:pt x="15" y="7"/>
                </a:cubicBezTo>
                <a:cubicBezTo>
                  <a:pt x="16" y="6"/>
                  <a:pt x="16" y="6"/>
                  <a:pt x="17" y="5"/>
                </a:cubicBezTo>
                <a:cubicBezTo>
                  <a:pt x="18" y="5"/>
                  <a:pt x="18" y="5"/>
                  <a:pt x="18" y="4"/>
                </a:cubicBezTo>
                <a:cubicBezTo>
                  <a:pt x="18" y="4"/>
                  <a:pt x="19" y="3"/>
                  <a:pt x="20" y="3"/>
                </a:cubicBezTo>
                <a:cubicBezTo>
                  <a:pt x="21" y="2"/>
                  <a:pt x="22" y="2"/>
                  <a:pt x="23" y="2"/>
                </a:cubicBezTo>
                <a:cubicBezTo>
                  <a:pt x="23" y="2"/>
                  <a:pt x="24" y="2"/>
                  <a:pt x="25" y="2"/>
                </a:cubicBezTo>
                <a:cubicBezTo>
                  <a:pt x="26" y="2"/>
                  <a:pt x="26" y="2"/>
                  <a:pt x="27" y="2"/>
                </a:cubicBezTo>
                <a:cubicBezTo>
                  <a:pt x="28" y="2"/>
                  <a:pt x="29" y="1"/>
                  <a:pt x="30" y="2"/>
                </a:cubicBezTo>
                <a:cubicBezTo>
                  <a:pt x="30" y="2"/>
                  <a:pt x="30" y="3"/>
                  <a:pt x="32" y="3"/>
                </a:cubicBezTo>
                <a:cubicBezTo>
                  <a:pt x="31" y="3"/>
                  <a:pt x="32" y="4"/>
                  <a:pt x="32" y="4"/>
                </a:cubicBezTo>
                <a:cubicBezTo>
                  <a:pt x="33" y="4"/>
                  <a:pt x="32" y="4"/>
                  <a:pt x="32" y="5"/>
                </a:cubicBezTo>
                <a:close/>
                <a:moveTo>
                  <a:pt x="21" y="11"/>
                </a:moveTo>
                <a:cubicBezTo>
                  <a:pt x="21" y="11"/>
                  <a:pt x="21" y="11"/>
                  <a:pt x="21" y="11"/>
                </a:cubicBezTo>
                <a:cubicBezTo>
                  <a:pt x="21" y="10"/>
                  <a:pt x="20" y="10"/>
                  <a:pt x="19" y="10"/>
                </a:cubicBezTo>
                <a:cubicBezTo>
                  <a:pt x="19" y="10"/>
                  <a:pt x="19" y="8"/>
                  <a:pt x="20" y="8"/>
                </a:cubicBezTo>
                <a:cubicBezTo>
                  <a:pt x="20" y="8"/>
                  <a:pt x="19" y="8"/>
                  <a:pt x="19" y="8"/>
                </a:cubicBezTo>
                <a:cubicBezTo>
                  <a:pt x="19" y="8"/>
                  <a:pt x="18" y="8"/>
                  <a:pt x="18" y="8"/>
                </a:cubicBezTo>
                <a:cubicBezTo>
                  <a:pt x="17" y="8"/>
                  <a:pt x="18" y="7"/>
                  <a:pt x="18" y="6"/>
                </a:cubicBezTo>
                <a:cubicBezTo>
                  <a:pt x="17" y="5"/>
                  <a:pt x="15" y="7"/>
                  <a:pt x="15" y="7"/>
                </a:cubicBezTo>
                <a:cubicBezTo>
                  <a:pt x="15" y="7"/>
                  <a:pt x="15" y="9"/>
                  <a:pt x="16" y="9"/>
                </a:cubicBezTo>
                <a:cubicBezTo>
                  <a:pt x="17" y="9"/>
                  <a:pt x="17" y="10"/>
                  <a:pt x="16" y="10"/>
                </a:cubicBezTo>
                <a:cubicBezTo>
                  <a:pt x="15" y="10"/>
                  <a:pt x="15" y="10"/>
                  <a:pt x="15" y="10"/>
                </a:cubicBezTo>
                <a:cubicBezTo>
                  <a:pt x="14" y="10"/>
                  <a:pt x="15" y="11"/>
                  <a:pt x="15" y="11"/>
                </a:cubicBezTo>
                <a:cubicBezTo>
                  <a:pt x="15" y="12"/>
                  <a:pt x="14" y="12"/>
                  <a:pt x="15" y="12"/>
                </a:cubicBezTo>
                <a:cubicBezTo>
                  <a:pt x="15" y="12"/>
                  <a:pt x="14" y="13"/>
                  <a:pt x="14" y="13"/>
                </a:cubicBezTo>
                <a:cubicBezTo>
                  <a:pt x="15" y="13"/>
                  <a:pt x="16" y="13"/>
                  <a:pt x="16" y="14"/>
                </a:cubicBezTo>
                <a:cubicBezTo>
                  <a:pt x="17" y="14"/>
                  <a:pt x="18" y="14"/>
                  <a:pt x="19" y="13"/>
                </a:cubicBezTo>
                <a:cubicBezTo>
                  <a:pt x="19" y="13"/>
                  <a:pt x="20" y="13"/>
                  <a:pt x="21" y="12"/>
                </a:cubicBezTo>
                <a:cubicBezTo>
                  <a:pt x="20" y="12"/>
                  <a:pt x="20" y="12"/>
                  <a:pt x="19" y="13"/>
                </a:cubicBezTo>
                <a:cubicBezTo>
                  <a:pt x="19" y="13"/>
                  <a:pt x="19" y="13"/>
                  <a:pt x="19" y="13"/>
                </a:cubicBezTo>
                <a:cubicBezTo>
                  <a:pt x="18" y="13"/>
                  <a:pt x="19" y="13"/>
                  <a:pt x="19" y="14"/>
                </a:cubicBezTo>
                <a:cubicBezTo>
                  <a:pt x="18" y="14"/>
                  <a:pt x="16" y="13"/>
                  <a:pt x="15" y="13"/>
                </a:cubicBezTo>
                <a:cubicBezTo>
                  <a:pt x="15" y="13"/>
                  <a:pt x="17" y="12"/>
                  <a:pt x="17" y="12"/>
                </a:cubicBezTo>
                <a:cubicBezTo>
                  <a:pt x="17" y="12"/>
                  <a:pt x="17" y="11"/>
                  <a:pt x="18" y="11"/>
                </a:cubicBezTo>
                <a:cubicBezTo>
                  <a:pt x="18" y="11"/>
                  <a:pt x="19" y="11"/>
                  <a:pt x="19" y="11"/>
                </a:cubicBezTo>
                <a:cubicBezTo>
                  <a:pt x="20" y="10"/>
                  <a:pt x="22" y="10"/>
                  <a:pt x="21" y="12"/>
                </a:cubicBezTo>
                <a:cubicBezTo>
                  <a:pt x="21" y="12"/>
                  <a:pt x="22" y="11"/>
                  <a:pt x="21" y="11"/>
                </a:cubicBezTo>
                <a:close/>
                <a:moveTo>
                  <a:pt x="19" y="2"/>
                </a:moveTo>
                <a:cubicBezTo>
                  <a:pt x="19" y="1"/>
                  <a:pt x="17" y="2"/>
                  <a:pt x="17" y="2"/>
                </a:cubicBezTo>
                <a:cubicBezTo>
                  <a:pt x="17" y="2"/>
                  <a:pt x="15" y="2"/>
                  <a:pt x="16" y="3"/>
                </a:cubicBezTo>
                <a:cubicBezTo>
                  <a:pt x="16" y="3"/>
                  <a:pt x="19" y="2"/>
                  <a:pt x="19" y="2"/>
                </a:cubicBezTo>
                <a:close/>
                <a:moveTo>
                  <a:pt x="5" y="23"/>
                </a:moveTo>
                <a:cubicBezTo>
                  <a:pt x="5" y="23"/>
                  <a:pt x="5" y="23"/>
                  <a:pt x="5" y="23"/>
                </a:cubicBezTo>
                <a:cubicBezTo>
                  <a:pt x="4" y="24"/>
                  <a:pt x="3" y="23"/>
                  <a:pt x="2" y="23"/>
                </a:cubicBezTo>
                <a:cubicBezTo>
                  <a:pt x="1" y="23"/>
                  <a:pt x="1" y="23"/>
                  <a:pt x="0" y="23"/>
                </a:cubicBezTo>
                <a:cubicBezTo>
                  <a:pt x="0" y="24"/>
                  <a:pt x="0" y="25"/>
                  <a:pt x="1" y="25"/>
                </a:cubicBezTo>
                <a:cubicBezTo>
                  <a:pt x="1" y="25"/>
                  <a:pt x="1" y="24"/>
                  <a:pt x="2" y="24"/>
                </a:cubicBezTo>
                <a:cubicBezTo>
                  <a:pt x="2" y="24"/>
                  <a:pt x="3" y="24"/>
                  <a:pt x="3" y="24"/>
                </a:cubicBezTo>
                <a:cubicBezTo>
                  <a:pt x="3" y="24"/>
                  <a:pt x="4" y="24"/>
                  <a:pt x="4" y="25"/>
                </a:cubicBezTo>
                <a:cubicBezTo>
                  <a:pt x="4" y="25"/>
                  <a:pt x="5" y="25"/>
                  <a:pt x="5" y="25"/>
                </a:cubicBezTo>
                <a:cubicBezTo>
                  <a:pt x="6" y="25"/>
                  <a:pt x="7" y="24"/>
                  <a:pt x="7" y="24"/>
                </a:cubicBezTo>
                <a:cubicBezTo>
                  <a:pt x="7" y="23"/>
                  <a:pt x="6" y="23"/>
                  <a:pt x="6" y="23"/>
                </a:cubicBezTo>
                <a:cubicBezTo>
                  <a:pt x="6" y="23"/>
                  <a:pt x="5" y="23"/>
                  <a:pt x="5" y="23"/>
                </a:cubicBezTo>
                <a:close/>
                <a:moveTo>
                  <a:pt x="12" y="6"/>
                </a:moveTo>
                <a:cubicBezTo>
                  <a:pt x="13" y="6"/>
                  <a:pt x="14" y="5"/>
                  <a:pt x="13" y="4"/>
                </a:cubicBezTo>
                <a:cubicBezTo>
                  <a:pt x="13" y="4"/>
                  <a:pt x="11" y="6"/>
                  <a:pt x="12" y="6"/>
                </a:cubicBezTo>
                <a:close/>
                <a:moveTo>
                  <a:pt x="21" y="2"/>
                </a:moveTo>
                <a:cubicBezTo>
                  <a:pt x="21" y="2"/>
                  <a:pt x="22" y="2"/>
                  <a:pt x="22" y="1"/>
                </a:cubicBezTo>
                <a:cubicBezTo>
                  <a:pt x="22" y="1"/>
                  <a:pt x="21" y="1"/>
                  <a:pt x="20" y="1"/>
                </a:cubicBezTo>
                <a:cubicBezTo>
                  <a:pt x="20" y="1"/>
                  <a:pt x="19" y="2"/>
                  <a:pt x="20" y="2"/>
                </a:cubicBezTo>
                <a:cubicBezTo>
                  <a:pt x="20" y="2"/>
                  <a:pt x="20" y="2"/>
                  <a:pt x="21" y="2"/>
                </a:cubicBezTo>
                <a:close/>
                <a:moveTo>
                  <a:pt x="4" y="20"/>
                </a:moveTo>
                <a:cubicBezTo>
                  <a:pt x="5" y="20"/>
                  <a:pt x="5" y="21"/>
                  <a:pt x="6" y="20"/>
                </a:cubicBezTo>
                <a:cubicBezTo>
                  <a:pt x="7" y="20"/>
                  <a:pt x="5" y="20"/>
                  <a:pt x="5" y="19"/>
                </a:cubicBezTo>
                <a:cubicBezTo>
                  <a:pt x="4" y="19"/>
                  <a:pt x="3" y="19"/>
                  <a:pt x="3" y="20"/>
                </a:cubicBezTo>
                <a:cubicBezTo>
                  <a:pt x="2" y="20"/>
                  <a:pt x="4" y="20"/>
                  <a:pt x="4" y="20"/>
                </a:cubicBezTo>
                <a:close/>
                <a:moveTo>
                  <a:pt x="29" y="0"/>
                </a:moveTo>
                <a:cubicBezTo>
                  <a:pt x="29" y="0"/>
                  <a:pt x="28" y="0"/>
                  <a:pt x="28" y="0"/>
                </a:cubicBezTo>
                <a:cubicBezTo>
                  <a:pt x="28" y="0"/>
                  <a:pt x="29" y="0"/>
                  <a:pt x="29" y="0"/>
                </a:cubicBezTo>
                <a:cubicBezTo>
                  <a:pt x="28" y="0"/>
                  <a:pt x="29" y="0"/>
                  <a:pt x="29"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6" name="Nepal"/>
          <p:cNvSpPr>
            <a:spLocks/>
          </p:cNvSpPr>
          <p:nvPr/>
        </p:nvSpPr>
        <p:spPr bwMode="auto">
          <a:xfrm>
            <a:off x="8511981" y="3455982"/>
            <a:ext cx="288990" cy="161994"/>
          </a:xfrm>
          <a:custGeom>
            <a:avLst/>
            <a:gdLst/>
            <a:ahLst/>
            <a:cxnLst>
              <a:cxn ang="0">
                <a:pos x="77" y="36"/>
              </a:cxn>
              <a:cxn ang="0">
                <a:pos x="78" y="28"/>
              </a:cxn>
              <a:cxn ang="0">
                <a:pos x="72" y="28"/>
              </a:cxn>
              <a:cxn ang="0">
                <a:pos x="69" y="28"/>
              </a:cxn>
              <a:cxn ang="0">
                <a:pos x="65" y="26"/>
              </a:cxn>
              <a:cxn ang="0">
                <a:pos x="62" y="27"/>
              </a:cxn>
              <a:cxn ang="0">
                <a:pos x="58" y="25"/>
              </a:cxn>
              <a:cxn ang="0">
                <a:pos x="56" y="26"/>
              </a:cxn>
              <a:cxn ang="0">
                <a:pos x="52" y="23"/>
              </a:cxn>
              <a:cxn ang="0">
                <a:pos x="48" y="23"/>
              </a:cxn>
              <a:cxn ang="0">
                <a:pos x="47" y="20"/>
              </a:cxn>
              <a:cxn ang="0">
                <a:pos x="43" y="19"/>
              </a:cxn>
              <a:cxn ang="0">
                <a:pos x="38" y="16"/>
              </a:cxn>
              <a:cxn ang="0">
                <a:pos x="34" y="13"/>
              </a:cxn>
              <a:cxn ang="0">
                <a:pos x="31" y="13"/>
              </a:cxn>
              <a:cxn ang="0">
                <a:pos x="27" y="9"/>
              </a:cxn>
              <a:cxn ang="0">
                <a:pos x="24" y="8"/>
              </a:cxn>
              <a:cxn ang="0">
                <a:pos x="19" y="4"/>
              </a:cxn>
              <a:cxn ang="0">
                <a:pos x="15" y="1"/>
              </a:cxn>
              <a:cxn ang="0">
                <a:pos x="10" y="1"/>
              </a:cxn>
              <a:cxn ang="0">
                <a:pos x="9" y="3"/>
              </a:cxn>
              <a:cxn ang="0">
                <a:pos x="6" y="3"/>
              </a:cxn>
              <a:cxn ang="0">
                <a:pos x="5" y="2"/>
              </a:cxn>
              <a:cxn ang="0">
                <a:pos x="2" y="7"/>
              </a:cxn>
              <a:cxn ang="0">
                <a:pos x="0" y="11"/>
              </a:cxn>
              <a:cxn ang="0">
                <a:pos x="0" y="14"/>
              </a:cxn>
              <a:cxn ang="0">
                <a:pos x="2" y="19"/>
              </a:cxn>
              <a:cxn ang="0">
                <a:pos x="4" y="20"/>
              </a:cxn>
              <a:cxn ang="0">
                <a:pos x="8" y="21"/>
              </a:cxn>
              <a:cxn ang="0">
                <a:pos x="11" y="23"/>
              </a:cxn>
              <a:cxn ang="0">
                <a:pos x="14" y="25"/>
              </a:cxn>
              <a:cxn ang="0">
                <a:pos x="18" y="28"/>
              </a:cxn>
              <a:cxn ang="0">
                <a:pos x="24" y="30"/>
              </a:cxn>
              <a:cxn ang="0">
                <a:pos x="30" y="32"/>
              </a:cxn>
              <a:cxn ang="0">
                <a:pos x="34" y="33"/>
              </a:cxn>
              <a:cxn ang="0">
                <a:pos x="38" y="34"/>
              </a:cxn>
              <a:cxn ang="0">
                <a:pos x="40" y="32"/>
              </a:cxn>
              <a:cxn ang="0">
                <a:pos x="46" y="37"/>
              </a:cxn>
              <a:cxn ang="0">
                <a:pos x="52" y="40"/>
              </a:cxn>
              <a:cxn ang="0">
                <a:pos x="57" y="41"/>
              </a:cxn>
              <a:cxn ang="0">
                <a:pos x="61" y="42"/>
              </a:cxn>
              <a:cxn ang="0">
                <a:pos x="67" y="44"/>
              </a:cxn>
              <a:cxn ang="0">
                <a:pos x="69" y="43"/>
              </a:cxn>
              <a:cxn ang="0">
                <a:pos x="72" y="44"/>
              </a:cxn>
              <a:cxn ang="0">
                <a:pos x="76" y="44"/>
              </a:cxn>
              <a:cxn ang="0">
                <a:pos x="77" y="44"/>
              </a:cxn>
              <a:cxn ang="0">
                <a:pos x="80" y="39"/>
              </a:cxn>
            </a:cxnLst>
            <a:rect l="0" t="0" r="r" b="b"/>
            <a:pathLst>
              <a:path w="80" h="45">
                <a:moveTo>
                  <a:pt x="80" y="39"/>
                </a:moveTo>
                <a:cubicBezTo>
                  <a:pt x="79" y="39"/>
                  <a:pt x="79" y="38"/>
                  <a:pt x="79" y="37"/>
                </a:cubicBezTo>
                <a:cubicBezTo>
                  <a:pt x="78" y="37"/>
                  <a:pt x="78" y="37"/>
                  <a:pt x="77" y="36"/>
                </a:cubicBezTo>
                <a:cubicBezTo>
                  <a:pt x="77" y="35"/>
                  <a:pt x="78" y="34"/>
                  <a:pt x="77" y="33"/>
                </a:cubicBezTo>
                <a:cubicBezTo>
                  <a:pt x="77" y="32"/>
                  <a:pt x="77" y="32"/>
                  <a:pt x="78" y="31"/>
                </a:cubicBezTo>
                <a:cubicBezTo>
                  <a:pt x="78" y="30"/>
                  <a:pt x="78" y="28"/>
                  <a:pt x="78" y="28"/>
                </a:cubicBezTo>
                <a:cubicBezTo>
                  <a:pt x="77" y="28"/>
                  <a:pt x="76" y="28"/>
                  <a:pt x="75" y="28"/>
                </a:cubicBezTo>
                <a:cubicBezTo>
                  <a:pt x="74" y="28"/>
                  <a:pt x="74" y="28"/>
                  <a:pt x="74" y="28"/>
                </a:cubicBezTo>
                <a:cubicBezTo>
                  <a:pt x="74" y="29"/>
                  <a:pt x="72" y="29"/>
                  <a:pt x="72" y="28"/>
                </a:cubicBezTo>
                <a:cubicBezTo>
                  <a:pt x="72" y="28"/>
                  <a:pt x="71" y="29"/>
                  <a:pt x="71" y="29"/>
                </a:cubicBezTo>
                <a:cubicBezTo>
                  <a:pt x="70" y="29"/>
                  <a:pt x="71" y="28"/>
                  <a:pt x="70" y="28"/>
                </a:cubicBezTo>
                <a:cubicBezTo>
                  <a:pt x="70" y="28"/>
                  <a:pt x="69" y="29"/>
                  <a:pt x="69" y="28"/>
                </a:cubicBezTo>
                <a:cubicBezTo>
                  <a:pt x="68" y="28"/>
                  <a:pt x="68" y="28"/>
                  <a:pt x="67" y="27"/>
                </a:cubicBezTo>
                <a:cubicBezTo>
                  <a:pt x="67" y="27"/>
                  <a:pt x="66" y="27"/>
                  <a:pt x="66" y="27"/>
                </a:cubicBezTo>
                <a:cubicBezTo>
                  <a:pt x="65" y="27"/>
                  <a:pt x="65" y="26"/>
                  <a:pt x="65" y="26"/>
                </a:cubicBezTo>
                <a:cubicBezTo>
                  <a:pt x="64" y="26"/>
                  <a:pt x="64" y="26"/>
                  <a:pt x="64" y="26"/>
                </a:cubicBezTo>
                <a:cubicBezTo>
                  <a:pt x="64" y="25"/>
                  <a:pt x="63" y="25"/>
                  <a:pt x="63" y="25"/>
                </a:cubicBezTo>
                <a:cubicBezTo>
                  <a:pt x="61" y="25"/>
                  <a:pt x="63" y="27"/>
                  <a:pt x="62" y="27"/>
                </a:cubicBezTo>
                <a:cubicBezTo>
                  <a:pt x="61" y="28"/>
                  <a:pt x="60" y="27"/>
                  <a:pt x="60" y="27"/>
                </a:cubicBezTo>
                <a:cubicBezTo>
                  <a:pt x="59" y="27"/>
                  <a:pt x="59" y="26"/>
                  <a:pt x="59" y="26"/>
                </a:cubicBezTo>
                <a:cubicBezTo>
                  <a:pt x="59" y="25"/>
                  <a:pt x="58" y="25"/>
                  <a:pt x="58" y="25"/>
                </a:cubicBezTo>
                <a:cubicBezTo>
                  <a:pt x="58" y="26"/>
                  <a:pt x="58" y="26"/>
                  <a:pt x="58" y="27"/>
                </a:cubicBezTo>
                <a:cubicBezTo>
                  <a:pt x="58" y="27"/>
                  <a:pt x="58" y="28"/>
                  <a:pt x="57" y="28"/>
                </a:cubicBezTo>
                <a:cubicBezTo>
                  <a:pt x="57" y="27"/>
                  <a:pt x="56" y="27"/>
                  <a:pt x="56" y="26"/>
                </a:cubicBezTo>
                <a:cubicBezTo>
                  <a:pt x="56" y="25"/>
                  <a:pt x="56" y="25"/>
                  <a:pt x="55" y="24"/>
                </a:cubicBezTo>
                <a:cubicBezTo>
                  <a:pt x="54" y="24"/>
                  <a:pt x="54" y="24"/>
                  <a:pt x="54" y="23"/>
                </a:cubicBezTo>
                <a:cubicBezTo>
                  <a:pt x="53" y="24"/>
                  <a:pt x="53" y="24"/>
                  <a:pt x="52" y="23"/>
                </a:cubicBezTo>
                <a:cubicBezTo>
                  <a:pt x="51" y="23"/>
                  <a:pt x="51" y="24"/>
                  <a:pt x="50" y="24"/>
                </a:cubicBezTo>
                <a:cubicBezTo>
                  <a:pt x="50" y="24"/>
                  <a:pt x="49" y="23"/>
                  <a:pt x="49" y="23"/>
                </a:cubicBezTo>
                <a:cubicBezTo>
                  <a:pt x="49" y="23"/>
                  <a:pt x="49" y="23"/>
                  <a:pt x="48" y="23"/>
                </a:cubicBezTo>
                <a:cubicBezTo>
                  <a:pt x="48" y="23"/>
                  <a:pt x="48" y="22"/>
                  <a:pt x="48" y="22"/>
                </a:cubicBezTo>
                <a:cubicBezTo>
                  <a:pt x="48" y="21"/>
                  <a:pt x="49" y="21"/>
                  <a:pt x="48" y="20"/>
                </a:cubicBezTo>
                <a:cubicBezTo>
                  <a:pt x="48" y="20"/>
                  <a:pt x="47" y="19"/>
                  <a:pt x="47" y="20"/>
                </a:cubicBezTo>
                <a:cubicBezTo>
                  <a:pt x="46" y="20"/>
                  <a:pt x="46" y="20"/>
                  <a:pt x="46" y="20"/>
                </a:cubicBezTo>
                <a:cubicBezTo>
                  <a:pt x="45" y="21"/>
                  <a:pt x="45" y="20"/>
                  <a:pt x="44" y="20"/>
                </a:cubicBezTo>
                <a:cubicBezTo>
                  <a:pt x="43" y="20"/>
                  <a:pt x="44" y="19"/>
                  <a:pt x="43" y="19"/>
                </a:cubicBezTo>
                <a:cubicBezTo>
                  <a:pt x="43" y="19"/>
                  <a:pt x="43" y="19"/>
                  <a:pt x="42" y="19"/>
                </a:cubicBezTo>
                <a:cubicBezTo>
                  <a:pt x="41" y="19"/>
                  <a:pt x="41" y="18"/>
                  <a:pt x="41" y="18"/>
                </a:cubicBezTo>
                <a:cubicBezTo>
                  <a:pt x="40" y="17"/>
                  <a:pt x="39" y="17"/>
                  <a:pt x="38" y="16"/>
                </a:cubicBezTo>
                <a:cubicBezTo>
                  <a:pt x="38" y="15"/>
                  <a:pt x="38" y="15"/>
                  <a:pt x="38" y="14"/>
                </a:cubicBezTo>
                <a:cubicBezTo>
                  <a:pt x="37" y="14"/>
                  <a:pt x="38" y="14"/>
                  <a:pt x="37" y="13"/>
                </a:cubicBezTo>
                <a:cubicBezTo>
                  <a:pt x="37" y="12"/>
                  <a:pt x="35" y="12"/>
                  <a:pt x="34" y="13"/>
                </a:cubicBezTo>
                <a:cubicBezTo>
                  <a:pt x="34" y="13"/>
                  <a:pt x="33" y="13"/>
                  <a:pt x="33" y="13"/>
                </a:cubicBezTo>
                <a:cubicBezTo>
                  <a:pt x="33" y="14"/>
                  <a:pt x="33" y="14"/>
                  <a:pt x="33" y="14"/>
                </a:cubicBezTo>
                <a:cubicBezTo>
                  <a:pt x="32" y="14"/>
                  <a:pt x="32" y="13"/>
                  <a:pt x="31" y="13"/>
                </a:cubicBezTo>
                <a:cubicBezTo>
                  <a:pt x="31" y="13"/>
                  <a:pt x="29" y="10"/>
                  <a:pt x="29" y="10"/>
                </a:cubicBezTo>
                <a:cubicBezTo>
                  <a:pt x="28" y="10"/>
                  <a:pt x="28" y="10"/>
                  <a:pt x="28" y="9"/>
                </a:cubicBezTo>
                <a:cubicBezTo>
                  <a:pt x="28" y="9"/>
                  <a:pt x="27" y="9"/>
                  <a:pt x="27" y="9"/>
                </a:cubicBezTo>
                <a:cubicBezTo>
                  <a:pt x="26" y="9"/>
                  <a:pt x="26" y="9"/>
                  <a:pt x="26" y="8"/>
                </a:cubicBezTo>
                <a:cubicBezTo>
                  <a:pt x="26" y="8"/>
                  <a:pt x="25" y="8"/>
                  <a:pt x="25" y="8"/>
                </a:cubicBezTo>
                <a:cubicBezTo>
                  <a:pt x="25" y="8"/>
                  <a:pt x="25" y="8"/>
                  <a:pt x="24" y="8"/>
                </a:cubicBezTo>
                <a:cubicBezTo>
                  <a:pt x="24" y="8"/>
                  <a:pt x="23" y="7"/>
                  <a:pt x="23" y="7"/>
                </a:cubicBezTo>
                <a:cubicBezTo>
                  <a:pt x="22" y="6"/>
                  <a:pt x="22" y="6"/>
                  <a:pt x="21" y="5"/>
                </a:cubicBezTo>
                <a:cubicBezTo>
                  <a:pt x="21" y="5"/>
                  <a:pt x="20" y="5"/>
                  <a:pt x="19" y="4"/>
                </a:cubicBezTo>
                <a:cubicBezTo>
                  <a:pt x="19" y="4"/>
                  <a:pt x="17" y="4"/>
                  <a:pt x="17" y="4"/>
                </a:cubicBezTo>
                <a:cubicBezTo>
                  <a:pt x="16" y="3"/>
                  <a:pt x="17" y="3"/>
                  <a:pt x="16" y="2"/>
                </a:cubicBezTo>
                <a:cubicBezTo>
                  <a:pt x="16" y="2"/>
                  <a:pt x="16" y="1"/>
                  <a:pt x="15" y="1"/>
                </a:cubicBezTo>
                <a:cubicBezTo>
                  <a:pt x="15" y="1"/>
                  <a:pt x="14" y="1"/>
                  <a:pt x="13" y="0"/>
                </a:cubicBezTo>
                <a:cubicBezTo>
                  <a:pt x="13" y="0"/>
                  <a:pt x="12" y="0"/>
                  <a:pt x="11" y="0"/>
                </a:cubicBezTo>
                <a:cubicBezTo>
                  <a:pt x="11" y="0"/>
                  <a:pt x="11" y="1"/>
                  <a:pt x="10" y="1"/>
                </a:cubicBezTo>
                <a:cubicBezTo>
                  <a:pt x="10" y="1"/>
                  <a:pt x="10" y="0"/>
                  <a:pt x="9" y="0"/>
                </a:cubicBezTo>
                <a:cubicBezTo>
                  <a:pt x="9" y="0"/>
                  <a:pt x="9" y="2"/>
                  <a:pt x="9" y="2"/>
                </a:cubicBezTo>
                <a:cubicBezTo>
                  <a:pt x="9" y="2"/>
                  <a:pt x="9" y="3"/>
                  <a:pt x="9" y="3"/>
                </a:cubicBezTo>
                <a:cubicBezTo>
                  <a:pt x="9" y="3"/>
                  <a:pt x="9" y="4"/>
                  <a:pt x="9" y="4"/>
                </a:cubicBezTo>
                <a:cubicBezTo>
                  <a:pt x="8" y="4"/>
                  <a:pt x="8" y="5"/>
                  <a:pt x="8" y="4"/>
                </a:cubicBezTo>
                <a:cubicBezTo>
                  <a:pt x="7" y="4"/>
                  <a:pt x="7" y="3"/>
                  <a:pt x="6" y="3"/>
                </a:cubicBezTo>
                <a:cubicBezTo>
                  <a:pt x="6" y="3"/>
                  <a:pt x="6" y="2"/>
                  <a:pt x="6" y="2"/>
                </a:cubicBezTo>
                <a:cubicBezTo>
                  <a:pt x="5" y="2"/>
                  <a:pt x="5" y="3"/>
                  <a:pt x="5" y="2"/>
                </a:cubicBezTo>
                <a:cubicBezTo>
                  <a:pt x="5" y="2"/>
                  <a:pt x="5" y="2"/>
                  <a:pt x="5" y="2"/>
                </a:cubicBezTo>
                <a:cubicBezTo>
                  <a:pt x="5" y="2"/>
                  <a:pt x="4" y="3"/>
                  <a:pt x="4" y="4"/>
                </a:cubicBezTo>
                <a:cubicBezTo>
                  <a:pt x="4" y="4"/>
                  <a:pt x="3" y="5"/>
                  <a:pt x="3" y="5"/>
                </a:cubicBezTo>
                <a:cubicBezTo>
                  <a:pt x="2" y="5"/>
                  <a:pt x="2" y="6"/>
                  <a:pt x="2" y="7"/>
                </a:cubicBezTo>
                <a:cubicBezTo>
                  <a:pt x="1" y="7"/>
                  <a:pt x="1" y="7"/>
                  <a:pt x="1" y="8"/>
                </a:cubicBezTo>
                <a:cubicBezTo>
                  <a:pt x="1" y="9"/>
                  <a:pt x="1" y="9"/>
                  <a:pt x="1" y="10"/>
                </a:cubicBezTo>
                <a:cubicBezTo>
                  <a:pt x="1" y="10"/>
                  <a:pt x="0" y="10"/>
                  <a:pt x="0" y="11"/>
                </a:cubicBezTo>
                <a:cubicBezTo>
                  <a:pt x="0" y="11"/>
                  <a:pt x="2" y="13"/>
                  <a:pt x="1" y="13"/>
                </a:cubicBezTo>
                <a:cubicBezTo>
                  <a:pt x="1" y="13"/>
                  <a:pt x="1" y="13"/>
                  <a:pt x="1" y="14"/>
                </a:cubicBezTo>
                <a:cubicBezTo>
                  <a:pt x="1" y="14"/>
                  <a:pt x="0" y="14"/>
                  <a:pt x="0" y="14"/>
                </a:cubicBezTo>
                <a:cubicBezTo>
                  <a:pt x="0" y="15"/>
                  <a:pt x="0" y="15"/>
                  <a:pt x="0" y="16"/>
                </a:cubicBezTo>
                <a:cubicBezTo>
                  <a:pt x="0" y="16"/>
                  <a:pt x="0" y="16"/>
                  <a:pt x="0" y="17"/>
                </a:cubicBezTo>
                <a:cubicBezTo>
                  <a:pt x="0" y="18"/>
                  <a:pt x="1" y="18"/>
                  <a:pt x="2" y="19"/>
                </a:cubicBezTo>
                <a:cubicBezTo>
                  <a:pt x="2" y="19"/>
                  <a:pt x="3" y="20"/>
                  <a:pt x="3" y="20"/>
                </a:cubicBezTo>
                <a:cubicBezTo>
                  <a:pt x="3" y="20"/>
                  <a:pt x="4" y="20"/>
                  <a:pt x="4" y="20"/>
                </a:cubicBezTo>
                <a:cubicBezTo>
                  <a:pt x="4" y="20"/>
                  <a:pt x="4" y="20"/>
                  <a:pt x="4" y="20"/>
                </a:cubicBezTo>
                <a:cubicBezTo>
                  <a:pt x="5" y="20"/>
                  <a:pt x="4" y="19"/>
                  <a:pt x="4" y="19"/>
                </a:cubicBezTo>
                <a:cubicBezTo>
                  <a:pt x="5" y="19"/>
                  <a:pt x="5" y="19"/>
                  <a:pt x="5" y="20"/>
                </a:cubicBezTo>
                <a:cubicBezTo>
                  <a:pt x="6" y="20"/>
                  <a:pt x="7" y="21"/>
                  <a:pt x="8" y="21"/>
                </a:cubicBezTo>
                <a:cubicBezTo>
                  <a:pt x="8" y="21"/>
                  <a:pt x="9" y="22"/>
                  <a:pt x="9" y="22"/>
                </a:cubicBezTo>
                <a:cubicBezTo>
                  <a:pt x="9" y="22"/>
                  <a:pt x="9" y="22"/>
                  <a:pt x="10" y="22"/>
                </a:cubicBezTo>
                <a:cubicBezTo>
                  <a:pt x="10" y="22"/>
                  <a:pt x="11" y="22"/>
                  <a:pt x="11" y="23"/>
                </a:cubicBezTo>
                <a:cubicBezTo>
                  <a:pt x="12" y="23"/>
                  <a:pt x="12" y="23"/>
                  <a:pt x="12" y="24"/>
                </a:cubicBezTo>
                <a:cubicBezTo>
                  <a:pt x="12" y="24"/>
                  <a:pt x="13" y="25"/>
                  <a:pt x="13" y="25"/>
                </a:cubicBezTo>
                <a:cubicBezTo>
                  <a:pt x="13" y="25"/>
                  <a:pt x="13" y="24"/>
                  <a:pt x="14" y="25"/>
                </a:cubicBezTo>
                <a:cubicBezTo>
                  <a:pt x="14" y="25"/>
                  <a:pt x="14" y="25"/>
                  <a:pt x="15" y="26"/>
                </a:cubicBezTo>
                <a:cubicBezTo>
                  <a:pt x="15" y="26"/>
                  <a:pt x="15" y="26"/>
                  <a:pt x="16" y="26"/>
                </a:cubicBezTo>
                <a:cubicBezTo>
                  <a:pt x="17" y="27"/>
                  <a:pt x="18" y="27"/>
                  <a:pt x="18" y="28"/>
                </a:cubicBezTo>
                <a:cubicBezTo>
                  <a:pt x="19" y="28"/>
                  <a:pt x="19" y="28"/>
                  <a:pt x="19" y="28"/>
                </a:cubicBezTo>
                <a:cubicBezTo>
                  <a:pt x="20" y="27"/>
                  <a:pt x="20" y="28"/>
                  <a:pt x="20" y="28"/>
                </a:cubicBezTo>
                <a:cubicBezTo>
                  <a:pt x="22" y="28"/>
                  <a:pt x="23" y="29"/>
                  <a:pt x="24" y="30"/>
                </a:cubicBezTo>
                <a:cubicBezTo>
                  <a:pt x="25" y="30"/>
                  <a:pt x="25" y="30"/>
                  <a:pt x="26" y="30"/>
                </a:cubicBezTo>
                <a:cubicBezTo>
                  <a:pt x="27" y="30"/>
                  <a:pt x="27" y="31"/>
                  <a:pt x="27" y="32"/>
                </a:cubicBezTo>
                <a:cubicBezTo>
                  <a:pt x="28" y="32"/>
                  <a:pt x="29" y="32"/>
                  <a:pt x="30" y="32"/>
                </a:cubicBezTo>
                <a:cubicBezTo>
                  <a:pt x="30" y="33"/>
                  <a:pt x="31" y="33"/>
                  <a:pt x="31" y="33"/>
                </a:cubicBezTo>
                <a:cubicBezTo>
                  <a:pt x="32" y="33"/>
                  <a:pt x="32" y="33"/>
                  <a:pt x="33" y="34"/>
                </a:cubicBezTo>
                <a:cubicBezTo>
                  <a:pt x="33" y="34"/>
                  <a:pt x="33" y="34"/>
                  <a:pt x="34" y="33"/>
                </a:cubicBezTo>
                <a:cubicBezTo>
                  <a:pt x="34" y="33"/>
                  <a:pt x="33" y="33"/>
                  <a:pt x="33" y="33"/>
                </a:cubicBezTo>
                <a:cubicBezTo>
                  <a:pt x="34" y="32"/>
                  <a:pt x="35" y="32"/>
                  <a:pt x="36" y="32"/>
                </a:cubicBezTo>
                <a:cubicBezTo>
                  <a:pt x="36" y="33"/>
                  <a:pt x="38" y="34"/>
                  <a:pt x="38" y="34"/>
                </a:cubicBezTo>
                <a:cubicBezTo>
                  <a:pt x="38" y="33"/>
                  <a:pt x="37" y="33"/>
                  <a:pt x="38" y="33"/>
                </a:cubicBezTo>
                <a:cubicBezTo>
                  <a:pt x="39" y="33"/>
                  <a:pt x="39" y="33"/>
                  <a:pt x="40" y="33"/>
                </a:cubicBezTo>
                <a:cubicBezTo>
                  <a:pt x="40" y="33"/>
                  <a:pt x="40" y="32"/>
                  <a:pt x="40" y="32"/>
                </a:cubicBezTo>
                <a:cubicBezTo>
                  <a:pt x="40" y="31"/>
                  <a:pt x="42" y="33"/>
                  <a:pt x="42" y="33"/>
                </a:cubicBezTo>
                <a:cubicBezTo>
                  <a:pt x="43" y="34"/>
                  <a:pt x="44" y="33"/>
                  <a:pt x="45" y="34"/>
                </a:cubicBezTo>
                <a:cubicBezTo>
                  <a:pt x="46" y="35"/>
                  <a:pt x="46" y="36"/>
                  <a:pt x="46" y="37"/>
                </a:cubicBezTo>
                <a:cubicBezTo>
                  <a:pt x="46" y="38"/>
                  <a:pt x="48" y="37"/>
                  <a:pt x="48" y="37"/>
                </a:cubicBezTo>
                <a:cubicBezTo>
                  <a:pt x="49" y="38"/>
                  <a:pt x="49" y="38"/>
                  <a:pt x="50" y="39"/>
                </a:cubicBezTo>
                <a:cubicBezTo>
                  <a:pt x="51" y="39"/>
                  <a:pt x="51" y="38"/>
                  <a:pt x="52" y="40"/>
                </a:cubicBezTo>
                <a:cubicBezTo>
                  <a:pt x="53" y="41"/>
                  <a:pt x="53" y="40"/>
                  <a:pt x="54" y="40"/>
                </a:cubicBezTo>
                <a:cubicBezTo>
                  <a:pt x="55" y="39"/>
                  <a:pt x="56" y="39"/>
                  <a:pt x="57" y="40"/>
                </a:cubicBezTo>
                <a:cubicBezTo>
                  <a:pt x="57" y="40"/>
                  <a:pt x="57" y="41"/>
                  <a:pt x="57" y="41"/>
                </a:cubicBezTo>
                <a:cubicBezTo>
                  <a:pt x="57" y="42"/>
                  <a:pt x="58" y="42"/>
                  <a:pt x="58" y="42"/>
                </a:cubicBezTo>
                <a:cubicBezTo>
                  <a:pt x="59" y="42"/>
                  <a:pt x="59" y="41"/>
                  <a:pt x="60" y="41"/>
                </a:cubicBezTo>
                <a:cubicBezTo>
                  <a:pt x="60" y="42"/>
                  <a:pt x="61" y="42"/>
                  <a:pt x="61" y="42"/>
                </a:cubicBezTo>
                <a:cubicBezTo>
                  <a:pt x="62" y="42"/>
                  <a:pt x="62" y="42"/>
                  <a:pt x="63" y="42"/>
                </a:cubicBezTo>
                <a:cubicBezTo>
                  <a:pt x="64" y="42"/>
                  <a:pt x="65" y="43"/>
                  <a:pt x="66" y="43"/>
                </a:cubicBezTo>
                <a:cubicBezTo>
                  <a:pt x="66" y="43"/>
                  <a:pt x="66" y="44"/>
                  <a:pt x="67" y="44"/>
                </a:cubicBezTo>
                <a:cubicBezTo>
                  <a:pt x="67" y="44"/>
                  <a:pt x="67" y="44"/>
                  <a:pt x="67" y="44"/>
                </a:cubicBezTo>
                <a:cubicBezTo>
                  <a:pt x="67" y="44"/>
                  <a:pt x="68" y="44"/>
                  <a:pt x="68" y="44"/>
                </a:cubicBezTo>
                <a:cubicBezTo>
                  <a:pt x="68" y="44"/>
                  <a:pt x="69" y="43"/>
                  <a:pt x="69" y="43"/>
                </a:cubicBezTo>
                <a:cubicBezTo>
                  <a:pt x="69" y="43"/>
                  <a:pt x="70" y="42"/>
                  <a:pt x="70" y="42"/>
                </a:cubicBezTo>
                <a:cubicBezTo>
                  <a:pt x="70" y="42"/>
                  <a:pt x="70" y="44"/>
                  <a:pt x="71" y="44"/>
                </a:cubicBezTo>
                <a:cubicBezTo>
                  <a:pt x="71" y="44"/>
                  <a:pt x="72" y="44"/>
                  <a:pt x="72" y="44"/>
                </a:cubicBezTo>
                <a:cubicBezTo>
                  <a:pt x="73" y="45"/>
                  <a:pt x="73" y="44"/>
                  <a:pt x="73" y="44"/>
                </a:cubicBezTo>
                <a:cubicBezTo>
                  <a:pt x="74" y="43"/>
                  <a:pt x="74" y="44"/>
                  <a:pt x="75" y="44"/>
                </a:cubicBezTo>
                <a:cubicBezTo>
                  <a:pt x="75" y="44"/>
                  <a:pt x="75" y="44"/>
                  <a:pt x="76" y="44"/>
                </a:cubicBezTo>
                <a:cubicBezTo>
                  <a:pt x="76" y="44"/>
                  <a:pt x="76" y="44"/>
                  <a:pt x="77" y="44"/>
                </a:cubicBezTo>
                <a:cubicBezTo>
                  <a:pt x="77" y="44"/>
                  <a:pt x="77" y="44"/>
                  <a:pt x="77" y="43"/>
                </a:cubicBezTo>
                <a:cubicBezTo>
                  <a:pt x="77" y="43"/>
                  <a:pt x="77" y="44"/>
                  <a:pt x="77" y="44"/>
                </a:cubicBezTo>
                <a:cubicBezTo>
                  <a:pt x="78" y="43"/>
                  <a:pt x="79" y="45"/>
                  <a:pt x="79" y="44"/>
                </a:cubicBezTo>
                <a:cubicBezTo>
                  <a:pt x="80" y="43"/>
                  <a:pt x="80" y="42"/>
                  <a:pt x="80" y="42"/>
                </a:cubicBezTo>
                <a:cubicBezTo>
                  <a:pt x="80" y="41"/>
                  <a:pt x="80" y="40"/>
                  <a:pt x="80" y="3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7" name="Nauru"/>
          <p:cNvSpPr>
            <a:spLocks/>
          </p:cNvSpPr>
          <p:nvPr/>
        </p:nvSpPr>
        <p:spPr bwMode="auto">
          <a:xfrm>
            <a:off x="11647863" y="4684936"/>
            <a:ext cx="1001" cy="1001"/>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8" name="Namibia"/>
          <p:cNvSpPr>
            <a:spLocks/>
          </p:cNvSpPr>
          <p:nvPr/>
        </p:nvSpPr>
        <p:spPr bwMode="auto">
          <a:xfrm>
            <a:off x="6200068" y="5335911"/>
            <a:ext cx="472983" cy="480982"/>
          </a:xfrm>
          <a:custGeom>
            <a:avLst/>
            <a:gdLst/>
            <a:ahLst/>
            <a:cxnLst>
              <a:cxn ang="0">
                <a:pos x="123" y="6"/>
              </a:cxn>
              <a:cxn ang="0">
                <a:pos x="101" y="11"/>
              </a:cxn>
              <a:cxn ang="0">
                <a:pos x="92" y="12"/>
              </a:cxn>
              <a:cxn ang="0">
                <a:pos x="85" y="12"/>
              </a:cxn>
              <a:cxn ang="0">
                <a:pos x="77" y="11"/>
              </a:cxn>
              <a:cxn ang="0">
                <a:pos x="70" y="10"/>
              </a:cxn>
              <a:cxn ang="0">
                <a:pos x="61" y="5"/>
              </a:cxn>
              <a:cxn ang="0">
                <a:pos x="27" y="5"/>
              </a:cxn>
              <a:cxn ang="0">
                <a:pos x="22" y="5"/>
              </a:cxn>
              <a:cxn ang="0">
                <a:pos x="11" y="2"/>
              </a:cxn>
              <a:cxn ang="0">
                <a:pos x="8" y="3"/>
              </a:cxn>
              <a:cxn ang="0">
                <a:pos x="1" y="4"/>
              </a:cxn>
              <a:cxn ang="0">
                <a:pos x="7" y="21"/>
              </a:cxn>
              <a:cxn ang="0">
                <a:pos x="10" y="27"/>
              </a:cxn>
              <a:cxn ang="0">
                <a:pos x="14" y="36"/>
              </a:cxn>
              <a:cxn ang="0">
                <a:pos x="20" y="49"/>
              </a:cxn>
              <a:cxn ang="0">
                <a:pos x="22" y="54"/>
              </a:cxn>
              <a:cxn ang="0">
                <a:pos x="27" y="63"/>
              </a:cxn>
              <a:cxn ang="0">
                <a:pos x="27" y="66"/>
              </a:cxn>
              <a:cxn ang="0">
                <a:pos x="27" y="73"/>
              </a:cxn>
              <a:cxn ang="0">
                <a:pos x="27" y="79"/>
              </a:cxn>
              <a:cxn ang="0">
                <a:pos x="28" y="84"/>
              </a:cxn>
              <a:cxn ang="0">
                <a:pos x="30" y="91"/>
              </a:cxn>
              <a:cxn ang="0">
                <a:pos x="31" y="98"/>
              </a:cxn>
              <a:cxn ang="0">
                <a:pos x="31" y="102"/>
              </a:cxn>
              <a:cxn ang="0">
                <a:pos x="32" y="104"/>
              </a:cxn>
              <a:cxn ang="0">
                <a:pos x="32" y="108"/>
              </a:cxn>
              <a:cxn ang="0">
                <a:pos x="34" y="112"/>
              </a:cxn>
              <a:cxn ang="0">
                <a:pos x="36" y="119"/>
              </a:cxn>
              <a:cxn ang="0">
                <a:pos x="43" y="127"/>
              </a:cxn>
              <a:cxn ang="0">
                <a:pos x="48" y="127"/>
              </a:cxn>
              <a:cxn ang="0">
                <a:pos x="49" y="124"/>
              </a:cxn>
              <a:cxn ang="0">
                <a:pos x="51" y="123"/>
              </a:cxn>
              <a:cxn ang="0">
                <a:pos x="53" y="125"/>
              </a:cxn>
              <a:cxn ang="0">
                <a:pos x="54" y="129"/>
              </a:cxn>
              <a:cxn ang="0">
                <a:pos x="57" y="130"/>
              </a:cxn>
              <a:cxn ang="0">
                <a:pos x="61" y="132"/>
              </a:cxn>
              <a:cxn ang="0">
                <a:pos x="69" y="132"/>
              </a:cxn>
              <a:cxn ang="0">
                <a:pos x="73" y="129"/>
              </a:cxn>
              <a:cxn ang="0">
                <a:pos x="77" y="127"/>
              </a:cxn>
              <a:cxn ang="0">
                <a:pos x="79" y="89"/>
              </a:cxn>
              <a:cxn ang="0">
                <a:pos x="80" y="56"/>
              </a:cxn>
              <a:cxn ang="0">
                <a:pos x="89" y="53"/>
              </a:cxn>
              <a:cxn ang="0">
                <a:pos x="91" y="15"/>
              </a:cxn>
              <a:cxn ang="0">
                <a:pos x="111" y="12"/>
              </a:cxn>
              <a:cxn ang="0">
                <a:pos x="114" y="16"/>
              </a:cxn>
              <a:cxn ang="0">
                <a:pos x="118" y="14"/>
              </a:cxn>
              <a:cxn ang="0">
                <a:pos x="123" y="12"/>
              </a:cxn>
              <a:cxn ang="0">
                <a:pos x="128" y="10"/>
              </a:cxn>
              <a:cxn ang="0">
                <a:pos x="128" y="8"/>
              </a:cxn>
            </a:cxnLst>
            <a:rect l="0" t="0" r="r" b="b"/>
            <a:pathLst>
              <a:path w="131" h="133">
                <a:moveTo>
                  <a:pt x="128" y="8"/>
                </a:moveTo>
                <a:cubicBezTo>
                  <a:pt x="128" y="7"/>
                  <a:pt x="126" y="7"/>
                  <a:pt x="126" y="7"/>
                </a:cubicBezTo>
                <a:cubicBezTo>
                  <a:pt x="125" y="6"/>
                  <a:pt x="124" y="7"/>
                  <a:pt x="123" y="6"/>
                </a:cubicBezTo>
                <a:cubicBezTo>
                  <a:pt x="122" y="6"/>
                  <a:pt x="122" y="6"/>
                  <a:pt x="121" y="6"/>
                </a:cubicBezTo>
                <a:cubicBezTo>
                  <a:pt x="121" y="6"/>
                  <a:pt x="120" y="6"/>
                  <a:pt x="119" y="7"/>
                </a:cubicBezTo>
                <a:cubicBezTo>
                  <a:pt x="113" y="8"/>
                  <a:pt x="107" y="9"/>
                  <a:pt x="101" y="11"/>
                </a:cubicBezTo>
                <a:cubicBezTo>
                  <a:pt x="99" y="11"/>
                  <a:pt x="97" y="11"/>
                  <a:pt x="96" y="12"/>
                </a:cubicBezTo>
                <a:cubicBezTo>
                  <a:pt x="95" y="12"/>
                  <a:pt x="94" y="12"/>
                  <a:pt x="94" y="12"/>
                </a:cubicBezTo>
                <a:cubicBezTo>
                  <a:pt x="93" y="12"/>
                  <a:pt x="93" y="12"/>
                  <a:pt x="92" y="12"/>
                </a:cubicBezTo>
                <a:cubicBezTo>
                  <a:pt x="91" y="11"/>
                  <a:pt x="89" y="12"/>
                  <a:pt x="89" y="12"/>
                </a:cubicBezTo>
                <a:cubicBezTo>
                  <a:pt x="88" y="13"/>
                  <a:pt x="88" y="12"/>
                  <a:pt x="87" y="12"/>
                </a:cubicBezTo>
                <a:cubicBezTo>
                  <a:pt x="86" y="12"/>
                  <a:pt x="86" y="12"/>
                  <a:pt x="85" y="12"/>
                </a:cubicBezTo>
                <a:cubicBezTo>
                  <a:pt x="84" y="11"/>
                  <a:pt x="83" y="11"/>
                  <a:pt x="82" y="11"/>
                </a:cubicBezTo>
                <a:cubicBezTo>
                  <a:pt x="81" y="11"/>
                  <a:pt x="79" y="10"/>
                  <a:pt x="78" y="11"/>
                </a:cubicBezTo>
                <a:cubicBezTo>
                  <a:pt x="78" y="11"/>
                  <a:pt x="78" y="11"/>
                  <a:pt x="77" y="11"/>
                </a:cubicBezTo>
                <a:cubicBezTo>
                  <a:pt x="77" y="10"/>
                  <a:pt x="77" y="10"/>
                  <a:pt x="76" y="10"/>
                </a:cubicBezTo>
                <a:cubicBezTo>
                  <a:pt x="75" y="11"/>
                  <a:pt x="74" y="10"/>
                  <a:pt x="73" y="10"/>
                </a:cubicBezTo>
                <a:cubicBezTo>
                  <a:pt x="72" y="10"/>
                  <a:pt x="71" y="10"/>
                  <a:pt x="70" y="10"/>
                </a:cubicBezTo>
                <a:cubicBezTo>
                  <a:pt x="69" y="10"/>
                  <a:pt x="69" y="9"/>
                  <a:pt x="68" y="9"/>
                </a:cubicBezTo>
                <a:cubicBezTo>
                  <a:pt x="67" y="8"/>
                  <a:pt x="67" y="7"/>
                  <a:pt x="66" y="6"/>
                </a:cubicBezTo>
                <a:cubicBezTo>
                  <a:pt x="65" y="5"/>
                  <a:pt x="62" y="5"/>
                  <a:pt x="61" y="5"/>
                </a:cubicBezTo>
                <a:cubicBezTo>
                  <a:pt x="59" y="5"/>
                  <a:pt x="57" y="5"/>
                  <a:pt x="55" y="5"/>
                </a:cubicBezTo>
                <a:cubicBezTo>
                  <a:pt x="47" y="5"/>
                  <a:pt x="38" y="5"/>
                  <a:pt x="30" y="5"/>
                </a:cubicBezTo>
                <a:cubicBezTo>
                  <a:pt x="29" y="5"/>
                  <a:pt x="28" y="5"/>
                  <a:pt x="27" y="5"/>
                </a:cubicBezTo>
                <a:cubicBezTo>
                  <a:pt x="26" y="5"/>
                  <a:pt x="25" y="5"/>
                  <a:pt x="25" y="6"/>
                </a:cubicBezTo>
                <a:cubicBezTo>
                  <a:pt x="24" y="6"/>
                  <a:pt x="23" y="6"/>
                  <a:pt x="23" y="6"/>
                </a:cubicBezTo>
                <a:cubicBezTo>
                  <a:pt x="22" y="6"/>
                  <a:pt x="22" y="5"/>
                  <a:pt x="22" y="5"/>
                </a:cubicBezTo>
                <a:cubicBezTo>
                  <a:pt x="20" y="4"/>
                  <a:pt x="19" y="3"/>
                  <a:pt x="18" y="2"/>
                </a:cubicBezTo>
                <a:cubicBezTo>
                  <a:pt x="17" y="0"/>
                  <a:pt x="16" y="1"/>
                  <a:pt x="15" y="1"/>
                </a:cubicBezTo>
                <a:cubicBezTo>
                  <a:pt x="14" y="0"/>
                  <a:pt x="12" y="2"/>
                  <a:pt x="11" y="2"/>
                </a:cubicBezTo>
                <a:cubicBezTo>
                  <a:pt x="10" y="3"/>
                  <a:pt x="10" y="3"/>
                  <a:pt x="9" y="4"/>
                </a:cubicBezTo>
                <a:cubicBezTo>
                  <a:pt x="9" y="4"/>
                  <a:pt x="8" y="4"/>
                  <a:pt x="8" y="4"/>
                </a:cubicBezTo>
                <a:cubicBezTo>
                  <a:pt x="8" y="4"/>
                  <a:pt x="8" y="3"/>
                  <a:pt x="8" y="3"/>
                </a:cubicBezTo>
                <a:cubicBezTo>
                  <a:pt x="7" y="3"/>
                  <a:pt x="6" y="4"/>
                  <a:pt x="6" y="3"/>
                </a:cubicBezTo>
                <a:cubicBezTo>
                  <a:pt x="5" y="3"/>
                  <a:pt x="5" y="3"/>
                  <a:pt x="5" y="3"/>
                </a:cubicBezTo>
                <a:cubicBezTo>
                  <a:pt x="3" y="3"/>
                  <a:pt x="2" y="4"/>
                  <a:pt x="1" y="4"/>
                </a:cubicBezTo>
                <a:cubicBezTo>
                  <a:pt x="1" y="7"/>
                  <a:pt x="0" y="11"/>
                  <a:pt x="2" y="14"/>
                </a:cubicBezTo>
                <a:cubicBezTo>
                  <a:pt x="3" y="15"/>
                  <a:pt x="3" y="16"/>
                  <a:pt x="4" y="18"/>
                </a:cubicBezTo>
                <a:cubicBezTo>
                  <a:pt x="5" y="19"/>
                  <a:pt x="6" y="19"/>
                  <a:pt x="7" y="21"/>
                </a:cubicBezTo>
                <a:cubicBezTo>
                  <a:pt x="7" y="21"/>
                  <a:pt x="8" y="22"/>
                  <a:pt x="8" y="22"/>
                </a:cubicBezTo>
                <a:cubicBezTo>
                  <a:pt x="8" y="23"/>
                  <a:pt x="8" y="23"/>
                  <a:pt x="9" y="24"/>
                </a:cubicBezTo>
                <a:cubicBezTo>
                  <a:pt x="9" y="25"/>
                  <a:pt x="10" y="26"/>
                  <a:pt x="10" y="27"/>
                </a:cubicBezTo>
                <a:cubicBezTo>
                  <a:pt x="11" y="29"/>
                  <a:pt x="12" y="31"/>
                  <a:pt x="13" y="32"/>
                </a:cubicBezTo>
                <a:cubicBezTo>
                  <a:pt x="13" y="33"/>
                  <a:pt x="13" y="34"/>
                  <a:pt x="13" y="34"/>
                </a:cubicBezTo>
                <a:cubicBezTo>
                  <a:pt x="14" y="35"/>
                  <a:pt x="14" y="35"/>
                  <a:pt x="14" y="36"/>
                </a:cubicBezTo>
                <a:cubicBezTo>
                  <a:pt x="16" y="37"/>
                  <a:pt x="15" y="39"/>
                  <a:pt x="16" y="40"/>
                </a:cubicBezTo>
                <a:cubicBezTo>
                  <a:pt x="17" y="42"/>
                  <a:pt x="17" y="43"/>
                  <a:pt x="17" y="44"/>
                </a:cubicBezTo>
                <a:cubicBezTo>
                  <a:pt x="18" y="46"/>
                  <a:pt x="19" y="47"/>
                  <a:pt x="20" y="49"/>
                </a:cubicBezTo>
                <a:cubicBezTo>
                  <a:pt x="20" y="49"/>
                  <a:pt x="21" y="50"/>
                  <a:pt x="21" y="51"/>
                </a:cubicBezTo>
                <a:cubicBezTo>
                  <a:pt x="21" y="51"/>
                  <a:pt x="21" y="52"/>
                  <a:pt x="22" y="52"/>
                </a:cubicBezTo>
                <a:cubicBezTo>
                  <a:pt x="22" y="53"/>
                  <a:pt x="22" y="53"/>
                  <a:pt x="22" y="54"/>
                </a:cubicBezTo>
                <a:cubicBezTo>
                  <a:pt x="23" y="54"/>
                  <a:pt x="23" y="55"/>
                  <a:pt x="24" y="56"/>
                </a:cubicBezTo>
                <a:cubicBezTo>
                  <a:pt x="25" y="57"/>
                  <a:pt x="25" y="58"/>
                  <a:pt x="26" y="59"/>
                </a:cubicBezTo>
                <a:cubicBezTo>
                  <a:pt x="27" y="60"/>
                  <a:pt x="27" y="62"/>
                  <a:pt x="27" y="63"/>
                </a:cubicBezTo>
                <a:cubicBezTo>
                  <a:pt x="27" y="64"/>
                  <a:pt x="28" y="65"/>
                  <a:pt x="28" y="65"/>
                </a:cubicBezTo>
                <a:cubicBezTo>
                  <a:pt x="27" y="66"/>
                  <a:pt x="27" y="66"/>
                  <a:pt x="27" y="67"/>
                </a:cubicBezTo>
                <a:cubicBezTo>
                  <a:pt x="27" y="67"/>
                  <a:pt x="27" y="66"/>
                  <a:pt x="27" y="66"/>
                </a:cubicBezTo>
                <a:cubicBezTo>
                  <a:pt x="25" y="67"/>
                  <a:pt x="28" y="69"/>
                  <a:pt x="27" y="71"/>
                </a:cubicBezTo>
                <a:cubicBezTo>
                  <a:pt x="27" y="71"/>
                  <a:pt x="27" y="71"/>
                  <a:pt x="27" y="71"/>
                </a:cubicBezTo>
                <a:cubicBezTo>
                  <a:pt x="26" y="72"/>
                  <a:pt x="27" y="72"/>
                  <a:pt x="27" y="73"/>
                </a:cubicBezTo>
                <a:cubicBezTo>
                  <a:pt x="27" y="74"/>
                  <a:pt x="27" y="75"/>
                  <a:pt x="27" y="76"/>
                </a:cubicBezTo>
                <a:cubicBezTo>
                  <a:pt x="27" y="77"/>
                  <a:pt x="27" y="77"/>
                  <a:pt x="27" y="78"/>
                </a:cubicBezTo>
                <a:cubicBezTo>
                  <a:pt x="27" y="78"/>
                  <a:pt x="27" y="79"/>
                  <a:pt x="27" y="79"/>
                </a:cubicBezTo>
                <a:cubicBezTo>
                  <a:pt x="27" y="80"/>
                  <a:pt x="27" y="81"/>
                  <a:pt x="28" y="82"/>
                </a:cubicBezTo>
                <a:cubicBezTo>
                  <a:pt x="28" y="82"/>
                  <a:pt x="28" y="83"/>
                  <a:pt x="28" y="83"/>
                </a:cubicBezTo>
                <a:cubicBezTo>
                  <a:pt x="28" y="84"/>
                  <a:pt x="28" y="84"/>
                  <a:pt x="28" y="84"/>
                </a:cubicBezTo>
                <a:cubicBezTo>
                  <a:pt x="28" y="85"/>
                  <a:pt x="29" y="86"/>
                  <a:pt x="29" y="87"/>
                </a:cubicBezTo>
                <a:cubicBezTo>
                  <a:pt x="30" y="87"/>
                  <a:pt x="30" y="88"/>
                  <a:pt x="30" y="89"/>
                </a:cubicBezTo>
                <a:cubicBezTo>
                  <a:pt x="30" y="90"/>
                  <a:pt x="30" y="90"/>
                  <a:pt x="30" y="91"/>
                </a:cubicBezTo>
                <a:cubicBezTo>
                  <a:pt x="30" y="92"/>
                  <a:pt x="30" y="93"/>
                  <a:pt x="30" y="94"/>
                </a:cubicBezTo>
                <a:cubicBezTo>
                  <a:pt x="30" y="95"/>
                  <a:pt x="30" y="95"/>
                  <a:pt x="30" y="96"/>
                </a:cubicBezTo>
                <a:cubicBezTo>
                  <a:pt x="30" y="97"/>
                  <a:pt x="30" y="98"/>
                  <a:pt x="31" y="98"/>
                </a:cubicBezTo>
                <a:cubicBezTo>
                  <a:pt x="31" y="99"/>
                  <a:pt x="31" y="99"/>
                  <a:pt x="31" y="99"/>
                </a:cubicBezTo>
                <a:cubicBezTo>
                  <a:pt x="31" y="99"/>
                  <a:pt x="31" y="100"/>
                  <a:pt x="31" y="100"/>
                </a:cubicBezTo>
                <a:cubicBezTo>
                  <a:pt x="32" y="101"/>
                  <a:pt x="31" y="101"/>
                  <a:pt x="31" y="102"/>
                </a:cubicBezTo>
                <a:cubicBezTo>
                  <a:pt x="31" y="102"/>
                  <a:pt x="31" y="102"/>
                  <a:pt x="31" y="103"/>
                </a:cubicBezTo>
                <a:cubicBezTo>
                  <a:pt x="31" y="103"/>
                  <a:pt x="31" y="103"/>
                  <a:pt x="31" y="104"/>
                </a:cubicBezTo>
                <a:cubicBezTo>
                  <a:pt x="31" y="104"/>
                  <a:pt x="32" y="104"/>
                  <a:pt x="32" y="104"/>
                </a:cubicBezTo>
                <a:cubicBezTo>
                  <a:pt x="33" y="105"/>
                  <a:pt x="33" y="105"/>
                  <a:pt x="33" y="105"/>
                </a:cubicBezTo>
                <a:cubicBezTo>
                  <a:pt x="33" y="106"/>
                  <a:pt x="33" y="107"/>
                  <a:pt x="33" y="107"/>
                </a:cubicBezTo>
                <a:cubicBezTo>
                  <a:pt x="33" y="107"/>
                  <a:pt x="32" y="107"/>
                  <a:pt x="32" y="108"/>
                </a:cubicBezTo>
                <a:cubicBezTo>
                  <a:pt x="33" y="109"/>
                  <a:pt x="33" y="109"/>
                  <a:pt x="33" y="110"/>
                </a:cubicBezTo>
                <a:cubicBezTo>
                  <a:pt x="33" y="110"/>
                  <a:pt x="34" y="110"/>
                  <a:pt x="34" y="111"/>
                </a:cubicBezTo>
                <a:cubicBezTo>
                  <a:pt x="34" y="111"/>
                  <a:pt x="34" y="112"/>
                  <a:pt x="34" y="112"/>
                </a:cubicBezTo>
                <a:cubicBezTo>
                  <a:pt x="34" y="113"/>
                  <a:pt x="34" y="114"/>
                  <a:pt x="34" y="115"/>
                </a:cubicBezTo>
                <a:cubicBezTo>
                  <a:pt x="35" y="115"/>
                  <a:pt x="35" y="116"/>
                  <a:pt x="36" y="117"/>
                </a:cubicBezTo>
                <a:cubicBezTo>
                  <a:pt x="36" y="118"/>
                  <a:pt x="36" y="118"/>
                  <a:pt x="36" y="119"/>
                </a:cubicBezTo>
                <a:cubicBezTo>
                  <a:pt x="37" y="120"/>
                  <a:pt x="38" y="120"/>
                  <a:pt x="38" y="121"/>
                </a:cubicBezTo>
                <a:cubicBezTo>
                  <a:pt x="38" y="122"/>
                  <a:pt x="39" y="123"/>
                  <a:pt x="39" y="123"/>
                </a:cubicBezTo>
                <a:cubicBezTo>
                  <a:pt x="41" y="124"/>
                  <a:pt x="42" y="126"/>
                  <a:pt x="43" y="127"/>
                </a:cubicBezTo>
                <a:cubicBezTo>
                  <a:pt x="43" y="128"/>
                  <a:pt x="44" y="128"/>
                  <a:pt x="45" y="129"/>
                </a:cubicBezTo>
                <a:cubicBezTo>
                  <a:pt x="45" y="129"/>
                  <a:pt x="46" y="128"/>
                  <a:pt x="47" y="127"/>
                </a:cubicBezTo>
                <a:cubicBezTo>
                  <a:pt x="47" y="127"/>
                  <a:pt x="47" y="128"/>
                  <a:pt x="48" y="127"/>
                </a:cubicBezTo>
                <a:cubicBezTo>
                  <a:pt x="48" y="127"/>
                  <a:pt x="48" y="126"/>
                  <a:pt x="48" y="125"/>
                </a:cubicBezTo>
                <a:cubicBezTo>
                  <a:pt x="48" y="125"/>
                  <a:pt x="48" y="125"/>
                  <a:pt x="48" y="125"/>
                </a:cubicBezTo>
                <a:cubicBezTo>
                  <a:pt x="48" y="125"/>
                  <a:pt x="49" y="124"/>
                  <a:pt x="49" y="124"/>
                </a:cubicBezTo>
                <a:cubicBezTo>
                  <a:pt x="49" y="124"/>
                  <a:pt x="49" y="124"/>
                  <a:pt x="49" y="123"/>
                </a:cubicBezTo>
                <a:cubicBezTo>
                  <a:pt x="49" y="123"/>
                  <a:pt x="49" y="123"/>
                  <a:pt x="50" y="123"/>
                </a:cubicBezTo>
                <a:cubicBezTo>
                  <a:pt x="50" y="122"/>
                  <a:pt x="51" y="122"/>
                  <a:pt x="51" y="123"/>
                </a:cubicBezTo>
                <a:cubicBezTo>
                  <a:pt x="52" y="123"/>
                  <a:pt x="52" y="123"/>
                  <a:pt x="52" y="124"/>
                </a:cubicBezTo>
                <a:cubicBezTo>
                  <a:pt x="52" y="124"/>
                  <a:pt x="52" y="125"/>
                  <a:pt x="52" y="125"/>
                </a:cubicBezTo>
                <a:cubicBezTo>
                  <a:pt x="53" y="125"/>
                  <a:pt x="53" y="124"/>
                  <a:pt x="53" y="125"/>
                </a:cubicBezTo>
                <a:cubicBezTo>
                  <a:pt x="54" y="125"/>
                  <a:pt x="54" y="125"/>
                  <a:pt x="54" y="125"/>
                </a:cubicBezTo>
                <a:cubicBezTo>
                  <a:pt x="54" y="127"/>
                  <a:pt x="53" y="126"/>
                  <a:pt x="53" y="127"/>
                </a:cubicBezTo>
                <a:cubicBezTo>
                  <a:pt x="53" y="128"/>
                  <a:pt x="54" y="128"/>
                  <a:pt x="54" y="129"/>
                </a:cubicBezTo>
                <a:cubicBezTo>
                  <a:pt x="54" y="129"/>
                  <a:pt x="53" y="130"/>
                  <a:pt x="54" y="130"/>
                </a:cubicBezTo>
                <a:cubicBezTo>
                  <a:pt x="55" y="129"/>
                  <a:pt x="55" y="129"/>
                  <a:pt x="56" y="130"/>
                </a:cubicBezTo>
                <a:cubicBezTo>
                  <a:pt x="56" y="131"/>
                  <a:pt x="57" y="130"/>
                  <a:pt x="57" y="130"/>
                </a:cubicBezTo>
                <a:cubicBezTo>
                  <a:pt x="57" y="130"/>
                  <a:pt x="58" y="130"/>
                  <a:pt x="58" y="131"/>
                </a:cubicBezTo>
                <a:cubicBezTo>
                  <a:pt x="59" y="131"/>
                  <a:pt x="59" y="131"/>
                  <a:pt x="60" y="132"/>
                </a:cubicBezTo>
                <a:cubicBezTo>
                  <a:pt x="60" y="132"/>
                  <a:pt x="61" y="132"/>
                  <a:pt x="61" y="132"/>
                </a:cubicBezTo>
                <a:cubicBezTo>
                  <a:pt x="63" y="132"/>
                  <a:pt x="64" y="132"/>
                  <a:pt x="65" y="131"/>
                </a:cubicBezTo>
                <a:cubicBezTo>
                  <a:pt x="66" y="131"/>
                  <a:pt x="67" y="131"/>
                  <a:pt x="68" y="131"/>
                </a:cubicBezTo>
                <a:cubicBezTo>
                  <a:pt x="68" y="132"/>
                  <a:pt x="69" y="132"/>
                  <a:pt x="69" y="132"/>
                </a:cubicBezTo>
                <a:cubicBezTo>
                  <a:pt x="70" y="133"/>
                  <a:pt x="71" y="132"/>
                  <a:pt x="71" y="132"/>
                </a:cubicBezTo>
                <a:cubicBezTo>
                  <a:pt x="72" y="131"/>
                  <a:pt x="70" y="130"/>
                  <a:pt x="72" y="130"/>
                </a:cubicBezTo>
                <a:cubicBezTo>
                  <a:pt x="72" y="130"/>
                  <a:pt x="73" y="130"/>
                  <a:pt x="73" y="129"/>
                </a:cubicBezTo>
                <a:cubicBezTo>
                  <a:pt x="73" y="129"/>
                  <a:pt x="74" y="128"/>
                  <a:pt x="74" y="128"/>
                </a:cubicBezTo>
                <a:cubicBezTo>
                  <a:pt x="75" y="128"/>
                  <a:pt x="75" y="127"/>
                  <a:pt x="76" y="127"/>
                </a:cubicBezTo>
                <a:cubicBezTo>
                  <a:pt x="76" y="127"/>
                  <a:pt x="76" y="127"/>
                  <a:pt x="77" y="127"/>
                </a:cubicBezTo>
                <a:cubicBezTo>
                  <a:pt x="78" y="127"/>
                  <a:pt x="78" y="127"/>
                  <a:pt x="78" y="126"/>
                </a:cubicBezTo>
                <a:cubicBezTo>
                  <a:pt x="78" y="122"/>
                  <a:pt x="78" y="118"/>
                  <a:pt x="78" y="114"/>
                </a:cubicBezTo>
                <a:cubicBezTo>
                  <a:pt x="79" y="106"/>
                  <a:pt x="79" y="98"/>
                  <a:pt x="79" y="89"/>
                </a:cubicBezTo>
                <a:cubicBezTo>
                  <a:pt x="79" y="81"/>
                  <a:pt x="79" y="72"/>
                  <a:pt x="79" y="64"/>
                </a:cubicBezTo>
                <a:cubicBezTo>
                  <a:pt x="79" y="62"/>
                  <a:pt x="79" y="60"/>
                  <a:pt x="79" y="57"/>
                </a:cubicBezTo>
                <a:cubicBezTo>
                  <a:pt x="79" y="57"/>
                  <a:pt x="79" y="56"/>
                  <a:pt x="80" y="56"/>
                </a:cubicBezTo>
                <a:cubicBezTo>
                  <a:pt x="80" y="56"/>
                  <a:pt x="81" y="56"/>
                  <a:pt x="81" y="56"/>
                </a:cubicBezTo>
                <a:cubicBezTo>
                  <a:pt x="83" y="56"/>
                  <a:pt x="85" y="56"/>
                  <a:pt x="87" y="56"/>
                </a:cubicBezTo>
                <a:cubicBezTo>
                  <a:pt x="89" y="56"/>
                  <a:pt x="89" y="55"/>
                  <a:pt x="89" y="53"/>
                </a:cubicBezTo>
                <a:cubicBezTo>
                  <a:pt x="89" y="45"/>
                  <a:pt x="89" y="37"/>
                  <a:pt x="89" y="29"/>
                </a:cubicBezTo>
                <a:cubicBezTo>
                  <a:pt x="89" y="24"/>
                  <a:pt x="90" y="20"/>
                  <a:pt x="90" y="16"/>
                </a:cubicBezTo>
                <a:cubicBezTo>
                  <a:pt x="90" y="15"/>
                  <a:pt x="90" y="16"/>
                  <a:pt x="91" y="15"/>
                </a:cubicBezTo>
                <a:cubicBezTo>
                  <a:pt x="92" y="15"/>
                  <a:pt x="93" y="15"/>
                  <a:pt x="94" y="15"/>
                </a:cubicBezTo>
                <a:cubicBezTo>
                  <a:pt x="96" y="15"/>
                  <a:pt x="98" y="15"/>
                  <a:pt x="100" y="14"/>
                </a:cubicBezTo>
                <a:cubicBezTo>
                  <a:pt x="103" y="13"/>
                  <a:pt x="107" y="13"/>
                  <a:pt x="111" y="12"/>
                </a:cubicBezTo>
                <a:cubicBezTo>
                  <a:pt x="112" y="12"/>
                  <a:pt x="112" y="12"/>
                  <a:pt x="112" y="13"/>
                </a:cubicBezTo>
                <a:cubicBezTo>
                  <a:pt x="112" y="14"/>
                  <a:pt x="113" y="14"/>
                  <a:pt x="113" y="15"/>
                </a:cubicBezTo>
                <a:cubicBezTo>
                  <a:pt x="114" y="15"/>
                  <a:pt x="114" y="16"/>
                  <a:pt x="114" y="16"/>
                </a:cubicBezTo>
                <a:cubicBezTo>
                  <a:pt x="114" y="16"/>
                  <a:pt x="114" y="18"/>
                  <a:pt x="115" y="17"/>
                </a:cubicBezTo>
                <a:cubicBezTo>
                  <a:pt x="115" y="17"/>
                  <a:pt x="116" y="16"/>
                  <a:pt x="117" y="16"/>
                </a:cubicBezTo>
                <a:cubicBezTo>
                  <a:pt x="117" y="15"/>
                  <a:pt x="117" y="15"/>
                  <a:pt x="118" y="14"/>
                </a:cubicBezTo>
                <a:cubicBezTo>
                  <a:pt x="119" y="14"/>
                  <a:pt x="119" y="13"/>
                  <a:pt x="120" y="12"/>
                </a:cubicBezTo>
                <a:cubicBezTo>
                  <a:pt x="121" y="12"/>
                  <a:pt x="121" y="12"/>
                  <a:pt x="122" y="12"/>
                </a:cubicBezTo>
                <a:cubicBezTo>
                  <a:pt x="122" y="11"/>
                  <a:pt x="123" y="12"/>
                  <a:pt x="123" y="12"/>
                </a:cubicBezTo>
                <a:cubicBezTo>
                  <a:pt x="123" y="13"/>
                  <a:pt x="124" y="12"/>
                  <a:pt x="124" y="12"/>
                </a:cubicBezTo>
                <a:cubicBezTo>
                  <a:pt x="125" y="11"/>
                  <a:pt x="125" y="11"/>
                  <a:pt x="126" y="11"/>
                </a:cubicBezTo>
                <a:cubicBezTo>
                  <a:pt x="126" y="10"/>
                  <a:pt x="127" y="10"/>
                  <a:pt x="128" y="10"/>
                </a:cubicBezTo>
                <a:cubicBezTo>
                  <a:pt x="128" y="10"/>
                  <a:pt x="129" y="10"/>
                  <a:pt x="129" y="10"/>
                </a:cubicBezTo>
                <a:cubicBezTo>
                  <a:pt x="130" y="10"/>
                  <a:pt x="130" y="10"/>
                  <a:pt x="131" y="10"/>
                </a:cubicBezTo>
                <a:cubicBezTo>
                  <a:pt x="130" y="9"/>
                  <a:pt x="129" y="9"/>
                  <a:pt x="128" y="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89" name="Myanmar (Burma)"/>
          <p:cNvSpPr>
            <a:spLocks noEditPoints="1"/>
          </p:cNvSpPr>
          <p:nvPr/>
        </p:nvSpPr>
        <p:spPr bwMode="auto">
          <a:xfrm>
            <a:off x="8966965" y="3531979"/>
            <a:ext cx="310989" cy="747972"/>
          </a:xfrm>
          <a:custGeom>
            <a:avLst/>
            <a:gdLst/>
            <a:ahLst/>
            <a:cxnLst>
              <a:cxn ang="0">
                <a:pos x="65" y="162"/>
              </a:cxn>
              <a:cxn ang="0">
                <a:pos x="60" y="142"/>
              </a:cxn>
              <a:cxn ang="0">
                <a:pos x="71" y="204"/>
              </a:cxn>
              <a:cxn ang="0">
                <a:pos x="83" y="75"/>
              </a:cxn>
              <a:cxn ang="0">
                <a:pos x="71" y="71"/>
              </a:cxn>
              <a:cxn ang="0">
                <a:pos x="67" y="60"/>
              </a:cxn>
              <a:cxn ang="0">
                <a:pos x="60" y="55"/>
              </a:cxn>
              <a:cxn ang="0">
                <a:pos x="50" y="50"/>
              </a:cxn>
              <a:cxn ang="0">
                <a:pos x="46" y="41"/>
              </a:cxn>
              <a:cxn ang="0">
                <a:pos x="52" y="31"/>
              </a:cxn>
              <a:cxn ang="0">
                <a:pos x="53" y="16"/>
              </a:cxn>
              <a:cxn ang="0">
                <a:pos x="47" y="9"/>
              </a:cxn>
              <a:cxn ang="0">
                <a:pos x="39" y="0"/>
              </a:cxn>
              <a:cxn ang="0">
                <a:pos x="35" y="9"/>
              </a:cxn>
              <a:cxn ang="0">
                <a:pos x="31" y="13"/>
              </a:cxn>
              <a:cxn ang="0">
                <a:pos x="19" y="22"/>
              </a:cxn>
              <a:cxn ang="0">
                <a:pos x="18" y="40"/>
              </a:cxn>
              <a:cxn ang="0">
                <a:pos x="10" y="50"/>
              </a:cxn>
              <a:cxn ang="0">
                <a:pos x="7" y="64"/>
              </a:cxn>
              <a:cxn ang="0">
                <a:pos x="4" y="74"/>
              </a:cxn>
              <a:cxn ang="0">
                <a:pos x="5" y="88"/>
              </a:cxn>
              <a:cxn ang="0">
                <a:pos x="10" y="90"/>
              </a:cxn>
              <a:cxn ang="0">
                <a:pos x="12" y="95"/>
              </a:cxn>
              <a:cxn ang="0">
                <a:pos x="16" y="96"/>
              </a:cxn>
              <a:cxn ang="0">
                <a:pos x="20" y="103"/>
              </a:cxn>
              <a:cxn ang="0">
                <a:pos x="25" y="111"/>
              </a:cxn>
              <a:cxn ang="0">
                <a:pos x="28" y="124"/>
              </a:cxn>
              <a:cxn ang="0">
                <a:pos x="28" y="137"/>
              </a:cxn>
              <a:cxn ang="0">
                <a:pos x="32" y="136"/>
              </a:cxn>
              <a:cxn ang="0">
                <a:pos x="33" y="138"/>
              </a:cxn>
              <a:cxn ang="0">
                <a:pos x="37" y="139"/>
              </a:cxn>
              <a:cxn ang="0">
                <a:pos x="41" y="135"/>
              </a:cxn>
              <a:cxn ang="0">
                <a:pos x="45" y="129"/>
              </a:cxn>
              <a:cxn ang="0">
                <a:pos x="50" y="121"/>
              </a:cxn>
              <a:cxn ang="0">
                <a:pos x="56" y="132"/>
              </a:cxn>
              <a:cxn ang="0">
                <a:pos x="62" y="146"/>
              </a:cxn>
              <a:cxn ang="0">
                <a:pos x="66" y="157"/>
              </a:cxn>
              <a:cxn ang="0">
                <a:pos x="68" y="162"/>
              </a:cxn>
              <a:cxn ang="0">
                <a:pos x="73" y="173"/>
              </a:cxn>
              <a:cxn ang="0">
                <a:pos x="74" y="180"/>
              </a:cxn>
              <a:cxn ang="0">
                <a:pos x="73" y="183"/>
              </a:cxn>
              <a:cxn ang="0">
                <a:pos x="75" y="188"/>
              </a:cxn>
              <a:cxn ang="0">
                <a:pos x="73" y="196"/>
              </a:cxn>
              <a:cxn ang="0">
                <a:pos x="80" y="191"/>
              </a:cxn>
              <a:cxn ang="0">
                <a:pos x="82" y="180"/>
              </a:cxn>
              <a:cxn ang="0">
                <a:pos x="78" y="167"/>
              </a:cxn>
              <a:cxn ang="0">
                <a:pos x="67" y="149"/>
              </a:cxn>
              <a:cxn ang="0">
                <a:pos x="69" y="137"/>
              </a:cxn>
              <a:cxn ang="0">
                <a:pos x="67" y="128"/>
              </a:cxn>
              <a:cxn ang="0">
                <a:pos x="55" y="112"/>
              </a:cxn>
              <a:cxn ang="0">
                <a:pos x="57" y="99"/>
              </a:cxn>
              <a:cxn ang="0">
                <a:pos x="70" y="93"/>
              </a:cxn>
              <a:cxn ang="0">
                <a:pos x="80" y="83"/>
              </a:cxn>
              <a:cxn ang="0">
                <a:pos x="68" y="184"/>
              </a:cxn>
              <a:cxn ang="0">
                <a:pos x="73" y="194"/>
              </a:cxn>
              <a:cxn ang="0">
                <a:pos x="69" y="187"/>
              </a:cxn>
              <a:cxn ang="0">
                <a:pos x="69" y="175"/>
              </a:cxn>
              <a:cxn ang="0">
                <a:pos x="70" y="174"/>
              </a:cxn>
              <a:cxn ang="0">
                <a:pos x="64" y="183"/>
              </a:cxn>
              <a:cxn ang="0">
                <a:pos x="73" y="191"/>
              </a:cxn>
              <a:cxn ang="0">
                <a:pos x="19" y="106"/>
              </a:cxn>
              <a:cxn ang="0">
                <a:pos x="67" y="178"/>
              </a:cxn>
              <a:cxn ang="0">
                <a:pos x="20" y="106"/>
              </a:cxn>
            </a:cxnLst>
            <a:rect l="0" t="0" r="r" b="b"/>
            <a:pathLst>
              <a:path w="86" h="207">
                <a:moveTo>
                  <a:pt x="73" y="206"/>
                </a:moveTo>
                <a:cubicBezTo>
                  <a:pt x="73" y="206"/>
                  <a:pt x="73" y="207"/>
                  <a:pt x="73" y="206"/>
                </a:cubicBezTo>
                <a:cubicBezTo>
                  <a:pt x="73" y="206"/>
                  <a:pt x="73" y="206"/>
                  <a:pt x="73" y="206"/>
                </a:cubicBezTo>
                <a:close/>
                <a:moveTo>
                  <a:pt x="65" y="160"/>
                </a:moveTo>
                <a:cubicBezTo>
                  <a:pt x="65" y="160"/>
                  <a:pt x="65" y="160"/>
                  <a:pt x="65" y="160"/>
                </a:cubicBezTo>
                <a:cubicBezTo>
                  <a:pt x="65" y="160"/>
                  <a:pt x="64" y="160"/>
                  <a:pt x="65" y="160"/>
                </a:cubicBezTo>
                <a:close/>
                <a:moveTo>
                  <a:pt x="70" y="182"/>
                </a:moveTo>
                <a:cubicBezTo>
                  <a:pt x="70" y="182"/>
                  <a:pt x="70" y="182"/>
                  <a:pt x="70" y="182"/>
                </a:cubicBezTo>
                <a:cubicBezTo>
                  <a:pt x="70" y="182"/>
                  <a:pt x="70" y="182"/>
                  <a:pt x="70" y="182"/>
                </a:cubicBezTo>
                <a:cubicBezTo>
                  <a:pt x="69" y="182"/>
                  <a:pt x="70" y="182"/>
                  <a:pt x="70" y="182"/>
                </a:cubicBezTo>
                <a:close/>
                <a:moveTo>
                  <a:pt x="65" y="162"/>
                </a:moveTo>
                <a:cubicBezTo>
                  <a:pt x="65" y="161"/>
                  <a:pt x="65" y="161"/>
                  <a:pt x="65" y="161"/>
                </a:cubicBezTo>
                <a:cubicBezTo>
                  <a:pt x="65" y="161"/>
                  <a:pt x="65" y="162"/>
                  <a:pt x="65" y="162"/>
                </a:cubicBezTo>
                <a:close/>
                <a:moveTo>
                  <a:pt x="65" y="173"/>
                </a:moveTo>
                <a:cubicBezTo>
                  <a:pt x="66" y="173"/>
                  <a:pt x="65" y="172"/>
                  <a:pt x="65" y="173"/>
                </a:cubicBezTo>
                <a:close/>
                <a:moveTo>
                  <a:pt x="65" y="175"/>
                </a:moveTo>
                <a:cubicBezTo>
                  <a:pt x="65" y="175"/>
                  <a:pt x="65" y="175"/>
                  <a:pt x="65" y="175"/>
                </a:cubicBezTo>
                <a:cubicBezTo>
                  <a:pt x="66" y="175"/>
                  <a:pt x="65" y="175"/>
                  <a:pt x="65" y="175"/>
                </a:cubicBezTo>
                <a:close/>
                <a:moveTo>
                  <a:pt x="60" y="142"/>
                </a:moveTo>
                <a:cubicBezTo>
                  <a:pt x="60" y="142"/>
                  <a:pt x="60" y="143"/>
                  <a:pt x="60" y="143"/>
                </a:cubicBezTo>
                <a:cubicBezTo>
                  <a:pt x="60" y="143"/>
                  <a:pt x="60" y="142"/>
                  <a:pt x="60" y="142"/>
                </a:cubicBezTo>
                <a:cubicBezTo>
                  <a:pt x="60" y="142"/>
                  <a:pt x="60" y="142"/>
                  <a:pt x="60" y="142"/>
                </a:cubicBezTo>
                <a:close/>
                <a:moveTo>
                  <a:pt x="70" y="190"/>
                </a:moveTo>
                <a:cubicBezTo>
                  <a:pt x="71" y="190"/>
                  <a:pt x="71" y="189"/>
                  <a:pt x="70" y="189"/>
                </a:cubicBezTo>
                <a:cubicBezTo>
                  <a:pt x="70" y="190"/>
                  <a:pt x="70" y="190"/>
                  <a:pt x="70" y="190"/>
                </a:cubicBezTo>
                <a:close/>
                <a:moveTo>
                  <a:pt x="72" y="193"/>
                </a:moveTo>
                <a:cubicBezTo>
                  <a:pt x="73" y="193"/>
                  <a:pt x="72" y="192"/>
                  <a:pt x="72" y="193"/>
                </a:cubicBezTo>
                <a:close/>
                <a:moveTo>
                  <a:pt x="62" y="184"/>
                </a:moveTo>
                <a:cubicBezTo>
                  <a:pt x="62" y="184"/>
                  <a:pt x="62" y="184"/>
                  <a:pt x="62" y="184"/>
                </a:cubicBezTo>
                <a:cubicBezTo>
                  <a:pt x="62" y="184"/>
                  <a:pt x="62" y="184"/>
                  <a:pt x="62" y="184"/>
                </a:cubicBezTo>
                <a:cubicBezTo>
                  <a:pt x="62" y="184"/>
                  <a:pt x="62" y="184"/>
                  <a:pt x="62" y="184"/>
                </a:cubicBezTo>
                <a:close/>
                <a:moveTo>
                  <a:pt x="70" y="205"/>
                </a:moveTo>
                <a:cubicBezTo>
                  <a:pt x="70" y="205"/>
                  <a:pt x="70" y="204"/>
                  <a:pt x="71" y="204"/>
                </a:cubicBezTo>
                <a:cubicBezTo>
                  <a:pt x="71" y="204"/>
                  <a:pt x="71" y="204"/>
                  <a:pt x="71" y="204"/>
                </a:cubicBezTo>
                <a:cubicBezTo>
                  <a:pt x="71" y="204"/>
                  <a:pt x="71" y="203"/>
                  <a:pt x="72" y="203"/>
                </a:cubicBezTo>
                <a:cubicBezTo>
                  <a:pt x="71" y="202"/>
                  <a:pt x="69" y="204"/>
                  <a:pt x="70" y="205"/>
                </a:cubicBezTo>
                <a:close/>
                <a:moveTo>
                  <a:pt x="71" y="201"/>
                </a:moveTo>
                <a:cubicBezTo>
                  <a:pt x="70" y="201"/>
                  <a:pt x="71" y="203"/>
                  <a:pt x="71" y="203"/>
                </a:cubicBezTo>
                <a:cubicBezTo>
                  <a:pt x="71" y="203"/>
                  <a:pt x="71" y="201"/>
                  <a:pt x="71" y="201"/>
                </a:cubicBezTo>
                <a:close/>
                <a:moveTo>
                  <a:pt x="82" y="79"/>
                </a:moveTo>
                <a:cubicBezTo>
                  <a:pt x="83" y="79"/>
                  <a:pt x="83" y="79"/>
                  <a:pt x="83" y="79"/>
                </a:cubicBezTo>
                <a:cubicBezTo>
                  <a:pt x="84" y="78"/>
                  <a:pt x="84" y="78"/>
                  <a:pt x="85" y="77"/>
                </a:cubicBezTo>
                <a:cubicBezTo>
                  <a:pt x="86" y="76"/>
                  <a:pt x="85" y="75"/>
                  <a:pt x="85" y="74"/>
                </a:cubicBezTo>
                <a:cubicBezTo>
                  <a:pt x="85" y="74"/>
                  <a:pt x="84" y="74"/>
                  <a:pt x="83" y="75"/>
                </a:cubicBezTo>
                <a:cubicBezTo>
                  <a:pt x="82" y="75"/>
                  <a:pt x="82" y="76"/>
                  <a:pt x="82" y="76"/>
                </a:cubicBezTo>
                <a:cubicBezTo>
                  <a:pt x="81" y="77"/>
                  <a:pt x="80" y="78"/>
                  <a:pt x="79" y="77"/>
                </a:cubicBezTo>
                <a:cubicBezTo>
                  <a:pt x="78" y="76"/>
                  <a:pt x="77" y="78"/>
                  <a:pt x="76" y="77"/>
                </a:cubicBezTo>
                <a:cubicBezTo>
                  <a:pt x="75" y="77"/>
                  <a:pt x="75" y="76"/>
                  <a:pt x="76" y="75"/>
                </a:cubicBezTo>
                <a:cubicBezTo>
                  <a:pt x="76" y="75"/>
                  <a:pt x="75" y="75"/>
                  <a:pt x="75" y="75"/>
                </a:cubicBezTo>
                <a:cubicBezTo>
                  <a:pt x="74" y="75"/>
                  <a:pt x="74" y="74"/>
                  <a:pt x="73" y="74"/>
                </a:cubicBezTo>
                <a:cubicBezTo>
                  <a:pt x="73" y="73"/>
                  <a:pt x="74" y="72"/>
                  <a:pt x="74" y="72"/>
                </a:cubicBezTo>
                <a:cubicBezTo>
                  <a:pt x="74" y="71"/>
                  <a:pt x="73" y="71"/>
                  <a:pt x="73" y="71"/>
                </a:cubicBezTo>
                <a:cubicBezTo>
                  <a:pt x="73" y="71"/>
                  <a:pt x="72" y="71"/>
                  <a:pt x="72" y="71"/>
                </a:cubicBezTo>
                <a:cubicBezTo>
                  <a:pt x="72" y="71"/>
                  <a:pt x="71" y="71"/>
                  <a:pt x="71" y="71"/>
                </a:cubicBezTo>
                <a:cubicBezTo>
                  <a:pt x="71" y="71"/>
                  <a:pt x="71" y="71"/>
                  <a:pt x="71" y="71"/>
                </a:cubicBezTo>
                <a:cubicBezTo>
                  <a:pt x="70" y="70"/>
                  <a:pt x="69" y="70"/>
                  <a:pt x="69" y="70"/>
                </a:cubicBezTo>
                <a:cubicBezTo>
                  <a:pt x="68" y="70"/>
                  <a:pt x="68" y="70"/>
                  <a:pt x="68" y="70"/>
                </a:cubicBezTo>
                <a:cubicBezTo>
                  <a:pt x="68" y="70"/>
                  <a:pt x="67" y="70"/>
                  <a:pt x="67" y="70"/>
                </a:cubicBezTo>
                <a:cubicBezTo>
                  <a:pt x="67" y="70"/>
                  <a:pt x="65" y="70"/>
                  <a:pt x="66" y="70"/>
                </a:cubicBezTo>
                <a:cubicBezTo>
                  <a:pt x="66" y="69"/>
                  <a:pt x="66" y="68"/>
                  <a:pt x="66" y="67"/>
                </a:cubicBezTo>
                <a:cubicBezTo>
                  <a:pt x="66" y="67"/>
                  <a:pt x="67" y="66"/>
                  <a:pt x="67" y="66"/>
                </a:cubicBezTo>
                <a:cubicBezTo>
                  <a:pt x="67" y="65"/>
                  <a:pt x="67" y="64"/>
                  <a:pt x="66" y="64"/>
                </a:cubicBezTo>
                <a:cubicBezTo>
                  <a:pt x="66" y="63"/>
                  <a:pt x="66" y="63"/>
                  <a:pt x="67" y="62"/>
                </a:cubicBezTo>
                <a:cubicBezTo>
                  <a:pt x="67" y="62"/>
                  <a:pt x="67" y="61"/>
                  <a:pt x="67" y="61"/>
                </a:cubicBezTo>
                <a:cubicBezTo>
                  <a:pt x="67" y="61"/>
                  <a:pt x="68" y="62"/>
                  <a:pt x="68" y="61"/>
                </a:cubicBezTo>
                <a:cubicBezTo>
                  <a:pt x="68" y="61"/>
                  <a:pt x="67" y="60"/>
                  <a:pt x="67" y="60"/>
                </a:cubicBezTo>
                <a:cubicBezTo>
                  <a:pt x="67" y="60"/>
                  <a:pt x="67" y="60"/>
                  <a:pt x="66" y="60"/>
                </a:cubicBezTo>
                <a:cubicBezTo>
                  <a:pt x="66" y="59"/>
                  <a:pt x="66" y="59"/>
                  <a:pt x="66" y="59"/>
                </a:cubicBezTo>
                <a:cubicBezTo>
                  <a:pt x="65" y="59"/>
                  <a:pt x="65" y="60"/>
                  <a:pt x="65" y="60"/>
                </a:cubicBezTo>
                <a:cubicBezTo>
                  <a:pt x="65" y="60"/>
                  <a:pt x="65" y="59"/>
                  <a:pt x="64" y="59"/>
                </a:cubicBezTo>
                <a:cubicBezTo>
                  <a:pt x="64" y="59"/>
                  <a:pt x="64" y="59"/>
                  <a:pt x="63" y="59"/>
                </a:cubicBezTo>
                <a:cubicBezTo>
                  <a:pt x="63" y="59"/>
                  <a:pt x="63" y="59"/>
                  <a:pt x="62" y="59"/>
                </a:cubicBezTo>
                <a:cubicBezTo>
                  <a:pt x="62" y="59"/>
                  <a:pt x="61" y="59"/>
                  <a:pt x="61" y="58"/>
                </a:cubicBezTo>
                <a:cubicBezTo>
                  <a:pt x="61" y="58"/>
                  <a:pt x="62" y="57"/>
                  <a:pt x="61" y="57"/>
                </a:cubicBezTo>
                <a:cubicBezTo>
                  <a:pt x="61" y="57"/>
                  <a:pt x="61" y="57"/>
                  <a:pt x="61" y="57"/>
                </a:cubicBezTo>
                <a:cubicBezTo>
                  <a:pt x="61" y="56"/>
                  <a:pt x="61" y="56"/>
                  <a:pt x="61" y="55"/>
                </a:cubicBezTo>
                <a:cubicBezTo>
                  <a:pt x="61" y="55"/>
                  <a:pt x="60" y="55"/>
                  <a:pt x="60" y="55"/>
                </a:cubicBezTo>
                <a:cubicBezTo>
                  <a:pt x="60" y="54"/>
                  <a:pt x="61" y="54"/>
                  <a:pt x="60" y="53"/>
                </a:cubicBezTo>
                <a:cubicBezTo>
                  <a:pt x="60" y="53"/>
                  <a:pt x="60" y="52"/>
                  <a:pt x="59" y="52"/>
                </a:cubicBezTo>
                <a:cubicBezTo>
                  <a:pt x="59" y="52"/>
                  <a:pt x="58" y="52"/>
                  <a:pt x="58" y="52"/>
                </a:cubicBezTo>
                <a:cubicBezTo>
                  <a:pt x="58" y="51"/>
                  <a:pt x="58" y="51"/>
                  <a:pt x="58" y="51"/>
                </a:cubicBezTo>
                <a:cubicBezTo>
                  <a:pt x="58" y="50"/>
                  <a:pt x="58" y="50"/>
                  <a:pt x="58" y="50"/>
                </a:cubicBezTo>
                <a:cubicBezTo>
                  <a:pt x="59" y="50"/>
                  <a:pt x="60" y="48"/>
                  <a:pt x="60" y="48"/>
                </a:cubicBezTo>
                <a:cubicBezTo>
                  <a:pt x="59" y="48"/>
                  <a:pt x="59" y="48"/>
                  <a:pt x="58" y="48"/>
                </a:cubicBezTo>
                <a:cubicBezTo>
                  <a:pt x="58" y="48"/>
                  <a:pt x="57" y="49"/>
                  <a:pt x="57" y="49"/>
                </a:cubicBezTo>
                <a:cubicBezTo>
                  <a:pt x="56" y="49"/>
                  <a:pt x="56" y="48"/>
                  <a:pt x="56" y="48"/>
                </a:cubicBezTo>
                <a:cubicBezTo>
                  <a:pt x="55" y="48"/>
                  <a:pt x="54" y="48"/>
                  <a:pt x="54" y="48"/>
                </a:cubicBezTo>
                <a:cubicBezTo>
                  <a:pt x="53" y="48"/>
                  <a:pt x="51" y="49"/>
                  <a:pt x="50" y="50"/>
                </a:cubicBezTo>
                <a:cubicBezTo>
                  <a:pt x="50" y="50"/>
                  <a:pt x="49" y="50"/>
                  <a:pt x="49" y="50"/>
                </a:cubicBezTo>
                <a:cubicBezTo>
                  <a:pt x="49" y="51"/>
                  <a:pt x="49" y="51"/>
                  <a:pt x="48" y="51"/>
                </a:cubicBezTo>
                <a:cubicBezTo>
                  <a:pt x="48" y="51"/>
                  <a:pt x="47" y="51"/>
                  <a:pt x="47" y="50"/>
                </a:cubicBezTo>
                <a:cubicBezTo>
                  <a:pt x="47" y="50"/>
                  <a:pt x="48" y="49"/>
                  <a:pt x="48" y="49"/>
                </a:cubicBezTo>
                <a:cubicBezTo>
                  <a:pt x="49" y="48"/>
                  <a:pt x="49" y="48"/>
                  <a:pt x="49" y="48"/>
                </a:cubicBezTo>
                <a:cubicBezTo>
                  <a:pt x="49" y="47"/>
                  <a:pt x="48" y="47"/>
                  <a:pt x="49" y="47"/>
                </a:cubicBezTo>
                <a:cubicBezTo>
                  <a:pt x="49" y="46"/>
                  <a:pt x="48" y="46"/>
                  <a:pt x="48" y="46"/>
                </a:cubicBezTo>
                <a:cubicBezTo>
                  <a:pt x="47" y="46"/>
                  <a:pt x="48" y="45"/>
                  <a:pt x="48" y="45"/>
                </a:cubicBezTo>
                <a:cubicBezTo>
                  <a:pt x="48" y="45"/>
                  <a:pt x="47" y="45"/>
                  <a:pt x="47" y="45"/>
                </a:cubicBezTo>
                <a:cubicBezTo>
                  <a:pt x="46" y="45"/>
                  <a:pt x="46" y="43"/>
                  <a:pt x="46" y="43"/>
                </a:cubicBezTo>
                <a:cubicBezTo>
                  <a:pt x="46" y="42"/>
                  <a:pt x="46" y="42"/>
                  <a:pt x="46" y="41"/>
                </a:cubicBezTo>
                <a:cubicBezTo>
                  <a:pt x="46" y="41"/>
                  <a:pt x="48" y="40"/>
                  <a:pt x="48" y="40"/>
                </a:cubicBezTo>
                <a:cubicBezTo>
                  <a:pt x="48" y="40"/>
                  <a:pt x="47" y="39"/>
                  <a:pt x="47" y="39"/>
                </a:cubicBezTo>
                <a:cubicBezTo>
                  <a:pt x="47" y="38"/>
                  <a:pt x="47" y="38"/>
                  <a:pt x="47" y="37"/>
                </a:cubicBezTo>
                <a:cubicBezTo>
                  <a:pt x="48" y="37"/>
                  <a:pt x="47" y="36"/>
                  <a:pt x="48" y="36"/>
                </a:cubicBezTo>
                <a:cubicBezTo>
                  <a:pt x="48" y="35"/>
                  <a:pt x="48" y="36"/>
                  <a:pt x="49" y="36"/>
                </a:cubicBezTo>
                <a:cubicBezTo>
                  <a:pt x="49" y="36"/>
                  <a:pt x="49" y="36"/>
                  <a:pt x="49" y="35"/>
                </a:cubicBezTo>
                <a:cubicBezTo>
                  <a:pt x="50" y="35"/>
                  <a:pt x="50" y="35"/>
                  <a:pt x="50" y="35"/>
                </a:cubicBezTo>
                <a:cubicBezTo>
                  <a:pt x="50" y="34"/>
                  <a:pt x="50" y="33"/>
                  <a:pt x="50" y="33"/>
                </a:cubicBezTo>
                <a:cubicBezTo>
                  <a:pt x="50" y="33"/>
                  <a:pt x="50" y="32"/>
                  <a:pt x="50" y="32"/>
                </a:cubicBezTo>
                <a:cubicBezTo>
                  <a:pt x="50" y="32"/>
                  <a:pt x="52" y="33"/>
                  <a:pt x="52" y="32"/>
                </a:cubicBezTo>
                <a:cubicBezTo>
                  <a:pt x="52" y="32"/>
                  <a:pt x="52" y="32"/>
                  <a:pt x="52" y="31"/>
                </a:cubicBezTo>
                <a:cubicBezTo>
                  <a:pt x="52" y="31"/>
                  <a:pt x="52" y="31"/>
                  <a:pt x="53" y="31"/>
                </a:cubicBezTo>
                <a:cubicBezTo>
                  <a:pt x="53" y="30"/>
                  <a:pt x="53" y="29"/>
                  <a:pt x="54" y="29"/>
                </a:cubicBezTo>
                <a:cubicBezTo>
                  <a:pt x="54" y="30"/>
                  <a:pt x="55" y="30"/>
                  <a:pt x="55" y="29"/>
                </a:cubicBezTo>
                <a:cubicBezTo>
                  <a:pt x="55" y="28"/>
                  <a:pt x="53" y="28"/>
                  <a:pt x="53" y="26"/>
                </a:cubicBezTo>
                <a:cubicBezTo>
                  <a:pt x="53" y="25"/>
                  <a:pt x="54" y="26"/>
                  <a:pt x="54" y="26"/>
                </a:cubicBezTo>
                <a:cubicBezTo>
                  <a:pt x="54" y="27"/>
                  <a:pt x="54" y="25"/>
                  <a:pt x="54" y="25"/>
                </a:cubicBezTo>
                <a:cubicBezTo>
                  <a:pt x="54" y="25"/>
                  <a:pt x="53" y="25"/>
                  <a:pt x="54" y="24"/>
                </a:cubicBezTo>
                <a:cubicBezTo>
                  <a:pt x="54" y="23"/>
                  <a:pt x="54" y="23"/>
                  <a:pt x="54" y="22"/>
                </a:cubicBezTo>
                <a:cubicBezTo>
                  <a:pt x="54" y="21"/>
                  <a:pt x="54" y="20"/>
                  <a:pt x="53" y="19"/>
                </a:cubicBezTo>
                <a:cubicBezTo>
                  <a:pt x="53" y="19"/>
                  <a:pt x="53" y="18"/>
                  <a:pt x="53" y="18"/>
                </a:cubicBezTo>
                <a:cubicBezTo>
                  <a:pt x="53" y="17"/>
                  <a:pt x="53" y="17"/>
                  <a:pt x="53" y="16"/>
                </a:cubicBezTo>
                <a:cubicBezTo>
                  <a:pt x="53" y="16"/>
                  <a:pt x="53" y="16"/>
                  <a:pt x="52" y="16"/>
                </a:cubicBezTo>
                <a:cubicBezTo>
                  <a:pt x="52" y="15"/>
                  <a:pt x="52" y="15"/>
                  <a:pt x="52" y="15"/>
                </a:cubicBezTo>
                <a:cubicBezTo>
                  <a:pt x="52" y="14"/>
                  <a:pt x="52" y="14"/>
                  <a:pt x="52" y="14"/>
                </a:cubicBezTo>
                <a:cubicBezTo>
                  <a:pt x="52" y="13"/>
                  <a:pt x="52" y="13"/>
                  <a:pt x="52" y="12"/>
                </a:cubicBezTo>
                <a:cubicBezTo>
                  <a:pt x="51" y="12"/>
                  <a:pt x="51" y="11"/>
                  <a:pt x="51" y="11"/>
                </a:cubicBezTo>
                <a:cubicBezTo>
                  <a:pt x="51" y="10"/>
                  <a:pt x="51" y="10"/>
                  <a:pt x="51" y="10"/>
                </a:cubicBezTo>
                <a:cubicBezTo>
                  <a:pt x="50" y="10"/>
                  <a:pt x="50" y="10"/>
                  <a:pt x="50" y="10"/>
                </a:cubicBezTo>
                <a:cubicBezTo>
                  <a:pt x="50" y="10"/>
                  <a:pt x="50" y="9"/>
                  <a:pt x="49" y="9"/>
                </a:cubicBezTo>
                <a:cubicBezTo>
                  <a:pt x="48" y="9"/>
                  <a:pt x="48" y="9"/>
                  <a:pt x="48" y="10"/>
                </a:cubicBezTo>
                <a:cubicBezTo>
                  <a:pt x="49" y="10"/>
                  <a:pt x="48" y="11"/>
                  <a:pt x="47" y="11"/>
                </a:cubicBezTo>
                <a:cubicBezTo>
                  <a:pt x="47" y="10"/>
                  <a:pt x="47" y="9"/>
                  <a:pt x="47" y="9"/>
                </a:cubicBezTo>
                <a:cubicBezTo>
                  <a:pt x="46" y="8"/>
                  <a:pt x="46" y="8"/>
                  <a:pt x="46" y="7"/>
                </a:cubicBezTo>
                <a:cubicBezTo>
                  <a:pt x="46" y="7"/>
                  <a:pt x="45" y="7"/>
                  <a:pt x="45" y="7"/>
                </a:cubicBezTo>
                <a:cubicBezTo>
                  <a:pt x="45" y="7"/>
                  <a:pt x="46" y="6"/>
                  <a:pt x="45" y="6"/>
                </a:cubicBezTo>
                <a:cubicBezTo>
                  <a:pt x="45" y="6"/>
                  <a:pt x="45" y="6"/>
                  <a:pt x="45" y="6"/>
                </a:cubicBezTo>
                <a:cubicBezTo>
                  <a:pt x="45" y="6"/>
                  <a:pt x="45" y="5"/>
                  <a:pt x="45" y="5"/>
                </a:cubicBezTo>
                <a:cubicBezTo>
                  <a:pt x="45" y="4"/>
                  <a:pt x="45" y="4"/>
                  <a:pt x="44" y="4"/>
                </a:cubicBezTo>
                <a:cubicBezTo>
                  <a:pt x="44" y="3"/>
                  <a:pt x="44" y="3"/>
                  <a:pt x="43" y="3"/>
                </a:cubicBezTo>
                <a:cubicBezTo>
                  <a:pt x="43" y="3"/>
                  <a:pt x="43" y="3"/>
                  <a:pt x="43" y="3"/>
                </a:cubicBezTo>
                <a:cubicBezTo>
                  <a:pt x="43" y="2"/>
                  <a:pt x="42" y="2"/>
                  <a:pt x="42" y="1"/>
                </a:cubicBezTo>
                <a:cubicBezTo>
                  <a:pt x="41" y="1"/>
                  <a:pt x="41" y="2"/>
                  <a:pt x="41" y="2"/>
                </a:cubicBezTo>
                <a:cubicBezTo>
                  <a:pt x="40" y="1"/>
                  <a:pt x="40" y="0"/>
                  <a:pt x="39" y="0"/>
                </a:cubicBezTo>
                <a:cubicBezTo>
                  <a:pt x="39" y="0"/>
                  <a:pt x="39" y="0"/>
                  <a:pt x="39" y="0"/>
                </a:cubicBezTo>
                <a:cubicBezTo>
                  <a:pt x="38" y="0"/>
                  <a:pt x="39" y="0"/>
                  <a:pt x="38" y="0"/>
                </a:cubicBezTo>
                <a:cubicBezTo>
                  <a:pt x="38" y="0"/>
                  <a:pt x="38" y="1"/>
                  <a:pt x="38" y="1"/>
                </a:cubicBezTo>
                <a:cubicBezTo>
                  <a:pt x="38" y="1"/>
                  <a:pt x="38" y="2"/>
                  <a:pt x="38" y="2"/>
                </a:cubicBezTo>
                <a:cubicBezTo>
                  <a:pt x="37" y="2"/>
                  <a:pt x="37" y="3"/>
                  <a:pt x="37" y="3"/>
                </a:cubicBezTo>
                <a:cubicBezTo>
                  <a:pt x="37" y="3"/>
                  <a:pt x="37" y="4"/>
                  <a:pt x="37" y="5"/>
                </a:cubicBezTo>
                <a:cubicBezTo>
                  <a:pt x="37" y="5"/>
                  <a:pt x="38" y="5"/>
                  <a:pt x="38" y="5"/>
                </a:cubicBezTo>
                <a:cubicBezTo>
                  <a:pt x="38" y="6"/>
                  <a:pt x="38" y="7"/>
                  <a:pt x="37" y="7"/>
                </a:cubicBezTo>
                <a:cubicBezTo>
                  <a:pt x="37" y="7"/>
                  <a:pt x="37" y="7"/>
                  <a:pt x="37" y="7"/>
                </a:cubicBezTo>
                <a:cubicBezTo>
                  <a:pt x="37" y="6"/>
                  <a:pt x="36" y="7"/>
                  <a:pt x="36" y="7"/>
                </a:cubicBezTo>
                <a:cubicBezTo>
                  <a:pt x="36" y="8"/>
                  <a:pt x="35" y="8"/>
                  <a:pt x="35" y="9"/>
                </a:cubicBezTo>
                <a:cubicBezTo>
                  <a:pt x="34" y="9"/>
                  <a:pt x="34" y="9"/>
                  <a:pt x="34" y="10"/>
                </a:cubicBezTo>
                <a:cubicBezTo>
                  <a:pt x="34" y="10"/>
                  <a:pt x="34" y="11"/>
                  <a:pt x="34" y="11"/>
                </a:cubicBezTo>
                <a:cubicBezTo>
                  <a:pt x="35" y="12"/>
                  <a:pt x="35" y="13"/>
                  <a:pt x="36" y="13"/>
                </a:cubicBezTo>
                <a:cubicBezTo>
                  <a:pt x="36" y="14"/>
                  <a:pt x="38" y="15"/>
                  <a:pt x="37" y="16"/>
                </a:cubicBezTo>
                <a:cubicBezTo>
                  <a:pt x="37" y="16"/>
                  <a:pt x="36" y="15"/>
                  <a:pt x="35" y="15"/>
                </a:cubicBezTo>
                <a:cubicBezTo>
                  <a:pt x="35" y="15"/>
                  <a:pt x="35" y="14"/>
                  <a:pt x="35" y="14"/>
                </a:cubicBezTo>
                <a:cubicBezTo>
                  <a:pt x="35" y="14"/>
                  <a:pt x="34" y="13"/>
                  <a:pt x="34" y="13"/>
                </a:cubicBezTo>
                <a:cubicBezTo>
                  <a:pt x="34" y="13"/>
                  <a:pt x="33" y="13"/>
                  <a:pt x="33" y="13"/>
                </a:cubicBezTo>
                <a:cubicBezTo>
                  <a:pt x="33" y="12"/>
                  <a:pt x="33" y="13"/>
                  <a:pt x="32" y="13"/>
                </a:cubicBezTo>
                <a:cubicBezTo>
                  <a:pt x="32" y="13"/>
                  <a:pt x="32" y="12"/>
                  <a:pt x="32" y="13"/>
                </a:cubicBezTo>
                <a:cubicBezTo>
                  <a:pt x="32" y="13"/>
                  <a:pt x="32" y="13"/>
                  <a:pt x="31" y="13"/>
                </a:cubicBezTo>
                <a:cubicBezTo>
                  <a:pt x="31" y="13"/>
                  <a:pt x="30" y="13"/>
                  <a:pt x="29" y="13"/>
                </a:cubicBezTo>
                <a:cubicBezTo>
                  <a:pt x="28" y="13"/>
                  <a:pt x="27" y="14"/>
                  <a:pt x="27" y="14"/>
                </a:cubicBezTo>
                <a:cubicBezTo>
                  <a:pt x="27" y="15"/>
                  <a:pt x="26" y="16"/>
                  <a:pt x="26" y="16"/>
                </a:cubicBezTo>
                <a:cubicBezTo>
                  <a:pt x="26" y="17"/>
                  <a:pt x="25" y="16"/>
                  <a:pt x="25" y="17"/>
                </a:cubicBezTo>
                <a:cubicBezTo>
                  <a:pt x="25" y="17"/>
                  <a:pt x="24" y="18"/>
                  <a:pt x="24" y="18"/>
                </a:cubicBezTo>
                <a:cubicBezTo>
                  <a:pt x="24" y="18"/>
                  <a:pt x="24" y="18"/>
                  <a:pt x="23" y="19"/>
                </a:cubicBezTo>
                <a:cubicBezTo>
                  <a:pt x="22" y="19"/>
                  <a:pt x="23" y="19"/>
                  <a:pt x="22" y="20"/>
                </a:cubicBezTo>
                <a:cubicBezTo>
                  <a:pt x="22" y="20"/>
                  <a:pt x="22" y="20"/>
                  <a:pt x="21" y="20"/>
                </a:cubicBezTo>
                <a:cubicBezTo>
                  <a:pt x="21" y="20"/>
                  <a:pt x="20" y="20"/>
                  <a:pt x="20" y="20"/>
                </a:cubicBezTo>
                <a:cubicBezTo>
                  <a:pt x="20" y="20"/>
                  <a:pt x="20" y="20"/>
                  <a:pt x="20" y="21"/>
                </a:cubicBezTo>
                <a:cubicBezTo>
                  <a:pt x="20" y="21"/>
                  <a:pt x="20" y="21"/>
                  <a:pt x="19" y="22"/>
                </a:cubicBezTo>
                <a:cubicBezTo>
                  <a:pt x="19" y="22"/>
                  <a:pt x="20" y="23"/>
                  <a:pt x="20" y="23"/>
                </a:cubicBezTo>
                <a:cubicBezTo>
                  <a:pt x="19" y="24"/>
                  <a:pt x="20" y="25"/>
                  <a:pt x="20" y="25"/>
                </a:cubicBezTo>
                <a:cubicBezTo>
                  <a:pt x="20" y="26"/>
                  <a:pt x="20" y="26"/>
                  <a:pt x="21" y="27"/>
                </a:cubicBezTo>
                <a:cubicBezTo>
                  <a:pt x="21" y="27"/>
                  <a:pt x="21" y="27"/>
                  <a:pt x="21" y="28"/>
                </a:cubicBezTo>
                <a:cubicBezTo>
                  <a:pt x="20" y="28"/>
                  <a:pt x="20" y="28"/>
                  <a:pt x="20" y="29"/>
                </a:cubicBezTo>
                <a:cubicBezTo>
                  <a:pt x="20" y="29"/>
                  <a:pt x="21" y="30"/>
                  <a:pt x="20" y="30"/>
                </a:cubicBezTo>
                <a:cubicBezTo>
                  <a:pt x="20" y="31"/>
                  <a:pt x="19" y="32"/>
                  <a:pt x="19" y="33"/>
                </a:cubicBezTo>
                <a:cubicBezTo>
                  <a:pt x="18" y="33"/>
                  <a:pt x="18" y="33"/>
                  <a:pt x="17" y="34"/>
                </a:cubicBezTo>
                <a:cubicBezTo>
                  <a:pt x="17" y="34"/>
                  <a:pt x="16" y="36"/>
                  <a:pt x="17" y="37"/>
                </a:cubicBezTo>
                <a:cubicBezTo>
                  <a:pt x="18" y="37"/>
                  <a:pt x="18" y="37"/>
                  <a:pt x="19" y="37"/>
                </a:cubicBezTo>
                <a:cubicBezTo>
                  <a:pt x="19" y="38"/>
                  <a:pt x="19" y="39"/>
                  <a:pt x="18" y="40"/>
                </a:cubicBezTo>
                <a:cubicBezTo>
                  <a:pt x="18" y="40"/>
                  <a:pt x="18" y="41"/>
                  <a:pt x="18" y="42"/>
                </a:cubicBezTo>
                <a:cubicBezTo>
                  <a:pt x="17" y="42"/>
                  <a:pt x="17" y="42"/>
                  <a:pt x="17" y="42"/>
                </a:cubicBezTo>
                <a:cubicBezTo>
                  <a:pt x="17" y="43"/>
                  <a:pt x="17" y="43"/>
                  <a:pt x="17" y="43"/>
                </a:cubicBezTo>
                <a:cubicBezTo>
                  <a:pt x="16" y="44"/>
                  <a:pt x="17" y="45"/>
                  <a:pt x="16" y="45"/>
                </a:cubicBezTo>
                <a:cubicBezTo>
                  <a:pt x="16" y="46"/>
                  <a:pt x="16" y="47"/>
                  <a:pt x="16" y="47"/>
                </a:cubicBezTo>
                <a:cubicBezTo>
                  <a:pt x="16" y="48"/>
                  <a:pt x="16" y="49"/>
                  <a:pt x="16" y="49"/>
                </a:cubicBezTo>
                <a:cubicBezTo>
                  <a:pt x="15" y="50"/>
                  <a:pt x="15" y="51"/>
                  <a:pt x="15" y="51"/>
                </a:cubicBezTo>
                <a:cubicBezTo>
                  <a:pt x="15" y="51"/>
                  <a:pt x="14" y="50"/>
                  <a:pt x="13" y="50"/>
                </a:cubicBezTo>
                <a:cubicBezTo>
                  <a:pt x="13" y="50"/>
                  <a:pt x="12" y="50"/>
                  <a:pt x="12" y="50"/>
                </a:cubicBezTo>
                <a:cubicBezTo>
                  <a:pt x="12" y="50"/>
                  <a:pt x="11" y="50"/>
                  <a:pt x="11" y="49"/>
                </a:cubicBezTo>
                <a:cubicBezTo>
                  <a:pt x="11" y="49"/>
                  <a:pt x="10" y="50"/>
                  <a:pt x="10" y="50"/>
                </a:cubicBezTo>
                <a:cubicBezTo>
                  <a:pt x="9" y="50"/>
                  <a:pt x="9" y="49"/>
                  <a:pt x="8" y="49"/>
                </a:cubicBezTo>
                <a:cubicBezTo>
                  <a:pt x="7" y="48"/>
                  <a:pt x="7" y="49"/>
                  <a:pt x="7" y="50"/>
                </a:cubicBezTo>
                <a:cubicBezTo>
                  <a:pt x="8" y="51"/>
                  <a:pt x="8" y="51"/>
                  <a:pt x="8" y="52"/>
                </a:cubicBezTo>
                <a:cubicBezTo>
                  <a:pt x="9" y="53"/>
                  <a:pt x="9" y="54"/>
                  <a:pt x="9" y="55"/>
                </a:cubicBezTo>
                <a:cubicBezTo>
                  <a:pt x="9" y="55"/>
                  <a:pt x="9" y="56"/>
                  <a:pt x="9" y="57"/>
                </a:cubicBezTo>
                <a:cubicBezTo>
                  <a:pt x="8" y="57"/>
                  <a:pt x="9" y="58"/>
                  <a:pt x="9" y="59"/>
                </a:cubicBezTo>
                <a:cubicBezTo>
                  <a:pt x="9" y="59"/>
                  <a:pt x="9" y="60"/>
                  <a:pt x="9" y="60"/>
                </a:cubicBezTo>
                <a:cubicBezTo>
                  <a:pt x="8" y="61"/>
                  <a:pt x="8" y="60"/>
                  <a:pt x="7" y="60"/>
                </a:cubicBezTo>
                <a:cubicBezTo>
                  <a:pt x="7" y="59"/>
                  <a:pt x="7" y="61"/>
                  <a:pt x="7" y="61"/>
                </a:cubicBezTo>
                <a:cubicBezTo>
                  <a:pt x="7" y="62"/>
                  <a:pt x="7" y="62"/>
                  <a:pt x="7" y="62"/>
                </a:cubicBezTo>
                <a:cubicBezTo>
                  <a:pt x="7" y="63"/>
                  <a:pt x="7" y="63"/>
                  <a:pt x="7" y="64"/>
                </a:cubicBezTo>
                <a:cubicBezTo>
                  <a:pt x="7" y="64"/>
                  <a:pt x="7" y="65"/>
                  <a:pt x="8" y="66"/>
                </a:cubicBezTo>
                <a:cubicBezTo>
                  <a:pt x="8" y="67"/>
                  <a:pt x="8" y="67"/>
                  <a:pt x="9" y="68"/>
                </a:cubicBezTo>
                <a:cubicBezTo>
                  <a:pt x="9" y="69"/>
                  <a:pt x="8" y="69"/>
                  <a:pt x="8" y="69"/>
                </a:cubicBezTo>
                <a:cubicBezTo>
                  <a:pt x="8" y="70"/>
                  <a:pt x="8" y="69"/>
                  <a:pt x="7" y="69"/>
                </a:cubicBezTo>
                <a:cubicBezTo>
                  <a:pt x="7" y="70"/>
                  <a:pt x="7" y="70"/>
                  <a:pt x="7" y="70"/>
                </a:cubicBezTo>
                <a:cubicBezTo>
                  <a:pt x="7" y="70"/>
                  <a:pt x="7" y="71"/>
                  <a:pt x="7" y="71"/>
                </a:cubicBezTo>
                <a:cubicBezTo>
                  <a:pt x="7" y="71"/>
                  <a:pt x="7" y="72"/>
                  <a:pt x="7" y="71"/>
                </a:cubicBezTo>
                <a:cubicBezTo>
                  <a:pt x="6" y="71"/>
                  <a:pt x="6" y="72"/>
                  <a:pt x="6" y="72"/>
                </a:cubicBezTo>
                <a:cubicBezTo>
                  <a:pt x="6" y="72"/>
                  <a:pt x="4" y="69"/>
                  <a:pt x="4" y="70"/>
                </a:cubicBezTo>
                <a:cubicBezTo>
                  <a:pt x="4" y="71"/>
                  <a:pt x="4" y="71"/>
                  <a:pt x="4" y="71"/>
                </a:cubicBezTo>
                <a:cubicBezTo>
                  <a:pt x="3" y="72"/>
                  <a:pt x="4" y="73"/>
                  <a:pt x="4" y="74"/>
                </a:cubicBezTo>
                <a:cubicBezTo>
                  <a:pt x="4" y="74"/>
                  <a:pt x="4" y="75"/>
                  <a:pt x="4" y="76"/>
                </a:cubicBezTo>
                <a:cubicBezTo>
                  <a:pt x="4" y="77"/>
                  <a:pt x="5" y="78"/>
                  <a:pt x="5" y="79"/>
                </a:cubicBezTo>
                <a:cubicBezTo>
                  <a:pt x="5" y="79"/>
                  <a:pt x="5" y="80"/>
                  <a:pt x="4" y="79"/>
                </a:cubicBezTo>
                <a:cubicBezTo>
                  <a:pt x="4" y="79"/>
                  <a:pt x="4" y="78"/>
                  <a:pt x="3" y="78"/>
                </a:cubicBezTo>
                <a:cubicBezTo>
                  <a:pt x="3" y="79"/>
                  <a:pt x="2" y="78"/>
                  <a:pt x="2" y="78"/>
                </a:cubicBezTo>
                <a:cubicBezTo>
                  <a:pt x="2" y="77"/>
                  <a:pt x="1" y="78"/>
                  <a:pt x="1" y="78"/>
                </a:cubicBezTo>
                <a:cubicBezTo>
                  <a:pt x="0" y="79"/>
                  <a:pt x="0" y="80"/>
                  <a:pt x="1" y="81"/>
                </a:cubicBezTo>
                <a:cubicBezTo>
                  <a:pt x="1" y="82"/>
                  <a:pt x="1" y="83"/>
                  <a:pt x="2" y="83"/>
                </a:cubicBezTo>
                <a:cubicBezTo>
                  <a:pt x="2" y="84"/>
                  <a:pt x="3" y="85"/>
                  <a:pt x="3" y="86"/>
                </a:cubicBezTo>
                <a:cubicBezTo>
                  <a:pt x="3" y="86"/>
                  <a:pt x="4" y="86"/>
                  <a:pt x="4" y="87"/>
                </a:cubicBezTo>
                <a:cubicBezTo>
                  <a:pt x="4" y="87"/>
                  <a:pt x="5" y="87"/>
                  <a:pt x="5" y="88"/>
                </a:cubicBezTo>
                <a:cubicBezTo>
                  <a:pt x="5" y="88"/>
                  <a:pt x="6" y="89"/>
                  <a:pt x="6" y="89"/>
                </a:cubicBezTo>
                <a:cubicBezTo>
                  <a:pt x="6" y="90"/>
                  <a:pt x="7" y="91"/>
                  <a:pt x="7" y="91"/>
                </a:cubicBezTo>
                <a:cubicBezTo>
                  <a:pt x="7" y="91"/>
                  <a:pt x="7" y="89"/>
                  <a:pt x="7" y="89"/>
                </a:cubicBezTo>
                <a:cubicBezTo>
                  <a:pt x="7" y="88"/>
                  <a:pt x="7" y="87"/>
                  <a:pt x="6" y="87"/>
                </a:cubicBezTo>
                <a:cubicBezTo>
                  <a:pt x="6" y="87"/>
                  <a:pt x="6" y="86"/>
                  <a:pt x="6" y="86"/>
                </a:cubicBezTo>
                <a:cubicBezTo>
                  <a:pt x="6" y="87"/>
                  <a:pt x="7" y="88"/>
                  <a:pt x="7" y="89"/>
                </a:cubicBezTo>
                <a:cubicBezTo>
                  <a:pt x="7" y="88"/>
                  <a:pt x="7" y="88"/>
                  <a:pt x="7" y="88"/>
                </a:cubicBezTo>
                <a:cubicBezTo>
                  <a:pt x="8" y="88"/>
                  <a:pt x="8" y="90"/>
                  <a:pt x="9" y="90"/>
                </a:cubicBezTo>
                <a:cubicBezTo>
                  <a:pt x="8" y="90"/>
                  <a:pt x="7" y="91"/>
                  <a:pt x="8" y="92"/>
                </a:cubicBezTo>
                <a:cubicBezTo>
                  <a:pt x="8" y="92"/>
                  <a:pt x="9" y="92"/>
                  <a:pt x="9" y="92"/>
                </a:cubicBezTo>
                <a:cubicBezTo>
                  <a:pt x="9" y="91"/>
                  <a:pt x="9" y="91"/>
                  <a:pt x="10" y="90"/>
                </a:cubicBezTo>
                <a:cubicBezTo>
                  <a:pt x="10" y="89"/>
                  <a:pt x="9" y="88"/>
                  <a:pt x="10" y="87"/>
                </a:cubicBezTo>
                <a:cubicBezTo>
                  <a:pt x="10" y="88"/>
                  <a:pt x="10" y="89"/>
                  <a:pt x="10" y="89"/>
                </a:cubicBezTo>
                <a:cubicBezTo>
                  <a:pt x="10" y="90"/>
                  <a:pt x="10" y="89"/>
                  <a:pt x="10" y="89"/>
                </a:cubicBezTo>
                <a:cubicBezTo>
                  <a:pt x="10" y="90"/>
                  <a:pt x="9" y="90"/>
                  <a:pt x="9" y="91"/>
                </a:cubicBezTo>
                <a:cubicBezTo>
                  <a:pt x="10" y="92"/>
                  <a:pt x="10" y="91"/>
                  <a:pt x="10" y="91"/>
                </a:cubicBezTo>
                <a:cubicBezTo>
                  <a:pt x="11" y="91"/>
                  <a:pt x="11" y="92"/>
                  <a:pt x="10" y="92"/>
                </a:cubicBezTo>
                <a:cubicBezTo>
                  <a:pt x="10" y="92"/>
                  <a:pt x="10" y="92"/>
                  <a:pt x="9" y="92"/>
                </a:cubicBezTo>
                <a:cubicBezTo>
                  <a:pt x="10" y="93"/>
                  <a:pt x="11" y="95"/>
                  <a:pt x="12" y="96"/>
                </a:cubicBezTo>
                <a:cubicBezTo>
                  <a:pt x="11" y="95"/>
                  <a:pt x="11" y="95"/>
                  <a:pt x="11" y="94"/>
                </a:cubicBezTo>
                <a:cubicBezTo>
                  <a:pt x="11" y="94"/>
                  <a:pt x="11" y="93"/>
                  <a:pt x="11" y="94"/>
                </a:cubicBezTo>
                <a:cubicBezTo>
                  <a:pt x="11" y="94"/>
                  <a:pt x="12" y="96"/>
                  <a:pt x="12" y="95"/>
                </a:cubicBezTo>
                <a:cubicBezTo>
                  <a:pt x="13" y="95"/>
                  <a:pt x="11" y="93"/>
                  <a:pt x="11" y="92"/>
                </a:cubicBezTo>
                <a:cubicBezTo>
                  <a:pt x="11" y="93"/>
                  <a:pt x="11" y="93"/>
                  <a:pt x="11" y="93"/>
                </a:cubicBezTo>
                <a:cubicBezTo>
                  <a:pt x="12" y="93"/>
                  <a:pt x="12" y="93"/>
                  <a:pt x="12" y="93"/>
                </a:cubicBezTo>
                <a:cubicBezTo>
                  <a:pt x="12" y="93"/>
                  <a:pt x="13" y="93"/>
                  <a:pt x="13" y="92"/>
                </a:cubicBezTo>
                <a:cubicBezTo>
                  <a:pt x="13" y="93"/>
                  <a:pt x="13" y="93"/>
                  <a:pt x="13" y="93"/>
                </a:cubicBezTo>
                <a:cubicBezTo>
                  <a:pt x="13" y="93"/>
                  <a:pt x="13" y="93"/>
                  <a:pt x="13" y="93"/>
                </a:cubicBezTo>
                <a:cubicBezTo>
                  <a:pt x="14" y="93"/>
                  <a:pt x="14" y="94"/>
                  <a:pt x="15" y="94"/>
                </a:cubicBezTo>
                <a:cubicBezTo>
                  <a:pt x="15" y="94"/>
                  <a:pt x="15" y="95"/>
                  <a:pt x="16" y="95"/>
                </a:cubicBezTo>
                <a:cubicBezTo>
                  <a:pt x="16" y="94"/>
                  <a:pt x="17" y="94"/>
                  <a:pt x="17" y="95"/>
                </a:cubicBezTo>
                <a:cubicBezTo>
                  <a:pt x="16" y="95"/>
                  <a:pt x="15" y="96"/>
                  <a:pt x="16" y="96"/>
                </a:cubicBezTo>
                <a:cubicBezTo>
                  <a:pt x="16" y="96"/>
                  <a:pt x="16" y="96"/>
                  <a:pt x="16" y="96"/>
                </a:cubicBezTo>
                <a:cubicBezTo>
                  <a:pt x="16" y="97"/>
                  <a:pt x="17" y="96"/>
                  <a:pt x="17" y="96"/>
                </a:cubicBezTo>
                <a:cubicBezTo>
                  <a:pt x="17" y="96"/>
                  <a:pt x="17" y="96"/>
                  <a:pt x="17" y="97"/>
                </a:cubicBezTo>
                <a:cubicBezTo>
                  <a:pt x="18" y="98"/>
                  <a:pt x="18" y="96"/>
                  <a:pt x="18" y="96"/>
                </a:cubicBezTo>
                <a:cubicBezTo>
                  <a:pt x="18" y="97"/>
                  <a:pt x="17" y="97"/>
                  <a:pt x="17" y="98"/>
                </a:cubicBezTo>
                <a:cubicBezTo>
                  <a:pt x="17" y="98"/>
                  <a:pt x="18" y="98"/>
                  <a:pt x="18" y="98"/>
                </a:cubicBezTo>
                <a:cubicBezTo>
                  <a:pt x="19" y="99"/>
                  <a:pt x="19" y="99"/>
                  <a:pt x="19" y="99"/>
                </a:cubicBezTo>
                <a:cubicBezTo>
                  <a:pt x="19" y="100"/>
                  <a:pt x="20" y="99"/>
                  <a:pt x="20" y="100"/>
                </a:cubicBezTo>
                <a:cubicBezTo>
                  <a:pt x="20" y="100"/>
                  <a:pt x="20" y="100"/>
                  <a:pt x="20" y="100"/>
                </a:cubicBezTo>
                <a:cubicBezTo>
                  <a:pt x="20" y="101"/>
                  <a:pt x="19" y="101"/>
                  <a:pt x="19" y="102"/>
                </a:cubicBezTo>
                <a:cubicBezTo>
                  <a:pt x="20" y="102"/>
                  <a:pt x="20" y="102"/>
                  <a:pt x="20" y="102"/>
                </a:cubicBezTo>
                <a:cubicBezTo>
                  <a:pt x="20" y="102"/>
                  <a:pt x="20" y="102"/>
                  <a:pt x="20" y="103"/>
                </a:cubicBezTo>
                <a:cubicBezTo>
                  <a:pt x="20" y="103"/>
                  <a:pt x="20" y="103"/>
                  <a:pt x="21" y="103"/>
                </a:cubicBezTo>
                <a:cubicBezTo>
                  <a:pt x="21" y="102"/>
                  <a:pt x="21" y="102"/>
                  <a:pt x="21" y="101"/>
                </a:cubicBezTo>
                <a:cubicBezTo>
                  <a:pt x="21" y="101"/>
                  <a:pt x="21" y="100"/>
                  <a:pt x="21" y="100"/>
                </a:cubicBezTo>
                <a:cubicBezTo>
                  <a:pt x="21" y="100"/>
                  <a:pt x="21" y="102"/>
                  <a:pt x="21" y="102"/>
                </a:cubicBezTo>
                <a:cubicBezTo>
                  <a:pt x="21" y="103"/>
                  <a:pt x="21" y="103"/>
                  <a:pt x="22" y="104"/>
                </a:cubicBezTo>
                <a:cubicBezTo>
                  <a:pt x="21" y="104"/>
                  <a:pt x="21" y="105"/>
                  <a:pt x="21" y="106"/>
                </a:cubicBezTo>
                <a:cubicBezTo>
                  <a:pt x="21" y="106"/>
                  <a:pt x="22" y="107"/>
                  <a:pt x="22" y="106"/>
                </a:cubicBezTo>
                <a:cubicBezTo>
                  <a:pt x="23" y="107"/>
                  <a:pt x="23" y="107"/>
                  <a:pt x="24" y="107"/>
                </a:cubicBezTo>
                <a:cubicBezTo>
                  <a:pt x="23" y="108"/>
                  <a:pt x="23" y="108"/>
                  <a:pt x="23" y="107"/>
                </a:cubicBezTo>
                <a:cubicBezTo>
                  <a:pt x="23" y="108"/>
                  <a:pt x="24" y="108"/>
                  <a:pt x="24" y="109"/>
                </a:cubicBezTo>
                <a:cubicBezTo>
                  <a:pt x="24" y="110"/>
                  <a:pt x="25" y="110"/>
                  <a:pt x="25" y="111"/>
                </a:cubicBezTo>
                <a:cubicBezTo>
                  <a:pt x="25" y="111"/>
                  <a:pt x="26" y="112"/>
                  <a:pt x="25" y="112"/>
                </a:cubicBezTo>
                <a:cubicBezTo>
                  <a:pt x="25" y="112"/>
                  <a:pt x="25" y="112"/>
                  <a:pt x="25" y="112"/>
                </a:cubicBezTo>
                <a:cubicBezTo>
                  <a:pt x="25" y="112"/>
                  <a:pt x="25" y="113"/>
                  <a:pt x="25" y="113"/>
                </a:cubicBezTo>
                <a:cubicBezTo>
                  <a:pt x="26" y="113"/>
                  <a:pt x="26" y="113"/>
                  <a:pt x="26" y="114"/>
                </a:cubicBezTo>
                <a:cubicBezTo>
                  <a:pt x="27" y="114"/>
                  <a:pt x="27" y="115"/>
                  <a:pt x="27" y="116"/>
                </a:cubicBezTo>
                <a:cubicBezTo>
                  <a:pt x="26" y="116"/>
                  <a:pt x="27" y="117"/>
                  <a:pt x="27" y="118"/>
                </a:cubicBezTo>
                <a:cubicBezTo>
                  <a:pt x="28" y="119"/>
                  <a:pt x="28" y="119"/>
                  <a:pt x="28" y="120"/>
                </a:cubicBezTo>
                <a:cubicBezTo>
                  <a:pt x="28" y="120"/>
                  <a:pt x="28" y="120"/>
                  <a:pt x="28" y="121"/>
                </a:cubicBezTo>
                <a:cubicBezTo>
                  <a:pt x="28" y="122"/>
                  <a:pt x="28" y="122"/>
                  <a:pt x="29" y="123"/>
                </a:cubicBezTo>
                <a:cubicBezTo>
                  <a:pt x="28" y="123"/>
                  <a:pt x="28" y="124"/>
                  <a:pt x="28" y="124"/>
                </a:cubicBezTo>
                <a:cubicBezTo>
                  <a:pt x="28" y="125"/>
                  <a:pt x="28" y="124"/>
                  <a:pt x="28" y="124"/>
                </a:cubicBezTo>
                <a:cubicBezTo>
                  <a:pt x="28" y="124"/>
                  <a:pt x="28" y="126"/>
                  <a:pt x="28" y="126"/>
                </a:cubicBezTo>
                <a:cubicBezTo>
                  <a:pt x="28" y="126"/>
                  <a:pt x="28" y="127"/>
                  <a:pt x="28" y="127"/>
                </a:cubicBezTo>
                <a:cubicBezTo>
                  <a:pt x="27" y="128"/>
                  <a:pt x="28" y="128"/>
                  <a:pt x="27" y="129"/>
                </a:cubicBezTo>
                <a:cubicBezTo>
                  <a:pt x="27" y="130"/>
                  <a:pt x="27" y="130"/>
                  <a:pt x="27" y="131"/>
                </a:cubicBezTo>
                <a:cubicBezTo>
                  <a:pt x="27" y="131"/>
                  <a:pt x="27" y="131"/>
                  <a:pt x="27" y="132"/>
                </a:cubicBezTo>
                <a:cubicBezTo>
                  <a:pt x="27" y="132"/>
                  <a:pt x="27" y="132"/>
                  <a:pt x="27" y="132"/>
                </a:cubicBezTo>
                <a:cubicBezTo>
                  <a:pt x="26" y="132"/>
                  <a:pt x="27" y="133"/>
                  <a:pt x="27" y="133"/>
                </a:cubicBezTo>
                <a:cubicBezTo>
                  <a:pt x="26" y="134"/>
                  <a:pt x="26" y="135"/>
                  <a:pt x="26" y="136"/>
                </a:cubicBezTo>
                <a:cubicBezTo>
                  <a:pt x="27" y="137"/>
                  <a:pt x="27" y="137"/>
                  <a:pt x="27" y="138"/>
                </a:cubicBezTo>
                <a:cubicBezTo>
                  <a:pt x="27" y="138"/>
                  <a:pt x="28" y="138"/>
                  <a:pt x="28" y="137"/>
                </a:cubicBezTo>
                <a:cubicBezTo>
                  <a:pt x="28" y="137"/>
                  <a:pt x="28" y="137"/>
                  <a:pt x="28" y="137"/>
                </a:cubicBezTo>
                <a:cubicBezTo>
                  <a:pt x="29" y="137"/>
                  <a:pt x="29" y="136"/>
                  <a:pt x="29" y="135"/>
                </a:cubicBezTo>
                <a:cubicBezTo>
                  <a:pt x="29" y="135"/>
                  <a:pt x="29" y="134"/>
                  <a:pt x="30" y="134"/>
                </a:cubicBezTo>
                <a:cubicBezTo>
                  <a:pt x="30" y="135"/>
                  <a:pt x="30" y="133"/>
                  <a:pt x="30" y="134"/>
                </a:cubicBezTo>
                <a:cubicBezTo>
                  <a:pt x="30" y="134"/>
                  <a:pt x="30" y="135"/>
                  <a:pt x="30" y="135"/>
                </a:cubicBezTo>
                <a:cubicBezTo>
                  <a:pt x="31" y="135"/>
                  <a:pt x="30" y="132"/>
                  <a:pt x="30" y="132"/>
                </a:cubicBezTo>
                <a:cubicBezTo>
                  <a:pt x="31" y="132"/>
                  <a:pt x="31" y="132"/>
                  <a:pt x="31" y="132"/>
                </a:cubicBezTo>
                <a:cubicBezTo>
                  <a:pt x="31" y="132"/>
                  <a:pt x="31" y="133"/>
                  <a:pt x="31" y="133"/>
                </a:cubicBezTo>
                <a:cubicBezTo>
                  <a:pt x="31" y="134"/>
                  <a:pt x="31" y="134"/>
                  <a:pt x="31" y="134"/>
                </a:cubicBezTo>
                <a:cubicBezTo>
                  <a:pt x="31" y="135"/>
                  <a:pt x="31" y="136"/>
                  <a:pt x="30" y="137"/>
                </a:cubicBezTo>
                <a:cubicBezTo>
                  <a:pt x="30" y="138"/>
                  <a:pt x="31" y="138"/>
                  <a:pt x="31" y="138"/>
                </a:cubicBezTo>
                <a:cubicBezTo>
                  <a:pt x="31" y="137"/>
                  <a:pt x="31" y="136"/>
                  <a:pt x="32" y="136"/>
                </a:cubicBezTo>
                <a:cubicBezTo>
                  <a:pt x="32" y="136"/>
                  <a:pt x="32" y="137"/>
                  <a:pt x="31" y="138"/>
                </a:cubicBezTo>
                <a:cubicBezTo>
                  <a:pt x="31" y="138"/>
                  <a:pt x="30" y="139"/>
                  <a:pt x="31" y="139"/>
                </a:cubicBezTo>
                <a:cubicBezTo>
                  <a:pt x="31" y="139"/>
                  <a:pt x="31" y="139"/>
                  <a:pt x="32" y="139"/>
                </a:cubicBezTo>
                <a:cubicBezTo>
                  <a:pt x="32" y="139"/>
                  <a:pt x="32" y="138"/>
                  <a:pt x="32" y="138"/>
                </a:cubicBezTo>
                <a:cubicBezTo>
                  <a:pt x="32" y="138"/>
                  <a:pt x="33" y="138"/>
                  <a:pt x="33" y="137"/>
                </a:cubicBezTo>
                <a:cubicBezTo>
                  <a:pt x="33" y="137"/>
                  <a:pt x="32" y="136"/>
                  <a:pt x="33" y="135"/>
                </a:cubicBezTo>
                <a:cubicBezTo>
                  <a:pt x="33" y="135"/>
                  <a:pt x="34" y="135"/>
                  <a:pt x="34" y="135"/>
                </a:cubicBezTo>
                <a:cubicBezTo>
                  <a:pt x="34" y="135"/>
                  <a:pt x="33" y="135"/>
                  <a:pt x="33" y="136"/>
                </a:cubicBezTo>
                <a:cubicBezTo>
                  <a:pt x="33" y="136"/>
                  <a:pt x="33" y="137"/>
                  <a:pt x="33" y="137"/>
                </a:cubicBezTo>
                <a:cubicBezTo>
                  <a:pt x="33" y="137"/>
                  <a:pt x="33" y="137"/>
                  <a:pt x="33" y="137"/>
                </a:cubicBezTo>
                <a:cubicBezTo>
                  <a:pt x="33" y="137"/>
                  <a:pt x="33" y="138"/>
                  <a:pt x="33" y="138"/>
                </a:cubicBezTo>
                <a:cubicBezTo>
                  <a:pt x="33" y="138"/>
                  <a:pt x="33" y="139"/>
                  <a:pt x="33" y="139"/>
                </a:cubicBezTo>
                <a:cubicBezTo>
                  <a:pt x="33" y="139"/>
                  <a:pt x="34" y="139"/>
                  <a:pt x="33" y="139"/>
                </a:cubicBezTo>
                <a:cubicBezTo>
                  <a:pt x="33" y="139"/>
                  <a:pt x="33" y="140"/>
                  <a:pt x="33" y="140"/>
                </a:cubicBezTo>
                <a:cubicBezTo>
                  <a:pt x="34" y="140"/>
                  <a:pt x="35" y="140"/>
                  <a:pt x="35" y="139"/>
                </a:cubicBezTo>
                <a:cubicBezTo>
                  <a:pt x="35" y="138"/>
                  <a:pt x="35" y="138"/>
                  <a:pt x="35" y="137"/>
                </a:cubicBezTo>
                <a:cubicBezTo>
                  <a:pt x="35" y="136"/>
                  <a:pt x="35" y="136"/>
                  <a:pt x="35" y="136"/>
                </a:cubicBezTo>
                <a:cubicBezTo>
                  <a:pt x="36" y="136"/>
                  <a:pt x="36" y="136"/>
                  <a:pt x="36" y="136"/>
                </a:cubicBezTo>
                <a:cubicBezTo>
                  <a:pt x="35" y="136"/>
                  <a:pt x="35" y="137"/>
                  <a:pt x="35" y="138"/>
                </a:cubicBezTo>
                <a:cubicBezTo>
                  <a:pt x="35" y="137"/>
                  <a:pt x="35" y="137"/>
                  <a:pt x="35" y="137"/>
                </a:cubicBezTo>
                <a:cubicBezTo>
                  <a:pt x="36" y="138"/>
                  <a:pt x="35" y="139"/>
                  <a:pt x="36" y="140"/>
                </a:cubicBezTo>
                <a:cubicBezTo>
                  <a:pt x="36" y="140"/>
                  <a:pt x="37" y="140"/>
                  <a:pt x="37" y="139"/>
                </a:cubicBezTo>
                <a:cubicBezTo>
                  <a:pt x="37" y="139"/>
                  <a:pt x="37" y="138"/>
                  <a:pt x="37" y="137"/>
                </a:cubicBezTo>
                <a:cubicBezTo>
                  <a:pt x="37" y="138"/>
                  <a:pt x="36" y="140"/>
                  <a:pt x="37" y="138"/>
                </a:cubicBezTo>
                <a:cubicBezTo>
                  <a:pt x="37" y="138"/>
                  <a:pt x="38" y="138"/>
                  <a:pt x="38" y="137"/>
                </a:cubicBezTo>
                <a:cubicBezTo>
                  <a:pt x="38" y="137"/>
                  <a:pt x="37" y="136"/>
                  <a:pt x="37" y="136"/>
                </a:cubicBezTo>
                <a:cubicBezTo>
                  <a:pt x="37" y="136"/>
                  <a:pt x="38" y="137"/>
                  <a:pt x="38" y="137"/>
                </a:cubicBezTo>
                <a:cubicBezTo>
                  <a:pt x="38" y="138"/>
                  <a:pt x="38" y="138"/>
                  <a:pt x="37" y="139"/>
                </a:cubicBezTo>
                <a:cubicBezTo>
                  <a:pt x="37" y="140"/>
                  <a:pt x="37" y="141"/>
                  <a:pt x="38" y="141"/>
                </a:cubicBezTo>
                <a:cubicBezTo>
                  <a:pt x="39" y="140"/>
                  <a:pt x="39" y="140"/>
                  <a:pt x="40" y="140"/>
                </a:cubicBezTo>
                <a:cubicBezTo>
                  <a:pt x="40" y="139"/>
                  <a:pt x="40" y="139"/>
                  <a:pt x="40" y="138"/>
                </a:cubicBezTo>
                <a:cubicBezTo>
                  <a:pt x="41" y="138"/>
                  <a:pt x="41" y="137"/>
                  <a:pt x="41" y="137"/>
                </a:cubicBezTo>
                <a:cubicBezTo>
                  <a:pt x="41" y="136"/>
                  <a:pt x="41" y="136"/>
                  <a:pt x="41" y="135"/>
                </a:cubicBezTo>
                <a:cubicBezTo>
                  <a:pt x="42" y="136"/>
                  <a:pt x="42" y="136"/>
                  <a:pt x="42" y="135"/>
                </a:cubicBezTo>
                <a:cubicBezTo>
                  <a:pt x="43" y="135"/>
                  <a:pt x="43" y="135"/>
                  <a:pt x="43" y="135"/>
                </a:cubicBezTo>
                <a:cubicBezTo>
                  <a:pt x="43" y="135"/>
                  <a:pt x="44" y="135"/>
                  <a:pt x="44" y="135"/>
                </a:cubicBezTo>
                <a:cubicBezTo>
                  <a:pt x="44" y="134"/>
                  <a:pt x="44" y="134"/>
                  <a:pt x="43" y="133"/>
                </a:cubicBezTo>
                <a:cubicBezTo>
                  <a:pt x="44" y="133"/>
                  <a:pt x="44" y="134"/>
                  <a:pt x="45" y="134"/>
                </a:cubicBezTo>
                <a:cubicBezTo>
                  <a:pt x="45" y="134"/>
                  <a:pt x="45" y="134"/>
                  <a:pt x="45" y="133"/>
                </a:cubicBezTo>
                <a:cubicBezTo>
                  <a:pt x="46" y="133"/>
                  <a:pt x="47" y="133"/>
                  <a:pt x="46" y="132"/>
                </a:cubicBezTo>
                <a:cubicBezTo>
                  <a:pt x="46" y="132"/>
                  <a:pt x="45" y="131"/>
                  <a:pt x="45" y="131"/>
                </a:cubicBezTo>
                <a:cubicBezTo>
                  <a:pt x="45" y="131"/>
                  <a:pt x="45" y="130"/>
                  <a:pt x="45" y="130"/>
                </a:cubicBezTo>
                <a:cubicBezTo>
                  <a:pt x="45" y="130"/>
                  <a:pt x="45" y="129"/>
                  <a:pt x="45" y="129"/>
                </a:cubicBezTo>
                <a:cubicBezTo>
                  <a:pt x="45" y="129"/>
                  <a:pt x="45" y="128"/>
                  <a:pt x="45" y="129"/>
                </a:cubicBezTo>
                <a:cubicBezTo>
                  <a:pt x="46" y="129"/>
                  <a:pt x="45" y="129"/>
                  <a:pt x="45" y="129"/>
                </a:cubicBezTo>
                <a:cubicBezTo>
                  <a:pt x="45" y="130"/>
                  <a:pt x="45" y="130"/>
                  <a:pt x="45" y="130"/>
                </a:cubicBezTo>
                <a:cubicBezTo>
                  <a:pt x="46" y="131"/>
                  <a:pt x="47" y="132"/>
                  <a:pt x="48" y="132"/>
                </a:cubicBezTo>
                <a:cubicBezTo>
                  <a:pt x="50" y="132"/>
                  <a:pt x="52" y="129"/>
                  <a:pt x="50" y="127"/>
                </a:cubicBezTo>
                <a:cubicBezTo>
                  <a:pt x="51" y="128"/>
                  <a:pt x="51" y="127"/>
                  <a:pt x="51" y="127"/>
                </a:cubicBezTo>
                <a:cubicBezTo>
                  <a:pt x="51" y="127"/>
                  <a:pt x="51" y="126"/>
                  <a:pt x="51" y="126"/>
                </a:cubicBezTo>
                <a:cubicBezTo>
                  <a:pt x="51" y="126"/>
                  <a:pt x="51" y="125"/>
                  <a:pt x="51" y="125"/>
                </a:cubicBezTo>
                <a:cubicBezTo>
                  <a:pt x="50" y="124"/>
                  <a:pt x="51" y="124"/>
                  <a:pt x="51" y="123"/>
                </a:cubicBezTo>
                <a:cubicBezTo>
                  <a:pt x="51" y="123"/>
                  <a:pt x="50" y="122"/>
                  <a:pt x="50" y="122"/>
                </a:cubicBezTo>
                <a:cubicBezTo>
                  <a:pt x="50" y="122"/>
                  <a:pt x="50" y="122"/>
                  <a:pt x="50" y="122"/>
                </a:cubicBezTo>
                <a:cubicBezTo>
                  <a:pt x="50" y="122"/>
                  <a:pt x="50" y="122"/>
                  <a:pt x="50" y="121"/>
                </a:cubicBezTo>
                <a:cubicBezTo>
                  <a:pt x="51" y="122"/>
                  <a:pt x="51" y="123"/>
                  <a:pt x="52" y="124"/>
                </a:cubicBezTo>
                <a:cubicBezTo>
                  <a:pt x="53" y="124"/>
                  <a:pt x="53" y="125"/>
                  <a:pt x="53" y="126"/>
                </a:cubicBezTo>
                <a:cubicBezTo>
                  <a:pt x="53" y="125"/>
                  <a:pt x="54" y="125"/>
                  <a:pt x="54" y="125"/>
                </a:cubicBezTo>
                <a:cubicBezTo>
                  <a:pt x="54" y="125"/>
                  <a:pt x="54" y="125"/>
                  <a:pt x="54" y="125"/>
                </a:cubicBezTo>
                <a:cubicBezTo>
                  <a:pt x="53" y="125"/>
                  <a:pt x="54" y="126"/>
                  <a:pt x="54" y="126"/>
                </a:cubicBezTo>
                <a:cubicBezTo>
                  <a:pt x="54" y="126"/>
                  <a:pt x="54" y="127"/>
                  <a:pt x="54" y="127"/>
                </a:cubicBezTo>
                <a:cubicBezTo>
                  <a:pt x="54" y="127"/>
                  <a:pt x="54" y="127"/>
                  <a:pt x="54" y="128"/>
                </a:cubicBezTo>
                <a:cubicBezTo>
                  <a:pt x="54" y="128"/>
                  <a:pt x="54" y="128"/>
                  <a:pt x="54" y="128"/>
                </a:cubicBezTo>
                <a:cubicBezTo>
                  <a:pt x="54" y="128"/>
                  <a:pt x="54" y="128"/>
                  <a:pt x="55" y="128"/>
                </a:cubicBezTo>
                <a:cubicBezTo>
                  <a:pt x="54" y="129"/>
                  <a:pt x="55" y="130"/>
                  <a:pt x="56" y="130"/>
                </a:cubicBezTo>
                <a:cubicBezTo>
                  <a:pt x="56" y="130"/>
                  <a:pt x="56" y="132"/>
                  <a:pt x="56" y="132"/>
                </a:cubicBezTo>
                <a:cubicBezTo>
                  <a:pt x="57" y="131"/>
                  <a:pt x="58" y="132"/>
                  <a:pt x="58" y="132"/>
                </a:cubicBezTo>
                <a:cubicBezTo>
                  <a:pt x="58" y="132"/>
                  <a:pt x="59" y="132"/>
                  <a:pt x="59" y="131"/>
                </a:cubicBezTo>
                <a:cubicBezTo>
                  <a:pt x="59" y="131"/>
                  <a:pt x="59" y="131"/>
                  <a:pt x="60" y="131"/>
                </a:cubicBezTo>
                <a:cubicBezTo>
                  <a:pt x="59" y="131"/>
                  <a:pt x="59" y="133"/>
                  <a:pt x="59" y="134"/>
                </a:cubicBezTo>
                <a:cubicBezTo>
                  <a:pt x="59" y="134"/>
                  <a:pt x="59" y="136"/>
                  <a:pt x="59" y="136"/>
                </a:cubicBezTo>
                <a:cubicBezTo>
                  <a:pt x="58" y="137"/>
                  <a:pt x="60" y="138"/>
                  <a:pt x="61" y="139"/>
                </a:cubicBezTo>
                <a:cubicBezTo>
                  <a:pt x="61" y="140"/>
                  <a:pt x="61" y="140"/>
                  <a:pt x="61" y="141"/>
                </a:cubicBezTo>
                <a:cubicBezTo>
                  <a:pt x="61" y="142"/>
                  <a:pt x="61" y="142"/>
                  <a:pt x="61" y="143"/>
                </a:cubicBezTo>
                <a:cubicBezTo>
                  <a:pt x="61" y="144"/>
                  <a:pt x="62" y="144"/>
                  <a:pt x="61" y="144"/>
                </a:cubicBezTo>
                <a:cubicBezTo>
                  <a:pt x="61" y="145"/>
                  <a:pt x="61" y="145"/>
                  <a:pt x="62" y="146"/>
                </a:cubicBezTo>
                <a:cubicBezTo>
                  <a:pt x="62" y="146"/>
                  <a:pt x="62" y="146"/>
                  <a:pt x="62" y="146"/>
                </a:cubicBezTo>
                <a:cubicBezTo>
                  <a:pt x="62" y="146"/>
                  <a:pt x="62" y="147"/>
                  <a:pt x="62" y="147"/>
                </a:cubicBezTo>
                <a:cubicBezTo>
                  <a:pt x="62" y="148"/>
                  <a:pt x="62" y="149"/>
                  <a:pt x="63" y="150"/>
                </a:cubicBezTo>
                <a:cubicBezTo>
                  <a:pt x="63" y="151"/>
                  <a:pt x="63" y="152"/>
                  <a:pt x="63" y="152"/>
                </a:cubicBezTo>
                <a:cubicBezTo>
                  <a:pt x="64" y="151"/>
                  <a:pt x="63" y="151"/>
                  <a:pt x="63" y="151"/>
                </a:cubicBezTo>
                <a:cubicBezTo>
                  <a:pt x="64" y="151"/>
                  <a:pt x="64" y="151"/>
                  <a:pt x="64" y="151"/>
                </a:cubicBezTo>
                <a:cubicBezTo>
                  <a:pt x="64" y="151"/>
                  <a:pt x="64" y="151"/>
                  <a:pt x="64" y="151"/>
                </a:cubicBezTo>
                <a:cubicBezTo>
                  <a:pt x="64" y="151"/>
                  <a:pt x="65" y="152"/>
                  <a:pt x="65" y="152"/>
                </a:cubicBezTo>
                <a:cubicBezTo>
                  <a:pt x="64" y="152"/>
                  <a:pt x="64" y="152"/>
                  <a:pt x="64" y="152"/>
                </a:cubicBezTo>
                <a:cubicBezTo>
                  <a:pt x="63" y="152"/>
                  <a:pt x="64" y="152"/>
                  <a:pt x="64" y="152"/>
                </a:cubicBezTo>
                <a:cubicBezTo>
                  <a:pt x="64" y="153"/>
                  <a:pt x="64" y="155"/>
                  <a:pt x="65" y="154"/>
                </a:cubicBezTo>
                <a:cubicBezTo>
                  <a:pt x="65" y="155"/>
                  <a:pt x="65" y="156"/>
                  <a:pt x="66" y="157"/>
                </a:cubicBezTo>
                <a:cubicBezTo>
                  <a:pt x="66" y="158"/>
                  <a:pt x="66" y="158"/>
                  <a:pt x="66" y="159"/>
                </a:cubicBezTo>
                <a:cubicBezTo>
                  <a:pt x="66" y="160"/>
                  <a:pt x="66" y="160"/>
                  <a:pt x="67" y="161"/>
                </a:cubicBezTo>
                <a:cubicBezTo>
                  <a:pt x="67" y="162"/>
                  <a:pt x="66" y="162"/>
                  <a:pt x="67" y="163"/>
                </a:cubicBezTo>
                <a:cubicBezTo>
                  <a:pt x="67" y="163"/>
                  <a:pt x="67" y="163"/>
                  <a:pt x="67" y="163"/>
                </a:cubicBezTo>
                <a:cubicBezTo>
                  <a:pt x="67" y="164"/>
                  <a:pt x="67" y="164"/>
                  <a:pt x="67" y="164"/>
                </a:cubicBezTo>
                <a:cubicBezTo>
                  <a:pt x="68" y="165"/>
                  <a:pt x="67" y="164"/>
                  <a:pt x="67" y="163"/>
                </a:cubicBezTo>
                <a:cubicBezTo>
                  <a:pt x="68" y="163"/>
                  <a:pt x="67" y="162"/>
                  <a:pt x="67" y="162"/>
                </a:cubicBezTo>
                <a:cubicBezTo>
                  <a:pt x="67" y="162"/>
                  <a:pt x="67" y="161"/>
                  <a:pt x="67" y="161"/>
                </a:cubicBezTo>
                <a:cubicBezTo>
                  <a:pt x="67" y="160"/>
                  <a:pt x="67" y="160"/>
                  <a:pt x="67" y="160"/>
                </a:cubicBezTo>
                <a:cubicBezTo>
                  <a:pt x="67" y="159"/>
                  <a:pt x="67" y="159"/>
                  <a:pt x="67" y="159"/>
                </a:cubicBezTo>
                <a:cubicBezTo>
                  <a:pt x="68" y="159"/>
                  <a:pt x="68" y="161"/>
                  <a:pt x="68" y="162"/>
                </a:cubicBezTo>
                <a:cubicBezTo>
                  <a:pt x="68" y="162"/>
                  <a:pt x="68" y="162"/>
                  <a:pt x="68" y="163"/>
                </a:cubicBezTo>
                <a:cubicBezTo>
                  <a:pt x="68" y="163"/>
                  <a:pt x="68" y="163"/>
                  <a:pt x="69" y="163"/>
                </a:cubicBezTo>
                <a:cubicBezTo>
                  <a:pt x="69" y="163"/>
                  <a:pt x="69" y="164"/>
                  <a:pt x="69" y="164"/>
                </a:cubicBezTo>
                <a:cubicBezTo>
                  <a:pt x="70" y="165"/>
                  <a:pt x="70" y="165"/>
                  <a:pt x="70" y="165"/>
                </a:cubicBezTo>
                <a:cubicBezTo>
                  <a:pt x="70" y="166"/>
                  <a:pt x="70" y="167"/>
                  <a:pt x="70" y="166"/>
                </a:cubicBezTo>
                <a:cubicBezTo>
                  <a:pt x="70" y="166"/>
                  <a:pt x="70" y="167"/>
                  <a:pt x="71" y="167"/>
                </a:cubicBezTo>
                <a:cubicBezTo>
                  <a:pt x="71" y="168"/>
                  <a:pt x="72" y="168"/>
                  <a:pt x="72" y="169"/>
                </a:cubicBezTo>
                <a:cubicBezTo>
                  <a:pt x="72" y="170"/>
                  <a:pt x="72" y="170"/>
                  <a:pt x="72" y="171"/>
                </a:cubicBezTo>
                <a:cubicBezTo>
                  <a:pt x="72" y="171"/>
                  <a:pt x="72" y="171"/>
                  <a:pt x="72" y="171"/>
                </a:cubicBezTo>
                <a:cubicBezTo>
                  <a:pt x="73" y="172"/>
                  <a:pt x="73" y="173"/>
                  <a:pt x="72" y="173"/>
                </a:cubicBezTo>
                <a:cubicBezTo>
                  <a:pt x="72" y="173"/>
                  <a:pt x="73" y="173"/>
                  <a:pt x="73" y="173"/>
                </a:cubicBezTo>
                <a:cubicBezTo>
                  <a:pt x="73" y="173"/>
                  <a:pt x="73" y="173"/>
                  <a:pt x="73" y="173"/>
                </a:cubicBezTo>
                <a:cubicBezTo>
                  <a:pt x="73" y="174"/>
                  <a:pt x="73" y="173"/>
                  <a:pt x="73" y="174"/>
                </a:cubicBezTo>
                <a:cubicBezTo>
                  <a:pt x="73" y="174"/>
                  <a:pt x="73" y="174"/>
                  <a:pt x="73" y="174"/>
                </a:cubicBezTo>
                <a:cubicBezTo>
                  <a:pt x="73" y="175"/>
                  <a:pt x="73" y="175"/>
                  <a:pt x="73" y="175"/>
                </a:cubicBezTo>
                <a:cubicBezTo>
                  <a:pt x="73" y="176"/>
                  <a:pt x="74" y="176"/>
                  <a:pt x="74" y="176"/>
                </a:cubicBezTo>
                <a:cubicBezTo>
                  <a:pt x="74" y="176"/>
                  <a:pt x="72" y="176"/>
                  <a:pt x="73" y="177"/>
                </a:cubicBezTo>
                <a:cubicBezTo>
                  <a:pt x="73" y="177"/>
                  <a:pt x="74" y="178"/>
                  <a:pt x="73" y="178"/>
                </a:cubicBezTo>
                <a:cubicBezTo>
                  <a:pt x="73" y="178"/>
                  <a:pt x="72" y="178"/>
                  <a:pt x="72" y="178"/>
                </a:cubicBezTo>
                <a:cubicBezTo>
                  <a:pt x="72" y="179"/>
                  <a:pt x="72" y="179"/>
                  <a:pt x="73" y="179"/>
                </a:cubicBezTo>
                <a:cubicBezTo>
                  <a:pt x="73" y="179"/>
                  <a:pt x="73" y="179"/>
                  <a:pt x="74" y="179"/>
                </a:cubicBezTo>
                <a:cubicBezTo>
                  <a:pt x="74" y="179"/>
                  <a:pt x="74" y="179"/>
                  <a:pt x="74" y="180"/>
                </a:cubicBezTo>
                <a:cubicBezTo>
                  <a:pt x="73" y="180"/>
                  <a:pt x="74" y="181"/>
                  <a:pt x="74" y="181"/>
                </a:cubicBezTo>
                <a:cubicBezTo>
                  <a:pt x="74" y="182"/>
                  <a:pt x="74" y="182"/>
                  <a:pt x="73" y="182"/>
                </a:cubicBezTo>
                <a:cubicBezTo>
                  <a:pt x="73" y="182"/>
                  <a:pt x="74" y="182"/>
                  <a:pt x="74" y="182"/>
                </a:cubicBezTo>
                <a:cubicBezTo>
                  <a:pt x="73" y="182"/>
                  <a:pt x="73" y="182"/>
                  <a:pt x="72" y="181"/>
                </a:cubicBezTo>
                <a:cubicBezTo>
                  <a:pt x="72" y="181"/>
                  <a:pt x="72" y="180"/>
                  <a:pt x="71" y="180"/>
                </a:cubicBezTo>
                <a:cubicBezTo>
                  <a:pt x="71" y="181"/>
                  <a:pt x="71" y="181"/>
                  <a:pt x="72" y="181"/>
                </a:cubicBezTo>
                <a:cubicBezTo>
                  <a:pt x="72" y="182"/>
                  <a:pt x="72" y="182"/>
                  <a:pt x="72" y="183"/>
                </a:cubicBezTo>
                <a:cubicBezTo>
                  <a:pt x="72" y="183"/>
                  <a:pt x="73" y="182"/>
                  <a:pt x="73" y="182"/>
                </a:cubicBezTo>
                <a:cubicBezTo>
                  <a:pt x="73" y="182"/>
                  <a:pt x="73" y="182"/>
                  <a:pt x="73" y="183"/>
                </a:cubicBezTo>
                <a:cubicBezTo>
                  <a:pt x="73" y="183"/>
                  <a:pt x="74" y="183"/>
                  <a:pt x="74" y="183"/>
                </a:cubicBezTo>
                <a:cubicBezTo>
                  <a:pt x="74" y="183"/>
                  <a:pt x="74" y="183"/>
                  <a:pt x="73" y="183"/>
                </a:cubicBezTo>
                <a:cubicBezTo>
                  <a:pt x="73" y="183"/>
                  <a:pt x="73" y="184"/>
                  <a:pt x="73" y="184"/>
                </a:cubicBezTo>
                <a:cubicBezTo>
                  <a:pt x="73" y="184"/>
                  <a:pt x="73" y="184"/>
                  <a:pt x="73" y="184"/>
                </a:cubicBezTo>
                <a:cubicBezTo>
                  <a:pt x="74" y="186"/>
                  <a:pt x="75" y="184"/>
                  <a:pt x="75" y="183"/>
                </a:cubicBezTo>
                <a:cubicBezTo>
                  <a:pt x="75" y="184"/>
                  <a:pt x="75" y="184"/>
                  <a:pt x="75" y="184"/>
                </a:cubicBezTo>
                <a:cubicBezTo>
                  <a:pt x="75" y="185"/>
                  <a:pt x="76" y="184"/>
                  <a:pt x="76" y="185"/>
                </a:cubicBezTo>
                <a:cubicBezTo>
                  <a:pt x="76" y="185"/>
                  <a:pt x="76" y="184"/>
                  <a:pt x="75" y="185"/>
                </a:cubicBezTo>
                <a:cubicBezTo>
                  <a:pt x="75" y="185"/>
                  <a:pt x="75" y="185"/>
                  <a:pt x="75" y="185"/>
                </a:cubicBezTo>
                <a:cubicBezTo>
                  <a:pt x="75" y="185"/>
                  <a:pt x="75" y="187"/>
                  <a:pt x="75" y="187"/>
                </a:cubicBezTo>
                <a:cubicBezTo>
                  <a:pt x="75" y="187"/>
                  <a:pt x="75" y="187"/>
                  <a:pt x="75" y="187"/>
                </a:cubicBezTo>
                <a:cubicBezTo>
                  <a:pt x="75" y="187"/>
                  <a:pt x="74" y="188"/>
                  <a:pt x="74" y="188"/>
                </a:cubicBezTo>
                <a:cubicBezTo>
                  <a:pt x="74" y="188"/>
                  <a:pt x="75" y="188"/>
                  <a:pt x="75" y="188"/>
                </a:cubicBezTo>
                <a:cubicBezTo>
                  <a:pt x="75" y="189"/>
                  <a:pt x="75" y="189"/>
                  <a:pt x="75" y="190"/>
                </a:cubicBezTo>
                <a:cubicBezTo>
                  <a:pt x="75" y="190"/>
                  <a:pt x="74" y="191"/>
                  <a:pt x="74" y="191"/>
                </a:cubicBezTo>
                <a:cubicBezTo>
                  <a:pt x="74" y="191"/>
                  <a:pt x="75" y="191"/>
                  <a:pt x="75" y="192"/>
                </a:cubicBezTo>
                <a:cubicBezTo>
                  <a:pt x="75" y="192"/>
                  <a:pt x="75" y="192"/>
                  <a:pt x="75" y="192"/>
                </a:cubicBezTo>
                <a:cubicBezTo>
                  <a:pt x="75" y="193"/>
                  <a:pt x="75" y="193"/>
                  <a:pt x="74" y="194"/>
                </a:cubicBezTo>
                <a:cubicBezTo>
                  <a:pt x="74" y="194"/>
                  <a:pt x="74" y="194"/>
                  <a:pt x="74" y="194"/>
                </a:cubicBezTo>
                <a:cubicBezTo>
                  <a:pt x="74" y="194"/>
                  <a:pt x="74" y="195"/>
                  <a:pt x="74" y="195"/>
                </a:cubicBezTo>
                <a:cubicBezTo>
                  <a:pt x="74" y="195"/>
                  <a:pt x="73" y="195"/>
                  <a:pt x="73" y="195"/>
                </a:cubicBezTo>
                <a:cubicBezTo>
                  <a:pt x="73" y="195"/>
                  <a:pt x="73" y="196"/>
                  <a:pt x="73" y="196"/>
                </a:cubicBezTo>
                <a:cubicBezTo>
                  <a:pt x="73" y="196"/>
                  <a:pt x="73" y="195"/>
                  <a:pt x="73" y="195"/>
                </a:cubicBezTo>
                <a:cubicBezTo>
                  <a:pt x="73" y="196"/>
                  <a:pt x="73" y="196"/>
                  <a:pt x="73" y="196"/>
                </a:cubicBezTo>
                <a:cubicBezTo>
                  <a:pt x="73" y="197"/>
                  <a:pt x="74" y="198"/>
                  <a:pt x="74" y="199"/>
                </a:cubicBezTo>
                <a:cubicBezTo>
                  <a:pt x="74" y="200"/>
                  <a:pt x="73" y="201"/>
                  <a:pt x="73" y="202"/>
                </a:cubicBezTo>
                <a:cubicBezTo>
                  <a:pt x="74" y="202"/>
                  <a:pt x="74" y="203"/>
                  <a:pt x="74" y="203"/>
                </a:cubicBezTo>
                <a:cubicBezTo>
                  <a:pt x="74" y="204"/>
                  <a:pt x="76" y="199"/>
                  <a:pt x="76" y="199"/>
                </a:cubicBezTo>
                <a:cubicBezTo>
                  <a:pt x="76" y="198"/>
                  <a:pt x="76" y="198"/>
                  <a:pt x="76" y="197"/>
                </a:cubicBezTo>
                <a:cubicBezTo>
                  <a:pt x="76" y="197"/>
                  <a:pt x="76" y="197"/>
                  <a:pt x="76" y="196"/>
                </a:cubicBezTo>
                <a:cubicBezTo>
                  <a:pt x="76" y="196"/>
                  <a:pt x="76" y="195"/>
                  <a:pt x="76" y="195"/>
                </a:cubicBezTo>
                <a:cubicBezTo>
                  <a:pt x="77" y="195"/>
                  <a:pt x="77" y="195"/>
                  <a:pt x="77" y="195"/>
                </a:cubicBezTo>
                <a:cubicBezTo>
                  <a:pt x="77" y="194"/>
                  <a:pt x="78" y="195"/>
                  <a:pt x="78" y="193"/>
                </a:cubicBezTo>
                <a:cubicBezTo>
                  <a:pt x="78" y="193"/>
                  <a:pt x="78" y="193"/>
                  <a:pt x="79" y="193"/>
                </a:cubicBezTo>
                <a:cubicBezTo>
                  <a:pt x="79" y="192"/>
                  <a:pt x="79" y="192"/>
                  <a:pt x="80" y="191"/>
                </a:cubicBezTo>
                <a:cubicBezTo>
                  <a:pt x="80" y="190"/>
                  <a:pt x="81" y="190"/>
                  <a:pt x="81" y="189"/>
                </a:cubicBezTo>
                <a:cubicBezTo>
                  <a:pt x="81" y="188"/>
                  <a:pt x="81" y="188"/>
                  <a:pt x="81" y="188"/>
                </a:cubicBezTo>
                <a:cubicBezTo>
                  <a:pt x="81" y="188"/>
                  <a:pt x="81" y="187"/>
                  <a:pt x="81" y="187"/>
                </a:cubicBezTo>
                <a:cubicBezTo>
                  <a:pt x="82" y="187"/>
                  <a:pt x="82" y="187"/>
                  <a:pt x="82" y="187"/>
                </a:cubicBezTo>
                <a:cubicBezTo>
                  <a:pt x="82" y="186"/>
                  <a:pt x="82" y="186"/>
                  <a:pt x="82" y="186"/>
                </a:cubicBezTo>
                <a:cubicBezTo>
                  <a:pt x="82" y="185"/>
                  <a:pt x="83" y="186"/>
                  <a:pt x="83" y="185"/>
                </a:cubicBezTo>
                <a:cubicBezTo>
                  <a:pt x="83" y="185"/>
                  <a:pt x="84" y="184"/>
                  <a:pt x="83" y="183"/>
                </a:cubicBezTo>
                <a:cubicBezTo>
                  <a:pt x="83" y="183"/>
                  <a:pt x="83" y="183"/>
                  <a:pt x="83" y="182"/>
                </a:cubicBezTo>
                <a:cubicBezTo>
                  <a:pt x="83" y="182"/>
                  <a:pt x="83" y="182"/>
                  <a:pt x="83" y="181"/>
                </a:cubicBezTo>
                <a:cubicBezTo>
                  <a:pt x="82" y="181"/>
                  <a:pt x="82" y="181"/>
                  <a:pt x="82" y="181"/>
                </a:cubicBezTo>
                <a:cubicBezTo>
                  <a:pt x="82" y="180"/>
                  <a:pt x="82" y="180"/>
                  <a:pt x="82" y="180"/>
                </a:cubicBezTo>
                <a:cubicBezTo>
                  <a:pt x="82" y="180"/>
                  <a:pt x="82" y="180"/>
                  <a:pt x="81" y="180"/>
                </a:cubicBezTo>
                <a:cubicBezTo>
                  <a:pt x="81" y="180"/>
                  <a:pt x="81" y="179"/>
                  <a:pt x="81" y="179"/>
                </a:cubicBezTo>
                <a:cubicBezTo>
                  <a:pt x="81" y="178"/>
                  <a:pt x="81" y="178"/>
                  <a:pt x="81" y="177"/>
                </a:cubicBezTo>
                <a:cubicBezTo>
                  <a:pt x="81" y="177"/>
                  <a:pt x="81" y="177"/>
                  <a:pt x="81" y="176"/>
                </a:cubicBezTo>
                <a:cubicBezTo>
                  <a:pt x="80" y="176"/>
                  <a:pt x="81" y="175"/>
                  <a:pt x="80" y="175"/>
                </a:cubicBezTo>
                <a:cubicBezTo>
                  <a:pt x="79" y="174"/>
                  <a:pt x="79" y="174"/>
                  <a:pt x="79" y="173"/>
                </a:cubicBezTo>
                <a:cubicBezTo>
                  <a:pt x="78" y="173"/>
                  <a:pt x="78" y="172"/>
                  <a:pt x="78" y="172"/>
                </a:cubicBezTo>
                <a:cubicBezTo>
                  <a:pt x="78" y="171"/>
                  <a:pt x="78" y="171"/>
                  <a:pt x="77" y="170"/>
                </a:cubicBezTo>
                <a:cubicBezTo>
                  <a:pt x="77" y="170"/>
                  <a:pt x="77" y="168"/>
                  <a:pt x="77" y="168"/>
                </a:cubicBezTo>
                <a:cubicBezTo>
                  <a:pt x="77" y="168"/>
                  <a:pt x="78" y="168"/>
                  <a:pt x="78" y="168"/>
                </a:cubicBezTo>
                <a:cubicBezTo>
                  <a:pt x="78" y="168"/>
                  <a:pt x="78" y="167"/>
                  <a:pt x="78" y="167"/>
                </a:cubicBezTo>
                <a:cubicBezTo>
                  <a:pt x="77" y="166"/>
                  <a:pt x="78" y="166"/>
                  <a:pt x="77" y="165"/>
                </a:cubicBezTo>
                <a:cubicBezTo>
                  <a:pt x="77" y="164"/>
                  <a:pt x="77" y="164"/>
                  <a:pt x="77" y="163"/>
                </a:cubicBezTo>
                <a:cubicBezTo>
                  <a:pt x="77" y="162"/>
                  <a:pt x="76" y="162"/>
                  <a:pt x="76" y="161"/>
                </a:cubicBezTo>
                <a:cubicBezTo>
                  <a:pt x="76" y="160"/>
                  <a:pt x="75" y="160"/>
                  <a:pt x="75" y="160"/>
                </a:cubicBezTo>
                <a:cubicBezTo>
                  <a:pt x="75" y="159"/>
                  <a:pt x="75" y="159"/>
                  <a:pt x="74" y="158"/>
                </a:cubicBezTo>
                <a:cubicBezTo>
                  <a:pt x="74" y="158"/>
                  <a:pt x="73" y="157"/>
                  <a:pt x="72" y="157"/>
                </a:cubicBezTo>
                <a:cubicBezTo>
                  <a:pt x="72" y="156"/>
                  <a:pt x="72" y="157"/>
                  <a:pt x="72" y="156"/>
                </a:cubicBezTo>
                <a:cubicBezTo>
                  <a:pt x="71" y="156"/>
                  <a:pt x="70" y="155"/>
                  <a:pt x="70" y="155"/>
                </a:cubicBezTo>
                <a:cubicBezTo>
                  <a:pt x="70" y="154"/>
                  <a:pt x="69" y="154"/>
                  <a:pt x="69" y="153"/>
                </a:cubicBezTo>
                <a:cubicBezTo>
                  <a:pt x="69" y="152"/>
                  <a:pt x="68" y="152"/>
                  <a:pt x="68" y="151"/>
                </a:cubicBezTo>
                <a:cubicBezTo>
                  <a:pt x="67" y="151"/>
                  <a:pt x="67" y="150"/>
                  <a:pt x="67" y="149"/>
                </a:cubicBezTo>
                <a:cubicBezTo>
                  <a:pt x="67" y="149"/>
                  <a:pt x="66" y="149"/>
                  <a:pt x="66" y="148"/>
                </a:cubicBezTo>
                <a:cubicBezTo>
                  <a:pt x="66" y="148"/>
                  <a:pt x="66" y="148"/>
                  <a:pt x="66" y="148"/>
                </a:cubicBezTo>
                <a:cubicBezTo>
                  <a:pt x="66" y="147"/>
                  <a:pt x="66" y="146"/>
                  <a:pt x="66" y="146"/>
                </a:cubicBezTo>
                <a:cubicBezTo>
                  <a:pt x="67" y="146"/>
                  <a:pt x="67" y="145"/>
                  <a:pt x="67" y="145"/>
                </a:cubicBezTo>
                <a:cubicBezTo>
                  <a:pt x="67" y="145"/>
                  <a:pt x="68" y="145"/>
                  <a:pt x="68" y="145"/>
                </a:cubicBezTo>
                <a:cubicBezTo>
                  <a:pt x="68" y="145"/>
                  <a:pt x="68" y="144"/>
                  <a:pt x="69" y="144"/>
                </a:cubicBezTo>
                <a:cubicBezTo>
                  <a:pt x="69" y="144"/>
                  <a:pt x="69" y="145"/>
                  <a:pt x="69" y="144"/>
                </a:cubicBezTo>
                <a:cubicBezTo>
                  <a:pt x="69" y="144"/>
                  <a:pt x="69" y="143"/>
                  <a:pt x="69" y="143"/>
                </a:cubicBezTo>
                <a:cubicBezTo>
                  <a:pt x="69" y="141"/>
                  <a:pt x="69" y="140"/>
                  <a:pt x="69" y="139"/>
                </a:cubicBezTo>
                <a:cubicBezTo>
                  <a:pt x="69" y="138"/>
                  <a:pt x="69" y="138"/>
                  <a:pt x="69" y="137"/>
                </a:cubicBezTo>
                <a:cubicBezTo>
                  <a:pt x="69" y="137"/>
                  <a:pt x="68" y="137"/>
                  <a:pt x="69" y="137"/>
                </a:cubicBezTo>
                <a:cubicBezTo>
                  <a:pt x="70" y="137"/>
                  <a:pt x="69" y="136"/>
                  <a:pt x="70" y="136"/>
                </a:cubicBezTo>
                <a:cubicBezTo>
                  <a:pt x="70" y="136"/>
                  <a:pt x="70" y="136"/>
                  <a:pt x="71" y="136"/>
                </a:cubicBezTo>
                <a:cubicBezTo>
                  <a:pt x="71" y="136"/>
                  <a:pt x="71" y="135"/>
                  <a:pt x="71" y="134"/>
                </a:cubicBezTo>
                <a:cubicBezTo>
                  <a:pt x="71" y="134"/>
                  <a:pt x="72" y="133"/>
                  <a:pt x="71" y="133"/>
                </a:cubicBezTo>
                <a:cubicBezTo>
                  <a:pt x="71" y="133"/>
                  <a:pt x="71" y="133"/>
                  <a:pt x="71" y="132"/>
                </a:cubicBezTo>
                <a:cubicBezTo>
                  <a:pt x="70" y="133"/>
                  <a:pt x="70" y="134"/>
                  <a:pt x="70" y="134"/>
                </a:cubicBezTo>
                <a:cubicBezTo>
                  <a:pt x="69" y="135"/>
                  <a:pt x="69" y="133"/>
                  <a:pt x="69" y="133"/>
                </a:cubicBezTo>
                <a:cubicBezTo>
                  <a:pt x="69" y="132"/>
                  <a:pt x="68" y="131"/>
                  <a:pt x="68" y="131"/>
                </a:cubicBezTo>
                <a:cubicBezTo>
                  <a:pt x="67" y="130"/>
                  <a:pt x="67" y="130"/>
                  <a:pt x="67" y="129"/>
                </a:cubicBezTo>
                <a:cubicBezTo>
                  <a:pt x="67" y="129"/>
                  <a:pt x="67" y="129"/>
                  <a:pt x="67" y="128"/>
                </a:cubicBezTo>
                <a:cubicBezTo>
                  <a:pt x="67" y="128"/>
                  <a:pt x="67" y="128"/>
                  <a:pt x="67" y="128"/>
                </a:cubicBezTo>
                <a:cubicBezTo>
                  <a:pt x="67" y="128"/>
                  <a:pt x="67" y="128"/>
                  <a:pt x="67" y="128"/>
                </a:cubicBezTo>
                <a:cubicBezTo>
                  <a:pt x="67" y="127"/>
                  <a:pt x="66" y="126"/>
                  <a:pt x="65" y="126"/>
                </a:cubicBezTo>
                <a:cubicBezTo>
                  <a:pt x="65" y="126"/>
                  <a:pt x="65" y="125"/>
                  <a:pt x="64" y="124"/>
                </a:cubicBezTo>
                <a:cubicBezTo>
                  <a:pt x="64" y="124"/>
                  <a:pt x="63" y="124"/>
                  <a:pt x="63" y="124"/>
                </a:cubicBezTo>
                <a:cubicBezTo>
                  <a:pt x="63" y="123"/>
                  <a:pt x="63" y="123"/>
                  <a:pt x="62" y="123"/>
                </a:cubicBezTo>
                <a:cubicBezTo>
                  <a:pt x="61" y="121"/>
                  <a:pt x="59" y="120"/>
                  <a:pt x="58" y="118"/>
                </a:cubicBezTo>
                <a:cubicBezTo>
                  <a:pt x="58" y="117"/>
                  <a:pt x="57" y="117"/>
                  <a:pt x="58" y="116"/>
                </a:cubicBezTo>
                <a:cubicBezTo>
                  <a:pt x="58" y="116"/>
                  <a:pt x="57" y="115"/>
                  <a:pt x="57" y="114"/>
                </a:cubicBezTo>
                <a:cubicBezTo>
                  <a:pt x="57" y="114"/>
                  <a:pt x="57" y="113"/>
                  <a:pt x="56" y="113"/>
                </a:cubicBezTo>
                <a:cubicBezTo>
                  <a:pt x="56" y="113"/>
                  <a:pt x="57" y="112"/>
                  <a:pt x="56" y="112"/>
                </a:cubicBezTo>
                <a:cubicBezTo>
                  <a:pt x="56" y="111"/>
                  <a:pt x="56" y="112"/>
                  <a:pt x="55" y="112"/>
                </a:cubicBezTo>
                <a:cubicBezTo>
                  <a:pt x="55" y="113"/>
                  <a:pt x="54" y="111"/>
                  <a:pt x="54" y="111"/>
                </a:cubicBezTo>
                <a:cubicBezTo>
                  <a:pt x="54" y="110"/>
                  <a:pt x="53" y="110"/>
                  <a:pt x="53" y="109"/>
                </a:cubicBezTo>
                <a:cubicBezTo>
                  <a:pt x="54" y="110"/>
                  <a:pt x="55" y="110"/>
                  <a:pt x="56" y="110"/>
                </a:cubicBezTo>
                <a:cubicBezTo>
                  <a:pt x="56" y="109"/>
                  <a:pt x="58" y="109"/>
                  <a:pt x="57" y="108"/>
                </a:cubicBezTo>
                <a:cubicBezTo>
                  <a:pt x="57" y="108"/>
                  <a:pt x="57" y="107"/>
                  <a:pt x="57" y="106"/>
                </a:cubicBezTo>
                <a:cubicBezTo>
                  <a:pt x="57" y="106"/>
                  <a:pt x="56" y="106"/>
                  <a:pt x="56" y="105"/>
                </a:cubicBezTo>
                <a:cubicBezTo>
                  <a:pt x="56" y="105"/>
                  <a:pt x="57" y="104"/>
                  <a:pt x="57" y="103"/>
                </a:cubicBezTo>
                <a:cubicBezTo>
                  <a:pt x="57" y="103"/>
                  <a:pt x="57" y="103"/>
                  <a:pt x="57" y="102"/>
                </a:cubicBezTo>
                <a:cubicBezTo>
                  <a:pt x="57" y="102"/>
                  <a:pt x="56" y="102"/>
                  <a:pt x="57" y="101"/>
                </a:cubicBezTo>
                <a:cubicBezTo>
                  <a:pt x="57" y="101"/>
                  <a:pt x="57" y="100"/>
                  <a:pt x="57" y="100"/>
                </a:cubicBezTo>
                <a:cubicBezTo>
                  <a:pt x="56" y="100"/>
                  <a:pt x="57" y="100"/>
                  <a:pt x="57" y="99"/>
                </a:cubicBezTo>
                <a:cubicBezTo>
                  <a:pt x="57" y="99"/>
                  <a:pt x="57" y="98"/>
                  <a:pt x="57" y="98"/>
                </a:cubicBezTo>
                <a:cubicBezTo>
                  <a:pt x="58" y="98"/>
                  <a:pt x="58" y="98"/>
                  <a:pt x="58" y="97"/>
                </a:cubicBezTo>
                <a:cubicBezTo>
                  <a:pt x="58" y="97"/>
                  <a:pt x="58" y="95"/>
                  <a:pt x="59" y="96"/>
                </a:cubicBezTo>
                <a:cubicBezTo>
                  <a:pt x="59" y="96"/>
                  <a:pt x="60" y="96"/>
                  <a:pt x="60" y="96"/>
                </a:cubicBezTo>
                <a:cubicBezTo>
                  <a:pt x="60" y="97"/>
                  <a:pt x="60" y="97"/>
                  <a:pt x="61" y="97"/>
                </a:cubicBezTo>
                <a:cubicBezTo>
                  <a:pt x="62" y="97"/>
                  <a:pt x="62" y="96"/>
                  <a:pt x="63" y="97"/>
                </a:cubicBezTo>
                <a:cubicBezTo>
                  <a:pt x="64" y="97"/>
                  <a:pt x="64" y="97"/>
                  <a:pt x="64" y="96"/>
                </a:cubicBezTo>
                <a:cubicBezTo>
                  <a:pt x="65" y="96"/>
                  <a:pt x="65" y="96"/>
                  <a:pt x="65" y="96"/>
                </a:cubicBezTo>
                <a:cubicBezTo>
                  <a:pt x="66" y="95"/>
                  <a:pt x="67" y="97"/>
                  <a:pt x="67" y="96"/>
                </a:cubicBezTo>
                <a:cubicBezTo>
                  <a:pt x="68" y="95"/>
                  <a:pt x="67" y="94"/>
                  <a:pt x="68" y="93"/>
                </a:cubicBezTo>
                <a:cubicBezTo>
                  <a:pt x="68" y="92"/>
                  <a:pt x="69" y="92"/>
                  <a:pt x="70" y="93"/>
                </a:cubicBezTo>
                <a:cubicBezTo>
                  <a:pt x="70" y="93"/>
                  <a:pt x="72" y="92"/>
                  <a:pt x="72" y="92"/>
                </a:cubicBezTo>
                <a:cubicBezTo>
                  <a:pt x="72" y="91"/>
                  <a:pt x="71" y="90"/>
                  <a:pt x="71" y="89"/>
                </a:cubicBezTo>
                <a:cubicBezTo>
                  <a:pt x="71" y="89"/>
                  <a:pt x="72" y="90"/>
                  <a:pt x="72" y="90"/>
                </a:cubicBezTo>
                <a:cubicBezTo>
                  <a:pt x="72" y="90"/>
                  <a:pt x="73" y="90"/>
                  <a:pt x="73" y="90"/>
                </a:cubicBezTo>
                <a:cubicBezTo>
                  <a:pt x="74" y="90"/>
                  <a:pt x="74" y="90"/>
                  <a:pt x="75" y="89"/>
                </a:cubicBezTo>
                <a:cubicBezTo>
                  <a:pt x="75" y="89"/>
                  <a:pt x="75" y="88"/>
                  <a:pt x="76" y="89"/>
                </a:cubicBezTo>
                <a:cubicBezTo>
                  <a:pt x="76" y="89"/>
                  <a:pt x="77" y="90"/>
                  <a:pt x="77" y="90"/>
                </a:cubicBezTo>
                <a:cubicBezTo>
                  <a:pt x="78" y="90"/>
                  <a:pt x="77" y="84"/>
                  <a:pt x="79" y="84"/>
                </a:cubicBezTo>
                <a:cubicBezTo>
                  <a:pt x="80" y="85"/>
                  <a:pt x="81" y="85"/>
                  <a:pt x="81" y="84"/>
                </a:cubicBezTo>
                <a:cubicBezTo>
                  <a:pt x="82" y="84"/>
                  <a:pt x="81" y="84"/>
                  <a:pt x="81" y="84"/>
                </a:cubicBezTo>
                <a:cubicBezTo>
                  <a:pt x="81" y="84"/>
                  <a:pt x="80" y="84"/>
                  <a:pt x="80" y="83"/>
                </a:cubicBezTo>
                <a:cubicBezTo>
                  <a:pt x="80" y="83"/>
                  <a:pt x="80" y="82"/>
                  <a:pt x="81" y="82"/>
                </a:cubicBezTo>
                <a:cubicBezTo>
                  <a:pt x="81" y="82"/>
                  <a:pt x="81" y="81"/>
                  <a:pt x="81" y="80"/>
                </a:cubicBezTo>
                <a:cubicBezTo>
                  <a:pt x="82" y="80"/>
                  <a:pt x="81" y="79"/>
                  <a:pt x="82" y="79"/>
                </a:cubicBezTo>
                <a:close/>
                <a:moveTo>
                  <a:pt x="69" y="171"/>
                </a:moveTo>
                <a:cubicBezTo>
                  <a:pt x="69" y="171"/>
                  <a:pt x="69" y="170"/>
                  <a:pt x="69" y="170"/>
                </a:cubicBezTo>
                <a:cubicBezTo>
                  <a:pt x="70" y="169"/>
                  <a:pt x="69" y="169"/>
                  <a:pt x="69" y="169"/>
                </a:cubicBezTo>
                <a:cubicBezTo>
                  <a:pt x="69" y="169"/>
                  <a:pt x="69" y="168"/>
                  <a:pt x="69" y="168"/>
                </a:cubicBezTo>
                <a:cubicBezTo>
                  <a:pt x="68" y="168"/>
                  <a:pt x="69" y="169"/>
                  <a:pt x="69" y="169"/>
                </a:cubicBezTo>
                <a:cubicBezTo>
                  <a:pt x="69" y="170"/>
                  <a:pt x="69" y="170"/>
                  <a:pt x="69" y="171"/>
                </a:cubicBezTo>
                <a:cubicBezTo>
                  <a:pt x="69" y="171"/>
                  <a:pt x="69" y="171"/>
                  <a:pt x="69" y="171"/>
                </a:cubicBezTo>
                <a:close/>
                <a:moveTo>
                  <a:pt x="68" y="184"/>
                </a:moveTo>
                <a:cubicBezTo>
                  <a:pt x="68" y="184"/>
                  <a:pt x="67" y="183"/>
                  <a:pt x="67" y="183"/>
                </a:cubicBezTo>
                <a:cubicBezTo>
                  <a:pt x="67" y="183"/>
                  <a:pt x="68" y="185"/>
                  <a:pt x="68" y="185"/>
                </a:cubicBezTo>
                <a:cubicBezTo>
                  <a:pt x="68" y="185"/>
                  <a:pt x="68" y="185"/>
                  <a:pt x="68" y="185"/>
                </a:cubicBezTo>
                <a:cubicBezTo>
                  <a:pt x="68" y="185"/>
                  <a:pt x="68" y="185"/>
                  <a:pt x="68" y="184"/>
                </a:cubicBezTo>
                <a:close/>
                <a:moveTo>
                  <a:pt x="71" y="198"/>
                </a:moveTo>
                <a:cubicBezTo>
                  <a:pt x="71" y="197"/>
                  <a:pt x="70" y="198"/>
                  <a:pt x="70" y="198"/>
                </a:cubicBezTo>
                <a:cubicBezTo>
                  <a:pt x="71" y="198"/>
                  <a:pt x="71" y="198"/>
                  <a:pt x="71" y="198"/>
                </a:cubicBezTo>
                <a:close/>
                <a:moveTo>
                  <a:pt x="73" y="194"/>
                </a:moveTo>
                <a:cubicBezTo>
                  <a:pt x="73" y="194"/>
                  <a:pt x="73" y="195"/>
                  <a:pt x="73" y="195"/>
                </a:cubicBezTo>
                <a:cubicBezTo>
                  <a:pt x="73" y="195"/>
                  <a:pt x="74" y="194"/>
                  <a:pt x="74" y="194"/>
                </a:cubicBezTo>
                <a:cubicBezTo>
                  <a:pt x="74" y="194"/>
                  <a:pt x="73" y="193"/>
                  <a:pt x="73" y="194"/>
                </a:cubicBezTo>
                <a:close/>
                <a:moveTo>
                  <a:pt x="72" y="176"/>
                </a:moveTo>
                <a:cubicBezTo>
                  <a:pt x="71" y="176"/>
                  <a:pt x="71" y="177"/>
                  <a:pt x="71" y="177"/>
                </a:cubicBezTo>
                <a:cubicBezTo>
                  <a:pt x="72" y="178"/>
                  <a:pt x="72" y="176"/>
                  <a:pt x="72" y="176"/>
                </a:cubicBezTo>
                <a:close/>
                <a:moveTo>
                  <a:pt x="70" y="183"/>
                </a:moveTo>
                <a:cubicBezTo>
                  <a:pt x="70" y="183"/>
                  <a:pt x="70" y="183"/>
                  <a:pt x="70" y="182"/>
                </a:cubicBezTo>
                <a:cubicBezTo>
                  <a:pt x="70" y="182"/>
                  <a:pt x="70" y="183"/>
                  <a:pt x="70" y="183"/>
                </a:cubicBezTo>
                <a:close/>
                <a:moveTo>
                  <a:pt x="70" y="187"/>
                </a:moveTo>
                <a:cubicBezTo>
                  <a:pt x="70" y="187"/>
                  <a:pt x="70" y="187"/>
                  <a:pt x="70" y="187"/>
                </a:cubicBezTo>
                <a:cubicBezTo>
                  <a:pt x="70" y="186"/>
                  <a:pt x="71" y="185"/>
                  <a:pt x="70" y="184"/>
                </a:cubicBezTo>
                <a:cubicBezTo>
                  <a:pt x="70" y="183"/>
                  <a:pt x="70" y="184"/>
                  <a:pt x="70" y="185"/>
                </a:cubicBezTo>
                <a:cubicBezTo>
                  <a:pt x="70" y="186"/>
                  <a:pt x="70" y="187"/>
                  <a:pt x="69" y="187"/>
                </a:cubicBezTo>
                <a:cubicBezTo>
                  <a:pt x="70" y="188"/>
                  <a:pt x="70" y="187"/>
                  <a:pt x="70" y="187"/>
                </a:cubicBezTo>
                <a:close/>
                <a:moveTo>
                  <a:pt x="71" y="196"/>
                </a:moveTo>
                <a:cubicBezTo>
                  <a:pt x="70" y="196"/>
                  <a:pt x="71" y="196"/>
                  <a:pt x="71" y="195"/>
                </a:cubicBezTo>
                <a:cubicBezTo>
                  <a:pt x="71" y="195"/>
                  <a:pt x="71" y="193"/>
                  <a:pt x="70" y="193"/>
                </a:cubicBezTo>
                <a:cubicBezTo>
                  <a:pt x="69" y="192"/>
                  <a:pt x="69" y="194"/>
                  <a:pt x="69" y="194"/>
                </a:cubicBezTo>
                <a:cubicBezTo>
                  <a:pt x="69" y="194"/>
                  <a:pt x="70" y="193"/>
                  <a:pt x="70" y="193"/>
                </a:cubicBezTo>
                <a:cubicBezTo>
                  <a:pt x="70" y="194"/>
                  <a:pt x="70" y="194"/>
                  <a:pt x="70" y="194"/>
                </a:cubicBezTo>
                <a:cubicBezTo>
                  <a:pt x="71" y="195"/>
                  <a:pt x="71" y="195"/>
                  <a:pt x="71" y="196"/>
                </a:cubicBezTo>
                <a:close/>
                <a:moveTo>
                  <a:pt x="70" y="206"/>
                </a:moveTo>
                <a:cubicBezTo>
                  <a:pt x="70" y="204"/>
                  <a:pt x="69" y="206"/>
                  <a:pt x="70" y="206"/>
                </a:cubicBezTo>
                <a:close/>
                <a:moveTo>
                  <a:pt x="69" y="175"/>
                </a:moveTo>
                <a:cubicBezTo>
                  <a:pt x="69" y="175"/>
                  <a:pt x="69" y="176"/>
                  <a:pt x="69" y="176"/>
                </a:cubicBezTo>
                <a:cubicBezTo>
                  <a:pt x="69" y="176"/>
                  <a:pt x="70" y="175"/>
                  <a:pt x="69" y="175"/>
                </a:cubicBezTo>
                <a:close/>
                <a:moveTo>
                  <a:pt x="58" y="132"/>
                </a:moveTo>
                <a:cubicBezTo>
                  <a:pt x="57" y="132"/>
                  <a:pt x="58" y="133"/>
                  <a:pt x="58" y="134"/>
                </a:cubicBezTo>
                <a:cubicBezTo>
                  <a:pt x="58" y="134"/>
                  <a:pt x="58" y="135"/>
                  <a:pt x="59" y="135"/>
                </a:cubicBezTo>
                <a:cubicBezTo>
                  <a:pt x="59" y="134"/>
                  <a:pt x="59" y="133"/>
                  <a:pt x="59" y="133"/>
                </a:cubicBezTo>
                <a:cubicBezTo>
                  <a:pt x="59" y="132"/>
                  <a:pt x="59" y="132"/>
                  <a:pt x="58" y="132"/>
                </a:cubicBezTo>
                <a:close/>
                <a:moveTo>
                  <a:pt x="71" y="177"/>
                </a:moveTo>
                <a:cubicBezTo>
                  <a:pt x="71" y="176"/>
                  <a:pt x="72" y="175"/>
                  <a:pt x="71" y="175"/>
                </a:cubicBezTo>
                <a:cubicBezTo>
                  <a:pt x="71" y="175"/>
                  <a:pt x="71" y="175"/>
                  <a:pt x="71" y="175"/>
                </a:cubicBezTo>
                <a:cubicBezTo>
                  <a:pt x="70" y="175"/>
                  <a:pt x="71" y="174"/>
                  <a:pt x="70" y="174"/>
                </a:cubicBezTo>
                <a:cubicBezTo>
                  <a:pt x="70" y="174"/>
                  <a:pt x="70" y="174"/>
                  <a:pt x="70" y="174"/>
                </a:cubicBezTo>
                <a:cubicBezTo>
                  <a:pt x="69" y="175"/>
                  <a:pt x="70" y="176"/>
                  <a:pt x="70" y="177"/>
                </a:cubicBezTo>
                <a:cubicBezTo>
                  <a:pt x="70" y="178"/>
                  <a:pt x="70" y="178"/>
                  <a:pt x="70" y="178"/>
                </a:cubicBezTo>
                <a:cubicBezTo>
                  <a:pt x="71" y="178"/>
                  <a:pt x="71" y="177"/>
                  <a:pt x="71" y="177"/>
                </a:cubicBezTo>
                <a:close/>
                <a:moveTo>
                  <a:pt x="68" y="178"/>
                </a:moveTo>
                <a:cubicBezTo>
                  <a:pt x="68" y="178"/>
                  <a:pt x="67" y="179"/>
                  <a:pt x="68" y="179"/>
                </a:cubicBezTo>
                <a:cubicBezTo>
                  <a:pt x="68" y="180"/>
                  <a:pt x="68" y="180"/>
                  <a:pt x="68" y="180"/>
                </a:cubicBezTo>
                <a:cubicBezTo>
                  <a:pt x="68" y="179"/>
                  <a:pt x="68" y="179"/>
                  <a:pt x="68" y="179"/>
                </a:cubicBezTo>
                <a:cubicBezTo>
                  <a:pt x="68" y="179"/>
                  <a:pt x="68" y="179"/>
                  <a:pt x="68" y="178"/>
                </a:cubicBezTo>
                <a:close/>
                <a:moveTo>
                  <a:pt x="64" y="183"/>
                </a:moveTo>
                <a:cubicBezTo>
                  <a:pt x="64" y="183"/>
                  <a:pt x="64" y="183"/>
                  <a:pt x="64" y="183"/>
                </a:cubicBezTo>
                <a:cubicBezTo>
                  <a:pt x="64" y="183"/>
                  <a:pt x="64" y="183"/>
                  <a:pt x="64" y="183"/>
                </a:cubicBezTo>
                <a:close/>
                <a:moveTo>
                  <a:pt x="73" y="184"/>
                </a:moveTo>
                <a:cubicBezTo>
                  <a:pt x="72" y="183"/>
                  <a:pt x="71" y="184"/>
                  <a:pt x="71" y="184"/>
                </a:cubicBezTo>
                <a:cubicBezTo>
                  <a:pt x="71" y="184"/>
                  <a:pt x="71" y="184"/>
                  <a:pt x="71" y="185"/>
                </a:cubicBezTo>
                <a:cubicBezTo>
                  <a:pt x="71" y="185"/>
                  <a:pt x="71" y="185"/>
                  <a:pt x="71" y="185"/>
                </a:cubicBezTo>
                <a:cubicBezTo>
                  <a:pt x="71" y="185"/>
                  <a:pt x="71" y="185"/>
                  <a:pt x="71" y="185"/>
                </a:cubicBezTo>
                <a:cubicBezTo>
                  <a:pt x="71" y="185"/>
                  <a:pt x="72" y="185"/>
                  <a:pt x="72" y="186"/>
                </a:cubicBezTo>
                <a:cubicBezTo>
                  <a:pt x="72" y="186"/>
                  <a:pt x="72" y="186"/>
                  <a:pt x="72" y="186"/>
                </a:cubicBezTo>
                <a:cubicBezTo>
                  <a:pt x="72" y="186"/>
                  <a:pt x="73" y="187"/>
                  <a:pt x="73" y="187"/>
                </a:cubicBezTo>
                <a:cubicBezTo>
                  <a:pt x="73" y="186"/>
                  <a:pt x="73" y="185"/>
                  <a:pt x="73" y="184"/>
                </a:cubicBezTo>
                <a:close/>
                <a:moveTo>
                  <a:pt x="73" y="191"/>
                </a:moveTo>
                <a:cubicBezTo>
                  <a:pt x="73" y="192"/>
                  <a:pt x="73" y="192"/>
                  <a:pt x="73" y="192"/>
                </a:cubicBezTo>
                <a:cubicBezTo>
                  <a:pt x="72" y="193"/>
                  <a:pt x="73" y="193"/>
                  <a:pt x="73" y="193"/>
                </a:cubicBezTo>
                <a:cubicBezTo>
                  <a:pt x="73" y="192"/>
                  <a:pt x="73" y="192"/>
                  <a:pt x="73" y="191"/>
                </a:cubicBezTo>
                <a:close/>
                <a:moveTo>
                  <a:pt x="67" y="194"/>
                </a:moveTo>
                <a:cubicBezTo>
                  <a:pt x="67" y="194"/>
                  <a:pt x="67" y="194"/>
                  <a:pt x="67" y="194"/>
                </a:cubicBezTo>
                <a:cubicBezTo>
                  <a:pt x="68" y="194"/>
                  <a:pt x="67" y="193"/>
                  <a:pt x="67" y="194"/>
                </a:cubicBezTo>
                <a:close/>
                <a:moveTo>
                  <a:pt x="17" y="106"/>
                </a:moveTo>
                <a:cubicBezTo>
                  <a:pt x="17" y="105"/>
                  <a:pt x="16" y="106"/>
                  <a:pt x="16" y="106"/>
                </a:cubicBezTo>
                <a:cubicBezTo>
                  <a:pt x="16" y="107"/>
                  <a:pt x="17" y="107"/>
                  <a:pt x="18" y="108"/>
                </a:cubicBezTo>
                <a:cubicBezTo>
                  <a:pt x="18" y="108"/>
                  <a:pt x="19" y="108"/>
                  <a:pt x="19" y="107"/>
                </a:cubicBezTo>
                <a:cubicBezTo>
                  <a:pt x="19" y="107"/>
                  <a:pt x="19" y="106"/>
                  <a:pt x="19" y="106"/>
                </a:cubicBezTo>
                <a:cubicBezTo>
                  <a:pt x="18" y="106"/>
                  <a:pt x="18" y="106"/>
                  <a:pt x="17" y="106"/>
                </a:cubicBezTo>
                <a:close/>
                <a:moveTo>
                  <a:pt x="68" y="199"/>
                </a:moveTo>
                <a:cubicBezTo>
                  <a:pt x="68" y="198"/>
                  <a:pt x="68" y="198"/>
                  <a:pt x="68" y="198"/>
                </a:cubicBezTo>
                <a:cubicBezTo>
                  <a:pt x="67" y="198"/>
                  <a:pt x="67" y="199"/>
                  <a:pt x="68" y="199"/>
                </a:cubicBezTo>
                <a:close/>
                <a:moveTo>
                  <a:pt x="68" y="177"/>
                </a:moveTo>
                <a:cubicBezTo>
                  <a:pt x="68" y="177"/>
                  <a:pt x="67" y="177"/>
                  <a:pt x="67" y="177"/>
                </a:cubicBezTo>
                <a:cubicBezTo>
                  <a:pt x="67" y="178"/>
                  <a:pt x="67" y="177"/>
                  <a:pt x="67" y="177"/>
                </a:cubicBezTo>
                <a:cubicBezTo>
                  <a:pt x="67" y="177"/>
                  <a:pt x="66" y="177"/>
                  <a:pt x="67" y="178"/>
                </a:cubicBezTo>
                <a:cubicBezTo>
                  <a:pt x="67" y="178"/>
                  <a:pt x="67" y="178"/>
                  <a:pt x="66" y="178"/>
                </a:cubicBezTo>
                <a:cubicBezTo>
                  <a:pt x="67" y="178"/>
                  <a:pt x="67" y="178"/>
                  <a:pt x="67" y="178"/>
                </a:cubicBezTo>
                <a:cubicBezTo>
                  <a:pt x="67" y="178"/>
                  <a:pt x="67" y="178"/>
                  <a:pt x="67" y="178"/>
                </a:cubicBezTo>
                <a:cubicBezTo>
                  <a:pt x="67" y="178"/>
                  <a:pt x="68" y="177"/>
                  <a:pt x="68" y="177"/>
                </a:cubicBezTo>
                <a:close/>
                <a:moveTo>
                  <a:pt x="20" y="103"/>
                </a:moveTo>
                <a:cubicBezTo>
                  <a:pt x="20" y="103"/>
                  <a:pt x="20" y="103"/>
                  <a:pt x="20" y="102"/>
                </a:cubicBezTo>
                <a:cubicBezTo>
                  <a:pt x="19" y="101"/>
                  <a:pt x="19" y="102"/>
                  <a:pt x="18" y="102"/>
                </a:cubicBezTo>
                <a:cubicBezTo>
                  <a:pt x="18" y="101"/>
                  <a:pt x="17" y="101"/>
                  <a:pt x="17" y="101"/>
                </a:cubicBezTo>
                <a:cubicBezTo>
                  <a:pt x="16" y="101"/>
                  <a:pt x="17" y="101"/>
                  <a:pt x="17" y="101"/>
                </a:cubicBezTo>
                <a:cubicBezTo>
                  <a:pt x="16" y="99"/>
                  <a:pt x="15" y="100"/>
                  <a:pt x="15" y="101"/>
                </a:cubicBezTo>
                <a:cubicBezTo>
                  <a:pt x="16" y="102"/>
                  <a:pt x="17" y="103"/>
                  <a:pt x="17" y="103"/>
                </a:cubicBezTo>
                <a:cubicBezTo>
                  <a:pt x="18" y="104"/>
                  <a:pt x="17" y="104"/>
                  <a:pt x="18" y="104"/>
                </a:cubicBezTo>
                <a:cubicBezTo>
                  <a:pt x="18" y="104"/>
                  <a:pt x="18" y="105"/>
                  <a:pt x="18" y="105"/>
                </a:cubicBezTo>
                <a:cubicBezTo>
                  <a:pt x="19" y="105"/>
                  <a:pt x="20" y="105"/>
                  <a:pt x="20" y="106"/>
                </a:cubicBezTo>
                <a:cubicBezTo>
                  <a:pt x="20" y="106"/>
                  <a:pt x="21" y="105"/>
                  <a:pt x="21" y="105"/>
                </a:cubicBezTo>
                <a:cubicBezTo>
                  <a:pt x="21" y="105"/>
                  <a:pt x="20" y="104"/>
                  <a:pt x="20" y="104"/>
                </a:cubicBezTo>
                <a:cubicBezTo>
                  <a:pt x="20" y="104"/>
                  <a:pt x="20" y="103"/>
                  <a:pt x="20" y="103"/>
                </a:cubicBezTo>
                <a:close/>
                <a:moveTo>
                  <a:pt x="9" y="93"/>
                </a:moveTo>
                <a:cubicBezTo>
                  <a:pt x="9" y="93"/>
                  <a:pt x="9" y="93"/>
                  <a:pt x="9" y="94"/>
                </a:cubicBezTo>
                <a:cubicBezTo>
                  <a:pt x="10" y="94"/>
                  <a:pt x="10" y="95"/>
                  <a:pt x="10" y="95"/>
                </a:cubicBezTo>
                <a:cubicBezTo>
                  <a:pt x="10" y="95"/>
                  <a:pt x="10" y="94"/>
                  <a:pt x="10" y="94"/>
                </a:cubicBezTo>
                <a:cubicBezTo>
                  <a:pt x="10" y="94"/>
                  <a:pt x="9" y="92"/>
                  <a:pt x="9" y="9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0" name="Mozambique"/>
          <p:cNvSpPr>
            <a:spLocks noEditPoints="1"/>
          </p:cNvSpPr>
          <p:nvPr/>
        </p:nvSpPr>
        <p:spPr bwMode="auto">
          <a:xfrm>
            <a:off x="6847042" y="5079922"/>
            <a:ext cx="367987" cy="653976"/>
          </a:xfrm>
          <a:custGeom>
            <a:avLst/>
            <a:gdLst/>
            <a:ahLst/>
            <a:cxnLst>
              <a:cxn ang="0">
                <a:pos x="99" y="55"/>
              </a:cxn>
              <a:cxn ang="0">
                <a:pos x="93" y="63"/>
              </a:cxn>
              <a:cxn ang="0">
                <a:pos x="86" y="70"/>
              </a:cxn>
              <a:cxn ang="0">
                <a:pos x="80" y="73"/>
              </a:cxn>
              <a:cxn ang="0">
                <a:pos x="74" y="74"/>
              </a:cxn>
              <a:cxn ang="0">
                <a:pos x="64" y="83"/>
              </a:cxn>
              <a:cxn ang="0">
                <a:pos x="62" y="85"/>
              </a:cxn>
              <a:cxn ang="0">
                <a:pos x="56" y="93"/>
              </a:cxn>
              <a:cxn ang="0">
                <a:pos x="52" y="94"/>
              </a:cxn>
              <a:cxn ang="0">
                <a:pos x="43" y="103"/>
              </a:cxn>
              <a:cxn ang="0">
                <a:pos x="41" y="104"/>
              </a:cxn>
              <a:cxn ang="0">
                <a:pos x="40" y="111"/>
              </a:cxn>
              <a:cxn ang="0">
                <a:pos x="44" y="114"/>
              </a:cxn>
              <a:cxn ang="0">
                <a:pos x="44" y="118"/>
              </a:cxn>
              <a:cxn ang="0">
                <a:pos x="45" y="122"/>
              </a:cxn>
              <a:cxn ang="0">
                <a:pos x="47" y="130"/>
              </a:cxn>
              <a:cxn ang="0">
                <a:pos x="48" y="139"/>
              </a:cxn>
              <a:cxn ang="0">
                <a:pos x="46" y="147"/>
              </a:cxn>
              <a:cxn ang="0">
                <a:pos x="40" y="157"/>
              </a:cxn>
              <a:cxn ang="0">
                <a:pos x="22" y="166"/>
              </a:cxn>
              <a:cxn ang="0">
                <a:pos x="20" y="173"/>
              </a:cxn>
              <a:cxn ang="0">
                <a:pos x="21" y="180"/>
              </a:cxn>
              <a:cxn ang="0">
                <a:pos x="13" y="168"/>
              </a:cxn>
              <a:cxn ang="0">
                <a:pos x="11" y="146"/>
              </a:cxn>
              <a:cxn ang="0">
                <a:pos x="8" y="131"/>
              </a:cxn>
              <a:cxn ang="0">
                <a:pos x="20" y="115"/>
              </a:cxn>
              <a:cxn ang="0">
                <a:pos x="25" y="104"/>
              </a:cxn>
              <a:cxn ang="0">
                <a:pos x="23" y="98"/>
              </a:cxn>
              <a:cxn ang="0">
                <a:pos x="24" y="89"/>
              </a:cxn>
              <a:cxn ang="0">
                <a:pos x="25" y="82"/>
              </a:cxn>
              <a:cxn ang="0">
                <a:pos x="25" y="71"/>
              </a:cxn>
              <a:cxn ang="0">
                <a:pos x="15" y="65"/>
              </a:cxn>
              <a:cxn ang="0">
                <a:pos x="7" y="61"/>
              </a:cxn>
              <a:cxn ang="0">
                <a:pos x="0" y="51"/>
              </a:cxn>
              <a:cxn ang="0">
                <a:pos x="16" y="44"/>
              </a:cxn>
              <a:cxn ang="0">
                <a:pos x="33" y="45"/>
              </a:cxn>
              <a:cxn ang="0">
                <a:pos x="40" y="43"/>
              </a:cxn>
              <a:cxn ang="0">
                <a:pos x="40" y="56"/>
              </a:cxn>
              <a:cxn ang="0">
                <a:pos x="42" y="67"/>
              </a:cxn>
              <a:cxn ang="0">
                <a:pos x="47" y="74"/>
              </a:cxn>
              <a:cxn ang="0">
                <a:pos x="49" y="63"/>
              </a:cxn>
              <a:cxn ang="0">
                <a:pos x="54" y="56"/>
              </a:cxn>
              <a:cxn ang="0">
                <a:pos x="53" y="44"/>
              </a:cxn>
              <a:cxn ang="0">
                <a:pos x="44" y="30"/>
              </a:cxn>
              <a:cxn ang="0">
                <a:pos x="46" y="14"/>
              </a:cxn>
              <a:cxn ang="0">
                <a:pos x="57" y="12"/>
              </a:cxn>
              <a:cxn ang="0">
                <a:pos x="64" y="12"/>
              </a:cxn>
              <a:cxn ang="0">
                <a:pos x="74" y="11"/>
              </a:cxn>
              <a:cxn ang="0">
                <a:pos x="84" y="8"/>
              </a:cxn>
              <a:cxn ang="0">
                <a:pos x="98" y="2"/>
              </a:cxn>
              <a:cxn ang="0">
                <a:pos x="100" y="4"/>
              </a:cxn>
              <a:cxn ang="0">
                <a:pos x="99" y="10"/>
              </a:cxn>
              <a:cxn ang="0">
                <a:pos x="100" y="19"/>
              </a:cxn>
              <a:cxn ang="0">
                <a:pos x="100" y="24"/>
              </a:cxn>
              <a:cxn ang="0">
                <a:pos x="99" y="28"/>
              </a:cxn>
              <a:cxn ang="0">
                <a:pos x="99" y="34"/>
              </a:cxn>
              <a:cxn ang="0">
                <a:pos x="100" y="41"/>
              </a:cxn>
              <a:cxn ang="0">
                <a:pos x="100" y="45"/>
              </a:cxn>
              <a:cxn ang="0">
                <a:pos x="102" y="47"/>
              </a:cxn>
              <a:cxn ang="0">
                <a:pos x="48" y="122"/>
              </a:cxn>
            </a:cxnLst>
            <a:rect l="0" t="0" r="r" b="b"/>
            <a:pathLst>
              <a:path w="102" h="181">
                <a:moveTo>
                  <a:pt x="101" y="50"/>
                </a:moveTo>
                <a:cubicBezTo>
                  <a:pt x="101" y="50"/>
                  <a:pt x="100" y="50"/>
                  <a:pt x="100" y="50"/>
                </a:cubicBezTo>
                <a:cubicBezTo>
                  <a:pt x="100" y="50"/>
                  <a:pt x="100" y="51"/>
                  <a:pt x="100" y="51"/>
                </a:cubicBezTo>
                <a:cubicBezTo>
                  <a:pt x="100" y="51"/>
                  <a:pt x="99" y="51"/>
                  <a:pt x="99" y="52"/>
                </a:cubicBezTo>
                <a:cubicBezTo>
                  <a:pt x="98" y="53"/>
                  <a:pt x="100" y="52"/>
                  <a:pt x="100" y="52"/>
                </a:cubicBezTo>
                <a:cubicBezTo>
                  <a:pt x="101" y="53"/>
                  <a:pt x="100" y="54"/>
                  <a:pt x="99" y="55"/>
                </a:cubicBezTo>
                <a:cubicBezTo>
                  <a:pt x="99" y="55"/>
                  <a:pt x="99" y="55"/>
                  <a:pt x="99" y="55"/>
                </a:cubicBezTo>
                <a:cubicBezTo>
                  <a:pt x="99" y="56"/>
                  <a:pt x="98" y="56"/>
                  <a:pt x="98" y="56"/>
                </a:cubicBezTo>
                <a:cubicBezTo>
                  <a:pt x="98" y="57"/>
                  <a:pt x="97" y="58"/>
                  <a:pt x="97" y="58"/>
                </a:cubicBezTo>
                <a:cubicBezTo>
                  <a:pt x="96" y="59"/>
                  <a:pt x="95" y="60"/>
                  <a:pt x="94" y="61"/>
                </a:cubicBezTo>
                <a:cubicBezTo>
                  <a:pt x="94" y="61"/>
                  <a:pt x="95" y="61"/>
                  <a:pt x="95" y="61"/>
                </a:cubicBezTo>
                <a:cubicBezTo>
                  <a:pt x="94" y="62"/>
                  <a:pt x="94" y="63"/>
                  <a:pt x="93" y="63"/>
                </a:cubicBezTo>
                <a:cubicBezTo>
                  <a:pt x="93" y="64"/>
                  <a:pt x="92" y="64"/>
                  <a:pt x="92" y="64"/>
                </a:cubicBezTo>
                <a:cubicBezTo>
                  <a:pt x="91" y="64"/>
                  <a:pt x="92" y="66"/>
                  <a:pt x="92" y="66"/>
                </a:cubicBezTo>
                <a:cubicBezTo>
                  <a:pt x="91" y="66"/>
                  <a:pt x="91" y="66"/>
                  <a:pt x="91" y="66"/>
                </a:cubicBezTo>
                <a:cubicBezTo>
                  <a:pt x="91" y="66"/>
                  <a:pt x="90" y="67"/>
                  <a:pt x="90" y="67"/>
                </a:cubicBezTo>
                <a:cubicBezTo>
                  <a:pt x="90" y="67"/>
                  <a:pt x="89" y="68"/>
                  <a:pt x="88" y="68"/>
                </a:cubicBezTo>
                <a:cubicBezTo>
                  <a:pt x="88" y="69"/>
                  <a:pt x="87" y="69"/>
                  <a:pt x="86" y="70"/>
                </a:cubicBezTo>
                <a:cubicBezTo>
                  <a:pt x="86" y="70"/>
                  <a:pt x="85" y="70"/>
                  <a:pt x="85" y="71"/>
                </a:cubicBezTo>
                <a:cubicBezTo>
                  <a:pt x="85" y="71"/>
                  <a:pt x="85" y="71"/>
                  <a:pt x="85" y="71"/>
                </a:cubicBezTo>
                <a:cubicBezTo>
                  <a:pt x="84" y="71"/>
                  <a:pt x="85" y="71"/>
                  <a:pt x="84" y="71"/>
                </a:cubicBezTo>
                <a:cubicBezTo>
                  <a:pt x="85" y="71"/>
                  <a:pt x="83" y="72"/>
                  <a:pt x="83" y="72"/>
                </a:cubicBezTo>
                <a:cubicBezTo>
                  <a:pt x="82" y="72"/>
                  <a:pt x="81" y="73"/>
                  <a:pt x="80" y="72"/>
                </a:cubicBezTo>
                <a:cubicBezTo>
                  <a:pt x="80" y="73"/>
                  <a:pt x="80" y="73"/>
                  <a:pt x="80" y="73"/>
                </a:cubicBezTo>
                <a:cubicBezTo>
                  <a:pt x="80" y="73"/>
                  <a:pt x="80" y="73"/>
                  <a:pt x="80" y="73"/>
                </a:cubicBezTo>
                <a:cubicBezTo>
                  <a:pt x="79" y="73"/>
                  <a:pt x="79" y="73"/>
                  <a:pt x="79" y="73"/>
                </a:cubicBezTo>
                <a:cubicBezTo>
                  <a:pt x="79" y="73"/>
                  <a:pt x="78" y="74"/>
                  <a:pt x="78" y="74"/>
                </a:cubicBezTo>
                <a:cubicBezTo>
                  <a:pt x="77" y="74"/>
                  <a:pt x="76" y="75"/>
                  <a:pt x="76" y="75"/>
                </a:cubicBezTo>
                <a:cubicBezTo>
                  <a:pt x="75" y="75"/>
                  <a:pt x="75" y="74"/>
                  <a:pt x="75" y="74"/>
                </a:cubicBezTo>
                <a:cubicBezTo>
                  <a:pt x="75" y="74"/>
                  <a:pt x="75" y="74"/>
                  <a:pt x="74" y="74"/>
                </a:cubicBezTo>
                <a:cubicBezTo>
                  <a:pt x="75" y="74"/>
                  <a:pt x="75" y="75"/>
                  <a:pt x="75" y="75"/>
                </a:cubicBezTo>
                <a:cubicBezTo>
                  <a:pt x="74" y="76"/>
                  <a:pt x="74" y="76"/>
                  <a:pt x="73" y="76"/>
                </a:cubicBezTo>
                <a:cubicBezTo>
                  <a:pt x="73" y="76"/>
                  <a:pt x="72" y="76"/>
                  <a:pt x="72" y="77"/>
                </a:cubicBezTo>
                <a:cubicBezTo>
                  <a:pt x="71" y="77"/>
                  <a:pt x="71" y="77"/>
                  <a:pt x="70" y="78"/>
                </a:cubicBezTo>
                <a:cubicBezTo>
                  <a:pt x="69" y="79"/>
                  <a:pt x="67" y="79"/>
                  <a:pt x="66" y="80"/>
                </a:cubicBezTo>
                <a:cubicBezTo>
                  <a:pt x="65" y="81"/>
                  <a:pt x="65" y="82"/>
                  <a:pt x="64" y="83"/>
                </a:cubicBezTo>
                <a:cubicBezTo>
                  <a:pt x="63" y="83"/>
                  <a:pt x="62" y="81"/>
                  <a:pt x="62" y="82"/>
                </a:cubicBezTo>
                <a:cubicBezTo>
                  <a:pt x="63" y="82"/>
                  <a:pt x="63" y="82"/>
                  <a:pt x="63" y="83"/>
                </a:cubicBezTo>
                <a:cubicBezTo>
                  <a:pt x="63" y="83"/>
                  <a:pt x="63" y="83"/>
                  <a:pt x="63" y="84"/>
                </a:cubicBezTo>
                <a:cubicBezTo>
                  <a:pt x="63" y="84"/>
                  <a:pt x="63" y="85"/>
                  <a:pt x="63" y="85"/>
                </a:cubicBezTo>
                <a:cubicBezTo>
                  <a:pt x="62" y="85"/>
                  <a:pt x="62" y="85"/>
                  <a:pt x="62" y="86"/>
                </a:cubicBezTo>
                <a:cubicBezTo>
                  <a:pt x="62" y="86"/>
                  <a:pt x="62" y="85"/>
                  <a:pt x="62" y="85"/>
                </a:cubicBezTo>
                <a:cubicBezTo>
                  <a:pt x="62" y="86"/>
                  <a:pt x="61" y="88"/>
                  <a:pt x="60" y="88"/>
                </a:cubicBezTo>
                <a:cubicBezTo>
                  <a:pt x="59" y="89"/>
                  <a:pt x="59" y="89"/>
                  <a:pt x="59" y="89"/>
                </a:cubicBezTo>
                <a:cubicBezTo>
                  <a:pt x="58" y="89"/>
                  <a:pt x="58" y="91"/>
                  <a:pt x="58" y="91"/>
                </a:cubicBezTo>
                <a:cubicBezTo>
                  <a:pt x="57" y="91"/>
                  <a:pt x="58" y="91"/>
                  <a:pt x="58" y="92"/>
                </a:cubicBezTo>
                <a:cubicBezTo>
                  <a:pt x="57" y="92"/>
                  <a:pt x="56" y="91"/>
                  <a:pt x="56" y="91"/>
                </a:cubicBezTo>
                <a:cubicBezTo>
                  <a:pt x="56" y="91"/>
                  <a:pt x="57" y="93"/>
                  <a:pt x="56" y="93"/>
                </a:cubicBezTo>
                <a:cubicBezTo>
                  <a:pt x="56" y="93"/>
                  <a:pt x="55" y="93"/>
                  <a:pt x="55" y="92"/>
                </a:cubicBezTo>
                <a:cubicBezTo>
                  <a:pt x="55" y="91"/>
                  <a:pt x="55" y="92"/>
                  <a:pt x="54" y="93"/>
                </a:cubicBezTo>
                <a:cubicBezTo>
                  <a:pt x="54" y="93"/>
                  <a:pt x="54" y="93"/>
                  <a:pt x="54" y="93"/>
                </a:cubicBezTo>
                <a:cubicBezTo>
                  <a:pt x="54" y="93"/>
                  <a:pt x="54" y="93"/>
                  <a:pt x="54" y="93"/>
                </a:cubicBezTo>
                <a:cubicBezTo>
                  <a:pt x="53" y="93"/>
                  <a:pt x="53" y="94"/>
                  <a:pt x="53" y="94"/>
                </a:cubicBezTo>
                <a:cubicBezTo>
                  <a:pt x="53" y="94"/>
                  <a:pt x="52" y="93"/>
                  <a:pt x="52" y="94"/>
                </a:cubicBezTo>
                <a:cubicBezTo>
                  <a:pt x="52" y="94"/>
                  <a:pt x="53" y="94"/>
                  <a:pt x="53" y="94"/>
                </a:cubicBezTo>
                <a:cubicBezTo>
                  <a:pt x="52" y="94"/>
                  <a:pt x="51" y="95"/>
                  <a:pt x="51" y="95"/>
                </a:cubicBezTo>
                <a:cubicBezTo>
                  <a:pt x="51" y="95"/>
                  <a:pt x="50" y="96"/>
                  <a:pt x="51" y="96"/>
                </a:cubicBezTo>
                <a:cubicBezTo>
                  <a:pt x="50" y="97"/>
                  <a:pt x="49" y="98"/>
                  <a:pt x="48" y="99"/>
                </a:cubicBezTo>
                <a:cubicBezTo>
                  <a:pt x="47" y="100"/>
                  <a:pt x="46" y="101"/>
                  <a:pt x="44" y="103"/>
                </a:cubicBezTo>
                <a:cubicBezTo>
                  <a:pt x="44" y="103"/>
                  <a:pt x="43" y="104"/>
                  <a:pt x="43" y="103"/>
                </a:cubicBezTo>
                <a:cubicBezTo>
                  <a:pt x="42" y="103"/>
                  <a:pt x="42" y="103"/>
                  <a:pt x="42" y="103"/>
                </a:cubicBezTo>
                <a:cubicBezTo>
                  <a:pt x="42" y="102"/>
                  <a:pt x="42" y="102"/>
                  <a:pt x="41" y="102"/>
                </a:cubicBezTo>
                <a:cubicBezTo>
                  <a:pt x="41" y="102"/>
                  <a:pt x="40" y="100"/>
                  <a:pt x="40" y="101"/>
                </a:cubicBezTo>
                <a:cubicBezTo>
                  <a:pt x="41" y="100"/>
                  <a:pt x="40" y="102"/>
                  <a:pt x="41" y="102"/>
                </a:cubicBezTo>
                <a:cubicBezTo>
                  <a:pt x="41" y="103"/>
                  <a:pt x="42" y="103"/>
                  <a:pt x="42" y="103"/>
                </a:cubicBezTo>
                <a:cubicBezTo>
                  <a:pt x="42" y="104"/>
                  <a:pt x="41" y="104"/>
                  <a:pt x="41" y="104"/>
                </a:cubicBezTo>
                <a:cubicBezTo>
                  <a:pt x="41" y="104"/>
                  <a:pt x="42" y="103"/>
                  <a:pt x="42" y="104"/>
                </a:cubicBezTo>
                <a:cubicBezTo>
                  <a:pt x="41" y="105"/>
                  <a:pt x="41" y="105"/>
                  <a:pt x="42" y="106"/>
                </a:cubicBezTo>
                <a:cubicBezTo>
                  <a:pt x="42" y="107"/>
                  <a:pt x="41" y="107"/>
                  <a:pt x="41" y="107"/>
                </a:cubicBezTo>
                <a:cubicBezTo>
                  <a:pt x="41" y="107"/>
                  <a:pt x="41" y="107"/>
                  <a:pt x="41" y="108"/>
                </a:cubicBezTo>
                <a:cubicBezTo>
                  <a:pt x="41" y="109"/>
                  <a:pt x="41" y="110"/>
                  <a:pt x="40" y="109"/>
                </a:cubicBezTo>
                <a:cubicBezTo>
                  <a:pt x="40" y="110"/>
                  <a:pt x="41" y="110"/>
                  <a:pt x="40" y="111"/>
                </a:cubicBezTo>
                <a:cubicBezTo>
                  <a:pt x="41" y="111"/>
                  <a:pt x="41" y="111"/>
                  <a:pt x="41" y="111"/>
                </a:cubicBezTo>
                <a:cubicBezTo>
                  <a:pt x="42" y="111"/>
                  <a:pt x="42" y="112"/>
                  <a:pt x="42" y="112"/>
                </a:cubicBezTo>
                <a:cubicBezTo>
                  <a:pt x="42" y="112"/>
                  <a:pt x="42" y="112"/>
                  <a:pt x="42" y="112"/>
                </a:cubicBezTo>
                <a:cubicBezTo>
                  <a:pt x="42" y="112"/>
                  <a:pt x="42" y="112"/>
                  <a:pt x="42" y="112"/>
                </a:cubicBezTo>
                <a:cubicBezTo>
                  <a:pt x="42" y="112"/>
                  <a:pt x="42" y="113"/>
                  <a:pt x="42" y="113"/>
                </a:cubicBezTo>
                <a:cubicBezTo>
                  <a:pt x="43" y="112"/>
                  <a:pt x="44" y="113"/>
                  <a:pt x="44" y="114"/>
                </a:cubicBezTo>
                <a:cubicBezTo>
                  <a:pt x="44" y="114"/>
                  <a:pt x="44" y="115"/>
                  <a:pt x="44" y="115"/>
                </a:cubicBezTo>
                <a:cubicBezTo>
                  <a:pt x="44" y="115"/>
                  <a:pt x="45" y="115"/>
                  <a:pt x="45" y="116"/>
                </a:cubicBezTo>
                <a:cubicBezTo>
                  <a:pt x="45" y="116"/>
                  <a:pt x="44" y="116"/>
                  <a:pt x="44" y="116"/>
                </a:cubicBezTo>
                <a:cubicBezTo>
                  <a:pt x="44" y="116"/>
                  <a:pt x="44" y="117"/>
                  <a:pt x="44" y="117"/>
                </a:cubicBezTo>
                <a:cubicBezTo>
                  <a:pt x="44" y="117"/>
                  <a:pt x="44" y="117"/>
                  <a:pt x="44" y="117"/>
                </a:cubicBezTo>
                <a:cubicBezTo>
                  <a:pt x="43" y="117"/>
                  <a:pt x="44" y="117"/>
                  <a:pt x="44" y="118"/>
                </a:cubicBezTo>
                <a:cubicBezTo>
                  <a:pt x="44" y="118"/>
                  <a:pt x="44" y="118"/>
                  <a:pt x="44" y="118"/>
                </a:cubicBezTo>
                <a:cubicBezTo>
                  <a:pt x="44" y="119"/>
                  <a:pt x="44" y="119"/>
                  <a:pt x="44" y="119"/>
                </a:cubicBezTo>
                <a:cubicBezTo>
                  <a:pt x="44" y="119"/>
                  <a:pt x="44" y="119"/>
                  <a:pt x="44" y="119"/>
                </a:cubicBezTo>
                <a:cubicBezTo>
                  <a:pt x="44" y="120"/>
                  <a:pt x="45" y="118"/>
                  <a:pt x="45" y="118"/>
                </a:cubicBezTo>
                <a:cubicBezTo>
                  <a:pt x="45" y="119"/>
                  <a:pt x="44" y="119"/>
                  <a:pt x="44" y="120"/>
                </a:cubicBezTo>
                <a:cubicBezTo>
                  <a:pt x="44" y="120"/>
                  <a:pt x="45" y="121"/>
                  <a:pt x="45" y="122"/>
                </a:cubicBezTo>
                <a:cubicBezTo>
                  <a:pt x="46" y="123"/>
                  <a:pt x="46" y="124"/>
                  <a:pt x="46" y="125"/>
                </a:cubicBezTo>
                <a:cubicBezTo>
                  <a:pt x="46" y="127"/>
                  <a:pt x="46" y="128"/>
                  <a:pt x="46" y="130"/>
                </a:cubicBezTo>
                <a:cubicBezTo>
                  <a:pt x="46" y="130"/>
                  <a:pt x="46" y="131"/>
                  <a:pt x="46" y="131"/>
                </a:cubicBezTo>
                <a:cubicBezTo>
                  <a:pt x="46" y="132"/>
                  <a:pt x="46" y="132"/>
                  <a:pt x="47" y="132"/>
                </a:cubicBezTo>
                <a:cubicBezTo>
                  <a:pt x="47" y="132"/>
                  <a:pt x="47" y="131"/>
                  <a:pt x="47" y="131"/>
                </a:cubicBezTo>
                <a:cubicBezTo>
                  <a:pt x="47" y="131"/>
                  <a:pt x="46" y="129"/>
                  <a:pt x="47" y="130"/>
                </a:cubicBezTo>
                <a:cubicBezTo>
                  <a:pt x="47" y="129"/>
                  <a:pt x="47" y="128"/>
                  <a:pt x="48" y="128"/>
                </a:cubicBezTo>
                <a:cubicBezTo>
                  <a:pt x="48" y="129"/>
                  <a:pt x="48" y="130"/>
                  <a:pt x="48" y="130"/>
                </a:cubicBezTo>
                <a:cubicBezTo>
                  <a:pt x="48" y="130"/>
                  <a:pt x="48" y="129"/>
                  <a:pt x="48" y="129"/>
                </a:cubicBezTo>
                <a:cubicBezTo>
                  <a:pt x="48" y="132"/>
                  <a:pt x="47" y="135"/>
                  <a:pt x="48" y="137"/>
                </a:cubicBezTo>
                <a:cubicBezTo>
                  <a:pt x="48" y="137"/>
                  <a:pt x="48" y="137"/>
                  <a:pt x="48" y="137"/>
                </a:cubicBezTo>
                <a:cubicBezTo>
                  <a:pt x="49" y="137"/>
                  <a:pt x="48" y="139"/>
                  <a:pt x="48" y="139"/>
                </a:cubicBezTo>
                <a:cubicBezTo>
                  <a:pt x="47" y="140"/>
                  <a:pt x="47" y="141"/>
                  <a:pt x="47" y="142"/>
                </a:cubicBezTo>
                <a:cubicBezTo>
                  <a:pt x="47" y="143"/>
                  <a:pt x="46" y="144"/>
                  <a:pt x="46" y="145"/>
                </a:cubicBezTo>
                <a:cubicBezTo>
                  <a:pt x="46" y="145"/>
                  <a:pt x="46" y="146"/>
                  <a:pt x="46" y="146"/>
                </a:cubicBezTo>
                <a:cubicBezTo>
                  <a:pt x="46" y="146"/>
                  <a:pt x="46" y="145"/>
                  <a:pt x="46" y="146"/>
                </a:cubicBezTo>
                <a:cubicBezTo>
                  <a:pt x="46" y="146"/>
                  <a:pt x="45" y="149"/>
                  <a:pt x="45" y="149"/>
                </a:cubicBezTo>
                <a:cubicBezTo>
                  <a:pt x="46" y="149"/>
                  <a:pt x="46" y="148"/>
                  <a:pt x="46" y="147"/>
                </a:cubicBezTo>
                <a:cubicBezTo>
                  <a:pt x="46" y="147"/>
                  <a:pt x="46" y="148"/>
                  <a:pt x="46" y="148"/>
                </a:cubicBezTo>
                <a:cubicBezTo>
                  <a:pt x="47" y="148"/>
                  <a:pt x="47" y="146"/>
                  <a:pt x="47" y="147"/>
                </a:cubicBezTo>
                <a:cubicBezTo>
                  <a:pt x="47" y="147"/>
                  <a:pt x="47" y="148"/>
                  <a:pt x="47" y="148"/>
                </a:cubicBezTo>
                <a:cubicBezTo>
                  <a:pt x="47" y="149"/>
                  <a:pt x="47" y="150"/>
                  <a:pt x="47" y="151"/>
                </a:cubicBezTo>
                <a:cubicBezTo>
                  <a:pt x="46" y="152"/>
                  <a:pt x="45" y="153"/>
                  <a:pt x="44" y="155"/>
                </a:cubicBezTo>
                <a:cubicBezTo>
                  <a:pt x="43" y="156"/>
                  <a:pt x="41" y="157"/>
                  <a:pt x="40" y="157"/>
                </a:cubicBezTo>
                <a:cubicBezTo>
                  <a:pt x="38" y="158"/>
                  <a:pt x="37" y="159"/>
                  <a:pt x="35" y="159"/>
                </a:cubicBezTo>
                <a:cubicBezTo>
                  <a:pt x="33" y="160"/>
                  <a:pt x="32" y="160"/>
                  <a:pt x="30" y="161"/>
                </a:cubicBezTo>
                <a:cubicBezTo>
                  <a:pt x="28" y="162"/>
                  <a:pt x="27" y="163"/>
                  <a:pt x="25" y="163"/>
                </a:cubicBezTo>
                <a:cubicBezTo>
                  <a:pt x="25" y="163"/>
                  <a:pt x="26" y="163"/>
                  <a:pt x="26" y="163"/>
                </a:cubicBezTo>
                <a:cubicBezTo>
                  <a:pt x="26" y="163"/>
                  <a:pt x="24" y="163"/>
                  <a:pt x="25" y="163"/>
                </a:cubicBezTo>
                <a:cubicBezTo>
                  <a:pt x="24" y="164"/>
                  <a:pt x="23" y="165"/>
                  <a:pt x="22" y="166"/>
                </a:cubicBezTo>
                <a:cubicBezTo>
                  <a:pt x="21" y="166"/>
                  <a:pt x="20" y="168"/>
                  <a:pt x="20" y="169"/>
                </a:cubicBezTo>
                <a:cubicBezTo>
                  <a:pt x="20" y="169"/>
                  <a:pt x="20" y="169"/>
                  <a:pt x="20" y="169"/>
                </a:cubicBezTo>
                <a:cubicBezTo>
                  <a:pt x="19" y="170"/>
                  <a:pt x="19" y="170"/>
                  <a:pt x="19" y="170"/>
                </a:cubicBezTo>
                <a:cubicBezTo>
                  <a:pt x="19" y="171"/>
                  <a:pt x="17" y="170"/>
                  <a:pt x="17" y="171"/>
                </a:cubicBezTo>
                <a:cubicBezTo>
                  <a:pt x="17" y="170"/>
                  <a:pt x="18" y="171"/>
                  <a:pt x="18" y="171"/>
                </a:cubicBezTo>
                <a:cubicBezTo>
                  <a:pt x="19" y="172"/>
                  <a:pt x="19" y="173"/>
                  <a:pt x="20" y="173"/>
                </a:cubicBezTo>
                <a:cubicBezTo>
                  <a:pt x="20" y="173"/>
                  <a:pt x="21" y="175"/>
                  <a:pt x="21" y="174"/>
                </a:cubicBezTo>
                <a:cubicBezTo>
                  <a:pt x="21" y="173"/>
                  <a:pt x="21" y="172"/>
                  <a:pt x="22" y="172"/>
                </a:cubicBezTo>
                <a:cubicBezTo>
                  <a:pt x="22" y="173"/>
                  <a:pt x="22" y="173"/>
                  <a:pt x="21" y="174"/>
                </a:cubicBezTo>
                <a:cubicBezTo>
                  <a:pt x="21" y="175"/>
                  <a:pt x="21" y="175"/>
                  <a:pt x="21" y="176"/>
                </a:cubicBezTo>
                <a:cubicBezTo>
                  <a:pt x="21" y="177"/>
                  <a:pt x="21" y="178"/>
                  <a:pt x="21" y="179"/>
                </a:cubicBezTo>
                <a:cubicBezTo>
                  <a:pt x="21" y="179"/>
                  <a:pt x="21" y="180"/>
                  <a:pt x="21" y="180"/>
                </a:cubicBezTo>
                <a:cubicBezTo>
                  <a:pt x="19" y="180"/>
                  <a:pt x="17" y="181"/>
                  <a:pt x="15" y="180"/>
                </a:cubicBezTo>
                <a:cubicBezTo>
                  <a:pt x="15" y="180"/>
                  <a:pt x="14" y="180"/>
                  <a:pt x="14" y="180"/>
                </a:cubicBezTo>
                <a:cubicBezTo>
                  <a:pt x="13" y="180"/>
                  <a:pt x="14" y="179"/>
                  <a:pt x="14" y="178"/>
                </a:cubicBezTo>
                <a:cubicBezTo>
                  <a:pt x="14" y="177"/>
                  <a:pt x="13" y="175"/>
                  <a:pt x="13" y="174"/>
                </a:cubicBezTo>
                <a:cubicBezTo>
                  <a:pt x="14" y="173"/>
                  <a:pt x="14" y="171"/>
                  <a:pt x="13" y="171"/>
                </a:cubicBezTo>
                <a:cubicBezTo>
                  <a:pt x="12" y="171"/>
                  <a:pt x="12" y="168"/>
                  <a:pt x="13" y="168"/>
                </a:cubicBezTo>
                <a:cubicBezTo>
                  <a:pt x="13" y="167"/>
                  <a:pt x="13" y="167"/>
                  <a:pt x="13" y="166"/>
                </a:cubicBezTo>
                <a:cubicBezTo>
                  <a:pt x="13" y="165"/>
                  <a:pt x="13" y="164"/>
                  <a:pt x="13" y="163"/>
                </a:cubicBezTo>
                <a:cubicBezTo>
                  <a:pt x="13" y="161"/>
                  <a:pt x="13" y="159"/>
                  <a:pt x="13" y="158"/>
                </a:cubicBezTo>
                <a:cubicBezTo>
                  <a:pt x="13" y="156"/>
                  <a:pt x="14" y="154"/>
                  <a:pt x="13" y="152"/>
                </a:cubicBezTo>
                <a:cubicBezTo>
                  <a:pt x="12" y="150"/>
                  <a:pt x="13" y="149"/>
                  <a:pt x="12" y="148"/>
                </a:cubicBezTo>
                <a:cubicBezTo>
                  <a:pt x="11" y="147"/>
                  <a:pt x="11" y="146"/>
                  <a:pt x="11" y="146"/>
                </a:cubicBezTo>
                <a:cubicBezTo>
                  <a:pt x="11" y="145"/>
                  <a:pt x="10" y="144"/>
                  <a:pt x="10" y="143"/>
                </a:cubicBezTo>
                <a:cubicBezTo>
                  <a:pt x="9" y="143"/>
                  <a:pt x="10" y="142"/>
                  <a:pt x="10" y="141"/>
                </a:cubicBezTo>
                <a:cubicBezTo>
                  <a:pt x="10" y="140"/>
                  <a:pt x="10" y="139"/>
                  <a:pt x="10" y="138"/>
                </a:cubicBezTo>
                <a:cubicBezTo>
                  <a:pt x="9" y="137"/>
                  <a:pt x="9" y="135"/>
                  <a:pt x="8" y="134"/>
                </a:cubicBezTo>
                <a:cubicBezTo>
                  <a:pt x="8" y="133"/>
                  <a:pt x="8" y="133"/>
                  <a:pt x="8" y="132"/>
                </a:cubicBezTo>
                <a:cubicBezTo>
                  <a:pt x="8" y="131"/>
                  <a:pt x="8" y="131"/>
                  <a:pt x="8" y="131"/>
                </a:cubicBezTo>
                <a:cubicBezTo>
                  <a:pt x="10" y="130"/>
                  <a:pt x="11" y="128"/>
                  <a:pt x="12" y="127"/>
                </a:cubicBezTo>
                <a:cubicBezTo>
                  <a:pt x="14" y="125"/>
                  <a:pt x="15" y="124"/>
                  <a:pt x="16" y="122"/>
                </a:cubicBezTo>
                <a:cubicBezTo>
                  <a:pt x="17" y="122"/>
                  <a:pt x="18" y="119"/>
                  <a:pt x="19" y="120"/>
                </a:cubicBezTo>
                <a:cubicBezTo>
                  <a:pt x="19" y="120"/>
                  <a:pt x="19" y="120"/>
                  <a:pt x="19" y="120"/>
                </a:cubicBezTo>
                <a:cubicBezTo>
                  <a:pt x="19" y="119"/>
                  <a:pt x="18" y="118"/>
                  <a:pt x="19" y="117"/>
                </a:cubicBezTo>
                <a:cubicBezTo>
                  <a:pt x="19" y="116"/>
                  <a:pt x="20" y="116"/>
                  <a:pt x="20" y="115"/>
                </a:cubicBezTo>
                <a:cubicBezTo>
                  <a:pt x="20" y="114"/>
                  <a:pt x="20" y="114"/>
                  <a:pt x="20" y="113"/>
                </a:cubicBezTo>
                <a:cubicBezTo>
                  <a:pt x="20" y="111"/>
                  <a:pt x="21" y="112"/>
                  <a:pt x="22" y="111"/>
                </a:cubicBezTo>
                <a:cubicBezTo>
                  <a:pt x="22" y="110"/>
                  <a:pt x="22" y="109"/>
                  <a:pt x="23" y="109"/>
                </a:cubicBezTo>
                <a:cubicBezTo>
                  <a:pt x="23" y="108"/>
                  <a:pt x="23" y="107"/>
                  <a:pt x="24" y="107"/>
                </a:cubicBezTo>
                <a:cubicBezTo>
                  <a:pt x="24" y="106"/>
                  <a:pt x="25" y="105"/>
                  <a:pt x="25" y="105"/>
                </a:cubicBezTo>
                <a:cubicBezTo>
                  <a:pt x="25" y="105"/>
                  <a:pt x="25" y="104"/>
                  <a:pt x="25" y="104"/>
                </a:cubicBezTo>
                <a:cubicBezTo>
                  <a:pt x="25" y="104"/>
                  <a:pt x="25" y="103"/>
                  <a:pt x="25" y="103"/>
                </a:cubicBezTo>
                <a:cubicBezTo>
                  <a:pt x="25" y="102"/>
                  <a:pt x="25" y="102"/>
                  <a:pt x="25" y="101"/>
                </a:cubicBezTo>
                <a:cubicBezTo>
                  <a:pt x="25" y="101"/>
                  <a:pt x="23" y="103"/>
                  <a:pt x="23" y="101"/>
                </a:cubicBezTo>
                <a:cubicBezTo>
                  <a:pt x="23" y="100"/>
                  <a:pt x="24" y="100"/>
                  <a:pt x="23" y="99"/>
                </a:cubicBezTo>
                <a:cubicBezTo>
                  <a:pt x="23" y="99"/>
                  <a:pt x="23" y="99"/>
                  <a:pt x="23" y="99"/>
                </a:cubicBezTo>
                <a:cubicBezTo>
                  <a:pt x="23" y="99"/>
                  <a:pt x="23" y="98"/>
                  <a:pt x="23" y="98"/>
                </a:cubicBezTo>
                <a:cubicBezTo>
                  <a:pt x="23" y="97"/>
                  <a:pt x="24" y="96"/>
                  <a:pt x="24" y="95"/>
                </a:cubicBezTo>
                <a:cubicBezTo>
                  <a:pt x="23" y="94"/>
                  <a:pt x="23" y="94"/>
                  <a:pt x="23" y="94"/>
                </a:cubicBezTo>
                <a:cubicBezTo>
                  <a:pt x="22" y="94"/>
                  <a:pt x="22" y="94"/>
                  <a:pt x="22" y="93"/>
                </a:cubicBezTo>
                <a:cubicBezTo>
                  <a:pt x="23" y="93"/>
                  <a:pt x="22" y="92"/>
                  <a:pt x="24" y="92"/>
                </a:cubicBezTo>
                <a:cubicBezTo>
                  <a:pt x="24" y="92"/>
                  <a:pt x="25" y="92"/>
                  <a:pt x="25" y="91"/>
                </a:cubicBezTo>
                <a:cubicBezTo>
                  <a:pt x="25" y="90"/>
                  <a:pt x="24" y="90"/>
                  <a:pt x="24" y="89"/>
                </a:cubicBezTo>
                <a:cubicBezTo>
                  <a:pt x="24" y="89"/>
                  <a:pt x="25" y="89"/>
                  <a:pt x="25" y="89"/>
                </a:cubicBezTo>
                <a:cubicBezTo>
                  <a:pt x="26" y="88"/>
                  <a:pt x="25" y="88"/>
                  <a:pt x="26" y="87"/>
                </a:cubicBezTo>
                <a:cubicBezTo>
                  <a:pt x="26" y="87"/>
                  <a:pt x="26" y="86"/>
                  <a:pt x="25" y="86"/>
                </a:cubicBezTo>
                <a:cubicBezTo>
                  <a:pt x="25" y="86"/>
                  <a:pt x="25" y="86"/>
                  <a:pt x="25" y="85"/>
                </a:cubicBezTo>
                <a:cubicBezTo>
                  <a:pt x="26" y="85"/>
                  <a:pt x="25" y="85"/>
                  <a:pt x="25" y="84"/>
                </a:cubicBezTo>
                <a:cubicBezTo>
                  <a:pt x="25" y="83"/>
                  <a:pt x="25" y="83"/>
                  <a:pt x="25" y="82"/>
                </a:cubicBezTo>
                <a:cubicBezTo>
                  <a:pt x="25" y="81"/>
                  <a:pt x="26" y="81"/>
                  <a:pt x="26" y="80"/>
                </a:cubicBezTo>
                <a:cubicBezTo>
                  <a:pt x="26" y="80"/>
                  <a:pt x="26" y="79"/>
                  <a:pt x="26" y="79"/>
                </a:cubicBezTo>
                <a:cubicBezTo>
                  <a:pt x="25" y="78"/>
                  <a:pt x="25" y="78"/>
                  <a:pt x="25" y="77"/>
                </a:cubicBezTo>
                <a:cubicBezTo>
                  <a:pt x="26" y="77"/>
                  <a:pt x="26" y="76"/>
                  <a:pt x="26" y="76"/>
                </a:cubicBezTo>
                <a:cubicBezTo>
                  <a:pt x="25" y="75"/>
                  <a:pt x="26" y="74"/>
                  <a:pt x="25" y="73"/>
                </a:cubicBezTo>
                <a:cubicBezTo>
                  <a:pt x="25" y="73"/>
                  <a:pt x="24" y="72"/>
                  <a:pt x="25" y="71"/>
                </a:cubicBezTo>
                <a:cubicBezTo>
                  <a:pt x="25" y="71"/>
                  <a:pt x="26" y="69"/>
                  <a:pt x="26" y="69"/>
                </a:cubicBezTo>
                <a:cubicBezTo>
                  <a:pt x="25" y="69"/>
                  <a:pt x="24" y="69"/>
                  <a:pt x="24" y="69"/>
                </a:cubicBezTo>
                <a:cubicBezTo>
                  <a:pt x="23" y="69"/>
                  <a:pt x="23" y="68"/>
                  <a:pt x="23" y="67"/>
                </a:cubicBezTo>
                <a:cubicBezTo>
                  <a:pt x="21" y="66"/>
                  <a:pt x="19" y="66"/>
                  <a:pt x="17" y="66"/>
                </a:cubicBezTo>
                <a:cubicBezTo>
                  <a:pt x="17" y="66"/>
                  <a:pt x="16" y="66"/>
                  <a:pt x="16" y="66"/>
                </a:cubicBezTo>
                <a:cubicBezTo>
                  <a:pt x="15" y="65"/>
                  <a:pt x="16" y="65"/>
                  <a:pt x="15" y="65"/>
                </a:cubicBezTo>
                <a:cubicBezTo>
                  <a:pt x="15" y="65"/>
                  <a:pt x="15" y="64"/>
                  <a:pt x="15" y="64"/>
                </a:cubicBezTo>
                <a:cubicBezTo>
                  <a:pt x="14" y="63"/>
                  <a:pt x="13" y="63"/>
                  <a:pt x="12" y="63"/>
                </a:cubicBezTo>
                <a:cubicBezTo>
                  <a:pt x="11" y="63"/>
                  <a:pt x="11" y="63"/>
                  <a:pt x="10" y="62"/>
                </a:cubicBezTo>
                <a:cubicBezTo>
                  <a:pt x="10" y="61"/>
                  <a:pt x="9" y="61"/>
                  <a:pt x="9" y="61"/>
                </a:cubicBezTo>
                <a:cubicBezTo>
                  <a:pt x="8" y="61"/>
                  <a:pt x="8" y="62"/>
                  <a:pt x="7" y="62"/>
                </a:cubicBezTo>
                <a:cubicBezTo>
                  <a:pt x="7" y="62"/>
                  <a:pt x="7" y="61"/>
                  <a:pt x="7" y="61"/>
                </a:cubicBezTo>
                <a:cubicBezTo>
                  <a:pt x="6" y="61"/>
                  <a:pt x="6" y="61"/>
                  <a:pt x="5" y="61"/>
                </a:cubicBezTo>
                <a:cubicBezTo>
                  <a:pt x="4" y="61"/>
                  <a:pt x="3" y="61"/>
                  <a:pt x="1" y="61"/>
                </a:cubicBezTo>
                <a:cubicBezTo>
                  <a:pt x="1" y="59"/>
                  <a:pt x="1" y="58"/>
                  <a:pt x="1" y="56"/>
                </a:cubicBezTo>
                <a:cubicBezTo>
                  <a:pt x="1" y="56"/>
                  <a:pt x="1" y="55"/>
                  <a:pt x="1" y="55"/>
                </a:cubicBezTo>
                <a:cubicBezTo>
                  <a:pt x="1" y="54"/>
                  <a:pt x="1" y="54"/>
                  <a:pt x="0" y="53"/>
                </a:cubicBezTo>
                <a:cubicBezTo>
                  <a:pt x="0" y="52"/>
                  <a:pt x="0" y="51"/>
                  <a:pt x="0" y="51"/>
                </a:cubicBezTo>
                <a:cubicBezTo>
                  <a:pt x="0" y="50"/>
                  <a:pt x="0" y="50"/>
                  <a:pt x="0" y="50"/>
                </a:cubicBezTo>
                <a:cubicBezTo>
                  <a:pt x="1" y="50"/>
                  <a:pt x="1" y="50"/>
                  <a:pt x="1" y="49"/>
                </a:cubicBezTo>
                <a:cubicBezTo>
                  <a:pt x="3" y="49"/>
                  <a:pt x="5" y="48"/>
                  <a:pt x="6" y="47"/>
                </a:cubicBezTo>
                <a:cubicBezTo>
                  <a:pt x="8" y="47"/>
                  <a:pt x="10" y="47"/>
                  <a:pt x="11" y="46"/>
                </a:cubicBezTo>
                <a:cubicBezTo>
                  <a:pt x="12" y="46"/>
                  <a:pt x="13" y="45"/>
                  <a:pt x="13" y="45"/>
                </a:cubicBezTo>
                <a:cubicBezTo>
                  <a:pt x="14" y="45"/>
                  <a:pt x="15" y="44"/>
                  <a:pt x="16" y="44"/>
                </a:cubicBezTo>
                <a:cubicBezTo>
                  <a:pt x="18" y="43"/>
                  <a:pt x="20" y="43"/>
                  <a:pt x="21" y="42"/>
                </a:cubicBezTo>
                <a:cubicBezTo>
                  <a:pt x="23" y="42"/>
                  <a:pt x="25" y="41"/>
                  <a:pt x="27" y="40"/>
                </a:cubicBezTo>
                <a:cubicBezTo>
                  <a:pt x="28" y="40"/>
                  <a:pt x="30" y="39"/>
                  <a:pt x="30" y="40"/>
                </a:cubicBezTo>
                <a:cubicBezTo>
                  <a:pt x="30" y="41"/>
                  <a:pt x="30" y="41"/>
                  <a:pt x="31" y="42"/>
                </a:cubicBezTo>
                <a:cubicBezTo>
                  <a:pt x="31" y="43"/>
                  <a:pt x="31" y="43"/>
                  <a:pt x="32" y="44"/>
                </a:cubicBezTo>
                <a:cubicBezTo>
                  <a:pt x="32" y="44"/>
                  <a:pt x="33" y="45"/>
                  <a:pt x="33" y="45"/>
                </a:cubicBezTo>
                <a:cubicBezTo>
                  <a:pt x="33" y="46"/>
                  <a:pt x="33" y="45"/>
                  <a:pt x="33" y="45"/>
                </a:cubicBezTo>
                <a:cubicBezTo>
                  <a:pt x="34" y="44"/>
                  <a:pt x="34" y="45"/>
                  <a:pt x="35" y="45"/>
                </a:cubicBezTo>
                <a:cubicBezTo>
                  <a:pt x="35" y="45"/>
                  <a:pt x="35" y="45"/>
                  <a:pt x="35" y="45"/>
                </a:cubicBezTo>
                <a:cubicBezTo>
                  <a:pt x="36" y="44"/>
                  <a:pt x="36" y="44"/>
                  <a:pt x="36" y="45"/>
                </a:cubicBezTo>
                <a:cubicBezTo>
                  <a:pt x="37" y="45"/>
                  <a:pt x="37" y="44"/>
                  <a:pt x="38" y="44"/>
                </a:cubicBezTo>
                <a:cubicBezTo>
                  <a:pt x="39" y="44"/>
                  <a:pt x="39" y="43"/>
                  <a:pt x="40" y="43"/>
                </a:cubicBezTo>
                <a:cubicBezTo>
                  <a:pt x="40" y="43"/>
                  <a:pt x="41" y="44"/>
                  <a:pt x="41" y="45"/>
                </a:cubicBezTo>
                <a:cubicBezTo>
                  <a:pt x="41" y="46"/>
                  <a:pt x="41" y="46"/>
                  <a:pt x="41" y="47"/>
                </a:cubicBezTo>
                <a:cubicBezTo>
                  <a:pt x="42" y="48"/>
                  <a:pt x="42" y="49"/>
                  <a:pt x="42" y="50"/>
                </a:cubicBezTo>
                <a:cubicBezTo>
                  <a:pt x="42" y="51"/>
                  <a:pt x="41" y="51"/>
                  <a:pt x="42" y="52"/>
                </a:cubicBezTo>
                <a:cubicBezTo>
                  <a:pt x="42" y="53"/>
                  <a:pt x="42" y="53"/>
                  <a:pt x="41" y="53"/>
                </a:cubicBezTo>
                <a:cubicBezTo>
                  <a:pt x="41" y="54"/>
                  <a:pt x="40" y="55"/>
                  <a:pt x="40" y="56"/>
                </a:cubicBezTo>
                <a:cubicBezTo>
                  <a:pt x="40" y="57"/>
                  <a:pt x="40" y="57"/>
                  <a:pt x="40" y="58"/>
                </a:cubicBezTo>
                <a:cubicBezTo>
                  <a:pt x="39" y="58"/>
                  <a:pt x="39" y="58"/>
                  <a:pt x="38" y="59"/>
                </a:cubicBezTo>
                <a:cubicBezTo>
                  <a:pt x="38" y="60"/>
                  <a:pt x="39" y="60"/>
                  <a:pt x="39" y="61"/>
                </a:cubicBezTo>
                <a:cubicBezTo>
                  <a:pt x="40" y="61"/>
                  <a:pt x="40" y="62"/>
                  <a:pt x="40" y="63"/>
                </a:cubicBezTo>
                <a:cubicBezTo>
                  <a:pt x="39" y="64"/>
                  <a:pt x="41" y="64"/>
                  <a:pt x="41" y="65"/>
                </a:cubicBezTo>
                <a:cubicBezTo>
                  <a:pt x="41" y="66"/>
                  <a:pt x="42" y="66"/>
                  <a:pt x="42" y="67"/>
                </a:cubicBezTo>
                <a:cubicBezTo>
                  <a:pt x="43" y="67"/>
                  <a:pt x="43" y="67"/>
                  <a:pt x="43" y="68"/>
                </a:cubicBezTo>
                <a:cubicBezTo>
                  <a:pt x="43" y="68"/>
                  <a:pt x="44" y="68"/>
                  <a:pt x="44" y="69"/>
                </a:cubicBezTo>
                <a:cubicBezTo>
                  <a:pt x="44" y="69"/>
                  <a:pt x="45" y="69"/>
                  <a:pt x="45" y="70"/>
                </a:cubicBezTo>
                <a:cubicBezTo>
                  <a:pt x="45" y="70"/>
                  <a:pt x="46" y="70"/>
                  <a:pt x="46" y="70"/>
                </a:cubicBezTo>
                <a:cubicBezTo>
                  <a:pt x="47" y="71"/>
                  <a:pt x="45" y="72"/>
                  <a:pt x="46" y="73"/>
                </a:cubicBezTo>
                <a:cubicBezTo>
                  <a:pt x="46" y="73"/>
                  <a:pt x="47" y="74"/>
                  <a:pt x="47" y="74"/>
                </a:cubicBezTo>
                <a:cubicBezTo>
                  <a:pt x="49" y="73"/>
                  <a:pt x="48" y="72"/>
                  <a:pt x="48" y="71"/>
                </a:cubicBezTo>
                <a:cubicBezTo>
                  <a:pt x="48" y="70"/>
                  <a:pt x="48" y="70"/>
                  <a:pt x="48" y="69"/>
                </a:cubicBezTo>
                <a:cubicBezTo>
                  <a:pt x="48" y="69"/>
                  <a:pt x="47" y="68"/>
                  <a:pt x="47" y="68"/>
                </a:cubicBezTo>
                <a:cubicBezTo>
                  <a:pt x="46" y="67"/>
                  <a:pt x="47" y="67"/>
                  <a:pt x="47" y="66"/>
                </a:cubicBezTo>
                <a:cubicBezTo>
                  <a:pt x="48" y="66"/>
                  <a:pt x="48" y="65"/>
                  <a:pt x="48" y="64"/>
                </a:cubicBezTo>
                <a:cubicBezTo>
                  <a:pt x="48" y="63"/>
                  <a:pt x="49" y="63"/>
                  <a:pt x="49" y="63"/>
                </a:cubicBezTo>
                <a:cubicBezTo>
                  <a:pt x="49" y="63"/>
                  <a:pt x="50" y="62"/>
                  <a:pt x="50" y="63"/>
                </a:cubicBezTo>
                <a:cubicBezTo>
                  <a:pt x="50" y="63"/>
                  <a:pt x="50" y="63"/>
                  <a:pt x="50" y="63"/>
                </a:cubicBezTo>
                <a:cubicBezTo>
                  <a:pt x="51" y="63"/>
                  <a:pt x="51" y="63"/>
                  <a:pt x="51" y="63"/>
                </a:cubicBezTo>
                <a:cubicBezTo>
                  <a:pt x="51" y="62"/>
                  <a:pt x="52" y="62"/>
                  <a:pt x="52" y="62"/>
                </a:cubicBezTo>
                <a:cubicBezTo>
                  <a:pt x="53" y="62"/>
                  <a:pt x="53" y="62"/>
                  <a:pt x="53" y="61"/>
                </a:cubicBezTo>
                <a:cubicBezTo>
                  <a:pt x="53" y="59"/>
                  <a:pt x="54" y="57"/>
                  <a:pt x="54" y="56"/>
                </a:cubicBezTo>
                <a:cubicBezTo>
                  <a:pt x="54" y="55"/>
                  <a:pt x="54" y="54"/>
                  <a:pt x="54" y="53"/>
                </a:cubicBezTo>
                <a:cubicBezTo>
                  <a:pt x="53" y="52"/>
                  <a:pt x="54" y="51"/>
                  <a:pt x="54" y="50"/>
                </a:cubicBezTo>
                <a:cubicBezTo>
                  <a:pt x="54" y="50"/>
                  <a:pt x="55" y="49"/>
                  <a:pt x="55" y="49"/>
                </a:cubicBezTo>
                <a:cubicBezTo>
                  <a:pt x="55" y="49"/>
                  <a:pt x="54" y="48"/>
                  <a:pt x="54" y="48"/>
                </a:cubicBezTo>
                <a:cubicBezTo>
                  <a:pt x="54" y="48"/>
                  <a:pt x="54" y="47"/>
                  <a:pt x="54" y="46"/>
                </a:cubicBezTo>
                <a:cubicBezTo>
                  <a:pt x="54" y="46"/>
                  <a:pt x="53" y="45"/>
                  <a:pt x="53" y="44"/>
                </a:cubicBezTo>
                <a:cubicBezTo>
                  <a:pt x="52" y="43"/>
                  <a:pt x="51" y="42"/>
                  <a:pt x="51" y="41"/>
                </a:cubicBezTo>
                <a:cubicBezTo>
                  <a:pt x="50" y="40"/>
                  <a:pt x="49" y="39"/>
                  <a:pt x="48" y="37"/>
                </a:cubicBezTo>
                <a:cubicBezTo>
                  <a:pt x="48" y="36"/>
                  <a:pt x="47" y="36"/>
                  <a:pt x="47" y="35"/>
                </a:cubicBezTo>
                <a:cubicBezTo>
                  <a:pt x="46" y="35"/>
                  <a:pt x="45" y="34"/>
                  <a:pt x="45" y="33"/>
                </a:cubicBezTo>
                <a:cubicBezTo>
                  <a:pt x="45" y="33"/>
                  <a:pt x="45" y="32"/>
                  <a:pt x="45" y="32"/>
                </a:cubicBezTo>
                <a:cubicBezTo>
                  <a:pt x="44" y="31"/>
                  <a:pt x="44" y="31"/>
                  <a:pt x="44" y="30"/>
                </a:cubicBezTo>
                <a:cubicBezTo>
                  <a:pt x="45" y="29"/>
                  <a:pt x="44" y="29"/>
                  <a:pt x="44" y="28"/>
                </a:cubicBezTo>
                <a:cubicBezTo>
                  <a:pt x="44" y="27"/>
                  <a:pt x="45" y="26"/>
                  <a:pt x="45" y="25"/>
                </a:cubicBezTo>
                <a:cubicBezTo>
                  <a:pt x="45" y="24"/>
                  <a:pt x="43" y="23"/>
                  <a:pt x="44" y="21"/>
                </a:cubicBezTo>
                <a:cubicBezTo>
                  <a:pt x="44" y="21"/>
                  <a:pt x="44" y="20"/>
                  <a:pt x="44" y="19"/>
                </a:cubicBezTo>
                <a:cubicBezTo>
                  <a:pt x="44" y="19"/>
                  <a:pt x="45" y="18"/>
                  <a:pt x="45" y="18"/>
                </a:cubicBezTo>
                <a:cubicBezTo>
                  <a:pt x="46" y="17"/>
                  <a:pt x="46" y="15"/>
                  <a:pt x="46" y="14"/>
                </a:cubicBezTo>
                <a:cubicBezTo>
                  <a:pt x="46" y="13"/>
                  <a:pt x="46" y="12"/>
                  <a:pt x="47" y="12"/>
                </a:cubicBezTo>
                <a:cubicBezTo>
                  <a:pt x="48" y="12"/>
                  <a:pt x="49" y="12"/>
                  <a:pt x="50" y="13"/>
                </a:cubicBezTo>
                <a:cubicBezTo>
                  <a:pt x="50" y="13"/>
                  <a:pt x="52" y="13"/>
                  <a:pt x="52" y="13"/>
                </a:cubicBezTo>
                <a:cubicBezTo>
                  <a:pt x="52" y="13"/>
                  <a:pt x="53" y="13"/>
                  <a:pt x="53" y="12"/>
                </a:cubicBezTo>
                <a:cubicBezTo>
                  <a:pt x="54" y="12"/>
                  <a:pt x="55" y="10"/>
                  <a:pt x="56" y="11"/>
                </a:cubicBezTo>
                <a:cubicBezTo>
                  <a:pt x="56" y="11"/>
                  <a:pt x="56" y="12"/>
                  <a:pt x="57" y="12"/>
                </a:cubicBezTo>
                <a:cubicBezTo>
                  <a:pt x="57" y="12"/>
                  <a:pt x="58" y="12"/>
                  <a:pt x="58" y="13"/>
                </a:cubicBezTo>
                <a:cubicBezTo>
                  <a:pt x="58" y="13"/>
                  <a:pt x="58" y="14"/>
                  <a:pt x="58" y="14"/>
                </a:cubicBezTo>
                <a:cubicBezTo>
                  <a:pt x="59" y="14"/>
                  <a:pt x="60" y="14"/>
                  <a:pt x="61" y="14"/>
                </a:cubicBezTo>
                <a:cubicBezTo>
                  <a:pt x="61" y="14"/>
                  <a:pt x="61" y="14"/>
                  <a:pt x="62" y="14"/>
                </a:cubicBezTo>
                <a:cubicBezTo>
                  <a:pt x="63" y="14"/>
                  <a:pt x="63" y="14"/>
                  <a:pt x="63" y="13"/>
                </a:cubicBezTo>
                <a:cubicBezTo>
                  <a:pt x="64" y="13"/>
                  <a:pt x="64" y="13"/>
                  <a:pt x="64" y="12"/>
                </a:cubicBezTo>
                <a:cubicBezTo>
                  <a:pt x="65" y="12"/>
                  <a:pt x="65" y="13"/>
                  <a:pt x="66" y="13"/>
                </a:cubicBezTo>
                <a:cubicBezTo>
                  <a:pt x="67" y="12"/>
                  <a:pt x="67" y="13"/>
                  <a:pt x="67" y="13"/>
                </a:cubicBezTo>
                <a:cubicBezTo>
                  <a:pt x="67" y="14"/>
                  <a:pt x="68" y="14"/>
                  <a:pt x="69" y="14"/>
                </a:cubicBezTo>
                <a:cubicBezTo>
                  <a:pt x="69" y="14"/>
                  <a:pt x="70" y="14"/>
                  <a:pt x="70" y="14"/>
                </a:cubicBezTo>
                <a:cubicBezTo>
                  <a:pt x="71" y="14"/>
                  <a:pt x="71" y="13"/>
                  <a:pt x="72" y="13"/>
                </a:cubicBezTo>
                <a:cubicBezTo>
                  <a:pt x="73" y="13"/>
                  <a:pt x="74" y="12"/>
                  <a:pt x="74" y="11"/>
                </a:cubicBezTo>
                <a:cubicBezTo>
                  <a:pt x="74" y="10"/>
                  <a:pt x="75" y="9"/>
                  <a:pt x="77" y="9"/>
                </a:cubicBezTo>
                <a:cubicBezTo>
                  <a:pt x="77" y="9"/>
                  <a:pt x="78" y="9"/>
                  <a:pt x="78" y="9"/>
                </a:cubicBezTo>
                <a:cubicBezTo>
                  <a:pt x="79" y="10"/>
                  <a:pt x="79" y="10"/>
                  <a:pt x="80" y="11"/>
                </a:cubicBezTo>
                <a:cubicBezTo>
                  <a:pt x="81" y="11"/>
                  <a:pt x="81" y="10"/>
                  <a:pt x="82" y="9"/>
                </a:cubicBezTo>
                <a:cubicBezTo>
                  <a:pt x="82" y="9"/>
                  <a:pt x="82" y="9"/>
                  <a:pt x="83" y="9"/>
                </a:cubicBezTo>
                <a:cubicBezTo>
                  <a:pt x="83" y="9"/>
                  <a:pt x="84" y="9"/>
                  <a:pt x="84" y="8"/>
                </a:cubicBezTo>
                <a:cubicBezTo>
                  <a:pt x="85" y="8"/>
                  <a:pt x="85" y="8"/>
                  <a:pt x="86" y="8"/>
                </a:cubicBezTo>
                <a:cubicBezTo>
                  <a:pt x="87" y="8"/>
                  <a:pt x="87" y="8"/>
                  <a:pt x="88" y="8"/>
                </a:cubicBezTo>
                <a:cubicBezTo>
                  <a:pt x="89" y="8"/>
                  <a:pt x="89" y="7"/>
                  <a:pt x="90" y="7"/>
                </a:cubicBezTo>
                <a:cubicBezTo>
                  <a:pt x="90" y="6"/>
                  <a:pt x="91" y="6"/>
                  <a:pt x="92" y="6"/>
                </a:cubicBezTo>
                <a:cubicBezTo>
                  <a:pt x="93" y="5"/>
                  <a:pt x="95" y="4"/>
                  <a:pt x="96" y="3"/>
                </a:cubicBezTo>
                <a:cubicBezTo>
                  <a:pt x="97" y="3"/>
                  <a:pt x="97" y="2"/>
                  <a:pt x="98" y="2"/>
                </a:cubicBezTo>
                <a:cubicBezTo>
                  <a:pt x="99" y="1"/>
                  <a:pt x="99" y="1"/>
                  <a:pt x="99" y="0"/>
                </a:cubicBezTo>
                <a:cubicBezTo>
                  <a:pt x="100" y="0"/>
                  <a:pt x="100" y="1"/>
                  <a:pt x="100" y="1"/>
                </a:cubicBezTo>
                <a:cubicBezTo>
                  <a:pt x="100" y="1"/>
                  <a:pt x="100" y="1"/>
                  <a:pt x="100" y="1"/>
                </a:cubicBezTo>
                <a:cubicBezTo>
                  <a:pt x="100" y="2"/>
                  <a:pt x="101" y="1"/>
                  <a:pt x="101" y="2"/>
                </a:cubicBezTo>
                <a:cubicBezTo>
                  <a:pt x="101" y="2"/>
                  <a:pt x="101" y="2"/>
                  <a:pt x="101" y="3"/>
                </a:cubicBezTo>
                <a:cubicBezTo>
                  <a:pt x="101" y="3"/>
                  <a:pt x="100" y="3"/>
                  <a:pt x="100" y="4"/>
                </a:cubicBezTo>
                <a:cubicBezTo>
                  <a:pt x="100" y="3"/>
                  <a:pt x="101" y="4"/>
                  <a:pt x="101" y="5"/>
                </a:cubicBezTo>
                <a:cubicBezTo>
                  <a:pt x="100" y="5"/>
                  <a:pt x="100" y="5"/>
                  <a:pt x="100" y="6"/>
                </a:cubicBezTo>
                <a:cubicBezTo>
                  <a:pt x="100" y="6"/>
                  <a:pt x="100" y="6"/>
                  <a:pt x="101" y="7"/>
                </a:cubicBezTo>
                <a:cubicBezTo>
                  <a:pt x="101" y="7"/>
                  <a:pt x="100" y="8"/>
                  <a:pt x="100" y="9"/>
                </a:cubicBezTo>
                <a:cubicBezTo>
                  <a:pt x="99" y="9"/>
                  <a:pt x="99" y="9"/>
                  <a:pt x="99" y="10"/>
                </a:cubicBezTo>
                <a:cubicBezTo>
                  <a:pt x="99" y="10"/>
                  <a:pt x="98" y="10"/>
                  <a:pt x="99" y="10"/>
                </a:cubicBezTo>
                <a:cubicBezTo>
                  <a:pt x="99" y="10"/>
                  <a:pt x="99" y="10"/>
                  <a:pt x="100" y="11"/>
                </a:cubicBezTo>
                <a:cubicBezTo>
                  <a:pt x="100" y="11"/>
                  <a:pt x="99" y="12"/>
                  <a:pt x="99" y="12"/>
                </a:cubicBezTo>
                <a:cubicBezTo>
                  <a:pt x="99" y="13"/>
                  <a:pt x="99" y="14"/>
                  <a:pt x="100" y="15"/>
                </a:cubicBezTo>
                <a:cubicBezTo>
                  <a:pt x="100" y="15"/>
                  <a:pt x="99" y="16"/>
                  <a:pt x="100" y="16"/>
                </a:cubicBezTo>
                <a:cubicBezTo>
                  <a:pt x="100" y="17"/>
                  <a:pt x="100" y="17"/>
                  <a:pt x="100" y="18"/>
                </a:cubicBezTo>
                <a:cubicBezTo>
                  <a:pt x="100" y="18"/>
                  <a:pt x="100" y="19"/>
                  <a:pt x="100" y="19"/>
                </a:cubicBezTo>
                <a:cubicBezTo>
                  <a:pt x="100" y="20"/>
                  <a:pt x="100" y="20"/>
                  <a:pt x="99" y="20"/>
                </a:cubicBezTo>
                <a:cubicBezTo>
                  <a:pt x="100" y="20"/>
                  <a:pt x="100" y="21"/>
                  <a:pt x="100" y="21"/>
                </a:cubicBezTo>
                <a:cubicBezTo>
                  <a:pt x="100" y="21"/>
                  <a:pt x="100" y="22"/>
                  <a:pt x="100" y="22"/>
                </a:cubicBezTo>
                <a:cubicBezTo>
                  <a:pt x="100" y="22"/>
                  <a:pt x="99" y="23"/>
                  <a:pt x="100" y="23"/>
                </a:cubicBezTo>
                <a:cubicBezTo>
                  <a:pt x="100" y="23"/>
                  <a:pt x="100" y="23"/>
                  <a:pt x="100" y="23"/>
                </a:cubicBezTo>
                <a:cubicBezTo>
                  <a:pt x="100" y="24"/>
                  <a:pt x="100" y="24"/>
                  <a:pt x="100" y="24"/>
                </a:cubicBezTo>
                <a:cubicBezTo>
                  <a:pt x="100" y="25"/>
                  <a:pt x="100" y="25"/>
                  <a:pt x="100" y="25"/>
                </a:cubicBezTo>
                <a:cubicBezTo>
                  <a:pt x="101" y="25"/>
                  <a:pt x="101" y="26"/>
                  <a:pt x="100" y="26"/>
                </a:cubicBezTo>
                <a:cubicBezTo>
                  <a:pt x="100" y="26"/>
                  <a:pt x="100" y="26"/>
                  <a:pt x="100" y="26"/>
                </a:cubicBezTo>
                <a:cubicBezTo>
                  <a:pt x="100" y="26"/>
                  <a:pt x="100" y="27"/>
                  <a:pt x="100" y="27"/>
                </a:cubicBezTo>
                <a:cubicBezTo>
                  <a:pt x="99" y="27"/>
                  <a:pt x="99" y="27"/>
                  <a:pt x="99" y="27"/>
                </a:cubicBezTo>
                <a:cubicBezTo>
                  <a:pt x="98" y="28"/>
                  <a:pt x="100" y="29"/>
                  <a:pt x="99" y="28"/>
                </a:cubicBezTo>
                <a:cubicBezTo>
                  <a:pt x="99" y="28"/>
                  <a:pt x="100" y="28"/>
                  <a:pt x="100" y="28"/>
                </a:cubicBezTo>
                <a:cubicBezTo>
                  <a:pt x="100" y="28"/>
                  <a:pt x="100" y="28"/>
                  <a:pt x="100" y="29"/>
                </a:cubicBezTo>
                <a:cubicBezTo>
                  <a:pt x="100" y="29"/>
                  <a:pt x="100" y="30"/>
                  <a:pt x="100" y="30"/>
                </a:cubicBezTo>
                <a:cubicBezTo>
                  <a:pt x="100" y="31"/>
                  <a:pt x="100" y="31"/>
                  <a:pt x="100" y="31"/>
                </a:cubicBezTo>
                <a:cubicBezTo>
                  <a:pt x="100" y="31"/>
                  <a:pt x="100" y="33"/>
                  <a:pt x="100" y="33"/>
                </a:cubicBezTo>
                <a:cubicBezTo>
                  <a:pt x="100" y="33"/>
                  <a:pt x="99" y="33"/>
                  <a:pt x="99" y="34"/>
                </a:cubicBezTo>
                <a:cubicBezTo>
                  <a:pt x="100" y="34"/>
                  <a:pt x="100" y="34"/>
                  <a:pt x="100" y="34"/>
                </a:cubicBezTo>
                <a:cubicBezTo>
                  <a:pt x="100" y="35"/>
                  <a:pt x="99" y="35"/>
                  <a:pt x="100" y="36"/>
                </a:cubicBezTo>
                <a:cubicBezTo>
                  <a:pt x="100" y="36"/>
                  <a:pt x="100" y="37"/>
                  <a:pt x="100" y="37"/>
                </a:cubicBezTo>
                <a:cubicBezTo>
                  <a:pt x="100" y="38"/>
                  <a:pt x="100" y="38"/>
                  <a:pt x="100" y="39"/>
                </a:cubicBezTo>
                <a:cubicBezTo>
                  <a:pt x="100" y="39"/>
                  <a:pt x="100" y="40"/>
                  <a:pt x="100" y="40"/>
                </a:cubicBezTo>
                <a:cubicBezTo>
                  <a:pt x="100" y="40"/>
                  <a:pt x="100" y="41"/>
                  <a:pt x="100" y="41"/>
                </a:cubicBezTo>
                <a:cubicBezTo>
                  <a:pt x="99" y="41"/>
                  <a:pt x="99" y="41"/>
                  <a:pt x="99" y="41"/>
                </a:cubicBezTo>
                <a:cubicBezTo>
                  <a:pt x="100" y="42"/>
                  <a:pt x="99" y="41"/>
                  <a:pt x="100" y="42"/>
                </a:cubicBezTo>
                <a:cubicBezTo>
                  <a:pt x="100" y="42"/>
                  <a:pt x="100" y="42"/>
                  <a:pt x="100" y="42"/>
                </a:cubicBezTo>
                <a:cubicBezTo>
                  <a:pt x="100" y="42"/>
                  <a:pt x="101" y="40"/>
                  <a:pt x="101" y="42"/>
                </a:cubicBezTo>
                <a:cubicBezTo>
                  <a:pt x="101" y="42"/>
                  <a:pt x="101" y="44"/>
                  <a:pt x="100" y="43"/>
                </a:cubicBezTo>
                <a:cubicBezTo>
                  <a:pt x="100" y="44"/>
                  <a:pt x="100" y="44"/>
                  <a:pt x="100" y="45"/>
                </a:cubicBezTo>
                <a:cubicBezTo>
                  <a:pt x="101" y="45"/>
                  <a:pt x="100" y="44"/>
                  <a:pt x="101" y="44"/>
                </a:cubicBezTo>
                <a:cubicBezTo>
                  <a:pt x="102" y="43"/>
                  <a:pt x="102" y="44"/>
                  <a:pt x="102" y="44"/>
                </a:cubicBezTo>
                <a:cubicBezTo>
                  <a:pt x="102" y="45"/>
                  <a:pt x="101" y="45"/>
                  <a:pt x="101" y="45"/>
                </a:cubicBezTo>
                <a:cubicBezTo>
                  <a:pt x="101" y="45"/>
                  <a:pt x="102" y="45"/>
                  <a:pt x="102" y="45"/>
                </a:cubicBezTo>
                <a:cubicBezTo>
                  <a:pt x="102" y="45"/>
                  <a:pt x="102" y="46"/>
                  <a:pt x="102" y="46"/>
                </a:cubicBezTo>
                <a:cubicBezTo>
                  <a:pt x="102" y="46"/>
                  <a:pt x="102" y="47"/>
                  <a:pt x="102" y="47"/>
                </a:cubicBezTo>
                <a:cubicBezTo>
                  <a:pt x="102" y="48"/>
                  <a:pt x="100" y="50"/>
                  <a:pt x="100" y="49"/>
                </a:cubicBezTo>
                <a:cubicBezTo>
                  <a:pt x="100" y="49"/>
                  <a:pt x="100" y="49"/>
                  <a:pt x="101" y="49"/>
                </a:cubicBezTo>
                <a:cubicBezTo>
                  <a:pt x="101" y="49"/>
                  <a:pt x="102" y="50"/>
                  <a:pt x="101" y="50"/>
                </a:cubicBezTo>
                <a:close/>
                <a:moveTo>
                  <a:pt x="47" y="125"/>
                </a:moveTo>
                <a:cubicBezTo>
                  <a:pt x="48" y="124"/>
                  <a:pt x="48" y="124"/>
                  <a:pt x="48" y="123"/>
                </a:cubicBezTo>
                <a:cubicBezTo>
                  <a:pt x="48" y="123"/>
                  <a:pt x="48" y="122"/>
                  <a:pt x="48" y="122"/>
                </a:cubicBezTo>
                <a:cubicBezTo>
                  <a:pt x="47" y="122"/>
                  <a:pt x="47" y="125"/>
                  <a:pt x="47" y="125"/>
                </a:cubicBezTo>
                <a:close/>
                <a:moveTo>
                  <a:pt x="21" y="172"/>
                </a:moveTo>
                <a:cubicBezTo>
                  <a:pt x="21" y="171"/>
                  <a:pt x="22" y="171"/>
                  <a:pt x="22" y="172"/>
                </a:cubicBezTo>
                <a:cubicBezTo>
                  <a:pt x="22" y="171"/>
                  <a:pt x="22" y="171"/>
                  <a:pt x="22" y="171"/>
                </a:cubicBezTo>
                <a:cubicBezTo>
                  <a:pt x="22" y="171"/>
                  <a:pt x="21" y="171"/>
                  <a:pt x="21" y="17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1" name="Morocco"/>
          <p:cNvSpPr>
            <a:spLocks/>
          </p:cNvSpPr>
          <p:nvPr/>
        </p:nvSpPr>
        <p:spPr bwMode="auto">
          <a:xfrm>
            <a:off x="5358099" y="3234992"/>
            <a:ext cx="418985" cy="328988"/>
          </a:xfrm>
          <a:custGeom>
            <a:avLst/>
            <a:gdLst/>
            <a:ahLst/>
            <a:cxnLst>
              <a:cxn ang="0">
                <a:pos x="114" y="36"/>
              </a:cxn>
              <a:cxn ang="0">
                <a:pos x="111" y="33"/>
              </a:cxn>
              <a:cxn ang="0">
                <a:pos x="110" y="29"/>
              </a:cxn>
              <a:cxn ang="0">
                <a:pos x="110" y="25"/>
              </a:cxn>
              <a:cxn ang="0">
                <a:pos x="110" y="22"/>
              </a:cxn>
              <a:cxn ang="0">
                <a:pos x="110" y="17"/>
              </a:cxn>
              <a:cxn ang="0">
                <a:pos x="109" y="14"/>
              </a:cxn>
              <a:cxn ang="0">
                <a:pos x="108" y="12"/>
              </a:cxn>
              <a:cxn ang="0">
                <a:pos x="106" y="10"/>
              </a:cxn>
              <a:cxn ang="0">
                <a:pos x="101" y="9"/>
              </a:cxn>
              <a:cxn ang="0">
                <a:pos x="101" y="9"/>
              </a:cxn>
              <a:cxn ang="0">
                <a:pos x="99" y="8"/>
              </a:cxn>
              <a:cxn ang="0">
                <a:pos x="99" y="6"/>
              </a:cxn>
              <a:cxn ang="0">
                <a:pos x="96" y="8"/>
              </a:cxn>
              <a:cxn ang="0">
                <a:pos x="91" y="8"/>
              </a:cxn>
              <a:cxn ang="0">
                <a:pos x="87" y="9"/>
              </a:cxn>
              <a:cxn ang="0">
                <a:pos x="81" y="7"/>
              </a:cxn>
              <a:cxn ang="0">
                <a:pos x="78" y="3"/>
              </a:cxn>
              <a:cxn ang="0">
                <a:pos x="76" y="1"/>
              </a:cxn>
              <a:cxn ang="0">
                <a:pos x="72" y="2"/>
              </a:cxn>
              <a:cxn ang="0">
                <a:pos x="69" y="10"/>
              </a:cxn>
              <a:cxn ang="0">
                <a:pos x="61" y="23"/>
              </a:cxn>
              <a:cxn ang="0">
                <a:pos x="56" y="26"/>
              </a:cxn>
              <a:cxn ang="0">
                <a:pos x="51" y="28"/>
              </a:cxn>
              <a:cxn ang="0">
                <a:pos x="46" y="31"/>
              </a:cxn>
              <a:cxn ang="0">
                <a:pos x="41" y="36"/>
              </a:cxn>
              <a:cxn ang="0">
                <a:pos x="39" y="39"/>
              </a:cxn>
              <a:cxn ang="0">
                <a:pos x="39" y="42"/>
              </a:cxn>
              <a:cxn ang="0">
                <a:pos x="35" y="48"/>
              </a:cxn>
              <a:cxn ang="0">
                <a:pos x="34" y="51"/>
              </a:cxn>
              <a:cxn ang="0">
                <a:pos x="33" y="54"/>
              </a:cxn>
              <a:cxn ang="0">
                <a:pos x="33" y="59"/>
              </a:cxn>
              <a:cxn ang="0">
                <a:pos x="34" y="60"/>
              </a:cxn>
              <a:cxn ang="0">
                <a:pos x="33" y="67"/>
              </a:cxn>
              <a:cxn ang="0">
                <a:pos x="23" y="78"/>
              </a:cxn>
              <a:cxn ang="0">
                <a:pos x="17" y="82"/>
              </a:cxn>
              <a:cxn ang="0">
                <a:pos x="11" y="86"/>
              </a:cxn>
              <a:cxn ang="0">
                <a:pos x="2" y="89"/>
              </a:cxn>
              <a:cxn ang="0">
                <a:pos x="0" y="91"/>
              </a:cxn>
              <a:cxn ang="0">
                <a:pos x="36" y="91"/>
              </a:cxn>
              <a:cxn ang="0">
                <a:pos x="42" y="90"/>
              </a:cxn>
              <a:cxn ang="0">
                <a:pos x="43" y="79"/>
              </a:cxn>
              <a:cxn ang="0">
                <a:pos x="46" y="77"/>
              </a:cxn>
              <a:cxn ang="0">
                <a:pos x="49" y="75"/>
              </a:cxn>
              <a:cxn ang="0">
                <a:pos x="53" y="73"/>
              </a:cxn>
              <a:cxn ang="0">
                <a:pos x="57" y="70"/>
              </a:cxn>
              <a:cxn ang="0">
                <a:pos x="64" y="68"/>
              </a:cxn>
              <a:cxn ang="0">
                <a:pos x="67" y="67"/>
              </a:cxn>
              <a:cxn ang="0">
                <a:pos x="75" y="65"/>
              </a:cxn>
              <a:cxn ang="0">
                <a:pos x="81" y="59"/>
              </a:cxn>
              <a:cxn ang="0">
                <a:pos x="83" y="59"/>
              </a:cxn>
              <a:cxn ang="0">
                <a:pos x="89" y="55"/>
              </a:cxn>
              <a:cxn ang="0">
                <a:pos x="91" y="53"/>
              </a:cxn>
              <a:cxn ang="0">
                <a:pos x="89" y="52"/>
              </a:cxn>
              <a:cxn ang="0">
                <a:pos x="90" y="50"/>
              </a:cxn>
              <a:cxn ang="0">
                <a:pos x="89" y="47"/>
              </a:cxn>
              <a:cxn ang="0">
                <a:pos x="93" y="47"/>
              </a:cxn>
              <a:cxn ang="0">
                <a:pos x="98" y="43"/>
              </a:cxn>
              <a:cxn ang="0">
                <a:pos x="103" y="42"/>
              </a:cxn>
              <a:cxn ang="0">
                <a:pos x="112" y="42"/>
              </a:cxn>
              <a:cxn ang="0">
                <a:pos x="113" y="42"/>
              </a:cxn>
              <a:cxn ang="0">
                <a:pos x="115" y="39"/>
              </a:cxn>
            </a:cxnLst>
            <a:rect l="0" t="0" r="r" b="b"/>
            <a:pathLst>
              <a:path w="116" h="91">
                <a:moveTo>
                  <a:pt x="115" y="38"/>
                </a:moveTo>
                <a:cubicBezTo>
                  <a:pt x="115" y="37"/>
                  <a:pt x="114" y="37"/>
                  <a:pt x="114" y="36"/>
                </a:cubicBezTo>
                <a:cubicBezTo>
                  <a:pt x="113" y="36"/>
                  <a:pt x="112" y="36"/>
                  <a:pt x="112" y="35"/>
                </a:cubicBezTo>
                <a:cubicBezTo>
                  <a:pt x="112" y="35"/>
                  <a:pt x="111" y="34"/>
                  <a:pt x="111" y="33"/>
                </a:cubicBezTo>
                <a:cubicBezTo>
                  <a:pt x="112" y="32"/>
                  <a:pt x="112" y="32"/>
                  <a:pt x="111" y="31"/>
                </a:cubicBezTo>
                <a:cubicBezTo>
                  <a:pt x="111" y="31"/>
                  <a:pt x="110" y="30"/>
                  <a:pt x="110" y="29"/>
                </a:cubicBezTo>
                <a:cubicBezTo>
                  <a:pt x="110" y="29"/>
                  <a:pt x="110" y="28"/>
                  <a:pt x="111" y="27"/>
                </a:cubicBezTo>
                <a:cubicBezTo>
                  <a:pt x="111" y="27"/>
                  <a:pt x="111" y="26"/>
                  <a:pt x="110" y="25"/>
                </a:cubicBezTo>
                <a:cubicBezTo>
                  <a:pt x="109" y="25"/>
                  <a:pt x="110" y="25"/>
                  <a:pt x="110" y="24"/>
                </a:cubicBezTo>
                <a:cubicBezTo>
                  <a:pt x="110" y="23"/>
                  <a:pt x="110" y="23"/>
                  <a:pt x="110" y="22"/>
                </a:cubicBezTo>
                <a:cubicBezTo>
                  <a:pt x="110" y="21"/>
                  <a:pt x="110" y="20"/>
                  <a:pt x="110" y="20"/>
                </a:cubicBezTo>
                <a:cubicBezTo>
                  <a:pt x="110" y="19"/>
                  <a:pt x="109" y="18"/>
                  <a:pt x="110" y="17"/>
                </a:cubicBezTo>
                <a:cubicBezTo>
                  <a:pt x="110" y="17"/>
                  <a:pt x="110" y="16"/>
                  <a:pt x="110" y="16"/>
                </a:cubicBezTo>
                <a:cubicBezTo>
                  <a:pt x="109" y="16"/>
                  <a:pt x="109" y="15"/>
                  <a:pt x="109" y="14"/>
                </a:cubicBezTo>
                <a:cubicBezTo>
                  <a:pt x="110" y="13"/>
                  <a:pt x="109" y="13"/>
                  <a:pt x="108" y="12"/>
                </a:cubicBezTo>
                <a:cubicBezTo>
                  <a:pt x="108" y="12"/>
                  <a:pt x="108" y="12"/>
                  <a:pt x="108" y="12"/>
                </a:cubicBezTo>
                <a:cubicBezTo>
                  <a:pt x="108" y="11"/>
                  <a:pt x="107" y="11"/>
                  <a:pt x="107" y="11"/>
                </a:cubicBezTo>
                <a:cubicBezTo>
                  <a:pt x="107" y="11"/>
                  <a:pt x="106" y="10"/>
                  <a:pt x="106" y="10"/>
                </a:cubicBezTo>
                <a:cubicBezTo>
                  <a:pt x="105" y="9"/>
                  <a:pt x="104" y="9"/>
                  <a:pt x="103" y="9"/>
                </a:cubicBezTo>
                <a:cubicBezTo>
                  <a:pt x="103" y="10"/>
                  <a:pt x="102" y="10"/>
                  <a:pt x="101" y="9"/>
                </a:cubicBezTo>
                <a:cubicBezTo>
                  <a:pt x="101" y="9"/>
                  <a:pt x="100" y="8"/>
                  <a:pt x="100" y="8"/>
                </a:cubicBezTo>
                <a:cubicBezTo>
                  <a:pt x="100" y="9"/>
                  <a:pt x="100" y="9"/>
                  <a:pt x="101" y="9"/>
                </a:cubicBezTo>
                <a:cubicBezTo>
                  <a:pt x="100" y="10"/>
                  <a:pt x="100" y="9"/>
                  <a:pt x="99" y="8"/>
                </a:cubicBezTo>
                <a:cubicBezTo>
                  <a:pt x="99" y="8"/>
                  <a:pt x="100" y="8"/>
                  <a:pt x="99" y="8"/>
                </a:cubicBezTo>
                <a:cubicBezTo>
                  <a:pt x="99" y="8"/>
                  <a:pt x="99" y="7"/>
                  <a:pt x="99" y="7"/>
                </a:cubicBezTo>
                <a:cubicBezTo>
                  <a:pt x="99" y="7"/>
                  <a:pt x="99" y="6"/>
                  <a:pt x="99" y="6"/>
                </a:cubicBezTo>
                <a:cubicBezTo>
                  <a:pt x="99" y="6"/>
                  <a:pt x="99" y="7"/>
                  <a:pt x="98" y="7"/>
                </a:cubicBezTo>
                <a:cubicBezTo>
                  <a:pt x="98" y="8"/>
                  <a:pt x="97" y="8"/>
                  <a:pt x="96" y="8"/>
                </a:cubicBezTo>
                <a:cubicBezTo>
                  <a:pt x="95" y="9"/>
                  <a:pt x="94" y="8"/>
                  <a:pt x="92" y="8"/>
                </a:cubicBezTo>
                <a:cubicBezTo>
                  <a:pt x="92" y="7"/>
                  <a:pt x="92" y="8"/>
                  <a:pt x="91" y="8"/>
                </a:cubicBezTo>
                <a:cubicBezTo>
                  <a:pt x="91" y="9"/>
                  <a:pt x="91" y="8"/>
                  <a:pt x="90" y="8"/>
                </a:cubicBezTo>
                <a:cubicBezTo>
                  <a:pt x="89" y="8"/>
                  <a:pt x="88" y="8"/>
                  <a:pt x="87" y="9"/>
                </a:cubicBezTo>
                <a:cubicBezTo>
                  <a:pt x="86" y="9"/>
                  <a:pt x="84" y="9"/>
                  <a:pt x="83" y="8"/>
                </a:cubicBezTo>
                <a:cubicBezTo>
                  <a:pt x="82" y="8"/>
                  <a:pt x="82" y="7"/>
                  <a:pt x="81" y="7"/>
                </a:cubicBezTo>
                <a:cubicBezTo>
                  <a:pt x="81" y="6"/>
                  <a:pt x="80" y="6"/>
                  <a:pt x="80" y="6"/>
                </a:cubicBezTo>
                <a:cubicBezTo>
                  <a:pt x="79" y="5"/>
                  <a:pt x="78" y="4"/>
                  <a:pt x="78" y="3"/>
                </a:cubicBezTo>
                <a:cubicBezTo>
                  <a:pt x="78" y="2"/>
                  <a:pt x="78" y="1"/>
                  <a:pt x="77" y="1"/>
                </a:cubicBezTo>
                <a:cubicBezTo>
                  <a:pt x="77" y="0"/>
                  <a:pt x="76" y="1"/>
                  <a:pt x="76" y="1"/>
                </a:cubicBezTo>
                <a:cubicBezTo>
                  <a:pt x="76" y="2"/>
                  <a:pt x="74" y="2"/>
                  <a:pt x="74" y="2"/>
                </a:cubicBezTo>
                <a:cubicBezTo>
                  <a:pt x="73" y="2"/>
                  <a:pt x="73" y="2"/>
                  <a:pt x="72" y="2"/>
                </a:cubicBezTo>
                <a:cubicBezTo>
                  <a:pt x="72" y="2"/>
                  <a:pt x="72" y="3"/>
                  <a:pt x="72" y="3"/>
                </a:cubicBezTo>
                <a:cubicBezTo>
                  <a:pt x="71" y="6"/>
                  <a:pt x="70" y="8"/>
                  <a:pt x="69" y="10"/>
                </a:cubicBezTo>
                <a:cubicBezTo>
                  <a:pt x="68" y="13"/>
                  <a:pt x="67" y="15"/>
                  <a:pt x="65" y="18"/>
                </a:cubicBezTo>
                <a:cubicBezTo>
                  <a:pt x="64" y="20"/>
                  <a:pt x="63" y="22"/>
                  <a:pt x="61" y="23"/>
                </a:cubicBezTo>
                <a:cubicBezTo>
                  <a:pt x="60" y="24"/>
                  <a:pt x="59" y="24"/>
                  <a:pt x="58" y="25"/>
                </a:cubicBezTo>
                <a:cubicBezTo>
                  <a:pt x="57" y="25"/>
                  <a:pt x="57" y="25"/>
                  <a:pt x="56" y="26"/>
                </a:cubicBezTo>
                <a:cubicBezTo>
                  <a:pt x="56" y="26"/>
                  <a:pt x="55" y="26"/>
                  <a:pt x="55" y="26"/>
                </a:cubicBezTo>
                <a:cubicBezTo>
                  <a:pt x="54" y="26"/>
                  <a:pt x="53" y="27"/>
                  <a:pt x="51" y="28"/>
                </a:cubicBezTo>
                <a:cubicBezTo>
                  <a:pt x="50" y="28"/>
                  <a:pt x="49" y="28"/>
                  <a:pt x="48" y="29"/>
                </a:cubicBezTo>
                <a:cubicBezTo>
                  <a:pt x="47" y="30"/>
                  <a:pt x="46" y="30"/>
                  <a:pt x="46" y="31"/>
                </a:cubicBezTo>
                <a:cubicBezTo>
                  <a:pt x="46" y="32"/>
                  <a:pt x="45" y="33"/>
                  <a:pt x="44" y="33"/>
                </a:cubicBezTo>
                <a:cubicBezTo>
                  <a:pt x="43" y="34"/>
                  <a:pt x="42" y="35"/>
                  <a:pt x="41" y="36"/>
                </a:cubicBezTo>
                <a:cubicBezTo>
                  <a:pt x="40" y="37"/>
                  <a:pt x="39" y="37"/>
                  <a:pt x="40" y="38"/>
                </a:cubicBezTo>
                <a:cubicBezTo>
                  <a:pt x="40" y="39"/>
                  <a:pt x="39" y="39"/>
                  <a:pt x="39" y="39"/>
                </a:cubicBezTo>
                <a:cubicBezTo>
                  <a:pt x="39" y="40"/>
                  <a:pt x="39" y="40"/>
                  <a:pt x="39" y="40"/>
                </a:cubicBezTo>
                <a:cubicBezTo>
                  <a:pt x="39" y="41"/>
                  <a:pt x="39" y="42"/>
                  <a:pt x="39" y="42"/>
                </a:cubicBezTo>
                <a:cubicBezTo>
                  <a:pt x="38" y="44"/>
                  <a:pt x="37" y="45"/>
                  <a:pt x="36" y="46"/>
                </a:cubicBezTo>
                <a:cubicBezTo>
                  <a:pt x="35" y="47"/>
                  <a:pt x="35" y="47"/>
                  <a:pt x="35" y="48"/>
                </a:cubicBezTo>
                <a:cubicBezTo>
                  <a:pt x="34" y="49"/>
                  <a:pt x="34" y="49"/>
                  <a:pt x="33" y="50"/>
                </a:cubicBezTo>
                <a:cubicBezTo>
                  <a:pt x="33" y="50"/>
                  <a:pt x="33" y="50"/>
                  <a:pt x="34" y="51"/>
                </a:cubicBezTo>
                <a:cubicBezTo>
                  <a:pt x="34" y="51"/>
                  <a:pt x="34" y="51"/>
                  <a:pt x="34" y="52"/>
                </a:cubicBezTo>
                <a:cubicBezTo>
                  <a:pt x="33" y="52"/>
                  <a:pt x="33" y="53"/>
                  <a:pt x="33" y="54"/>
                </a:cubicBezTo>
                <a:cubicBezTo>
                  <a:pt x="33" y="55"/>
                  <a:pt x="33" y="56"/>
                  <a:pt x="33" y="57"/>
                </a:cubicBezTo>
                <a:cubicBezTo>
                  <a:pt x="33" y="57"/>
                  <a:pt x="32" y="58"/>
                  <a:pt x="33" y="59"/>
                </a:cubicBezTo>
                <a:cubicBezTo>
                  <a:pt x="33" y="59"/>
                  <a:pt x="33" y="59"/>
                  <a:pt x="33" y="59"/>
                </a:cubicBezTo>
                <a:cubicBezTo>
                  <a:pt x="34" y="59"/>
                  <a:pt x="34" y="59"/>
                  <a:pt x="34" y="60"/>
                </a:cubicBezTo>
                <a:cubicBezTo>
                  <a:pt x="34" y="60"/>
                  <a:pt x="35" y="61"/>
                  <a:pt x="35" y="62"/>
                </a:cubicBezTo>
                <a:cubicBezTo>
                  <a:pt x="35" y="64"/>
                  <a:pt x="34" y="65"/>
                  <a:pt x="33" y="67"/>
                </a:cubicBezTo>
                <a:cubicBezTo>
                  <a:pt x="32" y="68"/>
                  <a:pt x="31" y="69"/>
                  <a:pt x="30" y="71"/>
                </a:cubicBezTo>
                <a:cubicBezTo>
                  <a:pt x="29" y="74"/>
                  <a:pt x="26" y="76"/>
                  <a:pt x="23" y="78"/>
                </a:cubicBezTo>
                <a:cubicBezTo>
                  <a:pt x="21" y="79"/>
                  <a:pt x="20" y="80"/>
                  <a:pt x="19" y="81"/>
                </a:cubicBezTo>
                <a:cubicBezTo>
                  <a:pt x="19" y="81"/>
                  <a:pt x="18" y="82"/>
                  <a:pt x="17" y="82"/>
                </a:cubicBezTo>
                <a:cubicBezTo>
                  <a:pt x="17" y="83"/>
                  <a:pt x="17" y="84"/>
                  <a:pt x="16" y="84"/>
                </a:cubicBezTo>
                <a:cubicBezTo>
                  <a:pt x="15" y="85"/>
                  <a:pt x="13" y="85"/>
                  <a:pt x="11" y="86"/>
                </a:cubicBezTo>
                <a:cubicBezTo>
                  <a:pt x="10" y="87"/>
                  <a:pt x="8" y="87"/>
                  <a:pt x="7" y="87"/>
                </a:cubicBezTo>
                <a:cubicBezTo>
                  <a:pt x="5" y="88"/>
                  <a:pt x="3" y="87"/>
                  <a:pt x="2" y="89"/>
                </a:cubicBezTo>
                <a:cubicBezTo>
                  <a:pt x="2" y="89"/>
                  <a:pt x="2" y="90"/>
                  <a:pt x="1" y="90"/>
                </a:cubicBezTo>
                <a:cubicBezTo>
                  <a:pt x="1" y="91"/>
                  <a:pt x="0" y="91"/>
                  <a:pt x="0" y="91"/>
                </a:cubicBezTo>
                <a:cubicBezTo>
                  <a:pt x="8" y="91"/>
                  <a:pt x="16" y="91"/>
                  <a:pt x="24" y="91"/>
                </a:cubicBezTo>
                <a:cubicBezTo>
                  <a:pt x="28" y="91"/>
                  <a:pt x="32" y="91"/>
                  <a:pt x="36" y="91"/>
                </a:cubicBezTo>
                <a:cubicBezTo>
                  <a:pt x="38" y="91"/>
                  <a:pt x="40" y="91"/>
                  <a:pt x="42" y="91"/>
                </a:cubicBezTo>
                <a:cubicBezTo>
                  <a:pt x="42" y="91"/>
                  <a:pt x="42" y="90"/>
                  <a:pt x="42" y="90"/>
                </a:cubicBezTo>
                <a:cubicBezTo>
                  <a:pt x="42" y="88"/>
                  <a:pt x="43" y="86"/>
                  <a:pt x="43" y="84"/>
                </a:cubicBezTo>
                <a:cubicBezTo>
                  <a:pt x="43" y="83"/>
                  <a:pt x="42" y="80"/>
                  <a:pt x="43" y="79"/>
                </a:cubicBezTo>
                <a:cubicBezTo>
                  <a:pt x="44" y="79"/>
                  <a:pt x="45" y="79"/>
                  <a:pt x="45" y="78"/>
                </a:cubicBezTo>
                <a:cubicBezTo>
                  <a:pt x="46" y="78"/>
                  <a:pt x="46" y="78"/>
                  <a:pt x="46" y="77"/>
                </a:cubicBezTo>
                <a:cubicBezTo>
                  <a:pt x="46" y="77"/>
                  <a:pt x="47" y="77"/>
                  <a:pt x="47" y="77"/>
                </a:cubicBezTo>
                <a:cubicBezTo>
                  <a:pt x="47" y="76"/>
                  <a:pt x="48" y="76"/>
                  <a:pt x="49" y="75"/>
                </a:cubicBezTo>
                <a:cubicBezTo>
                  <a:pt x="50" y="75"/>
                  <a:pt x="50" y="74"/>
                  <a:pt x="51" y="74"/>
                </a:cubicBezTo>
                <a:cubicBezTo>
                  <a:pt x="52" y="74"/>
                  <a:pt x="52" y="73"/>
                  <a:pt x="53" y="73"/>
                </a:cubicBezTo>
                <a:cubicBezTo>
                  <a:pt x="53" y="72"/>
                  <a:pt x="54" y="72"/>
                  <a:pt x="54" y="72"/>
                </a:cubicBezTo>
                <a:cubicBezTo>
                  <a:pt x="55" y="72"/>
                  <a:pt x="56" y="70"/>
                  <a:pt x="57" y="70"/>
                </a:cubicBezTo>
                <a:cubicBezTo>
                  <a:pt x="59" y="69"/>
                  <a:pt x="63" y="72"/>
                  <a:pt x="64" y="68"/>
                </a:cubicBezTo>
                <a:cubicBezTo>
                  <a:pt x="64" y="68"/>
                  <a:pt x="64" y="67"/>
                  <a:pt x="64" y="68"/>
                </a:cubicBezTo>
                <a:cubicBezTo>
                  <a:pt x="65" y="68"/>
                  <a:pt x="65" y="68"/>
                  <a:pt x="66" y="68"/>
                </a:cubicBezTo>
                <a:cubicBezTo>
                  <a:pt x="66" y="68"/>
                  <a:pt x="67" y="67"/>
                  <a:pt x="67" y="67"/>
                </a:cubicBezTo>
                <a:cubicBezTo>
                  <a:pt x="68" y="67"/>
                  <a:pt x="69" y="67"/>
                  <a:pt x="70" y="67"/>
                </a:cubicBezTo>
                <a:cubicBezTo>
                  <a:pt x="72" y="67"/>
                  <a:pt x="73" y="66"/>
                  <a:pt x="75" y="65"/>
                </a:cubicBezTo>
                <a:cubicBezTo>
                  <a:pt x="76" y="64"/>
                  <a:pt x="77" y="63"/>
                  <a:pt x="78" y="62"/>
                </a:cubicBezTo>
                <a:cubicBezTo>
                  <a:pt x="78" y="60"/>
                  <a:pt x="79" y="60"/>
                  <a:pt x="81" y="59"/>
                </a:cubicBezTo>
                <a:cubicBezTo>
                  <a:pt x="81" y="59"/>
                  <a:pt x="81" y="59"/>
                  <a:pt x="82" y="59"/>
                </a:cubicBezTo>
                <a:cubicBezTo>
                  <a:pt x="82" y="59"/>
                  <a:pt x="83" y="59"/>
                  <a:pt x="83" y="59"/>
                </a:cubicBezTo>
                <a:cubicBezTo>
                  <a:pt x="84" y="58"/>
                  <a:pt x="84" y="58"/>
                  <a:pt x="85" y="58"/>
                </a:cubicBezTo>
                <a:cubicBezTo>
                  <a:pt x="86" y="57"/>
                  <a:pt x="87" y="56"/>
                  <a:pt x="89" y="55"/>
                </a:cubicBezTo>
                <a:cubicBezTo>
                  <a:pt x="89" y="55"/>
                  <a:pt x="91" y="55"/>
                  <a:pt x="91" y="55"/>
                </a:cubicBezTo>
                <a:cubicBezTo>
                  <a:pt x="91" y="54"/>
                  <a:pt x="91" y="53"/>
                  <a:pt x="91" y="53"/>
                </a:cubicBezTo>
                <a:cubicBezTo>
                  <a:pt x="90" y="53"/>
                  <a:pt x="90" y="52"/>
                  <a:pt x="90" y="53"/>
                </a:cubicBezTo>
                <a:cubicBezTo>
                  <a:pt x="89" y="53"/>
                  <a:pt x="89" y="52"/>
                  <a:pt x="89" y="52"/>
                </a:cubicBezTo>
                <a:cubicBezTo>
                  <a:pt x="89" y="52"/>
                  <a:pt x="89" y="51"/>
                  <a:pt x="89" y="51"/>
                </a:cubicBezTo>
                <a:cubicBezTo>
                  <a:pt x="89" y="51"/>
                  <a:pt x="90" y="51"/>
                  <a:pt x="90" y="50"/>
                </a:cubicBezTo>
                <a:cubicBezTo>
                  <a:pt x="90" y="50"/>
                  <a:pt x="89" y="50"/>
                  <a:pt x="89" y="49"/>
                </a:cubicBezTo>
                <a:cubicBezTo>
                  <a:pt x="89" y="49"/>
                  <a:pt x="89" y="48"/>
                  <a:pt x="89" y="47"/>
                </a:cubicBezTo>
                <a:cubicBezTo>
                  <a:pt x="90" y="46"/>
                  <a:pt x="91" y="47"/>
                  <a:pt x="91" y="47"/>
                </a:cubicBezTo>
                <a:cubicBezTo>
                  <a:pt x="92" y="47"/>
                  <a:pt x="92" y="47"/>
                  <a:pt x="93" y="47"/>
                </a:cubicBezTo>
                <a:cubicBezTo>
                  <a:pt x="94" y="46"/>
                  <a:pt x="96" y="46"/>
                  <a:pt x="97" y="45"/>
                </a:cubicBezTo>
                <a:cubicBezTo>
                  <a:pt x="98" y="45"/>
                  <a:pt x="97" y="44"/>
                  <a:pt x="98" y="43"/>
                </a:cubicBezTo>
                <a:cubicBezTo>
                  <a:pt x="99" y="42"/>
                  <a:pt x="100" y="42"/>
                  <a:pt x="101" y="42"/>
                </a:cubicBezTo>
                <a:cubicBezTo>
                  <a:pt x="102" y="42"/>
                  <a:pt x="102" y="42"/>
                  <a:pt x="103" y="42"/>
                </a:cubicBezTo>
                <a:cubicBezTo>
                  <a:pt x="105" y="42"/>
                  <a:pt x="107" y="42"/>
                  <a:pt x="109" y="42"/>
                </a:cubicBezTo>
                <a:cubicBezTo>
                  <a:pt x="110" y="42"/>
                  <a:pt x="111" y="42"/>
                  <a:pt x="112" y="42"/>
                </a:cubicBezTo>
                <a:cubicBezTo>
                  <a:pt x="113" y="43"/>
                  <a:pt x="113" y="43"/>
                  <a:pt x="114" y="42"/>
                </a:cubicBezTo>
                <a:cubicBezTo>
                  <a:pt x="115" y="42"/>
                  <a:pt x="114" y="42"/>
                  <a:pt x="113" y="42"/>
                </a:cubicBezTo>
                <a:cubicBezTo>
                  <a:pt x="113" y="42"/>
                  <a:pt x="113" y="41"/>
                  <a:pt x="113" y="41"/>
                </a:cubicBezTo>
                <a:cubicBezTo>
                  <a:pt x="114" y="40"/>
                  <a:pt x="114" y="39"/>
                  <a:pt x="115" y="39"/>
                </a:cubicBezTo>
                <a:cubicBezTo>
                  <a:pt x="115" y="39"/>
                  <a:pt x="116" y="38"/>
                  <a:pt x="115" y="3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2" name="Montserrat"/>
          <p:cNvSpPr>
            <a:spLocks/>
          </p:cNvSpPr>
          <p:nvPr/>
        </p:nvSpPr>
        <p:spPr bwMode="auto">
          <a:xfrm>
            <a:off x="3643163" y="3994963"/>
            <a:ext cx="3001" cy="7000"/>
          </a:xfrm>
          <a:custGeom>
            <a:avLst/>
            <a:gdLst/>
            <a:ahLst/>
            <a:cxnLst>
              <a:cxn ang="0">
                <a:pos x="1" y="1"/>
              </a:cxn>
              <a:cxn ang="0">
                <a:pos x="1" y="2"/>
              </a:cxn>
              <a:cxn ang="0">
                <a:pos x="1" y="1"/>
              </a:cxn>
              <a:cxn ang="0">
                <a:pos x="1" y="1"/>
              </a:cxn>
            </a:cxnLst>
            <a:rect l="0" t="0" r="r" b="b"/>
            <a:pathLst>
              <a:path w="1" h="2">
                <a:moveTo>
                  <a:pt x="1" y="1"/>
                </a:moveTo>
                <a:cubicBezTo>
                  <a:pt x="0" y="0"/>
                  <a:pt x="0" y="2"/>
                  <a:pt x="1" y="2"/>
                </a:cubicBezTo>
                <a:cubicBezTo>
                  <a:pt x="1" y="2"/>
                  <a:pt x="1" y="2"/>
                  <a:pt x="1" y="1"/>
                </a:cubicBezTo>
                <a:cubicBezTo>
                  <a:pt x="1" y="1"/>
                  <a:pt x="1" y="1"/>
                  <a:pt x="1"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3" name="Montenegro"/>
          <p:cNvSpPr>
            <a:spLocks/>
          </p:cNvSpPr>
          <p:nvPr/>
        </p:nvSpPr>
        <p:spPr bwMode="auto">
          <a:xfrm>
            <a:off x="6413060" y="2935003"/>
            <a:ext cx="64998" cy="68998"/>
          </a:xfrm>
          <a:custGeom>
            <a:avLst/>
            <a:gdLst/>
            <a:ahLst/>
            <a:cxnLst>
              <a:cxn ang="0">
                <a:pos x="16" y="7"/>
              </a:cxn>
              <a:cxn ang="0">
                <a:pos x="14" y="5"/>
              </a:cxn>
              <a:cxn ang="0">
                <a:pos x="12" y="5"/>
              </a:cxn>
              <a:cxn ang="0">
                <a:pos x="11" y="4"/>
              </a:cxn>
              <a:cxn ang="0">
                <a:pos x="10" y="4"/>
              </a:cxn>
              <a:cxn ang="0">
                <a:pos x="8" y="2"/>
              </a:cxn>
              <a:cxn ang="0">
                <a:pos x="7" y="1"/>
              </a:cxn>
              <a:cxn ang="0">
                <a:pos x="6" y="0"/>
              </a:cxn>
              <a:cxn ang="0">
                <a:pos x="5" y="0"/>
              </a:cxn>
              <a:cxn ang="0">
                <a:pos x="4" y="1"/>
              </a:cxn>
              <a:cxn ang="0">
                <a:pos x="5" y="2"/>
              </a:cxn>
              <a:cxn ang="0">
                <a:pos x="5" y="3"/>
              </a:cxn>
              <a:cxn ang="0">
                <a:pos x="3" y="2"/>
              </a:cxn>
              <a:cxn ang="0">
                <a:pos x="2" y="3"/>
              </a:cxn>
              <a:cxn ang="0">
                <a:pos x="1" y="5"/>
              </a:cxn>
              <a:cxn ang="0">
                <a:pos x="1" y="6"/>
              </a:cxn>
              <a:cxn ang="0">
                <a:pos x="0" y="6"/>
              </a:cxn>
              <a:cxn ang="0">
                <a:pos x="0" y="7"/>
              </a:cxn>
              <a:cxn ang="0">
                <a:pos x="0" y="9"/>
              </a:cxn>
              <a:cxn ang="0">
                <a:pos x="1" y="10"/>
              </a:cxn>
              <a:cxn ang="0">
                <a:pos x="0" y="11"/>
              </a:cxn>
              <a:cxn ang="0">
                <a:pos x="0" y="12"/>
              </a:cxn>
              <a:cxn ang="0">
                <a:pos x="1" y="12"/>
              </a:cxn>
              <a:cxn ang="0">
                <a:pos x="2" y="12"/>
              </a:cxn>
              <a:cxn ang="0">
                <a:pos x="2" y="11"/>
              </a:cxn>
              <a:cxn ang="0">
                <a:pos x="3" y="12"/>
              </a:cxn>
              <a:cxn ang="0">
                <a:pos x="2" y="12"/>
              </a:cxn>
              <a:cxn ang="0">
                <a:pos x="2" y="13"/>
              </a:cxn>
              <a:cxn ang="0">
                <a:pos x="1" y="13"/>
              </a:cxn>
              <a:cxn ang="0">
                <a:pos x="2" y="13"/>
              </a:cxn>
              <a:cxn ang="0">
                <a:pos x="2" y="13"/>
              </a:cxn>
              <a:cxn ang="0">
                <a:pos x="4" y="14"/>
              </a:cxn>
              <a:cxn ang="0">
                <a:pos x="5" y="16"/>
              </a:cxn>
              <a:cxn ang="0">
                <a:pos x="7" y="17"/>
              </a:cxn>
              <a:cxn ang="0">
                <a:pos x="8" y="19"/>
              </a:cxn>
              <a:cxn ang="0">
                <a:pos x="8" y="17"/>
              </a:cxn>
              <a:cxn ang="0">
                <a:pos x="8" y="16"/>
              </a:cxn>
              <a:cxn ang="0">
                <a:pos x="8" y="15"/>
              </a:cxn>
              <a:cxn ang="0">
                <a:pos x="8" y="15"/>
              </a:cxn>
              <a:cxn ang="0">
                <a:pos x="9" y="13"/>
              </a:cxn>
              <a:cxn ang="0">
                <a:pos x="10" y="12"/>
              </a:cxn>
              <a:cxn ang="0">
                <a:pos x="11" y="10"/>
              </a:cxn>
              <a:cxn ang="0">
                <a:pos x="12" y="12"/>
              </a:cxn>
              <a:cxn ang="0">
                <a:pos x="14" y="11"/>
              </a:cxn>
              <a:cxn ang="0">
                <a:pos x="15" y="11"/>
              </a:cxn>
              <a:cxn ang="0">
                <a:pos x="15" y="10"/>
              </a:cxn>
              <a:cxn ang="0">
                <a:pos x="14" y="9"/>
              </a:cxn>
              <a:cxn ang="0">
                <a:pos x="16" y="9"/>
              </a:cxn>
              <a:cxn ang="0">
                <a:pos x="17" y="8"/>
              </a:cxn>
              <a:cxn ang="0">
                <a:pos x="16" y="7"/>
              </a:cxn>
            </a:cxnLst>
            <a:rect l="0" t="0" r="r" b="b"/>
            <a:pathLst>
              <a:path w="18" h="19">
                <a:moveTo>
                  <a:pt x="16" y="7"/>
                </a:moveTo>
                <a:cubicBezTo>
                  <a:pt x="15" y="6"/>
                  <a:pt x="14" y="6"/>
                  <a:pt x="14" y="5"/>
                </a:cubicBezTo>
                <a:cubicBezTo>
                  <a:pt x="13" y="5"/>
                  <a:pt x="13" y="5"/>
                  <a:pt x="12" y="5"/>
                </a:cubicBezTo>
                <a:cubicBezTo>
                  <a:pt x="12" y="5"/>
                  <a:pt x="11" y="5"/>
                  <a:pt x="11" y="4"/>
                </a:cubicBezTo>
                <a:cubicBezTo>
                  <a:pt x="11" y="4"/>
                  <a:pt x="10" y="4"/>
                  <a:pt x="10" y="4"/>
                </a:cubicBezTo>
                <a:cubicBezTo>
                  <a:pt x="9" y="4"/>
                  <a:pt x="9" y="3"/>
                  <a:pt x="8" y="2"/>
                </a:cubicBezTo>
                <a:cubicBezTo>
                  <a:pt x="8" y="2"/>
                  <a:pt x="7" y="2"/>
                  <a:pt x="7" y="1"/>
                </a:cubicBezTo>
                <a:cubicBezTo>
                  <a:pt x="6" y="1"/>
                  <a:pt x="6" y="1"/>
                  <a:pt x="6" y="0"/>
                </a:cubicBezTo>
                <a:cubicBezTo>
                  <a:pt x="6" y="0"/>
                  <a:pt x="5" y="1"/>
                  <a:pt x="5" y="0"/>
                </a:cubicBezTo>
                <a:cubicBezTo>
                  <a:pt x="5" y="0"/>
                  <a:pt x="4" y="0"/>
                  <a:pt x="4" y="1"/>
                </a:cubicBezTo>
                <a:cubicBezTo>
                  <a:pt x="4" y="1"/>
                  <a:pt x="5" y="1"/>
                  <a:pt x="5" y="2"/>
                </a:cubicBezTo>
                <a:cubicBezTo>
                  <a:pt x="5" y="3"/>
                  <a:pt x="5" y="3"/>
                  <a:pt x="5" y="3"/>
                </a:cubicBezTo>
                <a:cubicBezTo>
                  <a:pt x="4" y="3"/>
                  <a:pt x="4" y="2"/>
                  <a:pt x="3" y="2"/>
                </a:cubicBezTo>
                <a:cubicBezTo>
                  <a:pt x="3" y="2"/>
                  <a:pt x="3" y="3"/>
                  <a:pt x="2" y="3"/>
                </a:cubicBezTo>
                <a:cubicBezTo>
                  <a:pt x="2" y="4"/>
                  <a:pt x="2" y="4"/>
                  <a:pt x="1" y="5"/>
                </a:cubicBezTo>
                <a:cubicBezTo>
                  <a:pt x="1" y="5"/>
                  <a:pt x="2" y="6"/>
                  <a:pt x="1" y="6"/>
                </a:cubicBezTo>
                <a:cubicBezTo>
                  <a:pt x="1" y="6"/>
                  <a:pt x="0" y="6"/>
                  <a:pt x="0" y="6"/>
                </a:cubicBezTo>
                <a:cubicBezTo>
                  <a:pt x="0" y="7"/>
                  <a:pt x="0" y="7"/>
                  <a:pt x="0" y="7"/>
                </a:cubicBezTo>
                <a:cubicBezTo>
                  <a:pt x="0" y="8"/>
                  <a:pt x="0" y="8"/>
                  <a:pt x="0" y="9"/>
                </a:cubicBezTo>
                <a:cubicBezTo>
                  <a:pt x="1" y="9"/>
                  <a:pt x="1" y="9"/>
                  <a:pt x="1" y="10"/>
                </a:cubicBezTo>
                <a:cubicBezTo>
                  <a:pt x="1" y="10"/>
                  <a:pt x="1" y="11"/>
                  <a:pt x="0" y="11"/>
                </a:cubicBezTo>
                <a:cubicBezTo>
                  <a:pt x="0" y="11"/>
                  <a:pt x="0" y="12"/>
                  <a:pt x="0" y="12"/>
                </a:cubicBezTo>
                <a:cubicBezTo>
                  <a:pt x="0" y="12"/>
                  <a:pt x="1" y="12"/>
                  <a:pt x="1" y="12"/>
                </a:cubicBezTo>
                <a:cubicBezTo>
                  <a:pt x="1" y="12"/>
                  <a:pt x="2" y="12"/>
                  <a:pt x="2" y="12"/>
                </a:cubicBezTo>
                <a:cubicBezTo>
                  <a:pt x="2" y="12"/>
                  <a:pt x="2" y="11"/>
                  <a:pt x="2" y="11"/>
                </a:cubicBezTo>
                <a:cubicBezTo>
                  <a:pt x="3" y="12"/>
                  <a:pt x="3" y="12"/>
                  <a:pt x="3" y="12"/>
                </a:cubicBezTo>
                <a:cubicBezTo>
                  <a:pt x="3" y="12"/>
                  <a:pt x="2" y="11"/>
                  <a:pt x="2" y="12"/>
                </a:cubicBezTo>
                <a:cubicBezTo>
                  <a:pt x="2" y="13"/>
                  <a:pt x="2" y="13"/>
                  <a:pt x="2" y="13"/>
                </a:cubicBezTo>
                <a:cubicBezTo>
                  <a:pt x="1" y="12"/>
                  <a:pt x="1" y="13"/>
                  <a:pt x="1" y="13"/>
                </a:cubicBezTo>
                <a:cubicBezTo>
                  <a:pt x="2" y="13"/>
                  <a:pt x="2" y="13"/>
                  <a:pt x="2" y="13"/>
                </a:cubicBezTo>
                <a:cubicBezTo>
                  <a:pt x="2" y="13"/>
                  <a:pt x="2" y="13"/>
                  <a:pt x="2" y="13"/>
                </a:cubicBezTo>
                <a:cubicBezTo>
                  <a:pt x="3" y="14"/>
                  <a:pt x="3" y="14"/>
                  <a:pt x="4" y="14"/>
                </a:cubicBezTo>
                <a:cubicBezTo>
                  <a:pt x="4" y="14"/>
                  <a:pt x="5" y="15"/>
                  <a:pt x="5" y="16"/>
                </a:cubicBezTo>
                <a:cubicBezTo>
                  <a:pt x="6" y="16"/>
                  <a:pt x="6" y="17"/>
                  <a:pt x="7" y="17"/>
                </a:cubicBezTo>
                <a:cubicBezTo>
                  <a:pt x="7" y="18"/>
                  <a:pt x="8" y="18"/>
                  <a:pt x="8" y="19"/>
                </a:cubicBezTo>
                <a:cubicBezTo>
                  <a:pt x="9" y="18"/>
                  <a:pt x="8" y="18"/>
                  <a:pt x="8" y="17"/>
                </a:cubicBezTo>
                <a:cubicBezTo>
                  <a:pt x="9" y="17"/>
                  <a:pt x="8" y="17"/>
                  <a:pt x="8" y="16"/>
                </a:cubicBezTo>
                <a:cubicBezTo>
                  <a:pt x="9" y="16"/>
                  <a:pt x="9" y="16"/>
                  <a:pt x="8" y="15"/>
                </a:cubicBezTo>
                <a:cubicBezTo>
                  <a:pt x="8" y="15"/>
                  <a:pt x="8" y="15"/>
                  <a:pt x="8" y="15"/>
                </a:cubicBezTo>
                <a:cubicBezTo>
                  <a:pt x="8" y="14"/>
                  <a:pt x="8" y="14"/>
                  <a:pt x="9" y="13"/>
                </a:cubicBezTo>
                <a:cubicBezTo>
                  <a:pt x="9" y="13"/>
                  <a:pt x="9" y="12"/>
                  <a:pt x="10" y="12"/>
                </a:cubicBezTo>
                <a:cubicBezTo>
                  <a:pt x="10" y="11"/>
                  <a:pt x="10" y="10"/>
                  <a:pt x="11" y="10"/>
                </a:cubicBezTo>
                <a:cubicBezTo>
                  <a:pt x="12" y="10"/>
                  <a:pt x="11" y="11"/>
                  <a:pt x="12" y="12"/>
                </a:cubicBezTo>
                <a:cubicBezTo>
                  <a:pt x="12" y="12"/>
                  <a:pt x="14" y="11"/>
                  <a:pt x="14" y="11"/>
                </a:cubicBezTo>
                <a:cubicBezTo>
                  <a:pt x="14" y="11"/>
                  <a:pt x="14" y="11"/>
                  <a:pt x="15" y="11"/>
                </a:cubicBezTo>
                <a:cubicBezTo>
                  <a:pt x="15" y="11"/>
                  <a:pt x="15" y="11"/>
                  <a:pt x="15" y="10"/>
                </a:cubicBezTo>
                <a:cubicBezTo>
                  <a:pt x="15" y="9"/>
                  <a:pt x="14" y="9"/>
                  <a:pt x="14" y="9"/>
                </a:cubicBezTo>
                <a:cubicBezTo>
                  <a:pt x="14" y="8"/>
                  <a:pt x="16" y="10"/>
                  <a:pt x="16" y="9"/>
                </a:cubicBezTo>
                <a:cubicBezTo>
                  <a:pt x="16" y="8"/>
                  <a:pt x="16" y="8"/>
                  <a:pt x="17" y="8"/>
                </a:cubicBezTo>
                <a:cubicBezTo>
                  <a:pt x="18" y="8"/>
                  <a:pt x="16" y="7"/>
                  <a:pt x="16"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4" name="Mongolia"/>
          <p:cNvSpPr>
            <a:spLocks/>
          </p:cNvSpPr>
          <p:nvPr/>
        </p:nvSpPr>
        <p:spPr bwMode="auto">
          <a:xfrm>
            <a:off x="8526980" y="2599015"/>
            <a:ext cx="1035961" cy="415985"/>
          </a:xfrm>
          <a:custGeom>
            <a:avLst/>
            <a:gdLst/>
            <a:ahLst/>
            <a:cxnLst>
              <a:cxn ang="0">
                <a:pos x="280" y="53"/>
              </a:cxn>
              <a:cxn ang="0">
                <a:pos x="269" y="47"/>
              </a:cxn>
              <a:cxn ang="0">
                <a:pos x="259" y="49"/>
              </a:cxn>
              <a:cxn ang="0">
                <a:pos x="244" y="47"/>
              </a:cxn>
              <a:cxn ang="0">
                <a:pos x="241" y="35"/>
              </a:cxn>
              <a:cxn ang="0">
                <a:pos x="233" y="25"/>
              </a:cxn>
              <a:cxn ang="0">
                <a:pos x="217" y="21"/>
              </a:cxn>
              <a:cxn ang="0">
                <a:pos x="211" y="27"/>
              </a:cxn>
              <a:cxn ang="0">
                <a:pos x="203" y="30"/>
              </a:cxn>
              <a:cxn ang="0">
                <a:pos x="192" y="32"/>
              </a:cxn>
              <a:cxn ang="0">
                <a:pos x="180" y="31"/>
              </a:cxn>
              <a:cxn ang="0">
                <a:pos x="168" y="27"/>
              </a:cxn>
              <a:cxn ang="0">
                <a:pos x="161" y="24"/>
              </a:cxn>
              <a:cxn ang="0">
                <a:pos x="149" y="20"/>
              </a:cxn>
              <a:cxn ang="0">
                <a:pos x="139" y="20"/>
              </a:cxn>
              <a:cxn ang="0">
                <a:pos x="128" y="22"/>
              </a:cxn>
              <a:cxn ang="0">
                <a:pos x="118" y="19"/>
              </a:cxn>
              <a:cxn ang="0">
                <a:pos x="110" y="11"/>
              </a:cxn>
              <a:cxn ang="0">
                <a:pos x="101" y="8"/>
              </a:cxn>
              <a:cxn ang="0">
                <a:pos x="85" y="4"/>
              </a:cxn>
              <a:cxn ang="0">
                <a:pos x="76" y="5"/>
              </a:cxn>
              <a:cxn ang="0">
                <a:pos x="76" y="14"/>
              </a:cxn>
              <a:cxn ang="0">
                <a:pos x="83" y="21"/>
              </a:cxn>
              <a:cxn ang="0">
                <a:pos x="79" y="25"/>
              </a:cxn>
              <a:cxn ang="0">
                <a:pos x="71" y="25"/>
              </a:cxn>
              <a:cxn ang="0">
                <a:pos x="63" y="24"/>
              </a:cxn>
              <a:cxn ang="0">
                <a:pos x="54" y="23"/>
              </a:cxn>
              <a:cxn ang="0">
                <a:pos x="42" y="18"/>
              </a:cxn>
              <a:cxn ang="0">
                <a:pos x="32" y="16"/>
              </a:cxn>
              <a:cxn ang="0">
                <a:pos x="25" y="18"/>
              </a:cxn>
              <a:cxn ang="0">
                <a:pos x="18" y="22"/>
              </a:cxn>
              <a:cxn ang="0">
                <a:pos x="13" y="27"/>
              </a:cxn>
              <a:cxn ang="0">
                <a:pos x="7" y="29"/>
              </a:cxn>
              <a:cxn ang="0">
                <a:pos x="2" y="31"/>
              </a:cxn>
              <a:cxn ang="0">
                <a:pos x="1" y="36"/>
              </a:cxn>
              <a:cxn ang="0">
                <a:pos x="8" y="41"/>
              </a:cxn>
              <a:cxn ang="0">
                <a:pos x="18" y="45"/>
              </a:cxn>
              <a:cxn ang="0">
                <a:pos x="24" y="46"/>
              </a:cxn>
              <a:cxn ang="0">
                <a:pos x="32" y="54"/>
              </a:cxn>
              <a:cxn ang="0">
                <a:pos x="39" y="62"/>
              </a:cxn>
              <a:cxn ang="0">
                <a:pos x="41" y="73"/>
              </a:cxn>
              <a:cxn ang="0">
                <a:pos x="47" y="76"/>
              </a:cxn>
              <a:cxn ang="0">
                <a:pos x="63" y="77"/>
              </a:cxn>
              <a:cxn ang="0">
                <a:pos x="75" y="81"/>
              </a:cxn>
              <a:cxn ang="0">
                <a:pos x="87" y="85"/>
              </a:cxn>
              <a:cxn ang="0">
                <a:pos x="101" y="101"/>
              </a:cxn>
              <a:cxn ang="0">
                <a:pos x="115" y="102"/>
              </a:cxn>
              <a:cxn ang="0">
                <a:pos x="138" y="103"/>
              </a:cxn>
              <a:cxn ang="0">
                <a:pos x="165" y="110"/>
              </a:cxn>
              <a:cxn ang="0">
                <a:pos x="182" y="114"/>
              </a:cxn>
              <a:cxn ang="0">
                <a:pos x="193" y="108"/>
              </a:cxn>
              <a:cxn ang="0">
                <a:pos x="214" y="105"/>
              </a:cxn>
              <a:cxn ang="0">
                <a:pos x="226" y="101"/>
              </a:cxn>
              <a:cxn ang="0">
                <a:pos x="232" y="94"/>
              </a:cxn>
              <a:cxn ang="0">
                <a:pos x="228" y="86"/>
              </a:cxn>
              <a:cxn ang="0">
                <a:pos x="230" y="77"/>
              </a:cxn>
              <a:cxn ang="0">
                <a:pos x="247" y="77"/>
              </a:cxn>
              <a:cxn ang="0">
                <a:pos x="259" y="70"/>
              </a:cxn>
              <a:cxn ang="0">
                <a:pos x="262" y="63"/>
              </a:cxn>
              <a:cxn ang="0">
                <a:pos x="270" y="60"/>
              </a:cxn>
              <a:cxn ang="0">
                <a:pos x="277" y="58"/>
              </a:cxn>
              <a:cxn ang="0">
                <a:pos x="286" y="60"/>
              </a:cxn>
            </a:cxnLst>
            <a:rect l="0" t="0" r="r" b="b"/>
            <a:pathLst>
              <a:path w="287" h="115">
                <a:moveTo>
                  <a:pt x="286" y="58"/>
                </a:moveTo>
                <a:cubicBezTo>
                  <a:pt x="286" y="57"/>
                  <a:pt x="285" y="56"/>
                  <a:pt x="284" y="55"/>
                </a:cubicBezTo>
                <a:cubicBezTo>
                  <a:pt x="283" y="55"/>
                  <a:pt x="283" y="54"/>
                  <a:pt x="282" y="54"/>
                </a:cubicBezTo>
                <a:cubicBezTo>
                  <a:pt x="282" y="53"/>
                  <a:pt x="281" y="53"/>
                  <a:pt x="281" y="53"/>
                </a:cubicBezTo>
                <a:cubicBezTo>
                  <a:pt x="280" y="53"/>
                  <a:pt x="280" y="53"/>
                  <a:pt x="280" y="53"/>
                </a:cubicBezTo>
                <a:cubicBezTo>
                  <a:pt x="279" y="52"/>
                  <a:pt x="279" y="52"/>
                  <a:pt x="278" y="52"/>
                </a:cubicBezTo>
                <a:cubicBezTo>
                  <a:pt x="277" y="51"/>
                  <a:pt x="277" y="51"/>
                  <a:pt x="277" y="51"/>
                </a:cubicBezTo>
                <a:cubicBezTo>
                  <a:pt x="276" y="50"/>
                  <a:pt x="275" y="50"/>
                  <a:pt x="275" y="50"/>
                </a:cubicBezTo>
                <a:cubicBezTo>
                  <a:pt x="274" y="49"/>
                  <a:pt x="274" y="49"/>
                  <a:pt x="273" y="49"/>
                </a:cubicBezTo>
                <a:cubicBezTo>
                  <a:pt x="272" y="48"/>
                  <a:pt x="271" y="48"/>
                  <a:pt x="269" y="47"/>
                </a:cubicBezTo>
                <a:cubicBezTo>
                  <a:pt x="268" y="46"/>
                  <a:pt x="268" y="46"/>
                  <a:pt x="267" y="45"/>
                </a:cubicBezTo>
                <a:cubicBezTo>
                  <a:pt x="266" y="45"/>
                  <a:pt x="265" y="45"/>
                  <a:pt x="265" y="45"/>
                </a:cubicBezTo>
                <a:cubicBezTo>
                  <a:pt x="264" y="45"/>
                  <a:pt x="264" y="45"/>
                  <a:pt x="263" y="45"/>
                </a:cubicBezTo>
                <a:cubicBezTo>
                  <a:pt x="262" y="45"/>
                  <a:pt x="262" y="45"/>
                  <a:pt x="261" y="45"/>
                </a:cubicBezTo>
                <a:cubicBezTo>
                  <a:pt x="260" y="46"/>
                  <a:pt x="260" y="48"/>
                  <a:pt x="259" y="49"/>
                </a:cubicBezTo>
                <a:cubicBezTo>
                  <a:pt x="259" y="49"/>
                  <a:pt x="257" y="47"/>
                  <a:pt x="256" y="47"/>
                </a:cubicBezTo>
                <a:cubicBezTo>
                  <a:pt x="254" y="46"/>
                  <a:pt x="253" y="47"/>
                  <a:pt x="251" y="47"/>
                </a:cubicBezTo>
                <a:cubicBezTo>
                  <a:pt x="250" y="47"/>
                  <a:pt x="248" y="46"/>
                  <a:pt x="248" y="47"/>
                </a:cubicBezTo>
                <a:cubicBezTo>
                  <a:pt x="247" y="48"/>
                  <a:pt x="247" y="49"/>
                  <a:pt x="247" y="48"/>
                </a:cubicBezTo>
                <a:cubicBezTo>
                  <a:pt x="246" y="48"/>
                  <a:pt x="245" y="47"/>
                  <a:pt x="244" y="47"/>
                </a:cubicBezTo>
                <a:cubicBezTo>
                  <a:pt x="243" y="46"/>
                  <a:pt x="242" y="46"/>
                  <a:pt x="241" y="45"/>
                </a:cubicBezTo>
                <a:cubicBezTo>
                  <a:pt x="240" y="43"/>
                  <a:pt x="242" y="44"/>
                  <a:pt x="243" y="43"/>
                </a:cubicBezTo>
                <a:cubicBezTo>
                  <a:pt x="243" y="42"/>
                  <a:pt x="242" y="41"/>
                  <a:pt x="241" y="40"/>
                </a:cubicBezTo>
                <a:cubicBezTo>
                  <a:pt x="241" y="39"/>
                  <a:pt x="242" y="37"/>
                  <a:pt x="241" y="36"/>
                </a:cubicBezTo>
                <a:cubicBezTo>
                  <a:pt x="241" y="36"/>
                  <a:pt x="241" y="35"/>
                  <a:pt x="241" y="35"/>
                </a:cubicBezTo>
                <a:cubicBezTo>
                  <a:pt x="241" y="34"/>
                  <a:pt x="241" y="33"/>
                  <a:pt x="241" y="32"/>
                </a:cubicBezTo>
                <a:cubicBezTo>
                  <a:pt x="241" y="30"/>
                  <a:pt x="241" y="28"/>
                  <a:pt x="241" y="26"/>
                </a:cubicBezTo>
                <a:cubicBezTo>
                  <a:pt x="241" y="25"/>
                  <a:pt x="238" y="24"/>
                  <a:pt x="238" y="24"/>
                </a:cubicBezTo>
                <a:cubicBezTo>
                  <a:pt x="237" y="24"/>
                  <a:pt x="236" y="23"/>
                  <a:pt x="235" y="24"/>
                </a:cubicBezTo>
                <a:cubicBezTo>
                  <a:pt x="234" y="24"/>
                  <a:pt x="233" y="24"/>
                  <a:pt x="233" y="25"/>
                </a:cubicBezTo>
                <a:cubicBezTo>
                  <a:pt x="232" y="25"/>
                  <a:pt x="232" y="25"/>
                  <a:pt x="231" y="25"/>
                </a:cubicBezTo>
                <a:cubicBezTo>
                  <a:pt x="230" y="25"/>
                  <a:pt x="230" y="25"/>
                  <a:pt x="229" y="25"/>
                </a:cubicBezTo>
                <a:cubicBezTo>
                  <a:pt x="226" y="24"/>
                  <a:pt x="226" y="22"/>
                  <a:pt x="222" y="21"/>
                </a:cubicBezTo>
                <a:cubicBezTo>
                  <a:pt x="222" y="21"/>
                  <a:pt x="221" y="21"/>
                  <a:pt x="220" y="21"/>
                </a:cubicBezTo>
                <a:cubicBezTo>
                  <a:pt x="219" y="21"/>
                  <a:pt x="218" y="21"/>
                  <a:pt x="217" y="21"/>
                </a:cubicBezTo>
                <a:cubicBezTo>
                  <a:pt x="217" y="21"/>
                  <a:pt x="216" y="22"/>
                  <a:pt x="215" y="22"/>
                </a:cubicBezTo>
                <a:cubicBezTo>
                  <a:pt x="215" y="23"/>
                  <a:pt x="215" y="23"/>
                  <a:pt x="215" y="23"/>
                </a:cubicBezTo>
                <a:cubicBezTo>
                  <a:pt x="215" y="23"/>
                  <a:pt x="214" y="23"/>
                  <a:pt x="214" y="23"/>
                </a:cubicBezTo>
                <a:cubicBezTo>
                  <a:pt x="213" y="23"/>
                  <a:pt x="213" y="24"/>
                  <a:pt x="213" y="25"/>
                </a:cubicBezTo>
                <a:cubicBezTo>
                  <a:pt x="212" y="25"/>
                  <a:pt x="211" y="26"/>
                  <a:pt x="211" y="27"/>
                </a:cubicBezTo>
                <a:cubicBezTo>
                  <a:pt x="211" y="27"/>
                  <a:pt x="212" y="28"/>
                  <a:pt x="211" y="28"/>
                </a:cubicBezTo>
                <a:cubicBezTo>
                  <a:pt x="211" y="28"/>
                  <a:pt x="211" y="28"/>
                  <a:pt x="211" y="28"/>
                </a:cubicBezTo>
                <a:cubicBezTo>
                  <a:pt x="211" y="28"/>
                  <a:pt x="210" y="29"/>
                  <a:pt x="210" y="29"/>
                </a:cubicBezTo>
                <a:cubicBezTo>
                  <a:pt x="209" y="29"/>
                  <a:pt x="209" y="29"/>
                  <a:pt x="208" y="29"/>
                </a:cubicBezTo>
                <a:cubicBezTo>
                  <a:pt x="206" y="29"/>
                  <a:pt x="205" y="30"/>
                  <a:pt x="203" y="30"/>
                </a:cubicBezTo>
                <a:cubicBezTo>
                  <a:pt x="202" y="30"/>
                  <a:pt x="201" y="30"/>
                  <a:pt x="201" y="30"/>
                </a:cubicBezTo>
                <a:cubicBezTo>
                  <a:pt x="200" y="30"/>
                  <a:pt x="200" y="31"/>
                  <a:pt x="199" y="31"/>
                </a:cubicBezTo>
                <a:cubicBezTo>
                  <a:pt x="198" y="31"/>
                  <a:pt x="198" y="31"/>
                  <a:pt x="197" y="31"/>
                </a:cubicBezTo>
                <a:cubicBezTo>
                  <a:pt x="196" y="31"/>
                  <a:pt x="196" y="32"/>
                  <a:pt x="196" y="33"/>
                </a:cubicBezTo>
                <a:cubicBezTo>
                  <a:pt x="194" y="33"/>
                  <a:pt x="193" y="33"/>
                  <a:pt x="192" y="32"/>
                </a:cubicBezTo>
                <a:cubicBezTo>
                  <a:pt x="191" y="32"/>
                  <a:pt x="191" y="32"/>
                  <a:pt x="191" y="32"/>
                </a:cubicBezTo>
                <a:cubicBezTo>
                  <a:pt x="190" y="33"/>
                  <a:pt x="190" y="33"/>
                  <a:pt x="189" y="33"/>
                </a:cubicBezTo>
                <a:cubicBezTo>
                  <a:pt x="188" y="32"/>
                  <a:pt x="187" y="32"/>
                  <a:pt x="187" y="32"/>
                </a:cubicBezTo>
                <a:cubicBezTo>
                  <a:pt x="186" y="33"/>
                  <a:pt x="185" y="32"/>
                  <a:pt x="185" y="32"/>
                </a:cubicBezTo>
                <a:cubicBezTo>
                  <a:pt x="183" y="32"/>
                  <a:pt x="182" y="31"/>
                  <a:pt x="180" y="31"/>
                </a:cubicBezTo>
                <a:cubicBezTo>
                  <a:pt x="179" y="31"/>
                  <a:pt x="179" y="31"/>
                  <a:pt x="178" y="31"/>
                </a:cubicBezTo>
                <a:cubicBezTo>
                  <a:pt x="177" y="31"/>
                  <a:pt x="176" y="31"/>
                  <a:pt x="175" y="31"/>
                </a:cubicBezTo>
                <a:cubicBezTo>
                  <a:pt x="174" y="31"/>
                  <a:pt x="173" y="29"/>
                  <a:pt x="171" y="29"/>
                </a:cubicBezTo>
                <a:cubicBezTo>
                  <a:pt x="170" y="29"/>
                  <a:pt x="169" y="28"/>
                  <a:pt x="169" y="28"/>
                </a:cubicBezTo>
                <a:cubicBezTo>
                  <a:pt x="169" y="28"/>
                  <a:pt x="168" y="27"/>
                  <a:pt x="168" y="27"/>
                </a:cubicBezTo>
                <a:cubicBezTo>
                  <a:pt x="168" y="27"/>
                  <a:pt x="168" y="28"/>
                  <a:pt x="168" y="27"/>
                </a:cubicBezTo>
                <a:cubicBezTo>
                  <a:pt x="167" y="27"/>
                  <a:pt x="167" y="26"/>
                  <a:pt x="167" y="25"/>
                </a:cubicBezTo>
                <a:cubicBezTo>
                  <a:pt x="166" y="24"/>
                  <a:pt x="166" y="24"/>
                  <a:pt x="165" y="24"/>
                </a:cubicBezTo>
                <a:cubicBezTo>
                  <a:pt x="164" y="24"/>
                  <a:pt x="164" y="24"/>
                  <a:pt x="163" y="24"/>
                </a:cubicBezTo>
                <a:cubicBezTo>
                  <a:pt x="162" y="24"/>
                  <a:pt x="161" y="24"/>
                  <a:pt x="161" y="24"/>
                </a:cubicBezTo>
                <a:cubicBezTo>
                  <a:pt x="160" y="24"/>
                  <a:pt x="160" y="24"/>
                  <a:pt x="160" y="24"/>
                </a:cubicBezTo>
                <a:cubicBezTo>
                  <a:pt x="159" y="24"/>
                  <a:pt x="159" y="24"/>
                  <a:pt x="159" y="23"/>
                </a:cubicBezTo>
                <a:cubicBezTo>
                  <a:pt x="158" y="23"/>
                  <a:pt x="158" y="23"/>
                  <a:pt x="157" y="22"/>
                </a:cubicBezTo>
                <a:cubicBezTo>
                  <a:pt x="156" y="21"/>
                  <a:pt x="154" y="20"/>
                  <a:pt x="153" y="20"/>
                </a:cubicBezTo>
                <a:cubicBezTo>
                  <a:pt x="151" y="20"/>
                  <a:pt x="150" y="21"/>
                  <a:pt x="149" y="20"/>
                </a:cubicBezTo>
                <a:cubicBezTo>
                  <a:pt x="148" y="20"/>
                  <a:pt x="148" y="20"/>
                  <a:pt x="147" y="20"/>
                </a:cubicBezTo>
                <a:cubicBezTo>
                  <a:pt x="147" y="19"/>
                  <a:pt x="146" y="19"/>
                  <a:pt x="145" y="19"/>
                </a:cubicBezTo>
                <a:cubicBezTo>
                  <a:pt x="144" y="19"/>
                  <a:pt x="144" y="19"/>
                  <a:pt x="143" y="19"/>
                </a:cubicBezTo>
                <a:cubicBezTo>
                  <a:pt x="142" y="19"/>
                  <a:pt x="141" y="19"/>
                  <a:pt x="141" y="19"/>
                </a:cubicBezTo>
                <a:cubicBezTo>
                  <a:pt x="140" y="19"/>
                  <a:pt x="140" y="20"/>
                  <a:pt x="139" y="20"/>
                </a:cubicBezTo>
                <a:cubicBezTo>
                  <a:pt x="138" y="19"/>
                  <a:pt x="137" y="20"/>
                  <a:pt x="137" y="20"/>
                </a:cubicBezTo>
                <a:cubicBezTo>
                  <a:pt x="136" y="20"/>
                  <a:pt x="136" y="20"/>
                  <a:pt x="135" y="20"/>
                </a:cubicBezTo>
                <a:cubicBezTo>
                  <a:pt x="134" y="21"/>
                  <a:pt x="134" y="21"/>
                  <a:pt x="134" y="22"/>
                </a:cubicBezTo>
                <a:cubicBezTo>
                  <a:pt x="133" y="23"/>
                  <a:pt x="131" y="22"/>
                  <a:pt x="130" y="22"/>
                </a:cubicBezTo>
                <a:cubicBezTo>
                  <a:pt x="129" y="22"/>
                  <a:pt x="129" y="23"/>
                  <a:pt x="128" y="22"/>
                </a:cubicBezTo>
                <a:cubicBezTo>
                  <a:pt x="128" y="22"/>
                  <a:pt x="127" y="22"/>
                  <a:pt x="126" y="22"/>
                </a:cubicBezTo>
                <a:cubicBezTo>
                  <a:pt x="125" y="22"/>
                  <a:pt x="125" y="21"/>
                  <a:pt x="125" y="21"/>
                </a:cubicBezTo>
                <a:cubicBezTo>
                  <a:pt x="124" y="21"/>
                  <a:pt x="124" y="21"/>
                  <a:pt x="123" y="21"/>
                </a:cubicBezTo>
                <a:cubicBezTo>
                  <a:pt x="122" y="21"/>
                  <a:pt x="121" y="20"/>
                  <a:pt x="120" y="20"/>
                </a:cubicBezTo>
                <a:cubicBezTo>
                  <a:pt x="120" y="20"/>
                  <a:pt x="119" y="20"/>
                  <a:pt x="118" y="19"/>
                </a:cubicBezTo>
                <a:cubicBezTo>
                  <a:pt x="118" y="19"/>
                  <a:pt x="117" y="18"/>
                  <a:pt x="116" y="18"/>
                </a:cubicBezTo>
                <a:cubicBezTo>
                  <a:pt x="116" y="18"/>
                  <a:pt x="115" y="18"/>
                  <a:pt x="115" y="17"/>
                </a:cubicBezTo>
                <a:cubicBezTo>
                  <a:pt x="115" y="16"/>
                  <a:pt x="114" y="16"/>
                  <a:pt x="114" y="16"/>
                </a:cubicBezTo>
                <a:cubicBezTo>
                  <a:pt x="113" y="15"/>
                  <a:pt x="113" y="15"/>
                  <a:pt x="113" y="14"/>
                </a:cubicBezTo>
                <a:cubicBezTo>
                  <a:pt x="112" y="13"/>
                  <a:pt x="111" y="12"/>
                  <a:pt x="110" y="11"/>
                </a:cubicBezTo>
                <a:cubicBezTo>
                  <a:pt x="110" y="10"/>
                  <a:pt x="110" y="10"/>
                  <a:pt x="109" y="9"/>
                </a:cubicBezTo>
                <a:cubicBezTo>
                  <a:pt x="109" y="9"/>
                  <a:pt x="108" y="9"/>
                  <a:pt x="107" y="9"/>
                </a:cubicBezTo>
                <a:cubicBezTo>
                  <a:pt x="106" y="9"/>
                  <a:pt x="106" y="8"/>
                  <a:pt x="105" y="8"/>
                </a:cubicBezTo>
                <a:cubicBezTo>
                  <a:pt x="104" y="8"/>
                  <a:pt x="104" y="8"/>
                  <a:pt x="103" y="8"/>
                </a:cubicBezTo>
                <a:cubicBezTo>
                  <a:pt x="102" y="9"/>
                  <a:pt x="102" y="8"/>
                  <a:pt x="101" y="8"/>
                </a:cubicBezTo>
                <a:cubicBezTo>
                  <a:pt x="100" y="8"/>
                  <a:pt x="100" y="8"/>
                  <a:pt x="99" y="7"/>
                </a:cubicBezTo>
                <a:cubicBezTo>
                  <a:pt x="97" y="7"/>
                  <a:pt x="95" y="6"/>
                  <a:pt x="94" y="6"/>
                </a:cubicBezTo>
                <a:cubicBezTo>
                  <a:pt x="92" y="5"/>
                  <a:pt x="90" y="6"/>
                  <a:pt x="88" y="5"/>
                </a:cubicBezTo>
                <a:cubicBezTo>
                  <a:pt x="88" y="5"/>
                  <a:pt x="87" y="4"/>
                  <a:pt x="87" y="4"/>
                </a:cubicBezTo>
                <a:cubicBezTo>
                  <a:pt x="86" y="4"/>
                  <a:pt x="85" y="4"/>
                  <a:pt x="85" y="4"/>
                </a:cubicBezTo>
                <a:cubicBezTo>
                  <a:pt x="83" y="4"/>
                  <a:pt x="83" y="3"/>
                  <a:pt x="82" y="3"/>
                </a:cubicBezTo>
                <a:cubicBezTo>
                  <a:pt x="81" y="2"/>
                  <a:pt x="80" y="2"/>
                  <a:pt x="80" y="2"/>
                </a:cubicBezTo>
                <a:cubicBezTo>
                  <a:pt x="79" y="2"/>
                  <a:pt x="78" y="0"/>
                  <a:pt x="78" y="2"/>
                </a:cubicBezTo>
                <a:cubicBezTo>
                  <a:pt x="78" y="3"/>
                  <a:pt x="78" y="4"/>
                  <a:pt x="78" y="5"/>
                </a:cubicBezTo>
                <a:cubicBezTo>
                  <a:pt x="78" y="5"/>
                  <a:pt x="77" y="5"/>
                  <a:pt x="76" y="5"/>
                </a:cubicBezTo>
                <a:cubicBezTo>
                  <a:pt x="75" y="6"/>
                  <a:pt x="76" y="7"/>
                  <a:pt x="76" y="8"/>
                </a:cubicBezTo>
                <a:cubicBezTo>
                  <a:pt x="76" y="9"/>
                  <a:pt x="75" y="8"/>
                  <a:pt x="75" y="9"/>
                </a:cubicBezTo>
                <a:cubicBezTo>
                  <a:pt x="74" y="9"/>
                  <a:pt x="75" y="10"/>
                  <a:pt x="75" y="11"/>
                </a:cubicBezTo>
                <a:cubicBezTo>
                  <a:pt x="75" y="12"/>
                  <a:pt x="75" y="12"/>
                  <a:pt x="75" y="13"/>
                </a:cubicBezTo>
                <a:cubicBezTo>
                  <a:pt x="75" y="14"/>
                  <a:pt x="76" y="14"/>
                  <a:pt x="76" y="14"/>
                </a:cubicBezTo>
                <a:cubicBezTo>
                  <a:pt x="77" y="14"/>
                  <a:pt x="78" y="15"/>
                  <a:pt x="77" y="15"/>
                </a:cubicBezTo>
                <a:cubicBezTo>
                  <a:pt x="77" y="16"/>
                  <a:pt x="78" y="16"/>
                  <a:pt x="78" y="17"/>
                </a:cubicBezTo>
                <a:cubicBezTo>
                  <a:pt x="79" y="17"/>
                  <a:pt x="80" y="18"/>
                  <a:pt x="81" y="18"/>
                </a:cubicBezTo>
                <a:cubicBezTo>
                  <a:pt x="81" y="18"/>
                  <a:pt x="82" y="18"/>
                  <a:pt x="82" y="19"/>
                </a:cubicBezTo>
                <a:cubicBezTo>
                  <a:pt x="82" y="19"/>
                  <a:pt x="83" y="20"/>
                  <a:pt x="83" y="21"/>
                </a:cubicBezTo>
                <a:cubicBezTo>
                  <a:pt x="83" y="21"/>
                  <a:pt x="83" y="22"/>
                  <a:pt x="83" y="23"/>
                </a:cubicBezTo>
                <a:cubicBezTo>
                  <a:pt x="82" y="23"/>
                  <a:pt x="82" y="24"/>
                  <a:pt x="82" y="24"/>
                </a:cubicBezTo>
                <a:cubicBezTo>
                  <a:pt x="82" y="24"/>
                  <a:pt x="81" y="24"/>
                  <a:pt x="81" y="25"/>
                </a:cubicBezTo>
                <a:cubicBezTo>
                  <a:pt x="81" y="25"/>
                  <a:pt x="81" y="24"/>
                  <a:pt x="80" y="24"/>
                </a:cubicBezTo>
                <a:cubicBezTo>
                  <a:pt x="80" y="24"/>
                  <a:pt x="79" y="25"/>
                  <a:pt x="79" y="25"/>
                </a:cubicBezTo>
                <a:cubicBezTo>
                  <a:pt x="79" y="25"/>
                  <a:pt x="79" y="25"/>
                  <a:pt x="79" y="26"/>
                </a:cubicBezTo>
                <a:cubicBezTo>
                  <a:pt x="79" y="26"/>
                  <a:pt x="78" y="27"/>
                  <a:pt x="77" y="27"/>
                </a:cubicBezTo>
                <a:cubicBezTo>
                  <a:pt x="77" y="27"/>
                  <a:pt x="76" y="26"/>
                  <a:pt x="75" y="26"/>
                </a:cubicBezTo>
                <a:cubicBezTo>
                  <a:pt x="75" y="26"/>
                  <a:pt x="74" y="25"/>
                  <a:pt x="74" y="25"/>
                </a:cubicBezTo>
                <a:cubicBezTo>
                  <a:pt x="73" y="25"/>
                  <a:pt x="72" y="24"/>
                  <a:pt x="71" y="25"/>
                </a:cubicBezTo>
                <a:cubicBezTo>
                  <a:pt x="71" y="25"/>
                  <a:pt x="71" y="25"/>
                  <a:pt x="70" y="25"/>
                </a:cubicBezTo>
                <a:cubicBezTo>
                  <a:pt x="70" y="24"/>
                  <a:pt x="70" y="25"/>
                  <a:pt x="69" y="25"/>
                </a:cubicBezTo>
                <a:cubicBezTo>
                  <a:pt x="68" y="25"/>
                  <a:pt x="66" y="23"/>
                  <a:pt x="65" y="24"/>
                </a:cubicBezTo>
                <a:cubicBezTo>
                  <a:pt x="65" y="24"/>
                  <a:pt x="65" y="25"/>
                  <a:pt x="64" y="24"/>
                </a:cubicBezTo>
                <a:cubicBezTo>
                  <a:pt x="64" y="24"/>
                  <a:pt x="63" y="23"/>
                  <a:pt x="63" y="24"/>
                </a:cubicBezTo>
                <a:cubicBezTo>
                  <a:pt x="63" y="25"/>
                  <a:pt x="62" y="24"/>
                  <a:pt x="62" y="25"/>
                </a:cubicBezTo>
                <a:cubicBezTo>
                  <a:pt x="62" y="25"/>
                  <a:pt x="61" y="25"/>
                  <a:pt x="61" y="24"/>
                </a:cubicBezTo>
                <a:cubicBezTo>
                  <a:pt x="60" y="24"/>
                  <a:pt x="59" y="24"/>
                  <a:pt x="58" y="24"/>
                </a:cubicBezTo>
                <a:cubicBezTo>
                  <a:pt x="57" y="24"/>
                  <a:pt x="57" y="24"/>
                  <a:pt x="56" y="23"/>
                </a:cubicBezTo>
                <a:cubicBezTo>
                  <a:pt x="55" y="23"/>
                  <a:pt x="55" y="23"/>
                  <a:pt x="54" y="23"/>
                </a:cubicBezTo>
                <a:cubicBezTo>
                  <a:pt x="53" y="24"/>
                  <a:pt x="53" y="23"/>
                  <a:pt x="53" y="23"/>
                </a:cubicBezTo>
                <a:cubicBezTo>
                  <a:pt x="52" y="22"/>
                  <a:pt x="51" y="22"/>
                  <a:pt x="51" y="22"/>
                </a:cubicBezTo>
                <a:cubicBezTo>
                  <a:pt x="50" y="21"/>
                  <a:pt x="50" y="20"/>
                  <a:pt x="49" y="20"/>
                </a:cubicBezTo>
                <a:cubicBezTo>
                  <a:pt x="49" y="19"/>
                  <a:pt x="48" y="18"/>
                  <a:pt x="47" y="18"/>
                </a:cubicBezTo>
                <a:cubicBezTo>
                  <a:pt x="45" y="18"/>
                  <a:pt x="43" y="18"/>
                  <a:pt x="42" y="18"/>
                </a:cubicBezTo>
                <a:cubicBezTo>
                  <a:pt x="41" y="17"/>
                  <a:pt x="40" y="17"/>
                  <a:pt x="39" y="17"/>
                </a:cubicBezTo>
                <a:cubicBezTo>
                  <a:pt x="39" y="18"/>
                  <a:pt x="38" y="18"/>
                  <a:pt x="37" y="17"/>
                </a:cubicBezTo>
                <a:cubicBezTo>
                  <a:pt x="36" y="17"/>
                  <a:pt x="36" y="14"/>
                  <a:pt x="34" y="16"/>
                </a:cubicBezTo>
                <a:cubicBezTo>
                  <a:pt x="34" y="16"/>
                  <a:pt x="34" y="16"/>
                  <a:pt x="34" y="17"/>
                </a:cubicBezTo>
                <a:cubicBezTo>
                  <a:pt x="33" y="17"/>
                  <a:pt x="33" y="16"/>
                  <a:pt x="32" y="16"/>
                </a:cubicBezTo>
                <a:cubicBezTo>
                  <a:pt x="32" y="15"/>
                  <a:pt x="31" y="15"/>
                  <a:pt x="30" y="15"/>
                </a:cubicBezTo>
                <a:cubicBezTo>
                  <a:pt x="30" y="14"/>
                  <a:pt x="30" y="15"/>
                  <a:pt x="30" y="16"/>
                </a:cubicBezTo>
                <a:cubicBezTo>
                  <a:pt x="30" y="17"/>
                  <a:pt x="27" y="16"/>
                  <a:pt x="27" y="16"/>
                </a:cubicBezTo>
                <a:cubicBezTo>
                  <a:pt x="26" y="16"/>
                  <a:pt x="26" y="17"/>
                  <a:pt x="26" y="17"/>
                </a:cubicBezTo>
                <a:cubicBezTo>
                  <a:pt x="25" y="17"/>
                  <a:pt x="25" y="18"/>
                  <a:pt x="25" y="18"/>
                </a:cubicBezTo>
                <a:cubicBezTo>
                  <a:pt x="25" y="18"/>
                  <a:pt x="24" y="18"/>
                  <a:pt x="24" y="19"/>
                </a:cubicBezTo>
                <a:cubicBezTo>
                  <a:pt x="24" y="19"/>
                  <a:pt x="22" y="19"/>
                  <a:pt x="22" y="19"/>
                </a:cubicBezTo>
                <a:cubicBezTo>
                  <a:pt x="21" y="19"/>
                  <a:pt x="21" y="20"/>
                  <a:pt x="20" y="21"/>
                </a:cubicBezTo>
                <a:cubicBezTo>
                  <a:pt x="19" y="21"/>
                  <a:pt x="20" y="21"/>
                  <a:pt x="19" y="21"/>
                </a:cubicBezTo>
                <a:cubicBezTo>
                  <a:pt x="19" y="22"/>
                  <a:pt x="18" y="22"/>
                  <a:pt x="18" y="22"/>
                </a:cubicBezTo>
                <a:cubicBezTo>
                  <a:pt x="17" y="22"/>
                  <a:pt x="17" y="22"/>
                  <a:pt x="16" y="23"/>
                </a:cubicBezTo>
                <a:cubicBezTo>
                  <a:pt x="16" y="23"/>
                  <a:pt x="15" y="23"/>
                  <a:pt x="14" y="23"/>
                </a:cubicBezTo>
                <a:cubicBezTo>
                  <a:pt x="14" y="24"/>
                  <a:pt x="15" y="24"/>
                  <a:pt x="14" y="24"/>
                </a:cubicBezTo>
                <a:cubicBezTo>
                  <a:pt x="14" y="25"/>
                  <a:pt x="11" y="24"/>
                  <a:pt x="13" y="26"/>
                </a:cubicBezTo>
                <a:cubicBezTo>
                  <a:pt x="13" y="26"/>
                  <a:pt x="14" y="27"/>
                  <a:pt x="13" y="27"/>
                </a:cubicBezTo>
                <a:cubicBezTo>
                  <a:pt x="12" y="27"/>
                  <a:pt x="12" y="27"/>
                  <a:pt x="12" y="28"/>
                </a:cubicBezTo>
                <a:cubicBezTo>
                  <a:pt x="11" y="28"/>
                  <a:pt x="11" y="28"/>
                  <a:pt x="10" y="28"/>
                </a:cubicBezTo>
                <a:cubicBezTo>
                  <a:pt x="10" y="28"/>
                  <a:pt x="10" y="28"/>
                  <a:pt x="10" y="28"/>
                </a:cubicBezTo>
                <a:cubicBezTo>
                  <a:pt x="11" y="29"/>
                  <a:pt x="9" y="30"/>
                  <a:pt x="8" y="29"/>
                </a:cubicBezTo>
                <a:cubicBezTo>
                  <a:pt x="8" y="29"/>
                  <a:pt x="8" y="28"/>
                  <a:pt x="7" y="29"/>
                </a:cubicBezTo>
                <a:cubicBezTo>
                  <a:pt x="7" y="29"/>
                  <a:pt x="8" y="30"/>
                  <a:pt x="8" y="30"/>
                </a:cubicBezTo>
                <a:cubicBezTo>
                  <a:pt x="7" y="30"/>
                  <a:pt x="7" y="30"/>
                  <a:pt x="6" y="30"/>
                </a:cubicBezTo>
                <a:cubicBezTo>
                  <a:pt x="6" y="30"/>
                  <a:pt x="6" y="29"/>
                  <a:pt x="5" y="29"/>
                </a:cubicBezTo>
                <a:cubicBezTo>
                  <a:pt x="4" y="30"/>
                  <a:pt x="3" y="29"/>
                  <a:pt x="2" y="30"/>
                </a:cubicBezTo>
                <a:cubicBezTo>
                  <a:pt x="1" y="30"/>
                  <a:pt x="2" y="31"/>
                  <a:pt x="2" y="31"/>
                </a:cubicBezTo>
                <a:cubicBezTo>
                  <a:pt x="2" y="32"/>
                  <a:pt x="1" y="33"/>
                  <a:pt x="0" y="33"/>
                </a:cubicBezTo>
                <a:cubicBezTo>
                  <a:pt x="0" y="33"/>
                  <a:pt x="1" y="33"/>
                  <a:pt x="1" y="34"/>
                </a:cubicBezTo>
                <a:cubicBezTo>
                  <a:pt x="1" y="34"/>
                  <a:pt x="1" y="34"/>
                  <a:pt x="1" y="35"/>
                </a:cubicBezTo>
                <a:cubicBezTo>
                  <a:pt x="2" y="35"/>
                  <a:pt x="0" y="35"/>
                  <a:pt x="1" y="36"/>
                </a:cubicBezTo>
                <a:cubicBezTo>
                  <a:pt x="1" y="36"/>
                  <a:pt x="1" y="36"/>
                  <a:pt x="1" y="36"/>
                </a:cubicBezTo>
                <a:cubicBezTo>
                  <a:pt x="1" y="36"/>
                  <a:pt x="2" y="37"/>
                  <a:pt x="2" y="37"/>
                </a:cubicBezTo>
                <a:cubicBezTo>
                  <a:pt x="2" y="37"/>
                  <a:pt x="3" y="37"/>
                  <a:pt x="3" y="37"/>
                </a:cubicBezTo>
                <a:cubicBezTo>
                  <a:pt x="4" y="37"/>
                  <a:pt x="5" y="38"/>
                  <a:pt x="4" y="38"/>
                </a:cubicBezTo>
                <a:cubicBezTo>
                  <a:pt x="3" y="39"/>
                  <a:pt x="5" y="39"/>
                  <a:pt x="5" y="40"/>
                </a:cubicBezTo>
                <a:cubicBezTo>
                  <a:pt x="6" y="40"/>
                  <a:pt x="7" y="40"/>
                  <a:pt x="8" y="41"/>
                </a:cubicBezTo>
                <a:cubicBezTo>
                  <a:pt x="9" y="41"/>
                  <a:pt x="10" y="41"/>
                  <a:pt x="10" y="42"/>
                </a:cubicBezTo>
                <a:cubicBezTo>
                  <a:pt x="11" y="43"/>
                  <a:pt x="11" y="43"/>
                  <a:pt x="13" y="44"/>
                </a:cubicBezTo>
                <a:cubicBezTo>
                  <a:pt x="13" y="44"/>
                  <a:pt x="14" y="44"/>
                  <a:pt x="15" y="45"/>
                </a:cubicBezTo>
                <a:cubicBezTo>
                  <a:pt x="16" y="45"/>
                  <a:pt x="16" y="45"/>
                  <a:pt x="17" y="45"/>
                </a:cubicBezTo>
                <a:cubicBezTo>
                  <a:pt x="18" y="45"/>
                  <a:pt x="18" y="45"/>
                  <a:pt x="18" y="45"/>
                </a:cubicBezTo>
                <a:cubicBezTo>
                  <a:pt x="19" y="45"/>
                  <a:pt x="20" y="45"/>
                  <a:pt x="20" y="45"/>
                </a:cubicBezTo>
                <a:cubicBezTo>
                  <a:pt x="20" y="45"/>
                  <a:pt x="20" y="46"/>
                  <a:pt x="21" y="46"/>
                </a:cubicBezTo>
                <a:cubicBezTo>
                  <a:pt x="21" y="46"/>
                  <a:pt x="21" y="46"/>
                  <a:pt x="22" y="46"/>
                </a:cubicBezTo>
                <a:cubicBezTo>
                  <a:pt x="22" y="47"/>
                  <a:pt x="23" y="47"/>
                  <a:pt x="23" y="47"/>
                </a:cubicBezTo>
                <a:cubicBezTo>
                  <a:pt x="24" y="47"/>
                  <a:pt x="24" y="47"/>
                  <a:pt x="24" y="46"/>
                </a:cubicBezTo>
                <a:cubicBezTo>
                  <a:pt x="24" y="46"/>
                  <a:pt x="25" y="47"/>
                  <a:pt x="25" y="47"/>
                </a:cubicBezTo>
                <a:cubicBezTo>
                  <a:pt x="26" y="48"/>
                  <a:pt x="27" y="48"/>
                  <a:pt x="28" y="49"/>
                </a:cubicBezTo>
                <a:cubicBezTo>
                  <a:pt x="29" y="49"/>
                  <a:pt x="28" y="49"/>
                  <a:pt x="28" y="49"/>
                </a:cubicBezTo>
                <a:cubicBezTo>
                  <a:pt x="29" y="50"/>
                  <a:pt x="29" y="50"/>
                  <a:pt x="30" y="51"/>
                </a:cubicBezTo>
                <a:cubicBezTo>
                  <a:pt x="31" y="52"/>
                  <a:pt x="31" y="53"/>
                  <a:pt x="32" y="54"/>
                </a:cubicBezTo>
                <a:cubicBezTo>
                  <a:pt x="33" y="54"/>
                  <a:pt x="34" y="56"/>
                  <a:pt x="35" y="56"/>
                </a:cubicBezTo>
                <a:cubicBezTo>
                  <a:pt x="36" y="56"/>
                  <a:pt x="37" y="57"/>
                  <a:pt x="37" y="58"/>
                </a:cubicBezTo>
                <a:cubicBezTo>
                  <a:pt x="37" y="58"/>
                  <a:pt x="38" y="58"/>
                  <a:pt x="38" y="59"/>
                </a:cubicBezTo>
                <a:cubicBezTo>
                  <a:pt x="38" y="59"/>
                  <a:pt x="38" y="60"/>
                  <a:pt x="39" y="60"/>
                </a:cubicBezTo>
                <a:cubicBezTo>
                  <a:pt x="39" y="61"/>
                  <a:pt x="39" y="61"/>
                  <a:pt x="39" y="62"/>
                </a:cubicBezTo>
                <a:cubicBezTo>
                  <a:pt x="39" y="62"/>
                  <a:pt x="39" y="63"/>
                  <a:pt x="39" y="64"/>
                </a:cubicBezTo>
                <a:cubicBezTo>
                  <a:pt x="39" y="64"/>
                  <a:pt x="40" y="65"/>
                  <a:pt x="40" y="65"/>
                </a:cubicBezTo>
                <a:cubicBezTo>
                  <a:pt x="42" y="67"/>
                  <a:pt x="40" y="67"/>
                  <a:pt x="40" y="69"/>
                </a:cubicBezTo>
                <a:cubicBezTo>
                  <a:pt x="40" y="69"/>
                  <a:pt x="40" y="70"/>
                  <a:pt x="40" y="71"/>
                </a:cubicBezTo>
                <a:cubicBezTo>
                  <a:pt x="40" y="72"/>
                  <a:pt x="41" y="72"/>
                  <a:pt x="41" y="73"/>
                </a:cubicBezTo>
                <a:cubicBezTo>
                  <a:pt x="42" y="73"/>
                  <a:pt x="42" y="74"/>
                  <a:pt x="43" y="74"/>
                </a:cubicBezTo>
                <a:cubicBezTo>
                  <a:pt x="43" y="74"/>
                  <a:pt x="43" y="75"/>
                  <a:pt x="43" y="75"/>
                </a:cubicBezTo>
                <a:cubicBezTo>
                  <a:pt x="43" y="75"/>
                  <a:pt x="43" y="75"/>
                  <a:pt x="44" y="75"/>
                </a:cubicBezTo>
                <a:cubicBezTo>
                  <a:pt x="44" y="75"/>
                  <a:pt x="45" y="75"/>
                  <a:pt x="46" y="75"/>
                </a:cubicBezTo>
                <a:cubicBezTo>
                  <a:pt x="46" y="76"/>
                  <a:pt x="47" y="76"/>
                  <a:pt x="47" y="76"/>
                </a:cubicBezTo>
                <a:cubicBezTo>
                  <a:pt x="48" y="76"/>
                  <a:pt x="48" y="76"/>
                  <a:pt x="49" y="76"/>
                </a:cubicBezTo>
                <a:cubicBezTo>
                  <a:pt x="49" y="76"/>
                  <a:pt x="50" y="77"/>
                  <a:pt x="50" y="77"/>
                </a:cubicBezTo>
                <a:cubicBezTo>
                  <a:pt x="52" y="77"/>
                  <a:pt x="54" y="76"/>
                  <a:pt x="55" y="77"/>
                </a:cubicBezTo>
                <a:cubicBezTo>
                  <a:pt x="57" y="78"/>
                  <a:pt x="59" y="77"/>
                  <a:pt x="61" y="77"/>
                </a:cubicBezTo>
                <a:cubicBezTo>
                  <a:pt x="62" y="77"/>
                  <a:pt x="62" y="77"/>
                  <a:pt x="63" y="77"/>
                </a:cubicBezTo>
                <a:cubicBezTo>
                  <a:pt x="64" y="77"/>
                  <a:pt x="65" y="77"/>
                  <a:pt x="66" y="78"/>
                </a:cubicBezTo>
                <a:cubicBezTo>
                  <a:pt x="67" y="78"/>
                  <a:pt x="67" y="78"/>
                  <a:pt x="68" y="78"/>
                </a:cubicBezTo>
                <a:cubicBezTo>
                  <a:pt x="69" y="78"/>
                  <a:pt x="70" y="79"/>
                  <a:pt x="70" y="79"/>
                </a:cubicBezTo>
                <a:cubicBezTo>
                  <a:pt x="71" y="80"/>
                  <a:pt x="72" y="81"/>
                  <a:pt x="73" y="81"/>
                </a:cubicBezTo>
                <a:cubicBezTo>
                  <a:pt x="73" y="81"/>
                  <a:pt x="74" y="81"/>
                  <a:pt x="75" y="81"/>
                </a:cubicBezTo>
                <a:cubicBezTo>
                  <a:pt x="75" y="81"/>
                  <a:pt x="76" y="82"/>
                  <a:pt x="76" y="82"/>
                </a:cubicBezTo>
                <a:cubicBezTo>
                  <a:pt x="77" y="83"/>
                  <a:pt x="77" y="83"/>
                  <a:pt x="78" y="83"/>
                </a:cubicBezTo>
                <a:cubicBezTo>
                  <a:pt x="79" y="83"/>
                  <a:pt x="80" y="84"/>
                  <a:pt x="80" y="84"/>
                </a:cubicBezTo>
                <a:cubicBezTo>
                  <a:pt x="81" y="85"/>
                  <a:pt x="82" y="85"/>
                  <a:pt x="83" y="85"/>
                </a:cubicBezTo>
                <a:cubicBezTo>
                  <a:pt x="83" y="86"/>
                  <a:pt x="87" y="85"/>
                  <a:pt x="87" y="85"/>
                </a:cubicBezTo>
                <a:cubicBezTo>
                  <a:pt x="87" y="86"/>
                  <a:pt x="87" y="88"/>
                  <a:pt x="88" y="88"/>
                </a:cubicBezTo>
                <a:cubicBezTo>
                  <a:pt x="90" y="89"/>
                  <a:pt x="90" y="90"/>
                  <a:pt x="91" y="91"/>
                </a:cubicBezTo>
                <a:cubicBezTo>
                  <a:pt x="92" y="92"/>
                  <a:pt x="94" y="94"/>
                  <a:pt x="95" y="95"/>
                </a:cubicBezTo>
                <a:cubicBezTo>
                  <a:pt x="96" y="97"/>
                  <a:pt x="97" y="97"/>
                  <a:pt x="98" y="98"/>
                </a:cubicBezTo>
                <a:cubicBezTo>
                  <a:pt x="99" y="99"/>
                  <a:pt x="101" y="100"/>
                  <a:pt x="101" y="101"/>
                </a:cubicBezTo>
                <a:cubicBezTo>
                  <a:pt x="102" y="101"/>
                  <a:pt x="102" y="102"/>
                  <a:pt x="102" y="102"/>
                </a:cubicBezTo>
                <a:cubicBezTo>
                  <a:pt x="102" y="102"/>
                  <a:pt x="104" y="102"/>
                  <a:pt x="104" y="102"/>
                </a:cubicBezTo>
                <a:cubicBezTo>
                  <a:pt x="105" y="102"/>
                  <a:pt x="106" y="102"/>
                  <a:pt x="107" y="102"/>
                </a:cubicBezTo>
                <a:cubicBezTo>
                  <a:pt x="108" y="101"/>
                  <a:pt x="109" y="101"/>
                  <a:pt x="109" y="101"/>
                </a:cubicBezTo>
                <a:cubicBezTo>
                  <a:pt x="111" y="102"/>
                  <a:pt x="113" y="102"/>
                  <a:pt x="115" y="102"/>
                </a:cubicBezTo>
                <a:cubicBezTo>
                  <a:pt x="117" y="103"/>
                  <a:pt x="119" y="103"/>
                  <a:pt x="121" y="103"/>
                </a:cubicBezTo>
                <a:cubicBezTo>
                  <a:pt x="123" y="103"/>
                  <a:pt x="125" y="103"/>
                  <a:pt x="127" y="104"/>
                </a:cubicBezTo>
                <a:cubicBezTo>
                  <a:pt x="128" y="104"/>
                  <a:pt x="129" y="104"/>
                  <a:pt x="130" y="104"/>
                </a:cubicBezTo>
                <a:cubicBezTo>
                  <a:pt x="131" y="104"/>
                  <a:pt x="132" y="103"/>
                  <a:pt x="132" y="103"/>
                </a:cubicBezTo>
                <a:cubicBezTo>
                  <a:pt x="134" y="102"/>
                  <a:pt x="136" y="103"/>
                  <a:pt x="138" y="103"/>
                </a:cubicBezTo>
                <a:cubicBezTo>
                  <a:pt x="140" y="103"/>
                  <a:pt x="142" y="104"/>
                  <a:pt x="144" y="104"/>
                </a:cubicBezTo>
                <a:cubicBezTo>
                  <a:pt x="146" y="104"/>
                  <a:pt x="148" y="104"/>
                  <a:pt x="149" y="104"/>
                </a:cubicBezTo>
                <a:cubicBezTo>
                  <a:pt x="151" y="105"/>
                  <a:pt x="152" y="106"/>
                  <a:pt x="154" y="107"/>
                </a:cubicBezTo>
                <a:cubicBezTo>
                  <a:pt x="155" y="108"/>
                  <a:pt x="157" y="109"/>
                  <a:pt x="159" y="109"/>
                </a:cubicBezTo>
                <a:cubicBezTo>
                  <a:pt x="161" y="109"/>
                  <a:pt x="163" y="109"/>
                  <a:pt x="165" y="110"/>
                </a:cubicBezTo>
                <a:cubicBezTo>
                  <a:pt x="166" y="110"/>
                  <a:pt x="168" y="111"/>
                  <a:pt x="170" y="112"/>
                </a:cubicBezTo>
                <a:cubicBezTo>
                  <a:pt x="171" y="113"/>
                  <a:pt x="173" y="112"/>
                  <a:pt x="175" y="112"/>
                </a:cubicBezTo>
                <a:cubicBezTo>
                  <a:pt x="176" y="112"/>
                  <a:pt x="177" y="111"/>
                  <a:pt x="178" y="111"/>
                </a:cubicBezTo>
                <a:cubicBezTo>
                  <a:pt x="178" y="111"/>
                  <a:pt x="178" y="113"/>
                  <a:pt x="179" y="113"/>
                </a:cubicBezTo>
                <a:cubicBezTo>
                  <a:pt x="179" y="114"/>
                  <a:pt x="181" y="114"/>
                  <a:pt x="182" y="114"/>
                </a:cubicBezTo>
                <a:cubicBezTo>
                  <a:pt x="183" y="114"/>
                  <a:pt x="183" y="114"/>
                  <a:pt x="183" y="114"/>
                </a:cubicBezTo>
                <a:cubicBezTo>
                  <a:pt x="184" y="115"/>
                  <a:pt x="184" y="114"/>
                  <a:pt x="184" y="113"/>
                </a:cubicBezTo>
                <a:cubicBezTo>
                  <a:pt x="185" y="113"/>
                  <a:pt x="186" y="112"/>
                  <a:pt x="186" y="112"/>
                </a:cubicBezTo>
                <a:cubicBezTo>
                  <a:pt x="187" y="111"/>
                  <a:pt x="188" y="111"/>
                  <a:pt x="189" y="110"/>
                </a:cubicBezTo>
                <a:cubicBezTo>
                  <a:pt x="190" y="110"/>
                  <a:pt x="192" y="109"/>
                  <a:pt x="193" y="108"/>
                </a:cubicBezTo>
                <a:cubicBezTo>
                  <a:pt x="197" y="106"/>
                  <a:pt x="200" y="106"/>
                  <a:pt x="204" y="106"/>
                </a:cubicBezTo>
                <a:cubicBezTo>
                  <a:pt x="205" y="106"/>
                  <a:pt x="206" y="105"/>
                  <a:pt x="207" y="105"/>
                </a:cubicBezTo>
                <a:cubicBezTo>
                  <a:pt x="208" y="105"/>
                  <a:pt x="209" y="105"/>
                  <a:pt x="209" y="105"/>
                </a:cubicBezTo>
                <a:cubicBezTo>
                  <a:pt x="210" y="105"/>
                  <a:pt x="211" y="105"/>
                  <a:pt x="211" y="105"/>
                </a:cubicBezTo>
                <a:cubicBezTo>
                  <a:pt x="212" y="105"/>
                  <a:pt x="213" y="106"/>
                  <a:pt x="214" y="105"/>
                </a:cubicBezTo>
                <a:cubicBezTo>
                  <a:pt x="215" y="105"/>
                  <a:pt x="215" y="105"/>
                  <a:pt x="216" y="105"/>
                </a:cubicBezTo>
                <a:cubicBezTo>
                  <a:pt x="217" y="105"/>
                  <a:pt x="218" y="105"/>
                  <a:pt x="219" y="105"/>
                </a:cubicBezTo>
                <a:cubicBezTo>
                  <a:pt x="219" y="105"/>
                  <a:pt x="220" y="104"/>
                  <a:pt x="220" y="104"/>
                </a:cubicBezTo>
                <a:cubicBezTo>
                  <a:pt x="221" y="104"/>
                  <a:pt x="222" y="103"/>
                  <a:pt x="222" y="103"/>
                </a:cubicBezTo>
                <a:cubicBezTo>
                  <a:pt x="224" y="103"/>
                  <a:pt x="225" y="103"/>
                  <a:pt x="226" y="101"/>
                </a:cubicBezTo>
                <a:cubicBezTo>
                  <a:pt x="226" y="100"/>
                  <a:pt x="227" y="100"/>
                  <a:pt x="227" y="99"/>
                </a:cubicBezTo>
                <a:cubicBezTo>
                  <a:pt x="227" y="99"/>
                  <a:pt x="227" y="98"/>
                  <a:pt x="227" y="97"/>
                </a:cubicBezTo>
                <a:cubicBezTo>
                  <a:pt x="227" y="97"/>
                  <a:pt x="228" y="96"/>
                  <a:pt x="228" y="95"/>
                </a:cubicBezTo>
                <a:cubicBezTo>
                  <a:pt x="229" y="95"/>
                  <a:pt x="230" y="95"/>
                  <a:pt x="230" y="94"/>
                </a:cubicBezTo>
                <a:cubicBezTo>
                  <a:pt x="231" y="94"/>
                  <a:pt x="231" y="94"/>
                  <a:pt x="232" y="94"/>
                </a:cubicBezTo>
                <a:cubicBezTo>
                  <a:pt x="232" y="94"/>
                  <a:pt x="232" y="93"/>
                  <a:pt x="233" y="92"/>
                </a:cubicBezTo>
                <a:cubicBezTo>
                  <a:pt x="233" y="92"/>
                  <a:pt x="234" y="92"/>
                  <a:pt x="234" y="92"/>
                </a:cubicBezTo>
                <a:cubicBezTo>
                  <a:pt x="235" y="91"/>
                  <a:pt x="234" y="91"/>
                  <a:pt x="234" y="90"/>
                </a:cubicBezTo>
                <a:cubicBezTo>
                  <a:pt x="233" y="89"/>
                  <a:pt x="231" y="88"/>
                  <a:pt x="230" y="88"/>
                </a:cubicBezTo>
                <a:cubicBezTo>
                  <a:pt x="229" y="87"/>
                  <a:pt x="228" y="86"/>
                  <a:pt x="228" y="86"/>
                </a:cubicBezTo>
                <a:cubicBezTo>
                  <a:pt x="227" y="85"/>
                  <a:pt x="227" y="85"/>
                  <a:pt x="226" y="85"/>
                </a:cubicBezTo>
                <a:cubicBezTo>
                  <a:pt x="226" y="84"/>
                  <a:pt x="226" y="83"/>
                  <a:pt x="226" y="83"/>
                </a:cubicBezTo>
                <a:cubicBezTo>
                  <a:pt x="226" y="82"/>
                  <a:pt x="226" y="82"/>
                  <a:pt x="226" y="81"/>
                </a:cubicBezTo>
                <a:cubicBezTo>
                  <a:pt x="226" y="80"/>
                  <a:pt x="226" y="78"/>
                  <a:pt x="227" y="77"/>
                </a:cubicBezTo>
                <a:cubicBezTo>
                  <a:pt x="227" y="76"/>
                  <a:pt x="229" y="77"/>
                  <a:pt x="230" y="77"/>
                </a:cubicBezTo>
                <a:cubicBezTo>
                  <a:pt x="232" y="77"/>
                  <a:pt x="233" y="78"/>
                  <a:pt x="235" y="79"/>
                </a:cubicBezTo>
                <a:cubicBezTo>
                  <a:pt x="236" y="79"/>
                  <a:pt x="238" y="80"/>
                  <a:pt x="240" y="80"/>
                </a:cubicBezTo>
                <a:cubicBezTo>
                  <a:pt x="241" y="80"/>
                  <a:pt x="243" y="81"/>
                  <a:pt x="244" y="79"/>
                </a:cubicBezTo>
                <a:cubicBezTo>
                  <a:pt x="245" y="79"/>
                  <a:pt x="245" y="78"/>
                  <a:pt x="245" y="78"/>
                </a:cubicBezTo>
                <a:cubicBezTo>
                  <a:pt x="246" y="78"/>
                  <a:pt x="247" y="78"/>
                  <a:pt x="247" y="77"/>
                </a:cubicBezTo>
                <a:cubicBezTo>
                  <a:pt x="246" y="77"/>
                  <a:pt x="248" y="76"/>
                  <a:pt x="248" y="76"/>
                </a:cubicBezTo>
                <a:cubicBezTo>
                  <a:pt x="248" y="75"/>
                  <a:pt x="248" y="74"/>
                  <a:pt x="248" y="74"/>
                </a:cubicBezTo>
                <a:cubicBezTo>
                  <a:pt x="248" y="72"/>
                  <a:pt x="251" y="73"/>
                  <a:pt x="252" y="73"/>
                </a:cubicBezTo>
                <a:cubicBezTo>
                  <a:pt x="253" y="73"/>
                  <a:pt x="255" y="73"/>
                  <a:pt x="257" y="73"/>
                </a:cubicBezTo>
                <a:cubicBezTo>
                  <a:pt x="258" y="72"/>
                  <a:pt x="258" y="71"/>
                  <a:pt x="259" y="70"/>
                </a:cubicBezTo>
                <a:cubicBezTo>
                  <a:pt x="259" y="70"/>
                  <a:pt x="260" y="70"/>
                  <a:pt x="261" y="70"/>
                </a:cubicBezTo>
                <a:cubicBezTo>
                  <a:pt x="261" y="69"/>
                  <a:pt x="260" y="68"/>
                  <a:pt x="260" y="68"/>
                </a:cubicBezTo>
                <a:cubicBezTo>
                  <a:pt x="259" y="67"/>
                  <a:pt x="260" y="65"/>
                  <a:pt x="260" y="65"/>
                </a:cubicBezTo>
                <a:cubicBezTo>
                  <a:pt x="261" y="64"/>
                  <a:pt x="260" y="64"/>
                  <a:pt x="261" y="63"/>
                </a:cubicBezTo>
                <a:cubicBezTo>
                  <a:pt x="261" y="63"/>
                  <a:pt x="261" y="63"/>
                  <a:pt x="262" y="63"/>
                </a:cubicBezTo>
                <a:cubicBezTo>
                  <a:pt x="262" y="63"/>
                  <a:pt x="262" y="62"/>
                  <a:pt x="263" y="63"/>
                </a:cubicBezTo>
                <a:cubicBezTo>
                  <a:pt x="264" y="63"/>
                  <a:pt x="267" y="63"/>
                  <a:pt x="267" y="62"/>
                </a:cubicBezTo>
                <a:cubicBezTo>
                  <a:pt x="267" y="62"/>
                  <a:pt x="267" y="61"/>
                  <a:pt x="266" y="61"/>
                </a:cubicBezTo>
                <a:cubicBezTo>
                  <a:pt x="266" y="60"/>
                  <a:pt x="267" y="60"/>
                  <a:pt x="267" y="60"/>
                </a:cubicBezTo>
                <a:cubicBezTo>
                  <a:pt x="268" y="60"/>
                  <a:pt x="270" y="62"/>
                  <a:pt x="270" y="60"/>
                </a:cubicBezTo>
                <a:cubicBezTo>
                  <a:pt x="270" y="60"/>
                  <a:pt x="271" y="60"/>
                  <a:pt x="272" y="59"/>
                </a:cubicBezTo>
                <a:cubicBezTo>
                  <a:pt x="272" y="59"/>
                  <a:pt x="273" y="59"/>
                  <a:pt x="273" y="59"/>
                </a:cubicBezTo>
                <a:cubicBezTo>
                  <a:pt x="274" y="59"/>
                  <a:pt x="274" y="59"/>
                  <a:pt x="275" y="59"/>
                </a:cubicBezTo>
                <a:cubicBezTo>
                  <a:pt x="275" y="59"/>
                  <a:pt x="277" y="59"/>
                  <a:pt x="277" y="59"/>
                </a:cubicBezTo>
                <a:cubicBezTo>
                  <a:pt x="277" y="59"/>
                  <a:pt x="277" y="59"/>
                  <a:pt x="277" y="58"/>
                </a:cubicBezTo>
                <a:cubicBezTo>
                  <a:pt x="278" y="58"/>
                  <a:pt x="278" y="59"/>
                  <a:pt x="278" y="59"/>
                </a:cubicBezTo>
                <a:cubicBezTo>
                  <a:pt x="279" y="59"/>
                  <a:pt x="279" y="58"/>
                  <a:pt x="279" y="59"/>
                </a:cubicBezTo>
                <a:cubicBezTo>
                  <a:pt x="279" y="59"/>
                  <a:pt x="280" y="59"/>
                  <a:pt x="280" y="59"/>
                </a:cubicBezTo>
                <a:cubicBezTo>
                  <a:pt x="281" y="60"/>
                  <a:pt x="282" y="60"/>
                  <a:pt x="283" y="60"/>
                </a:cubicBezTo>
                <a:cubicBezTo>
                  <a:pt x="284" y="60"/>
                  <a:pt x="285" y="61"/>
                  <a:pt x="286" y="60"/>
                </a:cubicBezTo>
                <a:cubicBezTo>
                  <a:pt x="286" y="60"/>
                  <a:pt x="286" y="59"/>
                  <a:pt x="286" y="59"/>
                </a:cubicBezTo>
                <a:cubicBezTo>
                  <a:pt x="287" y="60"/>
                  <a:pt x="287" y="60"/>
                  <a:pt x="287" y="59"/>
                </a:cubicBezTo>
                <a:cubicBezTo>
                  <a:pt x="287" y="59"/>
                  <a:pt x="287" y="58"/>
                  <a:pt x="286" y="5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5" name="Monaco"/>
          <p:cNvSpPr>
            <a:spLocks/>
          </p:cNvSpPr>
          <p:nvPr/>
        </p:nvSpPr>
        <p:spPr bwMode="auto">
          <a:xfrm>
            <a:off x="6059072" y="2928002"/>
            <a:ext cx="4000" cy="1001"/>
          </a:xfrm>
          <a:custGeom>
            <a:avLst/>
            <a:gdLst/>
            <a:ahLst/>
            <a:cxnLst>
              <a:cxn ang="0">
                <a:pos x="0" y="0"/>
              </a:cxn>
              <a:cxn ang="0">
                <a:pos x="1" y="0"/>
              </a:cxn>
              <a:cxn ang="0">
                <a:pos x="1" y="0"/>
              </a:cxn>
              <a:cxn ang="0">
                <a:pos x="0" y="0"/>
              </a:cxn>
            </a:cxnLst>
            <a:rect l="0" t="0" r="r" b="b"/>
            <a:pathLst>
              <a:path w="1">
                <a:moveTo>
                  <a:pt x="0" y="0"/>
                </a:moveTo>
                <a:cubicBezTo>
                  <a:pt x="0" y="0"/>
                  <a:pt x="0" y="0"/>
                  <a:pt x="1" y="0"/>
                </a:cubicBezTo>
                <a:cubicBezTo>
                  <a:pt x="1" y="0"/>
                  <a:pt x="1" y="0"/>
                  <a:pt x="1" y="0"/>
                </a:cubicBezTo>
                <a:cubicBezTo>
                  <a:pt x="1" y="0"/>
                  <a:pt x="0" y="0"/>
                  <a:pt x="0"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6" name="Moldova"/>
          <p:cNvSpPr>
            <a:spLocks/>
          </p:cNvSpPr>
          <p:nvPr/>
        </p:nvSpPr>
        <p:spPr bwMode="auto">
          <a:xfrm>
            <a:off x="6655050" y="2743009"/>
            <a:ext cx="115996" cy="119995"/>
          </a:xfrm>
          <a:custGeom>
            <a:avLst/>
            <a:gdLst/>
            <a:ahLst/>
            <a:cxnLst>
              <a:cxn ang="0">
                <a:pos x="30" y="21"/>
              </a:cxn>
              <a:cxn ang="0">
                <a:pos x="30" y="18"/>
              </a:cxn>
              <a:cxn ang="0">
                <a:pos x="27" y="17"/>
              </a:cxn>
              <a:cxn ang="0">
                <a:pos x="27" y="15"/>
              </a:cxn>
              <a:cxn ang="0">
                <a:pos x="26" y="15"/>
              </a:cxn>
              <a:cxn ang="0">
                <a:pos x="26" y="12"/>
              </a:cxn>
              <a:cxn ang="0">
                <a:pos x="24" y="12"/>
              </a:cxn>
              <a:cxn ang="0">
                <a:pos x="23" y="11"/>
              </a:cxn>
              <a:cxn ang="0">
                <a:pos x="23" y="9"/>
              </a:cxn>
              <a:cxn ang="0">
                <a:pos x="23" y="7"/>
              </a:cxn>
              <a:cxn ang="0">
                <a:pos x="22" y="6"/>
              </a:cxn>
              <a:cxn ang="0">
                <a:pos x="21" y="6"/>
              </a:cxn>
              <a:cxn ang="0">
                <a:pos x="18" y="4"/>
              </a:cxn>
              <a:cxn ang="0">
                <a:pos x="16" y="3"/>
              </a:cxn>
              <a:cxn ang="0">
                <a:pos x="15" y="3"/>
              </a:cxn>
              <a:cxn ang="0">
                <a:pos x="13" y="3"/>
              </a:cxn>
              <a:cxn ang="0">
                <a:pos x="13" y="2"/>
              </a:cxn>
              <a:cxn ang="0">
                <a:pos x="10" y="1"/>
              </a:cxn>
              <a:cxn ang="0">
                <a:pos x="8" y="0"/>
              </a:cxn>
              <a:cxn ang="0">
                <a:pos x="6" y="1"/>
              </a:cxn>
              <a:cxn ang="0">
                <a:pos x="4" y="1"/>
              </a:cxn>
              <a:cxn ang="0">
                <a:pos x="2" y="1"/>
              </a:cxn>
              <a:cxn ang="0">
                <a:pos x="1" y="2"/>
              </a:cxn>
              <a:cxn ang="0">
                <a:pos x="2" y="3"/>
              </a:cxn>
              <a:cxn ang="0">
                <a:pos x="4" y="4"/>
              </a:cxn>
              <a:cxn ang="0">
                <a:pos x="5" y="6"/>
              </a:cxn>
              <a:cxn ang="0">
                <a:pos x="6" y="8"/>
              </a:cxn>
              <a:cxn ang="0">
                <a:pos x="8" y="10"/>
              </a:cxn>
              <a:cxn ang="0">
                <a:pos x="9" y="12"/>
              </a:cxn>
              <a:cxn ang="0">
                <a:pos x="12" y="15"/>
              </a:cxn>
              <a:cxn ang="0">
                <a:pos x="14" y="17"/>
              </a:cxn>
              <a:cxn ang="0">
                <a:pos x="16" y="20"/>
              </a:cxn>
              <a:cxn ang="0">
                <a:pos x="15" y="23"/>
              </a:cxn>
              <a:cxn ang="0">
                <a:pos x="15" y="25"/>
              </a:cxn>
              <a:cxn ang="0">
                <a:pos x="15" y="28"/>
              </a:cxn>
              <a:cxn ang="0">
                <a:pos x="16" y="31"/>
              </a:cxn>
              <a:cxn ang="0">
                <a:pos x="17" y="33"/>
              </a:cxn>
              <a:cxn ang="0">
                <a:pos x="19" y="30"/>
              </a:cxn>
              <a:cxn ang="0">
                <a:pos x="20" y="29"/>
              </a:cxn>
              <a:cxn ang="0">
                <a:pos x="21" y="28"/>
              </a:cxn>
              <a:cxn ang="0">
                <a:pos x="22" y="27"/>
              </a:cxn>
              <a:cxn ang="0">
                <a:pos x="23" y="24"/>
              </a:cxn>
              <a:cxn ang="0">
                <a:pos x="22" y="22"/>
              </a:cxn>
              <a:cxn ang="0">
                <a:pos x="24" y="22"/>
              </a:cxn>
              <a:cxn ang="0">
                <a:pos x="25" y="22"/>
              </a:cxn>
              <a:cxn ang="0">
                <a:pos x="26" y="21"/>
              </a:cxn>
              <a:cxn ang="0">
                <a:pos x="28" y="23"/>
              </a:cxn>
              <a:cxn ang="0">
                <a:pos x="29" y="22"/>
              </a:cxn>
              <a:cxn ang="0">
                <a:pos x="30" y="23"/>
              </a:cxn>
              <a:cxn ang="0">
                <a:pos x="32" y="22"/>
              </a:cxn>
            </a:cxnLst>
            <a:rect l="0" t="0" r="r" b="b"/>
            <a:pathLst>
              <a:path w="32" h="33">
                <a:moveTo>
                  <a:pt x="31" y="21"/>
                </a:moveTo>
                <a:cubicBezTo>
                  <a:pt x="31" y="21"/>
                  <a:pt x="30" y="21"/>
                  <a:pt x="30" y="21"/>
                </a:cubicBezTo>
                <a:cubicBezTo>
                  <a:pt x="30" y="21"/>
                  <a:pt x="30" y="21"/>
                  <a:pt x="30" y="20"/>
                </a:cubicBezTo>
                <a:cubicBezTo>
                  <a:pt x="31" y="20"/>
                  <a:pt x="30" y="19"/>
                  <a:pt x="30" y="18"/>
                </a:cubicBezTo>
                <a:cubicBezTo>
                  <a:pt x="30" y="18"/>
                  <a:pt x="29" y="17"/>
                  <a:pt x="29" y="17"/>
                </a:cubicBezTo>
                <a:cubicBezTo>
                  <a:pt x="28" y="17"/>
                  <a:pt x="28" y="17"/>
                  <a:pt x="27" y="17"/>
                </a:cubicBezTo>
                <a:cubicBezTo>
                  <a:pt x="27" y="17"/>
                  <a:pt x="27" y="17"/>
                  <a:pt x="27" y="16"/>
                </a:cubicBezTo>
                <a:cubicBezTo>
                  <a:pt x="27" y="16"/>
                  <a:pt x="27" y="16"/>
                  <a:pt x="27" y="15"/>
                </a:cubicBezTo>
                <a:cubicBezTo>
                  <a:pt x="27" y="15"/>
                  <a:pt x="26" y="15"/>
                  <a:pt x="26" y="15"/>
                </a:cubicBezTo>
                <a:cubicBezTo>
                  <a:pt x="26" y="15"/>
                  <a:pt x="26" y="15"/>
                  <a:pt x="26" y="15"/>
                </a:cubicBezTo>
                <a:cubicBezTo>
                  <a:pt x="27" y="14"/>
                  <a:pt x="26" y="14"/>
                  <a:pt x="26" y="13"/>
                </a:cubicBezTo>
                <a:cubicBezTo>
                  <a:pt x="27" y="13"/>
                  <a:pt x="27" y="12"/>
                  <a:pt x="26" y="12"/>
                </a:cubicBezTo>
                <a:cubicBezTo>
                  <a:pt x="26" y="12"/>
                  <a:pt x="25" y="13"/>
                  <a:pt x="25" y="13"/>
                </a:cubicBezTo>
                <a:cubicBezTo>
                  <a:pt x="25" y="12"/>
                  <a:pt x="25" y="12"/>
                  <a:pt x="24" y="12"/>
                </a:cubicBezTo>
                <a:cubicBezTo>
                  <a:pt x="24" y="12"/>
                  <a:pt x="24" y="11"/>
                  <a:pt x="24" y="11"/>
                </a:cubicBezTo>
                <a:cubicBezTo>
                  <a:pt x="23" y="11"/>
                  <a:pt x="23" y="11"/>
                  <a:pt x="23" y="11"/>
                </a:cubicBezTo>
                <a:cubicBezTo>
                  <a:pt x="22" y="10"/>
                  <a:pt x="23" y="10"/>
                  <a:pt x="23" y="9"/>
                </a:cubicBezTo>
                <a:cubicBezTo>
                  <a:pt x="23" y="9"/>
                  <a:pt x="23" y="9"/>
                  <a:pt x="23" y="9"/>
                </a:cubicBezTo>
                <a:cubicBezTo>
                  <a:pt x="23" y="8"/>
                  <a:pt x="23" y="8"/>
                  <a:pt x="23" y="8"/>
                </a:cubicBezTo>
                <a:cubicBezTo>
                  <a:pt x="23" y="8"/>
                  <a:pt x="23" y="7"/>
                  <a:pt x="23" y="7"/>
                </a:cubicBezTo>
                <a:cubicBezTo>
                  <a:pt x="23" y="7"/>
                  <a:pt x="23" y="7"/>
                  <a:pt x="23" y="7"/>
                </a:cubicBezTo>
                <a:cubicBezTo>
                  <a:pt x="23" y="6"/>
                  <a:pt x="22" y="6"/>
                  <a:pt x="22" y="6"/>
                </a:cubicBezTo>
                <a:cubicBezTo>
                  <a:pt x="22" y="6"/>
                  <a:pt x="22" y="6"/>
                  <a:pt x="22" y="5"/>
                </a:cubicBezTo>
                <a:cubicBezTo>
                  <a:pt x="22" y="5"/>
                  <a:pt x="21" y="6"/>
                  <a:pt x="21" y="6"/>
                </a:cubicBezTo>
                <a:cubicBezTo>
                  <a:pt x="20" y="6"/>
                  <a:pt x="20" y="5"/>
                  <a:pt x="19" y="5"/>
                </a:cubicBezTo>
                <a:cubicBezTo>
                  <a:pt x="19" y="4"/>
                  <a:pt x="19" y="4"/>
                  <a:pt x="18" y="4"/>
                </a:cubicBezTo>
                <a:cubicBezTo>
                  <a:pt x="17" y="3"/>
                  <a:pt x="16" y="4"/>
                  <a:pt x="16" y="4"/>
                </a:cubicBezTo>
                <a:cubicBezTo>
                  <a:pt x="16" y="5"/>
                  <a:pt x="16" y="4"/>
                  <a:pt x="16" y="3"/>
                </a:cubicBezTo>
                <a:cubicBezTo>
                  <a:pt x="15" y="3"/>
                  <a:pt x="15" y="4"/>
                  <a:pt x="15" y="4"/>
                </a:cubicBezTo>
                <a:cubicBezTo>
                  <a:pt x="15" y="4"/>
                  <a:pt x="15" y="3"/>
                  <a:pt x="15" y="3"/>
                </a:cubicBezTo>
                <a:cubicBezTo>
                  <a:pt x="15" y="3"/>
                  <a:pt x="14" y="3"/>
                  <a:pt x="14" y="3"/>
                </a:cubicBezTo>
                <a:cubicBezTo>
                  <a:pt x="14" y="3"/>
                  <a:pt x="14" y="3"/>
                  <a:pt x="13" y="3"/>
                </a:cubicBezTo>
                <a:cubicBezTo>
                  <a:pt x="13" y="2"/>
                  <a:pt x="13" y="3"/>
                  <a:pt x="13" y="3"/>
                </a:cubicBezTo>
                <a:cubicBezTo>
                  <a:pt x="12" y="3"/>
                  <a:pt x="13" y="2"/>
                  <a:pt x="13" y="2"/>
                </a:cubicBezTo>
                <a:cubicBezTo>
                  <a:pt x="13" y="2"/>
                  <a:pt x="12" y="2"/>
                  <a:pt x="12" y="2"/>
                </a:cubicBezTo>
                <a:cubicBezTo>
                  <a:pt x="11" y="2"/>
                  <a:pt x="11" y="1"/>
                  <a:pt x="10" y="1"/>
                </a:cubicBezTo>
                <a:cubicBezTo>
                  <a:pt x="10" y="0"/>
                  <a:pt x="9" y="1"/>
                  <a:pt x="9" y="1"/>
                </a:cubicBezTo>
                <a:cubicBezTo>
                  <a:pt x="8" y="0"/>
                  <a:pt x="8" y="0"/>
                  <a:pt x="8" y="0"/>
                </a:cubicBezTo>
                <a:cubicBezTo>
                  <a:pt x="7" y="1"/>
                  <a:pt x="7" y="1"/>
                  <a:pt x="6" y="0"/>
                </a:cubicBezTo>
                <a:cubicBezTo>
                  <a:pt x="6" y="0"/>
                  <a:pt x="6" y="1"/>
                  <a:pt x="6" y="1"/>
                </a:cubicBezTo>
                <a:cubicBezTo>
                  <a:pt x="5" y="2"/>
                  <a:pt x="5" y="1"/>
                  <a:pt x="4" y="1"/>
                </a:cubicBezTo>
                <a:cubicBezTo>
                  <a:pt x="3" y="1"/>
                  <a:pt x="4" y="1"/>
                  <a:pt x="4" y="1"/>
                </a:cubicBezTo>
                <a:cubicBezTo>
                  <a:pt x="3" y="1"/>
                  <a:pt x="3" y="1"/>
                  <a:pt x="3" y="1"/>
                </a:cubicBezTo>
                <a:cubicBezTo>
                  <a:pt x="3" y="1"/>
                  <a:pt x="2" y="1"/>
                  <a:pt x="2" y="1"/>
                </a:cubicBezTo>
                <a:cubicBezTo>
                  <a:pt x="1" y="2"/>
                  <a:pt x="2" y="2"/>
                  <a:pt x="1" y="2"/>
                </a:cubicBezTo>
                <a:cubicBezTo>
                  <a:pt x="1" y="2"/>
                  <a:pt x="1" y="1"/>
                  <a:pt x="1" y="2"/>
                </a:cubicBezTo>
                <a:cubicBezTo>
                  <a:pt x="1" y="2"/>
                  <a:pt x="0" y="2"/>
                  <a:pt x="0" y="2"/>
                </a:cubicBezTo>
                <a:cubicBezTo>
                  <a:pt x="1" y="3"/>
                  <a:pt x="2" y="2"/>
                  <a:pt x="2" y="3"/>
                </a:cubicBezTo>
                <a:cubicBezTo>
                  <a:pt x="2" y="3"/>
                  <a:pt x="4" y="4"/>
                  <a:pt x="3" y="4"/>
                </a:cubicBezTo>
                <a:cubicBezTo>
                  <a:pt x="3" y="4"/>
                  <a:pt x="4" y="4"/>
                  <a:pt x="4" y="4"/>
                </a:cubicBezTo>
                <a:cubicBezTo>
                  <a:pt x="4" y="4"/>
                  <a:pt x="4" y="4"/>
                  <a:pt x="4" y="5"/>
                </a:cubicBezTo>
                <a:cubicBezTo>
                  <a:pt x="5" y="5"/>
                  <a:pt x="5" y="6"/>
                  <a:pt x="5" y="6"/>
                </a:cubicBezTo>
                <a:cubicBezTo>
                  <a:pt x="6" y="7"/>
                  <a:pt x="6" y="7"/>
                  <a:pt x="6" y="8"/>
                </a:cubicBezTo>
                <a:cubicBezTo>
                  <a:pt x="7" y="8"/>
                  <a:pt x="6" y="8"/>
                  <a:pt x="6" y="8"/>
                </a:cubicBezTo>
                <a:cubicBezTo>
                  <a:pt x="6" y="9"/>
                  <a:pt x="7" y="9"/>
                  <a:pt x="7" y="9"/>
                </a:cubicBezTo>
                <a:cubicBezTo>
                  <a:pt x="8" y="10"/>
                  <a:pt x="8" y="10"/>
                  <a:pt x="8" y="10"/>
                </a:cubicBezTo>
                <a:cubicBezTo>
                  <a:pt x="8" y="11"/>
                  <a:pt x="9" y="11"/>
                  <a:pt x="9" y="11"/>
                </a:cubicBezTo>
                <a:cubicBezTo>
                  <a:pt x="9" y="11"/>
                  <a:pt x="9" y="12"/>
                  <a:pt x="9" y="12"/>
                </a:cubicBezTo>
                <a:cubicBezTo>
                  <a:pt x="9" y="12"/>
                  <a:pt x="10" y="13"/>
                  <a:pt x="10" y="13"/>
                </a:cubicBezTo>
                <a:cubicBezTo>
                  <a:pt x="11" y="13"/>
                  <a:pt x="11" y="14"/>
                  <a:pt x="12" y="15"/>
                </a:cubicBezTo>
                <a:cubicBezTo>
                  <a:pt x="12" y="15"/>
                  <a:pt x="13" y="15"/>
                  <a:pt x="14" y="16"/>
                </a:cubicBezTo>
                <a:cubicBezTo>
                  <a:pt x="14" y="16"/>
                  <a:pt x="14" y="17"/>
                  <a:pt x="14" y="17"/>
                </a:cubicBezTo>
                <a:cubicBezTo>
                  <a:pt x="15" y="18"/>
                  <a:pt x="15" y="18"/>
                  <a:pt x="15" y="19"/>
                </a:cubicBezTo>
                <a:cubicBezTo>
                  <a:pt x="15" y="19"/>
                  <a:pt x="16" y="19"/>
                  <a:pt x="16" y="20"/>
                </a:cubicBezTo>
                <a:cubicBezTo>
                  <a:pt x="16" y="20"/>
                  <a:pt x="15" y="21"/>
                  <a:pt x="16" y="21"/>
                </a:cubicBezTo>
                <a:cubicBezTo>
                  <a:pt x="16" y="22"/>
                  <a:pt x="15" y="23"/>
                  <a:pt x="15" y="23"/>
                </a:cubicBezTo>
                <a:cubicBezTo>
                  <a:pt x="15" y="24"/>
                  <a:pt x="15" y="24"/>
                  <a:pt x="15" y="24"/>
                </a:cubicBezTo>
                <a:cubicBezTo>
                  <a:pt x="15" y="25"/>
                  <a:pt x="15" y="25"/>
                  <a:pt x="15" y="25"/>
                </a:cubicBezTo>
                <a:cubicBezTo>
                  <a:pt x="15" y="26"/>
                  <a:pt x="15" y="26"/>
                  <a:pt x="15" y="27"/>
                </a:cubicBezTo>
                <a:cubicBezTo>
                  <a:pt x="15" y="27"/>
                  <a:pt x="15" y="27"/>
                  <a:pt x="15" y="28"/>
                </a:cubicBezTo>
                <a:cubicBezTo>
                  <a:pt x="15" y="29"/>
                  <a:pt x="16" y="29"/>
                  <a:pt x="16" y="30"/>
                </a:cubicBezTo>
                <a:cubicBezTo>
                  <a:pt x="16" y="31"/>
                  <a:pt x="16" y="31"/>
                  <a:pt x="16" y="31"/>
                </a:cubicBezTo>
                <a:cubicBezTo>
                  <a:pt x="15" y="31"/>
                  <a:pt x="15" y="31"/>
                  <a:pt x="15" y="31"/>
                </a:cubicBezTo>
                <a:cubicBezTo>
                  <a:pt x="16" y="31"/>
                  <a:pt x="16" y="32"/>
                  <a:pt x="17" y="33"/>
                </a:cubicBezTo>
                <a:cubicBezTo>
                  <a:pt x="16" y="31"/>
                  <a:pt x="18" y="32"/>
                  <a:pt x="19" y="32"/>
                </a:cubicBezTo>
                <a:cubicBezTo>
                  <a:pt x="19" y="32"/>
                  <a:pt x="19" y="31"/>
                  <a:pt x="19" y="30"/>
                </a:cubicBezTo>
                <a:cubicBezTo>
                  <a:pt x="18" y="30"/>
                  <a:pt x="19" y="30"/>
                  <a:pt x="19" y="30"/>
                </a:cubicBezTo>
                <a:cubicBezTo>
                  <a:pt x="19" y="30"/>
                  <a:pt x="19" y="29"/>
                  <a:pt x="20" y="29"/>
                </a:cubicBezTo>
                <a:cubicBezTo>
                  <a:pt x="20" y="29"/>
                  <a:pt x="20" y="29"/>
                  <a:pt x="20" y="29"/>
                </a:cubicBezTo>
                <a:cubicBezTo>
                  <a:pt x="20" y="29"/>
                  <a:pt x="21" y="29"/>
                  <a:pt x="21" y="28"/>
                </a:cubicBezTo>
                <a:cubicBezTo>
                  <a:pt x="21" y="28"/>
                  <a:pt x="21" y="27"/>
                  <a:pt x="21" y="27"/>
                </a:cubicBezTo>
                <a:cubicBezTo>
                  <a:pt x="21" y="27"/>
                  <a:pt x="22" y="27"/>
                  <a:pt x="22" y="27"/>
                </a:cubicBezTo>
                <a:cubicBezTo>
                  <a:pt x="23" y="27"/>
                  <a:pt x="22" y="26"/>
                  <a:pt x="22" y="25"/>
                </a:cubicBezTo>
                <a:cubicBezTo>
                  <a:pt x="22" y="25"/>
                  <a:pt x="23" y="25"/>
                  <a:pt x="23" y="24"/>
                </a:cubicBezTo>
                <a:cubicBezTo>
                  <a:pt x="22" y="24"/>
                  <a:pt x="22" y="24"/>
                  <a:pt x="22" y="23"/>
                </a:cubicBezTo>
                <a:cubicBezTo>
                  <a:pt x="22" y="23"/>
                  <a:pt x="22" y="22"/>
                  <a:pt x="22" y="22"/>
                </a:cubicBezTo>
                <a:cubicBezTo>
                  <a:pt x="23" y="21"/>
                  <a:pt x="23" y="21"/>
                  <a:pt x="23" y="21"/>
                </a:cubicBezTo>
                <a:cubicBezTo>
                  <a:pt x="24" y="21"/>
                  <a:pt x="24" y="21"/>
                  <a:pt x="24" y="22"/>
                </a:cubicBezTo>
                <a:cubicBezTo>
                  <a:pt x="24" y="22"/>
                  <a:pt x="24" y="23"/>
                  <a:pt x="24" y="23"/>
                </a:cubicBezTo>
                <a:cubicBezTo>
                  <a:pt x="24" y="23"/>
                  <a:pt x="25" y="22"/>
                  <a:pt x="25" y="22"/>
                </a:cubicBezTo>
                <a:cubicBezTo>
                  <a:pt x="25" y="22"/>
                  <a:pt x="25" y="21"/>
                  <a:pt x="25" y="22"/>
                </a:cubicBezTo>
                <a:cubicBezTo>
                  <a:pt x="26" y="23"/>
                  <a:pt x="26" y="21"/>
                  <a:pt x="26" y="21"/>
                </a:cubicBezTo>
                <a:cubicBezTo>
                  <a:pt x="27" y="22"/>
                  <a:pt x="26" y="22"/>
                  <a:pt x="27" y="22"/>
                </a:cubicBezTo>
                <a:cubicBezTo>
                  <a:pt x="27" y="22"/>
                  <a:pt x="28" y="23"/>
                  <a:pt x="28" y="23"/>
                </a:cubicBezTo>
                <a:cubicBezTo>
                  <a:pt x="28" y="23"/>
                  <a:pt x="28" y="22"/>
                  <a:pt x="28" y="22"/>
                </a:cubicBezTo>
                <a:cubicBezTo>
                  <a:pt x="28" y="22"/>
                  <a:pt x="29" y="22"/>
                  <a:pt x="29" y="22"/>
                </a:cubicBezTo>
                <a:cubicBezTo>
                  <a:pt x="29" y="22"/>
                  <a:pt x="29" y="22"/>
                  <a:pt x="29" y="23"/>
                </a:cubicBezTo>
                <a:cubicBezTo>
                  <a:pt x="30" y="23"/>
                  <a:pt x="30" y="23"/>
                  <a:pt x="30" y="23"/>
                </a:cubicBezTo>
                <a:cubicBezTo>
                  <a:pt x="30" y="23"/>
                  <a:pt x="31" y="23"/>
                  <a:pt x="31" y="23"/>
                </a:cubicBezTo>
                <a:cubicBezTo>
                  <a:pt x="32" y="23"/>
                  <a:pt x="32" y="23"/>
                  <a:pt x="32" y="22"/>
                </a:cubicBezTo>
                <a:cubicBezTo>
                  <a:pt x="32" y="22"/>
                  <a:pt x="31" y="21"/>
                  <a:pt x="31" y="2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7" name="Micronesia"/>
          <p:cNvSpPr>
            <a:spLocks noEditPoints="1"/>
          </p:cNvSpPr>
          <p:nvPr/>
        </p:nvSpPr>
        <p:spPr bwMode="auto">
          <a:xfrm>
            <a:off x="10613902" y="4283951"/>
            <a:ext cx="888967" cy="169994"/>
          </a:xfrm>
          <a:custGeom>
            <a:avLst/>
            <a:gdLst/>
            <a:ahLst/>
            <a:cxnLst>
              <a:cxn ang="0">
                <a:pos x="134" y="25"/>
              </a:cxn>
              <a:cxn ang="0">
                <a:pos x="133" y="25"/>
              </a:cxn>
              <a:cxn ang="0">
                <a:pos x="133" y="24"/>
              </a:cxn>
              <a:cxn ang="0">
                <a:pos x="134" y="25"/>
              </a:cxn>
              <a:cxn ang="0">
                <a:pos x="196" y="31"/>
              </a:cxn>
              <a:cxn ang="0">
                <a:pos x="196" y="31"/>
              </a:cxn>
              <a:cxn ang="0">
                <a:pos x="196" y="31"/>
              </a:cxn>
              <a:cxn ang="0">
                <a:pos x="112" y="31"/>
              </a:cxn>
              <a:cxn ang="0">
                <a:pos x="112" y="32"/>
              </a:cxn>
              <a:cxn ang="0">
                <a:pos x="112" y="31"/>
              </a:cxn>
              <a:cxn ang="0">
                <a:pos x="156" y="47"/>
              </a:cxn>
              <a:cxn ang="0">
                <a:pos x="155" y="47"/>
              </a:cxn>
              <a:cxn ang="0">
                <a:pos x="156" y="47"/>
              </a:cxn>
              <a:cxn ang="0">
                <a:pos x="1" y="2"/>
              </a:cxn>
              <a:cxn ang="0">
                <a:pos x="1" y="0"/>
              </a:cxn>
              <a:cxn ang="0">
                <a:pos x="1" y="0"/>
              </a:cxn>
              <a:cxn ang="0">
                <a:pos x="1" y="2"/>
              </a:cxn>
              <a:cxn ang="0">
                <a:pos x="168" y="21"/>
              </a:cxn>
              <a:cxn ang="0">
                <a:pos x="168" y="21"/>
              </a:cxn>
              <a:cxn ang="0">
                <a:pos x="168" y="21"/>
              </a:cxn>
              <a:cxn ang="0">
                <a:pos x="121" y="11"/>
              </a:cxn>
              <a:cxn ang="0">
                <a:pos x="121" y="11"/>
              </a:cxn>
              <a:cxn ang="0">
                <a:pos x="121" y="11"/>
              </a:cxn>
              <a:cxn ang="0">
                <a:pos x="114" y="11"/>
              </a:cxn>
              <a:cxn ang="0">
                <a:pos x="114" y="11"/>
              </a:cxn>
              <a:cxn ang="0">
                <a:pos x="136" y="24"/>
              </a:cxn>
              <a:cxn ang="0">
                <a:pos x="136" y="23"/>
              </a:cxn>
              <a:cxn ang="0">
                <a:pos x="136" y="24"/>
              </a:cxn>
              <a:cxn ang="0">
                <a:pos x="58" y="24"/>
              </a:cxn>
              <a:cxn ang="0">
                <a:pos x="58" y="24"/>
              </a:cxn>
              <a:cxn ang="0">
                <a:pos x="58" y="24"/>
              </a:cxn>
              <a:cxn ang="0">
                <a:pos x="110" y="24"/>
              </a:cxn>
              <a:cxn ang="0">
                <a:pos x="110" y="24"/>
              </a:cxn>
              <a:cxn ang="0">
                <a:pos x="110" y="24"/>
              </a:cxn>
              <a:cxn ang="0">
                <a:pos x="110" y="24"/>
              </a:cxn>
              <a:cxn ang="0">
                <a:pos x="110" y="25"/>
              </a:cxn>
              <a:cxn ang="0">
                <a:pos x="110" y="24"/>
              </a:cxn>
              <a:cxn ang="0">
                <a:pos x="1" y="0"/>
              </a:cxn>
              <a:cxn ang="0">
                <a:pos x="1" y="0"/>
              </a:cxn>
              <a:cxn ang="0">
                <a:pos x="189" y="42"/>
              </a:cxn>
              <a:cxn ang="0">
                <a:pos x="189" y="42"/>
              </a:cxn>
              <a:cxn ang="0">
                <a:pos x="189" y="42"/>
              </a:cxn>
              <a:cxn ang="0">
                <a:pos x="118" y="7"/>
              </a:cxn>
              <a:cxn ang="0">
                <a:pos x="118" y="7"/>
              </a:cxn>
              <a:cxn ang="0">
                <a:pos x="118" y="7"/>
              </a:cxn>
              <a:cxn ang="0">
                <a:pos x="245" y="46"/>
              </a:cxn>
              <a:cxn ang="0">
                <a:pos x="246" y="47"/>
              </a:cxn>
              <a:cxn ang="0">
                <a:pos x="245" y="46"/>
              </a:cxn>
              <a:cxn ang="0">
                <a:pos x="1" y="1"/>
              </a:cxn>
              <a:cxn ang="0">
                <a:pos x="1" y="1"/>
              </a:cxn>
              <a:cxn ang="0">
                <a:pos x="199" y="29"/>
              </a:cxn>
              <a:cxn ang="0">
                <a:pos x="197" y="29"/>
              </a:cxn>
              <a:cxn ang="0">
                <a:pos x="197" y="30"/>
              </a:cxn>
              <a:cxn ang="0">
                <a:pos x="198" y="31"/>
              </a:cxn>
              <a:cxn ang="0">
                <a:pos x="199" y="31"/>
              </a:cxn>
              <a:cxn ang="0">
                <a:pos x="199" y="30"/>
              </a:cxn>
              <a:cxn ang="0">
                <a:pos x="199" y="29"/>
              </a:cxn>
              <a:cxn ang="0">
                <a:pos x="136" y="25"/>
              </a:cxn>
              <a:cxn ang="0">
                <a:pos x="136" y="24"/>
              </a:cxn>
              <a:cxn ang="0">
                <a:pos x="136" y="25"/>
              </a:cxn>
            </a:cxnLst>
            <a:rect l="0" t="0" r="r" b="b"/>
            <a:pathLst>
              <a:path w="246" h="47">
                <a:moveTo>
                  <a:pt x="134" y="25"/>
                </a:moveTo>
                <a:cubicBezTo>
                  <a:pt x="134" y="25"/>
                  <a:pt x="133" y="25"/>
                  <a:pt x="133" y="25"/>
                </a:cubicBezTo>
                <a:cubicBezTo>
                  <a:pt x="133" y="24"/>
                  <a:pt x="134" y="24"/>
                  <a:pt x="133" y="24"/>
                </a:cubicBezTo>
                <a:cubicBezTo>
                  <a:pt x="134" y="24"/>
                  <a:pt x="134" y="24"/>
                  <a:pt x="134" y="25"/>
                </a:cubicBezTo>
                <a:close/>
                <a:moveTo>
                  <a:pt x="196" y="31"/>
                </a:moveTo>
                <a:cubicBezTo>
                  <a:pt x="196" y="31"/>
                  <a:pt x="196" y="31"/>
                  <a:pt x="196" y="31"/>
                </a:cubicBezTo>
                <a:cubicBezTo>
                  <a:pt x="196" y="31"/>
                  <a:pt x="196" y="31"/>
                  <a:pt x="196" y="31"/>
                </a:cubicBezTo>
                <a:close/>
                <a:moveTo>
                  <a:pt x="112" y="31"/>
                </a:moveTo>
                <a:cubicBezTo>
                  <a:pt x="112" y="31"/>
                  <a:pt x="112" y="32"/>
                  <a:pt x="112" y="32"/>
                </a:cubicBezTo>
                <a:cubicBezTo>
                  <a:pt x="112" y="32"/>
                  <a:pt x="112" y="32"/>
                  <a:pt x="112" y="31"/>
                </a:cubicBezTo>
                <a:close/>
                <a:moveTo>
                  <a:pt x="156" y="47"/>
                </a:moveTo>
                <a:cubicBezTo>
                  <a:pt x="155" y="47"/>
                  <a:pt x="155" y="47"/>
                  <a:pt x="155" y="47"/>
                </a:cubicBezTo>
                <a:cubicBezTo>
                  <a:pt x="155" y="47"/>
                  <a:pt x="155" y="47"/>
                  <a:pt x="156" y="47"/>
                </a:cubicBezTo>
                <a:close/>
                <a:moveTo>
                  <a:pt x="1" y="2"/>
                </a:moveTo>
                <a:cubicBezTo>
                  <a:pt x="1" y="2"/>
                  <a:pt x="1" y="1"/>
                  <a:pt x="1" y="0"/>
                </a:cubicBezTo>
                <a:cubicBezTo>
                  <a:pt x="1" y="0"/>
                  <a:pt x="1" y="0"/>
                  <a:pt x="1" y="0"/>
                </a:cubicBezTo>
                <a:cubicBezTo>
                  <a:pt x="1" y="0"/>
                  <a:pt x="0" y="2"/>
                  <a:pt x="1" y="2"/>
                </a:cubicBezTo>
                <a:close/>
                <a:moveTo>
                  <a:pt x="168" y="21"/>
                </a:moveTo>
                <a:cubicBezTo>
                  <a:pt x="168" y="21"/>
                  <a:pt x="168" y="21"/>
                  <a:pt x="168" y="21"/>
                </a:cubicBezTo>
                <a:cubicBezTo>
                  <a:pt x="168" y="21"/>
                  <a:pt x="168" y="21"/>
                  <a:pt x="168" y="21"/>
                </a:cubicBezTo>
                <a:close/>
                <a:moveTo>
                  <a:pt x="121" y="11"/>
                </a:moveTo>
                <a:cubicBezTo>
                  <a:pt x="121" y="11"/>
                  <a:pt x="121" y="11"/>
                  <a:pt x="121" y="11"/>
                </a:cubicBezTo>
                <a:cubicBezTo>
                  <a:pt x="121" y="11"/>
                  <a:pt x="121" y="11"/>
                  <a:pt x="121" y="11"/>
                </a:cubicBezTo>
                <a:close/>
                <a:moveTo>
                  <a:pt x="114" y="11"/>
                </a:moveTo>
                <a:cubicBezTo>
                  <a:pt x="114" y="10"/>
                  <a:pt x="113" y="10"/>
                  <a:pt x="114" y="11"/>
                </a:cubicBezTo>
                <a:close/>
                <a:moveTo>
                  <a:pt x="136" y="24"/>
                </a:moveTo>
                <a:cubicBezTo>
                  <a:pt x="136" y="24"/>
                  <a:pt x="136" y="23"/>
                  <a:pt x="136" y="23"/>
                </a:cubicBezTo>
                <a:cubicBezTo>
                  <a:pt x="136" y="23"/>
                  <a:pt x="136" y="23"/>
                  <a:pt x="136" y="24"/>
                </a:cubicBezTo>
                <a:close/>
                <a:moveTo>
                  <a:pt x="58" y="24"/>
                </a:moveTo>
                <a:cubicBezTo>
                  <a:pt x="58" y="24"/>
                  <a:pt x="58" y="24"/>
                  <a:pt x="58" y="24"/>
                </a:cubicBezTo>
                <a:cubicBezTo>
                  <a:pt x="58" y="24"/>
                  <a:pt x="58" y="24"/>
                  <a:pt x="58" y="24"/>
                </a:cubicBezTo>
                <a:close/>
                <a:moveTo>
                  <a:pt x="110" y="24"/>
                </a:moveTo>
                <a:cubicBezTo>
                  <a:pt x="110" y="24"/>
                  <a:pt x="110" y="24"/>
                  <a:pt x="110" y="24"/>
                </a:cubicBezTo>
                <a:cubicBezTo>
                  <a:pt x="110" y="24"/>
                  <a:pt x="110" y="24"/>
                  <a:pt x="110" y="24"/>
                </a:cubicBezTo>
                <a:close/>
                <a:moveTo>
                  <a:pt x="110" y="24"/>
                </a:moveTo>
                <a:cubicBezTo>
                  <a:pt x="110" y="24"/>
                  <a:pt x="110" y="24"/>
                  <a:pt x="110" y="25"/>
                </a:cubicBezTo>
                <a:cubicBezTo>
                  <a:pt x="110" y="25"/>
                  <a:pt x="110" y="24"/>
                  <a:pt x="110" y="24"/>
                </a:cubicBezTo>
                <a:close/>
                <a:moveTo>
                  <a:pt x="1" y="0"/>
                </a:moveTo>
                <a:cubicBezTo>
                  <a:pt x="2" y="0"/>
                  <a:pt x="1" y="0"/>
                  <a:pt x="1" y="0"/>
                </a:cubicBezTo>
                <a:close/>
                <a:moveTo>
                  <a:pt x="189" y="42"/>
                </a:moveTo>
                <a:cubicBezTo>
                  <a:pt x="189" y="42"/>
                  <a:pt x="189" y="42"/>
                  <a:pt x="189" y="42"/>
                </a:cubicBezTo>
                <a:cubicBezTo>
                  <a:pt x="189" y="42"/>
                  <a:pt x="189" y="42"/>
                  <a:pt x="189" y="42"/>
                </a:cubicBezTo>
                <a:close/>
                <a:moveTo>
                  <a:pt x="118" y="7"/>
                </a:moveTo>
                <a:cubicBezTo>
                  <a:pt x="118" y="7"/>
                  <a:pt x="118" y="7"/>
                  <a:pt x="118" y="7"/>
                </a:cubicBezTo>
                <a:cubicBezTo>
                  <a:pt x="118" y="7"/>
                  <a:pt x="118" y="7"/>
                  <a:pt x="118" y="7"/>
                </a:cubicBezTo>
                <a:close/>
                <a:moveTo>
                  <a:pt x="245" y="46"/>
                </a:moveTo>
                <a:cubicBezTo>
                  <a:pt x="244" y="47"/>
                  <a:pt x="245" y="47"/>
                  <a:pt x="246" y="47"/>
                </a:cubicBezTo>
                <a:cubicBezTo>
                  <a:pt x="246" y="47"/>
                  <a:pt x="246" y="46"/>
                  <a:pt x="245" y="46"/>
                </a:cubicBezTo>
                <a:close/>
                <a:moveTo>
                  <a:pt x="1" y="1"/>
                </a:moveTo>
                <a:cubicBezTo>
                  <a:pt x="1" y="1"/>
                  <a:pt x="2" y="0"/>
                  <a:pt x="1" y="1"/>
                </a:cubicBezTo>
                <a:close/>
                <a:moveTo>
                  <a:pt x="199" y="29"/>
                </a:moveTo>
                <a:cubicBezTo>
                  <a:pt x="198" y="29"/>
                  <a:pt x="198" y="29"/>
                  <a:pt x="197" y="29"/>
                </a:cubicBezTo>
                <a:cubicBezTo>
                  <a:pt x="197" y="29"/>
                  <a:pt x="197" y="29"/>
                  <a:pt x="197" y="30"/>
                </a:cubicBezTo>
                <a:cubicBezTo>
                  <a:pt x="197" y="30"/>
                  <a:pt x="198" y="30"/>
                  <a:pt x="198" y="31"/>
                </a:cubicBezTo>
                <a:cubicBezTo>
                  <a:pt x="198" y="31"/>
                  <a:pt x="199" y="31"/>
                  <a:pt x="199" y="31"/>
                </a:cubicBezTo>
                <a:cubicBezTo>
                  <a:pt x="199" y="30"/>
                  <a:pt x="199" y="30"/>
                  <a:pt x="199" y="30"/>
                </a:cubicBezTo>
                <a:cubicBezTo>
                  <a:pt x="199" y="29"/>
                  <a:pt x="199" y="30"/>
                  <a:pt x="199" y="29"/>
                </a:cubicBezTo>
                <a:close/>
                <a:moveTo>
                  <a:pt x="136" y="25"/>
                </a:moveTo>
                <a:cubicBezTo>
                  <a:pt x="136" y="25"/>
                  <a:pt x="136" y="24"/>
                  <a:pt x="136" y="24"/>
                </a:cubicBezTo>
                <a:cubicBezTo>
                  <a:pt x="136" y="24"/>
                  <a:pt x="136" y="25"/>
                  <a:pt x="136" y="2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8" name="Mexico"/>
          <p:cNvSpPr>
            <a:spLocks noEditPoints="1"/>
          </p:cNvSpPr>
          <p:nvPr/>
        </p:nvSpPr>
        <p:spPr bwMode="auto">
          <a:xfrm>
            <a:off x="1811231" y="3364986"/>
            <a:ext cx="1007962" cy="723973"/>
          </a:xfrm>
          <a:custGeom>
            <a:avLst/>
            <a:gdLst/>
            <a:ahLst/>
            <a:cxnLst>
              <a:cxn ang="0">
                <a:pos x="257" y="124"/>
              </a:cxn>
              <a:cxn ang="0">
                <a:pos x="234" y="150"/>
              </a:cxn>
              <a:cxn ang="0">
                <a:pos x="226" y="157"/>
              </a:cxn>
              <a:cxn ang="0">
                <a:pos x="218" y="155"/>
              </a:cxn>
              <a:cxn ang="0">
                <a:pos x="206" y="158"/>
              </a:cxn>
              <a:cxn ang="0">
                <a:pos x="188" y="153"/>
              </a:cxn>
              <a:cxn ang="0">
                <a:pos x="178" y="127"/>
              </a:cxn>
              <a:cxn ang="0">
                <a:pos x="176" y="110"/>
              </a:cxn>
              <a:cxn ang="0">
                <a:pos x="187" y="80"/>
              </a:cxn>
              <a:cxn ang="0">
                <a:pos x="175" y="70"/>
              </a:cxn>
              <a:cxn ang="0">
                <a:pos x="169" y="54"/>
              </a:cxn>
              <a:cxn ang="0">
                <a:pos x="161" y="34"/>
              </a:cxn>
              <a:cxn ang="0">
                <a:pos x="147" y="34"/>
              </a:cxn>
              <a:cxn ang="0">
                <a:pos x="132" y="34"/>
              </a:cxn>
              <a:cxn ang="0">
                <a:pos x="119" y="10"/>
              </a:cxn>
              <a:cxn ang="0">
                <a:pos x="48" y="0"/>
              </a:cxn>
              <a:cxn ang="0">
                <a:pos x="27" y="20"/>
              </a:cxn>
              <a:cxn ang="0">
                <a:pos x="32" y="36"/>
              </a:cxn>
              <a:cxn ang="0">
                <a:pos x="35" y="52"/>
              </a:cxn>
              <a:cxn ang="0">
                <a:pos x="36" y="57"/>
              </a:cxn>
              <a:cxn ang="0">
                <a:pos x="30" y="58"/>
              </a:cxn>
              <a:cxn ang="0">
                <a:pos x="42" y="68"/>
              </a:cxn>
              <a:cxn ang="0">
                <a:pos x="46" y="86"/>
              </a:cxn>
              <a:cxn ang="0">
                <a:pos x="56" y="97"/>
              </a:cxn>
              <a:cxn ang="0">
                <a:pos x="64" y="95"/>
              </a:cxn>
              <a:cxn ang="0">
                <a:pos x="58" y="84"/>
              </a:cxn>
              <a:cxn ang="0">
                <a:pos x="53" y="65"/>
              </a:cxn>
              <a:cxn ang="0">
                <a:pos x="47" y="45"/>
              </a:cxn>
              <a:cxn ang="0">
                <a:pos x="40" y="21"/>
              </a:cxn>
              <a:cxn ang="0">
                <a:pos x="50" y="13"/>
              </a:cxn>
              <a:cxn ang="0">
                <a:pos x="55" y="30"/>
              </a:cxn>
              <a:cxn ang="0">
                <a:pos x="60" y="46"/>
              </a:cxn>
              <a:cxn ang="0">
                <a:pos x="68" y="54"/>
              </a:cxn>
              <a:cxn ang="0">
                <a:pos x="76" y="66"/>
              </a:cxn>
              <a:cxn ang="0">
                <a:pos x="74" y="73"/>
              </a:cxn>
              <a:cxn ang="0">
                <a:pos x="77" y="78"/>
              </a:cxn>
              <a:cxn ang="0">
                <a:pos x="79" y="81"/>
              </a:cxn>
              <a:cxn ang="0">
                <a:pos x="85" y="89"/>
              </a:cxn>
              <a:cxn ang="0">
                <a:pos x="96" y="105"/>
              </a:cxn>
              <a:cxn ang="0">
                <a:pos x="102" y="132"/>
              </a:cxn>
              <a:cxn ang="0">
                <a:pos x="112" y="153"/>
              </a:cxn>
              <a:cxn ang="0">
                <a:pos x="143" y="172"/>
              </a:cxn>
              <a:cxn ang="0">
                <a:pos x="165" y="184"/>
              </a:cxn>
              <a:cxn ang="0">
                <a:pos x="194" y="181"/>
              </a:cxn>
              <a:cxn ang="0">
                <a:pos x="201" y="181"/>
              </a:cxn>
              <a:cxn ang="0">
                <a:pos x="217" y="196"/>
              </a:cxn>
              <a:cxn ang="0">
                <a:pos x="236" y="179"/>
              </a:cxn>
              <a:cxn ang="0">
                <a:pos x="233" y="164"/>
              </a:cxn>
              <a:cxn ang="0">
                <a:pos x="261" y="154"/>
              </a:cxn>
              <a:cxn ang="0">
                <a:pos x="267" y="147"/>
              </a:cxn>
              <a:cxn ang="0">
                <a:pos x="271" y="138"/>
              </a:cxn>
              <a:cxn ang="0">
                <a:pos x="182" y="85"/>
              </a:cxn>
              <a:cxn ang="0">
                <a:pos x="186" y="80"/>
              </a:cxn>
              <a:cxn ang="0">
                <a:pos x="269" y="123"/>
              </a:cxn>
              <a:cxn ang="0">
                <a:pos x="60" y="86"/>
              </a:cxn>
              <a:cxn ang="0">
                <a:pos x="49" y="38"/>
              </a:cxn>
              <a:cxn ang="0">
                <a:pos x="91" y="124"/>
              </a:cxn>
              <a:cxn ang="0">
                <a:pos x="57" y="75"/>
              </a:cxn>
              <a:cxn ang="0">
                <a:pos x="228" y="154"/>
              </a:cxn>
              <a:cxn ang="0">
                <a:pos x="57" y="39"/>
              </a:cxn>
            </a:cxnLst>
            <a:rect l="0" t="0" r="r" b="b"/>
            <a:pathLst>
              <a:path w="279" h="200">
                <a:moveTo>
                  <a:pt x="278" y="125"/>
                </a:moveTo>
                <a:cubicBezTo>
                  <a:pt x="278" y="125"/>
                  <a:pt x="279" y="124"/>
                  <a:pt x="279" y="124"/>
                </a:cubicBezTo>
                <a:cubicBezTo>
                  <a:pt x="278" y="124"/>
                  <a:pt x="278" y="123"/>
                  <a:pt x="278" y="124"/>
                </a:cubicBezTo>
                <a:cubicBezTo>
                  <a:pt x="277" y="122"/>
                  <a:pt x="277" y="122"/>
                  <a:pt x="275" y="122"/>
                </a:cubicBezTo>
                <a:cubicBezTo>
                  <a:pt x="274" y="123"/>
                  <a:pt x="274" y="122"/>
                  <a:pt x="274" y="122"/>
                </a:cubicBezTo>
                <a:cubicBezTo>
                  <a:pt x="273" y="122"/>
                  <a:pt x="272" y="123"/>
                  <a:pt x="272" y="123"/>
                </a:cubicBezTo>
                <a:cubicBezTo>
                  <a:pt x="273" y="124"/>
                  <a:pt x="274" y="123"/>
                  <a:pt x="275" y="124"/>
                </a:cubicBezTo>
                <a:cubicBezTo>
                  <a:pt x="274" y="124"/>
                  <a:pt x="273" y="123"/>
                  <a:pt x="272" y="123"/>
                </a:cubicBezTo>
                <a:cubicBezTo>
                  <a:pt x="271" y="123"/>
                  <a:pt x="270" y="123"/>
                  <a:pt x="269" y="122"/>
                </a:cubicBezTo>
                <a:cubicBezTo>
                  <a:pt x="269" y="123"/>
                  <a:pt x="269" y="123"/>
                  <a:pt x="269" y="123"/>
                </a:cubicBezTo>
                <a:cubicBezTo>
                  <a:pt x="269" y="123"/>
                  <a:pt x="268" y="122"/>
                  <a:pt x="268" y="122"/>
                </a:cubicBezTo>
                <a:cubicBezTo>
                  <a:pt x="267" y="122"/>
                  <a:pt x="267" y="122"/>
                  <a:pt x="266" y="122"/>
                </a:cubicBezTo>
                <a:cubicBezTo>
                  <a:pt x="266" y="122"/>
                  <a:pt x="265" y="122"/>
                  <a:pt x="264" y="122"/>
                </a:cubicBezTo>
                <a:cubicBezTo>
                  <a:pt x="263" y="122"/>
                  <a:pt x="262" y="122"/>
                  <a:pt x="261" y="123"/>
                </a:cubicBezTo>
                <a:cubicBezTo>
                  <a:pt x="260" y="124"/>
                  <a:pt x="259" y="124"/>
                  <a:pt x="257" y="124"/>
                </a:cubicBezTo>
                <a:cubicBezTo>
                  <a:pt x="257" y="124"/>
                  <a:pt x="256" y="125"/>
                  <a:pt x="255" y="125"/>
                </a:cubicBezTo>
                <a:cubicBezTo>
                  <a:pt x="254" y="125"/>
                  <a:pt x="253" y="125"/>
                  <a:pt x="253" y="125"/>
                </a:cubicBezTo>
                <a:cubicBezTo>
                  <a:pt x="251" y="125"/>
                  <a:pt x="250" y="125"/>
                  <a:pt x="249" y="126"/>
                </a:cubicBezTo>
                <a:cubicBezTo>
                  <a:pt x="247" y="126"/>
                  <a:pt x="246" y="127"/>
                  <a:pt x="245" y="128"/>
                </a:cubicBezTo>
                <a:cubicBezTo>
                  <a:pt x="244" y="129"/>
                  <a:pt x="244" y="130"/>
                  <a:pt x="243" y="131"/>
                </a:cubicBezTo>
                <a:cubicBezTo>
                  <a:pt x="244" y="131"/>
                  <a:pt x="244" y="129"/>
                  <a:pt x="244" y="129"/>
                </a:cubicBezTo>
                <a:cubicBezTo>
                  <a:pt x="244" y="130"/>
                  <a:pt x="244" y="130"/>
                  <a:pt x="243" y="131"/>
                </a:cubicBezTo>
                <a:cubicBezTo>
                  <a:pt x="243" y="131"/>
                  <a:pt x="243" y="132"/>
                  <a:pt x="243" y="133"/>
                </a:cubicBezTo>
                <a:cubicBezTo>
                  <a:pt x="242" y="134"/>
                  <a:pt x="242" y="134"/>
                  <a:pt x="242" y="135"/>
                </a:cubicBezTo>
                <a:cubicBezTo>
                  <a:pt x="242" y="136"/>
                  <a:pt x="242" y="137"/>
                  <a:pt x="242" y="138"/>
                </a:cubicBezTo>
                <a:cubicBezTo>
                  <a:pt x="241" y="138"/>
                  <a:pt x="242" y="139"/>
                  <a:pt x="241" y="140"/>
                </a:cubicBezTo>
                <a:cubicBezTo>
                  <a:pt x="241" y="141"/>
                  <a:pt x="241" y="141"/>
                  <a:pt x="240" y="141"/>
                </a:cubicBezTo>
                <a:cubicBezTo>
                  <a:pt x="239" y="142"/>
                  <a:pt x="239" y="144"/>
                  <a:pt x="238" y="145"/>
                </a:cubicBezTo>
                <a:cubicBezTo>
                  <a:pt x="238" y="147"/>
                  <a:pt x="237" y="147"/>
                  <a:pt x="236" y="148"/>
                </a:cubicBezTo>
                <a:cubicBezTo>
                  <a:pt x="235" y="149"/>
                  <a:pt x="235" y="149"/>
                  <a:pt x="234" y="150"/>
                </a:cubicBezTo>
                <a:cubicBezTo>
                  <a:pt x="233" y="150"/>
                  <a:pt x="233" y="151"/>
                  <a:pt x="232" y="151"/>
                </a:cubicBezTo>
                <a:cubicBezTo>
                  <a:pt x="232" y="151"/>
                  <a:pt x="229" y="152"/>
                  <a:pt x="230" y="153"/>
                </a:cubicBezTo>
                <a:cubicBezTo>
                  <a:pt x="230" y="153"/>
                  <a:pt x="232" y="151"/>
                  <a:pt x="232" y="151"/>
                </a:cubicBezTo>
                <a:cubicBezTo>
                  <a:pt x="232" y="152"/>
                  <a:pt x="231" y="152"/>
                  <a:pt x="231" y="153"/>
                </a:cubicBezTo>
                <a:cubicBezTo>
                  <a:pt x="231" y="153"/>
                  <a:pt x="231" y="153"/>
                  <a:pt x="232" y="153"/>
                </a:cubicBezTo>
                <a:cubicBezTo>
                  <a:pt x="232" y="153"/>
                  <a:pt x="232" y="154"/>
                  <a:pt x="231" y="155"/>
                </a:cubicBezTo>
                <a:cubicBezTo>
                  <a:pt x="232" y="154"/>
                  <a:pt x="232" y="154"/>
                  <a:pt x="232" y="154"/>
                </a:cubicBezTo>
                <a:cubicBezTo>
                  <a:pt x="232" y="155"/>
                  <a:pt x="232" y="155"/>
                  <a:pt x="231" y="155"/>
                </a:cubicBezTo>
                <a:cubicBezTo>
                  <a:pt x="231" y="155"/>
                  <a:pt x="231" y="155"/>
                  <a:pt x="230" y="155"/>
                </a:cubicBezTo>
                <a:cubicBezTo>
                  <a:pt x="230" y="155"/>
                  <a:pt x="229" y="156"/>
                  <a:pt x="229" y="156"/>
                </a:cubicBezTo>
                <a:cubicBezTo>
                  <a:pt x="229" y="156"/>
                  <a:pt x="229" y="156"/>
                  <a:pt x="229" y="156"/>
                </a:cubicBezTo>
                <a:cubicBezTo>
                  <a:pt x="230" y="157"/>
                  <a:pt x="228" y="157"/>
                  <a:pt x="228" y="156"/>
                </a:cubicBezTo>
                <a:cubicBezTo>
                  <a:pt x="227" y="156"/>
                  <a:pt x="227" y="156"/>
                  <a:pt x="227" y="156"/>
                </a:cubicBezTo>
                <a:cubicBezTo>
                  <a:pt x="226" y="156"/>
                  <a:pt x="227" y="157"/>
                  <a:pt x="226" y="157"/>
                </a:cubicBezTo>
                <a:cubicBezTo>
                  <a:pt x="226" y="157"/>
                  <a:pt x="226" y="158"/>
                  <a:pt x="226" y="157"/>
                </a:cubicBezTo>
                <a:cubicBezTo>
                  <a:pt x="226" y="157"/>
                  <a:pt x="226" y="157"/>
                  <a:pt x="226" y="156"/>
                </a:cubicBezTo>
                <a:cubicBezTo>
                  <a:pt x="226" y="156"/>
                  <a:pt x="226" y="156"/>
                  <a:pt x="226" y="156"/>
                </a:cubicBezTo>
                <a:cubicBezTo>
                  <a:pt x="226" y="155"/>
                  <a:pt x="225" y="155"/>
                  <a:pt x="225" y="155"/>
                </a:cubicBezTo>
                <a:cubicBezTo>
                  <a:pt x="225" y="155"/>
                  <a:pt x="225" y="155"/>
                  <a:pt x="225" y="155"/>
                </a:cubicBezTo>
                <a:cubicBezTo>
                  <a:pt x="225" y="155"/>
                  <a:pt x="225" y="156"/>
                  <a:pt x="225" y="156"/>
                </a:cubicBezTo>
                <a:cubicBezTo>
                  <a:pt x="225" y="156"/>
                  <a:pt x="225" y="155"/>
                  <a:pt x="224" y="155"/>
                </a:cubicBezTo>
                <a:cubicBezTo>
                  <a:pt x="224" y="155"/>
                  <a:pt x="224" y="155"/>
                  <a:pt x="225" y="155"/>
                </a:cubicBezTo>
                <a:cubicBezTo>
                  <a:pt x="225" y="155"/>
                  <a:pt x="225" y="154"/>
                  <a:pt x="225" y="155"/>
                </a:cubicBezTo>
                <a:cubicBezTo>
                  <a:pt x="225" y="155"/>
                  <a:pt x="225" y="155"/>
                  <a:pt x="225" y="155"/>
                </a:cubicBezTo>
                <a:cubicBezTo>
                  <a:pt x="225" y="155"/>
                  <a:pt x="226" y="155"/>
                  <a:pt x="226" y="155"/>
                </a:cubicBezTo>
                <a:cubicBezTo>
                  <a:pt x="226" y="155"/>
                  <a:pt x="225" y="153"/>
                  <a:pt x="225" y="153"/>
                </a:cubicBezTo>
                <a:cubicBezTo>
                  <a:pt x="224" y="154"/>
                  <a:pt x="223" y="154"/>
                  <a:pt x="223" y="154"/>
                </a:cubicBezTo>
                <a:cubicBezTo>
                  <a:pt x="222" y="154"/>
                  <a:pt x="221" y="154"/>
                  <a:pt x="221" y="154"/>
                </a:cubicBezTo>
                <a:cubicBezTo>
                  <a:pt x="220" y="154"/>
                  <a:pt x="220" y="154"/>
                  <a:pt x="219" y="155"/>
                </a:cubicBezTo>
                <a:cubicBezTo>
                  <a:pt x="219" y="155"/>
                  <a:pt x="218" y="155"/>
                  <a:pt x="218" y="155"/>
                </a:cubicBezTo>
                <a:cubicBezTo>
                  <a:pt x="218" y="155"/>
                  <a:pt x="218" y="156"/>
                  <a:pt x="218" y="156"/>
                </a:cubicBezTo>
                <a:cubicBezTo>
                  <a:pt x="218" y="156"/>
                  <a:pt x="218" y="155"/>
                  <a:pt x="218" y="155"/>
                </a:cubicBezTo>
                <a:cubicBezTo>
                  <a:pt x="217" y="156"/>
                  <a:pt x="217" y="156"/>
                  <a:pt x="216" y="156"/>
                </a:cubicBezTo>
                <a:cubicBezTo>
                  <a:pt x="215" y="156"/>
                  <a:pt x="214" y="156"/>
                  <a:pt x="213" y="157"/>
                </a:cubicBezTo>
                <a:cubicBezTo>
                  <a:pt x="214" y="157"/>
                  <a:pt x="214" y="157"/>
                  <a:pt x="213" y="158"/>
                </a:cubicBezTo>
                <a:cubicBezTo>
                  <a:pt x="213" y="157"/>
                  <a:pt x="213" y="157"/>
                  <a:pt x="214" y="157"/>
                </a:cubicBezTo>
                <a:cubicBezTo>
                  <a:pt x="213" y="158"/>
                  <a:pt x="213" y="157"/>
                  <a:pt x="213" y="157"/>
                </a:cubicBezTo>
                <a:cubicBezTo>
                  <a:pt x="212" y="156"/>
                  <a:pt x="211" y="156"/>
                  <a:pt x="209" y="157"/>
                </a:cubicBezTo>
                <a:cubicBezTo>
                  <a:pt x="209" y="157"/>
                  <a:pt x="207" y="157"/>
                  <a:pt x="207" y="158"/>
                </a:cubicBezTo>
                <a:cubicBezTo>
                  <a:pt x="207" y="158"/>
                  <a:pt x="208" y="157"/>
                  <a:pt x="208" y="157"/>
                </a:cubicBezTo>
                <a:cubicBezTo>
                  <a:pt x="209" y="157"/>
                  <a:pt x="209" y="157"/>
                  <a:pt x="210" y="157"/>
                </a:cubicBezTo>
                <a:cubicBezTo>
                  <a:pt x="209" y="157"/>
                  <a:pt x="209" y="158"/>
                  <a:pt x="209" y="158"/>
                </a:cubicBezTo>
                <a:cubicBezTo>
                  <a:pt x="208" y="158"/>
                  <a:pt x="208" y="157"/>
                  <a:pt x="207" y="158"/>
                </a:cubicBezTo>
                <a:cubicBezTo>
                  <a:pt x="207" y="158"/>
                  <a:pt x="207" y="159"/>
                  <a:pt x="206" y="159"/>
                </a:cubicBezTo>
                <a:cubicBezTo>
                  <a:pt x="206" y="159"/>
                  <a:pt x="206" y="159"/>
                  <a:pt x="206" y="158"/>
                </a:cubicBezTo>
                <a:cubicBezTo>
                  <a:pt x="204" y="159"/>
                  <a:pt x="202" y="160"/>
                  <a:pt x="200" y="160"/>
                </a:cubicBezTo>
                <a:cubicBezTo>
                  <a:pt x="199" y="160"/>
                  <a:pt x="199" y="158"/>
                  <a:pt x="199" y="158"/>
                </a:cubicBezTo>
                <a:cubicBezTo>
                  <a:pt x="198" y="157"/>
                  <a:pt x="198" y="156"/>
                  <a:pt x="198" y="156"/>
                </a:cubicBezTo>
                <a:cubicBezTo>
                  <a:pt x="197" y="155"/>
                  <a:pt x="196" y="156"/>
                  <a:pt x="196" y="155"/>
                </a:cubicBezTo>
                <a:cubicBezTo>
                  <a:pt x="195" y="154"/>
                  <a:pt x="194" y="153"/>
                  <a:pt x="193" y="154"/>
                </a:cubicBezTo>
                <a:cubicBezTo>
                  <a:pt x="192" y="154"/>
                  <a:pt x="189" y="154"/>
                  <a:pt x="189" y="153"/>
                </a:cubicBezTo>
                <a:cubicBezTo>
                  <a:pt x="189" y="153"/>
                  <a:pt x="189" y="153"/>
                  <a:pt x="189" y="153"/>
                </a:cubicBezTo>
                <a:cubicBezTo>
                  <a:pt x="188" y="153"/>
                  <a:pt x="188" y="153"/>
                  <a:pt x="188" y="154"/>
                </a:cubicBezTo>
                <a:cubicBezTo>
                  <a:pt x="188" y="154"/>
                  <a:pt x="188" y="154"/>
                  <a:pt x="187" y="154"/>
                </a:cubicBezTo>
                <a:cubicBezTo>
                  <a:pt x="187" y="154"/>
                  <a:pt x="187" y="155"/>
                  <a:pt x="187" y="155"/>
                </a:cubicBezTo>
                <a:cubicBezTo>
                  <a:pt x="187" y="155"/>
                  <a:pt x="187" y="156"/>
                  <a:pt x="186" y="156"/>
                </a:cubicBezTo>
                <a:cubicBezTo>
                  <a:pt x="186" y="156"/>
                  <a:pt x="186" y="156"/>
                  <a:pt x="186" y="156"/>
                </a:cubicBezTo>
                <a:cubicBezTo>
                  <a:pt x="186" y="156"/>
                  <a:pt x="186" y="156"/>
                  <a:pt x="186" y="156"/>
                </a:cubicBezTo>
                <a:cubicBezTo>
                  <a:pt x="186" y="156"/>
                  <a:pt x="187" y="155"/>
                  <a:pt x="187" y="155"/>
                </a:cubicBezTo>
                <a:cubicBezTo>
                  <a:pt x="187" y="154"/>
                  <a:pt x="187" y="153"/>
                  <a:pt x="188" y="153"/>
                </a:cubicBezTo>
                <a:cubicBezTo>
                  <a:pt x="188" y="153"/>
                  <a:pt x="188" y="153"/>
                  <a:pt x="188" y="153"/>
                </a:cubicBezTo>
                <a:cubicBezTo>
                  <a:pt x="189" y="154"/>
                  <a:pt x="187" y="152"/>
                  <a:pt x="187" y="152"/>
                </a:cubicBezTo>
                <a:cubicBezTo>
                  <a:pt x="187" y="152"/>
                  <a:pt x="188" y="153"/>
                  <a:pt x="189" y="153"/>
                </a:cubicBezTo>
                <a:cubicBezTo>
                  <a:pt x="189" y="153"/>
                  <a:pt x="188" y="152"/>
                  <a:pt x="188" y="152"/>
                </a:cubicBezTo>
                <a:cubicBezTo>
                  <a:pt x="187" y="152"/>
                  <a:pt x="188" y="151"/>
                  <a:pt x="187" y="150"/>
                </a:cubicBezTo>
                <a:cubicBezTo>
                  <a:pt x="187" y="150"/>
                  <a:pt x="186" y="150"/>
                  <a:pt x="186" y="149"/>
                </a:cubicBezTo>
                <a:cubicBezTo>
                  <a:pt x="186" y="149"/>
                  <a:pt x="186" y="148"/>
                  <a:pt x="186" y="148"/>
                </a:cubicBezTo>
                <a:cubicBezTo>
                  <a:pt x="186" y="148"/>
                  <a:pt x="185" y="147"/>
                  <a:pt x="185" y="147"/>
                </a:cubicBezTo>
                <a:cubicBezTo>
                  <a:pt x="185" y="147"/>
                  <a:pt x="185" y="146"/>
                  <a:pt x="185" y="146"/>
                </a:cubicBezTo>
                <a:cubicBezTo>
                  <a:pt x="185" y="145"/>
                  <a:pt x="185" y="145"/>
                  <a:pt x="184" y="145"/>
                </a:cubicBezTo>
                <a:cubicBezTo>
                  <a:pt x="184" y="144"/>
                  <a:pt x="185" y="142"/>
                  <a:pt x="184" y="141"/>
                </a:cubicBezTo>
                <a:cubicBezTo>
                  <a:pt x="184" y="139"/>
                  <a:pt x="182" y="138"/>
                  <a:pt x="181" y="136"/>
                </a:cubicBezTo>
                <a:cubicBezTo>
                  <a:pt x="181" y="135"/>
                  <a:pt x="180" y="134"/>
                  <a:pt x="179" y="133"/>
                </a:cubicBezTo>
                <a:cubicBezTo>
                  <a:pt x="179" y="132"/>
                  <a:pt x="179" y="131"/>
                  <a:pt x="179" y="130"/>
                </a:cubicBezTo>
                <a:cubicBezTo>
                  <a:pt x="178" y="129"/>
                  <a:pt x="178" y="129"/>
                  <a:pt x="178" y="127"/>
                </a:cubicBezTo>
                <a:cubicBezTo>
                  <a:pt x="178" y="127"/>
                  <a:pt x="178" y="126"/>
                  <a:pt x="177" y="125"/>
                </a:cubicBezTo>
                <a:cubicBezTo>
                  <a:pt x="177" y="125"/>
                  <a:pt x="177" y="123"/>
                  <a:pt x="177" y="123"/>
                </a:cubicBezTo>
                <a:cubicBezTo>
                  <a:pt x="176" y="123"/>
                  <a:pt x="176" y="123"/>
                  <a:pt x="176" y="122"/>
                </a:cubicBezTo>
                <a:cubicBezTo>
                  <a:pt x="176" y="121"/>
                  <a:pt x="176" y="120"/>
                  <a:pt x="176" y="119"/>
                </a:cubicBezTo>
                <a:cubicBezTo>
                  <a:pt x="176" y="118"/>
                  <a:pt x="176" y="118"/>
                  <a:pt x="176" y="117"/>
                </a:cubicBezTo>
                <a:cubicBezTo>
                  <a:pt x="176" y="117"/>
                  <a:pt x="176" y="118"/>
                  <a:pt x="176" y="119"/>
                </a:cubicBezTo>
                <a:cubicBezTo>
                  <a:pt x="177" y="120"/>
                  <a:pt x="177" y="121"/>
                  <a:pt x="178" y="121"/>
                </a:cubicBezTo>
                <a:cubicBezTo>
                  <a:pt x="178" y="122"/>
                  <a:pt x="179" y="123"/>
                  <a:pt x="178" y="123"/>
                </a:cubicBezTo>
                <a:cubicBezTo>
                  <a:pt x="178" y="124"/>
                  <a:pt x="177" y="125"/>
                  <a:pt x="178" y="125"/>
                </a:cubicBezTo>
                <a:cubicBezTo>
                  <a:pt x="178" y="125"/>
                  <a:pt x="179" y="123"/>
                  <a:pt x="179" y="122"/>
                </a:cubicBezTo>
                <a:cubicBezTo>
                  <a:pt x="178" y="121"/>
                  <a:pt x="178" y="121"/>
                  <a:pt x="177" y="120"/>
                </a:cubicBezTo>
                <a:cubicBezTo>
                  <a:pt x="177" y="119"/>
                  <a:pt x="176" y="119"/>
                  <a:pt x="176" y="118"/>
                </a:cubicBezTo>
                <a:cubicBezTo>
                  <a:pt x="176" y="117"/>
                  <a:pt x="176" y="116"/>
                  <a:pt x="176" y="114"/>
                </a:cubicBezTo>
                <a:cubicBezTo>
                  <a:pt x="176" y="113"/>
                  <a:pt x="176" y="113"/>
                  <a:pt x="176" y="112"/>
                </a:cubicBezTo>
                <a:cubicBezTo>
                  <a:pt x="176" y="111"/>
                  <a:pt x="176" y="111"/>
                  <a:pt x="176" y="110"/>
                </a:cubicBezTo>
                <a:cubicBezTo>
                  <a:pt x="176" y="110"/>
                  <a:pt x="176" y="111"/>
                  <a:pt x="176" y="111"/>
                </a:cubicBezTo>
                <a:cubicBezTo>
                  <a:pt x="175" y="111"/>
                  <a:pt x="176" y="110"/>
                  <a:pt x="176" y="109"/>
                </a:cubicBezTo>
                <a:cubicBezTo>
                  <a:pt x="177" y="109"/>
                  <a:pt x="177" y="108"/>
                  <a:pt x="177" y="108"/>
                </a:cubicBezTo>
                <a:cubicBezTo>
                  <a:pt x="177" y="108"/>
                  <a:pt x="177" y="107"/>
                  <a:pt x="177" y="107"/>
                </a:cubicBezTo>
                <a:cubicBezTo>
                  <a:pt x="177" y="108"/>
                  <a:pt x="177" y="108"/>
                  <a:pt x="177" y="108"/>
                </a:cubicBezTo>
                <a:cubicBezTo>
                  <a:pt x="178" y="107"/>
                  <a:pt x="178" y="106"/>
                  <a:pt x="178" y="104"/>
                </a:cubicBezTo>
                <a:cubicBezTo>
                  <a:pt x="178" y="104"/>
                  <a:pt x="178" y="104"/>
                  <a:pt x="178" y="103"/>
                </a:cubicBezTo>
                <a:cubicBezTo>
                  <a:pt x="178" y="102"/>
                  <a:pt x="179" y="100"/>
                  <a:pt x="179" y="98"/>
                </a:cubicBezTo>
                <a:cubicBezTo>
                  <a:pt x="179" y="98"/>
                  <a:pt x="179" y="99"/>
                  <a:pt x="179" y="99"/>
                </a:cubicBezTo>
                <a:cubicBezTo>
                  <a:pt x="179" y="99"/>
                  <a:pt x="179" y="98"/>
                  <a:pt x="178" y="98"/>
                </a:cubicBezTo>
                <a:cubicBezTo>
                  <a:pt x="179" y="98"/>
                  <a:pt x="179" y="98"/>
                  <a:pt x="179" y="97"/>
                </a:cubicBezTo>
                <a:cubicBezTo>
                  <a:pt x="180" y="97"/>
                  <a:pt x="180" y="97"/>
                  <a:pt x="180" y="96"/>
                </a:cubicBezTo>
                <a:cubicBezTo>
                  <a:pt x="180" y="95"/>
                  <a:pt x="180" y="94"/>
                  <a:pt x="180" y="93"/>
                </a:cubicBezTo>
                <a:cubicBezTo>
                  <a:pt x="181" y="91"/>
                  <a:pt x="182" y="88"/>
                  <a:pt x="183" y="86"/>
                </a:cubicBezTo>
                <a:cubicBezTo>
                  <a:pt x="184" y="84"/>
                  <a:pt x="185" y="82"/>
                  <a:pt x="187" y="80"/>
                </a:cubicBezTo>
                <a:cubicBezTo>
                  <a:pt x="188" y="78"/>
                  <a:pt x="189" y="76"/>
                  <a:pt x="190" y="74"/>
                </a:cubicBezTo>
                <a:cubicBezTo>
                  <a:pt x="189" y="74"/>
                  <a:pt x="189" y="74"/>
                  <a:pt x="189" y="74"/>
                </a:cubicBezTo>
                <a:cubicBezTo>
                  <a:pt x="188" y="74"/>
                  <a:pt x="188" y="74"/>
                  <a:pt x="188" y="74"/>
                </a:cubicBezTo>
                <a:cubicBezTo>
                  <a:pt x="188" y="74"/>
                  <a:pt x="187" y="75"/>
                  <a:pt x="187" y="75"/>
                </a:cubicBezTo>
                <a:cubicBezTo>
                  <a:pt x="187" y="75"/>
                  <a:pt x="187" y="75"/>
                  <a:pt x="187" y="75"/>
                </a:cubicBezTo>
                <a:cubicBezTo>
                  <a:pt x="186" y="75"/>
                  <a:pt x="187" y="75"/>
                  <a:pt x="187" y="75"/>
                </a:cubicBezTo>
                <a:cubicBezTo>
                  <a:pt x="186" y="75"/>
                  <a:pt x="186" y="75"/>
                  <a:pt x="186" y="74"/>
                </a:cubicBezTo>
                <a:cubicBezTo>
                  <a:pt x="186" y="74"/>
                  <a:pt x="186" y="74"/>
                  <a:pt x="185" y="74"/>
                </a:cubicBezTo>
                <a:cubicBezTo>
                  <a:pt x="185" y="73"/>
                  <a:pt x="183" y="73"/>
                  <a:pt x="182" y="73"/>
                </a:cubicBezTo>
                <a:cubicBezTo>
                  <a:pt x="182" y="73"/>
                  <a:pt x="182" y="73"/>
                  <a:pt x="181" y="73"/>
                </a:cubicBezTo>
                <a:cubicBezTo>
                  <a:pt x="181" y="73"/>
                  <a:pt x="181" y="73"/>
                  <a:pt x="181" y="73"/>
                </a:cubicBezTo>
                <a:cubicBezTo>
                  <a:pt x="180" y="73"/>
                  <a:pt x="180" y="73"/>
                  <a:pt x="179" y="72"/>
                </a:cubicBezTo>
                <a:cubicBezTo>
                  <a:pt x="179" y="72"/>
                  <a:pt x="178" y="71"/>
                  <a:pt x="178" y="71"/>
                </a:cubicBezTo>
                <a:cubicBezTo>
                  <a:pt x="177" y="71"/>
                  <a:pt x="177" y="71"/>
                  <a:pt x="177" y="71"/>
                </a:cubicBezTo>
                <a:cubicBezTo>
                  <a:pt x="176" y="71"/>
                  <a:pt x="176" y="71"/>
                  <a:pt x="175" y="70"/>
                </a:cubicBezTo>
                <a:cubicBezTo>
                  <a:pt x="175" y="69"/>
                  <a:pt x="175" y="70"/>
                  <a:pt x="174" y="69"/>
                </a:cubicBezTo>
                <a:cubicBezTo>
                  <a:pt x="174" y="69"/>
                  <a:pt x="173" y="69"/>
                  <a:pt x="173" y="69"/>
                </a:cubicBezTo>
                <a:cubicBezTo>
                  <a:pt x="172" y="69"/>
                  <a:pt x="173" y="68"/>
                  <a:pt x="173" y="68"/>
                </a:cubicBezTo>
                <a:cubicBezTo>
                  <a:pt x="173" y="68"/>
                  <a:pt x="172" y="68"/>
                  <a:pt x="172" y="67"/>
                </a:cubicBezTo>
                <a:cubicBezTo>
                  <a:pt x="172" y="67"/>
                  <a:pt x="172" y="67"/>
                  <a:pt x="172" y="66"/>
                </a:cubicBezTo>
                <a:cubicBezTo>
                  <a:pt x="172" y="66"/>
                  <a:pt x="172" y="65"/>
                  <a:pt x="172" y="64"/>
                </a:cubicBezTo>
                <a:cubicBezTo>
                  <a:pt x="172" y="63"/>
                  <a:pt x="171" y="63"/>
                  <a:pt x="171" y="62"/>
                </a:cubicBezTo>
                <a:cubicBezTo>
                  <a:pt x="171" y="61"/>
                  <a:pt x="171" y="61"/>
                  <a:pt x="171" y="60"/>
                </a:cubicBezTo>
                <a:cubicBezTo>
                  <a:pt x="171" y="60"/>
                  <a:pt x="171" y="59"/>
                  <a:pt x="171" y="59"/>
                </a:cubicBezTo>
                <a:cubicBezTo>
                  <a:pt x="171" y="59"/>
                  <a:pt x="171" y="59"/>
                  <a:pt x="171" y="58"/>
                </a:cubicBezTo>
                <a:cubicBezTo>
                  <a:pt x="171" y="58"/>
                  <a:pt x="172" y="58"/>
                  <a:pt x="172" y="57"/>
                </a:cubicBezTo>
                <a:cubicBezTo>
                  <a:pt x="172" y="57"/>
                  <a:pt x="171" y="57"/>
                  <a:pt x="171" y="57"/>
                </a:cubicBezTo>
                <a:cubicBezTo>
                  <a:pt x="172" y="56"/>
                  <a:pt x="171" y="56"/>
                  <a:pt x="171" y="56"/>
                </a:cubicBezTo>
                <a:cubicBezTo>
                  <a:pt x="171" y="55"/>
                  <a:pt x="170" y="55"/>
                  <a:pt x="170" y="55"/>
                </a:cubicBezTo>
                <a:cubicBezTo>
                  <a:pt x="170" y="55"/>
                  <a:pt x="170" y="54"/>
                  <a:pt x="169" y="54"/>
                </a:cubicBezTo>
                <a:cubicBezTo>
                  <a:pt x="169" y="54"/>
                  <a:pt x="169" y="53"/>
                  <a:pt x="169" y="53"/>
                </a:cubicBezTo>
                <a:cubicBezTo>
                  <a:pt x="169" y="53"/>
                  <a:pt x="169" y="52"/>
                  <a:pt x="169" y="52"/>
                </a:cubicBezTo>
                <a:cubicBezTo>
                  <a:pt x="168" y="51"/>
                  <a:pt x="168" y="51"/>
                  <a:pt x="168" y="50"/>
                </a:cubicBezTo>
                <a:cubicBezTo>
                  <a:pt x="168" y="50"/>
                  <a:pt x="168" y="50"/>
                  <a:pt x="167" y="49"/>
                </a:cubicBezTo>
                <a:cubicBezTo>
                  <a:pt x="167" y="49"/>
                  <a:pt x="167" y="49"/>
                  <a:pt x="167" y="49"/>
                </a:cubicBezTo>
                <a:cubicBezTo>
                  <a:pt x="166" y="48"/>
                  <a:pt x="166" y="48"/>
                  <a:pt x="166" y="47"/>
                </a:cubicBezTo>
                <a:cubicBezTo>
                  <a:pt x="166" y="47"/>
                  <a:pt x="167" y="46"/>
                  <a:pt x="166" y="46"/>
                </a:cubicBezTo>
                <a:cubicBezTo>
                  <a:pt x="166" y="45"/>
                  <a:pt x="166" y="45"/>
                  <a:pt x="166" y="45"/>
                </a:cubicBezTo>
                <a:cubicBezTo>
                  <a:pt x="166" y="44"/>
                  <a:pt x="166" y="44"/>
                  <a:pt x="166" y="43"/>
                </a:cubicBezTo>
                <a:cubicBezTo>
                  <a:pt x="166" y="42"/>
                  <a:pt x="165" y="42"/>
                  <a:pt x="165" y="41"/>
                </a:cubicBezTo>
                <a:cubicBezTo>
                  <a:pt x="165" y="41"/>
                  <a:pt x="166" y="40"/>
                  <a:pt x="165" y="39"/>
                </a:cubicBezTo>
                <a:cubicBezTo>
                  <a:pt x="164" y="39"/>
                  <a:pt x="165" y="38"/>
                  <a:pt x="164" y="38"/>
                </a:cubicBezTo>
                <a:cubicBezTo>
                  <a:pt x="164" y="37"/>
                  <a:pt x="164" y="37"/>
                  <a:pt x="163" y="37"/>
                </a:cubicBezTo>
                <a:cubicBezTo>
                  <a:pt x="163" y="36"/>
                  <a:pt x="163" y="35"/>
                  <a:pt x="163" y="35"/>
                </a:cubicBezTo>
                <a:cubicBezTo>
                  <a:pt x="162" y="35"/>
                  <a:pt x="161" y="35"/>
                  <a:pt x="161" y="34"/>
                </a:cubicBezTo>
                <a:cubicBezTo>
                  <a:pt x="162" y="34"/>
                  <a:pt x="161" y="34"/>
                  <a:pt x="161" y="34"/>
                </a:cubicBezTo>
                <a:cubicBezTo>
                  <a:pt x="161" y="34"/>
                  <a:pt x="161" y="34"/>
                  <a:pt x="161" y="33"/>
                </a:cubicBezTo>
                <a:cubicBezTo>
                  <a:pt x="161" y="33"/>
                  <a:pt x="161" y="33"/>
                  <a:pt x="161" y="33"/>
                </a:cubicBezTo>
                <a:cubicBezTo>
                  <a:pt x="160" y="33"/>
                  <a:pt x="160" y="32"/>
                  <a:pt x="160" y="32"/>
                </a:cubicBezTo>
                <a:cubicBezTo>
                  <a:pt x="160" y="32"/>
                  <a:pt x="160" y="32"/>
                  <a:pt x="160" y="32"/>
                </a:cubicBezTo>
                <a:cubicBezTo>
                  <a:pt x="159" y="32"/>
                  <a:pt x="159" y="32"/>
                  <a:pt x="159" y="32"/>
                </a:cubicBezTo>
                <a:cubicBezTo>
                  <a:pt x="159" y="32"/>
                  <a:pt x="159" y="32"/>
                  <a:pt x="159" y="32"/>
                </a:cubicBezTo>
                <a:cubicBezTo>
                  <a:pt x="159" y="32"/>
                  <a:pt x="158" y="32"/>
                  <a:pt x="158" y="32"/>
                </a:cubicBezTo>
                <a:cubicBezTo>
                  <a:pt x="157" y="32"/>
                  <a:pt x="156" y="32"/>
                  <a:pt x="155" y="32"/>
                </a:cubicBezTo>
                <a:cubicBezTo>
                  <a:pt x="155" y="32"/>
                  <a:pt x="154" y="32"/>
                  <a:pt x="153" y="31"/>
                </a:cubicBezTo>
                <a:cubicBezTo>
                  <a:pt x="153" y="31"/>
                  <a:pt x="152" y="31"/>
                  <a:pt x="152" y="31"/>
                </a:cubicBezTo>
                <a:cubicBezTo>
                  <a:pt x="152" y="31"/>
                  <a:pt x="152" y="32"/>
                  <a:pt x="151" y="32"/>
                </a:cubicBezTo>
                <a:cubicBezTo>
                  <a:pt x="151" y="32"/>
                  <a:pt x="151" y="32"/>
                  <a:pt x="150" y="32"/>
                </a:cubicBezTo>
                <a:cubicBezTo>
                  <a:pt x="149" y="32"/>
                  <a:pt x="149" y="32"/>
                  <a:pt x="148" y="33"/>
                </a:cubicBezTo>
                <a:cubicBezTo>
                  <a:pt x="148" y="33"/>
                  <a:pt x="148" y="33"/>
                  <a:pt x="147" y="34"/>
                </a:cubicBezTo>
                <a:cubicBezTo>
                  <a:pt x="147" y="35"/>
                  <a:pt x="147" y="35"/>
                  <a:pt x="146" y="36"/>
                </a:cubicBezTo>
                <a:cubicBezTo>
                  <a:pt x="146" y="37"/>
                  <a:pt x="145" y="37"/>
                  <a:pt x="145" y="38"/>
                </a:cubicBezTo>
                <a:cubicBezTo>
                  <a:pt x="145" y="38"/>
                  <a:pt x="145" y="38"/>
                  <a:pt x="145" y="38"/>
                </a:cubicBezTo>
                <a:cubicBezTo>
                  <a:pt x="145" y="38"/>
                  <a:pt x="144" y="38"/>
                  <a:pt x="144" y="38"/>
                </a:cubicBezTo>
                <a:cubicBezTo>
                  <a:pt x="144" y="39"/>
                  <a:pt x="143" y="39"/>
                  <a:pt x="143" y="39"/>
                </a:cubicBezTo>
                <a:cubicBezTo>
                  <a:pt x="143" y="40"/>
                  <a:pt x="143" y="40"/>
                  <a:pt x="142" y="40"/>
                </a:cubicBezTo>
                <a:cubicBezTo>
                  <a:pt x="142" y="40"/>
                  <a:pt x="142" y="40"/>
                  <a:pt x="142" y="41"/>
                </a:cubicBezTo>
                <a:cubicBezTo>
                  <a:pt x="141" y="41"/>
                  <a:pt x="141" y="41"/>
                  <a:pt x="141" y="41"/>
                </a:cubicBezTo>
                <a:cubicBezTo>
                  <a:pt x="141" y="41"/>
                  <a:pt x="140" y="40"/>
                  <a:pt x="140" y="40"/>
                </a:cubicBezTo>
                <a:cubicBezTo>
                  <a:pt x="140" y="40"/>
                  <a:pt x="140" y="40"/>
                  <a:pt x="140" y="40"/>
                </a:cubicBezTo>
                <a:cubicBezTo>
                  <a:pt x="139" y="40"/>
                  <a:pt x="139" y="39"/>
                  <a:pt x="139" y="39"/>
                </a:cubicBezTo>
                <a:cubicBezTo>
                  <a:pt x="138" y="39"/>
                  <a:pt x="137" y="39"/>
                  <a:pt x="137" y="38"/>
                </a:cubicBezTo>
                <a:cubicBezTo>
                  <a:pt x="137" y="38"/>
                  <a:pt x="137" y="38"/>
                  <a:pt x="136" y="37"/>
                </a:cubicBezTo>
                <a:cubicBezTo>
                  <a:pt x="135" y="37"/>
                  <a:pt x="134" y="37"/>
                  <a:pt x="133" y="36"/>
                </a:cubicBezTo>
                <a:cubicBezTo>
                  <a:pt x="133" y="35"/>
                  <a:pt x="132" y="35"/>
                  <a:pt x="132" y="34"/>
                </a:cubicBezTo>
                <a:cubicBezTo>
                  <a:pt x="131" y="34"/>
                  <a:pt x="131" y="33"/>
                  <a:pt x="131" y="33"/>
                </a:cubicBezTo>
                <a:cubicBezTo>
                  <a:pt x="131" y="31"/>
                  <a:pt x="130" y="30"/>
                  <a:pt x="131" y="28"/>
                </a:cubicBezTo>
                <a:cubicBezTo>
                  <a:pt x="132" y="27"/>
                  <a:pt x="130" y="26"/>
                  <a:pt x="131" y="24"/>
                </a:cubicBezTo>
                <a:cubicBezTo>
                  <a:pt x="131" y="24"/>
                  <a:pt x="131" y="23"/>
                  <a:pt x="130" y="23"/>
                </a:cubicBezTo>
                <a:cubicBezTo>
                  <a:pt x="130" y="23"/>
                  <a:pt x="130" y="22"/>
                  <a:pt x="130" y="22"/>
                </a:cubicBezTo>
                <a:cubicBezTo>
                  <a:pt x="129" y="22"/>
                  <a:pt x="129" y="21"/>
                  <a:pt x="128" y="21"/>
                </a:cubicBezTo>
                <a:cubicBezTo>
                  <a:pt x="128" y="20"/>
                  <a:pt x="127" y="20"/>
                  <a:pt x="127" y="20"/>
                </a:cubicBezTo>
                <a:cubicBezTo>
                  <a:pt x="126" y="19"/>
                  <a:pt x="126" y="18"/>
                  <a:pt x="126" y="18"/>
                </a:cubicBezTo>
                <a:cubicBezTo>
                  <a:pt x="126" y="17"/>
                  <a:pt x="125" y="17"/>
                  <a:pt x="125" y="16"/>
                </a:cubicBezTo>
                <a:cubicBezTo>
                  <a:pt x="124" y="16"/>
                  <a:pt x="124" y="15"/>
                  <a:pt x="123" y="14"/>
                </a:cubicBezTo>
                <a:cubicBezTo>
                  <a:pt x="122" y="14"/>
                  <a:pt x="122" y="14"/>
                  <a:pt x="122" y="13"/>
                </a:cubicBezTo>
                <a:cubicBezTo>
                  <a:pt x="121" y="12"/>
                  <a:pt x="121" y="12"/>
                  <a:pt x="121" y="11"/>
                </a:cubicBezTo>
                <a:cubicBezTo>
                  <a:pt x="121" y="10"/>
                  <a:pt x="121" y="10"/>
                  <a:pt x="120" y="10"/>
                </a:cubicBezTo>
                <a:cubicBezTo>
                  <a:pt x="120" y="10"/>
                  <a:pt x="120" y="10"/>
                  <a:pt x="120" y="10"/>
                </a:cubicBezTo>
                <a:cubicBezTo>
                  <a:pt x="120" y="10"/>
                  <a:pt x="119" y="10"/>
                  <a:pt x="119" y="10"/>
                </a:cubicBezTo>
                <a:cubicBezTo>
                  <a:pt x="119" y="10"/>
                  <a:pt x="118" y="10"/>
                  <a:pt x="118" y="10"/>
                </a:cubicBezTo>
                <a:cubicBezTo>
                  <a:pt x="117" y="10"/>
                  <a:pt x="116" y="10"/>
                  <a:pt x="115" y="10"/>
                </a:cubicBezTo>
                <a:cubicBezTo>
                  <a:pt x="113" y="10"/>
                  <a:pt x="111" y="10"/>
                  <a:pt x="109" y="10"/>
                </a:cubicBezTo>
                <a:cubicBezTo>
                  <a:pt x="107" y="10"/>
                  <a:pt x="106" y="10"/>
                  <a:pt x="105" y="10"/>
                </a:cubicBezTo>
                <a:cubicBezTo>
                  <a:pt x="104" y="10"/>
                  <a:pt x="104" y="10"/>
                  <a:pt x="104" y="11"/>
                </a:cubicBezTo>
                <a:cubicBezTo>
                  <a:pt x="104" y="12"/>
                  <a:pt x="104" y="12"/>
                  <a:pt x="103" y="13"/>
                </a:cubicBezTo>
                <a:cubicBezTo>
                  <a:pt x="103" y="14"/>
                  <a:pt x="103" y="15"/>
                  <a:pt x="102" y="15"/>
                </a:cubicBezTo>
                <a:cubicBezTo>
                  <a:pt x="101" y="15"/>
                  <a:pt x="100" y="15"/>
                  <a:pt x="98" y="15"/>
                </a:cubicBezTo>
                <a:cubicBezTo>
                  <a:pt x="96" y="15"/>
                  <a:pt x="95" y="15"/>
                  <a:pt x="93" y="15"/>
                </a:cubicBezTo>
                <a:cubicBezTo>
                  <a:pt x="89" y="15"/>
                  <a:pt x="85" y="15"/>
                  <a:pt x="80" y="15"/>
                </a:cubicBezTo>
                <a:cubicBezTo>
                  <a:pt x="78" y="15"/>
                  <a:pt x="76" y="15"/>
                  <a:pt x="74" y="14"/>
                </a:cubicBezTo>
                <a:cubicBezTo>
                  <a:pt x="73" y="13"/>
                  <a:pt x="71" y="12"/>
                  <a:pt x="69" y="12"/>
                </a:cubicBezTo>
                <a:cubicBezTo>
                  <a:pt x="61" y="8"/>
                  <a:pt x="54" y="5"/>
                  <a:pt x="46" y="2"/>
                </a:cubicBezTo>
                <a:cubicBezTo>
                  <a:pt x="46" y="2"/>
                  <a:pt x="47" y="1"/>
                  <a:pt x="47" y="1"/>
                </a:cubicBezTo>
                <a:cubicBezTo>
                  <a:pt x="47" y="0"/>
                  <a:pt x="48" y="0"/>
                  <a:pt x="48" y="0"/>
                </a:cubicBezTo>
                <a:cubicBezTo>
                  <a:pt x="42" y="0"/>
                  <a:pt x="36" y="1"/>
                  <a:pt x="30" y="1"/>
                </a:cubicBezTo>
                <a:cubicBezTo>
                  <a:pt x="29" y="1"/>
                  <a:pt x="28" y="1"/>
                  <a:pt x="27" y="1"/>
                </a:cubicBezTo>
                <a:cubicBezTo>
                  <a:pt x="26" y="1"/>
                  <a:pt x="25" y="1"/>
                  <a:pt x="25" y="2"/>
                </a:cubicBezTo>
                <a:cubicBezTo>
                  <a:pt x="25" y="3"/>
                  <a:pt x="25" y="4"/>
                  <a:pt x="25" y="4"/>
                </a:cubicBezTo>
                <a:cubicBezTo>
                  <a:pt x="25" y="5"/>
                  <a:pt x="25" y="5"/>
                  <a:pt x="26" y="5"/>
                </a:cubicBezTo>
                <a:cubicBezTo>
                  <a:pt x="26" y="6"/>
                  <a:pt x="25" y="7"/>
                  <a:pt x="25" y="8"/>
                </a:cubicBezTo>
                <a:cubicBezTo>
                  <a:pt x="26" y="8"/>
                  <a:pt x="26" y="8"/>
                  <a:pt x="26" y="8"/>
                </a:cubicBezTo>
                <a:cubicBezTo>
                  <a:pt x="26" y="8"/>
                  <a:pt x="27" y="9"/>
                  <a:pt x="27" y="9"/>
                </a:cubicBezTo>
                <a:cubicBezTo>
                  <a:pt x="27" y="10"/>
                  <a:pt x="26" y="11"/>
                  <a:pt x="25" y="10"/>
                </a:cubicBezTo>
                <a:cubicBezTo>
                  <a:pt x="26" y="11"/>
                  <a:pt x="26" y="11"/>
                  <a:pt x="25" y="12"/>
                </a:cubicBezTo>
                <a:cubicBezTo>
                  <a:pt x="25" y="12"/>
                  <a:pt x="25" y="12"/>
                  <a:pt x="25" y="13"/>
                </a:cubicBezTo>
                <a:cubicBezTo>
                  <a:pt x="25" y="14"/>
                  <a:pt x="26" y="14"/>
                  <a:pt x="26" y="15"/>
                </a:cubicBezTo>
                <a:cubicBezTo>
                  <a:pt x="27" y="16"/>
                  <a:pt x="27" y="17"/>
                  <a:pt x="26" y="18"/>
                </a:cubicBezTo>
                <a:cubicBezTo>
                  <a:pt x="26" y="18"/>
                  <a:pt x="26" y="19"/>
                  <a:pt x="26" y="19"/>
                </a:cubicBezTo>
                <a:cubicBezTo>
                  <a:pt x="27" y="19"/>
                  <a:pt x="27" y="20"/>
                  <a:pt x="27" y="20"/>
                </a:cubicBezTo>
                <a:cubicBezTo>
                  <a:pt x="27" y="20"/>
                  <a:pt x="28" y="20"/>
                  <a:pt x="28" y="21"/>
                </a:cubicBezTo>
                <a:cubicBezTo>
                  <a:pt x="28" y="22"/>
                  <a:pt x="27" y="22"/>
                  <a:pt x="27" y="23"/>
                </a:cubicBezTo>
                <a:cubicBezTo>
                  <a:pt x="27" y="23"/>
                  <a:pt x="26" y="25"/>
                  <a:pt x="27" y="25"/>
                </a:cubicBezTo>
                <a:cubicBezTo>
                  <a:pt x="26" y="25"/>
                  <a:pt x="27" y="24"/>
                  <a:pt x="27" y="24"/>
                </a:cubicBezTo>
                <a:cubicBezTo>
                  <a:pt x="28" y="25"/>
                  <a:pt x="27" y="25"/>
                  <a:pt x="27" y="25"/>
                </a:cubicBezTo>
                <a:cubicBezTo>
                  <a:pt x="28" y="25"/>
                  <a:pt x="28" y="27"/>
                  <a:pt x="28" y="28"/>
                </a:cubicBezTo>
                <a:cubicBezTo>
                  <a:pt x="27" y="29"/>
                  <a:pt x="27" y="29"/>
                  <a:pt x="27" y="30"/>
                </a:cubicBezTo>
                <a:cubicBezTo>
                  <a:pt x="27" y="30"/>
                  <a:pt x="27" y="30"/>
                  <a:pt x="27" y="30"/>
                </a:cubicBezTo>
                <a:cubicBezTo>
                  <a:pt x="28" y="31"/>
                  <a:pt x="28" y="31"/>
                  <a:pt x="27" y="31"/>
                </a:cubicBezTo>
                <a:cubicBezTo>
                  <a:pt x="27" y="32"/>
                  <a:pt x="27" y="32"/>
                  <a:pt x="28" y="33"/>
                </a:cubicBezTo>
                <a:cubicBezTo>
                  <a:pt x="28" y="33"/>
                  <a:pt x="28" y="33"/>
                  <a:pt x="28" y="33"/>
                </a:cubicBezTo>
                <a:cubicBezTo>
                  <a:pt x="28" y="34"/>
                  <a:pt x="29" y="34"/>
                  <a:pt x="29" y="34"/>
                </a:cubicBezTo>
                <a:cubicBezTo>
                  <a:pt x="29" y="34"/>
                  <a:pt x="29" y="34"/>
                  <a:pt x="29" y="34"/>
                </a:cubicBezTo>
                <a:cubicBezTo>
                  <a:pt x="30" y="35"/>
                  <a:pt x="30" y="35"/>
                  <a:pt x="30" y="35"/>
                </a:cubicBezTo>
                <a:cubicBezTo>
                  <a:pt x="31" y="36"/>
                  <a:pt x="31" y="36"/>
                  <a:pt x="32" y="36"/>
                </a:cubicBezTo>
                <a:cubicBezTo>
                  <a:pt x="32" y="36"/>
                  <a:pt x="33" y="36"/>
                  <a:pt x="33" y="37"/>
                </a:cubicBezTo>
                <a:cubicBezTo>
                  <a:pt x="33" y="37"/>
                  <a:pt x="33" y="38"/>
                  <a:pt x="34" y="38"/>
                </a:cubicBezTo>
                <a:cubicBezTo>
                  <a:pt x="34" y="39"/>
                  <a:pt x="34" y="39"/>
                  <a:pt x="34" y="39"/>
                </a:cubicBezTo>
                <a:cubicBezTo>
                  <a:pt x="35" y="40"/>
                  <a:pt x="35" y="39"/>
                  <a:pt x="35" y="40"/>
                </a:cubicBezTo>
                <a:cubicBezTo>
                  <a:pt x="35" y="40"/>
                  <a:pt x="35" y="40"/>
                  <a:pt x="35" y="40"/>
                </a:cubicBezTo>
                <a:cubicBezTo>
                  <a:pt x="35" y="41"/>
                  <a:pt x="35" y="41"/>
                  <a:pt x="35" y="41"/>
                </a:cubicBezTo>
                <a:cubicBezTo>
                  <a:pt x="35" y="41"/>
                  <a:pt x="36" y="42"/>
                  <a:pt x="36" y="42"/>
                </a:cubicBezTo>
                <a:cubicBezTo>
                  <a:pt x="36" y="42"/>
                  <a:pt x="36" y="43"/>
                  <a:pt x="36" y="43"/>
                </a:cubicBezTo>
                <a:cubicBezTo>
                  <a:pt x="36" y="44"/>
                  <a:pt x="37" y="44"/>
                  <a:pt x="37" y="44"/>
                </a:cubicBezTo>
                <a:cubicBezTo>
                  <a:pt x="37" y="44"/>
                  <a:pt x="38" y="45"/>
                  <a:pt x="38" y="45"/>
                </a:cubicBezTo>
                <a:cubicBezTo>
                  <a:pt x="37" y="46"/>
                  <a:pt x="38" y="45"/>
                  <a:pt x="38" y="46"/>
                </a:cubicBezTo>
                <a:cubicBezTo>
                  <a:pt x="38" y="46"/>
                  <a:pt x="38" y="47"/>
                  <a:pt x="38" y="47"/>
                </a:cubicBezTo>
                <a:cubicBezTo>
                  <a:pt x="37" y="48"/>
                  <a:pt x="37" y="48"/>
                  <a:pt x="37" y="49"/>
                </a:cubicBezTo>
                <a:cubicBezTo>
                  <a:pt x="37" y="49"/>
                  <a:pt x="37" y="49"/>
                  <a:pt x="37" y="49"/>
                </a:cubicBezTo>
                <a:cubicBezTo>
                  <a:pt x="37" y="50"/>
                  <a:pt x="35" y="51"/>
                  <a:pt x="35" y="52"/>
                </a:cubicBezTo>
                <a:cubicBezTo>
                  <a:pt x="33" y="53"/>
                  <a:pt x="35" y="52"/>
                  <a:pt x="35" y="52"/>
                </a:cubicBezTo>
                <a:cubicBezTo>
                  <a:pt x="35" y="53"/>
                  <a:pt x="35" y="54"/>
                  <a:pt x="35" y="55"/>
                </a:cubicBezTo>
                <a:cubicBezTo>
                  <a:pt x="35" y="55"/>
                  <a:pt x="35" y="55"/>
                  <a:pt x="36" y="55"/>
                </a:cubicBezTo>
                <a:cubicBezTo>
                  <a:pt x="36" y="54"/>
                  <a:pt x="36" y="54"/>
                  <a:pt x="36" y="54"/>
                </a:cubicBezTo>
                <a:cubicBezTo>
                  <a:pt x="36" y="54"/>
                  <a:pt x="36" y="54"/>
                  <a:pt x="36" y="54"/>
                </a:cubicBezTo>
                <a:cubicBezTo>
                  <a:pt x="37" y="53"/>
                  <a:pt x="37" y="53"/>
                  <a:pt x="37" y="53"/>
                </a:cubicBezTo>
                <a:cubicBezTo>
                  <a:pt x="36" y="53"/>
                  <a:pt x="36" y="53"/>
                  <a:pt x="36" y="53"/>
                </a:cubicBezTo>
                <a:cubicBezTo>
                  <a:pt x="36" y="53"/>
                  <a:pt x="36" y="52"/>
                  <a:pt x="36" y="52"/>
                </a:cubicBezTo>
                <a:cubicBezTo>
                  <a:pt x="37" y="53"/>
                  <a:pt x="36" y="53"/>
                  <a:pt x="37" y="53"/>
                </a:cubicBezTo>
                <a:cubicBezTo>
                  <a:pt x="37" y="53"/>
                  <a:pt x="37" y="53"/>
                  <a:pt x="37" y="54"/>
                </a:cubicBezTo>
                <a:cubicBezTo>
                  <a:pt x="38" y="54"/>
                  <a:pt x="37" y="55"/>
                  <a:pt x="37" y="55"/>
                </a:cubicBezTo>
                <a:cubicBezTo>
                  <a:pt x="37" y="56"/>
                  <a:pt x="37" y="56"/>
                  <a:pt x="37" y="56"/>
                </a:cubicBezTo>
                <a:cubicBezTo>
                  <a:pt x="37" y="57"/>
                  <a:pt x="37" y="56"/>
                  <a:pt x="37" y="56"/>
                </a:cubicBezTo>
                <a:cubicBezTo>
                  <a:pt x="37" y="57"/>
                  <a:pt x="37" y="57"/>
                  <a:pt x="36" y="57"/>
                </a:cubicBezTo>
                <a:cubicBezTo>
                  <a:pt x="36" y="57"/>
                  <a:pt x="36" y="57"/>
                  <a:pt x="36" y="57"/>
                </a:cubicBezTo>
                <a:cubicBezTo>
                  <a:pt x="36" y="57"/>
                  <a:pt x="37" y="57"/>
                  <a:pt x="37" y="57"/>
                </a:cubicBezTo>
                <a:cubicBezTo>
                  <a:pt x="36" y="56"/>
                  <a:pt x="36" y="56"/>
                  <a:pt x="36" y="56"/>
                </a:cubicBezTo>
                <a:cubicBezTo>
                  <a:pt x="36" y="56"/>
                  <a:pt x="36" y="56"/>
                  <a:pt x="36" y="56"/>
                </a:cubicBezTo>
                <a:cubicBezTo>
                  <a:pt x="36" y="55"/>
                  <a:pt x="36" y="55"/>
                  <a:pt x="35" y="55"/>
                </a:cubicBezTo>
                <a:cubicBezTo>
                  <a:pt x="35" y="55"/>
                  <a:pt x="35" y="56"/>
                  <a:pt x="35" y="55"/>
                </a:cubicBezTo>
                <a:cubicBezTo>
                  <a:pt x="34" y="55"/>
                  <a:pt x="33" y="55"/>
                  <a:pt x="34" y="54"/>
                </a:cubicBezTo>
                <a:cubicBezTo>
                  <a:pt x="34" y="53"/>
                  <a:pt x="32" y="54"/>
                  <a:pt x="32" y="54"/>
                </a:cubicBezTo>
                <a:cubicBezTo>
                  <a:pt x="31" y="54"/>
                  <a:pt x="30" y="54"/>
                  <a:pt x="29" y="54"/>
                </a:cubicBezTo>
                <a:cubicBezTo>
                  <a:pt x="28" y="54"/>
                  <a:pt x="27" y="54"/>
                  <a:pt x="27" y="53"/>
                </a:cubicBezTo>
                <a:cubicBezTo>
                  <a:pt x="26" y="53"/>
                  <a:pt x="27" y="55"/>
                  <a:pt x="27" y="55"/>
                </a:cubicBezTo>
                <a:cubicBezTo>
                  <a:pt x="27" y="55"/>
                  <a:pt x="27" y="55"/>
                  <a:pt x="27" y="55"/>
                </a:cubicBezTo>
                <a:cubicBezTo>
                  <a:pt x="27" y="55"/>
                  <a:pt x="28" y="55"/>
                  <a:pt x="28" y="55"/>
                </a:cubicBezTo>
                <a:cubicBezTo>
                  <a:pt x="28" y="55"/>
                  <a:pt x="27" y="56"/>
                  <a:pt x="28" y="56"/>
                </a:cubicBezTo>
                <a:cubicBezTo>
                  <a:pt x="28" y="56"/>
                  <a:pt x="28" y="56"/>
                  <a:pt x="28" y="56"/>
                </a:cubicBezTo>
                <a:cubicBezTo>
                  <a:pt x="29" y="57"/>
                  <a:pt x="30" y="57"/>
                  <a:pt x="30" y="58"/>
                </a:cubicBezTo>
                <a:cubicBezTo>
                  <a:pt x="31" y="59"/>
                  <a:pt x="30" y="59"/>
                  <a:pt x="30" y="60"/>
                </a:cubicBezTo>
                <a:cubicBezTo>
                  <a:pt x="30" y="60"/>
                  <a:pt x="30" y="60"/>
                  <a:pt x="30" y="60"/>
                </a:cubicBezTo>
                <a:cubicBezTo>
                  <a:pt x="30" y="60"/>
                  <a:pt x="30" y="60"/>
                  <a:pt x="30" y="60"/>
                </a:cubicBezTo>
                <a:cubicBezTo>
                  <a:pt x="31" y="61"/>
                  <a:pt x="33" y="60"/>
                  <a:pt x="33" y="62"/>
                </a:cubicBezTo>
                <a:cubicBezTo>
                  <a:pt x="33" y="62"/>
                  <a:pt x="33" y="63"/>
                  <a:pt x="34" y="63"/>
                </a:cubicBezTo>
                <a:cubicBezTo>
                  <a:pt x="34" y="63"/>
                  <a:pt x="35" y="63"/>
                  <a:pt x="35" y="63"/>
                </a:cubicBezTo>
                <a:cubicBezTo>
                  <a:pt x="36" y="64"/>
                  <a:pt x="36" y="66"/>
                  <a:pt x="37" y="66"/>
                </a:cubicBezTo>
                <a:cubicBezTo>
                  <a:pt x="37" y="66"/>
                  <a:pt x="38" y="65"/>
                  <a:pt x="38" y="65"/>
                </a:cubicBezTo>
                <a:cubicBezTo>
                  <a:pt x="39" y="65"/>
                  <a:pt x="39" y="65"/>
                  <a:pt x="40" y="65"/>
                </a:cubicBezTo>
                <a:cubicBezTo>
                  <a:pt x="40" y="65"/>
                  <a:pt x="41" y="63"/>
                  <a:pt x="42" y="63"/>
                </a:cubicBezTo>
                <a:cubicBezTo>
                  <a:pt x="42" y="63"/>
                  <a:pt x="41" y="64"/>
                  <a:pt x="41" y="65"/>
                </a:cubicBezTo>
                <a:cubicBezTo>
                  <a:pt x="41" y="65"/>
                  <a:pt x="40" y="65"/>
                  <a:pt x="41" y="65"/>
                </a:cubicBezTo>
                <a:cubicBezTo>
                  <a:pt x="41" y="65"/>
                  <a:pt x="41" y="65"/>
                  <a:pt x="41" y="65"/>
                </a:cubicBezTo>
                <a:cubicBezTo>
                  <a:pt x="41" y="65"/>
                  <a:pt x="41" y="66"/>
                  <a:pt x="41" y="66"/>
                </a:cubicBezTo>
                <a:cubicBezTo>
                  <a:pt x="42" y="67"/>
                  <a:pt x="41" y="67"/>
                  <a:pt x="42" y="68"/>
                </a:cubicBezTo>
                <a:cubicBezTo>
                  <a:pt x="43" y="68"/>
                  <a:pt x="43" y="69"/>
                  <a:pt x="44" y="70"/>
                </a:cubicBezTo>
                <a:cubicBezTo>
                  <a:pt x="44" y="70"/>
                  <a:pt x="45" y="70"/>
                  <a:pt x="45" y="71"/>
                </a:cubicBezTo>
                <a:cubicBezTo>
                  <a:pt x="46" y="71"/>
                  <a:pt x="46" y="70"/>
                  <a:pt x="46" y="71"/>
                </a:cubicBezTo>
                <a:cubicBezTo>
                  <a:pt x="47" y="71"/>
                  <a:pt x="47" y="72"/>
                  <a:pt x="47" y="72"/>
                </a:cubicBezTo>
                <a:cubicBezTo>
                  <a:pt x="47" y="73"/>
                  <a:pt x="48" y="74"/>
                  <a:pt x="48" y="75"/>
                </a:cubicBezTo>
                <a:cubicBezTo>
                  <a:pt x="48" y="75"/>
                  <a:pt x="48" y="76"/>
                  <a:pt x="48" y="77"/>
                </a:cubicBezTo>
                <a:cubicBezTo>
                  <a:pt x="48" y="77"/>
                  <a:pt x="48" y="76"/>
                  <a:pt x="48" y="76"/>
                </a:cubicBezTo>
                <a:cubicBezTo>
                  <a:pt x="48" y="77"/>
                  <a:pt x="48" y="78"/>
                  <a:pt x="48" y="79"/>
                </a:cubicBezTo>
                <a:cubicBezTo>
                  <a:pt x="47" y="80"/>
                  <a:pt x="47" y="81"/>
                  <a:pt x="47" y="82"/>
                </a:cubicBezTo>
                <a:cubicBezTo>
                  <a:pt x="47" y="82"/>
                  <a:pt x="46" y="83"/>
                  <a:pt x="46" y="83"/>
                </a:cubicBezTo>
                <a:cubicBezTo>
                  <a:pt x="46" y="83"/>
                  <a:pt x="46" y="84"/>
                  <a:pt x="46" y="84"/>
                </a:cubicBezTo>
                <a:cubicBezTo>
                  <a:pt x="46" y="85"/>
                  <a:pt x="45" y="86"/>
                  <a:pt x="45" y="86"/>
                </a:cubicBezTo>
                <a:cubicBezTo>
                  <a:pt x="45" y="86"/>
                  <a:pt x="45" y="86"/>
                  <a:pt x="45" y="86"/>
                </a:cubicBezTo>
                <a:cubicBezTo>
                  <a:pt x="46" y="86"/>
                  <a:pt x="46" y="85"/>
                  <a:pt x="46" y="84"/>
                </a:cubicBezTo>
                <a:cubicBezTo>
                  <a:pt x="46" y="85"/>
                  <a:pt x="46" y="85"/>
                  <a:pt x="46" y="86"/>
                </a:cubicBezTo>
                <a:cubicBezTo>
                  <a:pt x="46" y="86"/>
                  <a:pt x="46" y="86"/>
                  <a:pt x="46" y="86"/>
                </a:cubicBezTo>
                <a:cubicBezTo>
                  <a:pt x="46" y="87"/>
                  <a:pt x="46" y="87"/>
                  <a:pt x="46" y="87"/>
                </a:cubicBezTo>
                <a:cubicBezTo>
                  <a:pt x="46" y="87"/>
                  <a:pt x="46" y="87"/>
                  <a:pt x="46" y="86"/>
                </a:cubicBezTo>
                <a:cubicBezTo>
                  <a:pt x="46" y="87"/>
                  <a:pt x="46" y="87"/>
                  <a:pt x="46" y="87"/>
                </a:cubicBezTo>
                <a:cubicBezTo>
                  <a:pt x="47" y="87"/>
                  <a:pt x="47" y="87"/>
                  <a:pt x="47" y="87"/>
                </a:cubicBezTo>
                <a:cubicBezTo>
                  <a:pt x="47" y="87"/>
                  <a:pt x="47" y="88"/>
                  <a:pt x="47" y="88"/>
                </a:cubicBezTo>
                <a:cubicBezTo>
                  <a:pt x="48" y="88"/>
                  <a:pt x="48" y="89"/>
                  <a:pt x="48" y="89"/>
                </a:cubicBezTo>
                <a:cubicBezTo>
                  <a:pt x="48" y="89"/>
                  <a:pt x="48" y="89"/>
                  <a:pt x="49" y="89"/>
                </a:cubicBezTo>
                <a:cubicBezTo>
                  <a:pt x="49" y="89"/>
                  <a:pt x="49" y="89"/>
                  <a:pt x="49" y="89"/>
                </a:cubicBezTo>
                <a:cubicBezTo>
                  <a:pt x="50" y="89"/>
                  <a:pt x="49" y="90"/>
                  <a:pt x="49" y="90"/>
                </a:cubicBezTo>
                <a:cubicBezTo>
                  <a:pt x="50" y="91"/>
                  <a:pt x="50" y="91"/>
                  <a:pt x="50" y="91"/>
                </a:cubicBezTo>
                <a:cubicBezTo>
                  <a:pt x="51" y="92"/>
                  <a:pt x="51" y="92"/>
                  <a:pt x="51" y="92"/>
                </a:cubicBezTo>
                <a:cubicBezTo>
                  <a:pt x="51" y="92"/>
                  <a:pt x="51" y="92"/>
                  <a:pt x="50" y="92"/>
                </a:cubicBezTo>
                <a:cubicBezTo>
                  <a:pt x="51" y="93"/>
                  <a:pt x="53" y="93"/>
                  <a:pt x="53" y="94"/>
                </a:cubicBezTo>
                <a:cubicBezTo>
                  <a:pt x="54" y="95"/>
                  <a:pt x="55" y="96"/>
                  <a:pt x="56" y="97"/>
                </a:cubicBezTo>
                <a:cubicBezTo>
                  <a:pt x="57" y="97"/>
                  <a:pt x="57" y="98"/>
                  <a:pt x="58" y="99"/>
                </a:cubicBezTo>
                <a:cubicBezTo>
                  <a:pt x="59" y="100"/>
                  <a:pt x="60" y="100"/>
                  <a:pt x="60" y="101"/>
                </a:cubicBezTo>
                <a:cubicBezTo>
                  <a:pt x="60" y="102"/>
                  <a:pt x="61" y="103"/>
                  <a:pt x="61" y="104"/>
                </a:cubicBezTo>
                <a:cubicBezTo>
                  <a:pt x="60" y="105"/>
                  <a:pt x="60" y="108"/>
                  <a:pt x="62" y="108"/>
                </a:cubicBezTo>
                <a:cubicBezTo>
                  <a:pt x="62" y="108"/>
                  <a:pt x="64" y="106"/>
                  <a:pt x="64" y="106"/>
                </a:cubicBezTo>
                <a:cubicBezTo>
                  <a:pt x="65" y="106"/>
                  <a:pt x="65" y="106"/>
                  <a:pt x="66" y="105"/>
                </a:cubicBezTo>
                <a:cubicBezTo>
                  <a:pt x="66" y="105"/>
                  <a:pt x="67" y="105"/>
                  <a:pt x="67" y="104"/>
                </a:cubicBezTo>
                <a:cubicBezTo>
                  <a:pt x="68" y="103"/>
                  <a:pt x="68" y="102"/>
                  <a:pt x="67" y="101"/>
                </a:cubicBezTo>
                <a:cubicBezTo>
                  <a:pt x="67" y="101"/>
                  <a:pt x="67" y="100"/>
                  <a:pt x="67" y="100"/>
                </a:cubicBezTo>
                <a:cubicBezTo>
                  <a:pt x="67" y="100"/>
                  <a:pt x="66" y="99"/>
                  <a:pt x="66" y="99"/>
                </a:cubicBezTo>
                <a:cubicBezTo>
                  <a:pt x="66" y="99"/>
                  <a:pt x="66" y="99"/>
                  <a:pt x="66" y="98"/>
                </a:cubicBezTo>
                <a:cubicBezTo>
                  <a:pt x="66" y="98"/>
                  <a:pt x="66" y="97"/>
                  <a:pt x="66" y="97"/>
                </a:cubicBezTo>
                <a:cubicBezTo>
                  <a:pt x="65" y="97"/>
                  <a:pt x="65" y="96"/>
                  <a:pt x="65" y="96"/>
                </a:cubicBezTo>
                <a:cubicBezTo>
                  <a:pt x="65" y="96"/>
                  <a:pt x="66" y="95"/>
                  <a:pt x="65" y="95"/>
                </a:cubicBezTo>
                <a:cubicBezTo>
                  <a:pt x="65" y="95"/>
                  <a:pt x="64" y="95"/>
                  <a:pt x="64" y="95"/>
                </a:cubicBezTo>
                <a:cubicBezTo>
                  <a:pt x="64" y="95"/>
                  <a:pt x="64" y="94"/>
                  <a:pt x="64" y="94"/>
                </a:cubicBezTo>
                <a:cubicBezTo>
                  <a:pt x="64" y="93"/>
                  <a:pt x="63" y="93"/>
                  <a:pt x="63" y="93"/>
                </a:cubicBezTo>
                <a:cubicBezTo>
                  <a:pt x="62" y="92"/>
                  <a:pt x="62" y="92"/>
                  <a:pt x="62" y="92"/>
                </a:cubicBezTo>
                <a:cubicBezTo>
                  <a:pt x="62" y="91"/>
                  <a:pt x="61" y="92"/>
                  <a:pt x="61" y="92"/>
                </a:cubicBezTo>
                <a:cubicBezTo>
                  <a:pt x="61" y="93"/>
                  <a:pt x="61" y="93"/>
                  <a:pt x="61" y="94"/>
                </a:cubicBezTo>
                <a:cubicBezTo>
                  <a:pt x="61" y="94"/>
                  <a:pt x="60" y="94"/>
                  <a:pt x="60" y="94"/>
                </a:cubicBezTo>
                <a:cubicBezTo>
                  <a:pt x="60" y="94"/>
                  <a:pt x="60" y="94"/>
                  <a:pt x="60" y="94"/>
                </a:cubicBezTo>
                <a:cubicBezTo>
                  <a:pt x="60" y="94"/>
                  <a:pt x="61" y="94"/>
                  <a:pt x="61" y="93"/>
                </a:cubicBezTo>
                <a:cubicBezTo>
                  <a:pt x="61" y="93"/>
                  <a:pt x="60" y="93"/>
                  <a:pt x="60" y="93"/>
                </a:cubicBezTo>
                <a:cubicBezTo>
                  <a:pt x="59" y="93"/>
                  <a:pt x="59" y="93"/>
                  <a:pt x="58" y="93"/>
                </a:cubicBezTo>
                <a:cubicBezTo>
                  <a:pt x="58" y="92"/>
                  <a:pt x="58" y="91"/>
                  <a:pt x="58" y="91"/>
                </a:cubicBezTo>
                <a:cubicBezTo>
                  <a:pt x="58" y="90"/>
                  <a:pt x="58" y="89"/>
                  <a:pt x="58" y="88"/>
                </a:cubicBezTo>
                <a:cubicBezTo>
                  <a:pt x="58" y="88"/>
                  <a:pt x="59" y="87"/>
                  <a:pt x="59" y="86"/>
                </a:cubicBezTo>
                <a:cubicBezTo>
                  <a:pt x="59" y="86"/>
                  <a:pt x="59" y="85"/>
                  <a:pt x="59" y="85"/>
                </a:cubicBezTo>
                <a:cubicBezTo>
                  <a:pt x="59" y="84"/>
                  <a:pt x="58" y="84"/>
                  <a:pt x="58" y="84"/>
                </a:cubicBezTo>
                <a:cubicBezTo>
                  <a:pt x="58" y="83"/>
                  <a:pt x="58" y="82"/>
                  <a:pt x="58" y="82"/>
                </a:cubicBezTo>
                <a:cubicBezTo>
                  <a:pt x="58" y="81"/>
                  <a:pt x="58" y="79"/>
                  <a:pt x="57" y="79"/>
                </a:cubicBezTo>
                <a:cubicBezTo>
                  <a:pt x="56" y="78"/>
                  <a:pt x="56" y="77"/>
                  <a:pt x="56" y="76"/>
                </a:cubicBezTo>
                <a:cubicBezTo>
                  <a:pt x="56" y="75"/>
                  <a:pt x="56" y="75"/>
                  <a:pt x="56" y="74"/>
                </a:cubicBezTo>
                <a:cubicBezTo>
                  <a:pt x="56" y="73"/>
                  <a:pt x="56" y="73"/>
                  <a:pt x="56" y="72"/>
                </a:cubicBezTo>
                <a:cubicBezTo>
                  <a:pt x="56" y="71"/>
                  <a:pt x="56" y="71"/>
                  <a:pt x="56" y="71"/>
                </a:cubicBezTo>
                <a:cubicBezTo>
                  <a:pt x="56" y="70"/>
                  <a:pt x="56" y="70"/>
                  <a:pt x="56" y="70"/>
                </a:cubicBezTo>
                <a:cubicBezTo>
                  <a:pt x="57" y="69"/>
                  <a:pt x="56" y="69"/>
                  <a:pt x="56" y="68"/>
                </a:cubicBezTo>
                <a:cubicBezTo>
                  <a:pt x="57" y="68"/>
                  <a:pt x="56" y="67"/>
                  <a:pt x="56" y="67"/>
                </a:cubicBezTo>
                <a:cubicBezTo>
                  <a:pt x="55" y="67"/>
                  <a:pt x="56" y="66"/>
                  <a:pt x="56" y="65"/>
                </a:cubicBezTo>
                <a:cubicBezTo>
                  <a:pt x="55" y="65"/>
                  <a:pt x="54" y="63"/>
                  <a:pt x="54" y="64"/>
                </a:cubicBezTo>
                <a:cubicBezTo>
                  <a:pt x="53" y="65"/>
                  <a:pt x="54" y="66"/>
                  <a:pt x="54" y="66"/>
                </a:cubicBezTo>
                <a:cubicBezTo>
                  <a:pt x="54" y="67"/>
                  <a:pt x="54" y="67"/>
                  <a:pt x="54" y="67"/>
                </a:cubicBezTo>
                <a:cubicBezTo>
                  <a:pt x="53" y="68"/>
                  <a:pt x="53" y="67"/>
                  <a:pt x="53" y="66"/>
                </a:cubicBezTo>
                <a:cubicBezTo>
                  <a:pt x="52" y="66"/>
                  <a:pt x="53" y="65"/>
                  <a:pt x="53" y="65"/>
                </a:cubicBezTo>
                <a:cubicBezTo>
                  <a:pt x="53" y="64"/>
                  <a:pt x="53" y="64"/>
                  <a:pt x="53" y="63"/>
                </a:cubicBezTo>
                <a:cubicBezTo>
                  <a:pt x="52" y="62"/>
                  <a:pt x="53" y="62"/>
                  <a:pt x="53" y="62"/>
                </a:cubicBezTo>
                <a:cubicBezTo>
                  <a:pt x="54" y="61"/>
                  <a:pt x="53" y="61"/>
                  <a:pt x="52" y="61"/>
                </a:cubicBezTo>
                <a:cubicBezTo>
                  <a:pt x="52" y="61"/>
                  <a:pt x="51" y="61"/>
                  <a:pt x="51" y="60"/>
                </a:cubicBezTo>
                <a:cubicBezTo>
                  <a:pt x="51" y="60"/>
                  <a:pt x="51" y="60"/>
                  <a:pt x="51" y="60"/>
                </a:cubicBezTo>
                <a:cubicBezTo>
                  <a:pt x="52" y="60"/>
                  <a:pt x="51" y="59"/>
                  <a:pt x="51" y="59"/>
                </a:cubicBezTo>
                <a:cubicBezTo>
                  <a:pt x="51" y="59"/>
                  <a:pt x="51" y="59"/>
                  <a:pt x="51" y="58"/>
                </a:cubicBezTo>
                <a:cubicBezTo>
                  <a:pt x="51" y="58"/>
                  <a:pt x="51" y="58"/>
                  <a:pt x="51" y="57"/>
                </a:cubicBezTo>
                <a:cubicBezTo>
                  <a:pt x="51" y="57"/>
                  <a:pt x="50" y="56"/>
                  <a:pt x="50" y="56"/>
                </a:cubicBezTo>
                <a:cubicBezTo>
                  <a:pt x="49" y="55"/>
                  <a:pt x="48" y="54"/>
                  <a:pt x="49" y="52"/>
                </a:cubicBezTo>
                <a:cubicBezTo>
                  <a:pt x="49" y="51"/>
                  <a:pt x="48" y="51"/>
                  <a:pt x="49" y="50"/>
                </a:cubicBezTo>
                <a:cubicBezTo>
                  <a:pt x="49" y="50"/>
                  <a:pt x="49" y="49"/>
                  <a:pt x="49" y="49"/>
                </a:cubicBezTo>
                <a:cubicBezTo>
                  <a:pt x="48" y="48"/>
                  <a:pt x="49" y="47"/>
                  <a:pt x="49" y="47"/>
                </a:cubicBezTo>
                <a:cubicBezTo>
                  <a:pt x="49" y="46"/>
                  <a:pt x="48" y="47"/>
                  <a:pt x="48" y="46"/>
                </a:cubicBezTo>
                <a:cubicBezTo>
                  <a:pt x="47" y="46"/>
                  <a:pt x="47" y="46"/>
                  <a:pt x="47" y="45"/>
                </a:cubicBezTo>
                <a:cubicBezTo>
                  <a:pt x="47" y="44"/>
                  <a:pt x="47" y="44"/>
                  <a:pt x="47" y="43"/>
                </a:cubicBezTo>
                <a:cubicBezTo>
                  <a:pt x="47" y="41"/>
                  <a:pt x="46" y="44"/>
                  <a:pt x="46" y="42"/>
                </a:cubicBezTo>
                <a:cubicBezTo>
                  <a:pt x="46" y="42"/>
                  <a:pt x="46" y="41"/>
                  <a:pt x="45" y="41"/>
                </a:cubicBezTo>
                <a:cubicBezTo>
                  <a:pt x="45" y="41"/>
                  <a:pt x="45" y="42"/>
                  <a:pt x="45" y="42"/>
                </a:cubicBezTo>
                <a:cubicBezTo>
                  <a:pt x="44" y="41"/>
                  <a:pt x="45" y="40"/>
                  <a:pt x="45" y="39"/>
                </a:cubicBezTo>
                <a:cubicBezTo>
                  <a:pt x="45" y="39"/>
                  <a:pt x="44" y="39"/>
                  <a:pt x="45" y="38"/>
                </a:cubicBezTo>
                <a:cubicBezTo>
                  <a:pt x="45" y="37"/>
                  <a:pt x="43" y="35"/>
                  <a:pt x="42" y="34"/>
                </a:cubicBezTo>
                <a:cubicBezTo>
                  <a:pt x="42" y="34"/>
                  <a:pt x="41" y="32"/>
                  <a:pt x="41" y="32"/>
                </a:cubicBezTo>
                <a:cubicBezTo>
                  <a:pt x="40" y="32"/>
                  <a:pt x="40" y="32"/>
                  <a:pt x="40" y="32"/>
                </a:cubicBezTo>
                <a:cubicBezTo>
                  <a:pt x="39" y="31"/>
                  <a:pt x="40" y="31"/>
                  <a:pt x="39" y="30"/>
                </a:cubicBezTo>
                <a:cubicBezTo>
                  <a:pt x="39" y="30"/>
                  <a:pt x="39" y="30"/>
                  <a:pt x="39" y="29"/>
                </a:cubicBezTo>
                <a:cubicBezTo>
                  <a:pt x="39" y="29"/>
                  <a:pt x="38" y="28"/>
                  <a:pt x="39" y="27"/>
                </a:cubicBezTo>
                <a:cubicBezTo>
                  <a:pt x="39" y="26"/>
                  <a:pt x="39" y="26"/>
                  <a:pt x="40" y="25"/>
                </a:cubicBezTo>
                <a:cubicBezTo>
                  <a:pt x="40" y="24"/>
                  <a:pt x="40" y="23"/>
                  <a:pt x="40" y="22"/>
                </a:cubicBezTo>
                <a:cubicBezTo>
                  <a:pt x="40" y="22"/>
                  <a:pt x="40" y="21"/>
                  <a:pt x="40" y="21"/>
                </a:cubicBezTo>
                <a:cubicBezTo>
                  <a:pt x="41" y="21"/>
                  <a:pt x="41" y="20"/>
                  <a:pt x="41" y="19"/>
                </a:cubicBezTo>
                <a:cubicBezTo>
                  <a:pt x="40" y="19"/>
                  <a:pt x="40" y="19"/>
                  <a:pt x="40" y="18"/>
                </a:cubicBezTo>
                <a:cubicBezTo>
                  <a:pt x="40" y="18"/>
                  <a:pt x="40" y="17"/>
                  <a:pt x="40" y="16"/>
                </a:cubicBezTo>
                <a:cubicBezTo>
                  <a:pt x="41" y="16"/>
                  <a:pt x="41" y="15"/>
                  <a:pt x="41" y="14"/>
                </a:cubicBezTo>
                <a:cubicBezTo>
                  <a:pt x="42" y="13"/>
                  <a:pt x="42" y="12"/>
                  <a:pt x="43" y="12"/>
                </a:cubicBezTo>
                <a:cubicBezTo>
                  <a:pt x="43" y="11"/>
                  <a:pt x="43" y="10"/>
                  <a:pt x="43" y="10"/>
                </a:cubicBezTo>
                <a:cubicBezTo>
                  <a:pt x="43" y="10"/>
                  <a:pt x="43" y="9"/>
                  <a:pt x="42" y="9"/>
                </a:cubicBezTo>
                <a:cubicBezTo>
                  <a:pt x="42" y="8"/>
                  <a:pt x="42" y="9"/>
                  <a:pt x="42" y="8"/>
                </a:cubicBezTo>
                <a:cubicBezTo>
                  <a:pt x="42" y="8"/>
                  <a:pt x="43" y="9"/>
                  <a:pt x="43" y="9"/>
                </a:cubicBezTo>
                <a:cubicBezTo>
                  <a:pt x="43" y="9"/>
                  <a:pt x="44" y="10"/>
                  <a:pt x="44" y="10"/>
                </a:cubicBezTo>
                <a:cubicBezTo>
                  <a:pt x="44" y="10"/>
                  <a:pt x="45" y="10"/>
                  <a:pt x="45" y="10"/>
                </a:cubicBezTo>
                <a:cubicBezTo>
                  <a:pt x="46" y="11"/>
                  <a:pt x="46" y="11"/>
                  <a:pt x="46" y="12"/>
                </a:cubicBezTo>
                <a:cubicBezTo>
                  <a:pt x="46" y="12"/>
                  <a:pt x="47" y="12"/>
                  <a:pt x="47" y="12"/>
                </a:cubicBezTo>
                <a:cubicBezTo>
                  <a:pt x="47" y="13"/>
                  <a:pt x="48" y="13"/>
                  <a:pt x="49" y="13"/>
                </a:cubicBezTo>
                <a:cubicBezTo>
                  <a:pt x="49" y="13"/>
                  <a:pt x="50" y="13"/>
                  <a:pt x="50" y="13"/>
                </a:cubicBezTo>
                <a:cubicBezTo>
                  <a:pt x="50" y="13"/>
                  <a:pt x="51" y="12"/>
                  <a:pt x="50" y="12"/>
                </a:cubicBezTo>
                <a:cubicBezTo>
                  <a:pt x="50" y="12"/>
                  <a:pt x="50" y="12"/>
                  <a:pt x="51" y="11"/>
                </a:cubicBezTo>
                <a:cubicBezTo>
                  <a:pt x="51" y="12"/>
                  <a:pt x="52" y="12"/>
                  <a:pt x="53" y="13"/>
                </a:cubicBezTo>
                <a:cubicBezTo>
                  <a:pt x="53" y="13"/>
                  <a:pt x="53" y="15"/>
                  <a:pt x="52" y="15"/>
                </a:cubicBezTo>
                <a:cubicBezTo>
                  <a:pt x="53" y="15"/>
                  <a:pt x="54" y="15"/>
                  <a:pt x="54" y="15"/>
                </a:cubicBezTo>
                <a:cubicBezTo>
                  <a:pt x="55" y="16"/>
                  <a:pt x="55" y="16"/>
                  <a:pt x="56" y="16"/>
                </a:cubicBezTo>
                <a:cubicBezTo>
                  <a:pt x="56" y="16"/>
                  <a:pt x="55" y="16"/>
                  <a:pt x="56" y="15"/>
                </a:cubicBezTo>
                <a:cubicBezTo>
                  <a:pt x="56" y="16"/>
                  <a:pt x="57" y="17"/>
                  <a:pt x="57" y="16"/>
                </a:cubicBezTo>
                <a:cubicBezTo>
                  <a:pt x="57" y="16"/>
                  <a:pt x="57" y="17"/>
                  <a:pt x="57" y="17"/>
                </a:cubicBezTo>
                <a:cubicBezTo>
                  <a:pt x="57" y="17"/>
                  <a:pt x="57" y="19"/>
                  <a:pt x="56" y="19"/>
                </a:cubicBezTo>
                <a:cubicBezTo>
                  <a:pt x="56" y="19"/>
                  <a:pt x="56" y="18"/>
                  <a:pt x="56" y="18"/>
                </a:cubicBezTo>
                <a:cubicBezTo>
                  <a:pt x="56" y="18"/>
                  <a:pt x="56" y="19"/>
                  <a:pt x="56" y="20"/>
                </a:cubicBezTo>
                <a:cubicBezTo>
                  <a:pt x="55" y="20"/>
                  <a:pt x="55" y="21"/>
                  <a:pt x="55" y="22"/>
                </a:cubicBezTo>
                <a:cubicBezTo>
                  <a:pt x="55" y="23"/>
                  <a:pt x="57" y="25"/>
                  <a:pt x="56" y="26"/>
                </a:cubicBezTo>
                <a:cubicBezTo>
                  <a:pt x="57" y="26"/>
                  <a:pt x="55" y="30"/>
                  <a:pt x="55" y="30"/>
                </a:cubicBezTo>
                <a:cubicBezTo>
                  <a:pt x="55" y="30"/>
                  <a:pt x="56" y="30"/>
                  <a:pt x="56" y="30"/>
                </a:cubicBezTo>
                <a:cubicBezTo>
                  <a:pt x="56" y="31"/>
                  <a:pt x="56" y="31"/>
                  <a:pt x="56" y="31"/>
                </a:cubicBezTo>
                <a:cubicBezTo>
                  <a:pt x="56" y="32"/>
                  <a:pt x="56" y="32"/>
                  <a:pt x="56" y="33"/>
                </a:cubicBezTo>
                <a:cubicBezTo>
                  <a:pt x="57" y="34"/>
                  <a:pt x="57" y="35"/>
                  <a:pt x="57" y="36"/>
                </a:cubicBezTo>
                <a:cubicBezTo>
                  <a:pt x="57" y="36"/>
                  <a:pt x="56" y="37"/>
                  <a:pt x="56" y="37"/>
                </a:cubicBezTo>
                <a:cubicBezTo>
                  <a:pt x="57" y="38"/>
                  <a:pt x="57" y="37"/>
                  <a:pt x="57" y="37"/>
                </a:cubicBezTo>
                <a:cubicBezTo>
                  <a:pt x="58" y="37"/>
                  <a:pt x="58" y="38"/>
                  <a:pt x="58" y="38"/>
                </a:cubicBezTo>
                <a:cubicBezTo>
                  <a:pt x="58" y="39"/>
                  <a:pt x="58" y="39"/>
                  <a:pt x="58" y="39"/>
                </a:cubicBezTo>
                <a:cubicBezTo>
                  <a:pt x="58" y="40"/>
                  <a:pt x="57" y="40"/>
                  <a:pt x="57" y="41"/>
                </a:cubicBezTo>
                <a:cubicBezTo>
                  <a:pt x="57" y="41"/>
                  <a:pt x="58" y="41"/>
                  <a:pt x="58" y="41"/>
                </a:cubicBezTo>
                <a:cubicBezTo>
                  <a:pt x="58" y="41"/>
                  <a:pt x="58" y="42"/>
                  <a:pt x="58" y="42"/>
                </a:cubicBezTo>
                <a:cubicBezTo>
                  <a:pt x="59" y="42"/>
                  <a:pt x="59" y="42"/>
                  <a:pt x="60" y="43"/>
                </a:cubicBezTo>
                <a:cubicBezTo>
                  <a:pt x="60" y="43"/>
                  <a:pt x="59" y="43"/>
                  <a:pt x="59" y="43"/>
                </a:cubicBezTo>
                <a:cubicBezTo>
                  <a:pt x="59" y="43"/>
                  <a:pt x="59" y="44"/>
                  <a:pt x="59" y="44"/>
                </a:cubicBezTo>
                <a:cubicBezTo>
                  <a:pt x="59" y="45"/>
                  <a:pt x="60" y="45"/>
                  <a:pt x="60" y="46"/>
                </a:cubicBezTo>
                <a:cubicBezTo>
                  <a:pt x="60" y="46"/>
                  <a:pt x="60" y="46"/>
                  <a:pt x="61" y="47"/>
                </a:cubicBezTo>
                <a:cubicBezTo>
                  <a:pt x="61" y="47"/>
                  <a:pt x="62" y="47"/>
                  <a:pt x="62" y="47"/>
                </a:cubicBezTo>
                <a:cubicBezTo>
                  <a:pt x="62" y="47"/>
                  <a:pt x="62" y="48"/>
                  <a:pt x="62" y="48"/>
                </a:cubicBezTo>
                <a:cubicBezTo>
                  <a:pt x="62" y="48"/>
                  <a:pt x="62" y="49"/>
                  <a:pt x="62" y="49"/>
                </a:cubicBezTo>
                <a:cubicBezTo>
                  <a:pt x="63" y="50"/>
                  <a:pt x="63" y="51"/>
                  <a:pt x="64" y="52"/>
                </a:cubicBezTo>
                <a:cubicBezTo>
                  <a:pt x="64" y="52"/>
                  <a:pt x="64" y="52"/>
                  <a:pt x="65" y="52"/>
                </a:cubicBezTo>
                <a:cubicBezTo>
                  <a:pt x="65" y="52"/>
                  <a:pt x="65" y="52"/>
                  <a:pt x="65" y="53"/>
                </a:cubicBezTo>
                <a:cubicBezTo>
                  <a:pt x="66" y="54"/>
                  <a:pt x="66" y="53"/>
                  <a:pt x="66" y="53"/>
                </a:cubicBezTo>
                <a:cubicBezTo>
                  <a:pt x="66" y="53"/>
                  <a:pt x="66" y="52"/>
                  <a:pt x="66" y="52"/>
                </a:cubicBezTo>
                <a:cubicBezTo>
                  <a:pt x="67" y="52"/>
                  <a:pt x="66" y="52"/>
                  <a:pt x="66" y="53"/>
                </a:cubicBezTo>
                <a:cubicBezTo>
                  <a:pt x="67" y="53"/>
                  <a:pt x="67" y="52"/>
                  <a:pt x="67" y="53"/>
                </a:cubicBezTo>
                <a:cubicBezTo>
                  <a:pt x="68" y="53"/>
                  <a:pt x="68" y="53"/>
                  <a:pt x="68" y="53"/>
                </a:cubicBezTo>
                <a:cubicBezTo>
                  <a:pt x="68" y="53"/>
                  <a:pt x="68" y="53"/>
                  <a:pt x="69" y="53"/>
                </a:cubicBezTo>
                <a:cubicBezTo>
                  <a:pt x="69" y="53"/>
                  <a:pt x="69" y="53"/>
                  <a:pt x="69" y="53"/>
                </a:cubicBezTo>
                <a:cubicBezTo>
                  <a:pt x="69" y="54"/>
                  <a:pt x="68" y="53"/>
                  <a:pt x="68" y="54"/>
                </a:cubicBezTo>
                <a:cubicBezTo>
                  <a:pt x="68" y="54"/>
                  <a:pt x="68" y="54"/>
                  <a:pt x="68" y="54"/>
                </a:cubicBezTo>
                <a:cubicBezTo>
                  <a:pt x="68" y="55"/>
                  <a:pt x="67" y="55"/>
                  <a:pt x="67" y="56"/>
                </a:cubicBezTo>
                <a:cubicBezTo>
                  <a:pt x="67" y="57"/>
                  <a:pt x="67" y="58"/>
                  <a:pt x="67" y="58"/>
                </a:cubicBezTo>
                <a:cubicBezTo>
                  <a:pt x="67" y="59"/>
                  <a:pt x="68" y="58"/>
                  <a:pt x="68" y="59"/>
                </a:cubicBezTo>
                <a:cubicBezTo>
                  <a:pt x="68" y="59"/>
                  <a:pt x="68" y="59"/>
                  <a:pt x="68" y="59"/>
                </a:cubicBezTo>
                <a:cubicBezTo>
                  <a:pt x="68" y="59"/>
                  <a:pt x="69" y="60"/>
                  <a:pt x="69" y="60"/>
                </a:cubicBezTo>
                <a:cubicBezTo>
                  <a:pt x="69" y="61"/>
                  <a:pt x="70" y="61"/>
                  <a:pt x="70" y="61"/>
                </a:cubicBezTo>
                <a:cubicBezTo>
                  <a:pt x="71" y="61"/>
                  <a:pt x="71" y="62"/>
                  <a:pt x="71" y="61"/>
                </a:cubicBezTo>
                <a:cubicBezTo>
                  <a:pt x="72" y="61"/>
                  <a:pt x="72" y="61"/>
                  <a:pt x="72" y="61"/>
                </a:cubicBezTo>
                <a:cubicBezTo>
                  <a:pt x="72" y="62"/>
                  <a:pt x="73" y="63"/>
                  <a:pt x="72" y="63"/>
                </a:cubicBezTo>
                <a:cubicBezTo>
                  <a:pt x="72" y="63"/>
                  <a:pt x="72" y="63"/>
                  <a:pt x="72" y="63"/>
                </a:cubicBezTo>
                <a:cubicBezTo>
                  <a:pt x="72" y="63"/>
                  <a:pt x="72" y="66"/>
                  <a:pt x="73" y="66"/>
                </a:cubicBezTo>
                <a:cubicBezTo>
                  <a:pt x="73" y="66"/>
                  <a:pt x="75" y="66"/>
                  <a:pt x="75" y="66"/>
                </a:cubicBezTo>
                <a:cubicBezTo>
                  <a:pt x="75" y="66"/>
                  <a:pt x="74" y="65"/>
                  <a:pt x="75" y="65"/>
                </a:cubicBezTo>
                <a:cubicBezTo>
                  <a:pt x="75" y="65"/>
                  <a:pt x="76" y="66"/>
                  <a:pt x="76" y="66"/>
                </a:cubicBezTo>
                <a:cubicBezTo>
                  <a:pt x="76" y="66"/>
                  <a:pt x="76" y="66"/>
                  <a:pt x="76" y="66"/>
                </a:cubicBezTo>
                <a:cubicBezTo>
                  <a:pt x="76" y="66"/>
                  <a:pt x="76" y="66"/>
                  <a:pt x="76" y="66"/>
                </a:cubicBezTo>
                <a:cubicBezTo>
                  <a:pt x="76" y="67"/>
                  <a:pt x="76" y="67"/>
                  <a:pt x="77" y="67"/>
                </a:cubicBezTo>
                <a:cubicBezTo>
                  <a:pt x="77" y="68"/>
                  <a:pt x="77" y="69"/>
                  <a:pt x="77" y="70"/>
                </a:cubicBezTo>
                <a:cubicBezTo>
                  <a:pt x="77" y="70"/>
                  <a:pt x="77" y="69"/>
                  <a:pt x="77" y="69"/>
                </a:cubicBezTo>
                <a:cubicBezTo>
                  <a:pt x="77" y="69"/>
                  <a:pt x="78" y="70"/>
                  <a:pt x="77" y="69"/>
                </a:cubicBezTo>
                <a:cubicBezTo>
                  <a:pt x="78" y="69"/>
                  <a:pt x="78" y="71"/>
                  <a:pt x="78" y="71"/>
                </a:cubicBezTo>
                <a:cubicBezTo>
                  <a:pt x="77" y="71"/>
                  <a:pt x="77" y="71"/>
                  <a:pt x="77" y="70"/>
                </a:cubicBezTo>
                <a:cubicBezTo>
                  <a:pt x="78" y="70"/>
                  <a:pt x="77" y="70"/>
                  <a:pt x="77" y="70"/>
                </a:cubicBezTo>
                <a:cubicBezTo>
                  <a:pt x="76" y="70"/>
                  <a:pt x="76" y="72"/>
                  <a:pt x="76" y="72"/>
                </a:cubicBezTo>
                <a:cubicBezTo>
                  <a:pt x="76" y="71"/>
                  <a:pt x="76" y="71"/>
                  <a:pt x="76" y="71"/>
                </a:cubicBezTo>
                <a:cubicBezTo>
                  <a:pt x="76" y="71"/>
                  <a:pt x="77" y="70"/>
                  <a:pt x="77" y="70"/>
                </a:cubicBezTo>
                <a:cubicBezTo>
                  <a:pt x="77" y="70"/>
                  <a:pt x="76" y="71"/>
                  <a:pt x="76" y="71"/>
                </a:cubicBezTo>
                <a:cubicBezTo>
                  <a:pt x="76" y="71"/>
                  <a:pt x="76" y="71"/>
                  <a:pt x="75" y="72"/>
                </a:cubicBezTo>
                <a:cubicBezTo>
                  <a:pt x="75" y="72"/>
                  <a:pt x="74" y="73"/>
                  <a:pt x="74" y="73"/>
                </a:cubicBezTo>
                <a:cubicBezTo>
                  <a:pt x="74" y="74"/>
                  <a:pt x="74" y="75"/>
                  <a:pt x="73" y="76"/>
                </a:cubicBezTo>
                <a:cubicBezTo>
                  <a:pt x="73" y="76"/>
                  <a:pt x="73" y="76"/>
                  <a:pt x="73" y="76"/>
                </a:cubicBezTo>
                <a:cubicBezTo>
                  <a:pt x="73" y="76"/>
                  <a:pt x="73" y="77"/>
                  <a:pt x="73" y="77"/>
                </a:cubicBezTo>
                <a:cubicBezTo>
                  <a:pt x="74" y="77"/>
                  <a:pt x="74" y="76"/>
                  <a:pt x="74" y="76"/>
                </a:cubicBezTo>
                <a:cubicBezTo>
                  <a:pt x="74" y="76"/>
                  <a:pt x="75" y="76"/>
                  <a:pt x="75" y="77"/>
                </a:cubicBezTo>
                <a:cubicBezTo>
                  <a:pt x="75" y="77"/>
                  <a:pt x="73" y="77"/>
                  <a:pt x="73" y="77"/>
                </a:cubicBezTo>
                <a:cubicBezTo>
                  <a:pt x="73" y="78"/>
                  <a:pt x="74" y="77"/>
                  <a:pt x="74" y="77"/>
                </a:cubicBezTo>
                <a:cubicBezTo>
                  <a:pt x="75" y="78"/>
                  <a:pt x="75" y="78"/>
                  <a:pt x="76" y="78"/>
                </a:cubicBezTo>
                <a:cubicBezTo>
                  <a:pt x="75" y="78"/>
                  <a:pt x="75" y="78"/>
                  <a:pt x="75" y="78"/>
                </a:cubicBezTo>
                <a:cubicBezTo>
                  <a:pt x="75" y="77"/>
                  <a:pt x="75" y="77"/>
                  <a:pt x="75" y="77"/>
                </a:cubicBezTo>
                <a:cubicBezTo>
                  <a:pt x="75" y="77"/>
                  <a:pt x="75" y="77"/>
                  <a:pt x="75" y="77"/>
                </a:cubicBezTo>
                <a:cubicBezTo>
                  <a:pt x="75" y="77"/>
                  <a:pt x="76" y="78"/>
                  <a:pt x="76" y="78"/>
                </a:cubicBezTo>
                <a:cubicBezTo>
                  <a:pt x="76" y="78"/>
                  <a:pt x="76" y="78"/>
                  <a:pt x="76" y="78"/>
                </a:cubicBezTo>
                <a:cubicBezTo>
                  <a:pt x="76" y="78"/>
                  <a:pt x="76" y="78"/>
                  <a:pt x="76" y="78"/>
                </a:cubicBezTo>
                <a:cubicBezTo>
                  <a:pt x="76" y="78"/>
                  <a:pt x="77" y="78"/>
                  <a:pt x="77" y="78"/>
                </a:cubicBezTo>
                <a:cubicBezTo>
                  <a:pt x="77" y="78"/>
                  <a:pt x="77" y="77"/>
                  <a:pt x="77" y="77"/>
                </a:cubicBezTo>
                <a:cubicBezTo>
                  <a:pt x="78" y="77"/>
                  <a:pt x="78" y="78"/>
                  <a:pt x="78" y="78"/>
                </a:cubicBezTo>
                <a:cubicBezTo>
                  <a:pt x="78" y="78"/>
                  <a:pt x="78" y="78"/>
                  <a:pt x="77" y="78"/>
                </a:cubicBezTo>
                <a:cubicBezTo>
                  <a:pt x="77" y="78"/>
                  <a:pt x="77" y="78"/>
                  <a:pt x="77" y="78"/>
                </a:cubicBezTo>
                <a:cubicBezTo>
                  <a:pt x="77" y="78"/>
                  <a:pt x="77" y="78"/>
                  <a:pt x="77" y="78"/>
                </a:cubicBezTo>
                <a:cubicBezTo>
                  <a:pt x="77" y="78"/>
                  <a:pt x="77" y="78"/>
                  <a:pt x="77" y="78"/>
                </a:cubicBezTo>
                <a:cubicBezTo>
                  <a:pt x="77" y="78"/>
                  <a:pt x="76" y="78"/>
                  <a:pt x="76" y="79"/>
                </a:cubicBezTo>
                <a:cubicBezTo>
                  <a:pt x="76" y="79"/>
                  <a:pt x="77" y="80"/>
                  <a:pt x="77" y="79"/>
                </a:cubicBezTo>
                <a:cubicBezTo>
                  <a:pt x="77" y="79"/>
                  <a:pt x="77" y="79"/>
                  <a:pt x="77" y="79"/>
                </a:cubicBezTo>
                <a:cubicBezTo>
                  <a:pt x="78" y="79"/>
                  <a:pt x="77" y="79"/>
                  <a:pt x="77" y="79"/>
                </a:cubicBezTo>
                <a:cubicBezTo>
                  <a:pt x="77" y="79"/>
                  <a:pt x="78" y="79"/>
                  <a:pt x="78" y="79"/>
                </a:cubicBezTo>
                <a:cubicBezTo>
                  <a:pt x="78" y="78"/>
                  <a:pt x="78" y="78"/>
                  <a:pt x="79" y="79"/>
                </a:cubicBezTo>
                <a:cubicBezTo>
                  <a:pt x="79" y="78"/>
                  <a:pt x="79" y="79"/>
                  <a:pt x="79" y="80"/>
                </a:cubicBezTo>
                <a:cubicBezTo>
                  <a:pt x="79" y="80"/>
                  <a:pt x="79" y="80"/>
                  <a:pt x="79" y="80"/>
                </a:cubicBezTo>
                <a:cubicBezTo>
                  <a:pt x="81" y="81"/>
                  <a:pt x="79" y="81"/>
                  <a:pt x="79" y="81"/>
                </a:cubicBezTo>
                <a:cubicBezTo>
                  <a:pt x="79" y="81"/>
                  <a:pt x="80" y="81"/>
                  <a:pt x="80" y="81"/>
                </a:cubicBezTo>
                <a:cubicBezTo>
                  <a:pt x="80" y="81"/>
                  <a:pt x="81" y="81"/>
                  <a:pt x="81" y="82"/>
                </a:cubicBezTo>
                <a:cubicBezTo>
                  <a:pt x="81" y="82"/>
                  <a:pt x="82" y="83"/>
                  <a:pt x="82" y="83"/>
                </a:cubicBezTo>
                <a:cubicBezTo>
                  <a:pt x="82" y="82"/>
                  <a:pt x="82" y="82"/>
                  <a:pt x="82" y="82"/>
                </a:cubicBezTo>
                <a:cubicBezTo>
                  <a:pt x="82" y="82"/>
                  <a:pt x="83" y="82"/>
                  <a:pt x="82" y="82"/>
                </a:cubicBezTo>
                <a:cubicBezTo>
                  <a:pt x="82" y="82"/>
                  <a:pt x="82" y="82"/>
                  <a:pt x="82" y="82"/>
                </a:cubicBezTo>
                <a:cubicBezTo>
                  <a:pt x="82" y="83"/>
                  <a:pt x="82" y="83"/>
                  <a:pt x="83" y="83"/>
                </a:cubicBezTo>
                <a:cubicBezTo>
                  <a:pt x="82" y="83"/>
                  <a:pt x="83" y="82"/>
                  <a:pt x="83" y="83"/>
                </a:cubicBezTo>
                <a:cubicBezTo>
                  <a:pt x="83" y="82"/>
                  <a:pt x="83" y="83"/>
                  <a:pt x="83" y="83"/>
                </a:cubicBezTo>
                <a:cubicBezTo>
                  <a:pt x="83" y="83"/>
                  <a:pt x="84" y="83"/>
                  <a:pt x="84" y="83"/>
                </a:cubicBezTo>
                <a:cubicBezTo>
                  <a:pt x="84" y="84"/>
                  <a:pt x="85" y="85"/>
                  <a:pt x="85" y="84"/>
                </a:cubicBezTo>
                <a:cubicBezTo>
                  <a:pt x="85" y="85"/>
                  <a:pt x="84" y="86"/>
                  <a:pt x="84" y="87"/>
                </a:cubicBezTo>
                <a:cubicBezTo>
                  <a:pt x="85" y="88"/>
                  <a:pt x="84" y="87"/>
                  <a:pt x="84" y="87"/>
                </a:cubicBezTo>
                <a:cubicBezTo>
                  <a:pt x="84" y="88"/>
                  <a:pt x="84" y="90"/>
                  <a:pt x="86" y="90"/>
                </a:cubicBezTo>
                <a:cubicBezTo>
                  <a:pt x="85" y="89"/>
                  <a:pt x="85" y="89"/>
                  <a:pt x="85" y="89"/>
                </a:cubicBezTo>
                <a:cubicBezTo>
                  <a:pt x="85" y="89"/>
                  <a:pt x="85" y="89"/>
                  <a:pt x="86" y="89"/>
                </a:cubicBezTo>
                <a:cubicBezTo>
                  <a:pt x="86" y="89"/>
                  <a:pt x="86" y="90"/>
                  <a:pt x="86" y="90"/>
                </a:cubicBezTo>
                <a:cubicBezTo>
                  <a:pt x="87" y="90"/>
                  <a:pt x="88" y="91"/>
                  <a:pt x="88" y="90"/>
                </a:cubicBezTo>
                <a:cubicBezTo>
                  <a:pt x="88" y="90"/>
                  <a:pt x="88" y="90"/>
                  <a:pt x="87" y="90"/>
                </a:cubicBezTo>
                <a:cubicBezTo>
                  <a:pt x="88" y="89"/>
                  <a:pt x="88" y="90"/>
                  <a:pt x="88" y="90"/>
                </a:cubicBezTo>
                <a:cubicBezTo>
                  <a:pt x="88" y="91"/>
                  <a:pt x="89" y="91"/>
                  <a:pt x="88" y="91"/>
                </a:cubicBezTo>
                <a:cubicBezTo>
                  <a:pt x="88" y="91"/>
                  <a:pt x="88" y="91"/>
                  <a:pt x="88" y="92"/>
                </a:cubicBezTo>
                <a:cubicBezTo>
                  <a:pt x="88" y="91"/>
                  <a:pt x="88" y="91"/>
                  <a:pt x="88" y="91"/>
                </a:cubicBezTo>
                <a:cubicBezTo>
                  <a:pt x="88" y="91"/>
                  <a:pt x="88" y="92"/>
                  <a:pt x="88" y="92"/>
                </a:cubicBezTo>
                <a:cubicBezTo>
                  <a:pt x="88" y="92"/>
                  <a:pt x="86" y="90"/>
                  <a:pt x="86" y="90"/>
                </a:cubicBezTo>
                <a:cubicBezTo>
                  <a:pt x="86" y="90"/>
                  <a:pt x="87" y="92"/>
                  <a:pt x="89" y="93"/>
                </a:cubicBezTo>
                <a:cubicBezTo>
                  <a:pt x="91" y="95"/>
                  <a:pt x="92" y="97"/>
                  <a:pt x="92" y="97"/>
                </a:cubicBezTo>
                <a:cubicBezTo>
                  <a:pt x="93" y="98"/>
                  <a:pt x="93" y="98"/>
                  <a:pt x="93" y="99"/>
                </a:cubicBezTo>
                <a:cubicBezTo>
                  <a:pt x="93" y="100"/>
                  <a:pt x="94" y="100"/>
                  <a:pt x="94" y="100"/>
                </a:cubicBezTo>
                <a:cubicBezTo>
                  <a:pt x="95" y="101"/>
                  <a:pt x="96" y="103"/>
                  <a:pt x="96" y="105"/>
                </a:cubicBezTo>
                <a:cubicBezTo>
                  <a:pt x="96" y="104"/>
                  <a:pt x="97" y="106"/>
                  <a:pt x="98" y="107"/>
                </a:cubicBezTo>
                <a:cubicBezTo>
                  <a:pt x="98" y="107"/>
                  <a:pt x="98" y="109"/>
                  <a:pt x="99" y="108"/>
                </a:cubicBezTo>
                <a:cubicBezTo>
                  <a:pt x="99" y="109"/>
                  <a:pt x="101" y="111"/>
                  <a:pt x="101" y="112"/>
                </a:cubicBezTo>
                <a:cubicBezTo>
                  <a:pt x="101" y="112"/>
                  <a:pt x="101" y="112"/>
                  <a:pt x="101" y="112"/>
                </a:cubicBezTo>
                <a:cubicBezTo>
                  <a:pt x="101" y="113"/>
                  <a:pt x="101" y="114"/>
                  <a:pt x="101" y="115"/>
                </a:cubicBezTo>
                <a:cubicBezTo>
                  <a:pt x="101" y="116"/>
                  <a:pt x="101" y="116"/>
                  <a:pt x="101" y="116"/>
                </a:cubicBezTo>
                <a:cubicBezTo>
                  <a:pt x="101" y="117"/>
                  <a:pt x="101" y="118"/>
                  <a:pt x="101" y="118"/>
                </a:cubicBezTo>
                <a:cubicBezTo>
                  <a:pt x="102" y="119"/>
                  <a:pt x="102" y="120"/>
                  <a:pt x="102" y="122"/>
                </a:cubicBezTo>
                <a:cubicBezTo>
                  <a:pt x="102" y="122"/>
                  <a:pt x="103" y="123"/>
                  <a:pt x="103" y="123"/>
                </a:cubicBezTo>
                <a:cubicBezTo>
                  <a:pt x="104" y="123"/>
                  <a:pt x="103" y="124"/>
                  <a:pt x="103" y="125"/>
                </a:cubicBezTo>
                <a:cubicBezTo>
                  <a:pt x="103" y="126"/>
                  <a:pt x="103" y="127"/>
                  <a:pt x="103" y="128"/>
                </a:cubicBezTo>
                <a:cubicBezTo>
                  <a:pt x="102" y="128"/>
                  <a:pt x="101" y="129"/>
                  <a:pt x="101" y="130"/>
                </a:cubicBezTo>
                <a:cubicBezTo>
                  <a:pt x="101" y="130"/>
                  <a:pt x="100" y="131"/>
                  <a:pt x="99" y="131"/>
                </a:cubicBezTo>
                <a:cubicBezTo>
                  <a:pt x="100" y="131"/>
                  <a:pt x="101" y="131"/>
                  <a:pt x="101" y="131"/>
                </a:cubicBezTo>
                <a:cubicBezTo>
                  <a:pt x="102" y="131"/>
                  <a:pt x="102" y="132"/>
                  <a:pt x="102" y="132"/>
                </a:cubicBezTo>
                <a:cubicBezTo>
                  <a:pt x="102" y="133"/>
                  <a:pt x="101" y="134"/>
                  <a:pt x="100" y="134"/>
                </a:cubicBezTo>
                <a:cubicBezTo>
                  <a:pt x="99" y="134"/>
                  <a:pt x="97" y="134"/>
                  <a:pt x="97" y="136"/>
                </a:cubicBezTo>
                <a:cubicBezTo>
                  <a:pt x="98" y="136"/>
                  <a:pt x="98" y="137"/>
                  <a:pt x="98" y="137"/>
                </a:cubicBezTo>
                <a:cubicBezTo>
                  <a:pt x="98" y="138"/>
                  <a:pt x="98" y="138"/>
                  <a:pt x="98" y="139"/>
                </a:cubicBezTo>
                <a:cubicBezTo>
                  <a:pt x="98" y="140"/>
                  <a:pt x="99" y="142"/>
                  <a:pt x="100" y="143"/>
                </a:cubicBezTo>
                <a:cubicBezTo>
                  <a:pt x="100" y="144"/>
                  <a:pt x="101" y="144"/>
                  <a:pt x="101" y="145"/>
                </a:cubicBezTo>
                <a:cubicBezTo>
                  <a:pt x="101" y="145"/>
                  <a:pt x="101" y="146"/>
                  <a:pt x="102" y="147"/>
                </a:cubicBezTo>
                <a:cubicBezTo>
                  <a:pt x="102" y="147"/>
                  <a:pt x="102" y="147"/>
                  <a:pt x="103" y="147"/>
                </a:cubicBezTo>
                <a:cubicBezTo>
                  <a:pt x="103" y="147"/>
                  <a:pt x="103" y="147"/>
                  <a:pt x="103" y="147"/>
                </a:cubicBezTo>
                <a:cubicBezTo>
                  <a:pt x="104" y="147"/>
                  <a:pt x="103" y="148"/>
                  <a:pt x="104" y="148"/>
                </a:cubicBezTo>
                <a:cubicBezTo>
                  <a:pt x="104" y="148"/>
                  <a:pt x="105" y="149"/>
                  <a:pt x="105" y="149"/>
                </a:cubicBezTo>
                <a:cubicBezTo>
                  <a:pt x="106" y="149"/>
                  <a:pt x="106" y="149"/>
                  <a:pt x="107" y="149"/>
                </a:cubicBezTo>
                <a:cubicBezTo>
                  <a:pt x="108" y="149"/>
                  <a:pt x="107" y="150"/>
                  <a:pt x="108" y="150"/>
                </a:cubicBezTo>
                <a:cubicBezTo>
                  <a:pt x="108" y="151"/>
                  <a:pt x="109" y="151"/>
                  <a:pt x="109" y="151"/>
                </a:cubicBezTo>
                <a:cubicBezTo>
                  <a:pt x="110" y="152"/>
                  <a:pt x="111" y="152"/>
                  <a:pt x="112" y="153"/>
                </a:cubicBezTo>
                <a:cubicBezTo>
                  <a:pt x="112" y="154"/>
                  <a:pt x="113" y="154"/>
                  <a:pt x="113" y="155"/>
                </a:cubicBezTo>
                <a:cubicBezTo>
                  <a:pt x="113" y="155"/>
                  <a:pt x="113" y="155"/>
                  <a:pt x="113" y="155"/>
                </a:cubicBezTo>
                <a:cubicBezTo>
                  <a:pt x="113" y="156"/>
                  <a:pt x="114" y="156"/>
                  <a:pt x="114" y="157"/>
                </a:cubicBezTo>
                <a:cubicBezTo>
                  <a:pt x="114" y="158"/>
                  <a:pt x="115" y="158"/>
                  <a:pt x="116" y="159"/>
                </a:cubicBezTo>
                <a:cubicBezTo>
                  <a:pt x="118" y="159"/>
                  <a:pt x="119" y="160"/>
                  <a:pt x="120" y="160"/>
                </a:cubicBezTo>
                <a:cubicBezTo>
                  <a:pt x="122" y="161"/>
                  <a:pt x="123" y="161"/>
                  <a:pt x="125" y="162"/>
                </a:cubicBezTo>
                <a:cubicBezTo>
                  <a:pt x="126" y="162"/>
                  <a:pt x="126" y="163"/>
                  <a:pt x="127" y="162"/>
                </a:cubicBezTo>
                <a:cubicBezTo>
                  <a:pt x="127" y="162"/>
                  <a:pt x="128" y="161"/>
                  <a:pt x="128" y="162"/>
                </a:cubicBezTo>
                <a:cubicBezTo>
                  <a:pt x="130" y="162"/>
                  <a:pt x="130" y="164"/>
                  <a:pt x="131" y="165"/>
                </a:cubicBezTo>
                <a:cubicBezTo>
                  <a:pt x="131" y="166"/>
                  <a:pt x="132" y="165"/>
                  <a:pt x="132" y="166"/>
                </a:cubicBezTo>
                <a:cubicBezTo>
                  <a:pt x="133" y="167"/>
                  <a:pt x="133" y="167"/>
                  <a:pt x="134" y="167"/>
                </a:cubicBezTo>
                <a:cubicBezTo>
                  <a:pt x="134" y="168"/>
                  <a:pt x="135" y="168"/>
                  <a:pt x="136" y="169"/>
                </a:cubicBezTo>
                <a:cubicBezTo>
                  <a:pt x="136" y="169"/>
                  <a:pt x="136" y="170"/>
                  <a:pt x="137" y="170"/>
                </a:cubicBezTo>
                <a:cubicBezTo>
                  <a:pt x="138" y="171"/>
                  <a:pt x="139" y="171"/>
                  <a:pt x="141" y="172"/>
                </a:cubicBezTo>
                <a:cubicBezTo>
                  <a:pt x="141" y="172"/>
                  <a:pt x="142" y="172"/>
                  <a:pt x="143" y="172"/>
                </a:cubicBezTo>
                <a:cubicBezTo>
                  <a:pt x="143" y="173"/>
                  <a:pt x="144" y="173"/>
                  <a:pt x="145" y="173"/>
                </a:cubicBezTo>
                <a:cubicBezTo>
                  <a:pt x="145" y="173"/>
                  <a:pt x="146" y="174"/>
                  <a:pt x="146" y="174"/>
                </a:cubicBezTo>
                <a:cubicBezTo>
                  <a:pt x="146" y="174"/>
                  <a:pt x="146" y="174"/>
                  <a:pt x="146" y="174"/>
                </a:cubicBezTo>
                <a:cubicBezTo>
                  <a:pt x="146" y="174"/>
                  <a:pt x="147" y="174"/>
                  <a:pt x="147" y="174"/>
                </a:cubicBezTo>
                <a:cubicBezTo>
                  <a:pt x="146" y="175"/>
                  <a:pt x="147" y="175"/>
                  <a:pt x="148" y="176"/>
                </a:cubicBezTo>
                <a:cubicBezTo>
                  <a:pt x="150" y="176"/>
                  <a:pt x="153" y="176"/>
                  <a:pt x="155" y="177"/>
                </a:cubicBezTo>
                <a:cubicBezTo>
                  <a:pt x="155" y="177"/>
                  <a:pt x="155" y="178"/>
                  <a:pt x="156" y="177"/>
                </a:cubicBezTo>
                <a:cubicBezTo>
                  <a:pt x="156" y="177"/>
                  <a:pt x="156" y="177"/>
                  <a:pt x="157" y="177"/>
                </a:cubicBezTo>
                <a:cubicBezTo>
                  <a:pt x="157" y="178"/>
                  <a:pt x="157" y="179"/>
                  <a:pt x="158" y="179"/>
                </a:cubicBezTo>
                <a:cubicBezTo>
                  <a:pt x="159" y="180"/>
                  <a:pt x="160" y="180"/>
                  <a:pt x="161" y="181"/>
                </a:cubicBezTo>
                <a:cubicBezTo>
                  <a:pt x="161" y="181"/>
                  <a:pt x="162" y="181"/>
                  <a:pt x="163" y="181"/>
                </a:cubicBezTo>
                <a:cubicBezTo>
                  <a:pt x="162" y="181"/>
                  <a:pt x="162" y="181"/>
                  <a:pt x="162" y="181"/>
                </a:cubicBezTo>
                <a:cubicBezTo>
                  <a:pt x="162" y="182"/>
                  <a:pt x="163" y="182"/>
                  <a:pt x="163" y="182"/>
                </a:cubicBezTo>
                <a:cubicBezTo>
                  <a:pt x="163" y="182"/>
                  <a:pt x="164" y="183"/>
                  <a:pt x="164" y="183"/>
                </a:cubicBezTo>
                <a:cubicBezTo>
                  <a:pt x="165" y="183"/>
                  <a:pt x="165" y="184"/>
                  <a:pt x="165" y="184"/>
                </a:cubicBezTo>
                <a:cubicBezTo>
                  <a:pt x="167" y="184"/>
                  <a:pt x="169" y="184"/>
                  <a:pt x="170" y="184"/>
                </a:cubicBezTo>
                <a:cubicBezTo>
                  <a:pt x="171" y="185"/>
                  <a:pt x="172" y="185"/>
                  <a:pt x="173" y="186"/>
                </a:cubicBezTo>
                <a:cubicBezTo>
                  <a:pt x="174" y="187"/>
                  <a:pt x="175" y="187"/>
                  <a:pt x="176" y="187"/>
                </a:cubicBezTo>
                <a:cubicBezTo>
                  <a:pt x="176" y="187"/>
                  <a:pt x="177" y="187"/>
                  <a:pt x="177" y="187"/>
                </a:cubicBezTo>
                <a:cubicBezTo>
                  <a:pt x="178" y="187"/>
                  <a:pt x="178" y="187"/>
                  <a:pt x="178" y="187"/>
                </a:cubicBezTo>
                <a:cubicBezTo>
                  <a:pt x="179" y="187"/>
                  <a:pt x="180" y="187"/>
                  <a:pt x="180" y="187"/>
                </a:cubicBezTo>
                <a:cubicBezTo>
                  <a:pt x="182" y="186"/>
                  <a:pt x="184" y="185"/>
                  <a:pt x="186" y="184"/>
                </a:cubicBezTo>
                <a:cubicBezTo>
                  <a:pt x="187" y="184"/>
                  <a:pt x="188" y="184"/>
                  <a:pt x="188" y="183"/>
                </a:cubicBezTo>
                <a:cubicBezTo>
                  <a:pt x="188" y="183"/>
                  <a:pt x="190" y="182"/>
                  <a:pt x="190" y="182"/>
                </a:cubicBezTo>
                <a:cubicBezTo>
                  <a:pt x="190" y="182"/>
                  <a:pt x="191" y="182"/>
                  <a:pt x="191" y="181"/>
                </a:cubicBezTo>
                <a:cubicBezTo>
                  <a:pt x="191" y="181"/>
                  <a:pt x="191" y="181"/>
                  <a:pt x="191" y="181"/>
                </a:cubicBezTo>
                <a:cubicBezTo>
                  <a:pt x="192" y="181"/>
                  <a:pt x="193" y="181"/>
                  <a:pt x="194" y="181"/>
                </a:cubicBezTo>
                <a:cubicBezTo>
                  <a:pt x="194" y="181"/>
                  <a:pt x="195" y="181"/>
                  <a:pt x="194" y="181"/>
                </a:cubicBezTo>
                <a:cubicBezTo>
                  <a:pt x="194" y="181"/>
                  <a:pt x="193" y="181"/>
                  <a:pt x="193" y="181"/>
                </a:cubicBezTo>
                <a:cubicBezTo>
                  <a:pt x="193" y="181"/>
                  <a:pt x="194" y="181"/>
                  <a:pt x="194" y="181"/>
                </a:cubicBezTo>
                <a:cubicBezTo>
                  <a:pt x="193" y="181"/>
                  <a:pt x="191" y="181"/>
                  <a:pt x="192" y="180"/>
                </a:cubicBezTo>
                <a:cubicBezTo>
                  <a:pt x="192" y="180"/>
                  <a:pt x="192" y="180"/>
                  <a:pt x="193" y="180"/>
                </a:cubicBezTo>
                <a:cubicBezTo>
                  <a:pt x="193" y="179"/>
                  <a:pt x="193" y="179"/>
                  <a:pt x="193" y="179"/>
                </a:cubicBezTo>
                <a:cubicBezTo>
                  <a:pt x="194" y="178"/>
                  <a:pt x="194" y="179"/>
                  <a:pt x="194" y="180"/>
                </a:cubicBezTo>
                <a:cubicBezTo>
                  <a:pt x="194" y="180"/>
                  <a:pt x="194" y="180"/>
                  <a:pt x="194" y="180"/>
                </a:cubicBezTo>
                <a:cubicBezTo>
                  <a:pt x="194" y="181"/>
                  <a:pt x="195" y="180"/>
                  <a:pt x="195" y="180"/>
                </a:cubicBezTo>
                <a:cubicBezTo>
                  <a:pt x="195" y="180"/>
                  <a:pt x="196" y="179"/>
                  <a:pt x="196" y="180"/>
                </a:cubicBezTo>
                <a:cubicBezTo>
                  <a:pt x="197" y="181"/>
                  <a:pt x="195" y="181"/>
                  <a:pt x="195" y="181"/>
                </a:cubicBezTo>
                <a:cubicBezTo>
                  <a:pt x="195" y="181"/>
                  <a:pt x="197" y="181"/>
                  <a:pt x="198" y="182"/>
                </a:cubicBezTo>
                <a:cubicBezTo>
                  <a:pt x="199" y="182"/>
                  <a:pt x="200" y="183"/>
                  <a:pt x="202" y="183"/>
                </a:cubicBezTo>
                <a:cubicBezTo>
                  <a:pt x="201" y="183"/>
                  <a:pt x="200" y="181"/>
                  <a:pt x="198" y="181"/>
                </a:cubicBezTo>
                <a:cubicBezTo>
                  <a:pt x="199" y="182"/>
                  <a:pt x="199" y="182"/>
                  <a:pt x="199" y="182"/>
                </a:cubicBezTo>
                <a:cubicBezTo>
                  <a:pt x="198" y="182"/>
                  <a:pt x="197" y="181"/>
                  <a:pt x="198" y="180"/>
                </a:cubicBezTo>
                <a:cubicBezTo>
                  <a:pt x="198" y="180"/>
                  <a:pt x="199" y="181"/>
                  <a:pt x="200" y="181"/>
                </a:cubicBezTo>
                <a:cubicBezTo>
                  <a:pt x="200" y="181"/>
                  <a:pt x="200" y="181"/>
                  <a:pt x="201" y="181"/>
                </a:cubicBezTo>
                <a:cubicBezTo>
                  <a:pt x="201" y="182"/>
                  <a:pt x="201" y="182"/>
                  <a:pt x="202" y="182"/>
                </a:cubicBezTo>
                <a:cubicBezTo>
                  <a:pt x="202" y="182"/>
                  <a:pt x="203" y="182"/>
                  <a:pt x="203" y="183"/>
                </a:cubicBezTo>
                <a:cubicBezTo>
                  <a:pt x="203" y="184"/>
                  <a:pt x="202" y="183"/>
                  <a:pt x="202" y="183"/>
                </a:cubicBezTo>
                <a:cubicBezTo>
                  <a:pt x="202" y="183"/>
                  <a:pt x="204" y="185"/>
                  <a:pt x="204" y="185"/>
                </a:cubicBezTo>
                <a:cubicBezTo>
                  <a:pt x="205" y="186"/>
                  <a:pt x="206" y="187"/>
                  <a:pt x="207" y="188"/>
                </a:cubicBezTo>
                <a:cubicBezTo>
                  <a:pt x="208" y="189"/>
                  <a:pt x="209" y="190"/>
                  <a:pt x="209" y="191"/>
                </a:cubicBezTo>
                <a:cubicBezTo>
                  <a:pt x="210" y="191"/>
                  <a:pt x="210" y="192"/>
                  <a:pt x="211" y="192"/>
                </a:cubicBezTo>
                <a:cubicBezTo>
                  <a:pt x="211" y="192"/>
                  <a:pt x="212" y="192"/>
                  <a:pt x="212" y="192"/>
                </a:cubicBezTo>
                <a:cubicBezTo>
                  <a:pt x="212" y="193"/>
                  <a:pt x="212" y="193"/>
                  <a:pt x="212" y="193"/>
                </a:cubicBezTo>
                <a:cubicBezTo>
                  <a:pt x="212" y="193"/>
                  <a:pt x="212" y="193"/>
                  <a:pt x="211" y="193"/>
                </a:cubicBezTo>
                <a:cubicBezTo>
                  <a:pt x="212" y="194"/>
                  <a:pt x="213" y="195"/>
                  <a:pt x="213" y="196"/>
                </a:cubicBezTo>
                <a:cubicBezTo>
                  <a:pt x="214" y="197"/>
                  <a:pt x="215" y="197"/>
                  <a:pt x="215" y="198"/>
                </a:cubicBezTo>
                <a:cubicBezTo>
                  <a:pt x="216" y="199"/>
                  <a:pt x="216" y="200"/>
                  <a:pt x="217" y="199"/>
                </a:cubicBezTo>
                <a:cubicBezTo>
                  <a:pt x="217" y="198"/>
                  <a:pt x="217" y="198"/>
                  <a:pt x="217" y="197"/>
                </a:cubicBezTo>
                <a:cubicBezTo>
                  <a:pt x="217" y="197"/>
                  <a:pt x="217" y="196"/>
                  <a:pt x="217" y="196"/>
                </a:cubicBezTo>
                <a:cubicBezTo>
                  <a:pt x="218" y="195"/>
                  <a:pt x="218" y="195"/>
                  <a:pt x="218" y="195"/>
                </a:cubicBezTo>
                <a:cubicBezTo>
                  <a:pt x="218" y="194"/>
                  <a:pt x="219" y="194"/>
                  <a:pt x="219" y="193"/>
                </a:cubicBezTo>
                <a:cubicBezTo>
                  <a:pt x="218" y="192"/>
                  <a:pt x="217" y="192"/>
                  <a:pt x="218" y="191"/>
                </a:cubicBezTo>
                <a:cubicBezTo>
                  <a:pt x="220" y="188"/>
                  <a:pt x="221" y="186"/>
                  <a:pt x="222" y="184"/>
                </a:cubicBezTo>
                <a:cubicBezTo>
                  <a:pt x="223" y="183"/>
                  <a:pt x="223" y="183"/>
                  <a:pt x="225" y="183"/>
                </a:cubicBezTo>
                <a:cubicBezTo>
                  <a:pt x="226" y="183"/>
                  <a:pt x="227" y="183"/>
                  <a:pt x="228" y="183"/>
                </a:cubicBezTo>
                <a:cubicBezTo>
                  <a:pt x="230" y="183"/>
                  <a:pt x="231" y="183"/>
                  <a:pt x="233" y="183"/>
                </a:cubicBezTo>
                <a:cubicBezTo>
                  <a:pt x="233" y="183"/>
                  <a:pt x="234" y="183"/>
                  <a:pt x="235" y="183"/>
                </a:cubicBezTo>
                <a:cubicBezTo>
                  <a:pt x="235" y="183"/>
                  <a:pt x="236" y="182"/>
                  <a:pt x="236" y="182"/>
                </a:cubicBezTo>
                <a:cubicBezTo>
                  <a:pt x="236" y="182"/>
                  <a:pt x="236" y="182"/>
                  <a:pt x="236" y="181"/>
                </a:cubicBezTo>
                <a:cubicBezTo>
                  <a:pt x="236" y="181"/>
                  <a:pt x="236" y="181"/>
                  <a:pt x="236" y="181"/>
                </a:cubicBezTo>
                <a:cubicBezTo>
                  <a:pt x="236" y="181"/>
                  <a:pt x="236" y="181"/>
                  <a:pt x="236" y="181"/>
                </a:cubicBezTo>
                <a:cubicBezTo>
                  <a:pt x="236" y="180"/>
                  <a:pt x="237" y="180"/>
                  <a:pt x="236" y="179"/>
                </a:cubicBezTo>
                <a:cubicBezTo>
                  <a:pt x="237" y="179"/>
                  <a:pt x="237" y="179"/>
                  <a:pt x="237" y="179"/>
                </a:cubicBezTo>
                <a:cubicBezTo>
                  <a:pt x="236" y="179"/>
                  <a:pt x="236" y="179"/>
                  <a:pt x="236" y="179"/>
                </a:cubicBezTo>
                <a:cubicBezTo>
                  <a:pt x="236" y="179"/>
                  <a:pt x="236" y="178"/>
                  <a:pt x="235" y="178"/>
                </a:cubicBezTo>
                <a:cubicBezTo>
                  <a:pt x="235" y="178"/>
                  <a:pt x="235" y="178"/>
                  <a:pt x="234" y="178"/>
                </a:cubicBezTo>
                <a:cubicBezTo>
                  <a:pt x="235" y="178"/>
                  <a:pt x="235" y="177"/>
                  <a:pt x="234" y="177"/>
                </a:cubicBezTo>
                <a:cubicBezTo>
                  <a:pt x="235" y="176"/>
                  <a:pt x="234" y="175"/>
                  <a:pt x="233" y="175"/>
                </a:cubicBezTo>
                <a:cubicBezTo>
                  <a:pt x="233" y="174"/>
                  <a:pt x="232" y="174"/>
                  <a:pt x="232" y="174"/>
                </a:cubicBezTo>
                <a:cubicBezTo>
                  <a:pt x="232" y="173"/>
                  <a:pt x="232" y="174"/>
                  <a:pt x="232" y="174"/>
                </a:cubicBezTo>
                <a:cubicBezTo>
                  <a:pt x="231" y="173"/>
                  <a:pt x="231" y="173"/>
                  <a:pt x="231" y="173"/>
                </a:cubicBezTo>
                <a:cubicBezTo>
                  <a:pt x="230" y="172"/>
                  <a:pt x="230" y="172"/>
                  <a:pt x="230" y="172"/>
                </a:cubicBezTo>
                <a:cubicBezTo>
                  <a:pt x="230" y="171"/>
                  <a:pt x="229" y="171"/>
                  <a:pt x="229" y="171"/>
                </a:cubicBezTo>
                <a:cubicBezTo>
                  <a:pt x="229" y="170"/>
                  <a:pt x="229" y="170"/>
                  <a:pt x="228" y="170"/>
                </a:cubicBezTo>
                <a:cubicBezTo>
                  <a:pt x="228" y="170"/>
                  <a:pt x="228" y="170"/>
                  <a:pt x="228" y="170"/>
                </a:cubicBezTo>
                <a:cubicBezTo>
                  <a:pt x="229" y="169"/>
                  <a:pt x="230" y="170"/>
                  <a:pt x="231" y="170"/>
                </a:cubicBezTo>
                <a:cubicBezTo>
                  <a:pt x="231" y="170"/>
                  <a:pt x="232" y="170"/>
                  <a:pt x="232" y="169"/>
                </a:cubicBezTo>
                <a:cubicBezTo>
                  <a:pt x="232" y="169"/>
                  <a:pt x="232" y="169"/>
                  <a:pt x="232" y="168"/>
                </a:cubicBezTo>
                <a:cubicBezTo>
                  <a:pt x="233" y="167"/>
                  <a:pt x="233" y="165"/>
                  <a:pt x="233" y="164"/>
                </a:cubicBezTo>
                <a:cubicBezTo>
                  <a:pt x="233" y="163"/>
                  <a:pt x="235" y="163"/>
                  <a:pt x="236" y="163"/>
                </a:cubicBezTo>
                <a:cubicBezTo>
                  <a:pt x="237" y="163"/>
                  <a:pt x="239" y="163"/>
                  <a:pt x="240" y="163"/>
                </a:cubicBezTo>
                <a:cubicBezTo>
                  <a:pt x="243" y="163"/>
                  <a:pt x="247" y="163"/>
                  <a:pt x="250" y="163"/>
                </a:cubicBezTo>
                <a:cubicBezTo>
                  <a:pt x="251" y="163"/>
                  <a:pt x="251" y="162"/>
                  <a:pt x="252" y="162"/>
                </a:cubicBezTo>
                <a:cubicBezTo>
                  <a:pt x="252" y="161"/>
                  <a:pt x="253" y="163"/>
                  <a:pt x="254" y="162"/>
                </a:cubicBezTo>
                <a:cubicBezTo>
                  <a:pt x="254" y="162"/>
                  <a:pt x="255" y="161"/>
                  <a:pt x="255" y="160"/>
                </a:cubicBezTo>
                <a:cubicBezTo>
                  <a:pt x="256" y="160"/>
                  <a:pt x="256" y="159"/>
                  <a:pt x="256" y="159"/>
                </a:cubicBezTo>
                <a:cubicBezTo>
                  <a:pt x="257" y="159"/>
                  <a:pt x="257" y="158"/>
                  <a:pt x="257" y="157"/>
                </a:cubicBezTo>
                <a:cubicBezTo>
                  <a:pt x="258" y="156"/>
                  <a:pt x="258" y="156"/>
                  <a:pt x="259" y="156"/>
                </a:cubicBezTo>
                <a:cubicBezTo>
                  <a:pt x="260" y="156"/>
                  <a:pt x="260" y="156"/>
                  <a:pt x="261" y="155"/>
                </a:cubicBezTo>
                <a:cubicBezTo>
                  <a:pt x="261" y="155"/>
                  <a:pt x="261" y="154"/>
                  <a:pt x="261" y="154"/>
                </a:cubicBezTo>
                <a:cubicBezTo>
                  <a:pt x="261" y="154"/>
                  <a:pt x="261" y="154"/>
                  <a:pt x="261" y="154"/>
                </a:cubicBezTo>
                <a:cubicBezTo>
                  <a:pt x="261" y="154"/>
                  <a:pt x="261" y="154"/>
                  <a:pt x="261" y="154"/>
                </a:cubicBezTo>
                <a:cubicBezTo>
                  <a:pt x="261" y="154"/>
                  <a:pt x="261" y="154"/>
                  <a:pt x="260" y="154"/>
                </a:cubicBezTo>
                <a:cubicBezTo>
                  <a:pt x="261" y="154"/>
                  <a:pt x="261" y="153"/>
                  <a:pt x="261" y="154"/>
                </a:cubicBezTo>
                <a:cubicBezTo>
                  <a:pt x="262" y="154"/>
                  <a:pt x="262" y="152"/>
                  <a:pt x="263" y="152"/>
                </a:cubicBezTo>
                <a:cubicBezTo>
                  <a:pt x="263" y="153"/>
                  <a:pt x="263" y="154"/>
                  <a:pt x="262" y="155"/>
                </a:cubicBezTo>
                <a:cubicBezTo>
                  <a:pt x="262" y="155"/>
                  <a:pt x="262" y="156"/>
                  <a:pt x="262" y="156"/>
                </a:cubicBezTo>
                <a:cubicBezTo>
                  <a:pt x="263" y="157"/>
                  <a:pt x="263" y="157"/>
                  <a:pt x="263" y="158"/>
                </a:cubicBezTo>
                <a:cubicBezTo>
                  <a:pt x="263" y="158"/>
                  <a:pt x="263" y="159"/>
                  <a:pt x="263" y="159"/>
                </a:cubicBezTo>
                <a:cubicBezTo>
                  <a:pt x="263" y="159"/>
                  <a:pt x="263" y="159"/>
                  <a:pt x="264" y="159"/>
                </a:cubicBezTo>
                <a:cubicBezTo>
                  <a:pt x="264" y="159"/>
                  <a:pt x="264" y="158"/>
                  <a:pt x="264" y="158"/>
                </a:cubicBezTo>
                <a:cubicBezTo>
                  <a:pt x="265" y="157"/>
                  <a:pt x="265" y="157"/>
                  <a:pt x="265" y="156"/>
                </a:cubicBezTo>
                <a:cubicBezTo>
                  <a:pt x="265" y="156"/>
                  <a:pt x="265" y="155"/>
                  <a:pt x="265" y="154"/>
                </a:cubicBezTo>
                <a:cubicBezTo>
                  <a:pt x="266" y="154"/>
                  <a:pt x="266" y="154"/>
                  <a:pt x="266" y="153"/>
                </a:cubicBezTo>
                <a:cubicBezTo>
                  <a:pt x="267" y="151"/>
                  <a:pt x="267" y="148"/>
                  <a:pt x="269" y="147"/>
                </a:cubicBezTo>
                <a:cubicBezTo>
                  <a:pt x="269" y="147"/>
                  <a:pt x="269" y="147"/>
                  <a:pt x="269" y="147"/>
                </a:cubicBezTo>
                <a:cubicBezTo>
                  <a:pt x="269" y="147"/>
                  <a:pt x="268" y="147"/>
                  <a:pt x="268" y="147"/>
                </a:cubicBezTo>
                <a:cubicBezTo>
                  <a:pt x="268" y="147"/>
                  <a:pt x="268" y="148"/>
                  <a:pt x="267" y="148"/>
                </a:cubicBezTo>
                <a:cubicBezTo>
                  <a:pt x="267" y="148"/>
                  <a:pt x="267" y="147"/>
                  <a:pt x="267" y="147"/>
                </a:cubicBezTo>
                <a:cubicBezTo>
                  <a:pt x="267" y="147"/>
                  <a:pt x="268" y="146"/>
                  <a:pt x="269" y="146"/>
                </a:cubicBezTo>
                <a:cubicBezTo>
                  <a:pt x="268" y="146"/>
                  <a:pt x="268" y="146"/>
                  <a:pt x="268" y="146"/>
                </a:cubicBezTo>
                <a:cubicBezTo>
                  <a:pt x="269" y="146"/>
                  <a:pt x="270" y="144"/>
                  <a:pt x="270" y="144"/>
                </a:cubicBezTo>
                <a:cubicBezTo>
                  <a:pt x="270" y="144"/>
                  <a:pt x="269" y="144"/>
                  <a:pt x="269" y="144"/>
                </a:cubicBezTo>
                <a:cubicBezTo>
                  <a:pt x="269" y="144"/>
                  <a:pt x="270" y="144"/>
                  <a:pt x="270" y="144"/>
                </a:cubicBezTo>
                <a:cubicBezTo>
                  <a:pt x="270" y="144"/>
                  <a:pt x="269" y="144"/>
                  <a:pt x="269" y="144"/>
                </a:cubicBezTo>
                <a:cubicBezTo>
                  <a:pt x="268" y="144"/>
                  <a:pt x="268" y="145"/>
                  <a:pt x="268" y="145"/>
                </a:cubicBezTo>
                <a:cubicBezTo>
                  <a:pt x="268" y="145"/>
                  <a:pt x="267" y="144"/>
                  <a:pt x="267" y="144"/>
                </a:cubicBezTo>
                <a:cubicBezTo>
                  <a:pt x="267" y="144"/>
                  <a:pt x="267" y="143"/>
                  <a:pt x="267" y="143"/>
                </a:cubicBezTo>
                <a:cubicBezTo>
                  <a:pt x="267" y="143"/>
                  <a:pt x="268" y="143"/>
                  <a:pt x="268" y="144"/>
                </a:cubicBezTo>
                <a:cubicBezTo>
                  <a:pt x="268" y="143"/>
                  <a:pt x="268" y="142"/>
                  <a:pt x="269" y="142"/>
                </a:cubicBezTo>
                <a:cubicBezTo>
                  <a:pt x="270" y="141"/>
                  <a:pt x="270" y="141"/>
                  <a:pt x="270" y="140"/>
                </a:cubicBezTo>
                <a:cubicBezTo>
                  <a:pt x="270" y="141"/>
                  <a:pt x="270" y="141"/>
                  <a:pt x="270" y="142"/>
                </a:cubicBezTo>
                <a:cubicBezTo>
                  <a:pt x="270" y="141"/>
                  <a:pt x="270" y="141"/>
                  <a:pt x="270" y="140"/>
                </a:cubicBezTo>
                <a:cubicBezTo>
                  <a:pt x="270" y="139"/>
                  <a:pt x="270" y="138"/>
                  <a:pt x="271" y="138"/>
                </a:cubicBezTo>
                <a:cubicBezTo>
                  <a:pt x="271" y="136"/>
                  <a:pt x="272" y="135"/>
                  <a:pt x="273" y="134"/>
                </a:cubicBezTo>
                <a:cubicBezTo>
                  <a:pt x="274" y="133"/>
                  <a:pt x="276" y="132"/>
                  <a:pt x="277" y="131"/>
                </a:cubicBezTo>
                <a:cubicBezTo>
                  <a:pt x="277" y="130"/>
                  <a:pt x="277" y="129"/>
                  <a:pt x="278" y="129"/>
                </a:cubicBezTo>
                <a:cubicBezTo>
                  <a:pt x="278" y="128"/>
                  <a:pt x="278" y="128"/>
                  <a:pt x="278" y="128"/>
                </a:cubicBezTo>
                <a:cubicBezTo>
                  <a:pt x="278" y="128"/>
                  <a:pt x="278" y="127"/>
                  <a:pt x="279" y="127"/>
                </a:cubicBezTo>
                <a:cubicBezTo>
                  <a:pt x="278" y="127"/>
                  <a:pt x="278" y="126"/>
                  <a:pt x="278" y="125"/>
                </a:cubicBezTo>
                <a:close/>
                <a:moveTo>
                  <a:pt x="180" y="91"/>
                </a:moveTo>
                <a:cubicBezTo>
                  <a:pt x="179" y="91"/>
                  <a:pt x="179" y="91"/>
                  <a:pt x="180" y="90"/>
                </a:cubicBezTo>
                <a:cubicBezTo>
                  <a:pt x="180" y="90"/>
                  <a:pt x="180" y="90"/>
                  <a:pt x="180" y="90"/>
                </a:cubicBezTo>
                <a:cubicBezTo>
                  <a:pt x="180" y="90"/>
                  <a:pt x="180" y="90"/>
                  <a:pt x="180" y="89"/>
                </a:cubicBezTo>
                <a:cubicBezTo>
                  <a:pt x="180" y="89"/>
                  <a:pt x="181" y="90"/>
                  <a:pt x="181" y="90"/>
                </a:cubicBezTo>
                <a:cubicBezTo>
                  <a:pt x="181" y="90"/>
                  <a:pt x="181" y="88"/>
                  <a:pt x="181" y="88"/>
                </a:cubicBezTo>
                <a:cubicBezTo>
                  <a:pt x="181" y="88"/>
                  <a:pt x="181" y="88"/>
                  <a:pt x="181" y="87"/>
                </a:cubicBezTo>
                <a:cubicBezTo>
                  <a:pt x="181" y="87"/>
                  <a:pt x="182" y="87"/>
                  <a:pt x="182" y="86"/>
                </a:cubicBezTo>
                <a:cubicBezTo>
                  <a:pt x="182" y="86"/>
                  <a:pt x="182" y="86"/>
                  <a:pt x="182" y="85"/>
                </a:cubicBezTo>
                <a:cubicBezTo>
                  <a:pt x="182" y="85"/>
                  <a:pt x="182" y="85"/>
                  <a:pt x="182" y="85"/>
                </a:cubicBezTo>
                <a:cubicBezTo>
                  <a:pt x="182" y="85"/>
                  <a:pt x="183" y="83"/>
                  <a:pt x="182" y="83"/>
                </a:cubicBezTo>
                <a:cubicBezTo>
                  <a:pt x="182" y="83"/>
                  <a:pt x="182" y="82"/>
                  <a:pt x="182" y="82"/>
                </a:cubicBezTo>
                <a:cubicBezTo>
                  <a:pt x="182" y="83"/>
                  <a:pt x="183" y="83"/>
                  <a:pt x="183" y="82"/>
                </a:cubicBezTo>
                <a:cubicBezTo>
                  <a:pt x="183" y="82"/>
                  <a:pt x="182" y="82"/>
                  <a:pt x="182" y="82"/>
                </a:cubicBezTo>
                <a:cubicBezTo>
                  <a:pt x="182" y="81"/>
                  <a:pt x="183" y="82"/>
                  <a:pt x="183" y="81"/>
                </a:cubicBezTo>
                <a:cubicBezTo>
                  <a:pt x="183" y="81"/>
                  <a:pt x="183" y="81"/>
                  <a:pt x="183" y="80"/>
                </a:cubicBezTo>
                <a:cubicBezTo>
                  <a:pt x="183" y="80"/>
                  <a:pt x="183" y="80"/>
                  <a:pt x="183" y="80"/>
                </a:cubicBezTo>
                <a:cubicBezTo>
                  <a:pt x="183" y="80"/>
                  <a:pt x="184" y="80"/>
                  <a:pt x="184" y="81"/>
                </a:cubicBezTo>
                <a:cubicBezTo>
                  <a:pt x="184" y="81"/>
                  <a:pt x="184" y="81"/>
                  <a:pt x="184" y="81"/>
                </a:cubicBezTo>
                <a:cubicBezTo>
                  <a:pt x="184" y="81"/>
                  <a:pt x="184" y="81"/>
                  <a:pt x="184" y="81"/>
                </a:cubicBezTo>
                <a:cubicBezTo>
                  <a:pt x="185" y="81"/>
                  <a:pt x="184" y="81"/>
                  <a:pt x="185" y="81"/>
                </a:cubicBezTo>
                <a:cubicBezTo>
                  <a:pt x="185" y="80"/>
                  <a:pt x="185" y="81"/>
                  <a:pt x="185" y="80"/>
                </a:cubicBezTo>
                <a:cubicBezTo>
                  <a:pt x="185" y="80"/>
                  <a:pt x="184" y="79"/>
                  <a:pt x="185" y="80"/>
                </a:cubicBezTo>
                <a:cubicBezTo>
                  <a:pt x="185" y="80"/>
                  <a:pt x="186" y="80"/>
                  <a:pt x="186" y="80"/>
                </a:cubicBezTo>
                <a:cubicBezTo>
                  <a:pt x="186" y="80"/>
                  <a:pt x="185" y="81"/>
                  <a:pt x="186" y="81"/>
                </a:cubicBezTo>
                <a:cubicBezTo>
                  <a:pt x="186" y="81"/>
                  <a:pt x="185" y="81"/>
                  <a:pt x="185" y="82"/>
                </a:cubicBezTo>
                <a:cubicBezTo>
                  <a:pt x="185" y="82"/>
                  <a:pt x="184" y="83"/>
                  <a:pt x="184" y="84"/>
                </a:cubicBezTo>
                <a:cubicBezTo>
                  <a:pt x="183" y="86"/>
                  <a:pt x="182" y="87"/>
                  <a:pt x="182" y="89"/>
                </a:cubicBezTo>
                <a:cubicBezTo>
                  <a:pt x="181" y="90"/>
                  <a:pt x="181" y="92"/>
                  <a:pt x="180" y="93"/>
                </a:cubicBezTo>
                <a:cubicBezTo>
                  <a:pt x="180" y="95"/>
                  <a:pt x="180" y="96"/>
                  <a:pt x="179" y="98"/>
                </a:cubicBezTo>
                <a:cubicBezTo>
                  <a:pt x="179" y="97"/>
                  <a:pt x="179" y="95"/>
                  <a:pt x="179" y="94"/>
                </a:cubicBezTo>
                <a:cubicBezTo>
                  <a:pt x="180" y="94"/>
                  <a:pt x="180" y="92"/>
                  <a:pt x="180" y="91"/>
                </a:cubicBezTo>
                <a:cubicBezTo>
                  <a:pt x="180" y="91"/>
                  <a:pt x="180" y="91"/>
                  <a:pt x="180" y="91"/>
                </a:cubicBezTo>
                <a:close/>
                <a:moveTo>
                  <a:pt x="179" y="73"/>
                </a:moveTo>
                <a:cubicBezTo>
                  <a:pt x="179" y="73"/>
                  <a:pt x="179" y="73"/>
                  <a:pt x="179" y="73"/>
                </a:cubicBezTo>
                <a:cubicBezTo>
                  <a:pt x="179" y="73"/>
                  <a:pt x="179" y="73"/>
                  <a:pt x="179" y="73"/>
                </a:cubicBezTo>
                <a:close/>
                <a:moveTo>
                  <a:pt x="269" y="123"/>
                </a:moveTo>
                <a:cubicBezTo>
                  <a:pt x="270" y="123"/>
                  <a:pt x="271" y="123"/>
                  <a:pt x="271" y="123"/>
                </a:cubicBezTo>
                <a:cubicBezTo>
                  <a:pt x="270" y="123"/>
                  <a:pt x="270" y="123"/>
                  <a:pt x="269" y="123"/>
                </a:cubicBezTo>
                <a:close/>
                <a:moveTo>
                  <a:pt x="194" y="180"/>
                </a:moveTo>
                <a:cubicBezTo>
                  <a:pt x="194" y="180"/>
                  <a:pt x="194" y="181"/>
                  <a:pt x="194" y="181"/>
                </a:cubicBezTo>
                <a:cubicBezTo>
                  <a:pt x="194" y="181"/>
                  <a:pt x="194" y="180"/>
                  <a:pt x="194" y="180"/>
                </a:cubicBezTo>
                <a:close/>
                <a:moveTo>
                  <a:pt x="53" y="43"/>
                </a:moveTo>
                <a:cubicBezTo>
                  <a:pt x="53" y="44"/>
                  <a:pt x="53" y="44"/>
                  <a:pt x="52" y="44"/>
                </a:cubicBezTo>
                <a:cubicBezTo>
                  <a:pt x="52" y="44"/>
                  <a:pt x="52" y="43"/>
                  <a:pt x="53" y="43"/>
                </a:cubicBezTo>
                <a:close/>
                <a:moveTo>
                  <a:pt x="27" y="50"/>
                </a:moveTo>
                <a:cubicBezTo>
                  <a:pt x="26" y="50"/>
                  <a:pt x="26" y="51"/>
                  <a:pt x="26" y="51"/>
                </a:cubicBezTo>
                <a:cubicBezTo>
                  <a:pt x="26" y="51"/>
                  <a:pt x="25" y="51"/>
                  <a:pt x="25" y="51"/>
                </a:cubicBezTo>
                <a:cubicBezTo>
                  <a:pt x="25" y="50"/>
                  <a:pt x="25" y="51"/>
                  <a:pt x="25" y="51"/>
                </a:cubicBezTo>
                <a:cubicBezTo>
                  <a:pt x="25" y="51"/>
                  <a:pt x="25" y="50"/>
                  <a:pt x="25" y="50"/>
                </a:cubicBezTo>
                <a:cubicBezTo>
                  <a:pt x="25" y="50"/>
                  <a:pt x="26" y="50"/>
                  <a:pt x="26" y="49"/>
                </a:cubicBezTo>
                <a:cubicBezTo>
                  <a:pt x="26" y="49"/>
                  <a:pt x="26" y="48"/>
                  <a:pt x="27" y="47"/>
                </a:cubicBezTo>
                <a:cubicBezTo>
                  <a:pt x="27" y="48"/>
                  <a:pt x="27" y="49"/>
                  <a:pt x="27" y="50"/>
                </a:cubicBezTo>
                <a:close/>
                <a:moveTo>
                  <a:pt x="60" y="86"/>
                </a:moveTo>
                <a:cubicBezTo>
                  <a:pt x="60" y="86"/>
                  <a:pt x="60" y="85"/>
                  <a:pt x="60" y="85"/>
                </a:cubicBezTo>
                <a:cubicBezTo>
                  <a:pt x="59" y="84"/>
                  <a:pt x="59" y="84"/>
                  <a:pt x="60" y="83"/>
                </a:cubicBezTo>
                <a:cubicBezTo>
                  <a:pt x="60" y="84"/>
                  <a:pt x="61" y="84"/>
                  <a:pt x="61" y="85"/>
                </a:cubicBezTo>
                <a:cubicBezTo>
                  <a:pt x="61" y="85"/>
                  <a:pt x="61" y="86"/>
                  <a:pt x="60" y="86"/>
                </a:cubicBezTo>
                <a:close/>
                <a:moveTo>
                  <a:pt x="49" y="38"/>
                </a:moveTo>
                <a:cubicBezTo>
                  <a:pt x="49" y="38"/>
                  <a:pt x="48" y="39"/>
                  <a:pt x="48" y="39"/>
                </a:cubicBezTo>
                <a:cubicBezTo>
                  <a:pt x="48" y="40"/>
                  <a:pt x="49" y="40"/>
                  <a:pt x="48" y="40"/>
                </a:cubicBezTo>
                <a:cubicBezTo>
                  <a:pt x="47" y="39"/>
                  <a:pt x="47" y="38"/>
                  <a:pt x="46" y="37"/>
                </a:cubicBezTo>
                <a:cubicBezTo>
                  <a:pt x="46" y="37"/>
                  <a:pt x="46" y="36"/>
                  <a:pt x="46" y="36"/>
                </a:cubicBezTo>
                <a:cubicBezTo>
                  <a:pt x="45" y="36"/>
                  <a:pt x="46" y="35"/>
                  <a:pt x="46" y="35"/>
                </a:cubicBezTo>
                <a:cubicBezTo>
                  <a:pt x="46" y="35"/>
                  <a:pt x="46" y="34"/>
                  <a:pt x="46" y="34"/>
                </a:cubicBezTo>
                <a:cubicBezTo>
                  <a:pt x="46" y="34"/>
                  <a:pt x="47" y="35"/>
                  <a:pt x="47" y="35"/>
                </a:cubicBezTo>
                <a:cubicBezTo>
                  <a:pt x="48" y="35"/>
                  <a:pt x="48" y="36"/>
                  <a:pt x="48" y="36"/>
                </a:cubicBezTo>
                <a:cubicBezTo>
                  <a:pt x="47" y="36"/>
                  <a:pt x="47" y="37"/>
                  <a:pt x="47" y="37"/>
                </a:cubicBezTo>
                <a:cubicBezTo>
                  <a:pt x="48" y="38"/>
                  <a:pt x="49" y="37"/>
                  <a:pt x="49" y="38"/>
                </a:cubicBezTo>
                <a:close/>
                <a:moveTo>
                  <a:pt x="91" y="122"/>
                </a:moveTo>
                <a:cubicBezTo>
                  <a:pt x="91" y="123"/>
                  <a:pt x="90" y="121"/>
                  <a:pt x="90" y="121"/>
                </a:cubicBezTo>
                <a:cubicBezTo>
                  <a:pt x="91" y="121"/>
                  <a:pt x="92" y="122"/>
                  <a:pt x="91" y="122"/>
                </a:cubicBezTo>
                <a:close/>
                <a:moveTo>
                  <a:pt x="1" y="39"/>
                </a:moveTo>
                <a:cubicBezTo>
                  <a:pt x="1" y="39"/>
                  <a:pt x="1" y="40"/>
                  <a:pt x="1" y="40"/>
                </a:cubicBezTo>
                <a:cubicBezTo>
                  <a:pt x="1" y="40"/>
                  <a:pt x="0" y="42"/>
                  <a:pt x="0" y="42"/>
                </a:cubicBezTo>
                <a:cubicBezTo>
                  <a:pt x="0" y="42"/>
                  <a:pt x="0" y="40"/>
                  <a:pt x="0" y="40"/>
                </a:cubicBezTo>
                <a:cubicBezTo>
                  <a:pt x="0" y="39"/>
                  <a:pt x="0" y="39"/>
                  <a:pt x="1" y="38"/>
                </a:cubicBezTo>
                <a:cubicBezTo>
                  <a:pt x="1" y="39"/>
                  <a:pt x="1" y="39"/>
                  <a:pt x="1" y="39"/>
                </a:cubicBezTo>
                <a:close/>
                <a:moveTo>
                  <a:pt x="276" y="134"/>
                </a:moveTo>
                <a:cubicBezTo>
                  <a:pt x="276" y="133"/>
                  <a:pt x="277" y="133"/>
                  <a:pt x="278" y="133"/>
                </a:cubicBezTo>
                <a:cubicBezTo>
                  <a:pt x="277" y="134"/>
                  <a:pt x="276" y="136"/>
                  <a:pt x="275" y="137"/>
                </a:cubicBezTo>
                <a:cubicBezTo>
                  <a:pt x="275" y="136"/>
                  <a:pt x="275" y="135"/>
                  <a:pt x="276" y="134"/>
                </a:cubicBezTo>
                <a:close/>
                <a:moveTo>
                  <a:pt x="92" y="124"/>
                </a:moveTo>
                <a:cubicBezTo>
                  <a:pt x="92" y="124"/>
                  <a:pt x="91" y="124"/>
                  <a:pt x="91" y="124"/>
                </a:cubicBezTo>
                <a:cubicBezTo>
                  <a:pt x="91" y="123"/>
                  <a:pt x="92" y="123"/>
                  <a:pt x="92" y="123"/>
                </a:cubicBezTo>
                <a:cubicBezTo>
                  <a:pt x="93" y="123"/>
                  <a:pt x="93" y="124"/>
                  <a:pt x="92" y="124"/>
                </a:cubicBezTo>
                <a:close/>
                <a:moveTo>
                  <a:pt x="65" y="91"/>
                </a:moveTo>
                <a:cubicBezTo>
                  <a:pt x="66" y="92"/>
                  <a:pt x="66" y="93"/>
                  <a:pt x="66" y="94"/>
                </a:cubicBezTo>
                <a:cubicBezTo>
                  <a:pt x="65" y="94"/>
                  <a:pt x="65" y="92"/>
                  <a:pt x="65" y="91"/>
                </a:cubicBezTo>
                <a:close/>
                <a:moveTo>
                  <a:pt x="61" y="90"/>
                </a:moveTo>
                <a:cubicBezTo>
                  <a:pt x="62" y="89"/>
                  <a:pt x="62" y="91"/>
                  <a:pt x="61" y="91"/>
                </a:cubicBezTo>
                <a:cubicBezTo>
                  <a:pt x="61" y="91"/>
                  <a:pt x="61" y="90"/>
                  <a:pt x="61" y="90"/>
                </a:cubicBezTo>
                <a:close/>
                <a:moveTo>
                  <a:pt x="50" y="45"/>
                </a:moveTo>
                <a:cubicBezTo>
                  <a:pt x="50" y="45"/>
                  <a:pt x="50" y="44"/>
                  <a:pt x="50" y="44"/>
                </a:cubicBezTo>
                <a:cubicBezTo>
                  <a:pt x="50" y="44"/>
                  <a:pt x="51" y="45"/>
                  <a:pt x="50" y="45"/>
                </a:cubicBezTo>
                <a:close/>
                <a:moveTo>
                  <a:pt x="59" y="73"/>
                </a:moveTo>
                <a:cubicBezTo>
                  <a:pt x="58" y="73"/>
                  <a:pt x="59" y="73"/>
                  <a:pt x="59" y="74"/>
                </a:cubicBezTo>
                <a:cubicBezTo>
                  <a:pt x="59" y="74"/>
                  <a:pt x="58" y="74"/>
                  <a:pt x="58" y="74"/>
                </a:cubicBezTo>
                <a:cubicBezTo>
                  <a:pt x="57" y="74"/>
                  <a:pt x="57" y="75"/>
                  <a:pt x="57" y="75"/>
                </a:cubicBezTo>
                <a:cubicBezTo>
                  <a:pt x="56" y="76"/>
                  <a:pt x="57" y="75"/>
                  <a:pt x="57" y="74"/>
                </a:cubicBezTo>
                <a:cubicBezTo>
                  <a:pt x="57" y="73"/>
                  <a:pt x="58" y="73"/>
                  <a:pt x="59" y="73"/>
                </a:cubicBezTo>
                <a:close/>
                <a:moveTo>
                  <a:pt x="45" y="89"/>
                </a:moveTo>
                <a:cubicBezTo>
                  <a:pt x="46" y="89"/>
                  <a:pt x="45" y="90"/>
                  <a:pt x="45" y="89"/>
                </a:cubicBezTo>
                <a:cubicBezTo>
                  <a:pt x="45" y="88"/>
                  <a:pt x="45" y="88"/>
                  <a:pt x="45" y="88"/>
                </a:cubicBezTo>
                <a:cubicBezTo>
                  <a:pt x="45" y="87"/>
                  <a:pt x="44" y="86"/>
                  <a:pt x="44" y="87"/>
                </a:cubicBezTo>
                <a:cubicBezTo>
                  <a:pt x="44" y="87"/>
                  <a:pt x="44" y="87"/>
                  <a:pt x="44" y="86"/>
                </a:cubicBezTo>
                <a:cubicBezTo>
                  <a:pt x="45" y="85"/>
                  <a:pt x="45" y="85"/>
                  <a:pt x="45" y="84"/>
                </a:cubicBezTo>
                <a:cubicBezTo>
                  <a:pt x="46" y="83"/>
                  <a:pt x="46" y="82"/>
                  <a:pt x="46" y="81"/>
                </a:cubicBezTo>
                <a:cubicBezTo>
                  <a:pt x="47" y="81"/>
                  <a:pt x="46" y="82"/>
                  <a:pt x="46" y="82"/>
                </a:cubicBezTo>
                <a:cubicBezTo>
                  <a:pt x="46" y="83"/>
                  <a:pt x="46" y="84"/>
                  <a:pt x="45" y="85"/>
                </a:cubicBezTo>
                <a:cubicBezTo>
                  <a:pt x="45" y="85"/>
                  <a:pt x="45" y="85"/>
                  <a:pt x="45" y="86"/>
                </a:cubicBezTo>
                <a:cubicBezTo>
                  <a:pt x="44" y="86"/>
                  <a:pt x="45" y="86"/>
                  <a:pt x="45" y="87"/>
                </a:cubicBezTo>
                <a:cubicBezTo>
                  <a:pt x="45" y="87"/>
                  <a:pt x="45" y="88"/>
                  <a:pt x="45" y="89"/>
                </a:cubicBezTo>
                <a:close/>
                <a:moveTo>
                  <a:pt x="228" y="154"/>
                </a:moveTo>
                <a:cubicBezTo>
                  <a:pt x="227" y="154"/>
                  <a:pt x="227" y="154"/>
                  <a:pt x="226" y="154"/>
                </a:cubicBezTo>
                <a:cubicBezTo>
                  <a:pt x="226" y="154"/>
                  <a:pt x="228" y="153"/>
                  <a:pt x="228" y="153"/>
                </a:cubicBezTo>
                <a:cubicBezTo>
                  <a:pt x="228" y="153"/>
                  <a:pt x="229" y="153"/>
                  <a:pt x="229" y="153"/>
                </a:cubicBezTo>
                <a:cubicBezTo>
                  <a:pt x="230" y="153"/>
                  <a:pt x="229" y="154"/>
                  <a:pt x="229" y="153"/>
                </a:cubicBezTo>
                <a:cubicBezTo>
                  <a:pt x="228" y="153"/>
                  <a:pt x="228" y="154"/>
                  <a:pt x="227" y="154"/>
                </a:cubicBezTo>
                <a:cubicBezTo>
                  <a:pt x="227" y="154"/>
                  <a:pt x="227" y="154"/>
                  <a:pt x="228" y="154"/>
                </a:cubicBezTo>
                <a:close/>
                <a:moveTo>
                  <a:pt x="57" y="41"/>
                </a:moveTo>
                <a:cubicBezTo>
                  <a:pt x="57" y="41"/>
                  <a:pt x="57" y="42"/>
                  <a:pt x="56" y="42"/>
                </a:cubicBezTo>
                <a:cubicBezTo>
                  <a:pt x="56" y="42"/>
                  <a:pt x="56" y="43"/>
                  <a:pt x="55" y="43"/>
                </a:cubicBezTo>
                <a:cubicBezTo>
                  <a:pt x="55" y="43"/>
                  <a:pt x="53" y="42"/>
                  <a:pt x="53" y="42"/>
                </a:cubicBezTo>
                <a:cubicBezTo>
                  <a:pt x="54" y="42"/>
                  <a:pt x="54" y="41"/>
                  <a:pt x="54" y="41"/>
                </a:cubicBezTo>
                <a:cubicBezTo>
                  <a:pt x="54" y="41"/>
                  <a:pt x="54" y="40"/>
                  <a:pt x="55" y="40"/>
                </a:cubicBezTo>
                <a:cubicBezTo>
                  <a:pt x="55" y="40"/>
                  <a:pt x="55" y="38"/>
                  <a:pt x="56" y="38"/>
                </a:cubicBezTo>
                <a:cubicBezTo>
                  <a:pt x="56" y="38"/>
                  <a:pt x="57" y="38"/>
                  <a:pt x="57" y="38"/>
                </a:cubicBezTo>
                <a:cubicBezTo>
                  <a:pt x="57" y="38"/>
                  <a:pt x="57" y="39"/>
                  <a:pt x="57" y="39"/>
                </a:cubicBezTo>
                <a:cubicBezTo>
                  <a:pt x="57" y="39"/>
                  <a:pt x="57" y="40"/>
                  <a:pt x="57" y="41"/>
                </a:cubicBezTo>
                <a:close/>
                <a:moveTo>
                  <a:pt x="44" y="152"/>
                </a:moveTo>
                <a:cubicBezTo>
                  <a:pt x="44" y="152"/>
                  <a:pt x="44" y="154"/>
                  <a:pt x="44" y="153"/>
                </a:cubicBezTo>
                <a:cubicBezTo>
                  <a:pt x="43" y="153"/>
                  <a:pt x="43" y="152"/>
                  <a:pt x="44" y="152"/>
                </a:cubicBezTo>
                <a:close/>
                <a:moveTo>
                  <a:pt x="44" y="11"/>
                </a:moveTo>
                <a:cubicBezTo>
                  <a:pt x="44" y="11"/>
                  <a:pt x="43" y="11"/>
                  <a:pt x="43" y="10"/>
                </a:cubicBezTo>
                <a:cubicBezTo>
                  <a:pt x="44" y="9"/>
                  <a:pt x="44" y="11"/>
                  <a:pt x="44" y="11"/>
                </a:cubicBezTo>
                <a:close/>
                <a:moveTo>
                  <a:pt x="6" y="158"/>
                </a:moveTo>
                <a:cubicBezTo>
                  <a:pt x="6" y="157"/>
                  <a:pt x="8" y="158"/>
                  <a:pt x="6" y="15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99" name="Mauritania"/>
          <p:cNvSpPr>
            <a:spLocks noEditPoints="1"/>
          </p:cNvSpPr>
          <p:nvPr/>
        </p:nvSpPr>
        <p:spPr bwMode="auto">
          <a:xfrm>
            <a:off x="5214104" y="3578978"/>
            <a:ext cx="425984" cy="498982"/>
          </a:xfrm>
          <a:custGeom>
            <a:avLst/>
            <a:gdLst/>
            <a:ahLst/>
            <a:cxnLst>
              <a:cxn ang="0">
                <a:pos x="109" y="126"/>
              </a:cxn>
              <a:cxn ang="0">
                <a:pos x="96" y="130"/>
              </a:cxn>
              <a:cxn ang="0">
                <a:pos x="71" y="129"/>
              </a:cxn>
              <a:cxn ang="0">
                <a:pos x="68" y="131"/>
              </a:cxn>
              <a:cxn ang="0">
                <a:pos x="60" y="131"/>
              </a:cxn>
              <a:cxn ang="0">
                <a:pos x="57" y="134"/>
              </a:cxn>
              <a:cxn ang="0">
                <a:pos x="52" y="129"/>
              </a:cxn>
              <a:cxn ang="0">
                <a:pos x="49" y="129"/>
              </a:cxn>
              <a:cxn ang="0">
                <a:pos x="46" y="138"/>
              </a:cxn>
              <a:cxn ang="0">
                <a:pos x="44" y="138"/>
              </a:cxn>
              <a:cxn ang="0">
                <a:pos x="40" y="134"/>
              </a:cxn>
              <a:cxn ang="0">
                <a:pos x="38" y="133"/>
              </a:cxn>
              <a:cxn ang="0">
                <a:pos x="37" y="130"/>
              </a:cxn>
              <a:cxn ang="0">
                <a:pos x="34" y="127"/>
              </a:cxn>
              <a:cxn ang="0">
                <a:pos x="33" y="124"/>
              </a:cxn>
              <a:cxn ang="0">
                <a:pos x="30" y="123"/>
              </a:cxn>
              <a:cxn ang="0">
                <a:pos x="28" y="122"/>
              </a:cxn>
              <a:cxn ang="0">
                <a:pos x="25" y="118"/>
              </a:cxn>
              <a:cxn ang="0">
                <a:pos x="23" y="117"/>
              </a:cxn>
              <a:cxn ang="0">
                <a:pos x="18" y="117"/>
              </a:cxn>
              <a:cxn ang="0">
                <a:pos x="13" y="118"/>
              </a:cxn>
              <a:cxn ang="0">
                <a:pos x="10" y="119"/>
              </a:cxn>
              <a:cxn ang="0">
                <a:pos x="7" y="119"/>
              </a:cxn>
              <a:cxn ang="0">
                <a:pos x="4" y="122"/>
              </a:cxn>
              <a:cxn ang="0">
                <a:pos x="3" y="124"/>
              </a:cxn>
              <a:cxn ang="0">
                <a:pos x="8" y="100"/>
              </a:cxn>
              <a:cxn ang="0">
                <a:pos x="7" y="91"/>
              </a:cxn>
              <a:cxn ang="0">
                <a:pos x="6" y="87"/>
              </a:cxn>
              <a:cxn ang="0">
                <a:pos x="6" y="86"/>
              </a:cxn>
              <a:cxn ang="0">
                <a:pos x="7" y="84"/>
              </a:cxn>
              <a:cxn ang="0">
                <a:pos x="7" y="82"/>
              </a:cxn>
              <a:cxn ang="0">
                <a:pos x="7" y="81"/>
              </a:cxn>
              <a:cxn ang="0">
                <a:pos x="7" y="76"/>
              </a:cxn>
              <a:cxn ang="0">
                <a:pos x="6" y="73"/>
              </a:cxn>
              <a:cxn ang="0">
                <a:pos x="5" y="74"/>
              </a:cxn>
              <a:cxn ang="0">
                <a:pos x="3" y="72"/>
              </a:cxn>
              <a:cxn ang="0">
                <a:pos x="2" y="70"/>
              </a:cxn>
              <a:cxn ang="0">
                <a:pos x="0" y="71"/>
              </a:cxn>
              <a:cxn ang="0">
                <a:pos x="3" y="66"/>
              </a:cxn>
              <a:cxn ang="0">
                <a:pos x="38" y="54"/>
              </a:cxn>
              <a:cxn ang="0">
                <a:pos x="43" y="44"/>
              </a:cxn>
              <a:cxn ang="0">
                <a:pos x="49" y="42"/>
              </a:cxn>
              <a:cxn ang="0">
                <a:pos x="50" y="18"/>
              </a:cxn>
              <a:cxn ang="0">
                <a:pos x="69" y="15"/>
              </a:cxn>
              <a:cxn ang="0">
                <a:pos x="82" y="10"/>
              </a:cxn>
              <a:cxn ang="0">
                <a:pos x="101" y="26"/>
              </a:cxn>
              <a:cxn ang="0">
                <a:pos x="108" y="113"/>
              </a:cxn>
              <a:cxn ang="0">
                <a:pos x="6" y="82"/>
              </a:cxn>
            </a:cxnLst>
            <a:rect l="0" t="0" r="r" b="b"/>
            <a:pathLst>
              <a:path w="118" h="138">
                <a:moveTo>
                  <a:pt x="109" y="120"/>
                </a:moveTo>
                <a:cubicBezTo>
                  <a:pt x="110" y="120"/>
                  <a:pt x="110" y="121"/>
                  <a:pt x="110" y="122"/>
                </a:cubicBezTo>
                <a:cubicBezTo>
                  <a:pt x="110" y="123"/>
                  <a:pt x="110" y="125"/>
                  <a:pt x="109" y="126"/>
                </a:cubicBezTo>
                <a:cubicBezTo>
                  <a:pt x="109" y="127"/>
                  <a:pt x="109" y="128"/>
                  <a:pt x="109" y="129"/>
                </a:cubicBezTo>
                <a:cubicBezTo>
                  <a:pt x="109" y="130"/>
                  <a:pt x="108" y="130"/>
                  <a:pt x="108" y="130"/>
                </a:cubicBezTo>
                <a:cubicBezTo>
                  <a:pt x="104" y="130"/>
                  <a:pt x="100" y="130"/>
                  <a:pt x="96" y="130"/>
                </a:cubicBezTo>
                <a:cubicBezTo>
                  <a:pt x="88" y="130"/>
                  <a:pt x="80" y="130"/>
                  <a:pt x="72" y="130"/>
                </a:cubicBezTo>
                <a:cubicBezTo>
                  <a:pt x="72" y="129"/>
                  <a:pt x="72" y="129"/>
                  <a:pt x="72" y="128"/>
                </a:cubicBezTo>
                <a:cubicBezTo>
                  <a:pt x="72" y="127"/>
                  <a:pt x="71" y="129"/>
                  <a:pt x="71" y="129"/>
                </a:cubicBezTo>
                <a:cubicBezTo>
                  <a:pt x="71" y="129"/>
                  <a:pt x="71" y="130"/>
                  <a:pt x="71" y="130"/>
                </a:cubicBezTo>
                <a:cubicBezTo>
                  <a:pt x="71" y="131"/>
                  <a:pt x="70" y="131"/>
                  <a:pt x="70" y="131"/>
                </a:cubicBezTo>
                <a:cubicBezTo>
                  <a:pt x="69" y="131"/>
                  <a:pt x="68" y="131"/>
                  <a:pt x="68" y="131"/>
                </a:cubicBezTo>
                <a:cubicBezTo>
                  <a:pt x="67" y="131"/>
                  <a:pt x="66" y="131"/>
                  <a:pt x="65" y="131"/>
                </a:cubicBezTo>
                <a:cubicBezTo>
                  <a:pt x="64" y="131"/>
                  <a:pt x="64" y="131"/>
                  <a:pt x="63" y="131"/>
                </a:cubicBezTo>
                <a:cubicBezTo>
                  <a:pt x="62" y="131"/>
                  <a:pt x="61" y="130"/>
                  <a:pt x="60" y="131"/>
                </a:cubicBezTo>
                <a:cubicBezTo>
                  <a:pt x="60" y="131"/>
                  <a:pt x="59" y="131"/>
                  <a:pt x="59" y="131"/>
                </a:cubicBezTo>
                <a:cubicBezTo>
                  <a:pt x="59" y="131"/>
                  <a:pt x="58" y="132"/>
                  <a:pt x="58" y="132"/>
                </a:cubicBezTo>
                <a:cubicBezTo>
                  <a:pt x="58" y="132"/>
                  <a:pt x="57" y="134"/>
                  <a:pt x="57" y="134"/>
                </a:cubicBezTo>
                <a:cubicBezTo>
                  <a:pt x="56" y="134"/>
                  <a:pt x="56" y="133"/>
                  <a:pt x="56" y="133"/>
                </a:cubicBezTo>
                <a:cubicBezTo>
                  <a:pt x="55" y="132"/>
                  <a:pt x="55" y="132"/>
                  <a:pt x="54" y="131"/>
                </a:cubicBezTo>
                <a:cubicBezTo>
                  <a:pt x="53" y="131"/>
                  <a:pt x="53" y="130"/>
                  <a:pt x="52" y="129"/>
                </a:cubicBezTo>
                <a:cubicBezTo>
                  <a:pt x="52" y="129"/>
                  <a:pt x="52" y="128"/>
                  <a:pt x="51" y="128"/>
                </a:cubicBezTo>
                <a:cubicBezTo>
                  <a:pt x="51" y="129"/>
                  <a:pt x="50" y="129"/>
                  <a:pt x="50" y="129"/>
                </a:cubicBezTo>
                <a:cubicBezTo>
                  <a:pt x="50" y="130"/>
                  <a:pt x="50" y="130"/>
                  <a:pt x="49" y="129"/>
                </a:cubicBezTo>
                <a:cubicBezTo>
                  <a:pt x="49" y="130"/>
                  <a:pt x="47" y="135"/>
                  <a:pt x="48" y="135"/>
                </a:cubicBezTo>
                <a:cubicBezTo>
                  <a:pt x="48" y="135"/>
                  <a:pt x="48" y="136"/>
                  <a:pt x="48" y="137"/>
                </a:cubicBezTo>
                <a:cubicBezTo>
                  <a:pt x="47" y="137"/>
                  <a:pt x="46" y="138"/>
                  <a:pt x="46" y="138"/>
                </a:cubicBezTo>
                <a:cubicBezTo>
                  <a:pt x="46" y="138"/>
                  <a:pt x="45" y="138"/>
                  <a:pt x="45" y="138"/>
                </a:cubicBezTo>
                <a:cubicBezTo>
                  <a:pt x="45" y="138"/>
                  <a:pt x="45" y="138"/>
                  <a:pt x="45" y="138"/>
                </a:cubicBezTo>
                <a:cubicBezTo>
                  <a:pt x="45" y="138"/>
                  <a:pt x="44" y="138"/>
                  <a:pt x="44" y="138"/>
                </a:cubicBezTo>
                <a:cubicBezTo>
                  <a:pt x="43" y="138"/>
                  <a:pt x="43" y="137"/>
                  <a:pt x="42" y="137"/>
                </a:cubicBezTo>
                <a:cubicBezTo>
                  <a:pt x="42" y="137"/>
                  <a:pt x="42" y="136"/>
                  <a:pt x="41" y="135"/>
                </a:cubicBezTo>
                <a:cubicBezTo>
                  <a:pt x="41" y="135"/>
                  <a:pt x="40" y="135"/>
                  <a:pt x="40" y="134"/>
                </a:cubicBezTo>
                <a:cubicBezTo>
                  <a:pt x="40" y="134"/>
                  <a:pt x="39" y="135"/>
                  <a:pt x="39" y="134"/>
                </a:cubicBezTo>
                <a:cubicBezTo>
                  <a:pt x="39" y="134"/>
                  <a:pt x="39" y="133"/>
                  <a:pt x="38" y="133"/>
                </a:cubicBezTo>
                <a:cubicBezTo>
                  <a:pt x="38" y="133"/>
                  <a:pt x="38" y="133"/>
                  <a:pt x="38" y="133"/>
                </a:cubicBezTo>
                <a:cubicBezTo>
                  <a:pt x="38" y="133"/>
                  <a:pt x="37" y="132"/>
                  <a:pt x="38" y="132"/>
                </a:cubicBezTo>
                <a:cubicBezTo>
                  <a:pt x="38" y="132"/>
                  <a:pt x="38" y="132"/>
                  <a:pt x="38" y="132"/>
                </a:cubicBezTo>
                <a:cubicBezTo>
                  <a:pt x="37" y="131"/>
                  <a:pt x="37" y="130"/>
                  <a:pt x="37" y="130"/>
                </a:cubicBezTo>
                <a:cubicBezTo>
                  <a:pt x="36" y="130"/>
                  <a:pt x="36" y="130"/>
                  <a:pt x="36" y="129"/>
                </a:cubicBezTo>
                <a:cubicBezTo>
                  <a:pt x="35" y="128"/>
                  <a:pt x="34" y="129"/>
                  <a:pt x="34" y="128"/>
                </a:cubicBezTo>
                <a:cubicBezTo>
                  <a:pt x="34" y="128"/>
                  <a:pt x="34" y="127"/>
                  <a:pt x="34" y="127"/>
                </a:cubicBezTo>
                <a:cubicBezTo>
                  <a:pt x="34" y="127"/>
                  <a:pt x="34" y="126"/>
                  <a:pt x="34" y="126"/>
                </a:cubicBezTo>
                <a:cubicBezTo>
                  <a:pt x="34" y="125"/>
                  <a:pt x="33" y="125"/>
                  <a:pt x="33" y="125"/>
                </a:cubicBezTo>
                <a:cubicBezTo>
                  <a:pt x="33" y="124"/>
                  <a:pt x="33" y="124"/>
                  <a:pt x="33" y="124"/>
                </a:cubicBezTo>
                <a:cubicBezTo>
                  <a:pt x="33" y="124"/>
                  <a:pt x="32" y="123"/>
                  <a:pt x="32" y="123"/>
                </a:cubicBezTo>
                <a:cubicBezTo>
                  <a:pt x="32" y="123"/>
                  <a:pt x="32" y="123"/>
                  <a:pt x="32" y="123"/>
                </a:cubicBezTo>
                <a:cubicBezTo>
                  <a:pt x="32" y="123"/>
                  <a:pt x="30" y="124"/>
                  <a:pt x="30" y="123"/>
                </a:cubicBezTo>
                <a:cubicBezTo>
                  <a:pt x="30" y="122"/>
                  <a:pt x="29" y="123"/>
                  <a:pt x="29" y="123"/>
                </a:cubicBezTo>
                <a:cubicBezTo>
                  <a:pt x="28" y="123"/>
                  <a:pt x="28" y="123"/>
                  <a:pt x="28" y="123"/>
                </a:cubicBezTo>
                <a:cubicBezTo>
                  <a:pt x="28" y="122"/>
                  <a:pt x="28" y="122"/>
                  <a:pt x="28" y="122"/>
                </a:cubicBezTo>
                <a:cubicBezTo>
                  <a:pt x="28" y="122"/>
                  <a:pt x="27" y="122"/>
                  <a:pt x="28" y="121"/>
                </a:cubicBezTo>
                <a:cubicBezTo>
                  <a:pt x="28" y="120"/>
                  <a:pt x="26" y="119"/>
                  <a:pt x="26" y="119"/>
                </a:cubicBezTo>
                <a:cubicBezTo>
                  <a:pt x="25" y="119"/>
                  <a:pt x="25" y="118"/>
                  <a:pt x="25" y="118"/>
                </a:cubicBezTo>
                <a:cubicBezTo>
                  <a:pt x="25" y="118"/>
                  <a:pt x="24" y="118"/>
                  <a:pt x="24" y="118"/>
                </a:cubicBezTo>
                <a:cubicBezTo>
                  <a:pt x="24" y="118"/>
                  <a:pt x="24" y="117"/>
                  <a:pt x="24" y="117"/>
                </a:cubicBezTo>
                <a:cubicBezTo>
                  <a:pt x="24" y="117"/>
                  <a:pt x="23" y="117"/>
                  <a:pt x="23" y="117"/>
                </a:cubicBezTo>
                <a:cubicBezTo>
                  <a:pt x="22" y="118"/>
                  <a:pt x="21" y="117"/>
                  <a:pt x="20" y="117"/>
                </a:cubicBezTo>
                <a:cubicBezTo>
                  <a:pt x="19" y="117"/>
                  <a:pt x="18" y="118"/>
                  <a:pt x="18" y="117"/>
                </a:cubicBezTo>
                <a:cubicBezTo>
                  <a:pt x="18" y="117"/>
                  <a:pt x="18" y="117"/>
                  <a:pt x="18" y="117"/>
                </a:cubicBezTo>
                <a:cubicBezTo>
                  <a:pt x="17" y="117"/>
                  <a:pt x="16" y="117"/>
                  <a:pt x="17" y="118"/>
                </a:cubicBezTo>
                <a:cubicBezTo>
                  <a:pt x="17" y="118"/>
                  <a:pt x="15" y="118"/>
                  <a:pt x="14" y="118"/>
                </a:cubicBezTo>
                <a:cubicBezTo>
                  <a:pt x="14" y="119"/>
                  <a:pt x="14" y="118"/>
                  <a:pt x="13" y="118"/>
                </a:cubicBezTo>
                <a:cubicBezTo>
                  <a:pt x="13" y="118"/>
                  <a:pt x="13" y="119"/>
                  <a:pt x="13" y="119"/>
                </a:cubicBezTo>
                <a:cubicBezTo>
                  <a:pt x="12" y="119"/>
                  <a:pt x="12" y="119"/>
                  <a:pt x="12" y="119"/>
                </a:cubicBezTo>
                <a:cubicBezTo>
                  <a:pt x="12" y="119"/>
                  <a:pt x="11" y="119"/>
                  <a:pt x="10" y="119"/>
                </a:cubicBezTo>
                <a:cubicBezTo>
                  <a:pt x="10" y="119"/>
                  <a:pt x="9" y="119"/>
                  <a:pt x="9" y="119"/>
                </a:cubicBezTo>
                <a:cubicBezTo>
                  <a:pt x="8" y="119"/>
                  <a:pt x="8" y="119"/>
                  <a:pt x="7" y="119"/>
                </a:cubicBezTo>
                <a:cubicBezTo>
                  <a:pt x="7" y="119"/>
                  <a:pt x="7" y="118"/>
                  <a:pt x="7" y="119"/>
                </a:cubicBezTo>
                <a:cubicBezTo>
                  <a:pt x="6" y="119"/>
                  <a:pt x="6" y="119"/>
                  <a:pt x="6" y="119"/>
                </a:cubicBezTo>
                <a:cubicBezTo>
                  <a:pt x="6" y="119"/>
                  <a:pt x="6" y="119"/>
                  <a:pt x="5" y="119"/>
                </a:cubicBezTo>
                <a:cubicBezTo>
                  <a:pt x="5" y="119"/>
                  <a:pt x="5" y="121"/>
                  <a:pt x="4" y="122"/>
                </a:cubicBezTo>
                <a:cubicBezTo>
                  <a:pt x="4" y="122"/>
                  <a:pt x="4" y="122"/>
                  <a:pt x="4" y="122"/>
                </a:cubicBezTo>
                <a:cubicBezTo>
                  <a:pt x="3" y="123"/>
                  <a:pt x="4" y="123"/>
                  <a:pt x="3" y="124"/>
                </a:cubicBezTo>
                <a:cubicBezTo>
                  <a:pt x="3" y="123"/>
                  <a:pt x="3" y="123"/>
                  <a:pt x="3" y="124"/>
                </a:cubicBezTo>
                <a:cubicBezTo>
                  <a:pt x="3" y="122"/>
                  <a:pt x="3" y="120"/>
                  <a:pt x="4" y="118"/>
                </a:cubicBezTo>
                <a:cubicBezTo>
                  <a:pt x="4" y="116"/>
                  <a:pt x="5" y="114"/>
                  <a:pt x="6" y="112"/>
                </a:cubicBezTo>
                <a:cubicBezTo>
                  <a:pt x="8" y="108"/>
                  <a:pt x="9" y="104"/>
                  <a:pt x="8" y="100"/>
                </a:cubicBezTo>
                <a:cubicBezTo>
                  <a:pt x="8" y="99"/>
                  <a:pt x="8" y="98"/>
                  <a:pt x="8" y="97"/>
                </a:cubicBezTo>
                <a:cubicBezTo>
                  <a:pt x="8" y="96"/>
                  <a:pt x="8" y="95"/>
                  <a:pt x="7" y="94"/>
                </a:cubicBezTo>
                <a:cubicBezTo>
                  <a:pt x="7" y="93"/>
                  <a:pt x="7" y="92"/>
                  <a:pt x="7" y="91"/>
                </a:cubicBezTo>
                <a:cubicBezTo>
                  <a:pt x="6" y="90"/>
                  <a:pt x="6" y="89"/>
                  <a:pt x="5" y="89"/>
                </a:cubicBezTo>
                <a:cubicBezTo>
                  <a:pt x="5" y="89"/>
                  <a:pt x="4" y="88"/>
                  <a:pt x="4" y="87"/>
                </a:cubicBezTo>
                <a:cubicBezTo>
                  <a:pt x="4" y="87"/>
                  <a:pt x="5" y="87"/>
                  <a:pt x="6" y="87"/>
                </a:cubicBezTo>
                <a:cubicBezTo>
                  <a:pt x="6" y="87"/>
                  <a:pt x="7" y="86"/>
                  <a:pt x="7" y="86"/>
                </a:cubicBezTo>
                <a:cubicBezTo>
                  <a:pt x="7" y="85"/>
                  <a:pt x="6" y="86"/>
                  <a:pt x="6" y="86"/>
                </a:cubicBezTo>
                <a:cubicBezTo>
                  <a:pt x="6" y="86"/>
                  <a:pt x="6" y="86"/>
                  <a:pt x="6" y="86"/>
                </a:cubicBezTo>
                <a:cubicBezTo>
                  <a:pt x="5" y="86"/>
                  <a:pt x="6" y="87"/>
                  <a:pt x="5" y="87"/>
                </a:cubicBezTo>
                <a:cubicBezTo>
                  <a:pt x="5" y="87"/>
                  <a:pt x="5" y="86"/>
                  <a:pt x="5" y="86"/>
                </a:cubicBezTo>
                <a:cubicBezTo>
                  <a:pt x="5" y="85"/>
                  <a:pt x="6" y="85"/>
                  <a:pt x="7" y="84"/>
                </a:cubicBezTo>
                <a:cubicBezTo>
                  <a:pt x="7" y="84"/>
                  <a:pt x="7" y="83"/>
                  <a:pt x="7" y="83"/>
                </a:cubicBezTo>
                <a:cubicBezTo>
                  <a:pt x="7" y="83"/>
                  <a:pt x="7" y="83"/>
                  <a:pt x="7" y="82"/>
                </a:cubicBezTo>
                <a:cubicBezTo>
                  <a:pt x="7" y="82"/>
                  <a:pt x="7" y="82"/>
                  <a:pt x="7" y="82"/>
                </a:cubicBezTo>
                <a:cubicBezTo>
                  <a:pt x="7" y="82"/>
                  <a:pt x="7" y="81"/>
                  <a:pt x="7" y="82"/>
                </a:cubicBezTo>
                <a:cubicBezTo>
                  <a:pt x="7" y="82"/>
                  <a:pt x="6" y="82"/>
                  <a:pt x="7" y="81"/>
                </a:cubicBezTo>
                <a:cubicBezTo>
                  <a:pt x="7" y="81"/>
                  <a:pt x="7" y="81"/>
                  <a:pt x="7" y="81"/>
                </a:cubicBezTo>
                <a:cubicBezTo>
                  <a:pt x="8" y="80"/>
                  <a:pt x="7" y="80"/>
                  <a:pt x="7" y="79"/>
                </a:cubicBezTo>
                <a:cubicBezTo>
                  <a:pt x="7" y="79"/>
                  <a:pt x="8" y="79"/>
                  <a:pt x="8" y="78"/>
                </a:cubicBezTo>
                <a:cubicBezTo>
                  <a:pt x="8" y="77"/>
                  <a:pt x="7" y="77"/>
                  <a:pt x="7" y="76"/>
                </a:cubicBezTo>
                <a:cubicBezTo>
                  <a:pt x="6" y="76"/>
                  <a:pt x="6" y="75"/>
                  <a:pt x="6" y="75"/>
                </a:cubicBezTo>
                <a:cubicBezTo>
                  <a:pt x="6" y="74"/>
                  <a:pt x="5" y="73"/>
                  <a:pt x="6" y="73"/>
                </a:cubicBezTo>
                <a:cubicBezTo>
                  <a:pt x="6" y="73"/>
                  <a:pt x="6" y="73"/>
                  <a:pt x="6" y="73"/>
                </a:cubicBezTo>
                <a:cubicBezTo>
                  <a:pt x="6" y="73"/>
                  <a:pt x="5" y="73"/>
                  <a:pt x="5" y="73"/>
                </a:cubicBezTo>
                <a:cubicBezTo>
                  <a:pt x="5" y="73"/>
                  <a:pt x="5" y="72"/>
                  <a:pt x="5" y="72"/>
                </a:cubicBezTo>
                <a:cubicBezTo>
                  <a:pt x="5" y="73"/>
                  <a:pt x="5" y="74"/>
                  <a:pt x="5" y="74"/>
                </a:cubicBezTo>
                <a:cubicBezTo>
                  <a:pt x="5" y="74"/>
                  <a:pt x="4" y="73"/>
                  <a:pt x="4" y="73"/>
                </a:cubicBezTo>
                <a:cubicBezTo>
                  <a:pt x="3" y="73"/>
                  <a:pt x="4" y="73"/>
                  <a:pt x="3" y="72"/>
                </a:cubicBezTo>
                <a:cubicBezTo>
                  <a:pt x="3" y="72"/>
                  <a:pt x="3" y="72"/>
                  <a:pt x="3" y="72"/>
                </a:cubicBezTo>
                <a:cubicBezTo>
                  <a:pt x="3" y="72"/>
                  <a:pt x="3" y="72"/>
                  <a:pt x="3" y="72"/>
                </a:cubicBezTo>
                <a:cubicBezTo>
                  <a:pt x="3" y="71"/>
                  <a:pt x="3" y="71"/>
                  <a:pt x="3" y="71"/>
                </a:cubicBezTo>
                <a:cubicBezTo>
                  <a:pt x="3" y="70"/>
                  <a:pt x="2" y="70"/>
                  <a:pt x="2" y="70"/>
                </a:cubicBezTo>
                <a:cubicBezTo>
                  <a:pt x="2" y="70"/>
                  <a:pt x="2" y="68"/>
                  <a:pt x="1" y="68"/>
                </a:cubicBezTo>
                <a:cubicBezTo>
                  <a:pt x="1" y="68"/>
                  <a:pt x="0" y="69"/>
                  <a:pt x="0" y="70"/>
                </a:cubicBezTo>
                <a:cubicBezTo>
                  <a:pt x="0" y="70"/>
                  <a:pt x="0" y="70"/>
                  <a:pt x="0" y="71"/>
                </a:cubicBezTo>
                <a:cubicBezTo>
                  <a:pt x="0" y="71"/>
                  <a:pt x="0" y="72"/>
                  <a:pt x="0" y="72"/>
                </a:cubicBezTo>
                <a:cubicBezTo>
                  <a:pt x="0" y="71"/>
                  <a:pt x="0" y="69"/>
                  <a:pt x="1" y="68"/>
                </a:cubicBezTo>
                <a:cubicBezTo>
                  <a:pt x="1" y="66"/>
                  <a:pt x="1" y="66"/>
                  <a:pt x="3" y="66"/>
                </a:cubicBezTo>
                <a:cubicBezTo>
                  <a:pt x="7" y="66"/>
                  <a:pt x="10" y="66"/>
                  <a:pt x="14" y="66"/>
                </a:cubicBezTo>
                <a:cubicBezTo>
                  <a:pt x="22" y="66"/>
                  <a:pt x="31" y="66"/>
                  <a:pt x="39" y="66"/>
                </a:cubicBezTo>
                <a:cubicBezTo>
                  <a:pt x="39" y="62"/>
                  <a:pt x="39" y="58"/>
                  <a:pt x="38" y="54"/>
                </a:cubicBezTo>
                <a:cubicBezTo>
                  <a:pt x="38" y="52"/>
                  <a:pt x="37" y="51"/>
                  <a:pt x="38" y="49"/>
                </a:cubicBezTo>
                <a:cubicBezTo>
                  <a:pt x="39" y="47"/>
                  <a:pt x="40" y="46"/>
                  <a:pt x="42" y="46"/>
                </a:cubicBezTo>
                <a:cubicBezTo>
                  <a:pt x="42" y="45"/>
                  <a:pt x="43" y="45"/>
                  <a:pt x="43" y="44"/>
                </a:cubicBezTo>
                <a:cubicBezTo>
                  <a:pt x="44" y="44"/>
                  <a:pt x="45" y="44"/>
                  <a:pt x="46" y="44"/>
                </a:cubicBezTo>
                <a:cubicBezTo>
                  <a:pt x="46" y="44"/>
                  <a:pt x="47" y="43"/>
                  <a:pt x="48" y="43"/>
                </a:cubicBezTo>
                <a:cubicBezTo>
                  <a:pt x="48" y="43"/>
                  <a:pt x="49" y="43"/>
                  <a:pt x="49" y="42"/>
                </a:cubicBezTo>
                <a:cubicBezTo>
                  <a:pt x="49" y="40"/>
                  <a:pt x="49" y="39"/>
                  <a:pt x="49" y="37"/>
                </a:cubicBezTo>
                <a:cubicBezTo>
                  <a:pt x="49" y="35"/>
                  <a:pt x="49" y="33"/>
                  <a:pt x="49" y="30"/>
                </a:cubicBezTo>
                <a:cubicBezTo>
                  <a:pt x="50" y="26"/>
                  <a:pt x="50" y="22"/>
                  <a:pt x="50" y="18"/>
                </a:cubicBezTo>
                <a:cubicBezTo>
                  <a:pt x="50" y="17"/>
                  <a:pt x="50" y="15"/>
                  <a:pt x="51" y="15"/>
                </a:cubicBezTo>
                <a:cubicBezTo>
                  <a:pt x="52" y="14"/>
                  <a:pt x="55" y="15"/>
                  <a:pt x="57" y="15"/>
                </a:cubicBezTo>
                <a:cubicBezTo>
                  <a:pt x="61" y="15"/>
                  <a:pt x="65" y="15"/>
                  <a:pt x="69" y="15"/>
                </a:cubicBezTo>
                <a:cubicBezTo>
                  <a:pt x="73" y="15"/>
                  <a:pt x="77" y="14"/>
                  <a:pt x="80" y="15"/>
                </a:cubicBezTo>
                <a:cubicBezTo>
                  <a:pt x="82" y="15"/>
                  <a:pt x="82" y="14"/>
                  <a:pt x="82" y="13"/>
                </a:cubicBezTo>
                <a:cubicBezTo>
                  <a:pt x="82" y="12"/>
                  <a:pt x="82" y="11"/>
                  <a:pt x="82" y="10"/>
                </a:cubicBezTo>
                <a:cubicBezTo>
                  <a:pt x="82" y="7"/>
                  <a:pt x="82" y="4"/>
                  <a:pt x="82" y="0"/>
                </a:cubicBezTo>
                <a:cubicBezTo>
                  <a:pt x="94" y="9"/>
                  <a:pt x="106" y="17"/>
                  <a:pt x="118" y="26"/>
                </a:cubicBezTo>
                <a:cubicBezTo>
                  <a:pt x="112" y="26"/>
                  <a:pt x="106" y="26"/>
                  <a:pt x="101" y="26"/>
                </a:cubicBezTo>
                <a:cubicBezTo>
                  <a:pt x="102" y="42"/>
                  <a:pt x="103" y="59"/>
                  <a:pt x="105" y="76"/>
                </a:cubicBezTo>
                <a:cubicBezTo>
                  <a:pt x="105" y="84"/>
                  <a:pt x="106" y="92"/>
                  <a:pt x="107" y="101"/>
                </a:cubicBezTo>
                <a:cubicBezTo>
                  <a:pt x="107" y="105"/>
                  <a:pt x="107" y="109"/>
                  <a:pt x="108" y="113"/>
                </a:cubicBezTo>
                <a:cubicBezTo>
                  <a:pt x="108" y="115"/>
                  <a:pt x="108" y="117"/>
                  <a:pt x="108" y="119"/>
                </a:cubicBezTo>
                <a:cubicBezTo>
                  <a:pt x="108" y="119"/>
                  <a:pt x="109" y="120"/>
                  <a:pt x="109" y="120"/>
                </a:cubicBezTo>
                <a:close/>
                <a:moveTo>
                  <a:pt x="6" y="82"/>
                </a:moveTo>
                <a:cubicBezTo>
                  <a:pt x="6" y="82"/>
                  <a:pt x="5" y="84"/>
                  <a:pt x="5" y="85"/>
                </a:cubicBezTo>
                <a:cubicBezTo>
                  <a:pt x="6" y="85"/>
                  <a:pt x="7" y="82"/>
                  <a:pt x="6" y="8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0" name="Mauitius"/>
          <p:cNvSpPr>
            <a:spLocks noEditPoints="1"/>
          </p:cNvSpPr>
          <p:nvPr/>
        </p:nvSpPr>
        <p:spPr bwMode="auto">
          <a:xfrm>
            <a:off x="7768008" y="5075922"/>
            <a:ext cx="219992" cy="404985"/>
          </a:xfrm>
          <a:custGeom>
            <a:avLst/>
            <a:gdLst/>
            <a:ahLst/>
            <a:cxnLst>
              <a:cxn ang="0">
                <a:pos x="6" y="109"/>
              </a:cxn>
              <a:cxn ang="0">
                <a:pos x="5" y="110"/>
              </a:cxn>
              <a:cxn ang="0">
                <a:pos x="5" y="111"/>
              </a:cxn>
              <a:cxn ang="0">
                <a:pos x="3" y="112"/>
              </a:cxn>
              <a:cxn ang="0">
                <a:pos x="1" y="111"/>
              </a:cxn>
              <a:cxn ang="0">
                <a:pos x="2" y="111"/>
              </a:cxn>
              <a:cxn ang="0">
                <a:pos x="2" y="110"/>
              </a:cxn>
              <a:cxn ang="0">
                <a:pos x="3" y="108"/>
              </a:cxn>
              <a:cxn ang="0">
                <a:pos x="4" y="106"/>
              </a:cxn>
              <a:cxn ang="0">
                <a:pos x="6" y="109"/>
              </a:cxn>
              <a:cxn ang="0">
                <a:pos x="61" y="103"/>
              </a:cxn>
              <a:cxn ang="0">
                <a:pos x="59" y="103"/>
              </a:cxn>
              <a:cxn ang="0">
                <a:pos x="60" y="103"/>
              </a:cxn>
              <a:cxn ang="0">
                <a:pos x="61" y="103"/>
              </a:cxn>
              <a:cxn ang="0">
                <a:pos x="0" y="0"/>
              </a:cxn>
              <a:cxn ang="0">
                <a:pos x="0" y="1"/>
              </a:cxn>
              <a:cxn ang="0">
                <a:pos x="0" y="0"/>
              </a:cxn>
              <a:cxn ang="0">
                <a:pos x="0" y="0"/>
              </a:cxn>
            </a:cxnLst>
            <a:rect l="0" t="0" r="r" b="b"/>
            <a:pathLst>
              <a:path w="61" h="112">
                <a:moveTo>
                  <a:pt x="6" y="109"/>
                </a:moveTo>
                <a:cubicBezTo>
                  <a:pt x="6" y="109"/>
                  <a:pt x="6" y="110"/>
                  <a:pt x="5" y="110"/>
                </a:cubicBezTo>
                <a:cubicBezTo>
                  <a:pt x="5" y="110"/>
                  <a:pt x="5" y="111"/>
                  <a:pt x="5" y="111"/>
                </a:cubicBezTo>
                <a:cubicBezTo>
                  <a:pt x="5" y="112"/>
                  <a:pt x="4" y="112"/>
                  <a:pt x="3" y="112"/>
                </a:cubicBezTo>
                <a:cubicBezTo>
                  <a:pt x="2" y="112"/>
                  <a:pt x="1" y="112"/>
                  <a:pt x="1" y="111"/>
                </a:cubicBezTo>
                <a:cubicBezTo>
                  <a:pt x="1" y="111"/>
                  <a:pt x="1" y="111"/>
                  <a:pt x="2" y="111"/>
                </a:cubicBezTo>
                <a:cubicBezTo>
                  <a:pt x="2" y="111"/>
                  <a:pt x="2" y="110"/>
                  <a:pt x="2" y="110"/>
                </a:cubicBezTo>
                <a:cubicBezTo>
                  <a:pt x="2" y="109"/>
                  <a:pt x="2" y="108"/>
                  <a:pt x="3" y="108"/>
                </a:cubicBezTo>
                <a:cubicBezTo>
                  <a:pt x="4" y="107"/>
                  <a:pt x="3" y="106"/>
                  <a:pt x="4" y="106"/>
                </a:cubicBezTo>
                <a:cubicBezTo>
                  <a:pt x="5" y="105"/>
                  <a:pt x="6" y="108"/>
                  <a:pt x="6" y="109"/>
                </a:cubicBezTo>
                <a:close/>
                <a:moveTo>
                  <a:pt x="61" y="103"/>
                </a:moveTo>
                <a:cubicBezTo>
                  <a:pt x="60" y="102"/>
                  <a:pt x="59" y="103"/>
                  <a:pt x="59" y="103"/>
                </a:cubicBezTo>
                <a:cubicBezTo>
                  <a:pt x="59" y="103"/>
                  <a:pt x="59" y="103"/>
                  <a:pt x="60" y="103"/>
                </a:cubicBezTo>
                <a:cubicBezTo>
                  <a:pt x="60" y="103"/>
                  <a:pt x="61" y="103"/>
                  <a:pt x="61" y="103"/>
                </a:cubicBezTo>
                <a:close/>
                <a:moveTo>
                  <a:pt x="0" y="0"/>
                </a:moveTo>
                <a:cubicBezTo>
                  <a:pt x="0" y="0"/>
                  <a:pt x="0" y="0"/>
                  <a:pt x="0" y="1"/>
                </a:cubicBezTo>
                <a:cubicBezTo>
                  <a:pt x="0" y="0"/>
                  <a:pt x="0" y="0"/>
                  <a:pt x="0" y="0"/>
                </a:cubicBezTo>
                <a:cubicBezTo>
                  <a:pt x="0" y="0"/>
                  <a:pt x="0" y="0"/>
                  <a:pt x="0"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1" name="Mathew and Hunter Island (FR)"/>
          <p:cNvSpPr>
            <a:spLocks/>
          </p:cNvSpPr>
          <p:nvPr/>
        </p:nvSpPr>
        <p:spPr bwMode="auto">
          <a:xfrm>
            <a:off x="11679862" y="5549903"/>
            <a:ext cx="1001" cy="3001"/>
          </a:xfrm>
          <a:custGeom>
            <a:avLst/>
            <a:gdLst/>
            <a:ahLst/>
            <a:cxnLst>
              <a:cxn ang="0">
                <a:pos x="0" y="1"/>
              </a:cxn>
              <a:cxn ang="0">
                <a:pos x="0" y="1"/>
              </a:cxn>
              <a:cxn ang="0">
                <a:pos x="0" y="1"/>
              </a:cxn>
            </a:cxnLst>
            <a:rect l="0" t="0" r="r" b="b"/>
            <a:pathLst>
              <a:path h="1">
                <a:moveTo>
                  <a:pt x="0" y="1"/>
                </a:moveTo>
                <a:cubicBezTo>
                  <a:pt x="0" y="1"/>
                  <a:pt x="0" y="1"/>
                  <a:pt x="0" y="1"/>
                </a:cubicBezTo>
                <a:cubicBezTo>
                  <a:pt x="0" y="0"/>
                  <a:pt x="0" y="1"/>
                  <a:pt x="0"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2" name="Martinique"/>
          <p:cNvSpPr>
            <a:spLocks/>
          </p:cNvSpPr>
          <p:nvPr/>
        </p:nvSpPr>
        <p:spPr bwMode="auto">
          <a:xfrm>
            <a:off x="3671162" y="4073959"/>
            <a:ext cx="11000" cy="17999"/>
          </a:xfrm>
          <a:custGeom>
            <a:avLst/>
            <a:gdLst/>
            <a:ahLst/>
            <a:cxnLst>
              <a:cxn ang="0">
                <a:pos x="3" y="2"/>
              </a:cxn>
              <a:cxn ang="0">
                <a:pos x="2" y="2"/>
              </a:cxn>
              <a:cxn ang="0">
                <a:pos x="2" y="1"/>
              </a:cxn>
              <a:cxn ang="0">
                <a:pos x="3" y="1"/>
              </a:cxn>
              <a:cxn ang="0">
                <a:pos x="2" y="1"/>
              </a:cxn>
              <a:cxn ang="0">
                <a:pos x="0" y="0"/>
              </a:cxn>
              <a:cxn ang="0">
                <a:pos x="0" y="1"/>
              </a:cxn>
              <a:cxn ang="0">
                <a:pos x="0" y="2"/>
              </a:cxn>
              <a:cxn ang="0">
                <a:pos x="1" y="3"/>
              </a:cxn>
              <a:cxn ang="0">
                <a:pos x="2" y="3"/>
              </a:cxn>
              <a:cxn ang="0">
                <a:pos x="1" y="4"/>
              </a:cxn>
              <a:cxn ang="0">
                <a:pos x="3" y="4"/>
              </a:cxn>
              <a:cxn ang="0">
                <a:pos x="3" y="4"/>
              </a:cxn>
              <a:cxn ang="0">
                <a:pos x="3" y="5"/>
              </a:cxn>
              <a:cxn ang="0">
                <a:pos x="3" y="4"/>
              </a:cxn>
              <a:cxn ang="0">
                <a:pos x="3" y="2"/>
              </a:cxn>
            </a:cxnLst>
            <a:rect l="0" t="0" r="r" b="b"/>
            <a:pathLst>
              <a:path w="3" h="5">
                <a:moveTo>
                  <a:pt x="3" y="2"/>
                </a:moveTo>
                <a:cubicBezTo>
                  <a:pt x="3" y="2"/>
                  <a:pt x="3" y="2"/>
                  <a:pt x="2" y="2"/>
                </a:cubicBezTo>
                <a:cubicBezTo>
                  <a:pt x="3" y="2"/>
                  <a:pt x="2" y="2"/>
                  <a:pt x="2" y="1"/>
                </a:cubicBezTo>
                <a:cubicBezTo>
                  <a:pt x="2" y="1"/>
                  <a:pt x="3" y="1"/>
                  <a:pt x="3" y="1"/>
                </a:cubicBezTo>
                <a:cubicBezTo>
                  <a:pt x="2" y="1"/>
                  <a:pt x="2" y="1"/>
                  <a:pt x="2" y="1"/>
                </a:cubicBezTo>
                <a:cubicBezTo>
                  <a:pt x="1" y="0"/>
                  <a:pt x="1" y="0"/>
                  <a:pt x="0" y="0"/>
                </a:cubicBezTo>
                <a:cubicBezTo>
                  <a:pt x="0" y="0"/>
                  <a:pt x="0" y="0"/>
                  <a:pt x="0" y="1"/>
                </a:cubicBezTo>
                <a:cubicBezTo>
                  <a:pt x="0" y="1"/>
                  <a:pt x="0" y="2"/>
                  <a:pt x="0" y="2"/>
                </a:cubicBezTo>
                <a:cubicBezTo>
                  <a:pt x="0" y="2"/>
                  <a:pt x="1" y="3"/>
                  <a:pt x="1" y="3"/>
                </a:cubicBezTo>
                <a:cubicBezTo>
                  <a:pt x="2" y="3"/>
                  <a:pt x="2" y="3"/>
                  <a:pt x="2" y="3"/>
                </a:cubicBezTo>
                <a:cubicBezTo>
                  <a:pt x="1" y="3"/>
                  <a:pt x="0" y="4"/>
                  <a:pt x="1" y="4"/>
                </a:cubicBezTo>
                <a:cubicBezTo>
                  <a:pt x="1" y="5"/>
                  <a:pt x="2" y="4"/>
                  <a:pt x="3" y="4"/>
                </a:cubicBezTo>
                <a:cubicBezTo>
                  <a:pt x="3" y="4"/>
                  <a:pt x="3" y="4"/>
                  <a:pt x="3" y="4"/>
                </a:cubicBezTo>
                <a:cubicBezTo>
                  <a:pt x="3" y="4"/>
                  <a:pt x="2" y="5"/>
                  <a:pt x="3" y="5"/>
                </a:cubicBezTo>
                <a:cubicBezTo>
                  <a:pt x="3" y="5"/>
                  <a:pt x="3" y="4"/>
                  <a:pt x="3" y="4"/>
                </a:cubicBezTo>
                <a:cubicBezTo>
                  <a:pt x="3" y="4"/>
                  <a:pt x="3" y="3"/>
                  <a:pt x="3"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3" name="Marshall Islands"/>
          <p:cNvSpPr>
            <a:spLocks noEditPoints="1"/>
          </p:cNvSpPr>
          <p:nvPr/>
        </p:nvSpPr>
        <p:spPr bwMode="auto">
          <a:xfrm>
            <a:off x="11448870" y="4088959"/>
            <a:ext cx="364987" cy="353986"/>
          </a:xfrm>
          <a:custGeom>
            <a:avLst/>
            <a:gdLst/>
            <a:ahLst/>
            <a:cxnLst>
              <a:cxn ang="0">
                <a:pos x="98" y="92"/>
              </a:cxn>
              <a:cxn ang="0">
                <a:pos x="99" y="92"/>
              </a:cxn>
              <a:cxn ang="0">
                <a:pos x="98" y="92"/>
              </a:cxn>
              <a:cxn ang="0">
                <a:pos x="52" y="34"/>
              </a:cxn>
              <a:cxn ang="0">
                <a:pos x="52" y="34"/>
              </a:cxn>
              <a:cxn ang="0">
                <a:pos x="52" y="34"/>
              </a:cxn>
              <a:cxn ang="0">
                <a:pos x="0" y="34"/>
              </a:cxn>
              <a:cxn ang="0">
                <a:pos x="0" y="34"/>
              </a:cxn>
              <a:cxn ang="0">
                <a:pos x="0" y="34"/>
              </a:cxn>
              <a:cxn ang="0">
                <a:pos x="54" y="56"/>
              </a:cxn>
              <a:cxn ang="0">
                <a:pos x="54" y="56"/>
              </a:cxn>
              <a:cxn ang="0">
                <a:pos x="54" y="56"/>
              </a:cxn>
              <a:cxn ang="0">
                <a:pos x="48" y="56"/>
              </a:cxn>
              <a:cxn ang="0">
                <a:pos x="48" y="57"/>
              </a:cxn>
              <a:cxn ang="0">
                <a:pos x="48" y="56"/>
              </a:cxn>
              <a:cxn ang="0">
                <a:pos x="36" y="58"/>
              </a:cxn>
              <a:cxn ang="0">
                <a:pos x="37" y="58"/>
              </a:cxn>
              <a:cxn ang="0">
                <a:pos x="36" y="58"/>
              </a:cxn>
              <a:cxn ang="0">
                <a:pos x="63" y="74"/>
              </a:cxn>
              <a:cxn ang="0">
                <a:pos x="63" y="74"/>
              </a:cxn>
              <a:cxn ang="0">
                <a:pos x="63" y="74"/>
              </a:cxn>
              <a:cxn ang="0">
                <a:pos x="70" y="76"/>
              </a:cxn>
              <a:cxn ang="0">
                <a:pos x="70" y="76"/>
              </a:cxn>
              <a:cxn ang="0">
                <a:pos x="70" y="76"/>
              </a:cxn>
              <a:cxn ang="0">
                <a:pos x="46" y="37"/>
              </a:cxn>
              <a:cxn ang="0">
                <a:pos x="46" y="37"/>
              </a:cxn>
              <a:cxn ang="0">
                <a:pos x="45" y="37"/>
              </a:cxn>
              <a:cxn ang="0">
                <a:pos x="46" y="37"/>
              </a:cxn>
              <a:cxn ang="0">
                <a:pos x="30" y="31"/>
              </a:cxn>
              <a:cxn ang="0">
                <a:pos x="30" y="31"/>
              </a:cxn>
              <a:cxn ang="0">
                <a:pos x="30" y="31"/>
              </a:cxn>
              <a:cxn ang="0">
                <a:pos x="32" y="31"/>
              </a:cxn>
              <a:cxn ang="0">
                <a:pos x="32" y="32"/>
              </a:cxn>
              <a:cxn ang="0">
                <a:pos x="32" y="31"/>
              </a:cxn>
              <a:cxn ang="0">
                <a:pos x="81" y="54"/>
              </a:cxn>
              <a:cxn ang="0">
                <a:pos x="81" y="55"/>
              </a:cxn>
              <a:cxn ang="0">
                <a:pos x="81" y="54"/>
              </a:cxn>
              <a:cxn ang="0">
                <a:pos x="101" y="81"/>
              </a:cxn>
              <a:cxn ang="0">
                <a:pos x="101" y="81"/>
              </a:cxn>
              <a:cxn ang="0">
                <a:pos x="101" y="81"/>
              </a:cxn>
              <a:cxn ang="0">
                <a:pos x="87" y="62"/>
              </a:cxn>
              <a:cxn ang="0">
                <a:pos x="87" y="61"/>
              </a:cxn>
              <a:cxn ang="0">
                <a:pos x="87" y="62"/>
              </a:cxn>
              <a:cxn ang="0">
                <a:pos x="59" y="63"/>
              </a:cxn>
              <a:cxn ang="0">
                <a:pos x="59" y="63"/>
              </a:cxn>
              <a:cxn ang="0">
                <a:pos x="59" y="63"/>
              </a:cxn>
              <a:cxn ang="0">
                <a:pos x="75" y="45"/>
              </a:cxn>
              <a:cxn ang="0">
                <a:pos x="75" y="45"/>
              </a:cxn>
              <a:cxn ang="0">
                <a:pos x="75" y="45"/>
              </a:cxn>
              <a:cxn ang="0">
                <a:pos x="60" y="0"/>
              </a:cxn>
              <a:cxn ang="0">
                <a:pos x="60" y="0"/>
              </a:cxn>
              <a:cxn ang="0">
                <a:pos x="60" y="0"/>
              </a:cxn>
              <a:cxn ang="0">
                <a:pos x="64" y="98"/>
              </a:cxn>
              <a:cxn ang="0">
                <a:pos x="64" y="97"/>
              </a:cxn>
              <a:cxn ang="0">
                <a:pos x="64" y="98"/>
              </a:cxn>
              <a:cxn ang="0">
                <a:pos x="69" y="79"/>
              </a:cxn>
              <a:cxn ang="0">
                <a:pos x="69" y="79"/>
              </a:cxn>
              <a:cxn ang="0">
                <a:pos x="68" y="79"/>
              </a:cxn>
              <a:cxn ang="0">
                <a:pos x="69" y="79"/>
              </a:cxn>
              <a:cxn ang="0">
                <a:pos x="67" y="78"/>
              </a:cxn>
              <a:cxn ang="0">
                <a:pos x="66" y="77"/>
              </a:cxn>
              <a:cxn ang="0">
                <a:pos x="67" y="78"/>
              </a:cxn>
            </a:cxnLst>
            <a:rect l="0" t="0" r="r" b="b"/>
            <a:pathLst>
              <a:path w="101" h="98">
                <a:moveTo>
                  <a:pt x="98" y="92"/>
                </a:moveTo>
                <a:cubicBezTo>
                  <a:pt x="99" y="92"/>
                  <a:pt x="99" y="92"/>
                  <a:pt x="99" y="92"/>
                </a:cubicBezTo>
                <a:cubicBezTo>
                  <a:pt x="99" y="92"/>
                  <a:pt x="98" y="92"/>
                  <a:pt x="98" y="92"/>
                </a:cubicBezTo>
                <a:close/>
                <a:moveTo>
                  <a:pt x="52" y="34"/>
                </a:moveTo>
                <a:cubicBezTo>
                  <a:pt x="52" y="34"/>
                  <a:pt x="52" y="34"/>
                  <a:pt x="52" y="34"/>
                </a:cubicBezTo>
                <a:cubicBezTo>
                  <a:pt x="52" y="34"/>
                  <a:pt x="52" y="34"/>
                  <a:pt x="52" y="34"/>
                </a:cubicBezTo>
                <a:close/>
                <a:moveTo>
                  <a:pt x="0" y="34"/>
                </a:moveTo>
                <a:cubicBezTo>
                  <a:pt x="0" y="34"/>
                  <a:pt x="0" y="34"/>
                  <a:pt x="0" y="34"/>
                </a:cubicBezTo>
                <a:cubicBezTo>
                  <a:pt x="0" y="34"/>
                  <a:pt x="0" y="34"/>
                  <a:pt x="0" y="34"/>
                </a:cubicBezTo>
                <a:close/>
                <a:moveTo>
                  <a:pt x="54" y="56"/>
                </a:moveTo>
                <a:cubicBezTo>
                  <a:pt x="54" y="56"/>
                  <a:pt x="54" y="56"/>
                  <a:pt x="54" y="56"/>
                </a:cubicBezTo>
                <a:cubicBezTo>
                  <a:pt x="54" y="56"/>
                  <a:pt x="54" y="56"/>
                  <a:pt x="54" y="56"/>
                </a:cubicBezTo>
                <a:close/>
                <a:moveTo>
                  <a:pt x="48" y="56"/>
                </a:moveTo>
                <a:cubicBezTo>
                  <a:pt x="48" y="57"/>
                  <a:pt x="48" y="57"/>
                  <a:pt x="48" y="57"/>
                </a:cubicBezTo>
                <a:cubicBezTo>
                  <a:pt x="48" y="56"/>
                  <a:pt x="48" y="56"/>
                  <a:pt x="48" y="56"/>
                </a:cubicBezTo>
                <a:close/>
                <a:moveTo>
                  <a:pt x="36" y="58"/>
                </a:moveTo>
                <a:cubicBezTo>
                  <a:pt x="36" y="58"/>
                  <a:pt x="36" y="58"/>
                  <a:pt x="37" y="58"/>
                </a:cubicBezTo>
                <a:cubicBezTo>
                  <a:pt x="37" y="58"/>
                  <a:pt x="37" y="58"/>
                  <a:pt x="36" y="58"/>
                </a:cubicBezTo>
                <a:close/>
                <a:moveTo>
                  <a:pt x="63" y="74"/>
                </a:moveTo>
                <a:cubicBezTo>
                  <a:pt x="63" y="74"/>
                  <a:pt x="63" y="74"/>
                  <a:pt x="63" y="74"/>
                </a:cubicBezTo>
                <a:cubicBezTo>
                  <a:pt x="63" y="74"/>
                  <a:pt x="63" y="74"/>
                  <a:pt x="63" y="74"/>
                </a:cubicBezTo>
                <a:close/>
                <a:moveTo>
                  <a:pt x="70" y="76"/>
                </a:moveTo>
                <a:cubicBezTo>
                  <a:pt x="70" y="76"/>
                  <a:pt x="70" y="76"/>
                  <a:pt x="70" y="76"/>
                </a:cubicBezTo>
                <a:cubicBezTo>
                  <a:pt x="70" y="76"/>
                  <a:pt x="70" y="76"/>
                  <a:pt x="70" y="76"/>
                </a:cubicBezTo>
                <a:close/>
                <a:moveTo>
                  <a:pt x="46" y="37"/>
                </a:moveTo>
                <a:cubicBezTo>
                  <a:pt x="46" y="37"/>
                  <a:pt x="46" y="37"/>
                  <a:pt x="46" y="37"/>
                </a:cubicBezTo>
                <a:cubicBezTo>
                  <a:pt x="46" y="37"/>
                  <a:pt x="46" y="37"/>
                  <a:pt x="45" y="37"/>
                </a:cubicBezTo>
                <a:cubicBezTo>
                  <a:pt x="46" y="37"/>
                  <a:pt x="46" y="37"/>
                  <a:pt x="46" y="37"/>
                </a:cubicBezTo>
                <a:close/>
                <a:moveTo>
                  <a:pt x="30" y="31"/>
                </a:moveTo>
                <a:cubicBezTo>
                  <a:pt x="30" y="31"/>
                  <a:pt x="30" y="31"/>
                  <a:pt x="30" y="31"/>
                </a:cubicBezTo>
                <a:cubicBezTo>
                  <a:pt x="30" y="31"/>
                  <a:pt x="30" y="31"/>
                  <a:pt x="30" y="31"/>
                </a:cubicBezTo>
                <a:close/>
                <a:moveTo>
                  <a:pt x="32" y="31"/>
                </a:moveTo>
                <a:cubicBezTo>
                  <a:pt x="32" y="31"/>
                  <a:pt x="32" y="32"/>
                  <a:pt x="32" y="32"/>
                </a:cubicBezTo>
                <a:cubicBezTo>
                  <a:pt x="32" y="31"/>
                  <a:pt x="32" y="31"/>
                  <a:pt x="32" y="31"/>
                </a:cubicBezTo>
                <a:close/>
                <a:moveTo>
                  <a:pt x="81" y="54"/>
                </a:moveTo>
                <a:cubicBezTo>
                  <a:pt x="81" y="54"/>
                  <a:pt x="81" y="54"/>
                  <a:pt x="81" y="55"/>
                </a:cubicBezTo>
                <a:cubicBezTo>
                  <a:pt x="81" y="54"/>
                  <a:pt x="81" y="54"/>
                  <a:pt x="81" y="54"/>
                </a:cubicBezTo>
                <a:close/>
                <a:moveTo>
                  <a:pt x="101" y="81"/>
                </a:moveTo>
                <a:cubicBezTo>
                  <a:pt x="101" y="81"/>
                  <a:pt x="101" y="81"/>
                  <a:pt x="101" y="81"/>
                </a:cubicBezTo>
                <a:cubicBezTo>
                  <a:pt x="101" y="81"/>
                  <a:pt x="101" y="81"/>
                  <a:pt x="101" y="81"/>
                </a:cubicBezTo>
                <a:close/>
                <a:moveTo>
                  <a:pt x="87" y="62"/>
                </a:moveTo>
                <a:cubicBezTo>
                  <a:pt x="87" y="61"/>
                  <a:pt x="87" y="61"/>
                  <a:pt x="87" y="61"/>
                </a:cubicBezTo>
                <a:cubicBezTo>
                  <a:pt x="87" y="61"/>
                  <a:pt x="87" y="61"/>
                  <a:pt x="87" y="62"/>
                </a:cubicBezTo>
                <a:close/>
                <a:moveTo>
                  <a:pt x="59" y="63"/>
                </a:moveTo>
                <a:cubicBezTo>
                  <a:pt x="59" y="63"/>
                  <a:pt x="59" y="63"/>
                  <a:pt x="59" y="63"/>
                </a:cubicBezTo>
                <a:cubicBezTo>
                  <a:pt x="59" y="63"/>
                  <a:pt x="60" y="63"/>
                  <a:pt x="59" y="63"/>
                </a:cubicBezTo>
                <a:close/>
                <a:moveTo>
                  <a:pt x="75" y="45"/>
                </a:moveTo>
                <a:cubicBezTo>
                  <a:pt x="75" y="45"/>
                  <a:pt x="75" y="45"/>
                  <a:pt x="75" y="45"/>
                </a:cubicBezTo>
                <a:cubicBezTo>
                  <a:pt x="75" y="45"/>
                  <a:pt x="75" y="45"/>
                  <a:pt x="75" y="45"/>
                </a:cubicBezTo>
                <a:close/>
                <a:moveTo>
                  <a:pt x="60" y="0"/>
                </a:moveTo>
                <a:cubicBezTo>
                  <a:pt x="60" y="0"/>
                  <a:pt x="60" y="0"/>
                  <a:pt x="60" y="0"/>
                </a:cubicBezTo>
                <a:cubicBezTo>
                  <a:pt x="60" y="0"/>
                  <a:pt x="60" y="0"/>
                  <a:pt x="60" y="0"/>
                </a:cubicBezTo>
                <a:close/>
                <a:moveTo>
                  <a:pt x="64" y="98"/>
                </a:moveTo>
                <a:cubicBezTo>
                  <a:pt x="64" y="98"/>
                  <a:pt x="64" y="97"/>
                  <a:pt x="64" y="97"/>
                </a:cubicBezTo>
                <a:cubicBezTo>
                  <a:pt x="64" y="97"/>
                  <a:pt x="64" y="98"/>
                  <a:pt x="64" y="98"/>
                </a:cubicBezTo>
                <a:close/>
                <a:moveTo>
                  <a:pt x="69" y="79"/>
                </a:moveTo>
                <a:cubicBezTo>
                  <a:pt x="69" y="79"/>
                  <a:pt x="69" y="79"/>
                  <a:pt x="69" y="79"/>
                </a:cubicBezTo>
                <a:cubicBezTo>
                  <a:pt x="69" y="79"/>
                  <a:pt x="68" y="79"/>
                  <a:pt x="68" y="79"/>
                </a:cubicBezTo>
                <a:cubicBezTo>
                  <a:pt x="68" y="79"/>
                  <a:pt x="68" y="79"/>
                  <a:pt x="69" y="79"/>
                </a:cubicBezTo>
                <a:close/>
                <a:moveTo>
                  <a:pt x="67" y="78"/>
                </a:moveTo>
                <a:cubicBezTo>
                  <a:pt x="67" y="78"/>
                  <a:pt x="67" y="77"/>
                  <a:pt x="66" y="77"/>
                </a:cubicBezTo>
                <a:cubicBezTo>
                  <a:pt x="66" y="77"/>
                  <a:pt x="66" y="78"/>
                  <a:pt x="67" y="7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4" name="Mali"/>
          <p:cNvSpPr>
            <a:spLocks/>
          </p:cNvSpPr>
          <p:nvPr/>
        </p:nvSpPr>
        <p:spPr bwMode="auto">
          <a:xfrm>
            <a:off x="5373099" y="3672975"/>
            <a:ext cx="573978" cy="588978"/>
          </a:xfrm>
          <a:custGeom>
            <a:avLst/>
            <a:gdLst/>
            <a:ahLst/>
            <a:cxnLst>
              <a:cxn ang="0">
                <a:pos x="152" y="65"/>
              </a:cxn>
              <a:cxn ang="0">
                <a:pos x="148" y="63"/>
              </a:cxn>
              <a:cxn ang="0">
                <a:pos x="149" y="58"/>
              </a:cxn>
              <a:cxn ang="0">
                <a:pos x="141" y="53"/>
              </a:cxn>
              <a:cxn ang="0">
                <a:pos x="136" y="51"/>
              </a:cxn>
              <a:cxn ang="0">
                <a:pos x="133" y="48"/>
              </a:cxn>
              <a:cxn ang="0">
                <a:pos x="127" y="41"/>
              </a:cxn>
              <a:cxn ang="0">
                <a:pos x="57" y="0"/>
              </a:cxn>
              <a:cxn ang="0">
                <a:pos x="64" y="92"/>
              </a:cxn>
              <a:cxn ang="0">
                <a:pos x="65" y="101"/>
              </a:cxn>
              <a:cxn ang="0">
                <a:pos x="53" y="104"/>
              </a:cxn>
              <a:cxn ang="0">
                <a:pos x="27" y="104"/>
              </a:cxn>
              <a:cxn ang="0">
                <a:pos x="19" y="105"/>
              </a:cxn>
              <a:cxn ang="0">
                <a:pos x="13" y="107"/>
              </a:cxn>
              <a:cxn ang="0">
                <a:pos x="7" y="102"/>
              </a:cxn>
              <a:cxn ang="0">
                <a:pos x="4" y="107"/>
              </a:cxn>
              <a:cxn ang="0">
                <a:pos x="2" y="112"/>
              </a:cxn>
              <a:cxn ang="0">
                <a:pos x="0" y="114"/>
              </a:cxn>
              <a:cxn ang="0">
                <a:pos x="2" y="120"/>
              </a:cxn>
              <a:cxn ang="0">
                <a:pos x="3" y="128"/>
              </a:cxn>
              <a:cxn ang="0">
                <a:pos x="6" y="128"/>
              </a:cxn>
              <a:cxn ang="0">
                <a:pos x="7" y="131"/>
              </a:cxn>
              <a:cxn ang="0">
                <a:pos x="7" y="134"/>
              </a:cxn>
              <a:cxn ang="0">
                <a:pos x="7" y="137"/>
              </a:cxn>
              <a:cxn ang="0">
                <a:pos x="7" y="141"/>
              </a:cxn>
              <a:cxn ang="0">
                <a:pos x="13" y="141"/>
              </a:cxn>
              <a:cxn ang="0">
                <a:pos x="16" y="141"/>
              </a:cxn>
              <a:cxn ang="0">
                <a:pos x="18" y="140"/>
              </a:cxn>
              <a:cxn ang="0">
                <a:pos x="24" y="141"/>
              </a:cxn>
              <a:cxn ang="0">
                <a:pos x="27" y="137"/>
              </a:cxn>
              <a:cxn ang="0">
                <a:pos x="31" y="141"/>
              </a:cxn>
              <a:cxn ang="0">
                <a:pos x="33" y="146"/>
              </a:cxn>
              <a:cxn ang="0">
                <a:pos x="35" y="151"/>
              </a:cxn>
              <a:cxn ang="0">
                <a:pos x="33" y="154"/>
              </a:cxn>
              <a:cxn ang="0">
                <a:pos x="37" y="155"/>
              </a:cxn>
              <a:cxn ang="0">
                <a:pos x="39" y="160"/>
              </a:cxn>
              <a:cxn ang="0">
                <a:pos x="42" y="161"/>
              </a:cxn>
              <a:cxn ang="0">
                <a:pos x="45" y="160"/>
              </a:cxn>
              <a:cxn ang="0">
                <a:pos x="49" y="163"/>
              </a:cxn>
              <a:cxn ang="0">
                <a:pos x="52" y="159"/>
              </a:cxn>
              <a:cxn ang="0">
                <a:pos x="56" y="157"/>
              </a:cxn>
              <a:cxn ang="0">
                <a:pos x="57" y="160"/>
              </a:cxn>
              <a:cxn ang="0">
                <a:pos x="60" y="161"/>
              </a:cxn>
              <a:cxn ang="0">
                <a:pos x="64" y="156"/>
              </a:cxn>
              <a:cxn ang="0">
                <a:pos x="64" y="152"/>
              </a:cxn>
              <a:cxn ang="0">
                <a:pos x="67" y="148"/>
              </a:cxn>
              <a:cxn ang="0">
                <a:pos x="67" y="143"/>
              </a:cxn>
              <a:cxn ang="0">
                <a:pos x="73" y="141"/>
              </a:cxn>
              <a:cxn ang="0">
                <a:pos x="75" y="136"/>
              </a:cxn>
              <a:cxn ang="0">
                <a:pos x="76" y="130"/>
              </a:cxn>
              <a:cxn ang="0">
                <a:pos x="78" y="127"/>
              </a:cxn>
              <a:cxn ang="0">
                <a:pos x="80" y="127"/>
              </a:cxn>
              <a:cxn ang="0">
                <a:pos x="86" y="128"/>
              </a:cxn>
              <a:cxn ang="0">
                <a:pos x="88" y="125"/>
              </a:cxn>
              <a:cxn ang="0">
                <a:pos x="93" y="118"/>
              </a:cxn>
              <a:cxn ang="0">
                <a:pos x="102" y="114"/>
              </a:cxn>
              <a:cxn ang="0">
                <a:pos x="113" y="109"/>
              </a:cxn>
              <a:cxn ang="0">
                <a:pos x="121" y="110"/>
              </a:cxn>
              <a:cxn ang="0">
                <a:pos x="132" y="106"/>
              </a:cxn>
              <a:cxn ang="0">
                <a:pos x="146" y="106"/>
              </a:cxn>
              <a:cxn ang="0">
                <a:pos x="152" y="104"/>
              </a:cxn>
              <a:cxn ang="0">
                <a:pos x="156" y="98"/>
              </a:cxn>
              <a:cxn ang="0">
                <a:pos x="158" y="88"/>
              </a:cxn>
            </a:cxnLst>
            <a:rect l="0" t="0" r="r" b="b"/>
            <a:pathLst>
              <a:path w="159" h="163">
                <a:moveTo>
                  <a:pt x="158" y="82"/>
                </a:moveTo>
                <a:cubicBezTo>
                  <a:pt x="158" y="80"/>
                  <a:pt x="158" y="78"/>
                  <a:pt x="158" y="76"/>
                </a:cubicBezTo>
                <a:cubicBezTo>
                  <a:pt x="158" y="72"/>
                  <a:pt x="158" y="68"/>
                  <a:pt x="159" y="64"/>
                </a:cubicBezTo>
                <a:cubicBezTo>
                  <a:pt x="156" y="64"/>
                  <a:pt x="154" y="65"/>
                  <a:pt x="152" y="65"/>
                </a:cubicBezTo>
                <a:cubicBezTo>
                  <a:pt x="152" y="65"/>
                  <a:pt x="151" y="66"/>
                  <a:pt x="150" y="66"/>
                </a:cubicBezTo>
                <a:cubicBezTo>
                  <a:pt x="149" y="66"/>
                  <a:pt x="149" y="65"/>
                  <a:pt x="149" y="65"/>
                </a:cubicBezTo>
                <a:cubicBezTo>
                  <a:pt x="148" y="64"/>
                  <a:pt x="147" y="64"/>
                  <a:pt x="148" y="63"/>
                </a:cubicBezTo>
                <a:cubicBezTo>
                  <a:pt x="148" y="63"/>
                  <a:pt x="148" y="63"/>
                  <a:pt x="148" y="63"/>
                </a:cubicBezTo>
                <a:cubicBezTo>
                  <a:pt x="149" y="62"/>
                  <a:pt x="148" y="62"/>
                  <a:pt x="149" y="62"/>
                </a:cubicBezTo>
                <a:cubicBezTo>
                  <a:pt x="149" y="61"/>
                  <a:pt x="149" y="62"/>
                  <a:pt x="149" y="61"/>
                </a:cubicBezTo>
                <a:cubicBezTo>
                  <a:pt x="149" y="61"/>
                  <a:pt x="149" y="60"/>
                  <a:pt x="149" y="60"/>
                </a:cubicBezTo>
                <a:cubicBezTo>
                  <a:pt x="149" y="59"/>
                  <a:pt x="149" y="59"/>
                  <a:pt x="149" y="58"/>
                </a:cubicBezTo>
                <a:cubicBezTo>
                  <a:pt x="149" y="58"/>
                  <a:pt x="149" y="57"/>
                  <a:pt x="149" y="56"/>
                </a:cubicBezTo>
                <a:cubicBezTo>
                  <a:pt x="148" y="56"/>
                  <a:pt x="147" y="56"/>
                  <a:pt x="147" y="55"/>
                </a:cubicBezTo>
                <a:cubicBezTo>
                  <a:pt x="145" y="54"/>
                  <a:pt x="144" y="55"/>
                  <a:pt x="142" y="54"/>
                </a:cubicBezTo>
                <a:cubicBezTo>
                  <a:pt x="142" y="54"/>
                  <a:pt x="141" y="54"/>
                  <a:pt x="141" y="53"/>
                </a:cubicBezTo>
                <a:cubicBezTo>
                  <a:pt x="141" y="53"/>
                  <a:pt x="140" y="52"/>
                  <a:pt x="140" y="52"/>
                </a:cubicBezTo>
                <a:cubicBezTo>
                  <a:pt x="139" y="51"/>
                  <a:pt x="139" y="51"/>
                  <a:pt x="138" y="52"/>
                </a:cubicBezTo>
                <a:cubicBezTo>
                  <a:pt x="138" y="52"/>
                  <a:pt x="138" y="52"/>
                  <a:pt x="137" y="52"/>
                </a:cubicBezTo>
                <a:cubicBezTo>
                  <a:pt x="136" y="51"/>
                  <a:pt x="137" y="52"/>
                  <a:pt x="136" y="51"/>
                </a:cubicBezTo>
                <a:cubicBezTo>
                  <a:pt x="136" y="51"/>
                  <a:pt x="136" y="51"/>
                  <a:pt x="135" y="51"/>
                </a:cubicBezTo>
                <a:cubicBezTo>
                  <a:pt x="135" y="51"/>
                  <a:pt x="135" y="51"/>
                  <a:pt x="135" y="51"/>
                </a:cubicBezTo>
                <a:cubicBezTo>
                  <a:pt x="134" y="50"/>
                  <a:pt x="134" y="50"/>
                  <a:pt x="134" y="49"/>
                </a:cubicBezTo>
                <a:cubicBezTo>
                  <a:pt x="134" y="48"/>
                  <a:pt x="134" y="48"/>
                  <a:pt x="133" y="48"/>
                </a:cubicBezTo>
                <a:cubicBezTo>
                  <a:pt x="132" y="48"/>
                  <a:pt x="132" y="48"/>
                  <a:pt x="131" y="47"/>
                </a:cubicBezTo>
                <a:cubicBezTo>
                  <a:pt x="131" y="47"/>
                  <a:pt x="131" y="46"/>
                  <a:pt x="130" y="46"/>
                </a:cubicBezTo>
                <a:cubicBezTo>
                  <a:pt x="129" y="47"/>
                  <a:pt x="130" y="44"/>
                  <a:pt x="130" y="43"/>
                </a:cubicBezTo>
                <a:cubicBezTo>
                  <a:pt x="130" y="42"/>
                  <a:pt x="128" y="41"/>
                  <a:pt x="127" y="41"/>
                </a:cubicBezTo>
                <a:cubicBezTo>
                  <a:pt x="125" y="40"/>
                  <a:pt x="124" y="38"/>
                  <a:pt x="122" y="37"/>
                </a:cubicBezTo>
                <a:cubicBezTo>
                  <a:pt x="119" y="35"/>
                  <a:pt x="116" y="32"/>
                  <a:pt x="113" y="30"/>
                </a:cubicBezTo>
                <a:cubicBezTo>
                  <a:pt x="100" y="19"/>
                  <a:pt x="87" y="9"/>
                  <a:pt x="74" y="0"/>
                </a:cubicBezTo>
                <a:cubicBezTo>
                  <a:pt x="68" y="0"/>
                  <a:pt x="62" y="0"/>
                  <a:pt x="57" y="0"/>
                </a:cubicBezTo>
                <a:cubicBezTo>
                  <a:pt x="58" y="17"/>
                  <a:pt x="59" y="34"/>
                  <a:pt x="61" y="52"/>
                </a:cubicBezTo>
                <a:cubicBezTo>
                  <a:pt x="61" y="60"/>
                  <a:pt x="62" y="68"/>
                  <a:pt x="63" y="77"/>
                </a:cubicBezTo>
                <a:cubicBezTo>
                  <a:pt x="63" y="81"/>
                  <a:pt x="63" y="85"/>
                  <a:pt x="64" y="89"/>
                </a:cubicBezTo>
                <a:cubicBezTo>
                  <a:pt x="64" y="90"/>
                  <a:pt x="64" y="91"/>
                  <a:pt x="64" y="92"/>
                </a:cubicBezTo>
                <a:cubicBezTo>
                  <a:pt x="64" y="93"/>
                  <a:pt x="64" y="93"/>
                  <a:pt x="65" y="94"/>
                </a:cubicBezTo>
                <a:cubicBezTo>
                  <a:pt x="65" y="94"/>
                  <a:pt x="66" y="94"/>
                  <a:pt x="66" y="95"/>
                </a:cubicBezTo>
                <a:cubicBezTo>
                  <a:pt x="66" y="96"/>
                  <a:pt x="66" y="97"/>
                  <a:pt x="66" y="97"/>
                </a:cubicBezTo>
                <a:cubicBezTo>
                  <a:pt x="66" y="99"/>
                  <a:pt x="65" y="100"/>
                  <a:pt x="65" y="101"/>
                </a:cubicBezTo>
                <a:cubicBezTo>
                  <a:pt x="65" y="102"/>
                  <a:pt x="65" y="103"/>
                  <a:pt x="65" y="104"/>
                </a:cubicBezTo>
                <a:cubicBezTo>
                  <a:pt x="64" y="104"/>
                  <a:pt x="62" y="104"/>
                  <a:pt x="62" y="104"/>
                </a:cubicBezTo>
                <a:cubicBezTo>
                  <a:pt x="61" y="104"/>
                  <a:pt x="60" y="104"/>
                  <a:pt x="59" y="104"/>
                </a:cubicBezTo>
                <a:cubicBezTo>
                  <a:pt x="57" y="104"/>
                  <a:pt x="55" y="104"/>
                  <a:pt x="53" y="104"/>
                </a:cubicBezTo>
                <a:cubicBezTo>
                  <a:pt x="45" y="104"/>
                  <a:pt x="36" y="104"/>
                  <a:pt x="28" y="104"/>
                </a:cubicBezTo>
                <a:cubicBezTo>
                  <a:pt x="28" y="104"/>
                  <a:pt x="28" y="102"/>
                  <a:pt x="28" y="102"/>
                </a:cubicBezTo>
                <a:cubicBezTo>
                  <a:pt x="27" y="102"/>
                  <a:pt x="27" y="102"/>
                  <a:pt x="27" y="103"/>
                </a:cubicBezTo>
                <a:cubicBezTo>
                  <a:pt x="27" y="103"/>
                  <a:pt x="27" y="104"/>
                  <a:pt x="27" y="104"/>
                </a:cubicBezTo>
                <a:cubicBezTo>
                  <a:pt x="27" y="105"/>
                  <a:pt x="26" y="105"/>
                  <a:pt x="26" y="105"/>
                </a:cubicBezTo>
                <a:cubicBezTo>
                  <a:pt x="25" y="105"/>
                  <a:pt x="24" y="105"/>
                  <a:pt x="23" y="105"/>
                </a:cubicBezTo>
                <a:cubicBezTo>
                  <a:pt x="23" y="105"/>
                  <a:pt x="22" y="105"/>
                  <a:pt x="21" y="105"/>
                </a:cubicBezTo>
                <a:cubicBezTo>
                  <a:pt x="21" y="105"/>
                  <a:pt x="20" y="105"/>
                  <a:pt x="19" y="105"/>
                </a:cubicBezTo>
                <a:cubicBezTo>
                  <a:pt x="18" y="105"/>
                  <a:pt x="18" y="105"/>
                  <a:pt x="17" y="105"/>
                </a:cubicBezTo>
                <a:cubicBezTo>
                  <a:pt x="16" y="105"/>
                  <a:pt x="15" y="105"/>
                  <a:pt x="15" y="105"/>
                </a:cubicBezTo>
                <a:cubicBezTo>
                  <a:pt x="14" y="105"/>
                  <a:pt x="14" y="105"/>
                  <a:pt x="14" y="106"/>
                </a:cubicBezTo>
                <a:cubicBezTo>
                  <a:pt x="14" y="106"/>
                  <a:pt x="13" y="106"/>
                  <a:pt x="13" y="107"/>
                </a:cubicBezTo>
                <a:cubicBezTo>
                  <a:pt x="13" y="107"/>
                  <a:pt x="13" y="108"/>
                  <a:pt x="12" y="108"/>
                </a:cubicBezTo>
                <a:cubicBezTo>
                  <a:pt x="12" y="107"/>
                  <a:pt x="12" y="107"/>
                  <a:pt x="11" y="106"/>
                </a:cubicBezTo>
                <a:cubicBezTo>
                  <a:pt x="11" y="106"/>
                  <a:pt x="10" y="105"/>
                  <a:pt x="9" y="105"/>
                </a:cubicBezTo>
                <a:cubicBezTo>
                  <a:pt x="9" y="104"/>
                  <a:pt x="8" y="102"/>
                  <a:pt x="7" y="102"/>
                </a:cubicBezTo>
                <a:cubicBezTo>
                  <a:pt x="7" y="103"/>
                  <a:pt x="7" y="103"/>
                  <a:pt x="6" y="103"/>
                </a:cubicBezTo>
                <a:cubicBezTo>
                  <a:pt x="6" y="103"/>
                  <a:pt x="6" y="104"/>
                  <a:pt x="5" y="103"/>
                </a:cubicBezTo>
                <a:cubicBezTo>
                  <a:pt x="5" y="104"/>
                  <a:pt x="4" y="105"/>
                  <a:pt x="4" y="105"/>
                </a:cubicBezTo>
                <a:cubicBezTo>
                  <a:pt x="4" y="106"/>
                  <a:pt x="4" y="107"/>
                  <a:pt x="4" y="107"/>
                </a:cubicBezTo>
                <a:cubicBezTo>
                  <a:pt x="4" y="108"/>
                  <a:pt x="3" y="108"/>
                  <a:pt x="4" y="109"/>
                </a:cubicBezTo>
                <a:cubicBezTo>
                  <a:pt x="4" y="109"/>
                  <a:pt x="4" y="109"/>
                  <a:pt x="4" y="110"/>
                </a:cubicBezTo>
                <a:cubicBezTo>
                  <a:pt x="4" y="111"/>
                  <a:pt x="4" y="111"/>
                  <a:pt x="3" y="111"/>
                </a:cubicBezTo>
                <a:cubicBezTo>
                  <a:pt x="3" y="111"/>
                  <a:pt x="3" y="112"/>
                  <a:pt x="2" y="112"/>
                </a:cubicBezTo>
                <a:cubicBezTo>
                  <a:pt x="2" y="112"/>
                  <a:pt x="2" y="112"/>
                  <a:pt x="2" y="112"/>
                </a:cubicBezTo>
                <a:cubicBezTo>
                  <a:pt x="1" y="112"/>
                  <a:pt x="1" y="112"/>
                  <a:pt x="1" y="112"/>
                </a:cubicBezTo>
                <a:cubicBezTo>
                  <a:pt x="0" y="112"/>
                  <a:pt x="0" y="112"/>
                  <a:pt x="0" y="112"/>
                </a:cubicBezTo>
                <a:cubicBezTo>
                  <a:pt x="0" y="112"/>
                  <a:pt x="1" y="113"/>
                  <a:pt x="0" y="114"/>
                </a:cubicBezTo>
                <a:cubicBezTo>
                  <a:pt x="0" y="114"/>
                  <a:pt x="0" y="115"/>
                  <a:pt x="0" y="116"/>
                </a:cubicBezTo>
                <a:cubicBezTo>
                  <a:pt x="0" y="116"/>
                  <a:pt x="1" y="116"/>
                  <a:pt x="1" y="117"/>
                </a:cubicBezTo>
                <a:cubicBezTo>
                  <a:pt x="1" y="117"/>
                  <a:pt x="1" y="117"/>
                  <a:pt x="1" y="117"/>
                </a:cubicBezTo>
                <a:cubicBezTo>
                  <a:pt x="2" y="118"/>
                  <a:pt x="2" y="120"/>
                  <a:pt x="2" y="120"/>
                </a:cubicBezTo>
                <a:cubicBezTo>
                  <a:pt x="2" y="121"/>
                  <a:pt x="3" y="122"/>
                  <a:pt x="2" y="123"/>
                </a:cubicBezTo>
                <a:cubicBezTo>
                  <a:pt x="1" y="124"/>
                  <a:pt x="1" y="123"/>
                  <a:pt x="1" y="124"/>
                </a:cubicBezTo>
                <a:cubicBezTo>
                  <a:pt x="2" y="125"/>
                  <a:pt x="3" y="126"/>
                  <a:pt x="3" y="126"/>
                </a:cubicBezTo>
                <a:cubicBezTo>
                  <a:pt x="3" y="127"/>
                  <a:pt x="3" y="127"/>
                  <a:pt x="3" y="128"/>
                </a:cubicBezTo>
                <a:cubicBezTo>
                  <a:pt x="3" y="128"/>
                  <a:pt x="4" y="127"/>
                  <a:pt x="4" y="127"/>
                </a:cubicBezTo>
                <a:cubicBezTo>
                  <a:pt x="4" y="127"/>
                  <a:pt x="4" y="127"/>
                  <a:pt x="5" y="127"/>
                </a:cubicBezTo>
                <a:cubicBezTo>
                  <a:pt x="5" y="127"/>
                  <a:pt x="5" y="127"/>
                  <a:pt x="5" y="127"/>
                </a:cubicBezTo>
                <a:cubicBezTo>
                  <a:pt x="6" y="128"/>
                  <a:pt x="6" y="128"/>
                  <a:pt x="6" y="128"/>
                </a:cubicBezTo>
                <a:cubicBezTo>
                  <a:pt x="6" y="129"/>
                  <a:pt x="6" y="129"/>
                  <a:pt x="6" y="129"/>
                </a:cubicBezTo>
                <a:cubicBezTo>
                  <a:pt x="6" y="129"/>
                  <a:pt x="6" y="129"/>
                  <a:pt x="6" y="129"/>
                </a:cubicBezTo>
                <a:cubicBezTo>
                  <a:pt x="6" y="130"/>
                  <a:pt x="6" y="130"/>
                  <a:pt x="6" y="130"/>
                </a:cubicBezTo>
                <a:cubicBezTo>
                  <a:pt x="7" y="131"/>
                  <a:pt x="7" y="131"/>
                  <a:pt x="7" y="131"/>
                </a:cubicBezTo>
                <a:cubicBezTo>
                  <a:pt x="7" y="131"/>
                  <a:pt x="7" y="132"/>
                  <a:pt x="7" y="132"/>
                </a:cubicBezTo>
                <a:cubicBezTo>
                  <a:pt x="7" y="132"/>
                  <a:pt x="7" y="132"/>
                  <a:pt x="7" y="131"/>
                </a:cubicBezTo>
                <a:cubicBezTo>
                  <a:pt x="8" y="132"/>
                  <a:pt x="7" y="132"/>
                  <a:pt x="7" y="132"/>
                </a:cubicBezTo>
                <a:cubicBezTo>
                  <a:pt x="7" y="133"/>
                  <a:pt x="7" y="133"/>
                  <a:pt x="7" y="134"/>
                </a:cubicBezTo>
                <a:cubicBezTo>
                  <a:pt x="7" y="134"/>
                  <a:pt x="7" y="134"/>
                  <a:pt x="7" y="135"/>
                </a:cubicBezTo>
                <a:cubicBezTo>
                  <a:pt x="7" y="135"/>
                  <a:pt x="7" y="135"/>
                  <a:pt x="7" y="135"/>
                </a:cubicBezTo>
                <a:cubicBezTo>
                  <a:pt x="7" y="136"/>
                  <a:pt x="7" y="137"/>
                  <a:pt x="7" y="137"/>
                </a:cubicBezTo>
                <a:cubicBezTo>
                  <a:pt x="7" y="137"/>
                  <a:pt x="8" y="137"/>
                  <a:pt x="7" y="137"/>
                </a:cubicBezTo>
                <a:cubicBezTo>
                  <a:pt x="7" y="138"/>
                  <a:pt x="7" y="138"/>
                  <a:pt x="7" y="138"/>
                </a:cubicBezTo>
                <a:cubicBezTo>
                  <a:pt x="7" y="138"/>
                  <a:pt x="7" y="139"/>
                  <a:pt x="7" y="140"/>
                </a:cubicBezTo>
                <a:cubicBezTo>
                  <a:pt x="6" y="140"/>
                  <a:pt x="6" y="141"/>
                  <a:pt x="7" y="141"/>
                </a:cubicBezTo>
                <a:cubicBezTo>
                  <a:pt x="7" y="141"/>
                  <a:pt x="7" y="141"/>
                  <a:pt x="7" y="141"/>
                </a:cubicBezTo>
                <a:cubicBezTo>
                  <a:pt x="8" y="142"/>
                  <a:pt x="8" y="142"/>
                  <a:pt x="8" y="142"/>
                </a:cubicBezTo>
                <a:cubicBezTo>
                  <a:pt x="8" y="142"/>
                  <a:pt x="8" y="143"/>
                  <a:pt x="9" y="142"/>
                </a:cubicBezTo>
                <a:cubicBezTo>
                  <a:pt x="10" y="142"/>
                  <a:pt x="10" y="141"/>
                  <a:pt x="11" y="140"/>
                </a:cubicBezTo>
                <a:cubicBezTo>
                  <a:pt x="11" y="139"/>
                  <a:pt x="12" y="141"/>
                  <a:pt x="13" y="141"/>
                </a:cubicBezTo>
                <a:cubicBezTo>
                  <a:pt x="13" y="141"/>
                  <a:pt x="13" y="144"/>
                  <a:pt x="14" y="143"/>
                </a:cubicBezTo>
                <a:cubicBezTo>
                  <a:pt x="15" y="143"/>
                  <a:pt x="15" y="143"/>
                  <a:pt x="15" y="142"/>
                </a:cubicBezTo>
                <a:cubicBezTo>
                  <a:pt x="15" y="142"/>
                  <a:pt x="16" y="142"/>
                  <a:pt x="16" y="142"/>
                </a:cubicBezTo>
                <a:cubicBezTo>
                  <a:pt x="16" y="141"/>
                  <a:pt x="16" y="141"/>
                  <a:pt x="16" y="141"/>
                </a:cubicBezTo>
                <a:cubicBezTo>
                  <a:pt x="16" y="141"/>
                  <a:pt x="16" y="141"/>
                  <a:pt x="17" y="141"/>
                </a:cubicBezTo>
                <a:cubicBezTo>
                  <a:pt x="17" y="140"/>
                  <a:pt x="17" y="141"/>
                  <a:pt x="17" y="140"/>
                </a:cubicBezTo>
                <a:cubicBezTo>
                  <a:pt x="17" y="140"/>
                  <a:pt x="17" y="140"/>
                  <a:pt x="18" y="140"/>
                </a:cubicBezTo>
                <a:cubicBezTo>
                  <a:pt x="18" y="140"/>
                  <a:pt x="18" y="140"/>
                  <a:pt x="18" y="140"/>
                </a:cubicBezTo>
                <a:cubicBezTo>
                  <a:pt x="18" y="140"/>
                  <a:pt x="18" y="140"/>
                  <a:pt x="19" y="140"/>
                </a:cubicBezTo>
                <a:cubicBezTo>
                  <a:pt x="19" y="140"/>
                  <a:pt x="20" y="140"/>
                  <a:pt x="20" y="141"/>
                </a:cubicBezTo>
                <a:cubicBezTo>
                  <a:pt x="21" y="141"/>
                  <a:pt x="22" y="142"/>
                  <a:pt x="23" y="142"/>
                </a:cubicBezTo>
                <a:cubicBezTo>
                  <a:pt x="24" y="142"/>
                  <a:pt x="23" y="141"/>
                  <a:pt x="24" y="141"/>
                </a:cubicBezTo>
                <a:cubicBezTo>
                  <a:pt x="25" y="140"/>
                  <a:pt x="25" y="140"/>
                  <a:pt x="25" y="140"/>
                </a:cubicBezTo>
                <a:cubicBezTo>
                  <a:pt x="26" y="140"/>
                  <a:pt x="26" y="140"/>
                  <a:pt x="26" y="140"/>
                </a:cubicBezTo>
                <a:cubicBezTo>
                  <a:pt x="27" y="140"/>
                  <a:pt x="28" y="139"/>
                  <a:pt x="27" y="138"/>
                </a:cubicBezTo>
                <a:cubicBezTo>
                  <a:pt x="27" y="138"/>
                  <a:pt x="26" y="137"/>
                  <a:pt x="27" y="137"/>
                </a:cubicBezTo>
                <a:cubicBezTo>
                  <a:pt x="28" y="137"/>
                  <a:pt x="30" y="137"/>
                  <a:pt x="30" y="138"/>
                </a:cubicBezTo>
                <a:cubicBezTo>
                  <a:pt x="31" y="139"/>
                  <a:pt x="30" y="139"/>
                  <a:pt x="30" y="140"/>
                </a:cubicBezTo>
                <a:cubicBezTo>
                  <a:pt x="30" y="140"/>
                  <a:pt x="31" y="140"/>
                  <a:pt x="31" y="140"/>
                </a:cubicBezTo>
                <a:cubicBezTo>
                  <a:pt x="31" y="141"/>
                  <a:pt x="31" y="141"/>
                  <a:pt x="31" y="141"/>
                </a:cubicBezTo>
                <a:cubicBezTo>
                  <a:pt x="31" y="142"/>
                  <a:pt x="32" y="142"/>
                  <a:pt x="32" y="142"/>
                </a:cubicBezTo>
                <a:cubicBezTo>
                  <a:pt x="32" y="143"/>
                  <a:pt x="32" y="144"/>
                  <a:pt x="32" y="144"/>
                </a:cubicBezTo>
                <a:cubicBezTo>
                  <a:pt x="32" y="145"/>
                  <a:pt x="31" y="146"/>
                  <a:pt x="32" y="146"/>
                </a:cubicBezTo>
                <a:cubicBezTo>
                  <a:pt x="33" y="146"/>
                  <a:pt x="33" y="146"/>
                  <a:pt x="33" y="146"/>
                </a:cubicBezTo>
                <a:cubicBezTo>
                  <a:pt x="33" y="147"/>
                  <a:pt x="34" y="149"/>
                  <a:pt x="35" y="148"/>
                </a:cubicBezTo>
                <a:cubicBezTo>
                  <a:pt x="35" y="149"/>
                  <a:pt x="36" y="149"/>
                  <a:pt x="36" y="149"/>
                </a:cubicBezTo>
                <a:cubicBezTo>
                  <a:pt x="35" y="149"/>
                  <a:pt x="37" y="150"/>
                  <a:pt x="35" y="150"/>
                </a:cubicBezTo>
                <a:cubicBezTo>
                  <a:pt x="35" y="150"/>
                  <a:pt x="35" y="150"/>
                  <a:pt x="35" y="151"/>
                </a:cubicBezTo>
                <a:cubicBezTo>
                  <a:pt x="35" y="151"/>
                  <a:pt x="35" y="151"/>
                  <a:pt x="35" y="151"/>
                </a:cubicBezTo>
                <a:cubicBezTo>
                  <a:pt x="34" y="151"/>
                  <a:pt x="34" y="152"/>
                  <a:pt x="34" y="152"/>
                </a:cubicBezTo>
                <a:cubicBezTo>
                  <a:pt x="34" y="152"/>
                  <a:pt x="34" y="152"/>
                  <a:pt x="34" y="152"/>
                </a:cubicBezTo>
                <a:cubicBezTo>
                  <a:pt x="34" y="153"/>
                  <a:pt x="33" y="154"/>
                  <a:pt x="33" y="154"/>
                </a:cubicBezTo>
                <a:cubicBezTo>
                  <a:pt x="33" y="154"/>
                  <a:pt x="34" y="154"/>
                  <a:pt x="35" y="154"/>
                </a:cubicBezTo>
                <a:cubicBezTo>
                  <a:pt x="35" y="153"/>
                  <a:pt x="35" y="153"/>
                  <a:pt x="35" y="153"/>
                </a:cubicBezTo>
                <a:cubicBezTo>
                  <a:pt x="36" y="153"/>
                  <a:pt x="37" y="153"/>
                  <a:pt x="37" y="153"/>
                </a:cubicBezTo>
                <a:cubicBezTo>
                  <a:pt x="37" y="154"/>
                  <a:pt x="37" y="155"/>
                  <a:pt x="37" y="155"/>
                </a:cubicBezTo>
                <a:cubicBezTo>
                  <a:pt x="37" y="156"/>
                  <a:pt x="37" y="156"/>
                  <a:pt x="37" y="156"/>
                </a:cubicBezTo>
                <a:cubicBezTo>
                  <a:pt x="37" y="156"/>
                  <a:pt x="37" y="157"/>
                  <a:pt x="37" y="157"/>
                </a:cubicBezTo>
                <a:cubicBezTo>
                  <a:pt x="37" y="158"/>
                  <a:pt x="37" y="159"/>
                  <a:pt x="38" y="160"/>
                </a:cubicBezTo>
                <a:cubicBezTo>
                  <a:pt x="38" y="160"/>
                  <a:pt x="38" y="159"/>
                  <a:pt x="39" y="160"/>
                </a:cubicBezTo>
                <a:cubicBezTo>
                  <a:pt x="39" y="161"/>
                  <a:pt x="39" y="160"/>
                  <a:pt x="40" y="161"/>
                </a:cubicBezTo>
                <a:cubicBezTo>
                  <a:pt x="40" y="161"/>
                  <a:pt x="40" y="162"/>
                  <a:pt x="40" y="162"/>
                </a:cubicBezTo>
                <a:cubicBezTo>
                  <a:pt x="40" y="163"/>
                  <a:pt x="41" y="162"/>
                  <a:pt x="41" y="162"/>
                </a:cubicBezTo>
                <a:cubicBezTo>
                  <a:pt x="41" y="162"/>
                  <a:pt x="42" y="162"/>
                  <a:pt x="42" y="161"/>
                </a:cubicBezTo>
                <a:cubicBezTo>
                  <a:pt x="42" y="161"/>
                  <a:pt x="42" y="161"/>
                  <a:pt x="42" y="161"/>
                </a:cubicBezTo>
                <a:cubicBezTo>
                  <a:pt x="42" y="160"/>
                  <a:pt x="42" y="160"/>
                  <a:pt x="43" y="160"/>
                </a:cubicBezTo>
                <a:cubicBezTo>
                  <a:pt x="43" y="160"/>
                  <a:pt x="43" y="160"/>
                  <a:pt x="43" y="160"/>
                </a:cubicBezTo>
                <a:cubicBezTo>
                  <a:pt x="44" y="160"/>
                  <a:pt x="45" y="159"/>
                  <a:pt x="45" y="160"/>
                </a:cubicBezTo>
                <a:cubicBezTo>
                  <a:pt x="45" y="161"/>
                  <a:pt x="46" y="160"/>
                  <a:pt x="46" y="161"/>
                </a:cubicBezTo>
                <a:cubicBezTo>
                  <a:pt x="46" y="161"/>
                  <a:pt x="46" y="161"/>
                  <a:pt x="46" y="161"/>
                </a:cubicBezTo>
                <a:cubicBezTo>
                  <a:pt x="46" y="162"/>
                  <a:pt x="47" y="162"/>
                  <a:pt x="47" y="162"/>
                </a:cubicBezTo>
                <a:cubicBezTo>
                  <a:pt x="48" y="162"/>
                  <a:pt x="48" y="162"/>
                  <a:pt x="49" y="163"/>
                </a:cubicBezTo>
                <a:cubicBezTo>
                  <a:pt x="50" y="163"/>
                  <a:pt x="49" y="161"/>
                  <a:pt x="50" y="161"/>
                </a:cubicBezTo>
                <a:cubicBezTo>
                  <a:pt x="50" y="160"/>
                  <a:pt x="51" y="160"/>
                  <a:pt x="52" y="160"/>
                </a:cubicBezTo>
                <a:cubicBezTo>
                  <a:pt x="52" y="161"/>
                  <a:pt x="53" y="161"/>
                  <a:pt x="53" y="160"/>
                </a:cubicBezTo>
                <a:cubicBezTo>
                  <a:pt x="53" y="159"/>
                  <a:pt x="52" y="159"/>
                  <a:pt x="52" y="159"/>
                </a:cubicBezTo>
                <a:cubicBezTo>
                  <a:pt x="52" y="159"/>
                  <a:pt x="53" y="156"/>
                  <a:pt x="53" y="157"/>
                </a:cubicBezTo>
                <a:cubicBezTo>
                  <a:pt x="53" y="158"/>
                  <a:pt x="55" y="159"/>
                  <a:pt x="55" y="158"/>
                </a:cubicBezTo>
                <a:cubicBezTo>
                  <a:pt x="55" y="158"/>
                  <a:pt x="55" y="157"/>
                  <a:pt x="55" y="157"/>
                </a:cubicBezTo>
                <a:cubicBezTo>
                  <a:pt x="55" y="157"/>
                  <a:pt x="56" y="157"/>
                  <a:pt x="56" y="157"/>
                </a:cubicBezTo>
                <a:cubicBezTo>
                  <a:pt x="56" y="156"/>
                  <a:pt x="57" y="156"/>
                  <a:pt x="57" y="157"/>
                </a:cubicBezTo>
                <a:cubicBezTo>
                  <a:pt x="57" y="157"/>
                  <a:pt x="57" y="157"/>
                  <a:pt x="57" y="158"/>
                </a:cubicBezTo>
                <a:cubicBezTo>
                  <a:pt x="57" y="158"/>
                  <a:pt x="57" y="159"/>
                  <a:pt x="57" y="159"/>
                </a:cubicBezTo>
                <a:cubicBezTo>
                  <a:pt x="58" y="159"/>
                  <a:pt x="57" y="159"/>
                  <a:pt x="57" y="160"/>
                </a:cubicBezTo>
                <a:cubicBezTo>
                  <a:pt x="58" y="160"/>
                  <a:pt x="56" y="161"/>
                  <a:pt x="57" y="162"/>
                </a:cubicBezTo>
                <a:cubicBezTo>
                  <a:pt x="58" y="162"/>
                  <a:pt x="58" y="162"/>
                  <a:pt x="59" y="162"/>
                </a:cubicBezTo>
                <a:cubicBezTo>
                  <a:pt x="59" y="162"/>
                  <a:pt x="59" y="162"/>
                  <a:pt x="59" y="161"/>
                </a:cubicBezTo>
                <a:cubicBezTo>
                  <a:pt x="60" y="161"/>
                  <a:pt x="60" y="162"/>
                  <a:pt x="60" y="161"/>
                </a:cubicBezTo>
                <a:cubicBezTo>
                  <a:pt x="60" y="161"/>
                  <a:pt x="60" y="160"/>
                  <a:pt x="60" y="160"/>
                </a:cubicBezTo>
                <a:cubicBezTo>
                  <a:pt x="61" y="160"/>
                  <a:pt x="63" y="159"/>
                  <a:pt x="64" y="160"/>
                </a:cubicBezTo>
                <a:cubicBezTo>
                  <a:pt x="64" y="159"/>
                  <a:pt x="64" y="159"/>
                  <a:pt x="64" y="158"/>
                </a:cubicBezTo>
                <a:cubicBezTo>
                  <a:pt x="64" y="157"/>
                  <a:pt x="64" y="157"/>
                  <a:pt x="64" y="156"/>
                </a:cubicBezTo>
                <a:cubicBezTo>
                  <a:pt x="64" y="155"/>
                  <a:pt x="65" y="155"/>
                  <a:pt x="64" y="154"/>
                </a:cubicBezTo>
                <a:cubicBezTo>
                  <a:pt x="64" y="154"/>
                  <a:pt x="64" y="154"/>
                  <a:pt x="64" y="154"/>
                </a:cubicBezTo>
                <a:cubicBezTo>
                  <a:pt x="64" y="153"/>
                  <a:pt x="64" y="153"/>
                  <a:pt x="64" y="153"/>
                </a:cubicBezTo>
                <a:cubicBezTo>
                  <a:pt x="64" y="153"/>
                  <a:pt x="64" y="153"/>
                  <a:pt x="64" y="152"/>
                </a:cubicBezTo>
                <a:cubicBezTo>
                  <a:pt x="65" y="152"/>
                  <a:pt x="66" y="152"/>
                  <a:pt x="66" y="151"/>
                </a:cubicBezTo>
                <a:cubicBezTo>
                  <a:pt x="66" y="151"/>
                  <a:pt x="66" y="151"/>
                  <a:pt x="66" y="150"/>
                </a:cubicBezTo>
                <a:cubicBezTo>
                  <a:pt x="66" y="150"/>
                  <a:pt x="66" y="149"/>
                  <a:pt x="66" y="149"/>
                </a:cubicBezTo>
                <a:cubicBezTo>
                  <a:pt x="67" y="149"/>
                  <a:pt x="67" y="148"/>
                  <a:pt x="67" y="148"/>
                </a:cubicBezTo>
                <a:cubicBezTo>
                  <a:pt x="67" y="147"/>
                  <a:pt x="66" y="147"/>
                  <a:pt x="66" y="146"/>
                </a:cubicBezTo>
                <a:cubicBezTo>
                  <a:pt x="66" y="146"/>
                  <a:pt x="66" y="145"/>
                  <a:pt x="66" y="145"/>
                </a:cubicBezTo>
                <a:cubicBezTo>
                  <a:pt x="66" y="144"/>
                  <a:pt x="65" y="145"/>
                  <a:pt x="65" y="144"/>
                </a:cubicBezTo>
                <a:cubicBezTo>
                  <a:pt x="66" y="144"/>
                  <a:pt x="67" y="144"/>
                  <a:pt x="67" y="143"/>
                </a:cubicBezTo>
                <a:cubicBezTo>
                  <a:pt x="68" y="143"/>
                  <a:pt x="69" y="142"/>
                  <a:pt x="70" y="142"/>
                </a:cubicBezTo>
                <a:cubicBezTo>
                  <a:pt x="71" y="142"/>
                  <a:pt x="71" y="142"/>
                  <a:pt x="72" y="142"/>
                </a:cubicBezTo>
                <a:cubicBezTo>
                  <a:pt x="72" y="142"/>
                  <a:pt x="72" y="142"/>
                  <a:pt x="72" y="142"/>
                </a:cubicBezTo>
                <a:cubicBezTo>
                  <a:pt x="72" y="141"/>
                  <a:pt x="72" y="141"/>
                  <a:pt x="73" y="141"/>
                </a:cubicBezTo>
                <a:cubicBezTo>
                  <a:pt x="73" y="141"/>
                  <a:pt x="73" y="140"/>
                  <a:pt x="74" y="140"/>
                </a:cubicBezTo>
                <a:cubicBezTo>
                  <a:pt x="74" y="139"/>
                  <a:pt x="74" y="138"/>
                  <a:pt x="74" y="139"/>
                </a:cubicBezTo>
                <a:cubicBezTo>
                  <a:pt x="75" y="140"/>
                  <a:pt x="75" y="138"/>
                  <a:pt x="75" y="138"/>
                </a:cubicBezTo>
                <a:cubicBezTo>
                  <a:pt x="74" y="137"/>
                  <a:pt x="75" y="137"/>
                  <a:pt x="75" y="136"/>
                </a:cubicBezTo>
                <a:cubicBezTo>
                  <a:pt x="75" y="136"/>
                  <a:pt x="74" y="135"/>
                  <a:pt x="74" y="134"/>
                </a:cubicBezTo>
                <a:cubicBezTo>
                  <a:pt x="74" y="135"/>
                  <a:pt x="75" y="134"/>
                  <a:pt x="75" y="134"/>
                </a:cubicBezTo>
                <a:cubicBezTo>
                  <a:pt x="76" y="134"/>
                  <a:pt x="76" y="135"/>
                  <a:pt x="76" y="134"/>
                </a:cubicBezTo>
                <a:cubicBezTo>
                  <a:pt x="78" y="134"/>
                  <a:pt x="76" y="131"/>
                  <a:pt x="76" y="130"/>
                </a:cubicBezTo>
                <a:cubicBezTo>
                  <a:pt x="75" y="129"/>
                  <a:pt x="76" y="130"/>
                  <a:pt x="77" y="129"/>
                </a:cubicBezTo>
                <a:cubicBezTo>
                  <a:pt x="77" y="129"/>
                  <a:pt x="76" y="129"/>
                  <a:pt x="76" y="129"/>
                </a:cubicBezTo>
                <a:cubicBezTo>
                  <a:pt x="77" y="128"/>
                  <a:pt x="77" y="128"/>
                  <a:pt x="77" y="128"/>
                </a:cubicBezTo>
                <a:cubicBezTo>
                  <a:pt x="78" y="128"/>
                  <a:pt x="78" y="127"/>
                  <a:pt x="78" y="127"/>
                </a:cubicBezTo>
                <a:cubicBezTo>
                  <a:pt x="79" y="126"/>
                  <a:pt x="79" y="126"/>
                  <a:pt x="79" y="126"/>
                </a:cubicBezTo>
                <a:cubicBezTo>
                  <a:pt x="79" y="126"/>
                  <a:pt x="80" y="127"/>
                  <a:pt x="80" y="126"/>
                </a:cubicBezTo>
                <a:cubicBezTo>
                  <a:pt x="79" y="127"/>
                  <a:pt x="79" y="127"/>
                  <a:pt x="79" y="127"/>
                </a:cubicBezTo>
                <a:cubicBezTo>
                  <a:pt x="79" y="127"/>
                  <a:pt x="80" y="127"/>
                  <a:pt x="80" y="127"/>
                </a:cubicBezTo>
                <a:cubicBezTo>
                  <a:pt x="81" y="128"/>
                  <a:pt x="82" y="128"/>
                  <a:pt x="83" y="129"/>
                </a:cubicBezTo>
                <a:cubicBezTo>
                  <a:pt x="83" y="129"/>
                  <a:pt x="84" y="130"/>
                  <a:pt x="84" y="130"/>
                </a:cubicBezTo>
                <a:cubicBezTo>
                  <a:pt x="84" y="129"/>
                  <a:pt x="84" y="129"/>
                  <a:pt x="84" y="129"/>
                </a:cubicBezTo>
                <a:cubicBezTo>
                  <a:pt x="84" y="128"/>
                  <a:pt x="86" y="128"/>
                  <a:pt x="86" y="128"/>
                </a:cubicBezTo>
                <a:cubicBezTo>
                  <a:pt x="86" y="127"/>
                  <a:pt x="86" y="125"/>
                  <a:pt x="86" y="124"/>
                </a:cubicBezTo>
                <a:cubicBezTo>
                  <a:pt x="86" y="124"/>
                  <a:pt x="86" y="123"/>
                  <a:pt x="86" y="124"/>
                </a:cubicBezTo>
                <a:cubicBezTo>
                  <a:pt x="87" y="124"/>
                  <a:pt x="87" y="124"/>
                  <a:pt x="87" y="124"/>
                </a:cubicBezTo>
                <a:cubicBezTo>
                  <a:pt x="88" y="124"/>
                  <a:pt x="88" y="125"/>
                  <a:pt x="88" y="125"/>
                </a:cubicBezTo>
                <a:cubicBezTo>
                  <a:pt x="88" y="125"/>
                  <a:pt x="88" y="124"/>
                  <a:pt x="89" y="124"/>
                </a:cubicBezTo>
                <a:cubicBezTo>
                  <a:pt x="90" y="125"/>
                  <a:pt x="89" y="123"/>
                  <a:pt x="89" y="123"/>
                </a:cubicBezTo>
                <a:cubicBezTo>
                  <a:pt x="89" y="122"/>
                  <a:pt x="90" y="120"/>
                  <a:pt x="90" y="120"/>
                </a:cubicBezTo>
                <a:cubicBezTo>
                  <a:pt x="91" y="119"/>
                  <a:pt x="92" y="118"/>
                  <a:pt x="93" y="118"/>
                </a:cubicBezTo>
                <a:cubicBezTo>
                  <a:pt x="94" y="117"/>
                  <a:pt x="95" y="118"/>
                  <a:pt x="96" y="118"/>
                </a:cubicBezTo>
                <a:cubicBezTo>
                  <a:pt x="96" y="118"/>
                  <a:pt x="97" y="119"/>
                  <a:pt x="98" y="118"/>
                </a:cubicBezTo>
                <a:cubicBezTo>
                  <a:pt x="98" y="117"/>
                  <a:pt x="98" y="116"/>
                  <a:pt x="99" y="115"/>
                </a:cubicBezTo>
                <a:cubicBezTo>
                  <a:pt x="100" y="115"/>
                  <a:pt x="101" y="115"/>
                  <a:pt x="102" y="114"/>
                </a:cubicBezTo>
                <a:cubicBezTo>
                  <a:pt x="103" y="113"/>
                  <a:pt x="105" y="112"/>
                  <a:pt x="106" y="112"/>
                </a:cubicBezTo>
                <a:cubicBezTo>
                  <a:pt x="107" y="112"/>
                  <a:pt x="108" y="111"/>
                  <a:pt x="109" y="110"/>
                </a:cubicBezTo>
                <a:cubicBezTo>
                  <a:pt x="110" y="109"/>
                  <a:pt x="110" y="109"/>
                  <a:pt x="111" y="108"/>
                </a:cubicBezTo>
                <a:cubicBezTo>
                  <a:pt x="112" y="108"/>
                  <a:pt x="113" y="108"/>
                  <a:pt x="113" y="109"/>
                </a:cubicBezTo>
                <a:cubicBezTo>
                  <a:pt x="114" y="110"/>
                  <a:pt x="115" y="109"/>
                  <a:pt x="116" y="109"/>
                </a:cubicBezTo>
                <a:cubicBezTo>
                  <a:pt x="117" y="109"/>
                  <a:pt x="118" y="110"/>
                  <a:pt x="120" y="110"/>
                </a:cubicBezTo>
                <a:cubicBezTo>
                  <a:pt x="120" y="110"/>
                  <a:pt x="120" y="110"/>
                  <a:pt x="120" y="109"/>
                </a:cubicBezTo>
                <a:cubicBezTo>
                  <a:pt x="120" y="110"/>
                  <a:pt x="121" y="110"/>
                  <a:pt x="121" y="110"/>
                </a:cubicBezTo>
                <a:cubicBezTo>
                  <a:pt x="122" y="110"/>
                  <a:pt x="122" y="109"/>
                  <a:pt x="123" y="110"/>
                </a:cubicBezTo>
                <a:cubicBezTo>
                  <a:pt x="124" y="110"/>
                  <a:pt x="126" y="110"/>
                  <a:pt x="127" y="109"/>
                </a:cubicBezTo>
                <a:cubicBezTo>
                  <a:pt x="128" y="109"/>
                  <a:pt x="129" y="107"/>
                  <a:pt x="130" y="107"/>
                </a:cubicBezTo>
                <a:cubicBezTo>
                  <a:pt x="131" y="106"/>
                  <a:pt x="132" y="106"/>
                  <a:pt x="132" y="106"/>
                </a:cubicBezTo>
                <a:cubicBezTo>
                  <a:pt x="133" y="106"/>
                  <a:pt x="134" y="106"/>
                  <a:pt x="135" y="106"/>
                </a:cubicBezTo>
                <a:cubicBezTo>
                  <a:pt x="137" y="106"/>
                  <a:pt x="139" y="106"/>
                  <a:pt x="141" y="106"/>
                </a:cubicBezTo>
                <a:cubicBezTo>
                  <a:pt x="142" y="106"/>
                  <a:pt x="143" y="106"/>
                  <a:pt x="145" y="106"/>
                </a:cubicBezTo>
                <a:cubicBezTo>
                  <a:pt x="145" y="106"/>
                  <a:pt x="146" y="106"/>
                  <a:pt x="146" y="106"/>
                </a:cubicBezTo>
                <a:cubicBezTo>
                  <a:pt x="147" y="105"/>
                  <a:pt x="146" y="105"/>
                  <a:pt x="147" y="105"/>
                </a:cubicBezTo>
                <a:cubicBezTo>
                  <a:pt x="148" y="105"/>
                  <a:pt x="148" y="105"/>
                  <a:pt x="149" y="105"/>
                </a:cubicBezTo>
                <a:cubicBezTo>
                  <a:pt x="149" y="105"/>
                  <a:pt x="151" y="106"/>
                  <a:pt x="151" y="105"/>
                </a:cubicBezTo>
                <a:cubicBezTo>
                  <a:pt x="152" y="105"/>
                  <a:pt x="151" y="104"/>
                  <a:pt x="152" y="104"/>
                </a:cubicBezTo>
                <a:cubicBezTo>
                  <a:pt x="152" y="103"/>
                  <a:pt x="153" y="103"/>
                  <a:pt x="153" y="102"/>
                </a:cubicBezTo>
                <a:cubicBezTo>
                  <a:pt x="154" y="102"/>
                  <a:pt x="154" y="102"/>
                  <a:pt x="155" y="102"/>
                </a:cubicBezTo>
                <a:cubicBezTo>
                  <a:pt x="155" y="101"/>
                  <a:pt x="155" y="100"/>
                  <a:pt x="155" y="100"/>
                </a:cubicBezTo>
                <a:cubicBezTo>
                  <a:pt x="155" y="99"/>
                  <a:pt x="156" y="99"/>
                  <a:pt x="156" y="98"/>
                </a:cubicBezTo>
                <a:cubicBezTo>
                  <a:pt x="156" y="97"/>
                  <a:pt x="156" y="95"/>
                  <a:pt x="157" y="95"/>
                </a:cubicBezTo>
                <a:cubicBezTo>
                  <a:pt x="158" y="94"/>
                  <a:pt x="158" y="92"/>
                  <a:pt x="158" y="91"/>
                </a:cubicBezTo>
                <a:cubicBezTo>
                  <a:pt x="158" y="90"/>
                  <a:pt x="158" y="90"/>
                  <a:pt x="158" y="89"/>
                </a:cubicBezTo>
                <a:cubicBezTo>
                  <a:pt x="158" y="89"/>
                  <a:pt x="158" y="89"/>
                  <a:pt x="158" y="88"/>
                </a:cubicBezTo>
                <a:cubicBezTo>
                  <a:pt x="158" y="88"/>
                  <a:pt x="158" y="88"/>
                  <a:pt x="158" y="87"/>
                </a:cubicBezTo>
                <a:cubicBezTo>
                  <a:pt x="159" y="87"/>
                  <a:pt x="158" y="86"/>
                  <a:pt x="158" y="85"/>
                </a:cubicBezTo>
                <a:cubicBezTo>
                  <a:pt x="158" y="84"/>
                  <a:pt x="158" y="83"/>
                  <a:pt x="158" y="8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5" name="Malta"/>
          <p:cNvSpPr>
            <a:spLocks noEditPoints="1"/>
          </p:cNvSpPr>
          <p:nvPr/>
        </p:nvSpPr>
        <p:spPr bwMode="auto">
          <a:xfrm>
            <a:off x="6283065" y="3231990"/>
            <a:ext cx="11000" cy="9999"/>
          </a:xfrm>
          <a:custGeom>
            <a:avLst/>
            <a:gdLst/>
            <a:ahLst/>
            <a:cxnLst>
              <a:cxn ang="0">
                <a:pos x="1" y="0"/>
              </a:cxn>
              <a:cxn ang="0">
                <a:pos x="0" y="1"/>
              </a:cxn>
              <a:cxn ang="0">
                <a:pos x="0" y="0"/>
              </a:cxn>
              <a:cxn ang="0">
                <a:pos x="0" y="0"/>
              </a:cxn>
              <a:cxn ang="0">
                <a:pos x="0" y="0"/>
              </a:cxn>
              <a:cxn ang="0">
                <a:pos x="1" y="0"/>
              </a:cxn>
              <a:cxn ang="0">
                <a:pos x="3" y="2"/>
              </a:cxn>
              <a:cxn ang="0">
                <a:pos x="2" y="1"/>
              </a:cxn>
              <a:cxn ang="0">
                <a:pos x="1" y="1"/>
              </a:cxn>
              <a:cxn ang="0">
                <a:pos x="1" y="1"/>
              </a:cxn>
              <a:cxn ang="0">
                <a:pos x="1" y="2"/>
              </a:cxn>
              <a:cxn ang="0">
                <a:pos x="2" y="2"/>
              </a:cxn>
              <a:cxn ang="0">
                <a:pos x="3" y="3"/>
              </a:cxn>
              <a:cxn ang="0">
                <a:pos x="3" y="2"/>
              </a:cxn>
              <a:cxn ang="0">
                <a:pos x="3" y="2"/>
              </a:cxn>
            </a:cxnLst>
            <a:rect l="0" t="0" r="r" b="b"/>
            <a:pathLst>
              <a:path w="3" h="3">
                <a:moveTo>
                  <a:pt x="1" y="0"/>
                </a:moveTo>
                <a:cubicBezTo>
                  <a:pt x="1" y="0"/>
                  <a:pt x="1" y="0"/>
                  <a:pt x="0" y="1"/>
                </a:cubicBezTo>
                <a:cubicBezTo>
                  <a:pt x="0" y="0"/>
                  <a:pt x="0" y="0"/>
                  <a:pt x="0" y="0"/>
                </a:cubicBezTo>
                <a:cubicBezTo>
                  <a:pt x="0" y="0"/>
                  <a:pt x="0" y="0"/>
                  <a:pt x="0" y="0"/>
                </a:cubicBezTo>
                <a:cubicBezTo>
                  <a:pt x="0" y="0"/>
                  <a:pt x="0" y="0"/>
                  <a:pt x="0" y="0"/>
                </a:cubicBezTo>
                <a:cubicBezTo>
                  <a:pt x="0" y="0"/>
                  <a:pt x="1" y="0"/>
                  <a:pt x="1" y="0"/>
                </a:cubicBezTo>
                <a:close/>
                <a:moveTo>
                  <a:pt x="3" y="2"/>
                </a:moveTo>
                <a:cubicBezTo>
                  <a:pt x="2" y="2"/>
                  <a:pt x="2" y="1"/>
                  <a:pt x="2" y="1"/>
                </a:cubicBezTo>
                <a:cubicBezTo>
                  <a:pt x="2" y="1"/>
                  <a:pt x="2" y="1"/>
                  <a:pt x="1" y="1"/>
                </a:cubicBezTo>
                <a:cubicBezTo>
                  <a:pt x="1" y="1"/>
                  <a:pt x="1" y="1"/>
                  <a:pt x="1" y="1"/>
                </a:cubicBezTo>
                <a:cubicBezTo>
                  <a:pt x="1" y="1"/>
                  <a:pt x="1" y="1"/>
                  <a:pt x="1" y="2"/>
                </a:cubicBezTo>
                <a:cubicBezTo>
                  <a:pt x="1" y="2"/>
                  <a:pt x="1" y="2"/>
                  <a:pt x="2" y="2"/>
                </a:cubicBezTo>
                <a:cubicBezTo>
                  <a:pt x="2" y="3"/>
                  <a:pt x="2" y="3"/>
                  <a:pt x="3" y="3"/>
                </a:cubicBezTo>
                <a:cubicBezTo>
                  <a:pt x="3" y="2"/>
                  <a:pt x="3" y="3"/>
                  <a:pt x="3" y="2"/>
                </a:cubicBezTo>
                <a:cubicBezTo>
                  <a:pt x="3" y="2"/>
                  <a:pt x="3" y="2"/>
                  <a:pt x="3"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6" name="Malaysia"/>
          <p:cNvSpPr>
            <a:spLocks noEditPoints="1"/>
          </p:cNvSpPr>
          <p:nvPr/>
        </p:nvSpPr>
        <p:spPr bwMode="auto">
          <a:xfrm>
            <a:off x="9281951" y="4370948"/>
            <a:ext cx="688974" cy="259991"/>
          </a:xfrm>
          <a:custGeom>
            <a:avLst/>
            <a:gdLst/>
            <a:ahLst/>
            <a:cxnLst>
              <a:cxn ang="0">
                <a:pos x="181" y="26"/>
              </a:cxn>
              <a:cxn ang="0">
                <a:pos x="185" y="33"/>
              </a:cxn>
              <a:cxn ang="0">
                <a:pos x="175" y="34"/>
              </a:cxn>
              <a:cxn ang="0">
                <a:pos x="164" y="34"/>
              </a:cxn>
              <a:cxn ang="0">
                <a:pos x="157" y="35"/>
              </a:cxn>
              <a:cxn ang="0">
                <a:pos x="156" y="44"/>
              </a:cxn>
              <a:cxn ang="0">
                <a:pos x="153" y="48"/>
              </a:cxn>
              <a:cxn ang="0">
                <a:pos x="149" y="56"/>
              </a:cxn>
              <a:cxn ang="0">
                <a:pos x="144" y="65"/>
              </a:cxn>
              <a:cxn ang="0">
                <a:pos x="133" y="66"/>
              </a:cxn>
              <a:cxn ang="0">
                <a:pos x="124" y="65"/>
              </a:cxn>
              <a:cxn ang="0">
                <a:pos x="117" y="71"/>
              </a:cxn>
              <a:cxn ang="0">
                <a:pos x="107" y="71"/>
              </a:cxn>
              <a:cxn ang="0">
                <a:pos x="99" y="64"/>
              </a:cxn>
              <a:cxn ang="0">
                <a:pos x="103" y="63"/>
              </a:cxn>
              <a:cxn ang="0">
                <a:pos x="107" y="64"/>
              </a:cxn>
              <a:cxn ang="0">
                <a:pos x="115" y="66"/>
              </a:cxn>
              <a:cxn ang="0">
                <a:pos x="113" y="62"/>
              </a:cxn>
              <a:cxn ang="0">
                <a:pos x="114" y="58"/>
              </a:cxn>
              <a:cxn ang="0">
                <a:pos x="116" y="54"/>
              </a:cxn>
              <a:cxn ang="0">
                <a:pos x="131" y="46"/>
              </a:cxn>
              <a:cxn ang="0">
                <a:pos x="140" y="31"/>
              </a:cxn>
              <a:cxn ang="0">
                <a:pos x="148" y="34"/>
              </a:cxn>
              <a:cxn ang="0">
                <a:pos x="150" y="32"/>
              </a:cxn>
              <a:cxn ang="0">
                <a:pos x="151" y="27"/>
              </a:cxn>
              <a:cxn ang="0">
                <a:pos x="153" y="23"/>
              </a:cxn>
              <a:cxn ang="0">
                <a:pos x="159" y="17"/>
              </a:cxn>
              <a:cxn ang="0">
                <a:pos x="163" y="9"/>
              </a:cxn>
              <a:cxn ang="0">
                <a:pos x="168" y="6"/>
              </a:cxn>
              <a:cxn ang="0">
                <a:pos x="173" y="8"/>
              </a:cxn>
              <a:cxn ang="0">
                <a:pos x="174" y="15"/>
              </a:cxn>
              <a:cxn ang="0">
                <a:pos x="179" y="19"/>
              </a:cxn>
              <a:cxn ang="0">
                <a:pos x="185" y="20"/>
              </a:cxn>
              <a:cxn ang="0">
                <a:pos x="45" y="61"/>
              </a:cxn>
              <a:cxn ang="0">
                <a:pos x="37" y="40"/>
              </a:cxn>
              <a:cxn ang="0">
                <a:pos x="36" y="26"/>
              </a:cxn>
              <a:cxn ang="0">
                <a:pos x="27" y="15"/>
              </a:cxn>
              <a:cxn ang="0">
                <a:pos x="21" y="18"/>
              </a:cxn>
              <a:cxn ang="0">
                <a:pos x="14" y="18"/>
              </a:cxn>
              <a:cxn ang="0">
                <a:pos x="11" y="11"/>
              </a:cxn>
              <a:cxn ang="0">
                <a:pos x="6" y="8"/>
              </a:cxn>
              <a:cxn ang="0">
                <a:pos x="7" y="21"/>
              </a:cxn>
              <a:cxn ang="0">
                <a:pos x="9" y="28"/>
              </a:cxn>
              <a:cxn ang="0">
                <a:pos x="10" y="35"/>
              </a:cxn>
              <a:cxn ang="0">
                <a:pos x="13" y="40"/>
              </a:cxn>
              <a:cxn ang="0">
                <a:pos x="17" y="50"/>
              </a:cxn>
              <a:cxn ang="0">
                <a:pos x="27" y="57"/>
              </a:cxn>
              <a:cxn ang="0">
                <a:pos x="37" y="64"/>
              </a:cxn>
              <a:cxn ang="0">
                <a:pos x="45" y="64"/>
              </a:cxn>
              <a:cxn ang="0">
                <a:pos x="2" y="12"/>
              </a:cxn>
              <a:cxn ang="0">
                <a:pos x="1" y="11"/>
              </a:cxn>
              <a:cxn ang="0">
                <a:pos x="1" y="11"/>
              </a:cxn>
              <a:cxn ang="0">
                <a:pos x="151" y="23"/>
              </a:cxn>
              <a:cxn ang="0">
                <a:pos x="170" y="2"/>
              </a:cxn>
              <a:cxn ang="0">
                <a:pos x="172" y="7"/>
              </a:cxn>
              <a:cxn ang="0">
                <a:pos x="6" y="21"/>
              </a:cxn>
              <a:cxn ang="0">
                <a:pos x="115" y="53"/>
              </a:cxn>
            </a:cxnLst>
            <a:rect l="0" t="0" r="r" b="b"/>
            <a:pathLst>
              <a:path w="191" h="72">
                <a:moveTo>
                  <a:pt x="190" y="24"/>
                </a:moveTo>
                <a:cubicBezTo>
                  <a:pt x="190" y="25"/>
                  <a:pt x="190" y="25"/>
                  <a:pt x="189" y="25"/>
                </a:cubicBezTo>
                <a:cubicBezTo>
                  <a:pt x="188" y="26"/>
                  <a:pt x="187" y="26"/>
                  <a:pt x="187" y="26"/>
                </a:cubicBezTo>
                <a:cubicBezTo>
                  <a:pt x="186" y="27"/>
                  <a:pt x="185" y="27"/>
                  <a:pt x="185" y="27"/>
                </a:cubicBezTo>
                <a:cubicBezTo>
                  <a:pt x="184" y="27"/>
                  <a:pt x="183" y="27"/>
                  <a:pt x="183" y="27"/>
                </a:cubicBezTo>
                <a:cubicBezTo>
                  <a:pt x="183" y="26"/>
                  <a:pt x="183" y="26"/>
                  <a:pt x="182" y="26"/>
                </a:cubicBezTo>
                <a:cubicBezTo>
                  <a:pt x="182" y="26"/>
                  <a:pt x="181" y="26"/>
                  <a:pt x="181" y="26"/>
                </a:cubicBezTo>
                <a:cubicBezTo>
                  <a:pt x="181" y="27"/>
                  <a:pt x="181" y="26"/>
                  <a:pt x="181" y="27"/>
                </a:cubicBezTo>
                <a:cubicBezTo>
                  <a:pt x="180" y="27"/>
                  <a:pt x="180" y="28"/>
                  <a:pt x="180" y="28"/>
                </a:cubicBezTo>
                <a:cubicBezTo>
                  <a:pt x="180" y="29"/>
                  <a:pt x="181" y="29"/>
                  <a:pt x="181" y="30"/>
                </a:cubicBezTo>
                <a:cubicBezTo>
                  <a:pt x="182" y="30"/>
                  <a:pt x="182" y="31"/>
                  <a:pt x="183" y="31"/>
                </a:cubicBezTo>
                <a:cubicBezTo>
                  <a:pt x="183" y="31"/>
                  <a:pt x="183" y="31"/>
                  <a:pt x="183" y="31"/>
                </a:cubicBezTo>
                <a:cubicBezTo>
                  <a:pt x="183" y="32"/>
                  <a:pt x="184" y="32"/>
                  <a:pt x="184" y="32"/>
                </a:cubicBezTo>
                <a:cubicBezTo>
                  <a:pt x="184" y="32"/>
                  <a:pt x="185" y="32"/>
                  <a:pt x="185" y="33"/>
                </a:cubicBezTo>
                <a:cubicBezTo>
                  <a:pt x="185" y="33"/>
                  <a:pt x="185" y="33"/>
                  <a:pt x="185" y="33"/>
                </a:cubicBezTo>
                <a:cubicBezTo>
                  <a:pt x="184" y="33"/>
                  <a:pt x="184" y="33"/>
                  <a:pt x="184" y="33"/>
                </a:cubicBezTo>
                <a:cubicBezTo>
                  <a:pt x="183" y="34"/>
                  <a:pt x="182" y="33"/>
                  <a:pt x="181" y="34"/>
                </a:cubicBezTo>
                <a:cubicBezTo>
                  <a:pt x="180" y="34"/>
                  <a:pt x="179" y="35"/>
                  <a:pt x="177" y="34"/>
                </a:cubicBezTo>
                <a:cubicBezTo>
                  <a:pt x="177" y="34"/>
                  <a:pt x="176" y="34"/>
                  <a:pt x="176" y="33"/>
                </a:cubicBezTo>
                <a:cubicBezTo>
                  <a:pt x="175" y="33"/>
                  <a:pt x="175" y="32"/>
                  <a:pt x="175" y="33"/>
                </a:cubicBezTo>
                <a:cubicBezTo>
                  <a:pt x="175" y="34"/>
                  <a:pt x="176" y="34"/>
                  <a:pt x="175" y="34"/>
                </a:cubicBezTo>
                <a:cubicBezTo>
                  <a:pt x="175" y="34"/>
                  <a:pt x="175" y="35"/>
                  <a:pt x="175" y="35"/>
                </a:cubicBezTo>
                <a:cubicBezTo>
                  <a:pt x="174" y="36"/>
                  <a:pt x="174" y="35"/>
                  <a:pt x="173" y="35"/>
                </a:cubicBezTo>
                <a:cubicBezTo>
                  <a:pt x="172" y="34"/>
                  <a:pt x="171" y="33"/>
                  <a:pt x="171" y="33"/>
                </a:cubicBezTo>
                <a:cubicBezTo>
                  <a:pt x="170" y="34"/>
                  <a:pt x="169" y="34"/>
                  <a:pt x="168" y="34"/>
                </a:cubicBezTo>
                <a:cubicBezTo>
                  <a:pt x="167" y="34"/>
                  <a:pt x="167" y="33"/>
                  <a:pt x="166" y="33"/>
                </a:cubicBezTo>
                <a:cubicBezTo>
                  <a:pt x="166" y="33"/>
                  <a:pt x="166" y="34"/>
                  <a:pt x="165" y="33"/>
                </a:cubicBezTo>
                <a:cubicBezTo>
                  <a:pt x="164" y="33"/>
                  <a:pt x="165" y="34"/>
                  <a:pt x="164" y="34"/>
                </a:cubicBezTo>
                <a:cubicBezTo>
                  <a:pt x="163" y="34"/>
                  <a:pt x="163" y="33"/>
                  <a:pt x="163" y="33"/>
                </a:cubicBezTo>
                <a:cubicBezTo>
                  <a:pt x="163" y="33"/>
                  <a:pt x="162" y="33"/>
                  <a:pt x="162" y="33"/>
                </a:cubicBezTo>
                <a:cubicBezTo>
                  <a:pt x="161" y="33"/>
                  <a:pt x="161" y="33"/>
                  <a:pt x="160" y="34"/>
                </a:cubicBezTo>
                <a:cubicBezTo>
                  <a:pt x="160" y="34"/>
                  <a:pt x="160" y="34"/>
                  <a:pt x="159" y="34"/>
                </a:cubicBezTo>
                <a:cubicBezTo>
                  <a:pt x="159" y="34"/>
                  <a:pt x="159" y="34"/>
                  <a:pt x="158" y="33"/>
                </a:cubicBezTo>
                <a:cubicBezTo>
                  <a:pt x="158" y="33"/>
                  <a:pt x="158" y="34"/>
                  <a:pt x="158" y="34"/>
                </a:cubicBezTo>
                <a:cubicBezTo>
                  <a:pt x="157" y="35"/>
                  <a:pt x="157" y="34"/>
                  <a:pt x="157" y="35"/>
                </a:cubicBezTo>
                <a:cubicBezTo>
                  <a:pt x="157" y="35"/>
                  <a:pt x="156" y="36"/>
                  <a:pt x="156" y="36"/>
                </a:cubicBezTo>
                <a:cubicBezTo>
                  <a:pt x="156" y="36"/>
                  <a:pt x="156" y="37"/>
                  <a:pt x="156" y="37"/>
                </a:cubicBezTo>
                <a:cubicBezTo>
                  <a:pt x="156" y="38"/>
                  <a:pt x="155" y="38"/>
                  <a:pt x="155" y="38"/>
                </a:cubicBezTo>
                <a:cubicBezTo>
                  <a:pt x="156" y="39"/>
                  <a:pt x="156" y="39"/>
                  <a:pt x="156" y="39"/>
                </a:cubicBezTo>
                <a:cubicBezTo>
                  <a:pt x="156" y="40"/>
                  <a:pt x="156" y="40"/>
                  <a:pt x="156" y="41"/>
                </a:cubicBezTo>
                <a:cubicBezTo>
                  <a:pt x="156" y="41"/>
                  <a:pt x="156" y="43"/>
                  <a:pt x="156" y="44"/>
                </a:cubicBezTo>
                <a:cubicBezTo>
                  <a:pt x="156" y="44"/>
                  <a:pt x="156" y="44"/>
                  <a:pt x="156" y="44"/>
                </a:cubicBezTo>
                <a:cubicBezTo>
                  <a:pt x="156" y="44"/>
                  <a:pt x="155" y="44"/>
                  <a:pt x="155" y="44"/>
                </a:cubicBezTo>
                <a:cubicBezTo>
                  <a:pt x="155" y="45"/>
                  <a:pt x="155" y="45"/>
                  <a:pt x="155" y="46"/>
                </a:cubicBezTo>
                <a:cubicBezTo>
                  <a:pt x="155" y="46"/>
                  <a:pt x="155" y="46"/>
                  <a:pt x="155" y="46"/>
                </a:cubicBezTo>
                <a:cubicBezTo>
                  <a:pt x="155" y="46"/>
                  <a:pt x="155" y="46"/>
                  <a:pt x="155" y="46"/>
                </a:cubicBezTo>
                <a:cubicBezTo>
                  <a:pt x="155" y="47"/>
                  <a:pt x="155" y="47"/>
                  <a:pt x="155" y="48"/>
                </a:cubicBezTo>
                <a:cubicBezTo>
                  <a:pt x="155" y="48"/>
                  <a:pt x="154" y="48"/>
                  <a:pt x="154" y="48"/>
                </a:cubicBezTo>
                <a:cubicBezTo>
                  <a:pt x="154" y="48"/>
                  <a:pt x="153" y="48"/>
                  <a:pt x="153" y="48"/>
                </a:cubicBezTo>
                <a:cubicBezTo>
                  <a:pt x="152" y="48"/>
                  <a:pt x="152" y="50"/>
                  <a:pt x="151" y="50"/>
                </a:cubicBezTo>
                <a:cubicBezTo>
                  <a:pt x="152" y="51"/>
                  <a:pt x="150" y="52"/>
                  <a:pt x="151" y="53"/>
                </a:cubicBezTo>
                <a:cubicBezTo>
                  <a:pt x="152" y="53"/>
                  <a:pt x="152" y="53"/>
                  <a:pt x="152" y="53"/>
                </a:cubicBezTo>
                <a:cubicBezTo>
                  <a:pt x="152" y="53"/>
                  <a:pt x="152" y="53"/>
                  <a:pt x="153" y="53"/>
                </a:cubicBezTo>
                <a:cubicBezTo>
                  <a:pt x="153" y="54"/>
                  <a:pt x="151" y="54"/>
                  <a:pt x="151" y="55"/>
                </a:cubicBezTo>
                <a:cubicBezTo>
                  <a:pt x="151" y="55"/>
                  <a:pt x="150" y="55"/>
                  <a:pt x="150" y="55"/>
                </a:cubicBezTo>
                <a:cubicBezTo>
                  <a:pt x="150" y="56"/>
                  <a:pt x="150" y="56"/>
                  <a:pt x="149" y="56"/>
                </a:cubicBezTo>
                <a:cubicBezTo>
                  <a:pt x="149" y="56"/>
                  <a:pt x="148" y="57"/>
                  <a:pt x="148" y="57"/>
                </a:cubicBezTo>
                <a:cubicBezTo>
                  <a:pt x="148" y="58"/>
                  <a:pt x="148" y="59"/>
                  <a:pt x="149" y="59"/>
                </a:cubicBezTo>
                <a:cubicBezTo>
                  <a:pt x="150" y="58"/>
                  <a:pt x="149" y="61"/>
                  <a:pt x="148" y="61"/>
                </a:cubicBezTo>
                <a:cubicBezTo>
                  <a:pt x="148" y="61"/>
                  <a:pt x="148" y="61"/>
                  <a:pt x="148" y="62"/>
                </a:cubicBezTo>
                <a:cubicBezTo>
                  <a:pt x="148" y="63"/>
                  <a:pt x="147" y="63"/>
                  <a:pt x="147" y="64"/>
                </a:cubicBezTo>
                <a:cubicBezTo>
                  <a:pt x="146" y="64"/>
                  <a:pt x="147" y="66"/>
                  <a:pt x="146" y="65"/>
                </a:cubicBezTo>
                <a:cubicBezTo>
                  <a:pt x="145" y="65"/>
                  <a:pt x="145" y="65"/>
                  <a:pt x="144" y="65"/>
                </a:cubicBezTo>
                <a:cubicBezTo>
                  <a:pt x="144" y="65"/>
                  <a:pt x="143" y="66"/>
                  <a:pt x="142" y="65"/>
                </a:cubicBezTo>
                <a:cubicBezTo>
                  <a:pt x="142" y="65"/>
                  <a:pt x="141" y="65"/>
                  <a:pt x="141" y="65"/>
                </a:cubicBezTo>
                <a:cubicBezTo>
                  <a:pt x="140" y="65"/>
                  <a:pt x="140" y="66"/>
                  <a:pt x="139" y="66"/>
                </a:cubicBezTo>
                <a:cubicBezTo>
                  <a:pt x="139" y="67"/>
                  <a:pt x="138" y="68"/>
                  <a:pt x="138" y="68"/>
                </a:cubicBezTo>
                <a:cubicBezTo>
                  <a:pt x="137" y="68"/>
                  <a:pt x="137" y="67"/>
                  <a:pt x="136" y="67"/>
                </a:cubicBezTo>
                <a:cubicBezTo>
                  <a:pt x="136" y="67"/>
                  <a:pt x="136" y="67"/>
                  <a:pt x="135" y="67"/>
                </a:cubicBezTo>
                <a:cubicBezTo>
                  <a:pt x="134" y="66"/>
                  <a:pt x="134" y="66"/>
                  <a:pt x="133" y="66"/>
                </a:cubicBezTo>
                <a:cubicBezTo>
                  <a:pt x="133" y="66"/>
                  <a:pt x="132" y="66"/>
                  <a:pt x="132" y="66"/>
                </a:cubicBezTo>
                <a:cubicBezTo>
                  <a:pt x="132" y="66"/>
                  <a:pt x="131" y="66"/>
                  <a:pt x="131" y="65"/>
                </a:cubicBezTo>
                <a:cubicBezTo>
                  <a:pt x="132" y="65"/>
                  <a:pt x="132" y="64"/>
                  <a:pt x="131" y="64"/>
                </a:cubicBezTo>
                <a:cubicBezTo>
                  <a:pt x="130" y="64"/>
                  <a:pt x="130" y="64"/>
                  <a:pt x="130" y="64"/>
                </a:cubicBezTo>
                <a:cubicBezTo>
                  <a:pt x="129" y="64"/>
                  <a:pt x="128" y="64"/>
                  <a:pt x="128" y="64"/>
                </a:cubicBezTo>
                <a:cubicBezTo>
                  <a:pt x="127" y="64"/>
                  <a:pt x="126" y="64"/>
                  <a:pt x="125" y="65"/>
                </a:cubicBezTo>
                <a:cubicBezTo>
                  <a:pt x="125" y="65"/>
                  <a:pt x="124" y="65"/>
                  <a:pt x="124" y="65"/>
                </a:cubicBezTo>
                <a:cubicBezTo>
                  <a:pt x="123" y="66"/>
                  <a:pt x="124" y="66"/>
                  <a:pt x="124" y="66"/>
                </a:cubicBezTo>
                <a:cubicBezTo>
                  <a:pt x="124" y="67"/>
                  <a:pt x="123" y="67"/>
                  <a:pt x="123" y="67"/>
                </a:cubicBezTo>
                <a:cubicBezTo>
                  <a:pt x="123" y="68"/>
                  <a:pt x="123" y="68"/>
                  <a:pt x="123" y="68"/>
                </a:cubicBezTo>
                <a:cubicBezTo>
                  <a:pt x="123" y="69"/>
                  <a:pt x="122" y="69"/>
                  <a:pt x="121" y="69"/>
                </a:cubicBezTo>
                <a:cubicBezTo>
                  <a:pt x="121" y="69"/>
                  <a:pt x="121" y="70"/>
                  <a:pt x="120" y="70"/>
                </a:cubicBezTo>
                <a:cubicBezTo>
                  <a:pt x="119" y="71"/>
                  <a:pt x="119" y="70"/>
                  <a:pt x="118" y="70"/>
                </a:cubicBezTo>
                <a:cubicBezTo>
                  <a:pt x="118" y="70"/>
                  <a:pt x="117" y="70"/>
                  <a:pt x="117" y="71"/>
                </a:cubicBezTo>
                <a:cubicBezTo>
                  <a:pt x="117" y="71"/>
                  <a:pt x="117" y="70"/>
                  <a:pt x="117" y="70"/>
                </a:cubicBezTo>
                <a:cubicBezTo>
                  <a:pt x="116" y="70"/>
                  <a:pt x="115" y="70"/>
                  <a:pt x="114" y="69"/>
                </a:cubicBezTo>
                <a:cubicBezTo>
                  <a:pt x="113" y="69"/>
                  <a:pt x="112" y="70"/>
                  <a:pt x="112" y="70"/>
                </a:cubicBezTo>
                <a:cubicBezTo>
                  <a:pt x="111" y="70"/>
                  <a:pt x="111" y="71"/>
                  <a:pt x="110" y="71"/>
                </a:cubicBezTo>
                <a:cubicBezTo>
                  <a:pt x="110" y="71"/>
                  <a:pt x="109" y="72"/>
                  <a:pt x="109" y="72"/>
                </a:cubicBezTo>
                <a:cubicBezTo>
                  <a:pt x="108" y="71"/>
                  <a:pt x="108" y="72"/>
                  <a:pt x="108" y="72"/>
                </a:cubicBezTo>
                <a:cubicBezTo>
                  <a:pt x="108" y="72"/>
                  <a:pt x="107" y="72"/>
                  <a:pt x="107" y="71"/>
                </a:cubicBezTo>
                <a:cubicBezTo>
                  <a:pt x="106" y="71"/>
                  <a:pt x="106" y="70"/>
                  <a:pt x="105" y="70"/>
                </a:cubicBezTo>
                <a:cubicBezTo>
                  <a:pt x="105" y="70"/>
                  <a:pt x="104" y="69"/>
                  <a:pt x="104" y="68"/>
                </a:cubicBezTo>
                <a:cubicBezTo>
                  <a:pt x="104" y="68"/>
                  <a:pt x="104" y="68"/>
                  <a:pt x="103" y="68"/>
                </a:cubicBezTo>
                <a:cubicBezTo>
                  <a:pt x="103" y="68"/>
                  <a:pt x="102" y="67"/>
                  <a:pt x="102" y="67"/>
                </a:cubicBezTo>
                <a:cubicBezTo>
                  <a:pt x="102" y="67"/>
                  <a:pt x="102" y="66"/>
                  <a:pt x="102" y="66"/>
                </a:cubicBezTo>
                <a:cubicBezTo>
                  <a:pt x="101" y="66"/>
                  <a:pt x="101" y="66"/>
                  <a:pt x="101" y="66"/>
                </a:cubicBezTo>
                <a:cubicBezTo>
                  <a:pt x="100" y="65"/>
                  <a:pt x="100" y="65"/>
                  <a:pt x="99" y="64"/>
                </a:cubicBezTo>
                <a:cubicBezTo>
                  <a:pt x="99" y="63"/>
                  <a:pt x="99" y="63"/>
                  <a:pt x="99" y="62"/>
                </a:cubicBezTo>
                <a:cubicBezTo>
                  <a:pt x="99" y="61"/>
                  <a:pt x="98" y="62"/>
                  <a:pt x="98" y="61"/>
                </a:cubicBezTo>
                <a:cubicBezTo>
                  <a:pt x="98" y="60"/>
                  <a:pt x="98" y="60"/>
                  <a:pt x="98" y="60"/>
                </a:cubicBezTo>
                <a:cubicBezTo>
                  <a:pt x="98" y="59"/>
                  <a:pt x="98" y="59"/>
                  <a:pt x="99" y="58"/>
                </a:cubicBezTo>
                <a:cubicBezTo>
                  <a:pt x="99" y="59"/>
                  <a:pt x="99" y="60"/>
                  <a:pt x="99" y="60"/>
                </a:cubicBezTo>
                <a:cubicBezTo>
                  <a:pt x="99" y="61"/>
                  <a:pt x="100" y="61"/>
                  <a:pt x="101" y="62"/>
                </a:cubicBezTo>
                <a:cubicBezTo>
                  <a:pt x="101" y="63"/>
                  <a:pt x="102" y="63"/>
                  <a:pt x="103" y="63"/>
                </a:cubicBezTo>
                <a:cubicBezTo>
                  <a:pt x="103" y="63"/>
                  <a:pt x="104" y="63"/>
                  <a:pt x="104" y="63"/>
                </a:cubicBezTo>
                <a:cubicBezTo>
                  <a:pt x="104" y="63"/>
                  <a:pt x="104" y="62"/>
                  <a:pt x="105" y="63"/>
                </a:cubicBezTo>
                <a:cubicBezTo>
                  <a:pt x="105" y="63"/>
                  <a:pt x="105" y="63"/>
                  <a:pt x="105" y="62"/>
                </a:cubicBezTo>
                <a:cubicBezTo>
                  <a:pt x="105" y="62"/>
                  <a:pt x="105" y="61"/>
                  <a:pt x="106" y="62"/>
                </a:cubicBezTo>
                <a:cubicBezTo>
                  <a:pt x="106" y="63"/>
                  <a:pt x="106" y="62"/>
                  <a:pt x="107" y="62"/>
                </a:cubicBezTo>
                <a:cubicBezTo>
                  <a:pt x="107" y="62"/>
                  <a:pt x="107" y="63"/>
                  <a:pt x="107" y="63"/>
                </a:cubicBezTo>
                <a:cubicBezTo>
                  <a:pt x="107" y="63"/>
                  <a:pt x="107" y="63"/>
                  <a:pt x="107" y="64"/>
                </a:cubicBezTo>
                <a:cubicBezTo>
                  <a:pt x="107" y="64"/>
                  <a:pt x="108" y="64"/>
                  <a:pt x="108" y="64"/>
                </a:cubicBezTo>
                <a:cubicBezTo>
                  <a:pt x="109" y="64"/>
                  <a:pt x="109" y="64"/>
                  <a:pt x="109" y="65"/>
                </a:cubicBezTo>
                <a:cubicBezTo>
                  <a:pt x="110" y="66"/>
                  <a:pt x="109" y="65"/>
                  <a:pt x="110" y="64"/>
                </a:cubicBezTo>
                <a:cubicBezTo>
                  <a:pt x="110" y="64"/>
                  <a:pt x="111" y="65"/>
                  <a:pt x="111" y="65"/>
                </a:cubicBezTo>
                <a:cubicBezTo>
                  <a:pt x="112" y="65"/>
                  <a:pt x="113" y="66"/>
                  <a:pt x="113" y="66"/>
                </a:cubicBezTo>
                <a:cubicBezTo>
                  <a:pt x="114" y="66"/>
                  <a:pt x="114" y="66"/>
                  <a:pt x="114" y="66"/>
                </a:cubicBezTo>
                <a:cubicBezTo>
                  <a:pt x="115" y="66"/>
                  <a:pt x="115" y="67"/>
                  <a:pt x="115" y="66"/>
                </a:cubicBezTo>
                <a:cubicBezTo>
                  <a:pt x="115" y="66"/>
                  <a:pt x="115" y="65"/>
                  <a:pt x="114" y="66"/>
                </a:cubicBezTo>
                <a:cubicBezTo>
                  <a:pt x="113" y="66"/>
                  <a:pt x="112" y="65"/>
                  <a:pt x="112" y="65"/>
                </a:cubicBezTo>
                <a:cubicBezTo>
                  <a:pt x="112" y="64"/>
                  <a:pt x="112" y="63"/>
                  <a:pt x="112" y="63"/>
                </a:cubicBezTo>
                <a:cubicBezTo>
                  <a:pt x="113" y="63"/>
                  <a:pt x="114" y="63"/>
                  <a:pt x="114" y="63"/>
                </a:cubicBezTo>
                <a:cubicBezTo>
                  <a:pt x="114" y="63"/>
                  <a:pt x="113" y="63"/>
                  <a:pt x="113" y="63"/>
                </a:cubicBezTo>
                <a:cubicBezTo>
                  <a:pt x="113" y="62"/>
                  <a:pt x="113" y="62"/>
                  <a:pt x="113" y="62"/>
                </a:cubicBezTo>
                <a:cubicBezTo>
                  <a:pt x="113" y="62"/>
                  <a:pt x="113" y="62"/>
                  <a:pt x="113" y="62"/>
                </a:cubicBezTo>
                <a:cubicBezTo>
                  <a:pt x="113" y="61"/>
                  <a:pt x="113" y="61"/>
                  <a:pt x="113" y="61"/>
                </a:cubicBezTo>
                <a:cubicBezTo>
                  <a:pt x="113" y="60"/>
                  <a:pt x="113" y="60"/>
                  <a:pt x="113" y="60"/>
                </a:cubicBezTo>
                <a:cubicBezTo>
                  <a:pt x="114" y="59"/>
                  <a:pt x="114" y="58"/>
                  <a:pt x="114" y="59"/>
                </a:cubicBezTo>
                <a:cubicBezTo>
                  <a:pt x="114" y="58"/>
                  <a:pt x="114" y="58"/>
                  <a:pt x="115" y="58"/>
                </a:cubicBezTo>
                <a:cubicBezTo>
                  <a:pt x="115" y="58"/>
                  <a:pt x="115" y="58"/>
                  <a:pt x="115" y="57"/>
                </a:cubicBezTo>
                <a:cubicBezTo>
                  <a:pt x="115" y="57"/>
                  <a:pt x="115" y="58"/>
                  <a:pt x="115" y="58"/>
                </a:cubicBezTo>
                <a:cubicBezTo>
                  <a:pt x="115" y="58"/>
                  <a:pt x="115" y="58"/>
                  <a:pt x="114" y="58"/>
                </a:cubicBezTo>
                <a:cubicBezTo>
                  <a:pt x="114" y="58"/>
                  <a:pt x="114" y="58"/>
                  <a:pt x="114" y="58"/>
                </a:cubicBezTo>
                <a:cubicBezTo>
                  <a:pt x="113" y="58"/>
                  <a:pt x="114" y="57"/>
                  <a:pt x="114" y="57"/>
                </a:cubicBezTo>
                <a:cubicBezTo>
                  <a:pt x="114" y="56"/>
                  <a:pt x="113" y="57"/>
                  <a:pt x="113" y="56"/>
                </a:cubicBezTo>
                <a:cubicBezTo>
                  <a:pt x="114" y="56"/>
                  <a:pt x="114" y="55"/>
                  <a:pt x="114" y="55"/>
                </a:cubicBezTo>
                <a:cubicBezTo>
                  <a:pt x="114" y="55"/>
                  <a:pt x="115" y="55"/>
                  <a:pt x="115" y="55"/>
                </a:cubicBezTo>
                <a:cubicBezTo>
                  <a:pt x="115" y="56"/>
                  <a:pt x="116" y="55"/>
                  <a:pt x="116" y="55"/>
                </a:cubicBezTo>
                <a:cubicBezTo>
                  <a:pt x="116" y="55"/>
                  <a:pt x="116" y="55"/>
                  <a:pt x="116" y="54"/>
                </a:cubicBezTo>
                <a:cubicBezTo>
                  <a:pt x="116" y="54"/>
                  <a:pt x="116" y="54"/>
                  <a:pt x="117" y="54"/>
                </a:cubicBezTo>
                <a:cubicBezTo>
                  <a:pt x="114" y="53"/>
                  <a:pt x="117" y="50"/>
                  <a:pt x="118" y="50"/>
                </a:cubicBezTo>
                <a:cubicBezTo>
                  <a:pt x="119" y="49"/>
                  <a:pt x="121" y="50"/>
                  <a:pt x="122" y="49"/>
                </a:cubicBezTo>
                <a:cubicBezTo>
                  <a:pt x="122" y="49"/>
                  <a:pt x="123" y="49"/>
                  <a:pt x="123" y="49"/>
                </a:cubicBezTo>
                <a:cubicBezTo>
                  <a:pt x="124" y="49"/>
                  <a:pt x="125" y="48"/>
                  <a:pt x="127" y="48"/>
                </a:cubicBezTo>
                <a:cubicBezTo>
                  <a:pt x="128" y="48"/>
                  <a:pt x="129" y="47"/>
                  <a:pt x="130" y="47"/>
                </a:cubicBezTo>
                <a:cubicBezTo>
                  <a:pt x="130" y="47"/>
                  <a:pt x="131" y="47"/>
                  <a:pt x="131" y="46"/>
                </a:cubicBezTo>
                <a:cubicBezTo>
                  <a:pt x="131" y="46"/>
                  <a:pt x="131" y="46"/>
                  <a:pt x="131" y="45"/>
                </a:cubicBezTo>
                <a:cubicBezTo>
                  <a:pt x="132" y="45"/>
                  <a:pt x="132" y="44"/>
                  <a:pt x="133" y="44"/>
                </a:cubicBezTo>
                <a:cubicBezTo>
                  <a:pt x="133" y="43"/>
                  <a:pt x="133" y="43"/>
                  <a:pt x="134" y="42"/>
                </a:cubicBezTo>
                <a:cubicBezTo>
                  <a:pt x="134" y="41"/>
                  <a:pt x="134" y="41"/>
                  <a:pt x="135" y="40"/>
                </a:cubicBezTo>
                <a:cubicBezTo>
                  <a:pt x="135" y="40"/>
                  <a:pt x="135" y="39"/>
                  <a:pt x="136" y="39"/>
                </a:cubicBezTo>
                <a:cubicBezTo>
                  <a:pt x="137" y="37"/>
                  <a:pt x="140" y="35"/>
                  <a:pt x="140" y="33"/>
                </a:cubicBezTo>
                <a:cubicBezTo>
                  <a:pt x="140" y="32"/>
                  <a:pt x="139" y="31"/>
                  <a:pt x="140" y="31"/>
                </a:cubicBezTo>
                <a:cubicBezTo>
                  <a:pt x="141" y="31"/>
                  <a:pt x="142" y="31"/>
                  <a:pt x="142" y="32"/>
                </a:cubicBezTo>
                <a:cubicBezTo>
                  <a:pt x="143" y="33"/>
                  <a:pt x="143" y="33"/>
                  <a:pt x="143" y="34"/>
                </a:cubicBezTo>
                <a:cubicBezTo>
                  <a:pt x="143" y="34"/>
                  <a:pt x="144" y="34"/>
                  <a:pt x="144" y="34"/>
                </a:cubicBezTo>
                <a:cubicBezTo>
                  <a:pt x="144" y="35"/>
                  <a:pt x="145" y="35"/>
                  <a:pt x="145" y="35"/>
                </a:cubicBezTo>
                <a:cubicBezTo>
                  <a:pt x="145" y="36"/>
                  <a:pt x="146" y="37"/>
                  <a:pt x="147" y="37"/>
                </a:cubicBezTo>
                <a:cubicBezTo>
                  <a:pt x="148" y="36"/>
                  <a:pt x="148" y="35"/>
                  <a:pt x="148" y="34"/>
                </a:cubicBezTo>
                <a:cubicBezTo>
                  <a:pt x="148" y="34"/>
                  <a:pt x="148" y="34"/>
                  <a:pt x="148" y="34"/>
                </a:cubicBezTo>
                <a:cubicBezTo>
                  <a:pt x="148" y="34"/>
                  <a:pt x="149" y="33"/>
                  <a:pt x="148" y="32"/>
                </a:cubicBezTo>
                <a:cubicBezTo>
                  <a:pt x="148" y="31"/>
                  <a:pt x="148" y="30"/>
                  <a:pt x="147" y="29"/>
                </a:cubicBezTo>
                <a:cubicBezTo>
                  <a:pt x="147" y="29"/>
                  <a:pt x="148" y="29"/>
                  <a:pt x="148" y="29"/>
                </a:cubicBezTo>
                <a:cubicBezTo>
                  <a:pt x="148" y="28"/>
                  <a:pt x="149" y="28"/>
                  <a:pt x="149" y="28"/>
                </a:cubicBezTo>
                <a:cubicBezTo>
                  <a:pt x="149" y="28"/>
                  <a:pt x="149" y="28"/>
                  <a:pt x="150" y="27"/>
                </a:cubicBezTo>
                <a:cubicBezTo>
                  <a:pt x="150" y="28"/>
                  <a:pt x="150" y="29"/>
                  <a:pt x="150" y="30"/>
                </a:cubicBezTo>
                <a:cubicBezTo>
                  <a:pt x="150" y="31"/>
                  <a:pt x="150" y="31"/>
                  <a:pt x="150" y="32"/>
                </a:cubicBezTo>
                <a:cubicBezTo>
                  <a:pt x="150" y="33"/>
                  <a:pt x="151" y="33"/>
                  <a:pt x="152" y="33"/>
                </a:cubicBezTo>
                <a:cubicBezTo>
                  <a:pt x="152" y="33"/>
                  <a:pt x="152" y="34"/>
                  <a:pt x="153" y="34"/>
                </a:cubicBezTo>
                <a:cubicBezTo>
                  <a:pt x="154" y="34"/>
                  <a:pt x="153" y="33"/>
                  <a:pt x="153" y="33"/>
                </a:cubicBezTo>
                <a:cubicBezTo>
                  <a:pt x="152" y="32"/>
                  <a:pt x="152" y="32"/>
                  <a:pt x="152" y="31"/>
                </a:cubicBezTo>
                <a:cubicBezTo>
                  <a:pt x="152" y="30"/>
                  <a:pt x="152" y="30"/>
                  <a:pt x="152" y="29"/>
                </a:cubicBezTo>
                <a:cubicBezTo>
                  <a:pt x="152" y="29"/>
                  <a:pt x="151" y="28"/>
                  <a:pt x="151" y="28"/>
                </a:cubicBezTo>
                <a:cubicBezTo>
                  <a:pt x="151" y="28"/>
                  <a:pt x="151" y="28"/>
                  <a:pt x="151" y="27"/>
                </a:cubicBezTo>
                <a:cubicBezTo>
                  <a:pt x="151" y="27"/>
                  <a:pt x="151" y="27"/>
                  <a:pt x="152" y="27"/>
                </a:cubicBezTo>
                <a:cubicBezTo>
                  <a:pt x="152" y="27"/>
                  <a:pt x="153" y="28"/>
                  <a:pt x="153" y="27"/>
                </a:cubicBezTo>
                <a:cubicBezTo>
                  <a:pt x="154" y="27"/>
                  <a:pt x="154" y="26"/>
                  <a:pt x="154" y="26"/>
                </a:cubicBezTo>
                <a:cubicBezTo>
                  <a:pt x="155" y="26"/>
                  <a:pt x="155" y="24"/>
                  <a:pt x="155" y="24"/>
                </a:cubicBezTo>
                <a:cubicBezTo>
                  <a:pt x="155" y="24"/>
                  <a:pt x="154" y="24"/>
                  <a:pt x="154" y="24"/>
                </a:cubicBezTo>
                <a:cubicBezTo>
                  <a:pt x="154" y="24"/>
                  <a:pt x="153" y="23"/>
                  <a:pt x="153" y="23"/>
                </a:cubicBezTo>
                <a:cubicBezTo>
                  <a:pt x="153" y="23"/>
                  <a:pt x="153" y="23"/>
                  <a:pt x="153" y="23"/>
                </a:cubicBezTo>
                <a:cubicBezTo>
                  <a:pt x="153" y="22"/>
                  <a:pt x="153" y="22"/>
                  <a:pt x="153" y="21"/>
                </a:cubicBezTo>
                <a:cubicBezTo>
                  <a:pt x="153" y="21"/>
                  <a:pt x="155" y="20"/>
                  <a:pt x="155" y="20"/>
                </a:cubicBezTo>
                <a:cubicBezTo>
                  <a:pt x="155" y="20"/>
                  <a:pt x="155" y="21"/>
                  <a:pt x="155" y="21"/>
                </a:cubicBezTo>
                <a:cubicBezTo>
                  <a:pt x="155" y="21"/>
                  <a:pt x="155" y="20"/>
                  <a:pt x="155" y="20"/>
                </a:cubicBezTo>
                <a:cubicBezTo>
                  <a:pt x="156" y="20"/>
                  <a:pt x="157" y="21"/>
                  <a:pt x="158" y="20"/>
                </a:cubicBezTo>
                <a:cubicBezTo>
                  <a:pt x="158" y="19"/>
                  <a:pt x="158" y="19"/>
                  <a:pt x="158" y="18"/>
                </a:cubicBezTo>
                <a:cubicBezTo>
                  <a:pt x="158" y="17"/>
                  <a:pt x="159" y="17"/>
                  <a:pt x="159" y="17"/>
                </a:cubicBezTo>
                <a:cubicBezTo>
                  <a:pt x="159" y="16"/>
                  <a:pt x="160" y="15"/>
                  <a:pt x="160" y="15"/>
                </a:cubicBezTo>
                <a:cubicBezTo>
                  <a:pt x="160" y="14"/>
                  <a:pt x="160" y="14"/>
                  <a:pt x="159" y="14"/>
                </a:cubicBezTo>
                <a:cubicBezTo>
                  <a:pt x="159" y="14"/>
                  <a:pt x="160" y="14"/>
                  <a:pt x="160" y="14"/>
                </a:cubicBezTo>
                <a:cubicBezTo>
                  <a:pt x="160" y="13"/>
                  <a:pt x="160" y="13"/>
                  <a:pt x="161" y="13"/>
                </a:cubicBezTo>
                <a:cubicBezTo>
                  <a:pt x="162" y="13"/>
                  <a:pt x="161" y="12"/>
                  <a:pt x="161" y="12"/>
                </a:cubicBezTo>
                <a:cubicBezTo>
                  <a:pt x="161" y="12"/>
                  <a:pt x="162" y="11"/>
                  <a:pt x="162" y="11"/>
                </a:cubicBezTo>
                <a:cubicBezTo>
                  <a:pt x="163" y="10"/>
                  <a:pt x="163" y="10"/>
                  <a:pt x="163" y="9"/>
                </a:cubicBezTo>
                <a:cubicBezTo>
                  <a:pt x="164" y="8"/>
                  <a:pt x="164" y="8"/>
                  <a:pt x="164" y="7"/>
                </a:cubicBezTo>
                <a:cubicBezTo>
                  <a:pt x="164" y="6"/>
                  <a:pt x="165" y="5"/>
                  <a:pt x="165" y="4"/>
                </a:cubicBezTo>
                <a:cubicBezTo>
                  <a:pt x="166" y="4"/>
                  <a:pt x="166" y="5"/>
                  <a:pt x="166" y="6"/>
                </a:cubicBezTo>
                <a:cubicBezTo>
                  <a:pt x="166" y="5"/>
                  <a:pt x="166" y="7"/>
                  <a:pt x="166" y="7"/>
                </a:cubicBezTo>
                <a:cubicBezTo>
                  <a:pt x="166" y="7"/>
                  <a:pt x="165" y="9"/>
                  <a:pt x="166" y="9"/>
                </a:cubicBezTo>
                <a:cubicBezTo>
                  <a:pt x="166" y="9"/>
                  <a:pt x="167" y="8"/>
                  <a:pt x="168" y="7"/>
                </a:cubicBezTo>
                <a:cubicBezTo>
                  <a:pt x="168" y="7"/>
                  <a:pt x="168" y="7"/>
                  <a:pt x="168" y="6"/>
                </a:cubicBezTo>
                <a:cubicBezTo>
                  <a:pt x="168" y="6"/>
                  <a:pt x="168" y="6"/>
                  <a:pt x="168" y="5"/>
                </a:cubicBezTo>
                <a:cubicBezTo>
                  <a:pt x="168" y="5"/>
                  <a:pt x="168" y="5"/>
                  <a:pt x="168" y="5"/>
                </a:cubicBezTo>
                <a:cubicBezTo>
                  <a:pt x="168" y="4"/>
                  <a:pt x="169" y="4"/>
                  <a:pt x="169" y="4"/>
                </a:cubicBezTo>
                <a:cubicBezTo>
                  <a:pt x="170" y="4"/>
                  <a:pt x="170" y="5"/>
                  <a:pt x="170" y="6"/>
                </a:cubicBezTo>
                <a:cubicBezTo>
                  <a:pt x="170" y="7"/>
                  <a:pt x="171" y="8"/>
                  <a:pt x="171" y="9"/>
                </a:cubicBezTo>
                <a:cubicBezTo>
                  <a:pt x="172" y="9"/>
                  <a:pt x="172" y="9"/>
                  <a:pt x="172" y="9"/>
                </a:cubicBezTo>
                <a:cubicBezTo>
                  <a:pt x="173" y="9"/>
                  <a:pt x="173" y="9"/>
                  <a:pt x="173" y="8"/>
                </a:cubicBezTo>
                <a:cubicBezTo>
                  <a:pt x="173" y="9"/>
                  <a:pt x="173" y="9"/>
                  <a:pt x="174" y="10"/>
                </a:cubicBezTo>
                <a:cubicBezTo>
                  <a:pt x="174" y="10"/>
                  <a:pt x="175" y="10"/>
                  <a:pt x="175" y="10"/>
                </a:cubicBezTo>
                <a:cubicBezTo>
                  <a:pt x="175" y="10"/>
                  <a:pt x="175" y="12"/>
                  <a:pt x="175" y="12"/>
                </a:cubicBezTo>
                <a:cubicBezTo>
                  <a:pt x="175" y="13"/>
                  <a:pt x="175" y="12"/>
                  <a:pt x="174" y="13"/>
                </a:cubicBezTo>
                <a:cubicBezTo>
                  <a:pt x="174" y="13"/>
                  <a:pt x="174" y="13"/>
                  <a:pt x="174" y="14"/>
                </a:cubicBezTo>
                <a:cubicBezTo>
                  <a:pt x="174" y="14"/>
                  <a:pt x="175" y="14"/>
                  <a:pt x="175" y="14"/>
                </a:cubicBezTo>
                <a:cubicBezTo>
                  <a:pt x="174" y="15"/>
                  <a:pt x="174" y="15"/>
                  <a:pt x="174" y="15"/>
                </a:cubicBezTo>
                <a:cubicBezTo>
                  <a:pt x="175" y="16"/>
                  <a:pt x="173" y="16"/>
                  <a:pt x="173" y="17"/>
                </a:cubicBezTo>
                <a:cubicBezTo>
                  <a:pt x="173" y="17"/>
                  <a:pt x="176" y="16"/>
                  <a:pt x="176" y="16"/>
                </a:cubicBezTo>
                <a:cubicBezTo>
                  <a:pt x="176" y="16"/>
                  <a:pt x="176" y="16"/>
                  <a:pt x="176" y="16"/>
                </a:cubicBezTo>
                <a:cubicBezTo>
                  <a:pt x="177" y="16"/>
                  <a:pt x="177" y="15"/>
                  <a:pt x="177" y="15"/>
                </a:cubicBezTo>
                <a:cubicBezTo>
                  <a:pt x="178" y="14"/>
                  <a:pt x="179" y="16"/>
                  <a:pt x="179" y="17"/>
                </a:cubicBezTo>
                <a:cubicBezTo>
                  <a:pt x="180" y="18"/>
                  <a:pt x="177" y="17"/>
                  <a:pt x="177" y="18"/>
                </a:cubicBezTo>
                <a:cubicBezTo>
                  <a:pt x="177" y="19"/>
                  <a:pt x="178" y="19"/>
                  <a:pt x="179" y="19"/>
                </a:cubicBezTo>
                <a:cubicBezTo>
                  <a:pt x="179" y="18"/>
                  <a:pt x="179" y="19"/>
                  <a:pt x="180" y="18"/>
                </a:cubicBezTo>
                <a:cubicBezTo>
                  <a:pt x="180" y="18"/>
                  <a:pt x="179" y="18"/>
                  <a:pt x="180" y="17"/>
                </a:cubicBezTo>
                <a:cubicBezTo>
                  <a:pt x="181" y="17"/>
                  <a:pt x="182" y="18"/>
                  <a:pt x="183" y="18"/>
                </a:cubicBezTo>
                <a:cubicBezTo>
                  <a:pt x="183" y="18"/>
                  <a:pt x="184" y="18"/>
                  <a:pt x="184" y="19"/>
                </a:cubicBezTo>
                <a:cubicBezTo>
                  <a:pt x="184" y="19"/>
                  <a:pt x="183" y="20"/>
                  <a:pt x="184" y="21"/>
                </a:cubicBezTo>
                <a:cubicBezTo>
                  <a:pt x="184" y="20"/>
                  <a:pt x="184" y="19"/>
                  <a:pt x="184" y="19"/>
                </a:cubicBezTo>
                <a:cubicBezTo>
                  <a:pt x="185" y="20"/>
                  <a:pt x="185" y="20"/>
                  <a:pt x="185" y="20"/>
                </a:cubicBezTo>
                <a:cubicBezTo>
                  <a:pt x="186" y="21"/>
                  <a:pt x="186" y="21"/>
                  <a:pt x="186" y="21"/>
                </a:cubicBezTo>
                <a:cubicBezTo>
                  <a:pt x="186" y="21"/>
                  <a:pt x="188" y="21"/>
                  <a:pt x="187" y="22"/>
                </a:cubicBezTo>
                <a:cubicBezTo>
                  <a:pt x="188" y="22"/>
                  <a:pt x="187" y="21"/>
                  <a:pt x="188" y="22"/>
                </a:cubicBezTo>
                <a:cubicBezTo>
                  <a:pt x="189" y="22"/>
                  <a:pt x="189" y="21"/>
                  <a:pt x="190" y="21"/>
                </a:cubicBezTo>
                <a:cubicBezTo>
                  <a:pt x="191" y="22"/>
                  <a:pt x="191" y="23"/>
                  <a:pt x="190" y="24"/>
                </a:cubicBezTo>
                <a:close/>
                <a:moveTo>
                  <a:pt x="45" y="61"/>
                </a:moveTo>
                <a:cubicBezTo>
                  <a:pt x="45" y="61"/>
                  <a:pt x="45" y="61"/>
                  <a:pt x="45" y="61"/>
                </a:cubicBezTo>
                <a:cubicBezTo>
                  <a:pt x="45" y="60"/>
                  <a:pt x="45" y="59"/>
                  <a:pt x="44" y="59"/>
                </a:cubicBezTo>
                <a:cubicBezTo>
                  <a:pt x="44" y="57"/>
                  <a:pt x="43" y="56"/>
                  <a:pt x="42" y="55"/>
                </a:cubicBezTo>
                <a:cubicBezTo>
                  <a:pt x="42" y="54"/>
                  <a:pt x="42" y="52"/>
                  <a:pt x="41" y="52"/>
                </a:cubicBezTo>
                <a:cubicBezTo>
                  <a:pt x="40" y="52"/>
                  <a:pt x="39" y="51"/>
                  <a:pt x="38" y="50"/>
                </a:cubicBezTo>
                <a:cubicBezTo>
                  <a:pt x="38" y="48"/>
                  <a:pt x="38" y="47"/>
                  <a:pt x="38" y="45"/>
                </a:cubicBezTo>
                <a:cubicBezTo>
                  <a:pt x="38" y="44"/>
                  <a:pt x="39" y="43"/>
                  <a:pt x="38" y="42"/>
                </a:cubicBezTo>
                <a:cubicBezTo>
                  <a:pt x="37" y="41"/>
                  <a:pt x="37" y="41"/>
                  <a:pt x="37" y="40"/>
                </a:cubicBezTo>
                <a:cubicBezTo>
                  <a:pt x="37" y="39"/>
                  <a:pt x="37" y="39"/>
                  <a:pt x="37" y="38"/>
                </a:cubicBezTo>
                <a:cubicBezTo>
                  <a:pt x="37" y="38"/>
                  <a:pt x="38" y="38"/>
                  <a:pt x="38" y="37"/>
                </a:cubicBezTo>
                <a:cubicBezTo>
                  <a:pt x="37" y="36"/>
                  <a:pt x="37" y="36"/>
                  <a:pt x="38" y="35"/>
                </a:cubicBezTo>
                <a:cubicBezTo>
                  <a:pt x="38" y="34"/>
                  <a:pt x="38" y="34"/>
                  <a:pt x="38" y="33"/>
                </a:cubicBezTo>
                <a:cubicBezTo>
                  <a:pt x="38" y="32"/>
                  <a:pt x="38" y="31"/>
                  <a:pt x="38" y="30"/>
                </a:cubicBezTo>
                <a:cubicBezTo>
                  <a:pt x="38" y="30"/>
                  <a:pt x="38" y="29"/>
                  <a:pt x="37" y="28"/>
                </a:cubicBezTo>
                <a:cubicBezTo>
                  <a:pt x="37" y="28"/>
                  <a:pt x="36" y="27"/>
                  <a:pt x="36" y="26"/>
                </a:cubicBezTo>
                <a:cubicBezTo>
                  <a:pt x="35" y="25"/>
                  <a:pt x="35" y="24"/>
                  <a:pt x="34" y="23"/>
                </a:cubicBezTo>
                <a:cubicBezTo>
                  <a:pt x="34" y="22"/>
                  <a:pt x="34" y="22"/>
                  <a:pt x="33" y="21"/>
                </a:cubicBezTo>
                <a:cubicBezTo>
                  <a:pt x="33" y="21"/>
                  <a:pt x="32" y="20"/>
                  <a:pt x="31" y="20"/>
                </a:cubicBezTo>
                <a:cubicBezTo>
                  <a:pt x="31" y="20"/>
                  <a:pt x="30" y="19"/>
                  <a:pt x="29" y="18"/>
                </a:cubicBezTo>
                <a:cubicBezTo>
                  <a:pt x="29" y="18"/>
                  <a:pt x="29" y="18"/>
                  <a:pt x="29" y="17"/>
                </a:cubicBezTo>
                <a:cubicBezTo>
                  <a:pt x="29" y="17"/>
                  <a:pt x="28" y="17"/>
                  <a:pt x="28" y="17"/>
                </a:cubicBezTo>
                <a:cubicBezTo>
                  <a:pt x="27" y="16"/>
                  <a:pt x="27" y="15"/>
                  <a:pt x="27" y="15"/>
                </a:cubicBezTo>
                <a:cubicBezTo>
                  <a:pt x="27" y="14"/>
                  <a:pt x="25" y="12"/>
                  <a:pt x="24" y="13"/>
                </a:cubicBezTo>
                <a:cubicBezTo>
                  <a:pt x="25" y="13"/>
                  <a:pt x="25" y="13"/>
                  <a:pt x="25" y="13"/>
                </a:cubicBezTo>
                <a:cubicBezTo>
                  <a:pt x="25" y="13"/>
                  <a:pt x="24" y="13"/>
                  <a:pt x="24" y="13"/>
                </a:cubicBezTo>
                <a:cubicBezTo>
                  <a:pt x="24" y="13"/>
                  <a:pt x="24" y="14"/>
                  <a:pt x="24" y="14"/>
                </a:cubicBezTo>
                <a:cubicBezTo>
                  <a:pt x="23" y="15"/>
                  <a:pt x="23" y="15"/>
                  <a:pt x="23" y="15"/>
                </a:cubicBezTo>
                <a:cubicBezTo>
                  <a:pt x="22" y="16"/>
                  <a:pt x="23" y="17"/>
                  <a:pt x="22" y="17"/>
                </a:cubicBezTo>
                <a:cubicBezTo>
                  <a:pt x="22" y="18"/>
                  <a:pt x="21" y="18"/>
                  <a:pt x="21" y="18"/>
                </a:cubicBezTo>
                <a:cubicBezTo>
                  <a:pt x="21" y="17"/>
                  <a:pt x="20" y="18"/>
                  <a:pt x="20" y="18"/>
                </a:cubicBezTo>
                <a:cubicBezTo>
                  <a:pt x="20" y="18"/>
                  <a:pt x="20" y="17"/>
                  <a:pt x="20" y="17"/>
                </a:cubicBezTo>
                <a:cubicBezTo>
                  <a:pt x="19" y="16"/>
                  <a:pt x="18" y="17"/>
                  <a:pt x="17" y="17"/>
                </a:cubicBezTo>
                <a:cubicBezTo>
                  <a:pt x="17" y="17"/>
                  <a:pt x="17" y="17"/>
                  <a:pt x="17" y="17"/>
                </a:cubicBezTo>
                <a:cubicBezTo>
                  <a:pt x="16" y="17"/>
                  <a:pt x="16" y="17"/>
                  <a:pt x="16" y="18"/>
                </a:cubicBezTo>
                <a:cubicBezTo>
                  <a:pt x="16" y="18"/>
                  <a:pt x="16" y="19"/>
                  <a:pt x="15" y="19"/>
                </a:cubicBezTo>
                <a:cubicBezTo>
                  <a:pt x="15" y="19"/>
                  <a:pt x="14" y="19"/>
                  <a:pt x="14" y="18"/>
                </a:cubicBezTo>
                <a:cubicBezTo>
                  <a:pt x="13" y="18"/>
                  <a:pt x="13" y="18"/>
                  <a:pt x="14" y="17"/>
                </a:cubicBezTo>
                <a:cubicBezTo>
                  <a:pt x="14" y="16"/>
                  <a:pt x="14" y="16"/>
                  <a:pt x="14" y="16"/>
                </a:cubicBezTo>
                <a:cubicBezTo>
                  <a:pt x="14" y="15"/>
                  <a:pt x="14" y="15"/>
                  <a:pt x="14" y="15"/>
                </a:cubicBezTo>
                <a:cubicBezTo>
                  <a:pt x="14" y="14"/>
                  <a:pt x="14" y="14"/>
                  <a:pt x="14" y="14"/>
                </a:cubicBezTo>
                <a:cubicBezTo>
                  <a:pt x="14" y="13"/>
                  <a:pt x="14" y="13"/>
                  <a:pt x="14" y="13"/>
                </a:cubicBezTo>
                <a:cubicBezTo>
                  <a:pt x="14" y="12"/>
                  <a:pt x="12" y="12"/>
                  <a:pt x="12" y="13"/>
                </a:cubicBezTo>
                <a:cubicBezTo>
                  <a:pt x="11" y="13"/>
                  <a:pt x="12" y="12"/>
                  <a:pt x="11" y="11"/>
                </a:cubicBezTo>
                <a:cubicBezTo>
                  <a:pt x="11" y="11"/>
                  <a:pt x="11" y="10"/>
                  <a:pt x="11" y="10"/>
                </a:cubicBezTo>
                <a:cubicBezTo>
                  <a:pt x="10" y="10"/>
                  <a:pt x="10" y="10"/>
                  <a:pt x="10" y="10"/>
                </a:cubicBezTo>
                <a:cubicBezTo>
                  <a:pt x="10" y="10"/>
                  <a:pt x="9" y="10"/>
                  <a:pt x="9" y="10"/>
                </a:cubicBezTo>
                <a:cubicBezTo>
                  <a:pt x="9" y="10"/>
                  <a:pt x="8" y="10"/>
                  <a:pt x="8" y="10"/>
                </a:cubicBezTo>
                <a:cubicBezTo>
                  <a:pt x="8" y="10"/>
                  <a:pt x="8" y="10"/>
                  <a:pt x="7" y="10"/>
                </a:cubicBezTo>
                <a:cubicBezTo>
                  <a:pt x="7" y="9"/>
                  <a:pt x="7" y="9"/>
                  <a:pt x="7" y="9"/>
                </a:cubicBezTo>
                <a:cubicBezTo>
                  <a:pt x="6" y="9"/>
                  <a:pt x="6" y="8"/>
                  <a:pt x="6" y="8"/>
                </a:cubicBezTo>
                <a:cubicBezTo>
                  <a:pt x="6" y="8"/>
                  <a:pt x="5" y="8"/>
                  <a:pt x="5" y="8"/>
                </a:cubicBezTo>
                <a:cubicBezTo>
                  <a:pt x="5" y="8"/>
                  <a:pt x="5" y="9"/>
                  <a:pt x="5" y="9"/>
                </a:cubicBezTo>
                <a:cubicBezTo>
                  <a:pt x="5" y="10"/>
                  <a:pt x="5" y="10"/>
                  <a:pt x="5" y="11"/>
                </a:cubicBezTo>
                <a:cubicBezTo>
                  <a:pt x="4" y="11"/>
                  <a:pt x="5" y="12"/>
                  <a:pt x="6" y="13"/>
                </a:cubicBezTo>
                <a:cubicBezTo>
                  <a:pt x="7" y="14"/>
                  <a:pt x="7" y="16"/>
                  <a:pt x="7" y="18"/>
                </a:cubicBezTo>
                <a:cubicBezTo>
                  <a:pt x="7" y="19"/>
                  <a:pt x="7" y="19"/>
                  <a:pt x="7" y="19"/>
                </a:cubicBezTo>
                <a:cubicBezTo>
                  <a:pt x="7" y="20"/>
                  <a:pt x="7" y="20"/>
                  <a:pt x="7" y="21"/>
                </a:cubicBezTo>
                <a:cubicBezTo>
                  <a:pt x="7" y="21"/>
                  <a:pt x="7" y="22"/>
                  <a:pt x="8" y="22"/>
                </a:cubicBezTo>
                <a:cubicBezTo>
                  <a:pt x="8" y="23"/>
                  <a:pt x="8" y="23"/>
                  <a:pt x="8" y="23"/>
                </a:cubicBezTo>
                <a:cubicBezTo>
                  <a:pt x="8" y="24"/>
                  <a:pt x="8" y="25"/>
                  <a:pt x="8" y="25"/>
                </a:cubicBezTo>
                <a:cubicBezTo>
                  <a:pt x="8" y="25"/>
                  <a:pt x="8" y="25"/>
                  <a:pt x="8" y="26"/>
                </a:cubicBezTo>
                <a:cubicBezTo>
                  <a:pt x="8" y="26"/>
                  <a:pt x="8" y="26"/>
                  <a:pt x="8" y="27"/>
                </a:cubicBezTo>
                <a:cubicBezTo>
                  <a:pt x="8" y="27"/>
                  <a:pt x="9" y="27"/>
                  <a:pt x="9" y="27"/>
                </a:cubicBezTo>
                <a:cubicBezTo>
                  <a:pt x="9" y="27"/>
                  <a:pt x="9" y="28"/>
                  <a:pt x="9" y="28"/>
                </a:cubicBezTo>
                <a:cubicBezTo>
                  <a:pt x="9" y="28"/>
                  <a:pt x="9" y="28"/>
                  <a:pt x="9" y="28"/>
                </a:cubicBezTo>
                <a:cubicBezTo>
                  <a:pt x="9" y="28"/>
                  <a:pt x="10" y="28"/>
                  <a:pt x="10" y="29"/>
                </a:cubicBezTo>
                <a:cubicBezTo>
                  <a:pt x="10" y="29"/>
                  <a:pt x="9" y="31"/>
                  <a:pt x="10" y="30"/>
                </a:cubicBezTo>
                <a:cubicBezTo>
                  <a:pt x="10" y="30"/>
                  <a:pt x="9" y="31"/>
                  <a:pt x="10" y="31"/>
                </a:cubicBezTo>
                <a:cubicBezTo>
                  <a:pt x="10" y="32"/>
                  <a:pt x="10" y="33"/>
                  <a:pt x="10" y="34"/>
                </a:cubicBezTo>
                <a:cubicBezTo>
                  <a:pt x="10" y="34"/>
                  <a:pt x="10" y="34"/>
                  <a:pt x="10" y="35"/>
                </a:cubicBezTo>
                <a:cubicBezTo>
                  <a:pt x="10" y="35"/>
                  <a:pt x="10" y="35"/>
                  <a:pt x="10" y="35"/>
                </a:cubicBezTo>
                <a:cubicBezTo>
                  <a:pt x="11" y="36"/>
                  <a:pt x="11" y="36"/>
                  <a:pt x="12" y="36"/>
                </a:cubicBezTo>
                <a:cubicBezTo>
                  <a:pt x="12" y="36"/>
                  <a:pt x="12" y="37"/>
                  <a:pt x="12" y="37"/>
                </a:cubicBezTo>
                <a:cubicBezTo>
                  <a:pt x="12" y="37"/>
                  <a:pt x="12" y="37"/>
                  <a:pt x="13" y="37"/>
                </a:cubicBezTo>
                <a:cubicBezTo>
                  <a:pt x="13" y="37"/>
                  <a:pt x="11" y="38"/>
                  <a:pt x="11" y="38"/>
                </a:cubicBezTo>
                <a:cubicBezTo>
                  <a:pt x="11" y="38"/>
                  <a:pt x="11" y="38"/>
                  <a:pt x="11" y="39"/>
                </a:cubicBezTo>
                <a:cubicBezTo>
                  <a:pt x="12" y="39"/>
                  <a:pt x="12" y="39"/>
                  <a:pt x="13" y="39"/>
                </a:cubicBezTo>
                <a:cubicBezTo>
                  <a:pt x="12" y="39"/>
                  <a:pt x="12" y="40"/>
                  <a:pt x="13" y="40"/>
                </a:cubicBezTo>
                <a:cubicBezTo>
                  <a:pt x="13" y="40"/>
                  <a:pt x="13" y="41"/>
                  <a:pt x="14" y="41"/>
                </a:cubicBezTo>
                <a:cubicBezTo>
                  <a:pt x="15" y="42"/>
                  <a:pt x="15" y="43"/>
                  <a:pt x="16" y="44"/>
                </a:cubicBezTo>
                <a:cubicBezTo>
                  <a:pt x="16" y="44"/>
                  <a:pt x="17" y="45"/>
                  <a:pt x="17" y="45"/>
                </a:cubicBezTo>
                <a:cubicBezTo>
                  <a:pt x="17" y="46"/>
                  <a:pt x="17" y="46"/>
                  <a:pt x="17" y="47"/>
                </a:cubicBezTo>
                <a:cubicBezTo>
                  <a:pt x="18" y="47"/>
                  <a:pt x="18" y="48"/>
                  <a:pt x="18" y="48"/>
                </a:cubicBezTo>
                <a:cubicBezTo>
                  <a:pt x="18" y="48"/>
                  <a:pt x="18" y="49"/>
                  <a:pt x="17" y="49"/>
                </a:cubicBezTo>
                <a:cubicBezTo>
                  <a:pt x="17" y="49"/>
                  <a:pt x="17" y="50"/>
                  <a:pt x="17" y="50"/>
                </a:cubicBezTo>
                <a:cubicBezTo>
                  <a:pt x="19" y="50"/>
                  <a:pt x="19" y="51"/>
                  <a:pt x="19" y="52"/>
                </a:cubicBezTo>
                <a:cubicBezTo>
                  <a:pt x="20" y="52"/>
                  <a:pt x="20" y="52"/>
                  <a:pt x="21" y="53"/>
                </a:cubicBezTo>
                <a:cubicBezTo>
                  <a:pt x="21" y="53"/>
                  <a:pt x="22" y="53"/>
                  <a:pt x="22" y="53"/>
                </a:cubicBezTo>
                <a:cubicBezTo>
                  <a:pt x="22" y="53"/>
                  <a:pt x="23" y="55"/>
                  <a:pt x="23" y="55"/>
                </a:cubicBezTo>
                <a:cubicBezTo>
                  <a:pt x="23" y="55"/>
                  <a:pt x="24" y="55"/>
                  <a:pt x="24" y="55"/>
                </a:cubicBezTo>
                <a:cubicBezTo>
                  <a:pt x="24" y="55"/>
                  <a:pt x="25" y="55"/>
                  <a:pt x="25" y="56"/>
                </a:cubicBezTo>
                <a:cubicBezTo>
                  <a:pt x="26" y="57"/>
                  <a:pt x="26" y="57"/>
                  <a:pt x="27" y="57"/>
                </a:cubicBezTo>
                <a:cubicBezTo>
                  <a:pt x="28" y="58"/>
                  <a:pt x="29" y="58"/>
                  <a:pt x="29" y="58"/>
                </a:cubicBezTo>
                <a:cubicBezTo>
                  <a:pt x="30" y="59"/>
                  <a:pt x="30" y="59"/>
                  <a:pt x="30" y="59"/>
                </a:cubicBezTo>
                <a:cubicBezTo>
                  <a:pt x="30" y="60"/>
                  <a:pt x="31" y="60"/>
                  <a:pt x="31" y="60"/>
                </a:cubicBezTo>
                <a:cubicBezTo>
                  <a:pt x="31" y="61"/>
                  <a:pt x="31" y="61"/>
                  <a:pt x="32" y="61"/>
                </a:cubicBezTo>
                <a:cubicBezTo>
                  <a:pt x="33" y="61"/>
                  <a:pt x="33" y="62"/>
                  <a:pt x="34" y="62"/>
                </a:cubicBezTo>
                <a:cubicBezTo>
                  <a:pt x="35" y="63"/>
                  <a:pt x="35" y="63"/>
                  <a:pt x="36" y="64"/>
                </a:cubicBezTo>
                <a:cubicBezTo>
                  <a:pt x="36" y="64"/>
                  <a:pt x="37" y="64"/>
                  <a:pt x="37" y="64"/>
                </a:cubicBezTo>
                <a:cubicBezTo>
                  <a:pt x="38" y="65"/>
                  <a:pt x="38" y="66"/>
                  <a:pt x="39" y="66"/>
                </a:cubicBezTo>
                <a:cubicBezTo>
                  <a:pt x="39" y="68"/>
                  <a:pt x="39" y="67"/>
                  <a:pt x="40" y="66"/>
                </a:cubicBezTo>
                <a:cubicBezTo>
                  <a:pt x="40" y="67"/>
                  <a:pt x="40" y="66"/>
                  <a:pt x="41" y="65"/>
                </a:cubicBezTo>
                <a:cubicBezTo>
                  <a:pt x="41" y="65"/>
                  <a:pt x="42" y="65"/>
                  <a:pt x="43" y="65"/>
                </a:cubicBezTo>
                <a:cubicBezTo>
                  <a:pt x="45" y="66"/>
                  <a:pt x="44" y="64"/>
                  <a:pt x="43" y="63"/>
                </a:cubicBezTo>
                <a:cubicBezTo>
                  <a:pt x="44" y="63"/>
                  <a:pt x="44" y="65"/>
                  <a:pt x="44" y="65"/>
                </a:cubicBezTo>
                <a:cubicBezTo>
                  <a:pt x="44" y="65"/>
                  <a:pt x="45" y="64"/>
                  <a:pt x="45" y="64"/>
                </a:cubicBezTo>
                <a:cubicBezTo>
                  <a:pt x="45" y="64"/>
                  <a:pt x="45" y="65"/>
                  <a:pt x="45" y="65"/>
                </a:cubicBezTo>
                <a:cubicBezTo>
                  <a:pt x="44" y="65"/>
                  <a:pt x="45" y="67"/>
                  <a:pt x="46" y="66"/>
                </a:cubicBezTo>
                <a:cubicBezTo>
                  <a:pt x="47" y="66"/>
                  <a:pt x="46" y="63"/>
                  <a:pt x="46" y="62"/>
                </a:cubicBezTo>
                <a:cubicBezTo>
                  <a:pt x="46" y="62"/>
                  <a:pt x="46" y="61"/>
                  <a:pt x="45" y="61"/>
                </a:cubicBezTo>
                <a:close/>
                <a:moveTo>
                  <a:pt x="2" y="14"/>
                </a:moveTo>
                <a:cubicBezTo>
                  <a:pt x="2" y="13"/>
                  <a:pt x="2" y="13"/>
                  <a:pt x="2" y="12"/>
                </a:cubicBezTo>
                <a:cubicBezTo>
                  <a:pt x="2" y="12"/>
                  <a:pt x="2" y="12"/>
                  <a:pt x="2" y="12"/>
                </a:cubicBezTo>
                <a:cubicBezTo>
                  <a:pt x="1" y="12"/>
                  <a:pt x="1" y="14"/>
                  <a:pt x="2" y="14"/>
                </a:cubicBezTo>
                <a:close/>
                <a:moveTo>
                  <a:pt x="45" y="50"/>
                </a:moveTo>
                <a:cubicBezTo>
                  <a:pt x="45" y="50"/>
                  <a:pt x="45" y="50"/>
                  <a:pt x="45" y="49"/>
                </a:cubicBezTo>
                <a:cubicBezTo>
                  <a:pt x="45" y="50"/>
                  <a:pt x="45" y="50"/>
                  <a:pt x="45" y="50"/>
                </a:cubicBezTo>
                <a:cubicBezTo>
                  <a:pt x="45" y="51"/>
                  <a:pt x="45" y="51"/>
                  <a:pt x="45" y="51"/>
                </a:cubicBezTo>
                <a:cubicBezTo>
                  <a:pt x="46" y="52"/>
                  <a:pt x="45" y="50"/>
                  <a:pt x="45" y="50"/>
                </a:cubicBezTo>
                <a:close/>
                <a:moveTo>
                  <a:pt x="1" y="11"/>
                </a:moveTo>
                <a:cubicBezTo>
                  <a:pt x="0" y="11"/>
                  <a:pt x="0" y="11"/>
                  <a:pt x="0" y="11"/>
                </a:cubicBezTo>
                <a:cubicBezTo>
                  <a:pt x="0" y="11"/>
                  <a:pt x="1" y="12"/>
                  <a:pt x="1" y="12"/>
                </a:cubicBezTo>
                <a:cubicBezTo>
                  <a:pt x="1" y="13"/>
                  <a:pt x="1" y="13"/>
                  <a:pt x="2" y="12"/>
                </a:cubicBezTo>
                <a:cubicBezTo>
                  <a:pt x="2" y="12"/>
                  <a:pt x="2" y="12"/>
                  <a:pt x="2" y="12"/>
                </a:cubicBezTo>
                <a:cubicBezTo>
                  <a:pt x="2" y="12"/>
                  <a:pt x="3" y="12"/>
                  <a:pt x="3" y="11"/>
                </a:cubicBezTo>
                <a:cubicBezTo>
                  <a:pt x="3" y="11"/>
                  <a:pt x="2" y="11"/>
                  <a:pt x="2" y="10"/>
                </a:cubicBezTo>
                <a:cubicBezTo>
                  <a:pt x="1" y="10"/>
                  <a:pt x="1" y="11"/>
                  <a:pt x="1" y="11"/>
                </a:cubicBezTo>
                <a:close/>
                <a:moveTo>
                  <a:pt x="185" y="32"/>
                </a:moveTo>
                <a:cubicBezTo>
                  <a:pt x="185" y="32"/>
                  <a:pt x="185" y="32"/>
                  <a:pt x="185" y="32"/>
                </a:cubicBezTo>
                <a:cubicBezTo>
                  <a:pt x="185" y="32"/>
                  <a:pt x="185" y="32"/>
                  <a:pt x="185" y="32"/>
                </a:cubicBezTo>
                <a:cubicBezTo>
                  <a:pt x="185" y="32"/>
                  <a:pt x="186" y="32"/>
                  <a:pt x="186" y="32"/>
                </a:cubicBezTo>
                <a:cubicBezTo>
                  <a:pt x="186" y="32"/>
                  <a:pt x="185" y="32"/>
                  <a:pt x="185" y="32"/>
                </a:cubicBezTo>
                <a:close/>
                <a:moveTo>
                  <a:pt x="152" y="22"/>
                </a:moveTo>
                <a:cubicBezTo>
                  <a:pt x="151" y="22"/>
                  <a:pt x="151" y="23"/>
                  <a:pt x="151" y="23"/>
                </a:cubicBezTo>
                <a:cubicBezTo>
                  <a:pt x="151" y="23"/>
                  <a:pt x="151" y="23"/>
                  <a:pt x="151" y="24"/>
                </a:cubicBezTo>
                <a:cubicBezTo>
                  <a:pt x="151" y="23"/>
                  <a:pt x="152" y="23"/>
                  <a:pt x="152" y="22"/>
                </a:cubicBezTo>
                <a:close/>
                <a:moveTo>
                  <a:pt x="170" y="2"/>
                </a:moveTo>
                <a:cubicBezTo>
                  <a:pt x="170" y="2"/>
                  <a:pt x="170" y="2"/>
                  <a:pt x="170" y="1"/>
                </a:cubicBezTo>
                <a:cubicBezTo>
                  <a:pt x="170" y="0"/>
                  <a:pt x="169" y="1"/>
                  <a:pt x="168" y="1"/>
                </a:cubicBezTo>
                <a:cubicBezTo>
                  <a:pt x="167" y="1"/>
                  <a:pt x="168" y="3"/>
                  <a:pt x="168" y="3"/>
                </a:cubicBezTo>
                <a:cubicBezTo>
                  <a:pt x="168" y="3"/>
                  <a:pt x="169" y="2"/>
                  <a:pt x="170" y="2"/>
                </a:cubicBezTo>
                <a:close/>
                <a:moveTo>
                  <a:pt x="176" y="34"/>
                </a:moveTo>
                <a:cubicBezTo>
                  <a:pt x="175" y="34"/>
                  <a:pt x="175" y="35"/>
                  <a:pt x="176" y="35"/>
                </a:cubicBezTo>
                <a:cubicBezTo>
                  <a:pt x="177" y="36"/>
                  <a:pt x="177" y="35"/>
                  <a:pt x="178" y="35"/>
                </a:cubicBezTo>
                <a:cubicBezTo>
                  <a:pt x="178" y="35"/>
                  <a:pt x="177" y="35"/>
                  <a:pt x="177" y="35"/>
                </a:cubicBezTo>
                <a:cubicBezTo>
                  <a:pt x="177" y="35"/>
                  <a:pt x="177" y="34"/>
                  <a:pt x="176" y="34"/>
                </a:cubicBezTo>
                <a:close/>
                <a:moveTo>
                  <a:pt x="173" y="7"/>
                </a:moveTo>
                <a:cubicBezTo>
                  <a:pt x="172" y="7"/>
                  <a:pt x="172" y="7"/>
                  <a:pt x="172" y="7"/>
                </a:cubicBezTo>
                <a:cubicBezTo>
                  <a:pt x="173" y="8"/>
                  <a:pt x="171" y="8"/>
                  <a:pt x="171" y="8"/>
                </a:cubicBezTo>
                <a:cubicBezTo>
                  <a:pt x="171" y="8"/>
                  <a:pt x="173" y="9"/>
                  <a:pt x="173" y="7"/>
                </a:cubicBezTo>
                <a:close/>
                <a:moveTo>
                  <a:pt x="182" y="30"/>
                </a:moveTo>
                <a:cubicBezTo>
                  <a:pt x="182" y="30"/>
                  <a:pt x="184" y="30"/>
                  <a:pt x="184" y="31"/>
                </a:cubicBezTo>
                <a:cubicBezTo>
                  <a:pt x="184" y="30"/>
                  <a:pt x="183" y="30"/>
                  <a:pt x="182" y="30"/>
                </a:cubicBezTo>
                <a:cubicBezTo>
                  <a:pt x="182" y="30"/>
                  <a:pt x="182" y="30"/>
                  <a:pt x="182" y="30"/>
                </a:cubicBezTo>
                <a:close/>
                <a:moveTo>
                  <a:pt x="6" y="21"/>
                </a:moveTo>
                <a:cubicBezTo>
                  <a:pt x="5" y="22"/>
                  <a:pt x="6" y="22"/>
                  <a:pt x="6" y="22"/>
                </a:cubicBezTo>
                <a:cubicBezTo>
                  <a:pt x="6" y="23"/>
                  <a:pt x="6" y="23"/>
                  <a:pt x="6" y="23"/>
                </a:cubicBezTo>
                <a:cubicBezTo>
                  <a:pt x="6" y="23"/>
                  <a:pt x="6" y="23"/>
                  <a:pt x="6" y="23"/>
                </a:cubicBezTo>
                <a:cubicBezTo>
                  <a:pt x="7" y="24"/>
                  <a:pt x="7" y="22"/>
                  <a:pt x="7" y="21"/>
                </a:cubicBezTo>
                <a:cubicBezTo>
                  <a:pt x="6" y="21"/>
                  <a:pt x="6" y="22"/>
                  <a:pt x="6" y="21"/>
                </a:cubicBezTo>
                <a:close/>
                <a:moveTo>
                  <a:pt x="115" y="55"/>
                </a:moveTo>
                <a:cubicBezTo>
                  <a:pt x="116" y="55"/>
                  <a:pt x="115" y="54"/>
                  <a:pt x="115" y="53"/>
                </a:cubicBezTo>
                <a:cubicBezTo>
                  <a:pt x="115" y="53"/>
                  <a:pt x="115" y="51"/>
                  <a:pt x="115" y="51"/>
                </a:cubicBezTo>
                <a:cubicBezTo>
                  <a:pt x="114" y="50"/>
                  <a:pt x="115" y="53"/>
                  <a:pt x="115" y="54"/>
                </a:cubicBezTo>
                <a:cubicBezTo>
                  <a:pt x="114" y="54"/>
                  <a:pt x="115" y="55"/>
                  <a:pt x="115" y="5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7" name="Malawi"/>
          <p:cNvSpPr>
            <a:spLocks noEditPoints="1"/>
          </p:cNvSpPr>
          <p:nvPr/>
        </p:nvSpPr>
        <p:spPr bwMode="auto">
          <a:xfrm>
            <a:off x="6933040" y="5035923"/>
            <a:ext cx="111996" cy="310989"/>
          </a:xfrm>
          <a:custGeom>
            <a:avLst/>
            <a:gdLst/>
            <a:ahLst/>
            <a:cxnLst>
              <a:cxn ang="0">
                <a:pos x="27" y="75"/>
              </a:cxn>
              <a:cxn ang="0">
                <a:pos x="26" y="75"/>
              </a:cxn>
              <a:cxn ang="0">
                <a:pos x="23" y="79"/>
              </a:cxn>
              <a:cxn ang="0">
                <a:pos x="24" y="85"/>
              </a:cxn>
              <a:cxn ang="0">
                <a:pos x="22" y="82"/>
              </a:cxn>
              <a:cxn ang="0">
                <a:pos x="18" y="78"/>
              </a:cxn>
              <a:cxn ang="0">
                <a:pos x="16" y="76"/>
              </a:cxn>
              <a:cxn ang="0">
                <a:pos x="16" y="69"/>
              </a:cxn>
              <a:cxn ang="0">
                <a:pos x="18" y="63"/>
              </a:cxn>
              <a:cxn ang="0">
                <a:pos x="17" y="58"/>
              </a:cxn>
              <a:cxn ang="0">
                <a:pos x="15" y="56"/>
              </a:cxn>
              <a:cxn ang="0">
                <a:pos x="10" y="56"/>
              </a:cxn>
              <a:cxn ang="0">
                <a:pos x="7" y="55"/>
              </a:cxn>
              <a:cxn ang="0">
                <a:pos x="5" y="51"/>
              </a:cxn>
              <a:cxn ang="0">
                <a:pos x="3" y="51"/>
              </a:cxn>
              <a:cxn ang="0">
                <a:pos x="0" y="47"/>
              </a:cxn>
              <a:cxn ang="0">
                <a:pos x="2" y="45"/>
              </a:cxn>
              <a:cxn ang="0">
                <a:pos x="3" y="39"/>
              </a:cxn>
              <a:cxn ang="0">
                <a:pos x="4" y="36"/>
              </a:cxn>
              <a:cxn ang="0">
                <a:pos x="8" y="33"/>
              </a:cxn>
              <a:cxn ang="0">
                <a:pos x="6" y="28"/>
              </a:cxn>
              <a:cxn ang="0">
                <a:pos x="6" y="23"/>
              </a:cxn>
              <a:cxn ang="0">
                <a:pos x="7" y="18"/>
              </a:cxn>
              <a:cxn ang="0">
                <a:pos x="7" y="16"/>
              </a:cxn>
              <a:cxn ang="0">
                <a:pos x="9" y="11"/>
              </a:cxn>
              <a:cxn ang="0">
                <a:pos x="7" y="6"/>
              </a:cxn>
              <a:cxn ang="0">
                <a:pos x="5" y="3"/>
              </a:cxn>
              <a:cxn ang="0">
                <a:pos x="3" y="1"/>
              </a:cxn>
              <a:cxn ang="0">
                <a:pos x="7" y="2"/>
              </a:cxn>
              <a:cxn ang="0">
                <a:pos x="11" y="3"/>
              </a:cxn>
              <a:cxn ang="0">
                <a:pos x="16" y="11"/>
              </a:cxn>
              <a:cxn ang="0">
                <a:pos x="15" y="13"/>
              </a:cxn>
              <a:cxn ang="0">
                <a:pos x="15" y="19"/>
              </a:cxn>
              <a:cxn ang="0">
                <a:pos x="16" y="26"/>
              </a:cxn>
              <a:cxn ang="0">
                <a:pos x="13" y="32"/>
              </a:cxn>
              <a:cxn ang="0">
                <a:pos x="15" y="36"/>
              </a:cxn>
              <a:cxn ang="0">
                <a:pos x="16" y="43"/>
              </a:cxn>
              <a:cxn ang="0">
                <a:pos x="17" y="46"/>
              </a:cxn>
              <a:cxn ang="0">
                <a:pos x="18" y="49"/>
              </a:cxn>
              <a:cxn ang="0">
                <a:pos x="19" y="54"/>
              </a:cxn>
              <a:cxn ang="0">
                <a:pos x="21" y="51"/>
              </a:cxn>
              <a:cxn ang="0">
                <a:pos x="23" y="54"/>
              </a:cxn>
              <a:cxn ang="0">
                <a:pos x="24" y="51"/>
              </a:cxn>
              <a:cxn ang="0">
                <a:pos x="21" y="46"/>
              </a:cxn>
              <a:cxn ang="0">
                <a:pos x="30" y="58"/>
              </a:cxn>
              <a:cxn ang="0">
                <a:pos x="30" y="61"/>
              </a:cxn>
              <a:cxn ang="0">
                <a:pos x="20" y="30"/>
              </a:cxn>
              <a:cxn ang="0">
                <a:pos x="19" y="30"/>
              </a:cxn>
            </a:cxnLst>
            <a:rect l="0" t="0" r="r" b="b"/>
            <a:pathLst>
              <a:path w="31" h="86">
                <a:moveTo>
                  <a:pt x="30" y="66"/>
                </a:moveTo>
                <a:cubicBezTo>
                  <a:pt x="30" y="68"/>
                  <a:pt x="30" y="70"/>
                  <a:pt x="29" y="72"/>
                </a:cubicBezTo>
                <a:cubicBezTo>
                  <a:pt x="29" y="73"/>
                  <a:pt x="29" y="74"/>
                  <a:pt x="27" y="75"/>
                </a:cubicBezTo>
                <a:cubicBezTo>
                  <a:pt x="27" y="75"/>
                  <a:pt x="27" y="75"/>
                  <a:pt x="27" y="75"/>
                </a:cubicBezTo>
                <a:cubicBezTo>
                  <a:pt x="27" y="75"/>
                  <a:pt x="26" y="75"/>
                  <a:pt x="26" y="75"/>
                </a:cubicBezTo>
                <a:cubicBezTo>
                  <a:pt x="26" y="75"/>
                  <a:pt x="26" y="75"/>
                  <a:pt x="26" y="75"/>
                </a:cubicBezTo>
                <a:cubicBezTo>
                  <a:pt x="26" y="75"/>
                  <a:pt x="25" y="75"/>
                  <a:pt x="25" y="75"/>
                </a:cubicBezTo>
                <a:cubicBezTo>
                  <a:pt x="24" y="76"/>
                  <a:pt x="24" y="77"/>
                  <a:pt x="24" y="78"/>
                </a:cubicBezTo>
                <a:cubicBezTo>
                  <a:pt x="23" y="79"/>
                  <a:pt x="22" y="79"/>
                  <a:pt x="23" y="79"/>
                </a:cubicBezTo>
                <a:cubicBezTo>
                  <a:pt x="23" y="80"/>
                  <a:pt x="24" y="80"/>
                  <a:pt x="24" y="81"/>
                </a:cubicBezTo>
                <a:cubicBezTo>
                  <a:pt x="24" y="82"/>
                  <a:pt x="24" y="82"/>
                  <a:pt x="24" y="83"/>
                </a:cubicBezTo>
                <a:cubicBezTo>
                  <a:pt x="24" y="84"/>
                  <a:pt x="24" y="84"/>
                  <a:pt x="24" y="85"/>
                </a:cubicBezTo>
                <a:cubicBezTo>
                  <a:pt x="24" y="85"/>
                  <a:pt x="24" y="86"/>
                  <a:pt x="23" y="86"/>
                </a:cubicBezTo>
                <a:cubicBezTo>
                  <a:pt x="23" y="85"/>
                  <a:pt x="22" y="86"/>
                  <a:pt x="22" y="85"/>
                </a:cubicBezTo>
                <a:cubicBezTo>
                  <a:pt x="21" y="84"/>
                  <a:pt x="23" y="84"/>
                  <a:pt x="22" y="82"/>
                </a:cubicBezTo>
                <a:cubicBezTo>
                  <a:pt x="22" y="82"/>
                  <a:pt x="22" y="82"/>
                  <a:pt x="21" y="82"/>
                </a:cubicBezTo>
                <a:cubicBezTo>
                  <a:pt x="21" y="82"/>
                  <a:pt x="20" y="81"/>
                  <a:pt x="20" y="80"/>
                </a:cubicBezTo>
                <a:cubicBezTo>
                  <a:pt x="19" y="80"/>
                  <a:pt x="19" y="79"/>
                  <a:pt x="18" y="78"/>
                </a:cubicBezTo>
                <a:cubicBezTo>
                  <a:pt x="18" y="78"/>
                  <a:pt x="18" y="78"/>
                  <a:pt x="17" y="77"/>
                </a:cubicBezTo>
                <a:cubicBezTo>
                  <a:pt x="17" y="77"/>
                  <a:pt x="17" y="77"/>
                  <a:pt x="17" y="76"/>
                </a:cubicBezTo>
                <a:cubicBezTo>
                  <a:pt x="16" y="76"/>
                  <a:pt x="16" y="76"/>
                  <a:pt x="16" y="76"/>
                </a:cubicBezTo>
                <a:cubicBezTo>
                  <a:pt x="16" y="75"/>
                  <a:pt x="16" y="74"/>
                  <a:pt x="16" y="74"/>
                </a:cubicBezTo>
                <a:cubicBezTo>
                  <a:pt x="15" y="73"/>
                  <a:pt x="13" y="72"/>
                  <a:pt x="15" y="71"/>
                </a:cubicBezTo>
                <a:cubicBezTo>
                  <a:pt x="15" y="70"/>
                  <a:pt x="16" y="70"/>
                  <a:pt x="16" y="69"/>
                </a:cubicBezTo>
                <a:cubicBezTo>
                  <a:pt x="16" y="69"/>
                  <a:pt x="16" y="68"/>
                  <a:pt x="16" y="67"/>
                </a:cubicBezTo>
                <a:cubicBezTo>
                  <a:pt x="17" y="67"/>
                  <a:pt x="17" y="66"/>
                  <a:pt x="17" y="66"/>
                </a:cubicBezTo>
                <a:cubicBezTo>
                  <a:pt x="18" y="65"/>
                  <a:pt x="17" y="64"/>
                  <a:pt x="18" y="63"/>
                </a:cubicBezTo>
                <a:cubicBezTo>
                  <a:pt x="18" y="63"/>
                  <a:pt x="18" y="62"/>
                  <a:pt x="18" y="61"/>
                </a:cubicBezTo>
                <a:cubicBezTo>
                  <a:pt x="18" y="61"/>
                  <a:pt x="18" y="60"/>
                  <a:pt x="18" y="60"/>
                </a:cubicBezTo>
                <a:cubicBezTo>
                  <a:pt x="18" y="59"/>
                  <a:pt x="17" y="59"/>
                  <a:pt x="17" y="58"/>
                </a:cubicBezTo>
                <a:cubicBezTo>
                  <a:pt x="17" y="58"/>
                  <a:pt x="17" y="58"/>
                  <a:pt x="17" y="57"/>
                </a:cubicBezTo>
                <a:cubicBezTo>
                  <a:pt x="17" y="57"/>
                  <a:pt x="16" y="56"/>
                  <a:pt x="16" y="55"/>
                </a:cubicBezTo>
                <a:cubicBezTo>
                  <a:pt x="16" y="55"/>
                  <a:pt x="15" y="56"/>
                  <a:pt x="15" y="56"/>
                </a:cubicBezTo>
                <a:cubicBezTo>
                  <a:pt x="14" y="56"/>
                  <a:pt x="13" y="56"/>
                  <a:pt x="13" y="56"/>
                </a:cubicBezTo>
                <a:cubicBezTo>
                  <a:pt x="12" y="57"/>
                  <a:pt x="12" y="56"/>
                  <a:pt x="11" y="57"/>
                </a:cubicBezTo>
                <a:cubicBezTo>
                  <a:pt x="10" y="57"/>
                  <a:pt x="10" y="56"/>
                  <a:pt x="10" y="56"/>
                </a:cubicBezTo>
                <a:cubicBezTo>
                  <a:pt x="9" y="57"/>
                  <a:pt x="9" y="57"/>
                  <a:pt x="9" y="57"/>
                </a:cubicBezTo>
                <a:cubicBezTo>
                  <a:pt x="9" y="58"/>
                  <a:pt x="8" y="57"/>
                  <a:pt x="8" y="57"/>
                </a:cubicBezTo>
                <a:cubicBezTo>
                  <a:pt x="8" y="56"/>
                  <a:pt x="8" y="56"/>
                  <a:pt x="7" y="55"/>
                </a:cubicBezTo>
                <a:cubicBezTo>
                  <a:pt x="7" y="55"/>
                  <a:pt x="7" y="54"/>
                  <a:pt x="6" y="53"/>
                </a:cubicBezTo>
                <a:cubicBezTo>
                  <a:pt x="6" y="53"/>
                  <a:pt x="6" y="52"/>
                  <a:pt x="6" y="52"/>
                </a:cubicBezTo>
                <a:cubicBezTo>
                  <a:pt x="5" y="52"/>
                  <a:pt x="5" y="51"/>
                  <a:pt x="5" y="51"/>
                </a:cubicBezTo>
                <a:cubicBezTo>
                  <a:pt x="5" y="51"/>
                  <a:pt x="5" y="51"/>
                  <a:pt x="4" y="50"/>
                </a:cubicBezTo>
                <a:cubicBezTo>
                  <a:pt x="4" y="50"/>
                  <a:pt x="3" y="51"/>
                  <a:pt x="3" y="51"/>
                </a:cubicBezTo>
                <a:cubicBezTo>
                  <a:pt x="3" y="52"/>
                  <a:pt x="3" y="52"/>
                  <a:pt x="3" y="51"/>
                </a:cubicBezTo>
                <a:cubicBezTo>
                  <a:pt x="2" y="50"/>
                  <a:pt x="2" y="50"/>
                  <a:pt x="2" y="49"/>
                </a:cubicBezTo>
                <a:cubicBezTo>
                  <a:pt x="2" y="49"/>
                  <a:pt x="1" y="49"/>
                  <a:pt x="1" y="48"/>
                </a:cubicBezTo>
                <a:cubicBezTo>
                  <a:pt x="2" y="47"/>
                  <a:pt x="0" y="47"/>
                  <a:pt x="0" y="47"/>
                </a:cubicBezTo>
                <a:cubicBezTo>
                  <a:pt x="0" y="46"/>
                  <a:pt x="1" y="46"/>
                  <a:pt x="1" y="46"/>
                </a:cubicBezTo>
                <a:cubicBezTo>
                  <a:pt x="1" y="46"/>
                  <a:pt x="1" y="46"/>
                  <a:pt x="1" y="46"/>
                </a:cubicBezTo>
                <a:cubicBezTo>
                  <a:pt x="1" y="45"/>
                  <a:pt x="2" y="45"/>
                  <a:pt x="2" y="45"/>
                </a:cubicBezTo>
                <a:cubicBezTo>
                  <a:pt x="2" y="44"/>
                  <a:pt x="2" y="43"/>
                  <a:pt x="3" y="43"/>
                </a:cubicBezTo>
                <a:cubicBezTo>
                  <a:pt x="3" y="42"/>
                  <a:pt x="3" y="42"/>
                  <a:pt x="3" y="41"/>
                </a:cubicBezTo>
                <a:cubicBezTo>
                  <a:pt x="3" y="41"/>
                  <a:pt x="3" y="40"/>
                  <a:pt x="3" y="39"/>
                </a:cubicBezTo>
                <a:cubicBezTo>
                  <a:pt x="4" y="38"/>
                  <a:pt x="2" y="38"/>
                  <a:pt x="3" y="37"/>
                </a:cubicBezTo>
                <a:cubicBezTo>
                  <a:pt x="3" y="37"/>
                  <a:pt x="3" y="36"/>
                  <a:pt x="4" y="36"/>
                </a:cubicBezTo>
                <a:cubicBezTo>
                  <a:pt x="4" y="35"/>
                  <a:pt x="4" y="36"/>
                  <a:pt x="4" y="36"/>
                </a:cubicBezTo>
                <a:cubicBezTo>
                  <a:pt x="5" y="35"/>
                  <a:pt x="5" y="36"/>
                  <a:pt x="5" y="36"/>
                </a:cubicBezTo>
                <a:cubicBezTo>
                  <a:pt x="6" y="35"/>
                  <a:pt x="6" y="35"/>
                  <a:pt x="6" y="35"/>
                </a:cubicBezTo>
                <a:cubicBezTo>
                  <a:pt x="7" y="35"/>
                  <a:pt x="8" y="33"/>
                  <a:pt x="8" y="33"/>
                </a:cubicBezTo>
                <a:cubicBezTo>
                  <a:pt x="8" y="32"/>
                  <a:pt x="7" y="33"/>
                  <a:pt x="7" y="32"/>
                </a:cubicBezTo>
                <a:cubicBezTo>
                  <a:pt x="6" y="32"/>
                  <a:pt x="6" y="31"/>
                  <a:pt x="6" y="30"/>
                </a:cubicBezTo>
                <a:cubicBezTo>
                  <a:pt x="6" y="30"/>
                  <a:pt x="6" y="29"/>
                  <a:pt x="6" y="28"/>
                </a:cubicBezTo>
                <a:cubicBezTo>
                  <a:pt x="6" y="28"/>
                  <a:pt x="7" y="25"/>
                  <a:pt x="6" y="25"/>
                </a:cubicBezTo>
                <a:cubicBezTo>
                  <a:pt x="5" y="24"/>
                  <a:pt x="6" y="24"/>
                  <a:pt x="6" y="23"/>
                </a:cubicBezTo>
                <a:cubicBezTo>
                  <a:pt x="6" y="23"/>
                  <a:pt x="6" y="23"/>
                  <a:pt x="6" y="23"/>
                </a:cubicBezTo>
                <a:cubicBezTo>
                  <a:pt x="6" y="23"/>
                  <a:pt x="6" y="23"/>
                  <a:pt x="6" y="22"/>
                </a:cubicBezTo>
                <a:cubicBezTo>
                  <a:pt x="6" y="22"/>
                  <a:pt x="7" y="21"/>
                  <a:pt x="7" y="20"/>
                </a:cubicBezTo>
                <a:cubicBezTo>
                  <a:pt x="8" y="20"/>
                  <a:pt x="7" y="19"/>
                  <a:pt x="7" y="18"/>
                </a:cubicBezTo>
                <a:cubicBezTo>
                  <a:pt x="7" y="18"/>
                  <a:pt x="7" y="18"/>
                  <a:pt x="6" y="17"/>
                </a:cubicBezTo>
                <a:cubicBezTo>
                  <a:pt x="6" y="17"/>
                  <a:pt x="6" y="17"/>
                  <a:pt x="6" y="17"/>
                </a:cubicBezTo>
                <a:cubicBezTo>
                  <a:pt x="6" y="17"/>
                  <a:pt x="7" y="16"/>
                  <a:pt x="7" y="16"/>
                </a:cubicBezTo>
                <a:cubicBezTo>
                  <a:pt x="8" y="16"/>
                  <a:pt x="8" y="16"/>
                  <a:pt x="9" y="15"/>
                </a:cubicBezTo>
                <a:cubicBezTo>
                  <a:pt x="9" y="15"/>
                  <a:pt x="9" y="14"/>
                  <a:pt x="10" y="14"/>
                </a:cubicBezTo>
                <a:cubicBezTo>
                  <a:pt x="11" y="13"/>
                  <a:pt x="9" y="12"/>
                  <a:pt x="9" y="11"/>
                </a:cubicBezTo>
                <a:cubicBezTo>
                  <a:pt x="9" y="10"/>
                  <a:pt x="9" y="10"/>
                  <a:pt x="9" y="9"/>
                </a:cubicBezTo>
                <a:cubicBezTo>
                  <a:pt x="8" y="9"/>
                  <a:pt x="8" y="9"/>
                  <a:pt x="8" y="8"/>
                </a:cubicBezTo>
                <a:cubicBezTo>
                  <a:pt x="6" y="7"/>
                  <a:pt x="8" y="7"/>
                  <a:pt x="7" y="6"/>
                </a:cubicBezTo>
                <a:cubicBezTo>
                  <a:pt x="7" y="5"/>
                  <a:pt x="6" y="5"/>
                  <a:pt x="6" y="4"/>
                </a:cubicBezTo>
                <a:cubicBezTo>
                  <a:pt x="6" y="4"/>
                  <a:pt x="6" y="3"/>
                  <a:pt x="6" y="3"/>
                </a:cubicBezTo>
                <a:cubicBezTo>
                  <a:pt x="5" y="3"/>
                  <a:pt x="5" y="3"/>
                  <a:pt x="5" y="3"/>
                </a:cubicBezTo>
                <a:cubicBezTo>
                  <a:pt x="5" y="4"/>
                  <a:pt x="4" y="3"/>
                  <a:pt x="4" y="3"/>
                </a:cubicBezTo>
                <a:cubicBezTo>
                  <a:pt x="4" y="3"/>
                  <a:pt x="4" y="2"/>
                  <a:pt x="4" y="2"/>
                </a:cubicBezTo>
                <a:cubicBezTo>
                  <a:pt x="4" y="2"/>
                  <a:pt x="4" y="1"/>
                  <a:pt x="3" y="1"/>
                </a:cubicBezTo>
                <a:cubicBezTo>
                  <a:pt x="3" y="1"/>
                  <a:pt x="3" y="1"/>
                  <a:pt x="3" y="1"/>
                </a:cubicBezTo>
                <a:cubicBezTo>
                  <a:pt x="4" y="0"/>
                  <a:pt x="5" y="2"/>
                  <a:pt x="6" y="2"/>
                </a:cubicBezTo>
                <a:cubicBezTo>
                  <a:pt x="6" y="2"/>
                  <a:pt x="7" y="1"/>
                  <a:pt x="7" y="2"/>
                </a:cubicBezTo>
                <a:cubicBezTo>
                  <a:pt x="8" y="2"/>
                  <a:pt x="8" y="3"/>
                  <a:pt x="8" y="3"/>
                </a:cubicBezTo>
                <a:cubicBezTo>
                  <a:pt x="9" y="3"/>
                  <a:pt x="9" y="3"/>
                  <a:pt x="9" y="3"/>
                </a:cubicBezTo>
                <a:cubicBezTo>
                  <a:pt x="10" y="3"/>
                  <a:pt x="10" y="3"/>
                  <a:pt x="11" y="3"/>
                </a:cubicBezTo>
                <a:cubicBezTo>
                  <a:pt x="11" y="2"/>
                  <a:pt x="13" y="3"/>
                  <a:pt x="13" y="4"/>
                </a:cubicBezTo>
                <a:cubicBezTo>
                  <a:pt x="13" y="6"/>
                  <a:pt x="13" y="8"/>
                  <a:pt x="15" y="10"/>
                </a:cubicBezTo>
                <a:cubicBezTo>
                  <a:pt x="15" y="10"/>
                  <a:pt x="16" y="11"/>
                  <a:pt x="16" y="11"/>
                </a:cubicBezTo>
                <a:cubicBezTo>
                  <a:pt x="16" y="11"/>
                  <a:pt x="16" y="12"/>
                  <a:pt x="16" y="12"/>
                </a:cubicBezTo>
                <a:cubicBezTo>
                  <a:pt x="16" y="12"/>
                  <a:pt x="16" y="12"/>
                  <a:pt x="15" y="12"/>
                </a:cubicBezTo>
                <a:cubicBezTo>
                  <a:pt x="15" y="13"/>
                  <a:pt x="15" y="13"/>
                  <a:pt x="15" y="13"/>
                </a:cubicBezTo>
                <a:cubicBezTo>
                  <a:pt x="15" y="13"/>
                  <a:pt x="15" y="13"/>
                  <a:pt x="15" y="14"/>
                </a:cubicBezTo>
                <a:cubicBezTo>
                  <a:pt x="15" y="14"/>
                  <a:pt x="15" y="15"/>
                  <a:pt x="15" y="15"/>
                </a:cubicBezTo>
                <a:cubicBezTo>
                  <a:pt x="15" y="17"/>
                  <a:pt x="16" y="18"/>
                  <a:pt x="15" y="19"/>
                </a:cubicBezTo>
                <a:cubicBezTo>
                  <a:pt x="15" y="20"/>
                  <a:pt x="15" y="20"/>
                  <a:pt x="15" y="21"/>
                </a:cubicBezTo>
                <a:cubicBezTo>
                  <a:pt x="16" y="22"/>
                  <a:pt x="16" y="22"/>
                  <a:pt x="16" y="23"/>
                </a:cubicBezTo>
                <a:cubicBezTo>
                  <a:pt x="16" y="24"/>
                  <a:pt x="17" y="25"/>
                  <a:pt x="16" y="26"/>
                </a:cubicBezTo>
                <a:cubicBezTo>
                  <a:pt x="15" y="27"/>
                  <a:pt x="15" y="27"/>
                  <a:pt x="15" y="27"/>
                </a:cubicBezTo>
                <a:cubicBezTo>
                  <a:pt x="15" y="28"/>
                  <a:pt x="15" y="28"/>
                  <a:pt x="14" y="29"/>
                </a:cubicBezTo>
                <a:cubicBezTo>
                  <a:pt x="13" y="29"/>
                  <a:pt x="13" y="31"/>
                  <a:pt x="13" y="32"/>
                </a:cubicBezTo>
                <a:cubicBezTo>
                  <a:pt x="13" y="32"/>
                  <a:pt x="13" y="33"/>
                  <a:pt x="14" y="33"/>
                </a:cubicBezTo>
                <a:cubicBezTo>
                  <a:pt x="14" y="33"/>
                  <a:pt x="15" y="34"/>
                  <a:pt x="15" y="35"/>
                </a:cubicBezTo>
                <a:cubicBezTo>
                  <a:pt x="15" y="35"/>
                  <a:pt x="14" y="35"/>
                  <a:pt x="15" y="36"/>
                </a:cubicBezTo>
                <a:cubicBezTo>
                  <a:pt x="15" y="36"/>
                  <a:pt x="15" y="37"/>
                  <a:pt x="15" y="37"/>
                </a:cubicBezTo>
                <a:cubicBezTo>
                  <a:pt x="15" y="38"/>
                  <a:pt x="16" y="39"/>
                  <a:pt x="16" y="39"/>
                </a:cubicBezTo>
                <a:cubicBezTo>
                  <a:pt x="16" y="40"/>
                  <a:pt x="16" y="41"/>
                  <a:pt x="16" y="43"/>
                </a:cubicBezTo>
                <a:cubicBezTo>
                  <a:pt x="16" y="43"/>
                  <a:pt x="16" y="43"/>
                  <a:pt x="16" y="44"/>
                </a:cubicBezTo>
                <a:cubicBezTo>
                  <a:pt x="16" y="44"/>
                  <a:pt x="16" y="45"/>
                  <a:pt x="16" y="45"/>
                </a:cubicBezTo>
                <a:cubicBezTo>
                  <a:pt x="16" y="46"/>
                  <a:pt x="16" y="46"/>
                  <a:pt x="17" y="46"/>
                </a:cubicBezTo>
                <a:cubicBezTo>
                  <a:pt x="17" y="47"/>
                  <a:pt x="17" y="46"/>
                  <a:pt x="18" y="46"/>
                </a:cubicBezTo>
                <a:cubicBezTo>
                  <a:pt x="18" y="47"/>
                  <a:pt x="18" y="47"/>
                  <a:pt x="18" y="48"/>
                </a:cubicBezTo>
                <a:cubicBezTo>
                  <a:pt x="19" y="48"/>
                  <a:pt x="18" y="49"/>
                  <a:pt x="18" y="49"/>
                </a:cubicBezTo>
                <a:cubicBezTo>
                  <a:pt x="18" y="50"/>
                  <a:pt x="17" y="51"/>
                  <a:pt x="18" y="52"/>
                </a:cubicBezTo>
                <a:cubicBezTo>
                  <a:pt x="18" y="52"/>
                  <a:pt x="18" y="52"/>
                  <a:pt x="18" y="53"/>
                </a:cubicBezTo>
                <a:cubicBezTo>
                  <a:pt x="18" y="53"/>
                  <a:pt x="19" y="53"/>
                  <a:pt x="19" y="54"/>
                </a:cubicBezTo>
                <a:cubicBezTo>
                  <a:pt x="19" y="55"/>
                  <a:pt x="20" y="54"/>
                  <a:pt x="20" y="53"/>
                </a:cubicBezTo>
                <a:cubicBezTo>
                  <a:pt x="20" y="53"/>
                  <a:pt x="21" y="52"/>
                  <a:pt x="21" y="52"/>
                </a:cubicBezTo>
                <a:cubicBezTo>
                  <a:pt x="21" y="52"/>
                  <a:pt x="20" y="51"/>
                  <a:pt x="21" y="51"/>
                </a:cubicBezTo>
                <a:cubicBezTo>
                  <a:pt x="21" y="51"/>
                  <a:pt x="21" y="53"/>
                  <a:pt x="22" y="53"/>
                </a:cubicBezTo>
                <a:cubicBezTo>
                  <a:pt x="22" y="53"/>
                  <a:pt x="22" y="53"/>
                  <a:pt x="23" y="53"/>
                </a:cubicBezTo>
                <a:cubicBezTo>
                  <a:pt x="23" y="53"/>
                  <a:pt x="23" y="54"/>
                  <a:pt x="23" y="54"/>
                </a:cubicBezTo>
                <a:cubicBezTo>
                  <a:pt x="23" y="54"/>
                  <a:pt x="24" y="56"/>
                  <a:pt x="25" y="55"/>
                </a:cubicBezTo>
                <a:cubicBezTo>
                  <a:pt x="25" y="55"/>
                  <a:pt x="24" y="54"/>
                  <a:pt x="24" y="54"/>
                </a:cubicBezTo>
                <a:cubicBezTo>
                  <a:pt x="24" y="53"/>
                  <a:pt x="24" y="52"/>
                  <a:pt x="24" y="51"/>
                </a:cubicBezTo>
                <a:cubicBezTo>
                  <a:pt x="23" y="50"/>
                  <a:pt x="23" y="48"/>
                  <a:pt x="23" y="48"/>
                </a:cubicBezTo>
                <a:cubicBezTo>
                  <a:pt x="22" y="48"/>
                  <a:pt x="22" y="48"/>
                  <a:pt x="21" y="48"/>
                </a:cubicBezTo>
                <a:cubicBezTo>
                  <a:pt x="20" y="48"/>
                  <a:pt x="21" y="46"/>
                  <a:pt x="21" y="46"/>
                </a:cubicBezTo>
                <a:cubicBezTo>
                  <a:pt x="22" y="46"/>
                  <a:pt x="23" y="48"/>
                  <a:pt x="24" y="49"/>
                </a:cubicBezTo>
                <a:cubicBezTo>
                  <a:pt x="25" y="50"/>
                  <a:pt x="26" y="52"/>
                  <a:pt x="27" y="53"/>
                </a:cubicBezTo>
                <a:cubicBezTo>
                  <a:pt x="28" y="55"/>
                  <a:pt x="29" y="56"/>
                  <a:pt x="30" y="58"/>
                </a:cubicBezTo>
                <a:cubicBezTo>
                  <a:pt x="30" y="58"/>
                  <a:pt x="30" y="59"/>
                  <a:pt x="30" y="59"/>
                </a:cubicBezTo>
                <a:cubicBezTo>
                  <a:pt x="30" y="60"/>
                  <a:pt x="30" y="60"/>
                  <a:pt x="30" y="60"/>
                </a:cubicBezTo>
                <a:cubicBezTo>
                  <a:pt x="30" y="61"/>
                  <a:pt x="31" y="61"/>
                  <a:pt x="30" y="61"/>
                </a:cubicBezTo>
                <a:cubicBezTo>
                  <a:pt x="30" y="62"/>
                  <a:pt x="30" y="63"/>
                  <a:pt x="30" y="64"/>
                </a:cubicBezTo>
                <a:cubicBezTo>
                  <a:pt x="29" y="64"/>
                  <a:pt x="30" y="65"/>
                  <a:pt x="30" y="66"/>
                </a:cubicBezTo>
                <a:close/>
                <a:moveTo>
                  <a:pt x="20" y="30"/>
                </a:moveTo>
                <a:cubicBezTo>
                  <a:pt x="21" y="30"/>
                  <a:pt x="20" y="29"/>
                  <a:pt x="20" y="29"/>
                </a:cubicBezTo>
                <a:cubicBezTo>
                  <a:pt x="20" y="30"/>
                  <a:pt x="19" y="31"/>
                  <a:pt x="20" y="30"/>
                </a:cubicBezTo>
                <a:close/>
                <a:moveTo>
                  <a:pt x="19" y="30"/>
                </a:moveTo>
                <a:cubicBezTo>
                  <a:pt x="20" y="29"/>
                  <a:pt x="19" y="29"/>
                  <a:pt x="19" y="29"/>
                </a:cubicBezTo>
                <a:cubicBezTo>
                  <a:pt x="18" y="29"/>
                  <a:pt x="19" y="30"/>
                  <a:pt x="19" y="3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8" name="Maldives"/>
          <p:cNvSpPr>
            <a:spLocks noEditPoints="1"/>
          </p:cNvSpPr>
          <p:nvPr/>
        </p:nvSpPr>
        <p:spPr bwMode="auto">
          <a:xfrm>
            <a:off x="8338987" y="4381948"/>
            <a:ext cx="42998" cy="310989"/>
          </a:xfrm>
          <a:custGeom>
            <a:avLst/>
            <a:gdLst/>
            <a:ahLst/>
            <a:cxnLst>
              <a:cxn ang="0">
                <a:pos x="4" y="5"/>
              </a:cxn>
              <a:cxn ang="0">
                <a:pos x="7" y="15"/>
              </a:cxn>
              <a:cxn ang="0">
                <a:pos x="3" y="8"/>
              </a:cxn>
              <a:cxn ang="0">
                <a:pos x="5" y="76"/>
              </a:cxn>
              <a:cxn ang="0">
                <a:pos x="2" y="1"/>
              </a:cxn>
              <a:cxn ang="0">
                <a:pos x="4" y="2"/>
              </a:cxn>
              <a:cxn ang="0">
                <a:pos x="7" y="13"/>
              </a:cxn>
              <a:cxn ang="0">
                <a:pos x="2" y="46"/>
              </a:cxn>
              <a:cxn ang="0">
                <a:pos x="8" y="48"/>
              </a:cxn>
              <a:cxn ang="0">
                <a:pos x="6" y="85"/>
              </a:cxn>
              <a:cxn ang="0">
                <a:pos x="3" y="14"/>
              </a:cxn>
              <a:cxn ang="0">
                <a:pos x="8" y="58"/>
              </a:cxn>
              <a:cxn ang="0">
                <a:pos x="8" y="32"/>
              </a:cxn>
              <a:cxn ang="0">
                <a:pos x="6" y="86"/>
              </a:cxn>
              <a:cxn ang="0">
                <a:pos x="8" y="59"/>
              </a:cxn>
              <a:cxn ang="0">
                <a:pos x="8" y="82"/>
              </a:cxn>
              <a:cxn ang="0">
                <a:pos x="3" y="44"/>
              </a:cxn>
              <a:cxn ang="0">
                <a:pos x="6" y="10"/>
              </a:cxn>
              <a:cxn ang="0">
                <a:pos x="5" y="69"/>
              </a:cxn>
              <a:cxn ang="0">
                <a:pos x="3" y="8"/>
              </a:cxn>
              <a:cxn ang="0">
                <a:pos x="5" y="11"/>
              </a:cxn>
              <a:cxn ang="0">
                <a:pos x="8" y="75"/>
              </a:cxn>
              <a:cxn ang="0">
                <a:pos x="7" y="48"/>
              </a:cxn>
              <a:cxn ang="0">
                <a:pos x="9" y="55"/>
              </a:cxn>
              <a:cxn ang="0">
                <a:pos x="7" y="56"/>
              </a:cxn>
              <a:cxn ang="0">
                <a:pos x="5" y="50"/>
              </a:cxn>
              <a:cxn ang="0">
                <a:pos x="7" y="56"/>
              </a:cxn>
              <a:cxn ang="0">
                <a:pos x="9" y="58"/>
              </a:cxn>
              <a:cxn ang="0">
                <a:pos x="9" y="20"/>
              </a:cxn>
              <a:cxn ang="0">
                <a:pos x="4" y="46"/>
              </a:cxn>
              <a:cxn ang="0">
                <a:pos x="2" y="4"/>
              </a:cxn>
              <a:cxn ang="0">
                <a:pos x="2" y="24"/>
              </a:cxn>
              <a:cxn ang="0">
                <a:pos x="7" y="29"/>
              </a:cxn>
              <a:cxn ang="0">
                <a:pos x="4" y="16"/>
              </a:cxn>
              <a:cxn ang="0">
                <a:pos x="2" y="17"/>
              </a:cxn>
              <a:cxn ang="0">
                <a:pos x="3" y="38"/>
              </a:cxn>
              <a:cxn ang="0">
                <a:pos x="8" y="40"/>
              </a:cxn>
              <a:cxn ang="0">
                <a:pos x="2" y="6"/>
              </a:cxn>
              <a:cxn ang="0">
                <a:pos x="8" y="18"/>
              </a:cxn>
              <a:cxn ang="0">
                <a:pos x="7" y="18"/>
              </a:cxn>
              <a:cxn ang="0">
                <a:pos x="8" y="36"/>
              </a:cxn>
              <a:cxn ang="0">
                <a:pos x="2" y="36"/>
              </a:cxn>
              <a:cxn ang="0">
                <a:pos x="4" y="21"/>
              </a:cxn>
              <a:cxn ang="0">
                <a:pos x="1" y="1"/>
              </a:cxn>
              <a:cxn ang="0">
                <a:pos x="8" y="15"/>
              </a:cxn>
              <a:cxn ang="0">
                <a:pos x="4" y="22"/>
              </a:cxn>
              <a:cxn ang="0">
                <a:pos x="7" y="24"/>
              </a:cxn>
              <a:cxn ang="0">
                <a:pos x="9" y="19"/>
              </a:cxn>
              <a:cxn ang="0">
                <a:pos x="2" y="3"/>
              </a:cxn>
              <a:cxn ang="0">
                <a:pos x="2" y="44"/>
              </a:cxn>
              <a:cxn ang="0">
                <a:pos x="8" y="46"/>
              </a:cxn>
              <a:cxn ang="0">
                <a:pos x="4" y="8"/>
              </a:cxn>
              <a:cxn ang="0">
                <a:pos x="6" y="69"/>
              </a:cxn>
              <a:cxn ang="0">
                <a:pos x="3" y="30"/>
              </a:cxn>
              <a:cxn ang="0">
                <a:pos x="9" y="31"/>
              </a:cxn>
              <a:cxn ang="0">
                <a:pos x="8" y="32"/>
              </a:cxn>
              <a:cxn ang="0">
                <a:pos x="7" y="53"/>
              </a:cxn>
              <a:cxn ang="0">
                <a:pos x="3" y="73"/>
              </a:cxn>
              <a:cxn ang="0">
                <a:pos x="3" y="42"/>
              </a:cxn>
              <a:cxn ang="0">
                <a:pos x="5" y="54"/>
              </a:cxn>
            </a:cxnLst>
            <a:rect l="0" t="0" r="r" b="b"/>
            <a:pathLst>
              <a:path w="12" h="86">
                <a:moveTo>
                  <a:pt x="4" y="4"/>
                </a:moveTo>
                <a:cubicBezTo>
                  <a:pt x="4" y="4"/>
                  <a:pt x="4" y="4"/>
                  <a:pt x="4" y="4"/>
                </a:cubicBezTo>
                <a:cubicBezTo>
                  <a:pt x="4" y="4"/>
                  <a:pt x="4" y="4"/>
                  <a:pt x="4" y="4"/>
                </a:cubicBezTo>
                <a:cubicBezTo>
                  <a:pt x="4" y="4"/>
                  <a:pt x="4" y="4"/>
                  <a:pt x="4" y="4"/>
                </a:cubicBezTo>
                <a:cubicBezTo>
                  <a:pt x="4" y="4"/>
                  <a:pt x="4" y="4"/>
                  <a:pt x="4" y="4"/>
                </a:cubicBezTo>
                <a:close/>
                <a:moveTo>
                  <a:pt x="4" y="5"/>
                </a:moveTo>
                <a:cubicBezTo>
                  <a:pt x="4" y="5"/>
                  <a:pt x="4" y="5"/>
                  <a:pt x="4" y="5"/>
                </a:cubicBezTo>
                <a:cubicBezTo>
                  <a:pt x="4" y="5"/>
                  <a:pt x="4" y="5"/>
                  <a:pt x="4" y="5"/>
                </a:cubicBezTo>
                <a:cubicBezTo>
                  <a:pt x="4" y="5"/>
                  <a:pt x="4" y="5"/>
                  <a:pt x="4" y="5"/>
                </a:cubicBezTo>
                <a:cubicBezTo>
                  <a:pt x="4" y="5"/>
                  <a:pt x="4" y="5"/>
                  <a:pt x="4" y="5"/>
                </a:cubicBezTo>
                <a:close/>
                <a:moveTo>
                  <a:pt x="3" y="25"/>
                </a:moveTo>
                <a:cubicBezTo>
                  <a:pt x="3" y="25"/>
                  <a:pt x="3" y="25"/>
                  <a:pt x="3" y="25"/>
                </a:cubicBezTo>
                <a:cubicBezTo>
                  <a:pt x="3" y="24"/>
                  <a:pt x="3" y="24"/>
                  <a:pt x="3" y="24"/>
                </a:cubicBezTo>
                <a:cubicBezTo>
                  <a:pt x="3" y="24"/>
                  <a:pt x="3" y="24"/>
                  <a:pt x="3" y="24"/>
                </a:cubicBezTo>
                <a:cubicBezTo>
                  <a:pt x="3" y="24"/>
                  <a:pt x="3" y="25"/>
                  <a:pt x="3" y="25"/>
                </a:cubicBezTo>
                <a:close/>
                <a:moveTo>
                  <a:pt x="7" y="15"/>
                </a:moveTo>
                <a:cubicBezTo>
                  <a:pt x="7" y="15"/>
                  <a:pt x="7" y="15"/>
                  <a:pt x="7" y="15"/>
                </a:cubicBezTo>
                <a:cubicBezTo>
                  <a:pt x="7" y="15"/>
                  <a:pt x="7" y="15"/>
                  <a:pt x="7" y="15"/>
                </a:cubicBezTo>
                <a:cubicBezTo>
                  <a:pt x="7" y="15"/>
                  <a:pt x="7" y="15"/>
                  <a:pt x="7" y="15"/>
                </a:cubicBezTo>
                <a:cubicBezTo>
                  <a:pt x="7" y="15"/>
                  <a:pt x="7" y="15"/>
                  <a:pt x="7" y="15"/>
                </a:cubicBezTo>
                <a:close/>
                <a:moveTo>
                  <a:pt x="3" y="39"/>
                </a:moveTo>
                <a:cubicBezTo>
                  <a:pt x="3" y="39"/>
                  <a:pt x="3" y="39"/>
                  <a:pt x="3" y="39"/>
                </a:cubicBezTo>
                <a:cubicBezTo>
                  <a:pt x="3" y="39"/>
                  <a:pt x="3" y="39"/>
                  <a:pt x="3" y="39"/>
                </a:cubicBezTo>
                <a:cubicBezTo>
                  <a:pt x="3" y="39"/>
                  <a:pt x="3" y="39"/>
                  <a:pt x="3" y="39"/>
                </a:cubicBezTo>
                <a:cubicBezTo>
                  <a:pt x="3" y="39"/>
                  <a:pt x="3" y="39"/>
                  <a:pt x="3" y="39"/>
                </a:cubicBezTo>
                <a:close/>
                <a:moveTo>
                  <a:pt x="3" y="8"/>
                </a:moveTo>
                <a:cubicBezTo>
                  <a:pt x="3" y="8"/>
                  <a:pt x="3" y="8"/>
                  <a:pt x="3" y="8"/>
                </a:cubicBezTo>
                <a:cubicBezTo>
                  <a:pt x="3" y="8"/>
                  <a:pt x="3" y="7"/>
                  <a:pt x="3" y="7"/>
                </a:cubicBezTo>
                <a:cubicBezTo>
                  <a:pt x="3" y="7"/>
                  <a:pt x="3" y="7"/>
                  <a:pt x="3" y="7"/>
                </a:cubicBezTo>
                <a:cubicBezTo>
                  <a:pt x="3" y="7"/>
                  <a:pt x="3" y="8"/>
                  <a:pt x="3" y="8"/>
                </a:cubicBezTo>
                <a:close/>
                <a:moveTo>
                  <a:pt x="9" y="19"/>
                </a:moveTo>
                <a:cubicBezTo>
                  <a:pt x="9" y="19"/>
                  <a:pt x="9" y="19"/>
                  <a:pt x="9" y="19"/>
                </a:cubicBezTo>
                <a:cubicBezTo>
                  <a:pt x="9" y="19"/>
                  <a:pt x="9" y="19"/>
                  <a:pt x="9" y="19"/>
                </a:cubicBezTo>
                <a:cubicBezTo>
                  <a:pt x="9" y="19"/>
                  <a:pt x="9" y="19"/>
                  <a:pt x="9" y="19"/>
                </a:cubicBezTo>
                <a:cubicBezTo>
                  <a:pt x="9" y="19"/>
                  <a:pt x="9" y="19"/>
                  <a:pt x="9" y="19"/>
                </a:cubicBezTo>
                <a:close/>
                <a:moveTo>
                  <a:pt x="5" y="76"/>
                </a:moveTo>
                <a:cubicBezTo>
                  <a:pt x="5" y="76"/>
                  <a:pt x="5" y="76"/>
                  <a:pt x="5" y="76"/>
                </a:cubicBezTo>
                <a:cubicBezTo>
                  <a:pt x="5" y="76"/>
                  <a:pt x="5" y="76"/>
                  <a:pt x="5" y="76"/>
                </a:cubicBezTo>
                <a:cubicBezTo>
                  <a:pt x="5" y="76"/>
                  <a:pt x="5" y="76"/>
                  <a:pt x="5" y="76"/>
                </a:cubicBezTo>
                <a:cubicBezTo>
                  <a:pt x="5" y="76"/>
                  <a:pt x="5" y="76"/>
                  <a:pt x="5" y="76"/>
                </a:cubicBezTo>
                <a:close/>
                <a:moveTo>
                  <a:pt x="1" y="37"/>
                </a:moveTo>
                <a:cubicBezTo>
                  <a:pt x="1" y="37"/>
                  <a:pt x="1" y="37"/>
                  <a:pt x="1" y="37"/>
                </a:cubicBezTo>
                <a:cubicBezTo>
                  <a:pt x="1" y="37"/>
                  <a:pt x="1" y="37"/>
                  <a:pt x="1" y="37"/>
                </a:cubicBezTo>
                <a:cubicBezTo>
                  <a:pt x="1" y="37"/>
                  <a:pt x="1" y="37"/>
                  <a:pt x="1" y="37"/>
                </a:cubicBezTo>
                <a:cubicBezTo>
                  <a:pt x="1" y="37"/>
                  <a:pt x="1" y="37"/>
                  <a:pt x="1" y="37"/>
                </a:cubicBezTo>
                <a:close/>
                <a:moveTo>
                  <a:pt x="2" y="1"/>
                </a:moveTo>
                <a:cubicBezTo>
                  <a:pt x="2" y="1"/>
                  <a:pt x="2" y="1"/>
                  <a:pt x="2" y="1"/>
                </a:cubicBezTo>
                <a:cubicBezTo>
                  <a:pt x="2" y="1"/>
                  <a:pt x="2" y="1"/>
                  <a:pt x="2" y="1"/>
                </a:cubicBezTo>
                <a:cubicBezTo>
                  <a:pt x="2" y="1"/>
                  <a:pt x="2" y="1"/>
                  <a:pt x="2" y="1"/>
                </a:cubicBezTo>
                <a:cubicBezTo>
                  <a:pt x="2" y="1"/>
                  <a:pt x="2" y="1"/>
                  <a:pt x="2" y="1"/>
                </a:cubicBezTo>
                <a:close/>
                <a:moveTo>
                  <a:pt x="7" y="14"/>
                </a:moveTo>
                <a:cubicBezTo>
                  <a:pt x="7" y="14"/>
                  <a:pt x="7" y="14"/>
                  <a:pt x="7" y="14"/>
                </a:cubicBezTo>
                <a:cubicBezTo>
                  <a:pt x="7" y="14"/>
                  <a:pt x="7" y="14"/>
                  <a:pt x="7" y="14"/>
                </a:cubicBezTo>
                <a:cubicBezTo>
                  <a:pt x="7" y="14"/>
                  <a:pt x="7" y="14"/>
                  <a:pt x="7" y="14"/>
                </a:cubicBezTo>
                <a:cubicBezTo>
                  <a:pt x="7" y="14"/>
                  <a:pt x="7" y="14"/>
                  <a:pt x="7" y="14"/>
                </a:cubicBezTo>
                <a:close/>
                <a:moveTo>
                  <a:pt x="4" y="2"/>
                </a:moveTo>
                <a:cubicBezTo>
                  <a:pt x="4" y="2"/>
                  <a:pt x="4" y="2"/>
                  <a:pt x="4" y="2"/>
                </a:cubicBezTo>
                <a:cubicBezTo>
                  <a:pt x="4" y="2"/>
                  <a:pt x="4" y="2"/>
                  <a:pt x="4" y="2"/>
                </a:cubicBezTo>
                <a:cubicBezTo>
                  <a:pt x="4" y="2"/>
                  <a:pt x="4" y="2"/>
                  <a:pt x="4" y="2"/>
                </a:cubicBezTo>
                <a:cubicBezTo>
                  <a:pt x="4" y="2"/>
                  <a:pt x="4" y="2"/>
                  <a:pt x="4" y="2"/>
                </a:cubicBezTo>
                <a:close/>
                <a:moveTo>
                  <a:pt x="5" y="3"/>
                </a:moveTo>
                <a:cubicBezTo>
                  <a:pt x="5" y="3"/>
                  <a:pt x="5" y="3"/>
                  <a:pt x="5" y="2"/>
                </a:cubicBezTo>
                <a:cubicBezTo>
                  <a:pt x="5" y="2"/>
                  <a:pt x="5" y="2"/>
                  <a:pt x="5" y="2"/>
                </a:cubicBezTo>
                <a:cubicBezTo>
                  <a:pt x="5" y="2"/>
                  <a:pt x="5" y="2"/>
                  <a:pt x="5" y="2"/>
                </a:cubicBezTo>
                <a:cubicBezTo>
                  <a:pt x="5" y="2"/>
                  <a:pt x="5" y="3"/>
                  <a:pt x="5" y="3"/>
                </a:cubicBezTo>
                <a:close/>
                <a:moveTo>
                  <a:pt x="7" y="13"/>
                </a:moveTo>
                <a:cubicBezTo>
                  <a:pt x="7" y="13"/>
                  <a:pt x="7" y="13"/>
                  <a:pt x="7" y="13"/>
                </a:cubicBezTo>
                <a:cubicBezTo>
                  <a:pt x="7" y="13"/>
                  <a:pt x="7" y="13"/>
                  <a:pt x="7" y="13"/>
                </a:cubicBezTo>
                <a:cubicBezTo>
                  <a:pt x="7" y="13"/>
                  <a:pt x="7" y="13"/>
                  <a:pt x="7" y="13"/>
                </a:cubicBezTo>
                <a:cubicBezTo>
                  <a:pt x="7" y="13"/>
                  <a:pt x="7" y="13"/>
                  <a:pt x="7" y="13"/>
                </a:cubicBezTo>
                <a:close/>
                <a:moveTo>
                  <a:pt x="2" y="13"/>
                </a:moveTo>
                <a:cubicBezTo>
                  <a:pt x="2" y="13"/>
                  <a:pt x="2" y="13"/>
                  <a:pt x="2" y="13"/>
                </a:cubicBezTo>
                <a:cubicBezTo>
                  <a:pt x="2" y="13"/>
                  <a:pt x="2" y="13"/>
                  <a:pt x="2" y="13"/>
                </a:cubicBezTo>
                <a:cubicBezTo>
                  <a:pt x="2" y="13"/>
                  <a:pt x="2" y="13"/>
                  <a:pt x="2" y="13"/>
                </a:cubicBezTo>
                <a:cubicBezTo>
                  <a:pt x="2" y="13"/>
                  <a:pt x="2" y="13"/>
                  <a:pt x="2" y="13"/>
                </a:cubicBezTo>
                <a:close/>
                <a:moveTo>
                  <a:pt x="2" y="46"/>
                </a:moveTo>
                <a:cubicBezTo>
                  <a:pt x="2" y="46"/>
                  <a:pt x="2" y="46"/>
                  <a:pt x="2" y="46"/>
                </a:cubicBezTo>
                <a:cubicBezTo>
                  <a:pt x="2" y="46"/>
                  <a:pt x="2" y="46"/>
                  <a:pt x="2" y="46"/>
                </a:cubicBezTo>
                <a:cubicBezTo>
                  <a:pt x="2" y="46"/>
                  <a:pt x="2" y="46"/>
                  <a:pt x="2" y="46"/>
                </a:cubicBezTo>
                <a:cubicBezTo>
                  <a:pt x="2" y="46"/>
                  <a:pt x="2" y="46"/>
                  <a:pt x="2" y="46"/>
                </a:cubicBezTo>
                <a:close/>
                <a:moveTo>
                  <a:pt x="3" y="15"/>
                </a:moveTo>
                <a:cubicBezTo>
                  <a:pt x="3" y="15"/>
                  <a:pt x="3" y="15"/>
                  <a:pt x="3" y="15"/>
                </a:cubicBezTo>
                <a:cubicBezTo>
                  <a:pt x="3" y="15"/>
                  <a:pt x="3" y="15"/>
                  <a:pt x="3" y="15"/>
                </a:cubicBezTo>
                <a:cubicBezTo>
                  <a:pt x="3" y="15"/>
                  <a:pt x="3" y="15"/>
                  <a:pt x="3" y="15"/>
                </a:cubicBezTo>
                <a:cubicBezTo>
                  <a:pt x="3" y="15"/>
                  <a:pt x="3" y="15"/>
                  <a:pt x="3" y="15"/>
                </a:cubicBezTo>
                <a:close/>
                <a:moveTo>
                  <a:pt x="8" y="48"/>
                </a:moveTo>
                <a:cubicBezTo>
                  <a:pt x="8" y="48"/>
                  <a:pt x="8" y="48"/>
                  <a:pt x="8" y="48"/>
                </a:cubicBezTo>
                <a:cubicBezTo>
                  <a:pt x="8" y="48"/>
                  <a:pt x="8" y="48"/>
                  <a:pt x="8" y="48"/>
                </a:cubicBezTo>
                <a:cubicBezTo>
                  <a:pt x="8" y="48"/>
                  <a:pt x="8" y="48"/>
                  <a:pt x="8" y="48"/>
                </a:cubicBezTo>
                <a:cubicBezTo>
                  <a:pt x="8" y="48"/>
                  <a:pt x="8" y="48"/>
                  <a:pt x="8" y="48"/>
                </a:cubicBezTo>
                <a:close/>
                <a:moveTo>
                  <a:pt x="5" y="85"/>
                </a:moveTo>
                <a:cubicBezTo>
                  <a:pt x="5" y="85"/>
                  <a:pt x="5" y="85"/>
                  <a:pt x="5" y="85"/>
                </a:cubicBezTo>
                <a:cubicBezTo>
                  <a:pt x="5" y="85"/>
                  <a:pt x="5" y="85"/>
                  <a:pt x="5" y="85"/>
                </a:cubicBezTo>
                <a:cubicBezTo>
                  <a:pt x="5" y="85"/>
                  <a:pt x="5" y="85"/>
                  <a:pt x="5" y="85"/>
                </a:cubicBezTo>
                <a:cubicBezTo>
                  <a:pt x="5" y="85"/>
                  <a:pt x="5" y="85"/>
                  <a:pt x="5" y="85"/>
                </a:cubicBezTo>
                <a:cubicBezTo>
                  <a:pt x="5" y="85"/>
                  <a:pt x="5" y="85"/>
                  <a:pt x="5" y="85"/>
                </a:cubicBezTo>
                <a:cubicBezTo>
                  <a:pt x="5" y="85"/>
                  <a:pt x="5" y="85"/>
                  <a:pt x="5" y="85"/>
                </a:cubicBezTo>
                <a:close/>
                <a:moveTo>
                  <a:pt x="6" y="85"/>
                </a:moveTo>
                <a:cubicBezTo>
                  <a:pt x="6" y="85"/>
                  <a:pt x="6" y="85"/>
                  <a:pt x="6" y="85"/>
                </a:cubicBezTo>
                <a:cubicBezTo>
                  <a:pt x="6" y="85"/>
                  <a:pt x="6" y="85"/>
                  <a:pt x="6" y="85"/>
                </a:cubicBezTo>
                <a:cubicBezTo>
                  <a:pt x="6" y="85"/>
                  <a:pt x="6" y="85"/>
                  <a:pt x="6" y="85"/>
                </a:cubicBezTo>
                <a:cubicBezTo>
                  <a:pt x="6" y="85"/>
                  <a:pt x="6" y="85"/>
                  <a:pt x="6" y="85"/>
                </a:cubicBezTo>
                <a:close/>
                <a:moveTo>
                  <a:pt x="5" y="9"/>
                </a:moveTo>
                <a:cubicBezTo>
                  <a:pt x="5" y="9"/>
                  <a:pt x="5" y="9"/>
                  <a:pt x="5" y="9"/>
                </a:cubicBezTo>
                <a:cubicBezTo>
                  <a:pt x="5" y="9"/>
                  <a:pt x="5" y="9"/>
                  <a:pt x="5" y="9"/>
                </a:cubicBezTo>
                <a:cubicBezTo>
                  <a:pt x="5" y="9"/>
                  <a:pt x="5" y="9"/>
                  <a:pt x="5" y="9"/>
                </a:cubicBezTo>
                <a:cubicBezTo>
                  <a:pt x="5" y="9"/>
                  <a:pt x="5" y="9"/>
                  <a:pt x="5" y="9"/>
                </a:cubicBezTo>
                <a:close/>
                <a:moveTo>
                  <a:pt x="3" y="14"/>
                </a:moveTo>
                <a:cubicBezTo>
                  <a:pt x="3" y="14"/>
                  <a:pt x="3" y="14"/>
                  <a:pt x="3" y="14"/>
                </a:cubicBezTo>
                <a:cubicBezTo>
                  <a:pt x="3" y="14"/>
                  <a:pt x="3" y="14"/>
                  <a:pt x="3" y="14"/>
                </a:cubicBezTo>
                <a:cubicBezTo>
                  <a:pt x="3" y="14"/>
                  <a:pt x="3" y="14"/>
                  <a:pt x="3" y="14"/>
                </a:cubicBezTo>
                <a:cubicBezTo>
                  <a:pt x="3" y="14"/>
                  <a:pt x="3" y="14"/>
                  <a:pt x="3" y="14"/>
                </a:cubicBezTo>
                <a:close/>
                <a:moveTo>
                  <a:pt x="9" y="58"/>
                </a:moveTo>
                <a:cubicBezTo>
                  <a:pt x="9" y="58"/>
                  <a:pt x="9" y="58"/>
                  <a:pt x="9" y="58"/>
                </a:cubicBezTo>
                <a:cubicBezTo>
                  <a:pt x="9" y="58"/>
                  <a:pt x="9" y="58"/>
                  <a:pt x="9" y="58"/>
                </a:cubicBezTo>
                <a:cubicBezTo>
                  <a:pt x="9" y="58"/>
                  <a:pt x="9" y="58"/>
                  <a:pt x="9" y="58"/>
                </a:cubicBezTo>
                <a:cubicBezTo>
                  <a:pt x="9" y="58"/>
                  <a:pt x="9" y="58"/>
                  <a:pt x="9" y="58"/>
                </a:cubicBezTo>
                <a:close/>
                <a:moveTo>
                  <a:pt x="8" y="58"/>
                </a:moveTo>
                <a:cubicBezTo>
                  <a:pt x="8" y="58"/>
                  <a:pt x="8" y="59"/>
                  <a:pt x="8" y="59"/>
                </a:cubicBezTo>
                <a:cubicBezTo>
                  <a:pt x="8" y="59"/>
                  <a:pt x="8" y="58"/>
                  <a:pt x="8" y="58"/>
                </a:cubicBezTo>
                <a:cubicBezTo>
                  <a:pt x="8" y="58"/>
                  <a:pt x="8" y="58"/>
                  <a:pt x="8" y="58"/>
                </a:cubicBezTo>
                <a:cubicBezTo>
                  <a:pt x="8" y="58"/>
                  <a:pt x="8" y="58"/>
                  <a:pt x="8" y="58"/>
                </a:cubicBezTo>
                <a:close/>
                <a:moveTo>
                  <a:pt x="7" y="52"/>
                </a:moveTo>
                <a:cubicBezTo>
                  <a:pt x="7" y="52"/>
                  <a:pt x="7" y="52"/>
                  <a:pt x="7" y="52"/>
                </a:cubicBezTo>
                <a:cubicBezTo>
                  <a:pt x="7" y="52"/>
                  <a:pt x="7" y="52"/>
                  <a:pt x="7" y="52"/>
                </a:cubicBezTo>
                <a:cubicBezTo>
                  <a:pt x="7" y="52"/>
                  <a:pt x="7" y="52"/>
                  <a:pt x="7" y="51"/>
                </a:cubicBezTo>
                <a:cubicBezTo>
                  <a:pt x="7" y="51"/>
                  <a:pt x="7" y="52"/>
                  <a:pt x="7" y="52"/>
                </a:cubicBezTo>
                <a:close/>
                <a:moveTo>
                  <a:pt x="8" y="32"/>
                </a:moveTo>
                <a:cubicBezTo>
                  <a:pt x="8" y="32"/>
                  <a:pt x="8" y="32"/>
                  <a:pt x="8" y="32"/>
                </a:cubicBezTo>
                <a:cubicBezTo>
                  <a:pt x="8" y="32"/>
                  <a:pt x="8" y="32"/>
                  <a:pt x="8" y="32"/>
                </a:cubicBezTo>
                <a:cubicBezTo>
                  <a:pt x="8" y="32"/>
                  <a:pt x="8" y="32"/>
                  <a:pt x="8" y="32"/>
                </a:cubicBezTo>
                <a:cubicBezTo>
                  <a:pt x="8" y="32"/>
                  <a:pt x="8" y="32"/>
                  <a:pt x="8" y="32"/>
                </a:cubicBezTo>
                <a:close/>
                <a:moveTo>
                  <a:pt x="6" y="85"/>
                </a:moveTo>
                <a:cubicBezTo>
                  <a:pt x="6" y="85"/>
                  <a:pt x="6" y="85"/>
                  <a:pt x="6" y="85"/>
                </a:cubicBezTo>
                <a:cubicBezTo>
                  <a:pt x="6" y="85"/>
                  <a:pt x="6" y="85"/>
                  <a:pt x="6" y="85"/>
                </a:cubicBezTo>
                <a:cubicBezTo>
                  <a:pt x="6" y="85"/>
                  <a:pt x="6" y="85"/>
                  <a:pt x="6" y="85"/>
                </a:cubicBezTo>
                <a:cubicBezTo>
                  <a:pt x="6" y="85"/>
                  <a:pt x="6" y="85"/>
                  <a:pt x="6" y="85"/>
                </a:cubicBezTo>
                <a:close/>
                <a:moveTo>
                  <a:pt x="6" y="86"/>
                </a:moveTo>
                <a:cubicBezTo>
                  <a:pt x="6" y="86"/>
                  <a:pt x="6" y="86"/>
                  <a:pt x="6" y="86"/>
                </a:cubicBezTo>
                <a:cubicBezTo>
                  <a:pt x="6" y="86"/>
                  <a:pt x="6" y="86"/>
                  <a:pt x="6" y="86"/>
                </a:cubicBezTo>
                <a:cubicBezTo>
                  <a:pt x="6" y="86"/>
                  <a:pt x="6" y="86"/>
                  <a:pt x="6" y="86"/>
                </a:cubicBezTo>
                <a:cubicBezTo>
                  <a:pt x="6" y="86"/>
                  <a:pt x="6" y="86"/>
                  <a:pt x="6" y="86"/>
                </a:cubicBezTo>
                <a:close/>
                <a:moveTo>
                  <a:pt x="6" y="86"/>
                </a:moveTo>
                <a:cubicBezTo>
                  <a:pt x="6" y="86"/>
                  <a:pt x="6" y="86"/>
                  <a:pt x="6" y="86"/>
                </a:cubicBezTo>
                <a:cubicBezTo>
                  <a:pt x="6" y="86"/>
                  <a:pt x="6" y="86"/>
                  <a:pt x="6" y="86"/>
                </a:cubicBezTo>
                <a:cubicBezTo>
                  <a:pt x="6" y="86"/>
                  <a:pt x="6" y="86"/>
                  <a:pt x="6" y="86"/>
                </a:cubicBezTo>
                <a:cubicBezTo>
                  <a:pt x="6" y="86"/>
                  <a:pt x="6" y="86"/>
                  <a:pt x="6" y="86"/>
                </a:cubicBezTo>
                <a:close/>
                <a:moveTo>
                  <a:pt x="7" y="59"/>
                </a:moveTo>
                <a:cubicBezTo>
                  <a:pt x="7" y="59"/>
                  <a:pt x="7" y="59"/>
                  <a:pt x="7" y="59"/>
                </a:cubicBezTo>
                <a:cubicBezTo>
                  <a:pt x="7" y="59"/>
                  <a:pt x="8" y="59"/>
                  <a:pt x="8" y="59"/>
                </a:cubicBezTo>
                <a:cubicBezTo>
                  <a:pt x="8" y="59"/>
                  <a:pt x="8" y="59"/>
                  <a:pt x="8" y="59"/>
                </a:cubicBezTo>
                <a:cubicBezTo>
                  <a:pt x="8" y="59"/>
                  <a:pt x="8" y="59"/>
                  <a:pt x="7" y="59"/>
                </a:cubicBezTo>
                <a:close/>
                <a:moveTo>
                  <a:pt x="8" y="33"/>
                </a:moveTo>
                <a:cubicBezTo>
                  <a:pt x="8" y="33"/>
                  <a:pt x="8" y="33"/>
                  <a:pt x="8" y="33"/>
                </a:cubicBezTo>
                <a:cubicBezTo>
                  <a:pt x="8" y="33"/>
                  <a:pt x="8" y="33"/>
                  <a:pt x="8" y="33"/>
                </a:cubicBezTo>
                <a:cubicBezTo>
                  <a:pt x="8" y="33"/>
                  <a:pt x="8" y="33"/>
                  <a:pt x="8" y="33"/>
                </a:cubicBezTo>
                <a:cubicBezTo>
                  <a:pt x="8" y="33"/>
                  <a:pt x="8" y="33"/>
                  <a:pt x="8" y="33"/>
                </a:cubicBezTo>
                <a:close/>
                <a:moveTo>
                  <a:pt x="8" y="81"/>
                </a:moveTo>
                <a:cubicBezTo>
                  <a:pt x="8" y="81"/>
                  <a:pt x="8" y="81"/>
                  <a:pt x="8" y="81"/>
                </a:cubicBezTo>
                <a:cubicBezTo>
                  <a:pt x="8" y="82"/>
                  <a:pt x="8" y="82"/>
                  <a:pt x="8" y="82"/>
                </a:cubicBezTo>
                <a:cubicBezTo>
                  <a:pt x="8" y="82"/>
                  <a:pt x="8" y="82"/>
                  <a:pt x="8" y="81"/>
                </a:cubicBezTo>
                <a:cubicBezTo>
                  <a:pt x="8" y="81"/>
                  <a:pt x="8" y="81"/>
                  <a:pt x="8" y="81"/>
                </a:cubicBezTo>
                <a:close/>
                <a:moveTo>
                  <a:pt x="9" y="56"/>
                </a:moveTo>
                <a:cubicBezTo>
                  <a:pt x="9" y="57"/>
                  <a:pt x="9" y="57"/>
                  <a:pt x="9" y="57"/>
                </a:cubicBezTo>
                <a:cubicBezTo>
                  <a:pt x="9" y="57"/>
                  <a:pt x="9" y="57"/>
                  <a:pt x="9" y="56"/>
                </a:cubicBezTo>
                <a:close/>
                <a:moveTo>
                  <a:pt x="4" y="43"/>
                </a:moveTo>
                <a:cubicBezTo>
                  <a:pt x="4" y="43"/>
                  <a:pt x="4" y="43"/>
                  <a:pt x="4" y="43"/>
                </a:cubicBezTo>
                <a:cubicBezTo>
                  <a:pt x="4" y="43"/>
                  <a:pt x="4" y="43"/>
                  <a:pt x="4" y="43"/>
                </a:cubicBezTo>
                <a:close/>
                <a:moveTo>
                  <a:pt x="3" y="44"/>
                </a:moveTo>
                <a:cubicBezTo>
                  <a:pt x="3" y="44"/>
                  <a:pt x="3" y="44"/>
                  <a:pt x="3" y="44"/>
                </a:cubicBezTo>
                <a:cubicBezTo>
                  <a:pt x="3" y="44"/>
                  <a:pt x="3" y="44"/>
                  <a:pt x="3" y="44"/>
                </a:cubicBezTo>
                <a:close/>
                <a:moveTo>
                  <a:pt x="5" y="10"/>
                </a:moveTo>
                <a:cubicBezTo>
                  <a:pt x="5" y="10"/>
                  <a:pt x="5" y="10"/>
                  <a:pt x="5" y="10"/>
                </a:cubicBezTo>
                <a:cubicBezTo>
                  <a:pt x="5" y="10"/>
                  <a:pt x="5" y="10"/>
                  <a:pt x="5" y="10"/>
                </a:cubicBezTo>
                <a:close/>
                <a:moveTo>
                  <a:pt x="3" y="10"/>
                </a:moveTo>
                <a:cubicBezTo>
                  <a:pt x="3" y="10"/>
                  <a:pt x="3" y="10"/>
                  <a:pt x="3" y="10"/>
                </a:cubicBezTo>
                <a:cubicBezTo>
                  <a:pt x="3" y="10"/>
                  <a:pt x="3" y="10"/>
                  <a:pt x="3" y="10"/>
                </a:cubicBezTo>
                <a:close/>
                <a:moveTo>
                  <a:pt x="6" y="10"/>
                </a:moveTo>
                <a:cubicBezTo>
                  <a:pt x="6" y="10"/>
                  <a:pt x="6" y="10"/>
                  <a:pt x="6" y="10"/>
                </a:cubicBezTo>
                <a:cubicBezTo>
                  <a:pt x="6" y="10"/>
                  <a:pt x="6" y="10"/>
                  <a:pt x="6" y="10"/>
                </a:cubicBezTo>
                <a:close/>
                <a:moveTo>
                  <a:pt x="5" y="10"/>
                </a:moveTo>
                <a:cubicBezTo>
                  <a:pt x="5" y="10"/>
                  <a:pt x="5" y="10"/>
                  <a:pt x="5" y="10"/>
                </a:cubicBezTo>
                <a:cubicBezTo>
                  <a:pt x="5" y="10"/>
                  <a:pt x="5" y="10"/>
                  <a:pt x="5" y="10"/>
                </a:cubicBezTo>
                <a:close/>
                <a:moveTo>
                  <a:pt x="6" y="11"/>
                </a:moveTo>
                <a:cubicBezTo>
                  <a:pt x="6" y="11"/>
                  <a:pt x="6" y="11"/>
                  <a:pt x="6" y="11"/>
                </a:cubicBezTo>
                <a:cubicBezTo>
                  <a:pt x="6" y="11"/>
                  <a:pt x="6" y="11"/>
                  <a:pt x="6" y="11"/>
                </a:cubicBezTo>
                <a:close/>
                <a:moveTo>
                  <a:pt x="8" y="69"/>
                </a:moveTo>
                <a:cubicBezTo>
                  <a:pt x="8" y="69"/>
                  <a:pt x="8" y="69"/>
                  <a:pt x="8" y="69"/>
                </a:cubicBezTo>
                <a:cubicBezTo>
                  <a:pt x="8" y="69"/>
                  <a:pt x="8" y="69"/>
                  <a:pt x="8" y="69"/>
                </a:cubicBezTo>
                <a:close/>
                <a:moveTo>
                  <a:pt x="5" y="69"/>
                </a:moveTo>
                <a:cubicBezTo>
                  <a:pt x="5" y="69"/>
                  <a:pt x="5" y="69"/>
                  <a:pt x="5" y="69"/>
                </a:cubicBezTo>
                <a:cubicBezTo>
                  <a:pt x="5" y="69"/>
                  <a:pt x="5" y="69"/>
                  <a:pt x="5" y="69"/>
                </a:cubicBezTo>
                <a:close/>
                <a:moveTo>
                  <a:pt x="6" y="76"/>
                </a:moveTo>
                <a:cubicBezTo>
                  <a:pt x="6" y="76"/>
                  <a:pt x="6" y="76"/>
                  <a:pt x="6" y="76"/>
                </a:cubicBezTo>
                <a:cubicBezTo>
                  <a:pt x="6" y="76"/>
                  <a:pt x="6" y="76"/>
                  <a:pt x="6" y="76"/>
                </a:cubicBezTo>
                <a:close/>
                <a:moveTo>
                  <a:pt x="0" y="8"/>
                </a:moveTo>
                <a:cubicBezTo>
                  <a:pt x="0" y="8"/>
                  <a:pt x="0" y="8"/>
                  <a:pt x="0" y="8"/>
                </a:cubicBezTo>
                <a:cubicBezTo>
                  <a:pt x="0" y="8"/>
                  <a:pt x="0" y="8"/>
                  <a:pt x="0" y="8"/>
                </a:cubicBezTo>
                <a:cubicBezTo>
                  <a:pt x="0" y="8"/>
                  <a:pt x="0" y="8"/>
                  <a:pt x="0" y="8"/>
                </a:cubicBezTo>
                <a:close/>
                <a:moveTo>
                  <a:pt x="3" y="8"/>
                </a:moveTo>
                <a:cubicBezTo>
                  <a:pt x="3" y="8"/>
                  <a:pt x="3" y="8"/>
                  <a:pt x="3" y="8"/>
                </a:cubicBezTo>
                <a:cubicBezTo>
                  <a:pt x="3" y="8"/>
                  <a:pt x="3" y="8"/>
                  <a:pt x="3" y="8"/>
                </a:cubicBezTo>
                <a:close/>
                <a:moveTo>
                  <a:pt x="2" y="9"/>
                </a:moveTo>
                <a:cubicBezTo>
                  <a:pt x="2" y="9"/>
                  <a:pt x="2" y="9"/>
                  <a:pt x="2" y="9"/>
                </a:cubicBezTo>
                <a:cubicBezTo>
                  <a:pt x="2" y="9"/>
                  <a:pt x="2" y="9"/>
                  <a:pt x="2" y="9"/>
                </a:cubicBezTo>
                <a:close/>
                <a:moveTo>
                  <a:pt x="5" y="11"/>
                </a:moveTo>
                <a:cubicBezTo>
                  <a:pt x="5" y="11"/>
                  <a:pt x="5" y="11"/>
                  <a:pt x="5" y="11"/>
                </a:cubicBezTo>
                <a:cubicBezTo>
                  <a:pt x="5" y="11"/>
                  <a:pt x="5" y="11"/>
                  <a:pt x="5" y="11"/>
                </a:cubicBezTo>
                <a:close/>
                <a:moveTo>
                  <a:pt x="5" y="11"/>
                </a:moveTo>
                <a:cubicBezTo>
                  <a:pt x="5" y="11"/>
                  <a:pt x="5" y="11"/>
                  <a:pt x="5" y="11"/>
                </a:cubicBezTo>
                <a:cubicBezTo>
                  <a:pt x="5" y="11"/>
                  <a:pt x="5" y="11"/>
                  <a:pt x="5" y="11"/>
                </a:cubicBezTo>
                <a:close/>
                <a:moveTo>
                  <a:pt x="2" y="13"/>
                </a:moveTo>
                <a:cubicBezTo>
                  <a:pt x="2" y="13"/>
                  <a:pt x="2" y="13"/>
                  <a:pt x="2" y="13"/>
                </a:cubicBezTo>
                <a:cubicBezTo>
                  <a:pt x="2" y="13"/>
                  <a:pt x="2" y="13"/>
                  <a:pt x="2" y="13"/>
                </a:cubicBezTo>
                <a:close/>
                <a:moveTo>
                  <a:pt x="4" y="75"/>
                </a:moveTo>
                <a:cubicBezTo>
                  <a:pt x="4" y="75"/>
                  <a:pt x="4" y="75"/>
                  <a:pt x="4" y="75"/>
                </a:cubicBezTo>
                <a:cubicBezTo>
                  <a:pt x="4" y="75"/>
                  <a:pt x="4" y="75"/>
                  <a:pt x="4" y="75"/>
                </a:cubicBezTo>
                <a:close/>
                <a:moveTo>
                  <a:pt x="8" y="75"/>
                </a:moveTo>
                <a:cubicBezTo>
                  <a:pt x="8" y="75"/>
                  <a:pt x="8" y="75"/>
                  <a:pt x="8" y="75"/>
                </a:cubicBezTo>
                <a:cubicBezTo>
                  <a:pt x="8" y="75"/>
                  <a:pt x="8" y="75"/>
                  <a:pt x="8" y="75"/>
                </a:cubicBezTo>
                <a:cubicBezTo>
                  <a:pt x="8" y="75"/>
                  <a:pt x="8" y="75"/>
                  <a:pt x="8" y="75"/>
                </a:cubicBezTo>
                <a:cubicBezTo>
                  <a:pt x="8" y="75"/>
                  <a:pt x="8" y="75"/>
                  <a:pt x="8" y="75"/>
                </a:cubicBezTo>
                <a:close/>
                <a:moveTo>
                  <a:pt x="5" y="75"/>
                </a:moveTo>
                <a:cubicBezTo>
                  <a:pt x="5" y="75"/>
                  <a:pt x="5" y="75"/>
                  <a:pt x="5" y="75"/>
                </a:cubicBezTo>
                <a:cubicBezTo>
                  <a:pt x="5" y="75"/>
                  <a:pt x="5" y="75"/>
                  <a:pt x="5" y="75"/>
                </a:cubicBezTo>
                <a:close/>
                <a:moveTo>
                  <a:pt x="4" y="9"/>
                </a:moveTo>
                <a:cubicBezTo>
                  <a:pt x="4" y="9"/>
                  <a:pt x="4" y="9"/>
                  <a:pt x="4" y="9"/>
                </a:cubicBezTo>
                <a:cubicBezTo>
                  <a:pt x="4" y="9"/>
                  <a:pt x="4" y="9"/>
                  <a:pt x="4" y="9"/>
                </a:cubicBezTo>
                <a:close/>
                <a:moveTo>
                  <a:pt x="7" y="48"/>
                </a:moveTo>
                <a:cubicBezTo>
                  <a:pt x="7" y="48"/>
                  <a:pt x="7" y="48"/>
                  <a:pt x="7" y="48"/>
                </a:cubicBezTo>
                <a:cubicBezTo>
                  <a:pt x="7" y="48"/>
                  <a:pt x="7" y="48"/>
                  <a:pt x="7" y="48"/>
                </a:cubicBezTo>
                <a:close/>
                <a:moveTo>
                  <a:pt x="4" y="48"/>
                </a:moveTo>
                <a:cubicBezTo>
                  <a:pt x="4" y="48"/>
                  <a:pt x="4" y="48"/>
                  <a:pt x="4" y="48"/>
                </a:cubicBezTo>
                <a:cubicBezTo>
                  <a:pt x="4" y="48"/>
                  <a:pt x="4" y="48"/>
                  <a:pt x="4" y="48"/>
                </a:cubicBezTo>
                <a:close/>
                <a:moveTo>
                  <a:pt x="4" y="54"/>
                </a:moveTo>
                <a:cubicBezTo>
                  <a:pt x="4" y="54"/>
                  <a:pt x="4" y="54"/>
                  <a:pt x="4" y="54"/>
                </a:cubicBezTo>
                <a:cubicBezTo>
                  <a:pt x="4" y="54"/>
                  <a:pt x="4" y="54"/>
                  <a:pt x="4" y="54"/>
                </a:cubicBezTo>
                <a:close/>
                <a:moveTo>
                  <a:pt x="9" y="55"/>
                </a:moveTo>
                <a:cubicBezTo>
                  <a:pt x="9" y="55"/>
                  <a:pt x="9" y="55"/>
                  <a:pt x="9" y="55"/>
                </a:cubicBezTo>
                <a:cubicBezTo>
                  <a:pt x="9" y="55"/>
                  <a:pt x="9" y="55"/>
                  <a:pt x="9" y="55"/>
                </a:cubicBezTo>
                <a:cubicBezTo>
                  <a:pt x="9" y="55"/>
                  <a:pt x="9" y="55"/>
                  <a:pt x="9" y="55"/>
                </a:cubicBezTo>
                <a:cubicBezTo>
                  <a:pt x="9" y="55"/>
                  <a:pt x="10" y="55"/>
                  <a:pt x="10" y="55"/>
                </a:cubicBezTo>
                <a:cubicBezTo>
                  <a:pt x="10" y="55"/>
                  <a:pt x="10" y="55"/>
                  <a:pt x="9" y="55"/>
                </a:cubicBezTo>
                <a:cubicBezTo>
                  <a:pt x="9" y="55"/>
                  <a:pt x="9" y="55"/>
                  <a:pt x="9" y="55"/>
                </a:cubicBezTo>
                <a:close/>
                <a:moveTo>
                  <a:pt x="9" y="55"/>
                </a:moveTo>
                <a:cubicBezTo>
                  <a:pt x="9" y="55"/>
                  <a:pt x="9" y="55"/>
                  <a:pt x="9" y="55"/>
                </a:cubicBezTo>
                <a:cubicBezTo>
                  <a:pt x="9" y="55"/>
                  <a:pt x="9" y="55"/>
                  <a:pt x="9" y="55"/>
                </a:cubicBezTo>
                <a:close/>
                <a:moveTo>
                  <a:pt x="7" y="56"/>
                </a:moveTo>
                <a:cubicBezTo>
                  <a:pt x="7" y="56"/>
                  <a:pt x="7" y="56"/>
                  <a:pt x="7" y="56"/>
                </a:cubicBezTo>
                <a:cubicBezTo>
                  <a:pt x="7" y="56"/>
                  <a:pt x="7" y="56"/>
                  <a:pt x="7" y="56"/>
                </a:cubicBezTo>
                <a:close/>
                <a:moveTo>
                  <a:pt x="2" y="49"/>
                </a:moveTo>
                <a:cubicBezTo>
                  <a:pt x="2" y="49"/>
                  <a:pt x="2" y="49"/>
                  <a:pt x="3" y="49"/>
                </a:cubicBezTo>
                <a:cubicBezTo>
                  <a:pt x="3" y="49"/>
                  <a:pt x="3" y="49"/>
                  <a:pt x="3" y="49"/>
                </a:cubicBezTo>
                <a:cubicBezTo>
                  <a:pt x="3" y="49"/>
                  <a:pt x="3" y="49"/>
                  <a:pt x="3" y="49"/>
                </a:cubicBezTo>
                <a:cubicBezTo>
                  <a:pt x="3" y="49"/>
                  <a:pt x="3" y="49"/>
                  <a:pt x="2" y="49"/>
                </a:cubicBezTo>
                <a:close/>
                <a:moveTo>
                  <a:pt x="3" y="49"/>
                </a:moveTo>
                <a:cubicBezTo>
                  <a:pt x="3" y="49"/>
                  <a:pt x="3" y="49"/>
                  <a:pt x="3" y="49"/>
                </a:cubicBezTo>
                <a:cubicBezTo>
                  <a:pt x="3" y="49"/>
                  <a:pt x="3" y="49"/>
                  <a:pt x="3" y="49"/>
                </a:cubicBezTo>
                <a:close/>
                <a:moveTo>
                  <a:pt x="5" y="50"/>
                </a:moveTo>
                <a:cubicBezTo>
                  <a:pt x="5" y="50"/>
                  <a:pt x="5" y="50"/>
                  <a:pt x="5" y="50"/>
                </a:cubicBezTo>
                <a:cubicBezTo>
                  <a:pt x="5" y="50"/>
                  <a:pt x="5" y="50"/>
                  <a:pt x="5" y="50"/>
                </a:cubicBezTo>
                <a:close/>
                <a:moveTo>
                  <a:pt x="7" y="51"/>
                </a:moveTo>
                <a:cubicBezTo>
                  <a:pt x="7" y="51"/>
                  <a:pt x="7" y="51"/>
                  <a:pt x="7" y="51"/>
                </a:cubicBezTo>
                <a:cubicBezTo>
                  <a:pt x="7" y="51"/>
                  <a:pt x="7" y="51"/>
                  <a:pt x="7" y="51"/>
                </a:cubicBezTo>
                <a:close/>
                <a:moveTo>
                  <a:pt x="9" y="56"/>
                </a:moveTo>
                <a:cubicBezTo>
                  <a:pt x="9" y="56"/>
                  <a:pt x="9" y="56"/>
                  <a:pt x="9" y="56"/>
                </a:cubicBezTo>
                <a:cubicBezTo>
                  <a:pt x="9" y="56"/>
                  <a:pt x="9" y="56"/>
                  <a:pt x="9" y="56"/>
                </a:cubicBezTo>
                <a:close/>
                <a:moveTo>
                  <a:pt x="7" y="56"/>
                </a:moveTo>
                <a:cubicBezTo>
                  <a:pt x="7" y="56"/>
                  <a:pt x="7" y="56"/>
                  <a:pt x="7" y="56"/>
                </a:cubicBezTo>
                <a:cubicBezTo>
                  <a:pt x="7" y="56"/>
                  <a:pt x="7" y="56"/>
                  <a:pt x="7" y="56"/>
                </a:cubicBezTo>
                <a:close/>
                <a:moveTo>
                  <a:pt x="9" y="57"/>
                </a:moveTo>
                <a:cubicBezTo>
                  <a:pt x="9" y="57"/>
                  <a:pt x="9" y="57"/>
                  <a:pt x="9" y="57"/>
                </a:cubicBezTo>
                <a:cubicBezTo>
                  <a:pt x="9" y="57"/>
                  <a:pt x="9" y="57"/>
                  <a:pt x="9" y="57"/>
                </a:cubicBezTo>
                <a:cubicBezTo>
                  <a:pt x="9" y="57"/>
                  <a:pt x="9" y="57"/>
                  <a:pt x="9" y="57"/>
                </a:cubicBezTo>
                <a:cubicBezTo>
                  <a:pt x="9" y="57"/>
                  <a:pt x="9" y="57"/>
                  <a:pt x="9" y="57"/>
                </a:cubicBezTo>
                <a:close/>
                <a:moveTo>
                  <a:pt x="6" y="57"/>
                </a:moveTo>
                <a:cubicBezTo>
                  <a:pt x="6" y="57"/>
                  <a:pt x="6" y="57"/>
                  <a:pt x="6" y="57"/>
                </a:cubicBezTo>
                <a:cubicBezTo>
                  <a:pt x="6" y="57"/>
                  <a:pt x="6" y="57"/>
                  <a:pt x="6" y="57"/>
                </a:cubicBezTo>
                <a:close/>
                <a:moveTo>
                  <a:pt x="9" y="58"/>
                </a:moveTo>
                <a:cubicBezTo>
                  <a:pt x="9" y="58"/>
                  <a:pt x="9" y="58"/>
                  <a:pt x="9" y="58"/>
                </a:cubicBezTo>
                <a:cubicBezTo>
                  <a:pt x="9" y="58"/>
                  <a:pt x="9" y="58"/>
                  <a:pt x="9" y="58"/>
                </a:cubicBezTo>
                <a:close/>
                <a:moveTo>
                  <a:pt x="6" y="19"/>
                </a:moveTo>
                <a:cubicBezTo>
                  <a:pt x="6" y="19"/>
                  <a:pt x="6" y="19"/>
                  <a:pt x="6" y="19"/>
                </a:cubicBezTo>
                <a:cubicBezTo>
                  <a:pt x="6" y="19"/>
                  <a:pt x="6" y="19"/>
                  <a:pt x="6" y="19"/>
                </a:cubicBezTo>
                <a:close/>
                <a:moveTo>
                  <a:pt x="7" y="19"/>
                </a:moveTo>
                <a:cubicBezTo>
                  <a:pt x="7" y="19"/>
                  <a:pt x="7" y="19"/>
                  <a:pt x="7" y="19"/>
                </a:cubicBezTo>
                <a:cubicBezTo>
                  <a:pt x="7" y="19"/>
                  <a:pt x="7" y="19"/>
                  <a:pt x="7" y="19"/>
                </a:cubicBezTo>
                <a:close/>
                <a:moveTo>
                  <a:pt x="9" y="20"/>
                </a:moveTo>
                <a:cubicBezTo>
                  <a:pt x="9" y="20"/>
                  <a:pt x="9" y="20"/>
                  <a:pt x="9" y="20"/>
                </a:cubicBezTo>
                <a:cubicBezTo>
                  <a:pt x="9" y="20"/>
                  <a:pt x="9" y="20"/>
                  <a:pt x="9" y="20"/>
                </a:cubicBezTo>
                <a:cubicBezTo>
                  <a:pt x="9" y="20"/>
                  <a:pt x="9" y="20"/>
                  <a:pt x="9" y="20"/>
                </a:cubicBezTo>
                <a:cubicBezTo>
                  <a:pt x="9" y="20"/>
                  <a:pt x="9" y="20"/>
                  <a:pt x="9" y="20"/>
                </a:cubicBezTo>
                <a:close/>
                <a:moveTo>
                  <a:pt x="5" y="3"/>
                </a:moveTo>
                <a:cubicBezTo>
                  <a:pt x="4" y="3"/>
                  <a:pt x="4" y="3"/>
                  <a:pt x="4" y="3"/>
                </a:cubicBezTo>
                <a:cubicBezTo>
                  <a:pt x="4" y="3"/>
                  <a:pt x="4" y="3"/>
                  <a:pt x="4" y="3"/>
                </a:cubicBezTo>
                <a:cubicBezTo>
                  <a:pt x="4" y="3"/>
                  <a:pt x="4" y="3"/>
                  <a:pt x="4" y="3"/>
                </a:cubicBezTo>
                <a:cubicBezTo>
                  <a:pt x="4" y="3"/>
                  <a:pt x="4" y="3"/>
                  <a:pt x="5" y="3"/>
                </a:cubicBezTo>
                <a:close/>
                <a:moveTo>
                  <a:pt x="4" y="46"/>
                </a:moveTo>
                <a:cubicBezTo>
                  <a:pt x="4" y="46"/>
                  <a:pt x="4" y="46"/>
                  <a:pt x="4" y="46"/>
                </a:cubicBezTo>
                <a:cubicBezTo>
                  <a:pt x="4" y="46"/>
                  <a:pt x="4" y="46"/>
                  <a:pt x="4" y="46"/>
                </a:cubicBezTo>
                <a:close/>
                <a:moveTo>
                  <a:pt x="9" y="46"/>
                </a:moveTo>
                <a:cubicBezTo>
                  <a:pt x="9" y="46"/>
                  <a:pt x="9" y="46"/>
                  <a:pt x="9" y="46"/>
                </a:cubicBezTo>
                <a:cubicBezTo>
                  <a:pt x="9" y="46"/>
                  <a:pt x="9" y="46"/>
                  <a:pt x="9" y="46"/>
                </a:cubicBezTo>
                <a:cubicBezTo>
                  <a:pt x="9" y="46"/>
                  <a:pt x="9" y="46"/>
                  <a:pt x="9" y="46"/>
                </a:cubicBezTo>
                <a:cubicBezTo>
                  <a:pt x="9" y="46"/>
                  <a:pt x="9" y="46"/>
                  <a:pt x="9" y="46"/>
                </a:cubicBezTo>
                <a:close/>
                <a:moveTo>
                  <a:pt x="3" y="15"/>
                </a:moveTo>
                <a:cubicBezTo>
                  <a:pt x="3" y="15"/>
                  <a:pt x="3" y="15"/>
                  <a:pt x="3" y="15"/>
                </a:cubicBezTo>
                <a:cubicBezTo>
                  <a:pt x="3" y="15"/>
                  <a:pt x="3" y="15"/>
                  <a:pt x="3" y="15"/>
                </a:cubicBezTo>
                <a:close/>
                <a:moveTo>
                  <a:pt x="2" y="4"/>
                </a:moveTo>
                <a:cubicBezTo>
                  <a:pt x="2" y="4"/>
                  <a:pt x="2" y="4"/>
                  <a:pt x="2" y="4"/>
                </a:cubicBezTo>
                <a:cubicBezTo>
                  <a:pt x="2" y="4"/>
                  <a:pt x="2" y="4"/>
                  <a:pt x="2" y="4"/>
                </a:cubicBezTo>
                <a:close/>
                <a:moveTo>
                  <a:pt x="4" y="3"/>
                </a:moveTo>
                <a:cubicBezTo>
                  <a:pt x="4" y="3"/>
                  <a:pt x="4" y="3"/>
                  <a:pt x="4" y="3"/>
                </a:cubicBezTo>
                <a:cubicBezTo>
                  <a:pt x="4" y="3"/>
                  <a:pt x="4" y="3"/>
                  <a:pt x="4" y="3"/>
                </a:cubicBezTo>
                <a:close/>
                <a:moveTo>
                  <a:pt x="4" y="5"/>
                </a:moveTo>
                <a:cubicBezTo>
                  <a:pt x="4" y="5"/>
                  <a:pt x="4" y="5"/>
                  <a:pt x="4" y="5"/>
                </a:cubicBezTo>
                <a:cubicBezTo>
                  <a:pt x="4" y="5"/>
                  <a:pt x="4" y="5"/>
                  <a:pt x="4" y="5"/>
                </a:cubicBezTo>
                <a:close/>
                <a:moveTo>
                  <a:pt x="2" y="24"/>
                </a:moveTo>
                <a:cubicBezTo>
                  <a:pt x="2" y="24"/>
                  <a:pt x="2" y="24"/>
                  <a:pt x="2" y="24"/>
                </a:cubicBezTo>
                <a:cubicBezTo>
                  <a:pt x="2" y="24"/>
                  <a:pt x="2" y="24"/>
                  <a:pt x="2" y="24"/>
                </a:cubicBezTo>
                <a:close/>
                <a:moveTo>
                  <a:pt x="7" y="26"/>
                </a:moveTo>
                <a:cubicBezTo>
                  <a:pt x="7" y="26"/>
                  <a:pt x="7" y="26"/>
                  <a:pt x="7" y="26"/>
                </a:cubicBezTo>
                <a:cubicBezTo>
                  <a:pt x="7" y="26"/>
                  <a:pt x="7" y="26"/>
                  <a:pt x="7" y="26"/>
                </a:cubicBezTo>
                <a:close/>
                <a:moveTo>
                  <a:pt x="8" y="27"/>
                </a:moveTo>
                <a:cubicBezTo>
                  <a:pt x="8" y="27"/>
                  <a:pt x="8" y="27"/>
                  <a:pt x="8" y="27"/>
                </a:cubicBezTo>
                <a:cubicBezTo>
                  <a:pt x="8" y="27"/>
                  <a:pt x="8" y="27"/>
                  <a:pt x="8" y="27"/>
                </a:cubicBezTo>
                <a:close/>
                <a:moveTo>
                  <a:pt x="9" y="27"/>
                </a:moveTo>
                <a:cubicBezTo>
                  <a:pt x="9" y="27"/>
                  <a:pt x="10" y="27"/>
                  <a:pt x="10" y="27"/>
                </a:cubicBezTo>
                <a:cubicBezTo>
                  <a:pt x="9" y="27"/>
                  <a:pt x="9" y="27"/>
                  <a:pt x="9" y="27"/>
                </a:cubicBezTo>
                <a:close/>
                <a:moveTo>
                  <a:pt x="7" y="29"/>
                </a:moveTo>
                <a:cubicBezTo>
                  <a:pt x="7" y="29"/>
                  <a:pt x="7" y="29"/>
                  <a:pt x="7" y="29"/>
                </a:cubicBezTo>
                <a:cubicBezTo>
                  <a:pt x="7" y="29"/>
                  <a:pt x="7" y="29"/>
                  <a:pt x="7" y="29"/>
                </a:cubicBezTo>
                <a:close/>
                <a:moveTo>
                  <a:pt x="10" y="29"/>
                </a:moveTo>
                <a:cubicBezTo>
                  <a:pt x="10" y="29"/>
                  <a:pt x="10" y="29"/>
                  <a:pt x="10" y="29"/>
                </a:cubicBezTo>
                <a:cubicBezTo>
                  <a:pt x="10" y="29"/>
                  <a:pt x="10" y="29"/>
                  <a:pt x="10" y="29"/>
                </a:cubicBezTo>
                <a:close/>
                <a:moveTo>
                  <a:pt x="11" y="29"/>
                </a:moveTo>
                <a:cubicBezTo>
                  <a:pt x="11" y="29"/>
                  <a:pt x="12" y="29"/>
                  <a:pt x="11" y="29"/>
                </a:cubicBezTo>
                <a:cubicBezTo>
                  <a:pt x="11" y="29"/>
                  <a:pt x="11" y="29"/>
                  <a:pt x="11" y="29"/>
                </a:cubicBezTo>
                <a:close/>
                <a:moveTo>
                  <a:pt x="4" y="16"/>
                </a:moveTo>
                <a:cubicBezTo>
                  <a:pt x="4" y="16"/>
                  <a:pt x="4" y="16"/>
                  <a:pt x="4" y="16"/>
                </a:cubicBezTo>
                <a:cubicBezTo>
                  <a:pt x="4" y="16"/>
                  <a:pt x="4" y="16"/>
                  <a:pt x="4" y="16"/>
                </a:cubicBezTo>
                <a:close/>
                <a:moveTo>
                  <a:pt x="3" y="16"/>
                </a:moveTo>
                <a:cubicBezTo>
                  <a:pt x="3" y="16"/>
                  <a:pt x="3" y="17"/>
                  <a:pt x="3" y="17"/>
                </a:cubicBezTo>
                <a:cubicBezTo>
                  <a:pt x="3" y="17"/>
                  <a:pt x="3" y="16"/>
                  <a:pt x="3" y="16"/>
                </a:cubicBezTo>
                <a:close/>
                <a:moveTo>
                  <a:pt x="8" y="17"/>
                </a:moveTo>
                <a:cubicBezTo>
                  <a:pt x="8" y="17"/>
                  <a:pt x="8" y="17"/>
                  <a:pt x="8" y="17"/>
                </a:cubicBezTo>
                <a:cubicBezTo>
                  <a:pt x="8" y="17"/>
                  <a:pt x="8" y="17"/>
                  <a:pt x="8" y="17"/>
                </a:cubicBezTo>
                <a:close/>
                <a:moveTo>
                  <a:pt x="2" y="17"/>
                </a:moveTo>
                <a:cubicBezTo>
                  <a:pt x="2" y="17"/>
                  <a:pt x="2" y="17"/>
                  <a:pt x="2" y="17"/>
                </a:cubicBezTo>
                <a:cubicBezTo>
                  <a:pt x="2" y="17"/>
                  <a:pt x="2" y="17"/>
                  <a:pt x="2" y="17"/>
                </a:cubicBezTo>
                <a:close/>
                <a:moveTo>
                  <a:pt x="4" y="18"/>
                </a:moveTo>
                <a:cubicBezTo>
                  <a:pt x="3" y="18"/>
                  <a:pt x="3" y="18"/>
                  <a:pt x="3" y="18"/>
                </a:cubicBezTo>
                <a:cubicBezTo>
                  <a:pt x="3" y="18"/>
                  <a:pt x="4" y="18"/>
                  <a:pt x="4" y="18"/>
                </a:cubicBezTo>
                <a:close/>
                <a:moveTo>
                  <a:pt x="3" y="17"/>
                </a:moveTo>
                <a:cubicBezTo>
                  <a:pt x="3" y="17"/>
                  <a:pt x="3" y="17"/>
                  <a:pt x="3" y="17"/>
                </a:cubicBezTo>
                <a:cubicBezTo>
                  <a:pt x="3" y="17"/>
                  <a:pt x="3" y="17"/>
                  <a:pt x="3" y="17"/>
                </a:cubicBezTo>
                <a:close/>
                <a:moveTo>
                  <a:pt x="2" y="21"/>
                </a:moveTo>
                <a:cubicBezTo>
                  <a:pt x="2" y="21"/>
                  <a:pt x="2" y="21"/>
                  <a:pt x="2" y="21"/>
                </a:cubicBezTo>
                <a:cubicBezTo>
                  <a:pt x="2" y="21"/>
                  <a:pt x="2" y="21"/>
                  <a:pt x="2" y="21"/>
                </a:cubicBezTo>
                <a:close/>
                <a:moveTo>
                  <a:pt x="3" y="38"/>
                </a:moveTo>
                <a:cubicBezTo>
                  <a:pt x="3" y="38"/>
                  <a:pt x="3" y="39"/>
                  <a:pt x="3" y="39"/>
                </a:cubicBezTo>
                <a:cubicBezTo>
                  <a:pt x="3" y="39"/>
                  <a:pt x="3" y="38"/>
                  <a:pt x="3" y="38"/>
                </a:cubicBezTo>
                <a:close/>
                <a:moveTo>
                  <a:pt x="1" y="40"/>
                </a:moveTo>
                <a:cubicBezTo>
                  <a:pt x="1" y="40"/>
                  <a:pt x="1" y="40"/>
                  <a:pt x="1" y="40"/>
                </a:cubicBezTo>
                <a:cubicBezTo>
                  <a:pt x="1" y="40"/>
                  <a:pt x="1" y="40"/>
                  <a:pt x="1" y="40"/>
                </a:cubicBezTo>
                <a:close/>
                <a:moveTo>
                  <a:pt x="2" y="40"/>
                </a:moveTo>
                <a:cubicBezTo>
                  <a:pt x="2" y="40"/>
                  <a:pt x="2" y="40"/>
                  <a:pt x="2" y="40"/>
                </a:cubicBezTo>
                <a:cubicBezTo>
                  <a:pt x="2" y="40"/>
                  <a:pt x="2" y="40"/>
                  <a:pt x="2" y="40"/>
                </a:cubicBezTo>
                <a:close/>
                <a:moveTo>
                  <a:pt x="9" y="40"/>
                </a:moveTo>
                <a:cubicBezTo>
                  <a:pt x="9" y="40"/>
                  <a:pt x="8" y="40"/>
                  <a:pt x="8" y="40"/>
                </a:cubicBezTo>
                <a:cubicBezTo>
                  <a:pt x="8" y="40"/>
                  <a:pt x="9" y="40"/>
                  <a:pt x="9" y="40"/>
                </a:cubicBezTo>
                <a:close/>
                <a:moveTo>
                  <a:pt x="3" y="5"/>
                </a:moveTo>
                <a:cubicBezTo>
                  <a:pt x="3" y="5"/>
                  <a:pt x="3" y="5"/>
                  <a:pt x="3" y="5"/>
                </a:cubicBezTo>
                <a:cubicBezTo>
                  <a:pt x="3" y="5"/>
                  <a:pt x="3" y="5"/>
                  <a:pt x="3" y="5"/>
                </a:cubicBezTo>
                <a:close/>
                <a:moveTo>
                  <a:pt x="9" y="41"/>
                </a:moveTo>
                <a:cubicBezTo>
                  <a:pt x="9" y="41"/>
                  <a:pt x="9" y="41"/>
                  <a:pt x="9" y="41"/>
                </a:cubicBezTo>
                <a:cubicBezTo>
                  <a:pt x="9" y="41"/>
                  <a:pt x="9" y="41"/>
                  <a:pt x="9" y="41"/>
                </a:cubicBezTo>
                <a:close/>
                <a:moveTo>
                  <a:pt x="2" y="6"/>
                </a:moveTo>
                <a:cubicBezTo>
                  <a:pt x="2" y="6"/>
                  <a:pt x="2" y="6"/>
                  <a:pt x="2" y="6"/>
                </a:cubicBezTo>
                <a:cubicBezTo>
                  <a:pt x="2" y="6"/>
                  <a:pt x="2" y="6"/>
                  <a:pt x="2" y="6"/>
                </a:cubicBezTo>
                <a:close/>
                <a:moveTo>
                  <a:pt x="4" y="5"/>
                </a:moveTo>
                <a:cubicBezTo>
                  <a:pt x="4" y="5"/>
                  <a:pt x="4" y="5"/>
                  <a:pt x="4" y="5"/>
                </a:cubicBezTo>
                <a:cubicBezTo>
                  <a:pt x="4" y="5"/>
                  <a:pt x="4" y="5"/>
                  <a:pt x="4" y="5"/>
                </a:cubicBezTo>
                <a:close/>
                <a:moveTo>
                  <a:pt x="2" y="7"/>
                </a:moveTo>
                <a:cubicBezTo>
                  <a:pt x="2" y="7"/>
                  <a:pt x="2" y="7"/>
                  <a:pt x="2" y="7"/>
                </a:cubicBezTo>
                <a:cubicBezTo>
                  <a:pt x="2" y="7"/>
                  <a:pt x="2" y="7"/>
                  <a:pt x="2" y="7"/>
                </a:cubicBezTo>
                <a:close/>
                <a:moveTo>
                  <a:pt x="2" y="8"/>
                </a:moveTo>
                <a:cubicBezTo>
                  <a:pt x="2" y="8"/>
                  <a:pt x="2" y="8"/>
                  <a:pt x="2" y="8"/>
                </a:cubicBezTo>
                <a:cubicBezTo>
                  <a:pt x="2" y="8"/>
                  <a:pt x="2" y="8"/>
                  <a:pt x="2" y="8"/>
                </a:cubicBezTo>
                <a:close/>
                <a:moveTo>
                  <a:pt x="8" y="18"/>
                </a:moveTo>
                <a:cubicBezTo>
                  <a:pt x="8" y="18"/>
                  <a:pt x="8" y="18"/>
                  <a:pt x="8" y="18"/>
                </a:cubicBezTo>
                <a:cubicBezTo>
                  <a:pt x="8" y="18"/>
                  <a:pt x="8" y="18"/>
                  <a:pt x="8" y="18"/>
                </a:cubicBezTo>
                <a:close/>
                <a:moveTo>
                  <a:pt x="9" y="18"/>
                </a:moveTo>
                <a:cubicBezTo>
                  <a:pt x="9" y="18"/>
                  <a:pt x="9" y="18"/>
                  <a:pt x="9" y="18"/>
                </a:cubicBezTo>
                <a:cubicBezTo>
                  <a:pt x="9" y="18"/>
                  <a:pt x="9" y="18"/>
                  <a:pt x="9" y="18"/>
                </a:cubicBezTo>
                <a:close/>
                <a:moveTo>
                  <a:pt x="7" y="18"/>
                </a:moveTo>
                <a:cubicBezTo>
                  <a:pt x="7" y="18"/>
                  <a:pt x="7" y="18"/>
                  <a:pt x="7" y="18"/>
                </a:cubicBezTo>
                <a:cubicBezTo>
                  <a:pt x="7" y="18"/>
                  <a:pt x="7" y="18"/>
                  <a:pt x="7" y="18"/>
                </a:cubicBezTo>
                <a:cubicBezTo>
                  <a:pt x="7" y="18"/>
                  <a:pt x="7" y="18"/>
                  <a:pt x="7" y="18"/>
                </a:cubicBezTo>
                <a:cubicBezTo>
                  <a:pt x="7" y="18"/>
                  <a:pt x="7" y="18"/>
                  <a:pt x="7" y="18"/>
                </a:cubicBezTo>
                <a:close/>
                <a:moveTo>
                  <a:pt x="7" y="34"/>
                </a:moveTo>
                <a:cubicBezTo>
                  <a:pt x="7" y="34"/>
                  <a:pt x="7" y="34"/>
                  <a:pt x="7" y="34"/>
                </a:cubicBezTo>
                <a:cubicBezTo>
                  <a:pt x="7" y="34"/>
                  <a:pt x="7" y="34"/>
                  <a:pt x="7" y="34"/>
                </a:cubicBezTo>
                <a:close/>
                <a:moveTo>
                  <a:pt x="8" y="34"/>
                </a:moveTo>
                <a:cubicBezTo>
                  <a:pt x="8" y="34"/>
                  <a:pt x="8" y="34"/>
                  <a:pt x="8" y="34"/>
                </a:cubicBezTo>
                <a:cubicBezTo>
                  <a:pt x="8" y="34"/>
                  <a:pt x="8" y="34"/>
                  <a:pt x="8" y="34"/>
                </a:cubicBezTo>
                <a:close/>
                <a:moveTo>
                  <a:pt x="8" y="35"/>
                </a:moveTo>
                <a:cubicBezTo>
                  <a:pt x="8" y="35"/>
                  <a:pt x="8" y="35"/>
                  <a:pt x="8" y="35"/>
                </a:cubicBezTo>
                <a:cubicBezTo>
                  <a:pt x="8" y="35"/>
                  <a:pt x="8" y="35"/>
                  <a:pt x="8" y="35"/>
                </a:cubicBezTo>
                <a:close/>
                <a:moveTo>
                  <a:pt x="8" y="36"/>
                </a:moveTo>
                <a:cubicBezTo>
                  <a:pt x="8" y="36"/>
                  <a:pt x="8" y="36"/>
                  <a:pt x="8" y="36"/>
                </a:cubicBezTo>
                <a:cubicBezTo>
                  <a:pt x="8" y="36"/>
                  <a:pt x="8" y="36"/>
                  <a:pt x="8" y="36"/>
                </a:cubicBezTo>
                <a:close/>
                <a:moveTo>
                  <a:pt x="5" y="86"/>
                </a:moveTo>
                <a:cubicBezTo>
                  <a:pt x="5" y="86"/>
                  <a:pt x="5" y="85"/>
                  <a:pt x="5" y="85"/>
                </a:cubicBezTo>
                <a:cubicBezTo>
                  <a:pt x="5" y="85"/>
                  <a:pt x="5" y="86"/>
                  <a:pt x="5" y="86"/>
                </a:cubicBezTo>
                <a:close/>
                <a:moveTo>
                  <a:pt x="8" y="21"/>
                </a:moveTo>
                <a:cubicBezTo>
                  <a:pt x="8" y="21"/>
                  <a:pt x="8" y="21"/>
                  <a:pt x="8" y="21"/>
                </a:cubicBezTo>
                <a:cubicBezTo>
                  <a:pt x="8" y="21"/>
                  <a:pt x="8" y="21"/>
                  <a:pt x="8" y="21"/>
                </a:cubicBezTo>
                <a:cubicBezTo>
                  <a:pt x="8" y="21"/>
                  <a:pt x="8" y="21"/>
                  <a:pt x="8" y="21"/>
                </a:cubicBezTo>
                <a:close/>
                <a:moveTo>
                  <a:pt x="2" y="36"/>
                </a:moveTo>
                <a:cubicBezTo>
                  <a:pt x="2" y="36"/>
                  <a:pt x="2" y="36"/>
                  <a:pt x="2" y="36"/>
                </a:cubicBezTo>
                <a:cubicBezTo>
                  <a:pt x="2" y="36"/>
                  <a:pt x="2" y="36"/>
                  <a:pt x="2" y="36"/>
                </a:cubicBezTo>
                <a:close/>
                <a:moveTo>
                  <a:pt x="3" y="37"/>
                </a:moveTo>
                <a:cubicBezTo>
                  <a:pt x="3" y="37"/>
                  <a:pt x="3" y="37"/>
                  <a:pt x="3" y="37"/>
                </a:cubicBezTo>
                <a:cubicBezTo>
                  <a:pt x="3" y="37"/>
                  <a:pt x="3" y="37"/>
                  <a:pt x="3" y="37"/>
                </a:cubicBezTo>
                <a:close/>
                <a:moveTo>
                  <a:pt x="2" y="0"/>
                </a:moveTo>
                <a:cubicBezTo>
                  <a:pt x="2" y="0"/>
                  <a:pt x="2" y="0"/>
                  <a:pt x="2" y="0"/>
                </a:cubicBezTo>
                <a:cubicBezTo>
                  <a:pt x="2" y="0"/>
                  <a:pt x="2" y="0"/>
                  <a:pt x="2" y="0"/>
                </a:cubicBezTo>
                <a:close/>
                <a:moveTo>
                  <a:pt x="4" y="21"/>
                </a:moveTo>
                <a:cubicBezTo>
                  <a:pt x="4" y="21"/>
                  <a:pt x="4" y="21"/>
                  <a:pt x="4" y="21"/>
                </a:cubicBezTo>
                <a:cubicBezTo>
                  <a:pt x="4" y="21"/>
                  <a:pt x="4" y="21"/>
                  <a:pt x="4" y="21"/>
                </a:cubicBezTo>
                <a:close/>
                <a:moveTo>
                  <a:pt x="3" y="37"/>
                </a:moveTo>
                <a:cubicBezTo>
                  <a:pt x="3" y="37"/>
                  <a:pt x="3" y="37"/>
                  <a:pt x="3" y="37"/>
                </a:cubicBezTo>
                <a:cubicBezTo>
                  <a:pt x="3" y="37"/>
                  <a:pt x="3" y="37"/>
                  <a:pt x="3" y="37"/>
                </a:cubicBezTo>
                <a:close/>
                <a:moveTo>
                  <a:pt x="2" y="0"/>
                </a:moveTo>
                <a:cubicBezTo>
                  <a:pt x="2" y="0"/>
                  <a:pt x="2" y="0"/>
                  <a:pt x="2" y="0"/>
                </a:cubicBezTo>
                <a:cubicBezTo>
                  <a:pt x="2" y="0"/>
                  <a:pt x="2" y="0"/>
                  <a:pt x="2" y="0"/>
                </a:cubicBezTo>
                <a:close/>
                <a:moveTo>
                  <a:pt x="1" y="1"/>
                </a:moveTo>
                <a:cubicBezTo>
                  <a:pt x="1" y="1"/>
                  <a:pt x="1" y="1"/>
                  <a:pt x="1" y="1"/>
                </a:cubicBezTo>
                <a:cubicBezTo>
                  <a:pt x="1" y="1"/>
                  <a:pt x="1" y="1"/>
                  <a:pt x="1" y="1"/>
                </a:cubicBezTo>
                <a:close/>
                <a:moveTo>
                  <a:pt x="2" y="2"/>
                </a:moveTo>
                <a:cubicBezTo>
                  <a:pt x="2" y="2"/>
                  <a:pt x="2" y="1"/>
                  <a:pt x="2" y="1"/>
                </a:cubicBezTo>
                <a:cubicBezTo>
                  <a:pt x="2" y="2"/>
                  <a:pt x="2" y="2"/>
                  <a:pt x="2" y="2"/>
                </a:cubicBezTo>
                <a:close/>
                <a:moveTo>
                  <a:pt x="1" y="2"/>
                </a:moveTo>
                <a:cubicBezTo>
                  <a:pt x="1" y="2"/>
                  <a:pt x="1" y="2"/>
                  <a:pt x="1" y="2"/>
                </a:cubicBezTo>
                <a:cubicBezTo>
                  <a:pt x="1" y="2"/>
                  <a:pt x="1" y="2"/>
                  <a:pt x="1" y="2"/>
                </a:cubicBezTo>
                <a:close/>
                <a:moveTo>
                  <a:pt x="3" y="14"/>
                </a:moveTo>
                <a:cubicBezTo>
                  <a:pt x="2" y="14"/>
                  <a:pt x="2" y="14"/>
                  <a:pt x="2" y="14"/>
                </a:cubicBezTo>
                <a:cubicBezTo>
                  <a:pt x="2" y="14"/>
                  <a:pt x="3" y="14"/>
                  <a:pt x="3" y="14"/>
                </a:cubicBezTo>
                <a:close/>
                <a:moveTo>
                  <a:pt x="8" y="15"/>
                </a:moveTo>
                <a:cubicBezTo>
                  <a:pt x="8" y="15"/>
                  <a:pt x="8" y="15"/>
                  <a:pt x="8" y="15"/>
                </a:cubicBezTo>
                <a:cubicBezTo>
                  <a:pt x="8" y="15"/>
                  <a:pt x="8" y="15"/>
                  <a:pt x="8" y="15"/>
                </a:cubicBezTo>
                <a:close/>
                <a:moveTo>
                  <a:pt x="3" y="2"/>
                </a:moveTo>
                <a:cubicBezTo>
                  <a:pt x="3" y="2"/>
                  <a:pt x="3" y="2"/>
                  <a:pt x="3" y="2"/>
                </a:cubicBezTo>
                <a:cubicBezTo>
                  <a:pt x="3" y="2"/>
                  <a:pt x="3" y="2"/>
                  <a:pt x="3" y="2"/>
                </a:cubicBezTo>
                <a:close/>
                <a:moveTo>
                  <a:pt x="2" y="2"/>
                </a:moveTo>
                <a:cubicBezTo>
                  <a:pt x="2" y="2"/>
                  <a:pt x="2" y="2"/>
                  <a:pt x="2" y="2"/>
                </a:cubicBezTo>
                <a:cubicBezTo>
                  <a:pt x="2" y="2"/>
                  <a:pt x="2" y="2"/>
                  <a:pt x="2" y="2"/>
                </a:cubicBezTo>
                <a:close/>
                <a:moveTo>
                  <a:pt x="4" y="22"/>
                </a:moveTo>
                <a:cubicBezTo>
                  <a:pt x="4" y="22"/>
                  <a:pt x="5" y="22"/>
                  <a:pt x="4" y="22"/>
                </a:cubicBezTo>
                <a:cubicBezTo>
                  <a:pt x="4" y="22"/>
                  <a:pt x="4" y="22"/>
                  <a:pt x="4" y="22"/>
                </a:cubicBezTo>
                <a:close/>
                <a:moveTo>
                  <a:pt x="4" y="21"/>
                </a:moveTo>
                <a:cubicBezTo>
                  <a:pt x="4" y="21"/>
                  <a:pt x="4" y="21"/>
                  <a:pt x="4" y="21"/>
                </a:cubicBezTo>
                <a:cubicBezTo>
                  <a:pt x="4" y="21"/>
                  <a:pt x="4" y="21"/>
                  <a:pt x="4" y="21"/>
                </a:cubicBezTo>
                <a:close/>
                <a:moveTo>
                  <a:pt x="3" y="23"/>
                </a:moveTo>
                <a:cubicBezTo>
                  <a:pt x="3" y="22"/>
                  <a:pt x="3" y="23"/>
                  <a:pt x="3" y="23"/>
                </a:cubicBezTo>
                <a:cubicBezTo>
                  <a:pt x="3" y="23"/>
                  <a:pt x="3" y="23"/>
                  <a:pt x="3" y="23"/>
                </a:cubicBezTo>
                <a:close/>
                <a:moveTo>
                  <a:pt x="7" y="24"/>
                </a:moveTo>
                <a:cubicBezTo>
                  <a:pt x="7" y="24"/>
                  <a:pt x="7" y="24"/>
                  <a:pt x="7" y="24"/>
                </a:cubicBezTo>
                <a:cubicBezTo>
                  <a:pt x="7" y="24"/>
                  <a:pt x="7" y="24"/>
                  <a:pt x="7" y="24"/>
                </a:cubicBezTo>
                <a:cubicBezTo>
                  <a:pt x="7" y="24"/>
                  <a:pt x="7" y="24"/>
                  <a:pt x="7" y="24"/>
                </a:cubicBezTo>
                <a:close/>
                <a:moveTo>
                  <a:pt x="4" y="1"/>
                </a:moveTo>
                <a:cubicBezTo>
                  <a:pt x="4" y="1"/>
                  <a:pt x="4" y="1"/>
                  <a:pt x="4" y="1"/>
                </a:cubicBezTo>
                <a:cubicBezTo>
                  <a:pt x="4" y="1"/>
                  <a:pt x="4" y="1"/>
                  <a:pt x="4" y="1"/>
                </a:cubicBezTo>
                <a:close/>
                <a:moveTo>
                  <a:pt x="3" y="20"/>
                </a:moveTo>
                <a:cubicBezTo>
                  <a:pt x="3" y="20"/>
                  <a:pt x="3" y="19"/>
                  <a:pt x="3" y="19"/>
                </a:cubicBezTo>
                <a:cubicBezTo>
                  <a:pt x="3" y="19"/>
                  <a:pt x="3" y="20"/>
                  <a:pt x="3" y="20"/>
                </a:cubicBezTo>
                <a:close/>
                <a:moveTo>
                  <a:pt x="9" y="19"/>
                </a:moveTo>
                <a:cubicBezTo>
                  <a:pt x="9" y="19"/>
                  <a:pt x="9" y="19"/>
                  <a:pt x="9" y="19"/>
                </a:cubicBezTo>
                <a:cubicBezTo>
                  <a:pt x="9" y="19"/>
                  <a:pt x="9" y="19"/>
                  <a:pt x="9" y="19"/>
                </a:cubicBezTo>
                <a:close/>
                <a:moveTo>
                  <a:pt x="10" y="18"/>
                </a:moveTo>
                <a:cubicBezTo>
                  <a:pt x="10" y="18"/>
                  <a:pt x="10" y="18"/>
                  <a:pt x="10" y="18"/>
                </a:cubicBezTo>
                <a:cubicBezTo>
                  <a:pt x="10" y="18"/>
                  <a:pt x="10" y="19"/>
                  <a:pt x="10" y="18"/>
                </a:cubicBezTo>
                <a:close/>
                <a:moveTo>
                  <a:pt x="8" y="20"/>
                </a:moveTo>
                <a:cubicBezTo>
                  <a:pt x="8" y="20"/>
                  <a:pt x="8" y="20"/>
                  <a:pt x="8" y="20"/>
                </a:cubicBezTo>
                <a:cubicBezTo>
                  <a:pt x="8" y="20"/>
                  <a:pt x="8" y="20"/>
                  <a:pt x="8" y="20"/>
                </a:cubicBezTo>
                <a:close/>
                <a:moveTo>
                  <a:pt x="4" y="20"/>
                </a:moveTo>
                <a:cubicBezTo>
                  <a:pt x="4" y="20"/>
                  <a:pt x="4" y="20"/>
                  <a:pt x="4" y="20"/>
                </a:cubicBezTo>
                <a:cubicBezTo>
                  <a:pt x="4" y="20"/>
                  <a:pt x="4" y="20"/>
                  <a:pt x="4" y="20"/>
                </a:cubicBezTo>
                <a:close/>
                <a:moveTo>
                  <a:pt x="2" y="3"/>
                </a:moveTo>
                <a:cubicBezTo>
                  <a:pt x="2" y="3"/>
                  <a:pt x="2" y="3"/>
                  <a:pt x="2" y="3"/>
                </a:cubicBezTo>
                <a:cubicBezTo>
                  <a:pt x="2" y="3"/>
                  <a:pt x="2" y="3"/>
                  <a:pt x="2" y="3"/>
                </a:cubicBezTo>
                <a:close/>
                <a:moveTo>
                  <a:pt x="4" y="3"/>
                </a:moveTo>
                <a:cubicBezTo>
                  <a:pt x="4" y="3"/>
                  <a:pt x="4" y="3"/>
                  <a:pt x="4" y="3"/>
                </a:cubicBezTo>
                <a:cubicBezTo>
                  <a:pt x="4" y="3"/>
                  <a:pt x="4" y="3"/>
                  <a:pt x="4" y="3"/>
                </a:cubicBezTo>
                <a:close/>
                <a:moveTo>
                  <a:pt x="3" y="4"/>
                </a:moveTo>
                <a:cubicBezTo>
                  <a:pt x="3" y="4"/>
                  <a:pt x="3" y="4"/>
                  <a:pt x="3" y="4"/>
                </a:cubicBezTo>
                <a:cubicBezTo>
                  <a:pt x="3" y="4"/>
                  <a:pt x="3" y="4"/>
                  <a:pt x="3" y="4"/>
                </a:cubicBezTo>
                <a:close/>
                <a:moveTo>
                  <a:pt x="3" y="44"/>
                </a:moveTo>
                <a:cubicBezTo>
                  <a:pt x="3" y="44"/>
                  <a:pt x="3" y="44"/>
                  <a:pt x="2" y="44"/>
                </a:cubicBezTo>
                <a:cubicBezTo>
                  <a:pt x="2" y="44"/>
                  <a:pt x="3" y="44"/>
                  <a:pt x="3" y="44"/>
                </a:cubicBezTo>
                <a:close/>
                <a:moveTo>
                  <a:pt x="8" y="13"/>
                </a:moveTo>
                <a:cubicBezTo>
                  <a:pt x="8" y="13"/>
                  <a:pt x="8" y="13"/>
                  <a:pt x="8" y="13"/>
                </a:cubicBezTo>
                <a:cubicBezTo>
                  <a:pt x="8" y="13"/>
                  <a:pt x="8" y="13"/>
                  <a:pt x="8" y="13"/>
                </a:cubicBezTo>
                <a:close/>
                <a:moveTo>
                  <a:pt x="10" y="46"/>
                </a:moveTo>
                <a:cubicBezTo>
                  <a:pt x="10" y="45"/>
                  <a:pt x="10" y="46"/>
                  <a:pt x="10" y="46"/>
                </a:cubicBezTo>
                <a:cubicBezTo>
                  <a:pt x="10" y="46"/>
                  <a:pt x="10" y="46"/>
                  <a:pt x="10" y="46"/>
                </a:cubicBezTo>
                <a:close/>
                <a:moveTo>
                  <a:pt x="8" y="46"/>
                </a:moveTo>
                <a:cubicBezTo>
                  <a:pt x="8" y="46"/>
                  <a:pt x="8" y="46"/>
                  <a:pt x="8" y="46"/>
                </a:cubicBezTo>
                <a:cubicBezTo>
                  <a:pt x="8" y="46"/>
                  <a:pt x="8" y="46"/>
                  <a:pt x="8" y="46"/>
                </a:cubicBezTo>
                <a:close/>
                <a:moveTo>
                  <a:pt x="10" y="46"/>
                </a:moveTo>
                <a:cubicBezTo>
                  <a:pt x="10" y="47"/>
                  <a:pt x="10" y="47"/>
                  <a:pt x="10" y="47"/>
                </a:cubicBezTo>
                <a:cubicBezTo>
                  <a:pt x="10" y="47"/>
                  <a:pt x="10" y="47"/>
                  <a:pt x="10" y="46"/>
                </a:cubicBezTo>
                <a:close/>
                <a:moveTo>
                  <a:pt x="4" y="7"/>
                </a:moveTo>
                <a:cubicBezTo>
                  <a:pt x="4" y="7"/>
                  <a:pt x="4" y="7"/>
                  <a:pt x="4" y="7"/>
                </a:cubicBezTo>
                <a:cubicBezTo>
                  <a:pt x="4" y="7"/>
                  <a:pt x="4" y="7"/>
                  <a:pt x="4" y="7"/>
                </a:cubicBezTo>
                <a:close/>
                <a:moveTo>
                  <a:pt x="4" y="9"/>
                </a:moveTo>
                <a:cubicBezTo>
                  <a:pt x="4" y="9"/>
                  <a:pt x="4" y="9"/>
                  <a:pt x="4" y="9"/>
                </a:cubicBezTo>
                <a:cubicBezTo>
                  <a:pt x="4" y="9"/>
                  <a:pt x="4" y="9"/>
                  <a:pt x="4" y="9"/>
                </a:cubicBezTo>
                <a:close/>
                <a:moveTo>
                  <a:pt x="4" y="8"/>
                </a:moveTo>
                <a:cubicBezTo>
                  <a:pt x="4" y="8"/>
                  <a:pt x="4" y="8"/>
                  <a:pt x="4" y="8"/>
                </a:cubicBezTo>
                <a:cubicBezTo>
                  <a:pt x="4" y="8"/>
                  <a:pt x="4" y="8"/>
                  <a:pt x="4" y="8"/>
                </a:cubicBezTo>
                <a:close/>
                <a:moveTo>
                  <a:pt x="4" y="9"/>
                </a:moveTo>
                <a:cubicBezTo>
                  <a:pt x="4" y="9"/>
                  <a:pt x="4" y="9"/>
                  <a:pt x="4" y="9"/>
                </a:cubicBezTo>
                <a:cubicBezTo>
                  <a:pt x="4" y="9"/>
                  <a:pt x="4" y="9"/>
                  <a:pt x="4" y="9"/>
                </a:cubicBezTo>
                <a:close/>
                <a:moveTo>
                  <a:pt x="9" y="70"/>
                </a:moveTo>
                <a:cubicBezTo>
                  <a:pt x="9" y="70"/>
                  <a:pt x="9" y="70"/>
                  <a:pt x="9" y="70"/>
                </a:cubicBezTo>
                <a:cubicBezTo>
                  <a:pt x="9" y="70"/>
                  <a:pt x="9" y="70"/>
                  <a:pt x="9" y="70"/>
                </a:cubicBezTo>
                <a:close/>
                <a:moveTo>
                  <a:pt x="6" y="69"/>
                </a:moveTo>
                <a:cubicBezTo>
                  <a:pt x="6" y="69"/>
                  <a:pt x="6" y="69"/>
                  <a:pt x="6" y="69"/>
                </a:cubicBezTo>
                <a:cubicBezTo>
                  <a:pt x="6" y="69"/>
                  <a:pt x="6" y="69"/>
                  <a:pt x="6" y="69"/>
                </a:cubicBezTo>
                <a:close/>
                <a:moveTo>
                  <a:pt x="9" y="58"/>
                </a:moveTo>
                <a:cubicBezTo>
                  <a:pt x="9" y="58"/>
                  <a:pt x="9" y="58"/>
                  <a:pt x="9" y="58"/>
                </a:cubicBezTo>
                <a:cubicBezTo>
                  <a:pt x="9" y="58"/>
                  <a:pt x="9" y="58"/>
                  <a:pt x="9" y="58"/>
                </a:cubicBezTo>
                <a:close/>
                <a:moveTo>
                  <a:pt x="9" y="71"/>
                </a:moveTo>
                <a:cubicBezTo>
                  <a:pt x="9" y="71"/>
                  <a:pt x="10" y="71"/>
                  <a:pt x="9" y="71"/>
                </a:cubicBezTo>
                <a:cubicBezTo>
                  <a:pt x="9" y="71"/>
                  <a:pt x="9" y="71"/>
                  <a:pt x="9" y="71"/>
                </a:cubicBezTo>
                <a:close/>
                <a:moveTo>
                  <a:pt x="3" y="30"/>
                </a:moveTo>
                <a:cubicBezTo>
                  <a:pt x="3" y="30"/>
                  <a:pt x="3" y="30"/>
                  <a:pt x="3" y="30"/>
                </a:cubicBezTo>
                <a:cubicBezTo>
                  <a:pt x="3" y="30"/>
                  <a:pt x="3" y="30"/>
                  <a:pt x="3" y="30"/>
                </a:cubicBezTo>
                <a:close/>
                <a:moveTo>
                  <a:pt x="11" y="29"/>
                </a:moveTo>
                <a:cubicBezTo>
                  <a:pt x="11" y="29"/>
                  <a:pt x="11" y="29"/>
                  <a:pt x="11" y="29"/>
                </a:cubicBezTo>
                <a:cubicBezTo>
                  <a:pt x="11" y="29"/>
                  <a:pt x="11" y="29"/>
                  <a:pt x="11" y="29"/>
                </a:cubicBezTo>
                <a:close/>
                <a:moveTo>
                  <a:pt x="10" y="30"/>
                </a:moveTo>
                <a:cubicBezTo>
                  <a:pt x="10" y="30"/>
                  <a:pt x="10" y="30"/>
                  <a:pt x="10" y="30"/>
                </a:cubicBezTo>
                <a:cubicBezTo>
                  <a:pt x="10" y="30"/>
                  <a:pt x="10" y="30"/>
                  <a:pt x="10" y="30"/>
                </a:cubicBezTo>
                <a:close/>
                <a:moveTo>
                  <a:pt x="9" y="30"/>
                </a:moveTo>
                <a:cubicBezTo>
                  <a:pt x="9" y="30"/>
                  <a:pt x="9" y="30"/>
                  <a:pt x="9" y="30"/>
                </a:cubicBezTo>
                <a:cubicBezTo>
                  <a:pt x="9" y="30"/>
                  <a:pt x="9" y="30"/>
                  <a:pt x="9" y="30"/>
                </a:cubicBezTo>
                <a:close/>
                <a:moveTo>
                  <a:pt x="9" y="31"/>
                </a:moveTo>
                <a:cubicBezTo>
                  <a:pt x="9" y="31"/>
                  <a:pt x="9" y="31"/>
                  <a:pt x="9" y="31"/>
                </a:cubicBezTo>
                <a:cubicBezTo>
                  <a:pt x="9" y="31"/>
                  <a:pt x="9" y="31"/>
                  <a:pt x="9" y="31"/>
                </a:cubicBezTo>
                <a:close/>
                <a:moveTo>
                  <a:pt x="3" y="31"/>
                </a:moveTo>
                <a:cubicBezTo>
                  <a:pt x="3" y="31"/>
                  <a:pt x="3" y="31"/>
                  <a:pt x="3" y="31"/>
                </a:cubicBezTo>
                <a:cubicBezTo>
                  <a:pt x="3" y="31"/>
                  <a:pt x="3" y="31"/>
                  <a:pt x="3" y="31"/>
                </a:cubicBezTo>
                <a:close/>
                <a:moveTo>
                  <a:pt x="3" y="31"/>
                </a:moveTo>
                <a:cubicBezTo>
                  <a:pt x="3" y="31"/>
                  <a:pt x="3" y="31"/>
                  <a:pt x="3" y="31"/>
                </a:cubicBezTo>
                <a:cubicBezTo>
                  <a:pt x="3" y="31"/>
                  <a:pt x="3" y="31"/>
                  <a:pt x="3" y="31"/>
                </a:cubicBezTo>
                <a:cubicBezTo>
                  <a:pt x="3" y="31"/>
                  <a:pt x="3" y="31"/>
                  <a:pt x="3" y="31"/>
                </a:cubicBezTo>
                <a:close/>
                <a:moveTo>
                  <a:pt x="8" y="32"/>
                </a:moveTo>
                <a:cubicBezTo>
                  <a:pt x="8" y="32"/>
                  <a:pt x="8" y="32"/>
                  <a:pt x="8" y="32"/>
                </a:cubicBezTo>
                <a:cubicBezTo>
                  <a:pt x="8" y="32"/>
                  <a:pt x="8" y="32"/>
                  <a:pt x="8" y="32"/>
                </a:cubicBezTo>
                <a:close/>
                <a:moveTo>
                  <a:pt x="8" y="32"/>
                </a:moveTo>
                <a:cubicBezTo>
                  <a:pt x="8" y="32"/>
                  <a:pt x="8" y="32"/>
                  <a:pt x="8" y="32"/>
                </a:cubicBezTo>
                <a:cubicBezTo>
                  <a:pt x="8" y="32"/>
                  <a:pt x="8" y="32"/>
                  <a:pt x="8" y="32"/>
                </a:cubicBezTo>
                <a:close/>
                <a:moveTo>
                  <a:pt x="8" y="33"/>
                </a:moveTo>
                <a:cubicBezTo>
                  <a:pt x="8" y="33"/>
                  <a:pt x="8" y="33"/>
                  <a:pt x="8" y="33"/>
                </a:cubicBezTo>
                <a:cubicBezTo>
                  <a:pt x="8" y="33"/>
                  <a:pt x="8" y="33"/>
                  <a:pt x="8" y="33"/>
                </a:cubicBezTo>
                <a:close/>
                <a:moveTo>
                  <a:pt x="7" y="52"/>
                </a:moveTo>
                <a:cubicBezTo>
                  <a:pt x="7" y="53"/>
                  <a:pt x="7" y="53"/>
                  <a:pt x="7" y="53"/>
                </a:cubicBezTo>
                <a:cubicBezTo>
                  <a:pt x="7" y="53"/>
                  <a:pt x="7" y="53"/>
                  <a:pt x="7" y="52"/>
                </a:cubicBezTo>
                <a:close/>
                <a:moveTo>
                  <a:pt x="3" y="53"/>
                </a:moveTo>
                <a:cubicBezTo>
                  <a:pt x="3" y="53"/>
                  <a:pt x="3" y="53"/>
                  <a:pt x="3" y="53"/>
                </a:cubicBezTo>
                <a:cubicBezTo>
                  <a:pt x="3" y="53"/>
                  <a:pt x="3" y="53"/>
                  <a:pt x="3" y="53"/>
                </a:cubicBezTo>
                <a:close/>
                <a:moveTo>
                  <a:pt x="9" y="73"/>
                </a:moveTo>
                <a:cubicBezTo>
                  <a:pt x="9" y="73"/>
                  <a:pt x="9" y="73"/>
                  <a:pt x="9" y="73"/>
                </a:cubicBezTo>
                <a:cubicBezTo>
                  <a:pt x="9" y="73"/>
                  <a:pt x="9" y="73"/>
                  <a:pt x="9" y="73"/>
                </a:cubicBezTo>
                <a:close/>
                <a:moveTo>
                  <a:pt x="3" y="73"/>
                </a:moveTo>
                <a:cubicBezTo>
                  <a:pt x="3" y="73"/>
                  <a:pt x="3" y="73"/>
                  <a:pt x="4" y="73"/>
                </a:cubicBezTo>
                <a:cubicBezTo>
                  <a:pt x="3" y="73"/>
                  <a:pt x="3" y="73"/>
                  <a:pt x="3" y="73"/>
                </a:cubicBezTo>
                <a:close/>
                <a:moveTo>
                  <a:pt x="3" y="74"/>
                </a:moveTo>
                <a:cubicBezTo>
                  <a:pt x="3" y="74"/>
                  <a:pt x="3" y="74"/>
                  <a:pt x="3" y="74"/>
                </a:cubicBezTo>
                <a:cubicBezTo>
                  <a:pt x="3" y="74"/>
                  <a:pt x="3" y="74"/>
                  <a:pt x="3" y="74"/>
                </a:cubicBezTo>
                <a:close/>
                <a:moveTo>
                  <a:pt x="9" y="74"/>
                </a:moveTo>
                <a:cubicBezTo>
                  <a:pt x="9" y="74"/>
                  <a:pt x="9" y="74"/>
                  <a:pt x="9" y="74"/>
                </a:cubicBezTo>
                <a:cubicBezTo>
                  <a:pt x="9" y="74"/>
                  <a:pt x="9" y="74"/>
                  <a:pt x="9" y="74"/>
                </a:cubicBezTo>
                <a:close/>
                <a:moveTo>
                  <a:pt x="0" y="34"/>
                </a:moveTo>
                <a:cubicBezTo>
                  <a:pt x="0" y="34"/>
                  <a:pt x="0" y="34"/>
                  <a:pt x="0" y="34"/>
                </a:cubicBezTo>
                <a:cubicBezTo>
                  <a:pt x="0" y="34"/>
                  <a:pt x="0" y="34"/>
                  <a:pt x="0" y="34"/>
                </a:cubicBezTo>
                <a:close/>
                <a:moveTo>
                  <a:pt x="3" y="42"/>
                </a:moveTo>
                <a:cubicBezTo>
                  <a:pt x="3" y="42"/>
                  <a:pt x="3" y="42"/>
                  <a:pt x="3" y="42"/>
                </a:cubicBezTo>
                <a:cubicBezTo>
                  <a:pt x="3" y="42"/>
                  <a:pt x="3" y="42"/>
                  <a:pt x="3" y="42"/>
                </a:cubicBezTo>
                <a:close/>
                <a:moveTo>
                  <a:pt x="4" y="42"/>
                </a:moveTo>
                <a:cubicBezTo>
                  <a:pt x="4" y="42"/>
                  <a:pt x="4" y="42"/>
                  <a:pt x="4" y="42"/>
                </a:cubicBezTo>
                <a:cubicBezTo>
                  <a:pt x="4" y="42"/>
                  <a:pt x="4" y="42"/>
                  <a:pt x="4" y="42"/>
                </a:cubicBezTo>
                <a:close/>
                <a:moveTo>
                  <a:pt x="3" y="53"/>
                </a:moveTo>
                <a:cubicBezTo>
                  <a:pt x="3" y="53"/>
                  <a:pt x="3" y="53"/>
                  <a:pt x="3" y="53"/>
                </a:cubicBezTo>
                <a:cubicBezTo>
                  <a:pt x="3" y="53"/>
                  <a:pt x="3" y="53"/>
                  <a:pt x="3" y="53"/>
                </a:cubicBezTo>
                <a:close/>
                <a:moveTo>
                  <a:pt x="5" y="54"/>
                </a:moveTo>
                <a:cubicBezTo>
                  <a:pt x="5" y="54"/>
                  <a:pt x="5" y="54"/>
                  <a:pt x="5" y="54"/>
                </a:cubicBezTo>
                <a:cubicBezTo>
                  <a:pt x="5" y="54"/>
                  <a:pt x="5" y="54"/>
                  <a:pt x="5" y="54"/>
                </a:cubicBezTo>
                <a:close/>
                <a:moveTo>
                  <a:pt x="5" y="54"/>
                </a:moveTo>
                <a:cubicBezTo>
                  <a:pt x="5" y="54"/>
                  <a:pt x="5" y="54"/>
                  <a:pt x="5" y="54"/>
                </a:cubicBezTo>
                <a:cubicBezTo>
                  <a:pt x="5" y="54"/>
                  <a:pt x="5" y="54"/>
                  <a:pt x="5" y="5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09" name="Madagascar"/>
          <p:cNvSpPr>
            <a:spLocks noEditPoints="1"/>
          </p:cNvSpPr>
          <p:nvPr/>
        </p:nvSpPr>
        <p:spPr bwMode="auto">
          <a:xfrm>
            <a:off x="7284027" y="5140919"/>
            <a:ext cx="266990" cy="542980"/>
          </a:xfrm>
          <a:custGeom>
            <a:avLst/>
            <a:gdLst/>
            <a:ahLst/>
            <a:cxnLst>
              <a:cxn ang="0">
                <a:pos x="70" y="44"/>
              </a:cxn>
              <a:cxn ang="0">
                <a:pos x="67" y="38"/>
              </a:cxn>
              <a:cxn ang="0">
                <a:pos x="67" y="48"/>
              </a:cxn>
              <a:cxn ang="0">
                <a:pos x="64" y="55"/>
              </a:cxn>
              <a:cxn ang="0">
                <a:pos x="61" y="68"/>
              </a:cxn>
              <a:cxn ang="0">
                <a:pos x="56" y="83"/>
              </a:cxn>
              <a:cxn ang="0">
                <a:pos x="54" y="90"/>
              </a:cxn>
              <a:cxn ang="0">
                <a:pos x="50" y="99"/>
              </a:cxn>
              <a:cxn ang="0">
                <a:pos x="41" y="126"/>
              </a:cxn>
              <a:cxn ang="0">
                <a:pos x="40" y="131"/>
              </a:cxn>
              <a:cxn ang="0">
                <a:pos x="37" y="138"/>
              </a:cxn>
              <a:cxn ang="0">
                <a:pos x="35" y="142"/>
              </a:cxn>
              <a:cxn ang="0">
                <a:pos x="32" y="144"/>
              </a:cxn>
              <a:cxn ang="0">
                <a:pos x="22" y="148"/>
              </a:cxn>
              <a:cxn ang="0">
                <a:pos x="12" y="146"/>
              </a:cxn>
              <a:cxn ang="0">
                <a:pos x="8" y="144"/>
              </a:cxn>
              <a:cxn ang="0">
                <a:pos x="5" y="140"/>
              </a:cxn>
              <a:cxn ang="0">
                <a:pos x="3" y="128"/>
              </a:cxn>
              <a:cxn ang="0">
                <a:pos x="1" y="120"/>
              </a:cxn>
              <a:cxn ang="0">
                <a:pos x="1" y="112"/>
              </a:cxn>
              <a:cxn ang="0">
                <a:pos x="1" y="109"/>
              </a:cxn>
              <a:cxn ang="0">
                <a:pos x="4" y="102"/>
              </a:cxn>
              <a:cxn ang="0">
                <a:pos x="10" y="93"/>
              </a:cxn>
              <a:cxn ang="0">
                <a:pos x="13" y="88"/>
              </a:cxn>
              <a:cxn ang="0">
                <a:pos x="12" y="75"/>
              </a:cxn>
              <a:cxn ang="0">
                <a:pos x="10" y="65"/>
              </a:cxn>
              <a:cxn ang="0">
                <a:pos x="15" y="52"/>
              </a:cxn>
              <a:cxn ang="0">
                <a:pos x="16" y="46"/>
              </a:cxn>
              <a:cxn ang="0">
                <a:pos x="21" y="45"/>
              </a:cxn>
              <a:cxn ang="0">
                <a:pos x="24" y="44"/>
              </a:cxn>
              <a:cxn ang="0">
                <a:pos x="27" y="43"/>
              </a:cxn>
              <a:cxn ang="0">
                <a:pos x="30" y="43"/>
              </a:cxn>
              <a:cxn ang="0">
                <a:pos x="33" y="44"/>
              </a:cxn>
              <a:cxn ang="0">
                <a:pos x="33" y="42"/>
              </a:cxn>
              <a:cxn ang="0">
                <a:pos x="40" y="36"/>
              </a:cxn>
              <a:cxn ang="0">
                <a:pos x="40" y="39"/>
              </a:cxn>
              <a:cxn ang="0">
                <a:pos x="41" y="36"/>
              </a:cxn>
              <a:cxn ang="0">
                <a:pos x="44" y="32"/>
              </a:cxn>
              <a:cxn ang="0">
                <a:pos x="44" y="33"/>
              </a:cxn>
              <a:cxn ang="0">
                <a:pos x="49" y="30"/>
              </a:cxn>
              <a:cxn ang="0">
                <a:pos x="48" y="29"/>
              </a:cxn>
              <a:cxn ang="0">
                <a:pos x="47" y="26"/>
              </a:cxn>
              <a:cxn ang="0">
                <a:pos x="50" y="26"/>
              </a:cxn>
              <a:cxn ang="0">
                <a:pos x="50" y="21"/>
              </a:cxn>
              <a:cxn ang="0">
                <a:pos x="51" y="17"/>
              </a:cxn>
              <a:cxn ang="0">
                <a:pos x="53" y="20"/>
              </a:cxn>
              <a:cxn ang="0">
                <a:pos x="55" y="17"/>
              </a:cxn>
              <a:cxn ang="0">
                <a:pos x="59" y="14"/>
              </a:cxn>
              <a:cxn ang="0">
                <a:pos x="59" y="6"/>
              </a:cxn>
              <a:cxn ang="0">
                <a:pos x="60" y="5"/>
              </a:cxn>
              <a:cxn ang="0">
                <a:pos x="62" y="2"/>
              </a:cxn>
              <a:cxn ang="0">
                <a:pos x="63" y="1"/>
              </a:cxn>
              <a:cxn ang="0">
                <a:pos x="63" y="3"/>
              </a:cxn>
              <a:cxn ang="0">
                <a:pos x="64" y="3"/>
              </a:cxn>
              <a:cxn ang="0">
                <a:pos x="66" y="6"/>
              </a:cxn>
              <a:cxn ang="0">
                <a:pos x="67" y="8"/>
              </a:cxn>
              <a:cxn ang="0">
                <a:pos x="69" y="13"/>
              </a:cxn>
              <a:cxn ang="0">
                <a:pos x="71" y="18"/>
              </a:cxn>
              <a:cxn ang="0">
                <a:pos x="71" y="26"/>
              </a:cxn>
              <a:cxn ang="0">
                <a:pos x="73" y="40"/>
              </a:cxn>
              <a:cxn ang="0">
                <a:pos x="67" y="54"/>
              </a:cxn>
              <a:cxn ang="0">
                <a:pos x="54" y="14"/>
              </a:cxn>
              <a:cxn ang="0">
                <a:pos x="52" y="15"/>
              </a:cxn>
            </a:cxnLst>
            <a:rect l="0" t="0" r="r" b="b"/>
            <a:pathLst>
              <a:path w="74" h="150">
                <a:moveTo>
                  <a:pt x="73" y="40"/>
                </a:moveTo>
                <a:cubicBezTo>
                  <a:pt x="72" y="40"/>
                  <a:pt x="72" y="41"/>
                  <a:pt x="72" y="42"/>
                </a:cubicBezTo>
                <a:cubicBezTo>
                  <a:pt x="71" y="42"/>
                  <a:pt x="71" y="43"/>
                  <a:pt x="71" y="43"/>
                </a:cubicBezTo>
                <a:cubicBezTo>
                  <a:pt x="71" y="44"/>
                  <a:pt x="70" y="44"/>
                  <a:pt x="70" y="44"/>
                </a:cubicBezTo>
                <a:cubicBezTo>
                  <a:pt x="70" y="43"/>
                  <a:pt x="69" y="43"/>
                  <a:pt x="69" y="42"/>
                </a:cubicBezTo>
                <a:cubicBezTo>
                  <a:pt x="69" y="41"/>
                  <a:pt x="68" y="41"/>
                  <a:pt x="68" y="40"/>
                </a:cubicBezTo>
                <a:cubicBezTo>
                  <a:pt x="68" y="40"/>
                  <a:pt x="68" y="39"/>
                  <a:pt x="68" y="39"/>
                </a:cubicBezTo>
                <a:cubicBezTo>
                  <a:pt x="68" y="38"/>
                  <a:pt x="68" y="38"/>
                  <a:pt x="67" y="38"/>
                </a:cubicBezTo>
                <a:cubicBezTo>
                  <a:pt x="66" y="38"/>
                  <a:pt x="66" y="38"/>
                  <a:pt x="65" y="39"/>
                </a:cubicBezTo>
                <a:cubicBezTo>
                  <a:pt x="65" y="40"/>
                  <a:pt x="66" y="42"/>
                  <a:pt x="66" y="43"/>
                </a:cubicBezTo>
                <a:cubicBezTo>
                  <a:pt x="66" y="44"/>
                  <a:pt x="65" y="45"/>
                  <a:pt x="66" y="46"/>
                </a:cubicBezTo>
                <a:cubicBezTo>
                  <a:pt x="67" y="46"/>
                  <a:pt x="66" y="48"/>
                  <a:pt x="67" y="48"/>
                </a:cubicBezTo>
                <a:cubicBezTo>
                  <a:pt x="67" y="49"/>
                  <a:pt x="67" y="50"/>
                  <a:pt x="66" y="50"/>
                </a:cubicBezTo>
                <a:cubicBezTo>
                  <a:pt x="66" y="51"/>
                  <a:pt x="65" y="52"/>
                  <a:pt x="65" y="53"/>
                </a:cubicBezTo>
                <a:cubicBezTo>
                  <a:pt x="65" y="53"/>
                  <a:pt x="66" y="53"/>
                  <a:pt x="66" y="53"/>
                </a:cubicBezTo>
                <a:cubicBezTo>
                  <a:pt x="65" y="54"/>
                  <a:pt x="64" y="53"/>
                  <a:pt x="64" y="55"/>
                </a:cubicBezTo>
                <a:cubicBezTo>
                  <a:pt x="63" y="56"/>
                  <a:pt x="62" y="58"/>
                  <a:pt x="62" y="59"/>
                </a:cubicBezTo>
                <a:cubicBezTo>
                  <a:pt x="63" y="61"/>
                  <a:pt x="63" y="63"/>
                  <a:pt x="62" y="64"/>
                </a:cubicBezTo>
                <a:cubicBezTo>
                  <a:pt x="62" y="65"/>
                  <a:pt x="62" y="66"/>
                  <a:pt x="62" y="66"/>
                </a:cubicBezTo>
                <a:cubicBezTo>
                  <a:pt x="61" y="67"/>
                  <a:pt x="62" y="68"/>
                  <a:pt x="61" y="68"/>
                </a:cubicBezTo>
                <a:cubicBezTo>
                  <a:pt x="61" y="69"/>
                  <a:pt x="61" y="70"/>
                  <a:pt x="61" y="71"/>
                </a:cubicBezTo>
                <a:cubicBezTo>
                  <a:pt x="61" y="71"/>
                  <a:pt x="60" y="72"/>
                  <a:pt x="60" y="73"/>
                </a:cubicBezTo>
                <a:cubicBezTo>
                  <a:pt x="59" y="75"/>
                  <a:pt x="58" y="77"/>
                  <a:pt x="57" y="78"/>
                </a:cubicBezTo>
                <a:cubicBezTo>
                  <a:pt x="57" y="80"/>
                  <a:pt x="56" y="82"/>
                  <a:pt x="56" y="83"/>
                </a:cubicBezTo>
                <a:cubicBezTo>
                  <a:pt x="55" y="84"/>
                  <a:pt x="55" y="85"/>
                  <a:pt x="55" y="86"/>
                </a:cubicBezTo>
                <a:cubicBezTo>
                  <a:pt x="55" y="86"/>
                  <a:pt x="55" y="87"/>
                  <a:pt x="54" y="88"/>
                </a:cubicBezTo>
                <a:cubicBezTo>
                  <a:pt x="54" y="88"/>
                  <a:pt x="54" y="88"/>
                  <a:pt x="54" y="88"/>
                </a:cubicBezTo>
                <a:cubicBezTo>
                  <a:pt x="54" y="89"/>
                  <a:pt x="54" y="89"/>
                  <a:pt x="54" y="90"/>
                </a:cubicBezTo>
                <a:cubicBezTo>
                  <a:pt x="53" y="92"/>
                  <a:pt x="52" y="94"/>
                  <a:pt x="51" y="95"/>
                </a:cubicBezTo>
                <a:cubicBezTo>
                  <a:pt x="51" y="96"/>
                  <a:pt x="51" y="97"/>
                  <a:pt x="51" y="98"/>
                </a:cubicBezTo>
                <a:cubicBezTo>
                  <a:pt x="51" y="98"/>
                  <a:pt x="50" y="99"/>
                  <a:pt x="50" y="99"/>
                </a:cubicBezTo>
                <a:cubicBezTo>
                  <a:pt x="50" y="99"/>
                  <a:pt x="50" y="99"/>
                  <a:pt x="50" y="99"/>
                </a:cubicBezTo>
                <a:cubicBezTo>
                  <a:pt x="50" y="100"/>
                  <a:pt x="50" y="101"/>
                  <a:pt x="49" y="103"/>
                </a:cubicBezTo>
                <a:cubicBezTo>
                  <a:pt x="48" y="106"/>
                  <a:pt x="47" y="109"/>
                  <a:pt x="45" y="113"/>
                </a:cubicBezTo>
                <a:cubicBezTo>
                  <a:pt x="44" y="116"/>
                  <a:pt x="43" y="120"/>
                  <a:pt x="42" y="124"/>
                </a:cubicBezTo>
                <a:cubicBezTo>
                  <a:pt x="42" y="125"/>
                  <a:pt x="42" y="125"/>
                  <a:pt x="41" y="126"/>
                </a:cubicBezTo>
                <a:cubicBezTo>
                  <a:pt x="41" y="127"/>
                  <a:pt x="41" y="127"/>
                  <a:pt x="41" y="127"/>
                </a:cubicBezTo>
                <a:cubicBezTo>
                  <a:pt x="41" y="128"/>
                  <a:pt x="41" y="127"/>
                  <a:pt x="41" y="127"/>
                </a:cubicBezTo>
                <a:cubicBezTo>
                  <a:pt x="40" y="128"/>
                  <a:pt x="41" y="128"/>
                  <a:pt x="41" y="129"/>
                </a:cubicBezTo>
                <a:cubicBezTo>
                  <a:pt x="40" y="130"/>
                  <a:pt x="40" y="130"/>
                  <a:pt x="40" y="131"/>
                </a:cubicBezTo>
                <a:cubicBezTo>
                  <a:pt x="40" y="131"/>
                  <a:pt x="39" y="132"/>
                  <a:pt x="39" y="133"/>
                </a:cubicBezTo>
                <a:cubicBezTo>
                  <a:pt x="39" y="133"/>
                  <a:pt x="39" y="134"/>
                  <a:pt x="38" y="134"/>
                </a:cubicBezTo>
                <a:cubicBezTo>
                  <a:pt x="38" y="135"/>
                  <a:pt x="38" y="135"/>
                  <a:pt x="38" y="135"/>
                </a:cubicBezTo>
                <a:cubicBezTo>
                  <a:pt x="37" y="136"/>
                  <a:pt x="37" y="137"/>
                  <a:pt x="37" y="138"/>
                </a:cubicBezTo>
                <a:cubicBezTo>
                  <a:pt x="37" y="138"/>
                  <a:pt x="36" y="139"/>
                  <a:pt x="36" y="140"/>
                </a:cubicBezTo>
                <a:cubicBezTo>
                  <a:pt x="36" y="140"/>
                  <a:pt x="36" y="141"/>
                  <a:pt x="36" y="141"/>
                </a:cubicBezTo>
                <a:cubicBezTo>
                  <a:pt x="35" y="141"/>
                  <a:pt x="35" y="142"/>
                  <a:pt x="35" y="142"/>
                </a:cubicBezTo>
                <a:cubicBezTo>
                  <a:pt x="35" y="142"/>
                  <a:pt x="35" y="142"/>
                  <a:pt x="35" y="142"/>
                </a:cubicBezTo>
                <a:cubicBezTo>
                  <a:pt x="35" y="143"/>
                  <a:pt x="35" y="143"/>
                  <a:pt x="34" y="143"/>
                </a:cubicBezTo>
                <a:cubicBezTo>
                  <a:pt x="34" y="143"/>
                  <a:pt x="34" y="144"/>
                  <a:pt x="34" y="144"/>
                </a:cubicBezTo>
                <a:cubicBezTo>
                  <a:pt x="33" y="144"/>
                  <a:pt x="33" y="143"/>
                  <a:pt x="33" y="144"/>
                </a:cubicBezTo>
                <a:cubicBezTo>
                  <a:pt x="33" y="144"/>
                  <a:pt x="33" y="144"/>
                  <a:pt x="32" y="144"/>
                </a:cubicBezTo>
                <a:cubicBezTo>
                  <a:pt x="32" y="145"/>
                  <a:pt x="31" y="145"/>
                  <a:pt x="31" y="145"/>
                </a:cubicBezTo>
                <a:cubicBezTo>
                  <a:pt x="30" y="145"/>
                  <a:pt x="30" y="145"/>
                  <a:pt x="29" y="145"/>
                </a:cubicBezTo>
                <a:cubicBezTo>
                  <a:pt x="28" y="145"/>
                  <a:pt x="27" y="145"/>
                  <a:pt x="26" y="145"/>
                </a:cubicBezTo>
                <a:cubicBezTo>
                  <a:pt x="25" y="146"/>
                  <a:pt x="23" y="147"/>
                  <a:pt x="22" y="148"/>
                </a:cubicBezTo>
                <a:cubicBezTo>
                  <a:pt x="21" y="149"/>
                  <a:pt x="20" y="149"/>
                  <a:pt x="18" y="149"/>
                </a:cubicBezTo>
                <a:cubicBezTo>
                  <a:pt x="17" y="149"/>
                  <a:pt x="17" y="150"/>
                  <a:pt x="16" y="150"/>
                </a:cubicBezTo>
                <a:cubicBezTo>
                  <a:pt x="16" y="149"/>
                  <a:pt x="16" y="149"/>
                  <a:pt x="15" y="149"/>
                </a:cubicBezTo>
                <a:cubicBezTo>
                  <a:pt x="14" y="148"/>
                  <a:pt x="13" y="147"/>
                  <a:pt x="12" y="146"/>
                </a:cubicBezTo>
                <a:cubicBezTo>
                  <a:pt x="10" y="146"/>
                  <a:pt x="9" y="146"/>
                  <a:pt x="8" y="145"/>
                </a:cubicBezTo>
                <a:cubicBezTo>
                  <a:pt x="9" y="145"/>
                  <a:pt x="9" y="145"/>
                  <a:pt x="9" y="145"/>
                </a:cubicBezTo>
                <a:cubicBezTo>
                  <a:pt x="10" y="146"/>
                  <a:pt x="9" y="145"/>
                  <a:pt x="9" y="145"/>
                </a:cubicBezTo>
                <a:cubicBezTo>
                  <a:pt x="9" y="145"/>
                  <a:pt x="8" y="145"/>
                  <a:pt x="8" y="144"/>
                </a:cubicBezTo>
                <a:cubicBezTo>
                  <a:pt x="8" y="144"/>
                  <a:pt x="7" y="144"/>
                  <a:pt x="7" y="144"/>
                </a:cubicBezTo>
                <a:cubicBezTo>
                  <a:pt x="7" y="143"/>
                  <a:pt x="6" y="143"/>
                  <a:pt x="6" y="143"/>
                </a:cubicBezTo>
                <a:cubicBezTo>
                  <a:pt x="6" y="143"/>
                  <a:pt x="6" y="142"/>
                  <a:pt x="6" y="142"/>
                </a:cubicBezTo>
                <a:cubicBezTo>
                  <a:pt x="6" y="141"/>
                  <a:pt x="5" y="141"/>
                  <a:pt x="5" y="140"/>
                </a:cubicBezTo>
                <a:cubicBezTo>
                  <a:pt x="5" y="140"/>
                  <a:pt x="5" y="140"/>
                  <a:pt x="5" y="139"/>
                </a:cubicBezTo>
                <a:cubicBezTo>
                  <a:pt x="5" y="137"/>
                  <a:pt x="3" y="137"/>
                  <a:pt x="3" y="135"/>
                </a:cubicBezTo>
                <a:cubicBezTo>
                  <a:pt x="3" y="133"/>
                  <a:pt x="3" y="131"/>
                  <a:pt x="3" y="129"/>
                </a:cubicBezTo>
                <a:cubicBezTo>
                  <a:pt x="3" y="129"/>
                  <a:pt x="3" y="128"/>
                  <a:pt x="3" y="128"/>
                </a:cubicBezTo>
                <a:cubicBezTo>
                  <a:pt x="4" y="128"/>
                  <a:pt x="4" y="127"/>
                  <a:pt x="4" y="126"/>
                </a:cubicBezTo>
                <a:cubicBezTo>
                  <a:pt x="4" y="125"/>
                  <a:pt x="3" y="125"/>
                  <a:pt x="3" y="124"/>
                </a:cubicBezTo>
                <a:cubicBezTo>
                  <a:pt x="3" y="123"/>
                  <a:pt x="3" y="122"/>
                  <a:pt x="3" y="122"/>
                </a:cubicBezTo>
                <a:cubicBezTo>
                  <a:pt x="2" y="121"/>
                  <a:pt x="1" y="120"/>
                  <a:pt x="1" y="120"/>
                </a:cubicBezTo>
                <a:cubicBezTo>
                  <a:pt x="1" y="119"/>
                  <a:pt x="1" y="117"/>
                  <a:pt x="1" y="116"/>
                </a:cubicBezTo>
                <a:cubicBezTo>
                  <a:pt x="0" y="116"/>
                  <a:pt x="0" y="115"/>
                  <a:pt x="0" y="114"/>
                </a:cubicBezTo>
                <a:cubicBezTo>
                  <a:pt x="0" y="113"/>
                  <a:pt x="0" y="113"/>
                  <a:pt x="0" y="113"/>
                </a:cubicBezTo>
                <a:cubicBezTo>
                  <a:pt x="0" y="112"/>
                  <a:pt x="1" y="113"/>
                  <a:pt x="1" y="112"/>
                </a:cubicBezTo>
                <a:cubicBezTo>
                  <a:pt x="1" y="112"/>
                  <a:pt x="0" y="111"/>
                  <a:pt x="0" y="111"/>
                </a:cubicBezTo>
                <a:cubicBezTo>
                  <a:pt x="0" y="110"/>
                  <a:pt x="1" y="110"/>
                  <a:pt x="1" y="109"/>
                </a:cubicBezTo>
                <a:cubicBezTo>
                  <a:pt x="1" y="109"/>
                  <a:pt x="1" y="108"/>
                  <a:pt x="1" y="109"/>
                </a:cubicBezTo>
                <a:cubicBezTo>
                  <a:pt x="1" y="109"/>
                  <a:pt x="1" y="109"/>
                  <a:pt x="1" y="109"/>
                </a:cubicBezTo>
                <a:cubicBezTo>
                  <a:pt x="2" y="109"/>
                  <a:pt x="1" y="108"/>
                  <a:pt x="1" y="107"/>
                </a:cubicBezTo>
                <a:cubicBezTo>
                  <a:pt x="2" y="107"/>
                  <a:pt x="3" y="107"/>
                  <a:pt x="3" y="106"/>
                </a:cubicBezTo>
                <a:cubicBezTo>
                  <a:pt x="3" y="104"/>
                  <a:pt x="3" y="104"/>
                  <a:pt x="3" y="103"/>
                </a:cubicBezTo>
                <a:cubicBezTo>
                  <a:pt x="3" y="103"/>
                  <a:pt x="4" y="102"/>
                  <a:pt x="4" y="102"/>
                </a:cubicBezTo>
                <a:cubicBezTo>
                  <a:pt x="5" y="102"/>
                  <a:pt x="5" y="102"/>
                  <a:pt x="5" y="102"/>
                </a:cubicBezTo>
                <a:cubicBezTo>
                  <a:pt x="7" y="102"/>
                  <a:pt x="7" y="99"/>
                  <a:pt x="7" y="98"/>
                </a:cubicBezTo>
                <a:cubicBezTo>
                  <a:pt x="8" y="97"/>
                  <a:pt x="9" y="96"/>
                  <a:pt x="9" y="95"/>
                </a:cubicBezTo>
                <a:cubicBezTo>
                  <a:pt x="9" y="95"/>
                  <a:pt x="10" y="93"/>
                  <a:pt x="10" y="93"/>
                </a:cubicBezTo>
                <a:cubicBezTo>
                  <a:pt x="10" y="93"/>
                  <a:pt x="10" y="93"/>
                  <a:pt x="11" y="92"/>
                </a:cubicBezTo>
                <a:cubicBezTo>
                  <a:pt x="11" y="92"/>
                  <a:pt x="11" y="92"/>
                  <a:pt x="11" y="91"/>
                </a:cubicBezTo>
                <a:cubicBezTo>
                  <a:pt x="11" y="91"/>
                  <a:pt x="12" y="90"/>
                  <a:pt x="12" y="90"/>
                </a:cubicBezTo>
                <a:cubicBezTo>
                  <a:pt x="12" y="89"/>
                  <a:pt x="13" y="89"/>
                  <a:pt x="13" y="88"/>
                </a:cubicBezTo>
                <a:cubicBezTo>
                  <a:pt x="13" y="87"/>
                  <a:pt x="13" y="87"/>
                  <a:pt x="13" y="86"/>
                </a:cubicBezTo>
                <a:cubicBezTo>
                  <a:pt x="12" y="86"/>
                  <a:pt x="13" y="84"/>
                  <a:pt x="13" y="83"/>
                </a:cubicBezTo>
                <a:cubicBezTo>
                  <a:pt x="14" y="81"/>
                  <a:pt x="12" y="80"/>
                  <a:pt x="11" y="78"/>
                </a:cubicBezTo>
                <a:cubicBezTo>
                  <a:pt x="11" y="77"/>
                  <a:pt x="12" y="76"/>
                  <a:pt x="12" y="75"/>
                </a:cubicBezTo>
                <a:cubicBezTo>
                  <a:pt x="12" y="74"/>
                  <a:pt x="11" y="73"/>
                  <a:pt x="11" y="72"/>
                </a:cubicBezTo>
                <a:cubicBezTo>
                  <a:pt x="10" y="72"/>
                  <a:pt x="10" y="71"/>
                  <a:pt x="10" y="71"/>
                </a:cubicBezTo>
                <a:cubicBezTo>
                  <a:pt x="10" y="70"/>
                  <a:pt x="10" y="69"/>
                  <a:pt x="10" y="69"/>
                </a:cubicBezTo>
                <a:cubicBezTo>
                  <a:pt x="10" y="68"/>
                  <a:pt x="10" y="66"/>
                  <a:pt x="10" y="65"/>
                </a:cubicBezTo>
                <a:cubicBezTo>
                  <a:pt x="10" y="64"/>
                  <a:pt x="10" y="63"/>
                  <a:pt x="10" y="62"/>
                </a:cubicBezTo>
                <a:cubicBezTo>
                  <a:pt x="9" y="61"/>
                  <a:pt x="9" y="60"/>
                  <a:pt x="10" y="59"/>
                </a:cubicBezTo>
                <a:cubicBezTo>
                  <a:pt x="11" y="58"/>
                  <a:pt x="12" y="56"/>
                  <a:pt x="13" y="54"/>
                </a:cubicBezTo>
                <a:cubicBezTo>
                  <a:pt x="14" y="53"/>
                  <a:pt x="14" y="52"/>
                  <a:pt x="15" y="52"/>
                </a:cubicBezTo>
                <a:cubicBezTo>
                  <a:pt x="15" y="51"/>
                  <a:pt x="14" y="50"/>
                  <a:pt x="15" y="50"/>
                </a:cubicBezTo>
                <a:cubicBezTo>
                  <a:pt x="15" y="50"/>
                  <a:pt x="15" y="50"/>
                  <a:pt x="15" y="50"/>
                </a:cubicBezTo>
                <a:cubicBezTo>
                  <a:pt x="15" y="49"/>
                  <a:pt x="14" y="49"/>
                  <a:pt x="15" y="48"/>
                </a:cubicBezTo>
                <a:cubicBezTo>
                  <a:pt x="15" y="47"/>
                  <a:pt x="15" y="46"/>
                  <a:pt x="16" y="46"/>
                </a:cubicBezTo>
                <a:cubicBezTo>
                  <a:pt x="16" y="46"/>
                  <a:pt x="17" y="46"/>
                  <a:pt x="17" y="46"/>
                </a:cubicBezTo>
                <a:cubicBezTo>
                  <a:pt x="18" y="46"/>
                  <a:pt x="18" y="46"/>
                  <a:pt x="18" y="46"/>
                </a:cubicBezTo>
                <a:cubicBezTo>
                  <a:pt x="19" y="47"/>
                  <a:pt x="19" y="47"/>
                  <a:pt x="19" y="46"/>
                </a:cubicBezTo>
                <a:cubicBezTo>
                  <a:pt x="20" y="46"/>
                  <a:pt x="20" y="46"/>
                  <a:pt x="21" y="45"/>
                </a:cubicBezTo>
                <a:cubicBezTo>
                  <a:pt x="21" y="45"/>
                  <a:pt x="22" y="44"/>
                  <a:pt x="23" y="43"/>
                </a:cubicBezTo>
                <a:cubicBezTo>
                  <a:pt x="24" y="43"/>
                  <a:pt x="22" y="46"/>
                  <a:pt x="24" y="45"/>
                </a:cubicBezTo>
                <a:cubicBezTo>
                  <a:pt x="24" y="45"/>
                  <a:pt x="24" y="45"/>
                  <a:pt x="24" y="45"/>
                </a:cubicBezTo>
                <a:cubicBezTo>
                  <a:pt x="24" y="44"/>
                  <a:pt x="24" y="44"/>
                  <a:pt x="24" y="44"/>
                </a:cubicBezTo>
                <a:cubicBezTo>
                  <a:pt x="24" y="44"/>
                  <a:pt x="25" y="44"/>
                  <a:pt x="26" y="44"/>
                </a:cubicBezTo>
                <a:cubicBezTo>
                  <a:pt x="26" y="44"/>
                  <a:pt x="26" y="44"/>
                  <a:pt x="26" y="45"/>
                </a:cubicBezTo>
                <a:cubicBezTo>
                  <a:pt x="26" y="45"/>
                  <a:pt x="26" y="44"/>
                  <a:pt x="26" y="44"/>
                </a:cubicBezTo>
                <a:cubicBezTo>
                  <a:pt x="26" y="44"/>
                  <a:pt x="27" y="43"/>
                  <a:pt x="27" y="43"/>
                </a:cubicBezTo>
                <a:cubicBezTo>
                  <a:pt x="27" y="43"/>
                  <a:pt x="26" y="42"/>
                  <a:pt x="27" y="42"/>
                </a:cubicBezTo>
                <a:cubicBezTo>
                  <a:pt x="28" y="42"/>
                  <a:pt x="28" y="42"/>
                  <a:pt x="28" y="42"/>
                </a:cubicBezTo>
                <a:cubicBezTo>
                  <a:pt x="29" y="42"/>
                  <a:pt x="29" y="42"/>
                  <a:pt x="29" y="42"/>
                </a:cubicBezTo>
                <a:cubicBezTo>
                  <a:pt x="30" y="42"/>
                  <a:pt x="30" y="42"/>
                  <a:pt x="30" y="43"/>
                </a:cubicBezTo>
                <a:cubicBezTo>
                  <a:pt x="31" y="43"/>
                  <a:pt x="31" y="42"/>
                  <a:pt x="30" y="42"/>
                </a:cubicBezTo>
                <a:cubicBezTo>
                  <a:pt x="30" y="41"/>
                  <a:pt x="32" y="40"/>
                  <a:pt x="32" y="41"/>
                </a:cubicBezTo>
                <a:cubicBezTo>
                  <a:pt x="33" y="41"/>
                  <a:pt x="32" y="42"/>
                  <a:pt x="32" y="43"/>
                </a:cubicBezTo>
                <a:cubicBezTo>
                  <a:pt x="33" y="43"/>
                  <a:pt x="33" y="43"/>
                  <a:pt x="33" y="44"/>
                </a:cubicBezTo>
                <a:cubicBezTo>
                  <a:pt x="33" y="44"/>
                  <a:pt x="33" y="43"/>
                  <a:pt x="33" y="44"/>
                </a:cubicBezTo>
                <a:cubicBezTo>
                  <a:pt x="34" y="44"/>
                  <a:pt x="34" y="44"/>
                  <a:pt x="34" y="43"/>
                </a:cubicBezTo>
                <a:cubicBezTo>
                  <a:pt x="34" y="43"/>
                  <a:pt x="34" y="44"/>
                  <a:pt x="35" y="44"/>
                </a:cubicBezTo>
                <a:cubicBezTo>
                  <a:pt x="34" y="43"/>
                  <a:pt x="34" y="42"/>
                  <a:pt x="33" y="42"/>
                </a:cubicBezTo>
                <a:cubicBezTo>
                  <a:pt x="33" y="42"/>
                  <a:pt x="34" y="41"/>
                  <a:pt x="33" y="41"/>
                </a:cubicBezTo>
                <a:cubicBezTo>
                  <a:pt x="32" y="40"/>
                  <a:pt x="36" y="38"/>
                  <a:pt x="37" y="38"/>
                </a:cubicBezTo>
                <a:cubicBezTo>
                  <a:pt x="36" y="37"/>
                  <a:pt x="38" y="37"/>
                  <a:pt x="38" y="36"/>
                </a:cubicBezTo>
                <a:cubicBezTo>
                  <a:pt x="38" y="36"/>
                  <a:pt x="40" y="35"/>
                  <a:pt x="40" y="36"/>
                </a:cubicBezTo>
                <a:cubicBezTo>
                  <a:pt x="40" y="36"/>
                  <a:pt x="40" y="36"/>
                  <a:pt x="40" y="36"/>
                </a:cubicBezTo>
                <a:cubicBezTo>
                  <a:pt x="40" y="37"/>
                  <a:pt x="41" y="37"/>
                  <a:pt x="40" y="37"/>
                </a:cubicBezTo>
                <a:cubicBezTo>
                  <a:pt x="40" y="38"/>
                  <a:pt x="39" y="38"/>
                  <a:pt x="39" y="39"/>
                </a:cubicBezTo>
                <a:cubicBezTo>
                  <a:pt x="40" y="39"/>
                  <a:pt x="40" y="39"/>
                  <a:pt x="40" y="39"/>
                </a:cubicBezTo>
                <a:cubicBezTo>
                  <a:pt x="40" y="38"/>
                  <a:pt x="40" y="39"/>
                  <a:pt x="41" y="38"/>
                </a:cubicBezTo>
                <a:cubicBezTo>
                  <a:pt x="41" y="38"/>
                  <a:pt x="41" y="38"/>
                  <a:pt x="41" y="38"/>
                </a:cubicBezTo>
                <a:cubicBezTo>
                  <a:pt x="41" y="38"/>
                  <a:pt x="42" y="38"/>
                  <a:pt x="42" y="38"/>
                </a:cubicBezTo>
                <a:cubicBezTo>
                  <a:pt x="42" y="38"/>
                  <a:pt x="41" y="36"/>
                  <a:pt x="41" y="36"/>
                </a:cubicBezTo>
                <a:cubicBezTo>
                  <a:pt x="41" y="36"/>
                  <a:pt x="41" y="36"/>
                  <a:pt x="41" y="36"/>
                </a:cubicBezTo>
                <a:cubicBezTo>
                  <a:pt x="41" y="35"/>
                  <a:pt x="41" y="35"/>
                  <a:pt x="41" y="34"/>
                </a:cubicBezTo>
                <a:cubicBezTo>
                  <a:pt x="42" y="34"/>
                  <a:pt x="42" y="33"/>
                  <a:pt x="43" y="32"/>
                </a:cubicBezTo>
                <a:cubicBezTo>
                  <a:pt x="43" y="32"/>
                  <a:pt x="44" y="32"/>
                  <a:pt x="44" y="32"/>
                </a:cubicBezTo>
                <a:cubicBezTo>
                  <a:pt x="44" y="31"/>
                  <a:pt x="43" y="32"/>
                  <a:pt x="43" y="31"/>
                </a:cubicBezTo>
                <a:cubicBezTo>
                  <a:pt x="43" y="31"/>
                  <a:pt x="45" y="29"/>
                  <a:pt x="45" y="30"/>
                </a:cubicBezTo>
                <a:cubicBezTo>
                  <a:pt x="45" y="31"/>
                  <a:pt x="45" y="31"/>
                  <a:pt x="45" y="32"/>
                </a:cubicBezTo>
                <a:cubicBezTo>
                  <a:pt x="44" y="32"/>
                  <a:pt x="44" y="33"/>
                  <a:pt x="44" y="33"/>
                </a:cubicBezTo>
                <a:cubicBezTo>
                  <a:pt x="44" y="34"/>
                  <a:pt x="44" y="34"/>
                  <a:pt x="44" y="34"/>
                </a:cubicBezTo>
                <a:cubicBezTo>
                  <a:pt x="45" y="34"/>
                  <a:pt x="45" y="33"/>
                  <a:pt x="45" y="33"/>
                </a:cubicBezTo>
                <a:cubicBezTo>
                  <a:pt x="46" y="32"/>
                  <a:pt x="47" y="30"/>
                  <a:pt x="48" y="28"/>
                </a:cubicBezTo>
                <a:cubicBezTo>
                  <a:pt x="48" y="29"/>
                  <a:pt x="49" y="29"/>
                  <a:pt x="49" y="30"/>
                </a:cubicBezTo>
                <a:cubicBezTo>
                  <a:pt x="49" y="30"/>
                  <a:pt x="49" y="29"/>
                  <a:pt x="50" y="29"/>
                </a:cubicBezTo>
                <a:cubicBezTo>
                  <a:pt x="50" y="29"/>
                  <a:pt x="50" y="30"/>
                  <a:pt x="50" y="30"/>
                </a:cubicBezTo>
                <a:cubicBezTo>
                  <a:pt x="50" y="30"/>
                  <a:pt x="50" y="28"/>
                  <a:pt x="49" y="28"/>
                </a:cubicBezTo>
                <a:cubicBezTo>
                  <a:pt x="49" y="28"/>
                  <a:pt x="49" y="29"/>
                  <a:pt x="48" y="29"/>
                </a:cubicBezTo>
                <a:cubicBezTo>
                  <a:pt x="48" y="28"/>
                  <a:pt x="48" y="28"/>
                  <a:pt x="48" y="28"/>
                </a:cubicBezTo>
                <a:cubicBezTo>
                  <a:pt x="48" y="28"/>
                  <a:pt x="48" y="29"/>
                  <a:pt x="48" y="29"/>
                </a:cubicBezTo>
                <a:cubicBezTo>
                  <a:pt x="47" y="29"/>
                  <a:pt x="47" y="28"/>
                  <a:pt x="47" y="28"/>
                </a:cubicBezTo>
                <a:cubicBezTo>
                  <a:pt x="47" y="27"/>
                  <a:pt x="47" y="27"/>
                  <a:pt x="47" y="26"/>
                </a:cubicBezTo>
                <a:cubicBezTo>
                  <a:pt x="48" y="26"/>
                  <a:pt x="48" y="25"/>
                  <a:pt x="48" y="25"/>
                </a:cubicBezTo>
                <a:cubicBezTo>
                  <a:pt x="49" y="25"/>
                  <a:pt x="49" y="25"/>
                  <a:pt x="49" y="25"/>
                </a:cubicBezTo>
                <a:cubicBezTo>
                  <a:pt x="50" y="24"/>
                  <a:pt x="49" y="24"/>
                  <a:pt x="49" y="23"/>
                </a:cubicBezTo>
                <a:cubicBezTo>
                  <a:pt x="51" y="23"/>
                  <a:pt x="50" y="26"/>
                  <a:pt x="50" y="26"/>
                </a:cubicBezTo>
                <a:cubicBezTo>
                  <a:pt x="50" y="26"/>
                  <a:pt x="50" y="24"/>
                  <a:pt x="50" y="24"/>
                </a:cubicBezTo>
                <a:cubicBezTo>
                  <a:pt x="51" y="23"/>
                  <a:pt x="51" y="23"/>
                  <a:pt x="50" y="23"/>
                </a:cubicBezTo>
                <a:cubicBezTo>
                  <a:pt x="50" y="23"/>
                  <a:pt x="49" y="22"/>
                  <a:pt x="50" y="22"/>
                </a:cubicBezTo>
                <a:cubicBezTo>
                  <a:pt x="50" y="22"/>
                  <a:pt x="50" y="22"/>
                  <a:pt x="50" y="21"/>
                </a:cubicBezTo>
                <a:cubicBezTo>
                  <a:pt x="49" y="21"/>
                  <a:pt x="49" y="19"/>
                  <a:pt x="50" y="19"/>
                </a:cubicBezTo>
                <a:cubicBezTo>
                  <a:pt x="49" y="18"/>
                  <a:pt x="49" y="18"/>
                  <a:pt x="50" y="18"/>
                </a:cubicBezTo>
                <a:cubicBezTo>
                  <a:pt x="50" y="17"/>
                  <a:pt x="50" y="17"/>
                  <a:pt x="50" y="17"/>
                </a:cubicBezTo>
                <a:cubicBezTo>
                  <a:pt x="50" y="17"/>
                  <a:pt x="50" y="17"/>
                  <a:pt x="51" y="17"/>
                </a:cubicBezTo>
                <a:cubicBezTo>
                  <a:pt x="51" y="17"/>
                  <a:pt x="51" y="17"/>
                  <a:pt x="51" y="17"/>
                </a:cubicBezTo>
                <a:cubicBezTo>
                  <a:pt x="51" y="17"/>
                  <a:pt x="51" y="18"/>
                  <a:pt x="51" y="18"/>
                </a:cubicBezTo>
                <a:cubicBezTo>
                  <a:pt x="52" y="18"/>
                  <a:pt x="52" y="18"/>
                  <a:pt x="52" y="19"/>
                </a:cubicBezTo>
                <a:cubicBezTo>
                  <a:pt x="52" y="19"/>
                  <a:pt x="53" y="20"/>
                  <a:pt x="53" y="20"/>
                </a:cubicBezTo>
                <a:cubicBezTo>
                  <a:pt x="54" y="20"/>
                  <a:pt x="54" y="19"/>
                  <a:pt x="54" y="18"/>
                </a:cubicBezTo>
                <a:cubicBezTo>
                  <a:pt x="54" y="18"/>
                  <a:pt x="54" y="17"/>
                  <a:pt x="54" y="17"/>
                </a:cubicBezTo>
                <a:cubicBezTo>
                  <a:pt x="54" y="17"/>
                  <a:pt x="54" y="17"/>
                  <a:pt x="54" y="17"/>
                </a:cubicBezTo>
                <a:cubicBezTo>
                  <a:pt x="55" y="17"/>
                  <a:pt x="55" y="17"/>
                  <a:pt x="55" y="17"/>
                </a:cubicBezTo>
                <a:cubicBezTo>
                  <a:pt x="56" y="17"/>
                  <a:pt x="55" y="15"/>
                  <a:pt x="55" y="15"/>
                </a:cubicBezTo>
                <a:cubicBezTo>
                  <a:pt x="55" y="15"/>
                  <a:pt x="56" y="16"/>
                  <a:pt x="56" y="16"/>
                </a:cubicBezTo>
                <a:cubicBezTo>
                  <a:pt x="56" y="16"/>
                  <a:pt x="57" y="16"/>
                  <a:pt x="58" y="15"/>
                </a:cubicBezTo>
                <a:cubicBezTo>
                  <a:pt x="58" y="15"/>
                  <a:pt x="58" y="14"/>
                  <a:pt x="59" y="14"/>
                </a:cubicBezTo>
                <a:cubicBezTo>
                  <a:pt x="59" y="13"/>
                  <a:pt x="58" y="13"/>
                  <a:pt x="59" y="12"/>
                </a:cubicBezTo>
                <a:cubicBezTo>
                  <a:pt x="59" y="11"/>
                  <a:pt x="60" y="10"/>
                  <a:pt x="59" y="8"/>
                </a:cubicBezTo>
                <a:cubicBezTo>
                  <a:pt x="59" y="7"/>
                  <a:pt x="59" y="7"/>
                  <a:pt x="59" y="7"/>
                </a:cubicBezTo>
                <a:cubicBezTo>
                  <a:pt x="59" y="6"/>
                  <a:pt x="59" y="6"/>
                  <a:pt x="59" y="6"/>
                </a:cubicBezTo>
                <a:cubicBezTo>
                  <a:pt x="59" y="6"/>
                  <a:pt x="58" y="5"/>
                  <a:pt x="58" y="5"/>
                </a:cubicBezTo>
                <a:cubicBezTo>
                  <a:pt x="58" y="5"/>
                  <a:pt x="58" y="4"/>
                  <a:pt x="59" y="5"/>
                </a:cubicBezTo>
                <a:cubicBezTo>
                  <a:pt x="59" y="5"/>
                  <a:pt x="59" y="6"/>
                  <a:pt x="60" y="6"/>
                </a:cubicBezTo>
                <a:cubicBezTo>
                  <a:pt x="60" y="5"/>
                  <a:pt x="60" y="5"/>
                  <a:pt x="60" y="5"/>
                </a:cubicBezTo>
                <a:cubicBezTo>
                  <a:pt x="60" y="4"/>
                  <a:pt x="60" y="4"/>
                  <a:pt x="60" y="4"/>
                </a:cubicBezTo>
                <a:cubicBezTo>
                  <a:pt x="60" y="4"/>
                  <a:pt x="61" y="4"/>
                  <a:pt x="61" y="4"/>
                </a:cubicBezTo>
                <a:cubicBezTo>
                  <a:pt x="61" y="3"/>
                  <a:pt x="62" y="3"/>
                  <a:pt x="62" y="3"/>
                </a:cubicBezTo>
                <a:cubicBezTo>
                  <a:pt x="62" y="3"/>
                  <a:pt x="62" y="2"/>
                  <a:pt x="62" y="2"/>
                </a:cubicBezTo>
                <a:cubicBezTo>
                  <a:pt x="63" y="1"/>
                  <a:pt x="62" y="1"/>
                  <a:pt x="62" y="1"/>
                </a:cubicBezTo>
                <a:cubicBezTo>
                  <a:pt x="62" y="1"/>
                  <a:pt x="62" y="1"/>
                  <a:pt x="62" y="1"/>
                </a:cubicBezTo>
                <a:cubicBezTo>
                  <a:pt x="62" y="1"/>
                  <a:pt x="63" y="1"/>
                  <a:pt x="63" y="1"/>
                </a:cubicBezTo>
                <a:cubicBezTo>
                  <a:pt x="63" y="1"/>
                  <a:pt x="63" y="1"/>
                  <a:pt x="63" y="1"/>
                </a:cubicBezTo>
                <a:cubicBezTo>
                  <a:pt x="62" y="0"/>
                  <a:pt x="63" y="0"/>
                  <a:pt x="63" y="0"/>
                </a:cubicBezTo>
                <a:cubicBezTo>
                  <a:pt x="64" y="0"/>
                  <a:pt x="64" y="2"/>
                  <a:pt x="64" y="2"/>
                </a:cubicBezTo>
                <a:cubicBezTo>
                  <a:pt x="64" y="2"/>
                  <a:pt x="63" y="2"/>
                  <a:pt x="63" y="2"/>
                </a:cubicBezTo>
                <a:cubicBezTo>
                  <a:pt x="63" y="2"/>
                  <a:pt x="63" y="3"/>
                  <a:pt x="63" y="3"/>
                </a:cubicBezTo>
                <a:cubicBezTo>
                  <a:pt x="64" y="3"/>
                  <a:pt x="63" y="3"/>
                  <a:pt x="63" y="3"/>
                </a:cubicBezTo>
                <a:cubicBezTo>
                  <a:pt x="62" y="4"/>
                  <a:pt x="63" y="3"/>
                  <a:pt x="64" y="3"/>
                </a:cubicBezTo>
                <a:cubicBezTo>
                  <a:pt x="64" y="3"/>
                  <a:pt x="64" y="4"/>
                  <a:pt x="64" y="3"/>
                </a:cubicBezTo>
                <a:cubicBezTo>
                  <a:pt x="64" y="3"/>
                  <a:pt x="64" y="3"/>
                  <a:pt x="64" y="3"/>
                </a:cubicBezTo>
                <a:cubicBezTo>
                  <a:pt x="65" y="3"/>
                  <a:pt x="65" y="4"/>
                  <a:pt x="65" y="4"/>
                </a:cubicBezTo>
                <a:cubicBezTo>
                  <a:pt x="65" y="4"/>
                  <a:pt x="66" y="5"/>
                  <a:pt x="66" y="5"/>
                </a:cubicBezTo>
                <a:cubicBezTo>
                  <a:pt x="65" y="5"/>
                  <a:pt x="66" y="5"/>
                  <a:pt x="66" y="5"/>
                </a:cubicBezTo>
                <a:cubicBezTo>
                  <a:pt x="66" y="5"/>
                  <a:pt x="66" y="5"/>
                  <a:pt x="66" y="6"/>
                </a:cubicBezTo>
                <a:cubicBezTo>
                  <a:pt x="66" y="6"/>
                  <a:pt x="66" y="6"/>
                  <a:pt x="66" y="6"/>
                </a:cubicBezTo>
                <a:cubicBezTo>
                  <a:pt x="66" y="6"/>
                  <a:pt x="66" y="7"/>
                  <a:pt x="66" y="7"/>
                </a:cubicBezTo>
                <a:cubicBezTo>
                  <a:pt x="66" y="8"/>
                  <a:pt x="67" y="8"/>
                  <a:pt x="67" y="9"/>
                </a:cubicBezTo>
                <a:cubicBezTo>
                  <a:pt x="67" y="9"/>
                  <a:pt x="67" y="9"/>
                  <a:pt x="67" y="8"/>
                </a:cubicBezTo>
                <a:cubicBezTo>
                  <a:pt x="68" y="8"/>
                  <a:pt x="68" y="9"/>
                  <a:pt x="68" y="9"/>
                </a:cubicBezTo>
                <a:cubicBezTo>
                  <a:pt x="68" y="10"/>
                  <a:pt x="68" y="10"/>
                  <a:pt x="69" y="10"/>
                </a:cubicBezTo>
                <a:cubicBezTo>
                  <a:pt x="69" y="10"/>
                  <a:pt x="68" y="10"/>
                  <a:pt x="69" y="10"/>
                </a:cubicBezTo>
                <a:cubicBezTo>
                  <a:pt x="69" y="11"/>
                  <a:pt x="69" y="12"/>
                  <a:pt x="69" y="13"/>
                </a:cubicBezTo>
                <a:cubicBezTo>
                  <a:pt x="69" y="13"/>
                  <a:pt x="69" y="15"/>
                  <a:pt x="70" y="15"/>
                </a:cubicBezTo>
                <a:cubicBezTo>
                  <a:pt x="70" y="15"/>
                  <a:pt x="70" y="15"/>
                  <a:pt x="70" y="15"/>
                </a:cubicBezTo>
                <a:cubicBezTo>
                  <a:pt x="70" y="15"/>
                  <a:pt x="70" y="16"/>
                  <a:pt x="70" y="16"/>
                </a:cubicBezTo>
                <a:cubicBezTo>
                  <a:pt x="70" y="17"/>
                  <a:pt x="70" y="18"/>
                  <a:pt x="71" y="18"/>
                </a:cubicBezTo>
                <a:cubicBezTo>
                  <a:pt x="71" y="19"/>
                  <a:pt x="71" y="20"/>
                  <a:pt x="71" y="21"/>
                </a:cubicBezTo>
                <a:cubicBezTo>
                  <a:pt x="71" y="22"/>
                  <a:pt x="71" y="23"/>
                  <a:pt x="71" y="24"/>
                </a:cubicBezTo>
                <a:cubicBezTo>
                  <a:pt x="71" y="24"/>
                  <a:pt x="71" y="24"/>
                  <a:pt x="71" y="25"/>
                </a:cubicBezTo>
                <a:cubicBezTo>
                  <a:pt x="71" y="25"/>
                  <a:pt x="71" y="25"/>
                  <a:pt x="71" y="26"/>
                </a:cubicBezTo>
                <a:cubicBezTo>
                  <a:pt x="71" y="26"/>
                  <a:pt x="71" y="27"/>
                  <a:pt x="71" y="28"/>
                </a:cubicBezTo>
                <a:cubicBezTo>
                  <a:pt x="71" y="29"/>
                  <a:pt x="71" y="30"/>
                  <a:pt x="71" y="31"/>
                </a:cubicBezTo>
                <a:cubicBezTo>
                  <a:pt x="72" y="32"/>
                  <a:pt x="72" y="34"/>
                  <a:pt x="73" y="35"/>
                </a:cubicBezTo>
                <a:cubicBezTo>
                  <a:pt x="74" y="36"/>
                  <a:pt x="73" y="38"/>
                  <a:pt x="73" y="40"/>
                </a:cubicBezTo>
                <a:close/>
                <a:moveTo>
                  <a:pt x="67" y="54"/>
                </a:moveTo>
                <a:cubicBezTo>
                  <a:pt x="66" y="54"/>
                  <a:pt x="66" y="55"/>
                  <a:pt x="66" y="56"/>
                </a:cubicBezTo>
                <a:cubicBezTo>
                  <a:pt x="67" y="55"/>
                  <a:pt x="68" y="53"/>
                  <a:pt x="68" y="52"/>
                </a:cubicBezTo>
                <a:cubicBezTo>
                  <a:pt x="67" y="52"/>
                  <a:pt x="67" y="53"/>
                  <a:pt x="67" y="54"/>
                </a:cubicBezTo>
                <a:close/>
                <a:moveTo>
                  <a:pt x="54" y="16"/>
                </a:moveTo>
                <a:cubicBezTo>
                  <a:pt x="54" y="16"/>
                  <a:pt x="54" y="15"/>
                  <a:pt x="54" y="15"/>
                </a:cubicBezTo>
                <a:cubicBezTo>
                  <a:pt x="54" y="15"/>
                  <a:pt x="54" y="15"/>
                  <a:pt x="54" y="15"/>
                </a:cubicBezTo>
                <a:cubicBezTo>
                  <a:pt x="54" y="14"/>
                  <a:pt x="54" y="14"/>
                  <a:pt x="54" y="14"/>
                </a:cubicBezTo>
                <a:cubicBezTo>
                  <a:pt x="53" y="14"/>
                  <a:pt x="54" y="14"/>
                  <a:pt x="54" y="14"/>
                </a:cubicBezTo>
                <a:cubicBezTo>
                  <a:pt x="53" y="13"/>
                  <a:pt x="53" y="14"/>
                  <a:pt x="53" y="14"/>
                </a:cubicBezTo>
                <a:cubicBezTo>
                  <a:pt x="53" y="14"/>
                  <a:pt x="52" y="14"/>
                  <a:pt x="52" y="14"/>
                </a:cubicBezTo>
                <a:cubicBezTo>
                  <a:pt x="52" y="14"/>
                  <a:pt x="52" y="15"/>
                  <a:pt x="52" y="15"/>
                </a:cubicBezTo>
                <a:cubicBezTo>
                  <a:pt x="53" y="16"/>
                  <a:pt x="53" y="15"/>
                  <a:pt x="54" y="1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0" name="Macedonia"/>
          <p:cNvSpPr>
            <a:spLocks/>
          </p:cNvSpPr>
          <p:nvPr/>
        </p:nvSpPr>
        <p:spPr bwMode="auto">
          <a:xfrm>
            <a:off x="6478057" y="2982000"/>
            <a:ext cx="82997" cy="60998"/>
          </a:xfrm>
          <a:custGeom>
            <a:avLst/>
            <a:gdLst/>
            <a:ahLst/>
            <a:cxnLst>
              <a:cxn ang="0">
                <a:pos x="23" y="7"/>
              </a:cxn>
              <a:cxn ang="0">
                <a:pos x="22" y="5"/>
              </a:cxn>
              <a:cxn ang="0">
                <a:pos x="21" y="3"/>
              </a:cxn>
              <a:cxn ang="0">
                <a:pos x="19" y="3"/>
              </a:cxn>
              <a:cxn ang="0">
                <a:pos x="17" y="1"/>
              </a:cxn>
              <a:cxn ang="0">
                <a:pos x="16" y="0"/>
              </a:cxn>
              <a:cxn ang="0">
                <a:pos x="15" y="1"/>
              </a:cxn>
              <a:cxn ang="0">
                <a:pos x="14" y="1"/>
              </a:cxn>
              <a:cxn ang="0">
                <a:pos x="13" y="0"/>
              </a:cxn>
              <a:cxn ang="0">
                <a:pos x="12" y="1"/>
              </a:cxn>
              <a:cxn ang="0">
                <a:pos x="11" y="1"/>
              </a:cxn>
              <a:cxn ang="0">
                <a:pos x="9" y="1"/>
              </a:cxn>
              <a:cxn ang="0">
                <a:pos x="9" y="2"/>
              </a:cxn>
              <a:cxn ang="0">
                <a:pos x="7" y="3"/>
              </a:cxn>
              <a:cxn ang="0">
                <a:pos x="6" y="2"/>
              </a:cxn>
              <a:cxn ang="0">
                <a:pos x="5" y="2"/>
              </a:cxn>
              <a:cxn ang="0">
                <a:pos x="3" y="4"/>
              </a:cxn>
              <a:cxn ang="0">
                <a:pos x="3" y="5"/>
              </a:cxn>
              <a:cxn ang="0">
                <a:pos x="2" y="5"/>
              </a:cxn>
              <a:cxn ang="0">
                <a:pos x="1" y="6"/>
              </a:cxn>
              <a:cxn ang="0">
                <a:pos x="1" y="6"/>
              </a:cxn>
              <a:cxn ang="0">
                <a:pos x="1" y="7"/>
              </a:cxn>
              <a:cxn ang="0">
                <a:pos x="1" y="8"/>
              </a:cxn>
              <a:cxn ang="0">
                <a:pos x="0" y="9"/>
              </a:cxn>
              <a:cxn ang="0">
                <a:pos x="1" y="11"/>
              </a:cxn>
              <a:cxn ang="0">
                <a:pos x="1" y="12"/>
              </a:cxn>
              <a:cxn ang="0">
                <a:pos x="2" y="14"/>
              </a:cxn>
              <a:cxn ang="0">
                <a:pos x="3" y="14"/>
              </a:cxn>
              <a:cxn ang="0">
                <a:pos x="3" y="16"/>
              </a:cxn>
              <a:cxn ang="0">
                <a:pos x="4" y="16"/>
              </a:cxn>
              <a:cxn ang="0">
                <a:pos x="5" y="16"/>
              </a:cxn>
              <a:cxn ang="0">
                <a:pos x="7" y="16"/>
              </a:cxn>
              <a:cxn ang="0">
                <a:pos x="8" y="16"/>
              </a:cxn>
              <a:cxn ang="0">
                <a:pos x="9" y="16"/>
              </a:cxn>
              <a:cxn ang="0">
                <a:pos x="11" y="16"/>
              </a:cxn>
              <a:cxn ang="0">
                <a:pos x="12" y="16"/>
              </a:cxn>
              <a:cxn ang="0">
                <a:pos x="13" y="15"/>
              </a:cxn>
              <a:cxn ang="0">
                <a:pos x="15" y="13"/>
              </a:cxn>
              <a:cxn ang="0">
                <a:pos x="15" y="13"/>
              </a:cxn>
              <a:cxn ang="0">
                <a:pos x="16" y="13"/>
              </a:cxn>
              <a:cxn ang="0">
                <a:pos x="17" y="13"/>
              </a:cxn>
              <a:cxn ang="0">
                <a:pos x="19" y="14"/>
              </a:cxn>
              <a:cxn ang="0">
                <a:pos x="20" y="13"/>
              </a:cxn>
              <a:cxn ang="0">
                <a:pos x="20" y="13"/>
              </a:cxn>
              <a:cxn ang="0">
                <a:pos x="21" y="13"/>
              </a:cxn>
              <a:cxn ang="0">
                <a:pos x="21" y="12"/>
              </a:cxn>
              <a:cxn ang="0">
                <a:pos x="22" y="11"/>
              </a:cxn>
              <a:cxn ang="0">
                <a:pos x="22" y="11"/>
              </a:cxn>
              <a:cxn ang="0">
                <a:pos x="22" y="8"/>
              </a:cxn>
              <a:cxn ang="0">
                <a:pos x="23" y="7"/>
              </a:cxn>
            </a:cxnLst>
            <a:rect l="0" t="0" r="r" b="b"/>
            <a:pathLst>
              <a:path w="23" h="17">
                <a:moveTo>
                  <a:pt x="23" y="7"/>
                </a:moveTo>
                <a:cubicBezTo>
                  <a:pt x="22" y="6"/>
                  <a:pt x="22" y="6"/>
                  <a:pt x="22" y="5"/>
                </a:cubicBezTo>
                <a:cubicBezTo>
                  <a:pt x="22" y="4"/>
                  <a:pt x="22" y="4"/>
                  <a:pt x="21" y="3"/>
                </a:cubicBezTo>
                <a:cubicBezTo>
                  <a:pt x="20" y="3"/>
                  <a:pt x="20" y="3"/>
                  <a:pt x="19" y="3"/>
                </a:cubicBezTo>
                <a:cubicBezTo>
                  <a:pt x="18" y="2"/>
                  <a:pt x="18" y="1"/>
                  <a:pt x="17" y="1"/>
                </a:cubicBezTo>
                <a:cubicBezTo>
                  <a:pt x="16" y="0"/>
                  <a:pt x="16" y="1"/>
                  <a:pt x="16" y="0"/>
                </a:cubicBezTo>
                <a:cubicBezTo>
                  <a:pt x="16" y="0"/>
                  <a:pt x="15" y="0"/>
                  <a:pt x="15" y="1"/>
                </a:cubicBezTo>
                <a:cubicBezTo>
                  <a:pt x="14" y="1"/>
                  <a:pt x="14" y="1"/>
                  <a:pt x="14" y="1"/>
                </a:cubicBezTo>
                <a:cubicBezTo>
                  <a:pt x="14" y="1"/>
                  <a:pt x="14" y="0"/>
                  <a:pt x="13" y="0"/>
                </a:cubicBezTo>
                <a:cubicBezTo>
                  <a:pt x="13" y="0"/>
                  <a:pt x="12" y="1"/>
                  <a:pt x="12" y="1"/>
                </a:cubicBezTo>
                <a:cubicBezTo>
                  <a:pt x="11" y="1"/>
                  <a:pt x="11" y="1"/>
                  <a:pt x="11" y="1"/>
                </a:cubicBezTo>
                <a:cubicBezTo>
                  <a:pt x="10" y="1"/>
                  <a:pt x="10" y="1"/>
                  <a:pt x="9" y="1"/>
                </a:cubicBezTo>
                <a:cubicBezTo>
                  <a:pt x="9" y="1"/>
                  <a:pt x="8" y="1"/>
                  <a:pt x="9" y="2"/>
                </a:cubicBezTo>
                <a:cubicBezTo>
                  <a:pt x="7" y="2"/>
                  <a:pt x="8" y="3"/>
                  <a:pt x="7" y="3"/>
                </a:cubicBezTo>
                <a:cubicBezTo>
                  <a:pt x="7" y="4"/>
                  <a:pt x="7" y="2"/>
                  <a:pt x="6" y="2"/>
                </a:cubicBezTo>
                <a:cubicBezTo>
                  <a:pt x="6" y="2"/>
                  <a:pt x="6" y="2"/>
                  <a:pt x="5" y="2"/>
                </a:cubicBezTo>
                <a:cubicBezTo>
                  <a:pt x="4" y="3"/>
                  <a:pt x="3" y="3"/>
                  <a:pt x="3" y="4"/>
                </a:cubicBezTo>
                <a:cubicBezTo>
                  <a:pt x="3" y="4"/>
                  <a:pt x="3" y="5"/>
                  <a:pt x="3" y="5"/>
                </a:cubicBezTo>
                <a:cubicBezTo>
                  <a:pt x="2" y="6"/>
                  <a:pt x="2" y="5"/>
                  <a:pt x="2" y="5"/>
                </a:cubicBezTo>
                <a:cubicBezTo>
                  <a:pt x="2" y="6"/>
                  <a:pt x="1" y="5"/>
                  <a:pt x="1" y="6"/>
                </a:cubicBezTo>
                <a:cubicBezTo>
                  <a:pt x="1" y="6"/>
                  <a:pt x="1" y="6"/>
                  <a:pt x="1" y="6"/>
                </a:cubicBezTo>
                <a:cubicBezTo>
                  <a:pt x="1" y="6"/>
                  <a:pt x="1" y="6"/>
                  <a:pt x="1" y="7"/>
                </a:cubicBezTo>
                <a:cubicBezTo>
                  <a:pt x="1" y="7"/>
                  <a:pt x="1" y="8"/>
                  <a:pt x="1" y="8"/>
                </a:cubicBezTo>
                <a:cubicBezTo>
                  <a:pt x="1" y="9"/>
                  <a:pt x="0" y="9"/>
                  <a:pt x="0" y="9"/>
                </a:cubicBezTo>
                <a:cubicBezTo>
                  <a:pt x="0" y="10"/>
                  <a:pt x="1" y="10"/>
                  <a:pt x="1" y="11"/>
                </a:cubicBezTo>
                <a:cubicBezTo>
                  <a:pt x="1" y="11"/>
                  <a:pt x="1" y="11"/>
                  <a:pt x="1" y="12"/>
                </a:cubicBezTo>
                <a:cubicBezTo>
                  <a:pt x="1" y="13"/>
                  <a:pt x="2" y="13"/>
                  <a:pt x="2" y="14"/>
                </a:cubicBezTo>
                <a:cubicBezTo>
                  <a:pt x="2" y="14"/>
                  <a:pt x="2" y="14"/>
                  <a:pt x="3" y="14"/>
                </a:cubicBezTo>
                <a:cubicBezTo>
                  <a:pt x="3" y="15"/>
                  <a:pt x="3" y="16"/>
                  <a:pt x="3" y="16"/>
                </a:cubicBezTo>
                <a:cubicBezTo>
                  <a:pt x="4" y="16"/>
                  <a:pt x="4" y="16"/>
                  <a:pt x="4" y="16"/>
                </a:cubicBezTo>
                <a:cubicBezTo>
                  <a:pt x="5" y="16"/>
                  <a:pt x="5" y="16"/>
                  <a:pt x="5" y="16"/>
                </a:cubicBezTo>
                <a:cubicBezTo>
                  <a:pt x="5" y="17"/>
                  <a:pt x="7" y="16"/>
                  <a:pt x="7" y="16"/>
                </a:cubicBezTo>
                <a:cubicBezTo>
                  <a:pt x="7" y="16"/>
                  <a:pt x="7" y="16"/>
                  <a:pt x="8" y="16"/>
                </a:cubicBezTo>
                <a:cubicBezTo>
                  <a:pt x="8" y="16"/>
                  <a:pt x="9" y="16"/>
                  <a:pt x="9" y="16"/>
                </a:cubicBezTo>
                <a:cubicBezTo>
                  <a:pt x="10" y="16"/>
                  <a:pt x="10" y="16"/>
                  <a:pt x="11" y="16"/>
                </a:cubicBezTo>
                <a:cubicBezTo>
                  <a:pt x="11" y="16"/>
                  <a:pt x="11" y="16"/>
                  <a:pt x="12" y="16"/>
                </a:cubicBezTo>
                <a:cubicBezTo>
                  <a:pt x="13" y="16"/>
                  <a:pt x="12" y="15"/>
                  <a:pt x="13" y="15"/>
                </a:cubicBezTo>
                <a:cubicBezTo>
                  <a:pt x="13" y="14"/>
                  <a:pt x="14" y="13"/>
                  <a:pt x="15" y="13"/>
                </a:cubicBezTo>
                <a:cubicBezTo>
                  <a:pt x="15" y="13"/>
                  <a:pt x="15" y="13"/>
                  <a:pt x="15" y="13"/>
                </a:cubicBezTo>
                <a:cubicBezTo>
                  <a:pt x="15" y="13"/>
                  <a:pt x="15" y="13"/>
                  <a:pt x="16" y="13"/>
                </a:cubicBezTo>
                <a:cubicBezTo>
                  <a:pt x="16" y="13"/>
                  <a:pt x="16" y="13"/>
                  <a:pt x="17" y="13"/>
                </a:cubicBezTo>
                <a:cubicBezTo>
                  <a:pt x="18" y="13"/>
                  <a:pt x="18" y="14"/>
                  <a:pt x="19" y="14"/>
                </a:cubicBezTo>
                <a:cubicBezTo>
                  <a:pt x="19" y="14"/>
                  <a:pt x="19" y="14"/>
                  <a:pt x="20" y="13"/>
                </a:cubicBezTo>
                <a:cubicBezTo>
                  <a:pt x="20" y="13"/>
                  <a:pt x="20" y="13"/>
                  <a:pt x="20" y="13"/>
                </a:cubicBezTo>
                <a:cubicBezTo>
                  <a:pt x="20" y="13"/>
                  <a:pt x="20" y="14"/>
                  <a:pt x="21" y="13"/>
                </a:cubicBezTo>
                <a:cubicBezTo>
                  <a:pt x="21" y="13"/>
                  <a:pt x="21" y="12"/>
                  <a:pt x="21" y="12"/>
                </a:cubicBezTo>
                <a:cubicBezTo>
                  <a:pt x="21" y="11"/>
                  <a:pt x="21" y="11"/>
                  <a:pt x="22" y="11"/>
                </a:cubicBezTo>
                <a:cubicBezTo>
                  <a:pt x="22" y="11"/>
                  <a:pt x="22" y="11"/>
                  <a:pt x="22" y="11"/>
                </a:cubicBezTo>
                <a:cubicBezTo>
                  <a:pt x="23" y="10"/>
                  <a:pt x="23" y="9"/>
                  <a:pt x="22" y="8"/>
                </a:cubicBezTo>
                <a:cubicBezTo>
                  <a:pt x="23" y="8"/>
                  <a:pt x="23" y="7"/>
                  <a:pt x="23"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1" name="Luxembourg"/>
          <p:cNvSpPr>
            <a:spLocks/>
          </p:cNvSpPr>
          <p:nvPr/>
        </p:nvSpPr>
        <p:spPr bwMode="auto">
          <a:xfrm>
            <a:off x="6012074" y="2678012"/>
            <a:ext cx="25999" cy="28999"/>
          </a:xfrm>
          <a:custGeom>
            <a:avLst/>
            <a:gdLst/>
            <a:ahLst/>
            <a:cxnLst>
              <a:cxn ang="0">
                <a:pos x="7" y="4"/>
              </a:cxn>
              <a:cxn ang="0">
                <a:pos x="7" y="4"/>
              </a:cxn>
              <a:cxn ang="0">
                <a:pos x="6" y="4"/>
              </a:cxn>
              <a:cxn ang="0">
                <a:pos x="5" y="3"/>
              </a:cxn>
              <a:cxn ang="0">
                <a:pos x="4" y="2"/>
              </a:cxn>
              <a:cxn ang="0">
                <a:pos x="4" y="2"/>
              </a:cxn>
              <a:cxn ang="0">
                <a:pos x="4" y="1"/>
              </a:cxn>
              <a:cxn ang="0">
                <a:pos x="4" y="0"/>
              </a:cxn>
              <a:cxn ang="0">
                <a:pos x="3" y="0"/>
              </a:cxn>
              <a:cxn ang="0">
                <a:pos x="2" y="0"/>
              </a:cxn>
              <a:cxn ang="0">
                <a:pos x="2" y="1"/>
              </a:cxn>
              <a:cxn ang="0">
                <a:pos x="1" y="2"/>
              </a:cxn>
              <a:cxn ang="0">
                <a:pos x="1" y="2"/>
              </a:cxn>
              <a:cxn ang="0">
                <a:pos x="1" y="2"/>
              </a:cxn>
              <a:cxn ang="0">
                <a:pos x="1" y="3"/>
              </a:cxn>
              <a:cxn ang="0">
                <a:pos x="1" y="4"/>
              </a:cxn>
              <a:cxn ang="0">
                <a:pos x="1" y="4"/>
              </a:cxn>
              <a:cxn ang="0">
                <a:pos x="1" y="5"/>
              </a:cxn>
              <a:cxn ang="0">
                <a:pos x="2" y="5"/>
              </a:cxn>
              <a:cxn ang="0">
                <a:pos x="2" y="5"/>
              </a:cxn>
              <a:cxn ang="0">
                <a:pos x="2" y="6"/>
              </a:cxn>
              <a:cxn ang="0">
                <a:pos x="1" y="6"/>
              </a:cxn>
              <a:cxn ang="0">
                <a:pos x="1" y="7"/>
              </a:cxn>
              <a:cxn ang="0">
                <a:pos x="2" y="7"/>
              </a:cxn>
              <a:cxn ang="0">
                <a:pos x="3" y="8"/>
              </a:cxn>
              <a:cxn ang="0">
                <a:pos x="4" y="7"/>
              </a:cxn>
              <a:cxn ang="0">
                <a:pos x="4" y="7"/>
              </a:cxn>
              <a:cxn ang="0">
                <a:pos x="6" y="8"/>
              </a:cxn>
              <a:cxn ang="0">
                <a:pos x="6" y="6"/>
              </a:cxn>
              <a:cxn ang="0">
                <a:pos x="6" y="6"/>
              </a:cxn>
              <a:cxn ang="0">
                <a:pos x="6" y="5"/>
              </a:cxn>
              <a:cxn ang="0">
                <a:pos x="7" y="5"/>
              </a:cxn>
              <a:cxn ang="0">
                <a:pos x="7" y="4"/>
              </a:cxn>
            </a:cxnLst>
            <a:rect l="0" t="0" r="r" b="b"/>
            <a:pathLst>
              <a:path w="7" h="8">
                <a:moveTo>
                  <a:pt x="7" y="4"/>
                </a:moveTo>
                <a:cubicBezTo>
                  <a:pt x="7" y="4"/>
                  <a:pt x="7" y="4"/>
                  <a:pt x="7" y="4"/>
                </a:cubicBezTo>
                <a:cubicBezTo>
                  <a:pt x="7" y="4"/>
                  <a:pt x="7" y="4"/>
                  <a:pt x="6" y="4"/>
                </a:cubicBezTo>
                <a:cubicBezTo>
                  <a:pt x="6" y="4"/>
                  <a:pt x="6" y="3"/>
                  <a:pt x="5" y="3"/>
                </a:cubicBezTo>
                <a:cubicBezTo>
                  <a:pt x="5" y="3"/>
                  <a:pt x="5" y="3"/>
                  <a:pt x="4" y="2"/>
                </a:cubicBezTo>
                <a:cubicBezTo>
                  <a:pt x="4" y="2"/>
                  <a:pt x="4" y="2"/>
                  <a:pt x="4" y="2"/>
                </a:cubicBezTo>
                <a:cubicBezTo>
                  <a:pt x="4" y="2"/>
                  <a:pt x="4" y="1"/>
                  <a:pt x="4" y="1"/>
                </a:cubicBezTo>
                <a:cubicBezTo>
                  <a:pt x="4" y="1"/>
                  <a:pt x="4" y="0"/>
                  <a:pt x="4" y="0"/>
                </a:cubicBezTo>
                <a:cubicBezTo>
                  <a:pt x="3" y="0"/>
                  <a:pt x="3" y="0"/>
                  <a:pt x="3" y="0"/>
                </a:cubicBezTo>
                <a:cubicBezTo>
                  <a:pt x="3" y="0"/>
                  <a:pt x="3" y="0"/>
                  <a:pt x="2" y="0"/>
                </a:cubicBezTo>
                <a:cubicBezTo>
                  <a:pt x="2" y="0"/>
                  <a:pt x="2" y="1"/>
                  <a:pt x="2" y="1"/>
                </a:cubicBezTo>
                <a:cubicBezTo>
                  <a:pt x="2" y="1"/>
                  <a:pt x="1" y="1"/>
                  <a:pt x="1" y="2"/>
                </a:cubicBezTo>
                <a:cubicBezTo>
                  <a:pt x="1" y="2"/>
                  <a:pt x="1" y="2"/>
                  <a:pt x="1" y="2"/>
                </a:cubicBezTo>
                <a:cubicBezTo>
                  <a:pt x="1" y="2"/>
                  <a:pt x="1" y="2"/>
                  <a:pt x="1" y="2"/>
                </a:cubicBezTo>
                <a:cubicBezTo>
                  <a:pt x="1" y="3"/>
                  <a:pt x="0" y="3"/>
                  <a:pt x="1" y="3"/>
                </a:cubicBezTo>
                <a:cubicBezTo>
                  <a:pt x="1" y="3"/>
                  <a:pt x="1" y="3"/>
                  <a:pt x="1" y="4"/>
                </a:cubicBezTo>
                <a:cubicBezTo>
                  <a:pt x="0" y="4"/>
                  <a:pt x="1" y="4"/>
                  <a:pt x="1" y="4"/>
                </a:cubicBezTo>
                <a:cubicBezTo>
                  <a:pt x="1" y="4"/>
                  <a:pt x="1" y="5"/>
                  <a:pt x="1" y="5"/>
                </a:cubicBezTo>
                <a:cubicBezTo>
                  <a:pt x="1" y="5"/>
                  <a:pt x="1" y="5"/>
                  <a:pt x="2" y="5"/>
                </a:cubicBezTo>
                <a:cubicBezTo>
                  <a:pt x="2" y="5"/>
                  <a:pt x="2" y="6"/>
                  <a:pt x="2" y="5"/>
                </a:cubicBezTo>
                <a:cubicBezTo>
                  <a:pt x="2" y="6"/>
                  <a:pt x="2" y="6"/>
                  <a:pt x="2" y="6"/>
                </a:cubicBezTo>
                <a:cubicBezTo>
                  <a:pt x="2" y="6"/>
                  <a:pt x="2" y="6"/>
                  <a:pt x="1" y="6"/>
                </a:cubicBezTo>
                <a:cubicBezTo>
                  <a:pt x="1" y="7"/>
                  <a:pt x="1" y="7"/>
                  <a:pt x="1" y="7"/>
                </a:cubicBezTo>
                <a:cubicBezTo>
                  <a:pt x="1" y="7"/>
                  <a:pt x="1" y="7"/>
                  <a:pt x="2" y="7"/>
                </a:cubicBezTo>
                <a:cubicBezTo>
                  <a:pt x="3" y="7"/>
                  <a:pt x="2" y="8"/>
                  <a:pt x="3" y="8"/>
                </a:cubicBezTo>
                <a:cubicBezTo>
                  <a:pt x="3" y="8"/>
                  <a:pt x="3" y="8"/>
                  <a:pt x="4" y="7"/>
                </a:cubicBezTo>
                <a:cubicBezTo>
                  <a:pt x="4" y="7"/>
                  <a:pt x="4" y="7"/>
                  <a:pt x="4" y="7"/>
                </a:cubicBezTo>
                <a:cubicBezTo>
                  <a:pt x="5" y="7"/>
                  <a:pt x="5" y="7"/>
                  <a:pt x="6" y="8"/>
                </a:cubicBezTo>
                <a:cubicBezTo>
                  <a:pt x="6" y="7"/>
                  <a:pt x="6" y="7"/>
                  <a:pt x="6" y="6"/>
                </a:cubicBezTo>
                <a:cubicBezTo>
                  <a:pt x="6" y="6"/>
                  <a:pt x="6" y="6"/>
                  <a:pt x="6" y="6"/>
                </a:cubicBezTo>
                <a:cubicBezTo>
                  <a:pt x="6" y="6"/>
                  <a:pt x="6" y="5"/>
                  <a:pt x="6" y="5"/>
                </a:cubicBezTo>
                <a:cubicBezTo>
                  <a:pt x="6" y="5"/>
                  <a:pt x="7" y="5"/>
                  <a:pt x="7" y="5"/>
                </a:cubicBezTo>
                <a:cubicBezTo>
                  <a:pt x="7" y="5"/>
                  <a:pt x="7" y="4"/>
                  <a:pt x="7" y="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2" name="Lithuania"/>
          <p:cNvSpPr>
            <a:spLocks noEditPoints="1"/>
          </p:cNvSpPr>
          <p:nvPr/>
        </p:nvSpPr>
        <p:spPr bwMode="auto">
          <a:xfrm>
            <a:off x="6464057" y="2439020"/>
            <a:ext cx="172994" cy="97997"/>
          </a:xfrm>
          <a:custGeom>
            <a:avLst/>
            <a:gdLst/>
            <a:ahLst/>
            <a:cxnLst>
              <a:cxn ang="0">
                <a:pos x="46" y="14"/>
              </a:cxn>
              <a:cxn ang="0">
                <a:pos x="44" y="14"/>
              </a:cxn>
              <a:cxn ang="0">
                <a:pos x="40" y="16"/>
              </a:cxn>
              <a:cxn ang="0">
                <a:pos x="40" y="17"/>
              </a:cxn>
              <a:cxn ang="0">
                <a:pos x="40" y="20"/>
              </a:cxn>
              <a:cxn ang="0">
                <a:pos x="38" y="22"/>
              </a:cxn>
              <a:cxn ang="0">
                <a:pos x="40" y="24"/>
              </a:cxn>
              <a:cxn ang="0">
                <a:pos x="38" y="23"/>
              </a:cxn>
              <a:cxn ang="0">
                <a:pos x="39" y="23"/>
              </a:cxn>
              <a:cxn ang="0">
                <a:pos x="36" y="23"/>
              </a:cxn>
              <a:cxn ang="0">
                <a:pos x="33" y="24"/>
              </a:cxn>
              <a:cxn ang="0">
                <a:pos x="31" y="26"/>
              </a:cxn>
              <a:cxn ang="0">
                <a:pos x="27" y="26"/>
              </a:cxn>
              <a:cxn ang="0">
                <a:pos x="22" y="26"/>
              </a:cxn>
              <a:cxn ang="0">
                <a:pos x="20" y="23"/>
              </a:cxn>
              <a:cxn ang="0">
                <a:pos x="17" y="22"/>
              </a:cxn>
              <a:cxn ang="0">
                <a:pos x="15" y="20"/>
              </a:cxn>
              <a:cxn ang="0">
                <a:pos x="15" y="16"/>
              </a:cxn>
              <a:cxn ang="0">
                <a:pos x="13" y="15"/>
              </a:cxn>
              <a:cxn ang="0">
                <a:pos x="10" y="15"/>
              </a:cxn>
              <a:cxn ang="0">
                <a:pos x="8" y="14"/>
              </a:cxn>
              <a:cxn ang="0">
                <a:pos x="5" y="13"/>
              </a:cxn>
              <a:cxn ang="0">
                <a:pos x="2" y="12"/>
              </a:cxn>
              <a:cxn ang="0">
                <a:pos x="2" y="9"/>
              </a:cxn>
              <a:cxn ang="0">
                <a:pos x="0" y="4"/>
              </a:cxn>
              <a:cxn ang="0">
                <a:pos x="3" y="2"/>
              </a:cxn>
              <a:cxn ang="0">
                <a:pos x="8" y="1"/>
              </a:cxn>
              <a:cxn ang="0">
                <a:pos x="13" y="1"/>
              </a:cxn>
              <a:cxn ang="0">
                <a:pos x="16" y="2"/>
              </a:cxn>
              <a:cxn ang="0">
                <a:pos x="20" y="2"/>
              </a:cxn>
              <a:cxn ang="0">
                <a:pos x="22" y="1"/>
              </a:cxn>
              <a:cxn ang="0">
                <a:pos x="26" y="2"/>
              </a:cxn>
              <a:cxn ang="0">
                <a:pos x="29" y="1"/>
              </a:cxn>
              <a:cxn ang="0">
                <a:pos x="32" y="2"/>
              </a:cxn>
              <a:cxn ang="0">
                <a:pos x="37" y="3"/>
              </a:cxn>
              <a:cxn ang="0">
                <a:pos x="40" y="5"/>
              </a:cxn>
              <a:cxn ang="0">
                <a:pos x="43" y="7"/>
              </a:cxn>
              <a:cxn ang="0">
                <a:pos x="45" y="10"/>
              </a:cxn>
              <a:cxn ang="0">
                <a:pos x="47" y="12"/>
              </a:cxn>
              <a:cxn ang="0">
                <a:pos x="0" y="12"/>
              </a:cxn>
              <a:cxn ang="0">
                <a:pos x="1" y="8"/>
              </a:cxn>
            </a:cxnLst>
            <a:rect l="0" t="0" r="r" b="b"/>
            <a:pathLst>
              <a:path w="48" h="27">
                <a:moveTo>
                  <a:pt x="47" y="13"/>
                </a:moveTo>
                <a:cubicBezTo>
                  <a:pt x="46" y="13"/>
                  <a:pt x="46" y="13"/>
                  <a:pt x="46" y="14"/>
                </a:cubicBezTo>
                <a:cubicBezTo>
                  <a:pt x="46" y="14"/>
                  <a:pt x="45" y="14"/>
                  <a:pt x="45" y="14"/>
                </a:cubicBezTo>
                <a:cubicBezTo>
                  <a:pt x="44" y="14"/>
                  <a:pt x="44" y="14"/>
                  <a:pt x="44" y="14"/>
                </a:cubicBezTo>
                <a:cubicBezTo>
                  <a:pt x="43" y="14"/>
                  <a:pt x="43" y="15"/>
                  <a:pt x="43" y="15"/>
                </a:cubicBezTo>
                <a:cubicBezTo>
                  <a:pt x="42" y="16"/>
                  <a:pt x="41" y="15"/>
                  <a:pt x="40" y="16"/>
                </a:cubicBezTo>
                <a:cubicBezTo>
                  <a:pt x="40" y="16"/>
                  <a:pt x="40" y="17"/>
                  <a:pt x="40" y="17"/>
                </a:cubicBezTo>
                <a:cubicBezTo>
                  <a:pt x="40" y="17"/>
                  <a:pt x="40" y="17"/>
                  <a:pt x="40" y="17"/>
                </a:cubicBezTo>
                <a:cubicBezTo>
                  <a:pt x="39" y="18"/>
                  <a:pt x="39" y="18"/>
                  <a:pt x="39" y="18"/>
                </a:cubicBezTo>
                <a:cubicBezTo>
                  <a:pt x="39" y="19"/>
                  <a:pt x="40" y="19"/>
                  <a:pt x="40" y="20"/>
                </a:cubicBezTo>
                <a:cubicBezTo>
                  <a:pt x="39" y="20"/>
                  <a:pt x="39" y="20"/>
                  <a:pt x="39" y="21"/>
                </a:cubicBezTo>
                <a:cubicBezTo>
                  <a:pt x="39" y="21"/>
                  <a:pt x="38" y="22"/>
                  <a:pt x="38" y="22"/>
                </a:cubicBezTo>
                <a:cubicBezTo>
                  <a:pt x="38" y="23"/>
                  <a:pt x="39" y="22"/>
                  <a:pt x="39" y="22"/>
                </a:cubicBezTo>
                <a:cubicBezTo>
                  <a:pt x="40" y="22"/>
                  <a:pt x="40" y="23"/>
                  <a:pt x="40" y="24"/>
                </a:cubicBezTo>
                <a:cubicBezTo>
                  <a:pt x="40" y="24"/>
                  <a:pt x="38" y="25"/>
                  <a:pt x="38" y="24"/>
                </a:cubicBezTo>
                <a:cubicBezTo>
                  <a:pt x="38" y="24"/>
                  <a:pt x="38" y="24"/>
                  <a:pt x="38" y="23"/>
                </a:cubicBezTo>
                <a:cubicBezTo>
                  <a:pt x="38" y="24"/>
                  <a:pt x="38" y="23"/>
                  <a:pt x="38" y="23"/>
                </a:cubicBezTo>
                <a:cubicBezTo>
                  <a:pt x="38" y="23"/>
                  <a:pt x="39" y="23"/>
                  <a:pt x="39" y="23"/>
                </a:cubicBezTo>
                <a:cubicBezTo>
                  <a:pt x="39" y="23"/>
                  <a:pt x="38" y="23"/>
                  <a:pt x="38" y="23"/>
                </a:cubicBezTo>
                <a:cubicBezTo>
                  <a:pt x="37" y="22"/>
                  <a:pt x="37" y="23"/>
                  <a:pt x="36" y="23"/>
                </a:cubicBezTo>
                <a:cubicBezTo>
                  <a:pt x="35" y="23"/>
                  <a:pt x="36" y="23"/>
                  <a:pt x="35" y="24"/>
                </a:cubicBezTo>
                <a:cubicBezTo>
                  <a:pt x="34" y="25"/>
                  <a:pt x="34" y="24"/>
                  <a:pt x="33" y="24"/>
                </a:cubicBezTo>
                <a:cubicBezTo>
                  <a:pt x="31" y="24"/>
                  <a:pt x="33" y="25"/>
                  <a:pt x="33" y="26"/>
                </a:cubicBezTo>
                <a:cubicBezTo>
                  <a:pt x="32" y="26"/>
                  <a:pt x="32" y="26"/>
                  <a:pt x="31" y="26"/>
                </a:cubicBezTo>
                <a:cubicBezTo>
                  <a:pt x="30" y="26"/>
                  <a:pt x="29" y="27"/>
                  <a:pt x="28" y="27"/>
                </a:cubicBezTo>
                <a:cubicBezTo>
                  <a:pt x="28" y="27"/>
                  <a:pt x="28" y="26"/>
                  <a:pt x="27" y="26"/>
                </a:cubicBezTo>
                <a:cubicBezTo>
                  <a:pt x="26" y="27"/>
                  <a:pt x="25" y="26"/>
                  <a:pt x="25" y="26"/>
                </a:cubicBezTo>
                <a:cubicBezTo>
                  <a:pt x="24" y="27"/>
                  <a:pt x="23" y="27"/>
                  <a:pt x="22" y="26"/>
                </a:cubicBezTo>
                <a:cubicBezTo>
                  <a:pt x="21" y="26"/>
                  <a:pt x="22" y="26"/>
                  <a:pt x="22" y="25"/>
                </a:cubicBezTo>
                <a:cubicBezTo>
                  <a:pt x="22" y="24"/>
                  <a:pt x="21" y="24"/>
                  <a:pt x="20" y="23"/>
                </a:cubicBezTo>
                <a:cubicBezTo>
                  <a:pt x="20" y="23"/>
                  <a:pt x="19" y="23"/>
                  <a:pt x="18" y="22"/>
                </a:cubicBezTo>
                <a:cubicBezTo>
                  <a:pt x="18" y="22"/>
                  <a:pt x="18" y="22"/>
                  <a:pt x="17" y="22"/>
                </a:cubicBezTo>
                <a:cubicBezTo>
                  <a:pt x="17" y="21"/>
                  <a:pt x="16" y="21"/>
                  <a:pt x="16" y="22"/>
                </a:cubicBezTo>
                <a:cubicBezTo>
                  <a:pt x="15" y="21"/>
                  <a:pt x="15" y="21"/>
                  <a:pt x="15" y="20"/>
                </a:cubicBezTo>
                <a:cubicBezTo>
                  <a:pt x="15" y="19"/>
                  <a:pt x="15" y="18"/>
                  <a:pt x="16" y="18"/>
                </a:cubicBezTo>
                <a:cubicBezTo>
                  <a:pt x="16" y="17"/>
                  <a:pt x="15" y="16"/>
                  <a:pt x="15" y="16"/>
                </a:cubicBezTo>
                <a:cubicBezTo>
                  <a:pt x="15" y="16"/>
                  <a:pt x="14" y="16"/>
                  <a:pt x="14" y="15"/>
                </a:cubicBezTo>
                <a:cubicBezTo>
                  <a:pt x="14" y="15"/>
                  <a:pt x="14" y="15"/>
                  <a:pt x="13" y="15"/>
                </a:cubicBezTo>
                <a:cubicBezTo>
                  <a:pt x="13" y="15"/>
                  <a:pt x="12" y="15"/>
                  <a:pt x="11" y="15"/>
                </a:cubicBezTo>
                <a:cubicBezTo>
                  <a:pt x="11" y="15"/>
                  <a:pt x="10" y="15"/>
                  <a:pt x="10" y="15"/>
                </a:cubicBezTo>
                <a:cubicBezTo>
                  <a:pt x="10" y="15"/>
                  <a:pt x="9" y="15"/>
                  <a:pt x="9" y="15"/>
                </a:cubicBezTo>
                <a:cubicBezTo>
                  <a:pt x="9" y="14"/>
                  <a:pt x="8" y="15"/>
                  <a:pt x="8" y="14"/>
                </a:cubicBezTo>
                <a:cubicBezTo>
                  <a:pt x="7" y="14"/>
                  <a:pt x="7" y="14"/>
                  <a:pt x="6" y="14"/>
                </a:cubicBezTo>
                <a:cubicBezTo>
                  <a:pt x="6" y="14"/>
                  <a:pt x="5" y="13"/>
                  <a:pt x="5" y="13"/>
                </a:cubicBezTo>
                <a:cubicBezTo>
                  <a:pt x="4" y="13"/>
                  <a:pt x="4" y="12"/>
                  <a:pt x="3" y="13"/>
                </a:cubicBezTo>
                <a:cubicBezTo>
                  <a:pt x="3" y="12"/>
                  <a:pt x="3" y="11"/>
                  <a:pt x="2" y="12"/>
                </a:cubicBezTo>
                <a:cubicBezTo>
                  <a:pt x="2" y="12"/>
                  <a:pt x="2" y="11"/>
                  <a:pt x="2" y="11"/>
                </a:cubicBezTo>
                <a:cubicBezTo>
                  <a:pt x="2" y="10"/>
                  <a:pt x="2" y="9"/>
                  <a:pt x="2" y="9"/>
                </a:cubicBezTo>
                <a:cubicBezTo>
                  <a:pt x="1" y="8"/>
                  <a:pt x="1" y="8"/>
                  <a:pt x="0" y="7"/>
                </a:cubicBezTo>
                <a:cubicBezTo>
                  <a:pt x="0" y="6"/>
                  <a:pt x="1" y="5"/>
                  <a:pt x="0" y="4"/>
                </a:cubicBezTo>
                <a:cubicBezTo>
                  <a:pt x="1" y="4"/>
                  <a:pt x="2" y="4"/>
                  <a:pt x="2" y="3"/>
                </a:cubicBezTo>
                <a:cubicBezTo>
                  <a:pt x="2" y="3"/>
                  <a:pt x="3" y="2"/>
                  <a:pt x="3" y="2"/>
                </a:cubicBezTo>
                <a:cubicBezTo>
                  <a:pt x="4" y="2"/>
                  <a:pt x="5" y="2"/>
                  <a:pt x="6" y="2"/>
                </a:cubicBezTo>
                <a:cubicBezTo>
                  <a:pt x="7" y="1"/>
                  <a:pt x="7" y="1"/>
                  <a:pt x="8" y="1"/>
                </a:cubicBezTo>
                <a:cubicBezTo>
                  <a:pt x="9" y="1"/>
                  <a:pt x="10" y="1"/>
                  <a:pt x="11" y="1"/>
                </a:cubicBezTo>
                <a:cubicBezTo>
                  <a:pt x="12" y="1"/>
                  <a:pt x="13" y="1"/>
                  <a:pt x="13" y="1"/>
                </a:cubicBezTo>
                <a:cubicBezTo>
                  <a:pt x="14" y="1"/>
                  <a:pt x="14" y="1"/>
                  <a:pt x="15" y="1"/>
                </a:cubicBezTo>
                <a:cubicBezTo>
                  <a:pt x="16" y="1"/>
                  <a:pt x="16" y="2"/>
                  <a:pt x="16" y="2"/>
                </a:cubicBezTo>
                <a:cubicBezTo>
                  <a:pt x="17" y="2"/>
                  <a:pt x="17" y="1"/>
                  <a:pt x="18" y="1"/>
                </a:cubicBezTo>
                <a:cubicBezTo>
                  <a:pt x="19" y="1"/>
                  <a:pt x="19" y="1"/>
                  <a:pt x="20" y="2"/>
                </a:cubicBezTo>
                <a:cubicBezTo>
                  <a:pt x="20" y="2"/>
                  <a:pt x="20" y="1"/>
                  <a:pt x="21" y="1"/>
                </a:cubicBezTo>
                <a:cubicBezTo>
                  <a:pt x="21" y="1"/>
                  <a:pt x="21" y="1"/>
                  <a:pt x="22" y="1"/>
                </a:cubicBezTo>
                <a:cubicBezTo>
                  <a:pt x="22" y="2"/>
                  <a:pt x="23" y="1"/>
                  <a:pt x="24" y="2"/>
                </a:cubicBezTo>
                <a:cubicBezTo>
                  <a:pt x="25" y="2"/>
                  <a:pt x="25" y="2"/>
                  <a:pt x="26" y="2"/>
                </a:cubicBezTo>
                <a:cubicBezTo>
                  <a:pt x="27" y="2"/>
                  <a:pt x="27" y="2"/>
                  <a:pt x="28" y="2"/>
                </a:cubicBezTo>
                <a:cubicBezTo>
                  <a:pt x="28" y="2"/>
                  <a:pt x="29" y="1"/>
                  <a:pt x="29" y="1"/>
                </a:cubicBezTo>
                <a:cubicBezTo>
                  <a:pt x="29" y="1"/>
                  <a:pt x="30" y="1"/>
                  <a:pt x="31" y="0"/>
                </a:cubicBezTo>
                <a:cubicBezTo>
                  <a:pt x="31" y="0"/>
                  <a:pt x="32" y="2"/>
                  <a:pt x="32" y="2"/>
                </a:cubicBezTo>
                <a:cubicBezTo>
                  <a:pt x="33" y="3"/>
                  <a:pt x="34" y="3"/>
                  <a:pt x="35" y="3"/>
                </a:cubicBezTo>
                <a:cubicBezTo>
                  <a:pt x="36" y="3"/>
                  <a:pt x="37" y="3"/>
                  <a:pt x="37" y="3"/>
                </a:cubicBezTo>
                <a:cubicBezTo>
                  <a:pt x="38" y="4"/>
                  <a:pt x="38" y="4"/>
                  <a:pt x="38" y="4"/>
                </a:cubicBezTo>
                <a:cubicBezTo>
                  <a:pt x="39" y="4"/>
                  <a:pt x="39" y="5"/>
                  <a:pt x="40" y="5"/>
                </a:cubicBezTo>
                <a:cubicBezTo>
                  <a:pt x="40" y="6"/>
                  <a:pt x="41" y="6"/>
                  <a:pt x="42" y="6"/>
                </a:cubicBezTo>
                <a:cubicBezTo>
                  <a:pt x="42" y="7"/>
                  <a:pt x="42" y="7"/>
                  <a:pt x="43" y="7"/>
                </a:cubicBezTo>
                <a:cubicBezTo>
                  <a:pt x="43" y="8"/>
                  <a:pt x="44" y="8"/>
                  <a:pt x="45" y="8"/>
                </a:cubicBezTo>
                <a:cubicBezTo>
                  <a:pt x="46" y="9"/>
                  <a:pt x="45" y="9"/>
                  <a:pt x="45" y="10"/>
                </a:cubicBezTo>
                <a:cubicBezTo>
                  <a:pt x="45" y="11"/>
                  <a:pt x="44" y="12"/>
                  <a:pt x="45" y="12"/>
                </a:cubicBezTo>
                <a:cubicBezTo>
                  <a:pt x="46" y="12"/>
                  <a:pt x="46" y="12"/>
                  <a:pt x="47" y="12"/>
                </a:cubicBezTo>
                <a:cubicBezTo>
                  <a:pt x="48" y="12"/>
                  <a:pt x="47" y="13"/>
                  <a:pt x="47" y="13"/>
                </a:cubicBezTo>
                <a:close/>
                <a:moveTo>
                  <a:pt x="0" y="12"/>
                </a:moveTo>
                <a:cubicBezTo>
                  <a:pt x="0" y="12"/>
                  <a:pt x="0" y="12"/>
                  <a:pt x="0" y="12"/>
                </a:cubicBezTo>
                <a:cubicBezTo>
                  <a:pt x="1" y="13"/>
                  <a:pt x="2" y="9"/>
                  <a:pt x="1" y="8"/>
                </a:cubicBezTo>
                <a:cubicBezTo>
                  <a:pt x="1" y="9"/>
                  <a:pt x="1" y="10"/>
                  <a:pt x="0" y="1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3" name="Liechtenstein"/>
          <p:cNvSpPr>
            <a:spLocks/>
          </p:cNvSpPr>
          <p:nvPr/>
        </p:nvSpPr>
        <p:spPr bwMode="auto">
          <a:xfrm>
            <a:off x="6128070" y="2790008"/>
            <a:ext cx="4000" cy="11000"/>
          </a:xfrm>
          <a:custGeom>
            <a:avLst/>
            <a:gdLst/>
            <a:ahLst/>
            <a:cxnLst>
              <a:cxn ang="0">
                <a:pos x="1" y="1"/>
              </a:cxn>
              <a:cxn ang="0">
                <a:pos x="1" y="1"/>
              </a:cxn>
              <a:cxn ang="0">
                <a:pos x="0" y="0"/>
              </a:cxn>
              <a:cxn ang="0">
                <a:pos x="0" y="1"/>
              </a:cxn>
              <a:cxn ang="0">
                <a:pos x="0" y="2"/>
              </a:cxn>
              <a:cxn ang="0">
                <a:pos x="0" y="2"/>
              </a:cxn>
              <a:cxn ang="0">
                <a:pos x="1" y="2"/>
              </a:cxn>
              <a:cxn ang="0">
                <a:pos x="1" y="1"/>
              </a:cxn>
            </a:cxnLst>
            <a:rect l="0" t="0" r="r" b="b"/>
            <a:pathLst>
              <a:path w="1" h="3">
                <a:moveTo>
                  <a:pt x="1" y="1"/>
                </a:moveTo>
                <a:cubicBezTo>
                  <a:pt x="1" y="1"/>
                  <a:pt x="1" y="1"/>
                  <a:pt x="1" y="1"/>
                </a:cubicBezTo>
                <a:cubicBezTo>
                  <a:pt x="0" y="0"/>
                  <a:pt x="0" y="0"/>
                  <a:pt x="0" y="0"/>
                </a:cubicBezTo>
                <a:cubicBezTo>
                  <a:pt x="0" y="0"/>
                  <a:pt x="0" y="0"/>
                  <a:pt x="0" y="1"/>
                </a:cubicBezTo>
                <a:cubicBezTo>
                  <a:pt x="0" y="1"/>
                  <a:pt x="0" y="1"/>
                  <a:pt x="0" y="2"/>
                </a:cubicBezTo>
                <a:cubicBezTo>
                  <a:pt x="0" y="2"/>
                  <a:pt x="0" y="2"/>
                  <a:pt x="0" y="2"/>
                </a:cubicBezTo>
                <a:cubicBezTo>
                  <a:pt x="0" y="2"/>
                  <a:pt x="1" y="3"/>
                  <a:pt x="1" y="2"/>
                </a:cubicBezTo>
                <a:cubicBezTo>
                  <a:pt x="1" y="2"/>
                  <a:pt x="1" y="1"/>
                  <a:pt x="1"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4" name="Libya"/>
          <p:cNvSpPr>
            <a:spLocks/>
          </p:cNvSpPr>
          <p:nvPr/>
        </p:nvSpPr>
        <p:spPr bwMode="auto">
          <a:xfrm>
            <a:off x="6121071" y="3346987"/>
            <a:ext cx="541980" cy="542980"/>
          </a:xfrm>
          <a:custGeom>
            <a:avLst/>
            <a:gdLst/>
            <a:ahLst/>
            <a:cxnLst>
              <a:cxn ang="0">
                <a:pos x="145" y="39"/>
              </a:cxn>
              <a:cxn ang="0">
                <a:pos x="144" y="33"/>
              </a:cxn>
              <a:cxn ang="0">
                <a:pos x="145" y="22"/>
              </a:cxn>
              <a:cxn ang="0">
                <a:pos x="147" y="17"/>
              </a:cxn>
              <a:cxn ang="0">
                <a:pos x="144" y="13"/>
              </a:cxn>
              <a:cxn ang="0">
                <a:pos x="137" y="12"/>
              </a:cxn>
              <a:cxn ang="0">
                <a:pos x="132" y="11"/>
              </a:cxn>
              <a:cxn ang="0">
                <a:pos x="128" y="9"/>
              </a:cxn>
              <a:cxn ang="0">
                <a:pos x="128" y="6"/>
              </a:cxn>
              <a:cxn ang="0">
                <a:pos x="120" y="3"/>
              </a:cxn>
              <a:cxn ang="0">
                <a:pos x="117" y="3"/>
              </a:cxn>
              <a:cxn ang="0">
                <a:pos x="111" y="4"/>
              </a:cxn>
              <a:cxn ang="0">
                <a:pos x="98" y="14"/>
              </a:cxn>
              <a:cxn ang="0">
                <a:pos x="99" y="26"/>
              </a:cxn>
              <a:cxn ang="0">
                <a:pos x="88" y="31"/>
              </a:cxn>
              <a:cxn ang="0">
                <a:pos x="82" y="26"/>
              </a:cxn>
              <a:cxn ang="0">
                <a:pos x="78" y="24"/>
              </a:cxn>
              <a:cxn ang="0">
                <a:pos x="61" y="20"/>
              </a:cxn>
              <a:cxn ang="0">
                <a:pos x="54" y="8"/>
              </a:cxn>
              <a:cxn ang="0">
                <a:pos x="46" y="5"/>
              </a:cxn>
              <a:cxn ang="0">
                <a:pos x="39" y="3"/>
              </a:cxn>
              <a:cxn ang="0">
                <a:pos x="27" y="3"/>
              </a:cxn>
              <a:cxn ang="0">
                <a:pos x="22" y="0"/>
              </a:cxn>
              <a:cxn ang="0">
                <a:pos x="21" y="6"/>
              </a:cxn>
              <a:cxn ang="0">
                <a:pos x="15" y="11"/>
              </a:cxn>
              <a:cxn ang="0">
                <a:pos x="12" y="14"/>
              </a:cxn>
              <a:cxn ang="0">
                <a:pos x="9" y="17"/>
              </a:cxn>
              <a:cxn ang="0">
                <a:pos x="9" y="23"/>
              </a:cxn>
              <a:cxn ang="0">
                <a:pos x="2" y="32"/>
              </a:cxn>
              <a:cxn ang="0">
                <a:pos x="3" y="38"/>
              </a:cxn>
              <a:cxn ang="0">
                <a:pos x="6" y="58"/>
              </a:cxn>
              <a:cxn ang="0">
                <a:pos x="4" y="63"/>
              </a:cxn>
              <a:cxn ang="0">
                <a:pos x="5" y="69"/>
              </a:cxn>
              <a:cxn ang="0">
                <a:pos x="3" y="74"/>
              </a:cxn>
              <a:cxn ang="0">
                <a:pos x="4" y="82"/>
              </a:cxn>
              <a:cxn ang="0">
                <a:pos x="8" y="92"/>
              </a:cxn>
              <a:cxn ang="0">
                <a:pos x="14" y="95"/>
              </a:cxn>
              <a:cxn ang="0">
                <a:pos x="23" y="101"/>
              </a:cxn>
              <a:cxn ang="0">
                <a:pos x="34" y="108"/>
              </a:cxn>
              <a:cxn ang="0">
                <a:pos x="47" y="115"/>
              </a:cxn>
              <a:cxn ang="0">
                <a:pos x="66" y="108"/>
              </a:cxn>
              <a:cxn ang="0">
                <a:pos x="140" y="150"/>
              </a:cxn>
              <a:cxn ang="0">
                <a:pos x="145" y="144"/>
              </a:cxn>
            </a:cxnLst>
            <a:rect l="0" t="0" r="r" b="b"/>
            <a:pathLst>
              <a:path w="150" h="150">
                <a:moveTo>
                  <a:pt x="148" y="70"/>
                </a:moveTo>
                <a:cubicBezTo>
                  <a:pt x="147" y="61"/>
                  <a:pt x="147" y="53"/>
                  <a:pt x="147" y="44"/>
                </a:cubicBezTo>
                <a:cubicBezTo>
                  <a:pt x="147" y="43"/>
                  <a:pt x="145" y="41"/>
                  <a:pt x="145" y="39"/>
                </a:cubicBezTo>
                <a:cubicBezTo>
                  <a:pt x="145" y="38"/>
                  <a:pt x="145" y="38"/>
                  <a:pt x="145" y="37"/>
                </a:cubicBezTo>
                <a:cubicBezTo>
                  <a:pt x="144" y="37"/>
                  <a:pt x="145" y="36"/>
                  <a:pt x="145" y="35"/>
                </a:cubicBezTo>
                <a:cubicBezTo>
                  <a:pt x="144" y="34"/>
                  <a:pt x="143" y="34"/>
                  <a:pt x="144" y="33"/>
                </a:cubicBezTo>
                <a:cubicBezTo>
                  <a:pt x="144" y="32"/>
                  <a:pt x="144" y="31"/>
                  <a:pt x="144" y="31"/>
                </a:cubicBezTo>
                <a:cubicBezTo>
                  <a:pt x="145" y="29"/>
                  <a:pt x="146" y="28"/>
                  <a:pt x="146" y="27"/>
                </a:cubicBezTo>
                <a:cubicBezTo>
                  <a:pt x="146" y="25"/>
                  <a:pt x="145" y="23"/>
                  <a:pt x="145" y="22"/>
                </a:cubicBezTo>
                <a:cubicBezTo>
                  <a:pt x="144" y="21"/>
                  <a:pt x="144" y="20"/>
                  <a:pt x="145" y="19"/>
                </a:cubicBezTo>
                <a:cubicBezTo>
                  <a:pt x="145" y="19"/>
                  <a:pt x="145" y="19"/>
                  <a:pt x="146" y="18"/>
                </a:cubicBezTo>
                <a:cubicBezTo>
                  <a:pt x="146" y="18"/>
                  <a:pt x="147" y="17"/>
                  <a:pt x="147" y="17"/>
                </a:cubicBezTo>
                <a:cubicBezTo>
                  <a:pt x="147" y="16"/>
                  <a:pt x="146" y="15"/>
                  <a:pt x="146" y="15"/>
                </a:cubicBezTo>
                <a:cubicBezTo>
                  <a:pt x="146" y="14"/>
                  <a:pt x="146" y="14"/>
                  <a:pt x="146" y="13"/>
                </a:cubicBezTo>
                <a:cubicBezTo>
                  <a:pt x="145" y="13"/>
                  <a:pt x="144" y="13"/>
                  <a:pt x="144" y="13"/>
                </a:cubicBezTo>
                <a:cubicBezTo>
                  <a:pt x="143" y="12"/>
                  <a:pt x="142" y="12"/>
                  <a:pt x="141" y="13"/>
                </a:cubicBezTo>
                <a:cubicBezTo>
                  <a:pt x="141" y="13"/>
                  <a:pt x="140" y="13"/>
                  <a:pt x="139" y="13"/>
                </a:cubicBezTo>
                <a:cubicBezTo>
                  <a:pt x="138" y="13"/>
                  <a:pt x="137" y="13"/>
                  <a:pt x="137" y="12"/>
                </a:cubicBezTo>
                <a:cubicBezTo>
                  <a:pt x="136" y="12"/>
                  <a:pt x="136" y="12"/>
                  <a:pt x="136" y="12"/>
                </a:cubicBezTo>
                <a:cubicBezTo>
                  <a:pt x="136" y="11"/>
                  <a:pt x="134" y="11"/>
                  <a:pt x="134" y="11"/>
                </a:cubicBezTo>
                <a:cubicBezTo>
                  <a:pt x="134" y="11"/>
                  <a:pt x="133" y="11"/>
                  <a:pt x="132" y="11"/>
                </a:cubicBezTo>
                <a:cubicBezTo>
                  <a:pt x="132" y="11"/>
                  <a:pt x="131" y="11"/>
                  <a:pt x="130" y="10"/>
                </a:cubicBezTo>
                <a:cubicBezTo>
                  <a:pt x="130" y="10"/>
                  <a:pt x="130" y="10"/>
                  <a:pt x="130" y="11"/>
                </a:cubicBezTo>
                <a:cubicBezTo>
                  <a:pt x="129" y="10"/>
                  <a:pt x="129" y="10"/>
                  <a:pt x="128" y="9"/>
                </a:cubicBezTo>
                <a:cubicBezTo>
                  <a:pt x="127" y="9"/>
                  <a:pt x="127" y="9"/>
                  <a:pt x="128" y="8"/>
                </a:cubicBezTo>
                <a:cubicBezTo>
                  <a:pt x="128" y="9"/>
                  <a:pt x="128" y="8"/>
                  <a:pt x="128" y="7"/>
                </a:cubicBezTo>
                <a:cubicBezTo>
                  <a:pt x="128" y="7"/>
                  <a:pt x="127" y="6"/>
                  <a:pt x="128" y="6"/>
                </a:cubicBezTo>
                <a:cubicBezTo>
                  <a:pt x="128" y="5"/>
                  <a:pt x="125" y="5"/>
                  <a:pt x="124" y="5"/>
                </a:cubicBezTo>
                <a:cubicBezTo>
                  <a:pt x="123" y="4"/>
                  <a:pt x="123" y="4"/>
                  <a:pt x="122" y="4"/>
                </a:cubicBezTo>
                <a:cubicBezTo>
                  <a:pt x="121" y="4"/>
                  <a:pt x="121" y="3"/>
                  <a:pt x="120" y="3"/>
                </a:cubicBezTo>
                <a:cubicBezTo>
                  <a:pt x="120" y="3"/>
                  <a:pt x="119" y="3"/>
                  <a:pt x="119" y="3"/>
                </a:cubicBezTo>
                <a:cubicBezTo>
                  <a:pt x="119" y="3"/>
                  <a:pt x="119" y="2"/>
                  <a:pt x="119" y="2"/>
                </a:cubicBezTo>
                <a:cubicBezTo>
                  <a:pt x="118" y="2"/>
                  <a:pt x="118" y="3"/>
                  <a:pt x="117" y="3"/>
                </a:cubicBezTo>
                <a:cubicBezTo>
                  <a:pt x="117" y="3"/>
                  <a:pt x="116" y="3"/>
                  <a:pt x="115" y="3"/>
                </a:cubicBezTo>
                <a:cubicBezTo>
                  <a:pt x="115" y="2"/>
                  <a:pt x="114" y="2"/>
                  <a:pt x="114" y="2"/>
                </a:cubicBezTo>
                <a:cubicBezTo>
                  <a:pt x="113" y="3"/>
                  <a:pt x="112" y="4"/>
                  <a:pt x="111" y="4"/>
                </a:cubicBezTo>
                <a:cubicBezTo>
                  <a:pt x="109" y="4"/>
                  <a:pt x="108" y="4"/>
                  <a:pt x="107" y="5"/>
                </a:cubicBezTo>
                <a:cubicBezTo>
                  <a:pt x="106" y="6"/>
                  <a:pt x="104" y="6"/>
                  <a:pt x="103" y="7"/>
                </a:cubicBezTo>
                <a:cubicBezTo>
                  <a:pt x="101" y="9"/>
                  <a:pt x="99" y="11"/>
                  <a:pt x="98" y="14"/>
                </a:cubicBezTo>
                <a:cubicBezTo>
                  <a:pt x="98" y="16"/>
                  <a:pt x="99" y="17"/>
                  <a:pt x="99" y="19"/>
                </a:cubicBezTo>
                <a:cubicBezTo>
                  <a:pt x="100" y="20"/>
                  <a:pt x="101" y="21"/>
                  <a:pt x="101" y="23"/>
                </a:cubicBezTo>
                <a:cubicBezTo>
                  <a:pt x="101" y="24"/>
                  <a:pt x="100" y="25"/>
                  <a:pt x="99" y="26"/>
                </a:cubicBezTo>
                <a:cubicBezTo>
                  <a:pt x="98" y="27"/>
                  <a:pt x="98" y="29"/>
                  <a:pt x="96" y="30"/>
                </a:cubicBezTo>
                <a:cubicBezTo>
                  <a:pt x="95" y="30"/>
                  <a:pt x="94" y="31"/>
                  <a:pt x="92" y="32"/>
                </a:cubicBezTo>
                <a:cubicBezTo>
                  <a:pt x="91" y="32"/>
                  <a:pt x="90" y="31"/>
                  <a:pt x="88" y="31"/>
                </a:cubicBezTo>
                <a:cubicBezTo>
                  <a:pt x="87" y="30"/>
                  <a:pt x="87" y="29"/>
                  <a:pt x="86" y="29"/>
                </a:cubicBezTo>
                <a:cubicBezTo>
                  <a:pt x="85" y="28"/>
                  <a:pt x="85" y="28"/>
                  <a:pt x="84" y="27"/>
                </a:cubicBezTo>
                <a:cubicBezTo>
                  <a:pt x="83" y="27"/>
                  <a:pt x="83" y="26"/>
                  <a:pt x="82" y="26"/>
                </a:cubicBezTo>
                <a:cubicBezTo>
                  <a:pt x="82" y="26"/>
                  <a:pt x="81" y="26"/>
                  <a:pt x="80" y="25"/>
                </a:cubicBezTo>
                <a:cubicBezTo>
                  <a:pt x="80" y="25"/>
                  <a:pt x="80" y="25"/>
                  <a:pt x="80" y="25"/>
                </a:cubicBezTo>
                <a:cubicBezTo>
                  <a:pt x="79" y="24"/>
                  <a:pt x="79" y="24"/>
                  <a:pt x="78" y="24"/>
                </a:cubicBezTo>
                <a:cubicBezTo>
                  <a:pt x="78" y="24"/>
                  <a:pt x="77" y="24"/>
                  <a:pt x="76" y="23"/>
                </a:cubicBezTo>
                <a:cubicBezTo>
                  <a:pt x="74" y="23"/>
                  <a:pt x="72" y="22"/>
                  <a:pt x="71" y="22"/>
                </a:cubicBezTo>
                <a:cubicBezTo>
                  <a:pt x="67" y="21"/>
                  <a:pt x="64" y="22"/>
                  <a:pt x="61" y="20"/>
                </a:cubicBezTo>
                <a:cubicBezTo>
                  <a:pt x="60" y="19"/>
                  <a:pt x="58" y="18"/>
                  <a:pt x="58" y="17"/>
                </a:cubicBezTo>
                <a:cubicBezTo>
                  <a:pt x="57" y="16"/>
                  <a:pt x="56" y="14"/>
                  <a:pt x="56" y="12"/>
                </a:cubicBezTo>
                <a:cubicBezTo>
                  <a:pt x="56" y="11"/>
                  <a:pt x="56" y="9"/>
                  <a:pt x="54" y="8"/>
                </a:cubicBezTo>
                <a:cubicBezTo>
                  <a:pt x="53" y="8"/>
                  <a:pt x="51" y="8"/>
                  <a:pt x="50" y="8"/>
                </a:cubicBezTo>
                <a:cubicBezTo>
                  <a:pt x="49" y="7"/>
                  <a:pt x="48" y="7"/>
                  <a:pt x="47" y="7"/>
                </a:cubicBezTo>
                <a:cubicBezTo>
                  <a:pt x="47" y="6"/>
                  <a:pt x="46" y="6"/>
                  <a:pt x="46" y="5"/>
                </a:cubicBezTo>
                <a:cubicBezTo>
                  <a:pt x="45" y="5"/>
                  <a:pt x="44" y="5"/>
                  <a:pt x="44" y="4"/>
                </a:cubicBezTo>
                <a:cubicBezTo>
                  <a:pt x="43" y="4"/>
                  <a:pt x="42" y="4"/>
                  <a:pt x="41" y="4"/>
                </a:cubicBezTo>
                <a:cubicBezTo>
                  <a:pt x="40" y="4"/>
                  <a:pt x="40" y="4"/>
                  <a:pt x="39" y="3"/>
                </a:cubicBezTo>
                <a:cubicBezTo>
                  <a:pt x="38" y="3"/>
                  <a:pt x="37" y="3"/>
                  <a:pt x="37" y="3"/>
                </a:cubicBezTo>
                <a:cubicBezTo>
                  <a:pt x="35" y="2"/>
                  <a:pt x="34" y="4"/>
                  <a:pt x="32" y="4"/>
                </a:cubicBezTo>
                <a:cubicBezTo>
                  <a:pt x="30" y="4"/>
                  <a:pt x="28" y="4"/>
                  <a:pt x="27" y="3"/>
                </a:cubicBezTo>
                <a:cubicBezTo>
                  <a:pt x="25" y="2"/>
                  <a:pt x="24" y="1"/>
                  <a:pt x="22" y="0"/>
                </a:cubicBezTo>
                <a:cubicBezTo>
                  <a:pt x="22" y="0"/>
                  <a:pt x="23" y="0"/>
                  <a:pt x="23" y="1"/>
                </a:cubicBezTo>
                <a:cubicBezTo>
                  <a:pt x="23" y="1"/>
                  <a:pt x="22" y="1"/>
                  <a:pt x="22" y="0"/>
                </a:cubicBezTo>
                <a:cubicBezTo>
                  <a:pt x="21" y="0"/>
                  <a:pt x="21" y="0"/>
                  <a:pt x="21" y="0"/>
                </a:cubicBezTo>
                <a:cubicBezTo>
                  <a:pt x="20" y="1"/>
                  <a:pt x="20" y="3"/>
                  <a:pt x="20" y="5"/>
                </a:cubicBezTo>
                <a:cubicBezTo>
                  <a:pt x="20" y="6"/>
                  <a:pt x="20" y="6"/>
                  <a:pt x="21" y="6"/>
                </a:cubicBezTo>
                <a:cubicBezTo>
                  <a:pt x="21" y="7"/>
                  <a:pt x="21" y="7"/>
                  <a:pt x="21" y="8"/>
                </a:cubicBezTo>
                <a:cubicBezTo>
                  <a:pt x="20" y="9"/>
                  <a:pt x="17" y="10"/>
                  <a:pt x="16" y="10"/>
                </a:cubicBezTo>
                <a:cubicBezTo>
                  <a:pt x="15" y="11"/>
                  <a:pt x="15" y="11"/>
                  <a:pt x="15" y="11"/>
                </a:cubicBezTo>
                <a:cubicBezTo>
                  <a:pt x="14" y="12"/>
                  <a:pt x="14" y="12"/>
                  <a:pt x="14" y="12"/>
                </a:cubicBezTo>
                <a:cubicBezTo>
                  <a:pt x="13" y="13"/>
                  <a:pt x="13" y="13"/>
                  <a:pt x="12" y="13"/>
                </a:cubicBezTo>
                <a:cubicBezTo>
                  <a:pt x="12" y="13"/>
                  <a:pt x="12" y="14"/>
                  <a:pt x="12" y="14"/>
                </a:cubicBezTo>
                <a:cubicBezTo>
                  <a:pt x="12" y="14"/>
                  <a:pt x="12" y="15"/>
                  <a:pt x="11" y="15"/>
                </a:cubicBezTo>
                <a:cubicBezTo>
                  <a:pt x="11" y="16"/>
                  <a:pt x="10" y="15"/>
                  <a:pt x="10" y="16"/>
                </a:cubicBezTo>
                <a:cubicBezTo>
                  <a:pt x="9" y="16"/>
                  <a:pt x="9" y="16"/>
                  <a:pt x="9" y="17"/>
                </a:cubicBezTo>
                <a:cubicBezTo>
                  <a:pt x="8" y="17"/>
                  <a:pt x="8" y="18"/>
                  <a:pt x="8" y="18"/>
                </a:cubicBezTo>
                <a:cubicBezTo>
                  <a:pt x="7" y="19"/>
                  <a:pt x="8" y="20"/>
                  <a:pt x="8" y="21"/>
                </a:cubicBezTo>
                <a:cubicBezTo>
                  <a:pt x="9" y="22"/>
                  <a:pt x="9" y="23"/>
                  <a:pt x="9" y="23"/>
                </a:cubicBezTo>
                <a:cubicBezTo>
                  <a:pt x="9" y="25"/>
                  <a:pt x="8" y="26"/>
                  <a:pt x="8" y="28"/>
                </a:cubicBezTo>
                <a:cubicBezTo>
                  <a:pt x="7" y="28"/>
                  <a:pt x="6" y="31"/>
                  <a:pt x="5" y="31"/>
                </a:cubicBezTo>
                <a:cubicBezTo>
                  <a:pt x="4" y="31"/>
                  <a:pt x="3" y="32"/>
                  <a:pt x="2" y="32"/>
                </a:cubicBezTo>
                <a:cubicBezTo>
                  <a:pt x="1" y="32"/>
                  <a:pt x="1" y="33"/>
                  <a:pt x="0" y="33"/>
                </a:cubicBezTo>
                <a:cubicBezTo>
                  <a:pt x="0" y="33"/>
                  <a:pt x="0" y="34"/>
                  <a:pt x="1" y="34"/>
                </a:cubicBezTo>
                <a:cubicBezTo>
                  <a:pt x="2" y="35"/>
                  <a:pt x="2" y="37"/>
                  <a:pt x="3" y="38"/>
                </a:cubicBezTo>
                <a:cubicBezTo>
                  <a:pt x="4" y="41"/>
                  <a:pt x="5" y="44"/>
                  <a:pt x="5" y="47"/>
                </a:cubicBezTo>
                <a:cubicBezTo>
                  <a:pt x="5" y="49"/>
                  <a:pt x="5" y="51"/>
                  <a:pt x="5" y="53"/>
                </a:cubicBezTo>
                <a:cubicBezTo>
                  <a:pt x="5" y="55"/>
                  <a:pt x="6" y="56"/>
                  <a:pt x="6" y="58"/>
                </a:cubicBezTo>
                <a:cubicBezTo>
                  <a:pt x="6" y="59"/>
                  <a:pt x="6" y="60"/>
                  <a:pt x="5" y="60"/>
                </a:cubicBezTo>
                <a:cubicBezTo>
                  <a:pt x="5" y="61"/>
                  <a:pt x="5" y="61"/>
                  <a:pt x="5" y="62"/>
                </a:cubicBezTo>
                <a:cubicBezTo>
                  <a:pt x="5" y="62"/>
                  <a:pt x="4" y="62"/>
                  <a:pt x="4" y="63"/>
                </a:cubicBezTo>
                <a:cubicBezTo>
                  <a:pt x="4" y="64"/>
                  <a:pt x="4" y="64"/>
                  <a:pt x="4" y="65"/>
                </a:cubicBezTo>
                <a:cubicBezTo>
                  <a:pt x="4" y="66"/>
                  <a:pt x="5" y="67"/>
                  <a:pt x="5" y="68"/>
                </a:cubicBezTo>
                <a:cubicBezTo>
                  <a:pt x="5" y="68"/>
                  <a:pt x="5" y="69"/>
                  <a:pt x="5" y="69"/>
                </a:cubicBezTo>
                <a:cubicBezTo>
                  <a:pt x="6" y="69"/>
                  <a:pt x="6" y="70"/>
                  <a:pt x="6" y="70"/>
                </a:cubicBezTo>
                <a:cubicBezTo>
                  <a:pt x="5" y="71"/>
                  <a:pt x="6" y="72"/>
                  <a:pt x="5" y="73"/>
                </a:cubicBezTo>
                <a:cubicBezTo>
                  <a:pt x="4" y="74"/>
                  <a:pt x="3" y="74"/>
                  <a:pt x="3" y="74"/>
                </a:cubicBezTo>
                <a:cubicBezTo>
                  <a:pt x="2" y="74"/>
                  <a:pt x="2" y="75"/>
                  <a:pt x="1" y="75"/>
                </a:cubicBezTo>
                <a:cubicBezTo>
                  <a:pt x="1" y="76"/>
                  <a:pt x="1" y="77"/>
                  <a:pt x="2" y="78"/>
                </a:cubicBezTo>
                <a:cubicBezTo>
                  <a:pt x="2" y="79"/>
                  <a:pt x="3" y="81"/>
                  <a:pt x="4" y="82"/>
                </a:cubicBezTo>
                <a:cubicBezTo>
                  <a:pt x="5" y="83"/>
                  <a:pt x="6" y="85"/>
                  <a:pt x="7" y="86"/>
                </a:cubicBezTo>
                <a:cubicBezTo>
                  <a:pt x="7" y="88"/>
                  <a:pt x="7" y="89"/>
                  <a:pt x="7" y="90"/>
                </a:cubicBezTo>
                <a:cubicBezTo>
                  <a:pt x="7" y="91"/>
                  <a:pt x="7" y="92"/>
                  <a:pt x="8" y="92"/>
                </a:cubicBezTo>
                <a:cubicBezTo>
                  <a:pt x="8" y="92"/>
                  <a:pt x="9" y="93"/>
                  <a:pt x="9" y="93"/>
                </a:cubicBezTo>
                <a:cubicBezTo>
                  <a:pt x="9" y="95"/>
                  <a:pt x="10" y="96"/>
                  <a:pt x="12" y="95"/>
                </a:cubicBezTo>
                <a:cubicBezTo>
                  <a:pt x="13" y="94"/>
                  <a:pt x="13" y="94"/>
                  <a:pt x="14" y="95"/>
                </a:cubicBezTo>
                <a:cubicBezTo>
                  <a:pt x="15" y="95"/>
                  <a:pt x="16" y="95"/>
                  <a:pt x="16" y="96"/>
                </a:cubicBezTo>
                <a:cubicBezTo>
                  <a:pt x="18" y="96"/>
                  <a:pt x="19" y="96"/>
                  <a:pt x="20" y="97"/>
                </a:cubicBezTo>
                <a:cubicBezTo>
                  <a:pt x="22" y="98"/>
                  <a:pt x="22" y="99"/>
                  <a:pt x="23" y="101"/>
                </a:cubicBezTo>
                <a:cubicBezTo>
                  <a:pt x="24" y="102"/>
                  <a:pt x="24" y="103"/>
                  <a:pt x="25" y="105"/>
                </a:cubicBezTo>
                <a:cubicBezTo>
                  <a:pt x="25" y="106"/>
                  <a:pt x="27" y="106"/>
                  <a:pt x="28" y="106"/>
                </a:cubicBezTo>
                <a:cubicBezTo>
                  <a:pt x="30" y="107"/>
                  <a:pt x="32" y="107"/>
                  <a:pt x="34" y="108"/>
                </a:cubicBezTo>
                <a:cubicBezTo>
                  <a:pt x="36" y="108"/>
                  <a:pt x="38" y="109"/>
                  <a:pt x="40" y="110"/>
                </a:cubicBezTo>
                <a:cubicBezTo>
                  <a:pt x="41" y="110"/>
                  <a:pt x="43" y="112"/>
                  <a:pt x="44" y="113"/>
                </a:cubicBezTo>
                <a:cubicBezTo>
                  <a:pt x="45" y="114"/>
                  <a:pt x="46" y="116"/>
                  <a:pt x="47" y="115"/>
                </a:cubicBezTo>
                <a:cubicBezTo>
                  <a:pt x="51" y="113"/>
                  <a:pt x="54" y="111"/>
                  <a:pt x="58" y="109"/>
                </a:cubicBezTo>
                <a:cubicBezTo>
                  <a:pt x="60" y="109"/>
                  <a:pt x="61" y="108"/>
                  <a:pt x="63" y="107"/>
                </a:cubicBezTo>
                <a:cubicBezTo>
                  <a:pt x="64" y="106"/>
                  <a:pt x="65" y="107"/>
                  <a:pt x="66" y="108"/>
                </a:cubicBezTo>
                <a:cubicBezTo>
                  <a:pt x="69" y="109"/>
                  <a:pt x="72" y="111"/>
                  <a:pt x="75" y="113"/>
                </a:cubicBezTo>
                <a:cubicBezTo>
                  <a:pt x="82" y="117"/>
                  <a:pt x="90" y="121"/>
                  <a:pt x="97" y="125"/>
                </a:cubicBezTo>
                <a:cubicBezTo>
                  <a:pt x="111" y="133"/>
                  <a:pt x="126" y="141"/>
                  <a:pt x="140" y="150"/>
                </a:cubicBezTo>
                <a:cubicBezTo>
                  <a:pt x="140" y="149"/>
                  <a:pt x="140" y="148"/>
                  <a:pt x="140" y="146"/>
                </a:cubicBezTo>
                <a:cubicBezTo>
                  <a:pt x="140" y="145"/>
                  <a:pt x="140" y="145"/>
                  <a:pt x="141" y="145"/>
                </a:cubicBezTo>
                <a:cubicBezTo>
                  <a:pt x="142" y="144"/>
                  <a:pt x="144" y="144"/>
                  <a:pt x="145" y="144"/>
                </a:cubicBezTo>
                <a:cubicBezTo>
                  <a:pt x="147" y="144"/>
                  <a:pt x="148" y="144"/>
                  <a:pt x="150" y="144"/>
                </a:cubicBezTo>
                <a:cubicBezTo>
                  <a:pt x="149" y="120"/>
                  <a:pt x="148" y="95"/>
                  <a:pt x="148" y="7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5" name="Liberia"/>
          <p:cNvSpPr>
            <a:spLocks/>
          </p:cNvSpPr>
          <p:nvPr/>
        </p:nvSpPr>
        <p:spPr bwMode="auto">
          <a:xfrm>
            <a:off x="5391097" y="4323950"/>
            <a:ext cx="143995" cy="165994"/>
          </a:xfrm>
          <a:custGeom>
            <a:avLst/>
            <a:gdLst/>
            <a:ahLst/>
            <a:cxnLst>
              <a:cxn ang="0">
                <a:pos x="40" y="33"/>
              </a:cxn>
              <a:cxn ang="0">
                <a:pos x="39" y="30"/>
              </a:cxn>
              <a:cxn ang="0">
                <a:pos x="38" y="30"/>
              </a:cxn>
              <a:cxn ang="0">
                <a:pos x="36" y="27"/>
              </a:cxn>
              <a:cxn ang="0">
                <a:pos x="33" y="25"/>
              </a:cxn>
              <a:cxn ang="0">
                <a:pos x="30" y="24"/>
              </a:cxn>
              <a:cxn ang="0">
                <a:pos x="29" y="23"/>
              </a:cxn>
              <a:cxn ang="0">
                <a:pos x="29" y="22"/>
              </a:cxn>
              <a:cxn ang="0">
                <a:pos x="31" y="20"/>
              </a:cxn>
              <a:cxn ang="0">
                <a:pos x="31" y="17"/>
              </a:cxn>
              <a:cxn ang="0">
                <a:pos x="31" y="16"/>
              </a:cxn>
              <a:cxn ang="0">
                <a:pos x="31" y="14"/>
              </a:cxn>
              <a:cxn ang="0">
                <a:pos x="29" y="11"/>
              </a:cxn>
              <a:cxn ang="0">
                <a:pos x="27" y="11"/>
              </a:cxn>
              <a:cxn ang="0">
                <a:pos x="26" y="14"/>
              </a:cxn>
              <a:cxn ang="0">
                <a:pos x="23" y="15"/>
              </a:cxn>
              <a:cxn ang="0">
                <a:pos x="22" y="13"/>
              </a:cxn>
              <a:cxn ang="0">
                <a:pos x="21" y="13"/>
              </a:cxn>
              <a:cxn ang="0">
                <a:pos x="20" y="13"/>
              </a:cxn>
              <a:cxn ang="0">
                <a:pos x="21" y="7"/>
              </a:cxn>
              <a:cxn ang="0">
                <a:pos x="20" y="4"/>
              </a:cxn>
              <a:cxn ang="0">
                <a:pos x="19" y="2"/>
              </a:cxn>
              <a:cxn ang="0">
                <a:pos x="18" y="1"/>
              </a:cxn>
              <a:cxn ang="0">
                <a:pos x="17" y="0"/>
              </a:cxn>
              <a:cxn ang="0">
                <a:pos x="15" y="2"/>
              </a:cxn>
              <a:cxn ang="0">
                <a:pos x="13" y="1"/>
              </a:cxn>
              <a:cxn ang="0">
                <a:pos x="12" y="4"/>
              </a:cxn>
              <a:cxn ang="0">
                <a:pos x="9" y="8"/>
              </a:cxn>
              <a:cxn ang="0">
                <a:pos x="7" y="10"/>
              </a:cxn>
              <a:cxn ang="0">
                <a:pos x="3" y="15"/>
              </a:cxn>
              <a:cxn ang="0">
                <a:pos x="1" y="17"/>
              </a:cxn>
              <a:cxn ang="0">
                <a:pos x="2" y="20"/>
              </a:cxn>
              <a:cxn ang="0">
                <a:pos x="4" y="22"/>
              </a:cxn>
              <a:cxn ang="0">
                <a:pos x="7" y="24"/>
              </a:cxn>
              <a:cxn ang="0">
                <a:pos x="7" y="25"/>
              </a:cxn>
              <a:cxn ang="0">
                <a:pos x="10" y="26"/>
              </a:cxn>
              <a:cxn ang="0">
                <a:pos x="11" y="27"/>
              </a:cxn>
              <a:cxn ang="0">
                <a:pos x="14" y="29"/>
              </a:cxn>
              <a:cxn ang="0">
                <a:pos x="17" y="32"/>
              </a:cxn>
              <a:cxn ang="0">
                <a:pos x="19" y="35"/>
              </a:cxn>
              <a:cxn ang="0">
                <a:pos x="23" y="39"/>
              </a:cxn>
              <a:cxn ang="0">
                <a:pos x="27" y="41"/>
              </a:cxn>
              <a:cxn ang="0">
                <a:pos x="31" y="43"/>
              </a:cxn>
              <a:cxn ang="0">
                <a:pos x="36" y="45"/>
              </a:cxn>
              <a:cxn ang="0">
                <a:pos x="38" y="44"/>
              </a:cxn>
              <a:cxn ang="0">
                <a:pos x="38" y="40"/>
              </a:cxn>
              <a:cxn ang="0">
                <a:pos x="38" y="40"/>
              </a:cxn>
              <a:cxn ang="0">
                <a:pos x="40" y="36"/>
              </a:cxn>
              <a:cxn ang="0">
                <a:pos x="40" y="35"/>
              </a:cxn>
            </a:cxnLst>
            <a:rect l="0" t="0" r="r" b="b"/>
            <a:pathLst>
              <a:path w="40" h="46">
                <a:moveTo>
                  <a:pt x="40" y="35"/>
                </a:moveTo>
                <a:cubicBezTo>
                  <a:pt x="40" y="35"/>
                  <a:pt x="40" y="34"/>
                  <a:pt x="40" y="33"/>
                </a:cubicBezTo>
                <a:cubicBezTo>
                  <a:pt x="40" y="33"/>
                  <a:pt x="39" y="30"/>
                  <a:pt x="39" y="30"/>
                </a:cubicBezTo>
                <a:cubicBezTo>
                  <a:pt x="39" y="30"/>
                  <a:pt x="39" y="30"/>
                  <a:pt x="39" y="30"/>
                </a:cubicBezTo>
                <a:cubicBezTo>
                  <a:pt x="39" y="30"/>
                  <a:pt x="39" y="30"/>
                  <a:pt x="39" y="30"/>
                </a:cubicBezTo>
                <a:cubicBezTo>
                  <a:pt x="39" y="30"/>
                  <a:pt x="38" y="30"/>
                  <a:pt x="38" y="30"/>
                </a:cubicBezTo>
                <a:cubicBezTo>
                  <a:pt x="38" y="30"/>
                  <a:pt x="37" y="29"/>
                  <a:pt x="37" y="29"/>
                </a:cubicBezTo>
                <a:cubicBezTo>
                  <a:pt x="37" y="30"/>
                  <a:pt x="36" y="27"/>
                  <a:pt x="36" y="27"/>
                </a:cubicBezTo>
                <a:cubicBezTo>
                  <a:pt x="35" y="27"/>
                  <a:pt x="36" y="26"/>
                  <a:pt x="35" y="25"/>
                </a:cubicBezTo>
                <a:cubicBezTo>
                  <a:pt x="34" y="25"/>
                  <a:pt x="34" y="25"/>
                  <a:pt x="33" y="25"/>
                </a:cubicBezTo>
                <a:cubicBezTo>
                  <a:pt x="32" y="26"/>
                  <a:pt x="31" y="24"/>
                  <a:pt x="30" y="24"/>
                </a:cubicBezTo>
                <a:cubicBezTo>
                  <a:pt x="30" y="24"/>
                  <a:pt x="30" y="24"/>
                  <a:pt x="30" y="24"/>
                </a:cubicBezTo>
                <a:cubicBezTo>
                  <a:pt x="31" y="23"/>
                  <a:pt x="30" y="23"/>
                  <a:pt x="30" y="23"/>
                </a:cubicBezTo>
                <a:cubicBezTo>
                  <a:pt x="30" y="24"/>
                  <a:pt x="29" y="23"/>
                  <a:pt x="29" y="23"/>
                </a:cubicBezTo>
                <a:cubicBezTo>
                  <a:pt x="28" y="23"/>
                  <a:pt x="28" y="23"/>
                  <a:pt x="29" y="22"/>
                </a:cubicBezTo>
                <a:cubicBezTo>
                  <a:pt x="29" y="22"/>
                  <a:pt x="29" y="22"/>
                  <a:pt x="29" y="22"/>
                </a:cubicBezTo>
                <a:cubicBezTo>
                  <a:pt x="29" y="22"/>
                  <a:pt x="29" y="22"/>
                  <a:pt x="30" y="21"/>
                </a:cubicBezTo>
                <a:cubicBezTo>
                  <a:pt x="30" y="21"/>
                  <a:pt x="30" y="21"/>
                  <a:pt x="31" y="20"/>
                </a:cubicBezTo>
                <a:cubicBezTo>
                  <a:pt x="31" y="20"/>
                  <a:pt x="31" y="19"/>
                  <a:pt x="31" y="19"/>
                </a:cubicBezTo>
                <a:cubicBezTo>
                  <a:pt x="31" y="18"/>
                  <a:pt x="31" y="18"/>
                  <a:pt x="31" y="17"/>
                </a:cubicBezTo>
                <a:cubicBezTo>
                  <a:pt x="32" y="17"/>
                  <a:pt x="31" y="17"/>
                  <a:pt x="31" y="16"/>
                </a:cubicBezTo>
                <a:cubicBezTo>
                  <a:pt x="31" y="16"/>
                  <a:pt x="31" y="16"/>
                  <a:pt x="31" y="16"/>
                </a:cubicBezTo>
                <a:cubicBezTo>
                  <a:pt x="31" y="15"/>
                  <a:pt x="31" y="15"/>
                  <a:pt x="31" y="15"/>
                </a:cubicBezTo>
                <a:cubicBezTo>
                  <a:pt x="31" y="15"/>
                  <a:pt x="31" y="15"/>
                  <a:pt x="31" y="14"/>
                </a:cubicBezTo>
                <a:cubicBezTo>
                  <a:pt x="30" y="14"/>
                  <a:pt x="30" y="13"/>
                  <a:pt x="30" y="12"/>
                </a:cubicBezTo>
                <a:cubicBezTo>
                  <a:pt x="30" y="11"/>
                  <a:pt x="30" y="11"/>
                  <a:pt x="29" y="11"/>
                </a:cubicBezTo>
                <a:cubicBezTo>
                  <a:pt x="29" y="10"/>
                  <a:pt x="29" y="10"/>
                  <a:pt x="28" y="10"/>
                </a:cubicBezTo>
                <a:cubicBezTo>
                  <a:pt x="28" y="10"/>
                  <a:pt x="27" y="10"/>
                  <a:pt x="27" y="11"/>
                </a:cubicBezTo>
                <a:cubicBezTo>
                  <a:pt x="27" y="12"/>
                  <a:pt x="27" y="12"/>
                  <a:pt x="26" y="13"/>
                </a:cubicBezTo>
                <a:cubicBezTo>
                  <a:pt x="26" y="13"/>
                  <a:pt x="26" y="14"/>
                  <a:pt x="26" y="14"/>
                </a:cubicBezTo>
                <a:cubicBezTo>
                  <a:pt x="26" y="15"/>
                  <a:pt x="25" y="14"/>
                  <a:pt x="25" y="14"/>
                </a:cubicBezTo>
                <a:cubicBezTo>
                  <a:pt x="25" y="14"/>
                  <a:pt x="24" y="15"/>
                  <a:pt x="23" y="15"/>
                </a:cubicBezTo>
                <a:cubicBezTo>
                  <a:pt x="24" y="15"/>
                  <a:pt x="23" y="14"/>
                  <a:pt x="23" y="14"/>
                </a:cubicBezTo>
                <a:cubicBezTo>
                  <a:pt x="23" y="14"/>
                  <a:pt x="23" y="13"/>
                  <a:pt x="22" y="13"/>
                </a:cubicBezTo>
                <a:cubicBezTo>
                  <a:pt x="22" y="13"/>
                  <a:pt x="22" y="13"/>
                  <a:pt x="21" y="13"/>
                </a:cubicBezTo>
                <a:cubicBezTo>
                  <a:pt x="21" y="12"/>
                  <a:pt x="21" y="13"/>
                  <a:pt x="21" y="13"/>
                </a:cubicBezTo>
                <a:cubicBezTo>
                  <a:pt x="20" y="13"/>
                  <a:pt x="21" y="13"/>
                  <a:pt x="20" y="13"/>
                </a:cubicBezTo>
                <a:cubicBezTo>
                  <a:pt x="20" y="13"/>
                  <a:pt x="20" y="13"/>
                  <a:pt x="20" y="13"/>
                </a:cubicBezTo>
                <a:cubicBezTo>
                  <a:pt x="20" y="12"/>
                  <a:pt x="22" y="10"/>
                  <a:pt x="21" y="9"/>
                </a:cubicBezTo>
                <a:cubicBezTo>
                  <a:pt x="21" y="8"/>
                  <a:pt x="20" y="8"/>
                  <a:pt x="21" y="7"/>
                </a:cubicBezTo>
                <a:cubicBezTo>
                  <a:pt x="21" y="6"/>
                  <a:pt x="21" y="5"/>
                  <a:pt x="20" y="6"/>
                </a:cubicBezTo>
                <a:cubicBezTo>
                  <a:pt x="21" y="5"/>
                  <a:pt x="20" y="5"/>
                  <a:pt x="20" y="4"/>
                </a:cubicBezTo>
                <a:cubicBezTo>
                  <a:pt x="20" y="4"/>
                  <a:pt x="20" y="2"/>
                  <a:pt x="20" y="2"/>
                </a:cubicBezTo>
                <a:cubicBezTo>
                  <a:pt x="20" y="2"/>
                  <a:pt x="19" y="2"/>
                  <a:pt x="19" y="2"/>
                </a:cubicBezTo>
                <a:cubicBezTo>
                  <a:pt x="19" y="2"/>
                  <a:pt x="18" y="2"/>
                  <a:pt x="18" y="2"/>
                </a:cubicBezTo>
                <a:cubicBezTo>
                  <a:pt x="18" y="2"/>
                  <a:pt x="19" y="1"/>
                  <a:pt x="18" y="1"/>
                </a:cubicBezTo>
                <a:cubicBezTo>
                  <a:pt x="18" y="1"/>
                  <a:pt x="18" y="1"/>
                  <a:pt x="18" y="2"/>
                </a:cubicBezTo>
                <a:cubicBezTo>
                  <a:pt x="17" y="1"/>
                  <a:pt x="18" y="1"/>
                  <a:pt x="17" y="0"/>
                </a:cubicBezTo>
                <a:cubicBezTo>
                  <a:pt x="17" y="0"/>
                  <a:pt x="16" y="1"/>
                  <a:pt x="16" y="1"/>
                </a:cubicBezTo>
                <a:cubicBezTo>
                  <a:pt x="16" y="1"/>
                  <a:pt x="15" y="1"/>
                  <a:pt x="15" y="2"/>
                </a:cubicBezTo>
                <a:cubicBezTo>
                  <a:pt x="14" y="2"/>
                  <a:pt x="15" y="1"/>
                  <a:pt x="14" y="1"/>
                </a:cubicBezTo>
                <a:cubicBezTo>
                  <a:pt x="14" y="0"/>
                  <a:pt x="13" y="1"/>
                  <a:pt x="13" y="1"/>
                </a:cubicBezTo>
                <a:cubicBezTo>
                  <a:pt x="12" y="1"/>
                  <a:pt x="12" y="2"/>
                  <a:pt x="12" y="2"/>
                </a:cubicBezTo>
                <a:cubicBezTo>
                  <a:pt x="12" y="3"/>
                  <a:pt x="12" y="3"/>
                  <a:pt x="12" y="4"/>
                </a:cubicBezTo>
                <a:cubicBezTo>
                  <a:pt x="12" y="4"/>
                  <a:pt x="12" y="5"/>
                  <a:pt x="11" y="5"/>
                </a:cubicBezTo>
                <a:cubicBezTo>
                  <a:pt x="9" y="5"/>
                  <a:pt x="9" y="6"/>
                  <a:pt x="9" y="8"/>
                </a:cubicBezTo>
                <a:cubicBezTo>
                  <a:pt x="9" y="8"/>
                  <a:pt x="9" y="9"/>
                  <a:pt x="9" y="9"/>
                </a:cubicBezTo>
                <a:cubicBezTo>
                  <a:pt x="8" y="9"/>
                  <a:pt x="8" y="10"/>
                  <a:pt x="7" y="10"/>
                </a:cubicBezTo>
                <a:cubicBezTo>
                  <a:pt x="7" y="12"/>
                  <a:pt x="5" y="12"/>
                  <a:pt x="4" y="13"/>
                </a:cubicBezTo>
                <a:cubicBezTo>
                  <a:pt x="4" y="14"/>
                  <a:pt x="3" y="14"/>
                  <a:pt x="3" y="15"/>
                </a:cubicBezTo>
                <a:cubicBezTo>
                  <a:pt x="2" y="15"/>
                  <a:pt x="2" y="15"/>
                  <a:pt x="2" y="16"/>
                </a:cubicBezTo>
                <a:cubicBezTo>
                  <a:pt x="2" y="16"/>
                  <a:pt x="1" y="17"/>
                  <a:pt x="1" y="17"/>
                </a:cubicBezTo>
                <a:cubicBezTo>
                  <a:pt x="1" y="17"/>
                  <a:pt x="1" y="18"/>
                  <a:pt x="0" y="18"/>
                </a:cubicBezTo>
                <a:cubicBezTo>
                  <a:pt x="1" y="19"/>
                  <a:pt x="1" y="19"/>
                  <a:pt x="2" y="20"/>
                </a:cubicBezTo>
                <a:cubicBezTo>
                  <a:pt x="1" y="20"/>
                  <a:pt x="2" y="21"/>
                  <a:pt x="2" y="21"/>
                </a:cubicBezTo>
                <a:cubicBezTo>
                  <a:pt x="2" y="21"/>
                  <a:pt x="3" y="21"/>
                  <a:pt x="4" y="22"/>
                </a:cubicBezTo>
                <a:cubicBezTo>
                  <a:pt x="5" y="22"/>
                  <a:pt x="5" y="22"/>
                  <a:pt x="6" y="23"/>
                </a:cubicBezTo>
                <a:cubicBezTo>
                  <a:pt x="6" y="23"/>
                  <a:pt x="7" y="24"/>
                  <a:pt x="7" y="24"/>
                </a:cubicBezTo>
                <a:cubicBezTo>
                  <a:pt x="7" y="24"/>
                  <a:pt x="7" y="25"/>
                  <a:pt x="7" y="25"/>
                </a:cubicBezTo>
                <a:cubicBezTo>
                  <a:pt x="7" y="25"/>
                  <a:pt x="7" y="25"/>
                  <a:pt x="7" y="25"/>
                </a:cubicBezTo>
                <a:cubicBezTo>
                  <a:pt x="7" y="26"/>
                  <a:pt x="10" y="26"/>
                  <a:pt x="11" y="27"/>
                </a:cubicBezTo>
                <a:cubicBezTo>
                  <a:pt x="11" y="27"/>
                  <a:pt x="10" y="26"/>
                  <a:pt x="10" y="26"/>
                </a:cubicBezTo>
                <a:cubicBezTo>
                  <a:pt x="10" y="26"/>
                  <a:pt x="11" y="27"/>
                  <a:pt x="11" y="27"/>
                </a:cubicBezTo>
                <a:cubicBezTo>
                  <a:pt x="12" y="27"/>
                  <a:pt x="11" y="27"/>
                  <a:pt x="11" y="27"/>
                </a:cubicBezTo>
                <a:cubicBezTo>
                  <a:pt x="11" y="27"/>
                  <a:pt x="12" y="28"/>
                  <a:pt x="12" y="28"/>
                </a:cubicBezTo>
                <a:cubicBezTo>
                  <a:pt x="13" y="28"/>
                  <a:pt x="13" y="29"/>
                  <a:pt x="14" y="29"/>
                </a:cubicBezTo>
                <a:cubicBezTo>
                  <a:pt x="14" y="30"/>
                  <a:pt x="15" y="30"/>
                  <a:pt x="15" y="31"/>
                </a:cubicBezTo>
                <a:cubicBezTo>
                  <a:pt x="16" y="31"/>
                  <a:pt x="16" y="32"/>
                  <a:pt x="17" y="32"/>
                </a:cubicBezTo>
                <a:cubicBezTo>
                  <a:pt x="17" y="33"/>
                  <a:pt x="18" y="33"/>
                  <a:pt x="18" y="34"/>
                </a:cubicBezTo>
                <a:cubicBezTo>
                  <a:pt x="19" y="35"/>
                  <a:pt x="18" y="34"/>
                  <a:pt x="19" y="35"/>
                </a:cubicBezTo>
                <a:cubicBezTo>
                  <a:pt x="19" y="35"/>
                  <a:pt x="19" y="35"/>
                  <a:pt x="19" y="35"/>
                </a:cubicBezTo>
                <a:cubicBezTo>
                  <a:pt x="20" y="36"/>
                  <a:pt x="21" y="38"/>
                  <a:pt x="23" y="39"/>
                </a:cubicBezTo>
                <a:cubicBezTo>
                  <a:pt x="24" y="39"/>
                  <a:pt x="24" y="40"/>
                  <a:pt x="25" y="40"/>
                </a:cubicBezTo>
                <a:cubicBezTo>
                  <a:pt x="26" y="40"/>
                  <a:pt x="26" y="41"/>
                  <a:pt x="27" y="41"/>
                </a:cubicBezTo>
                <a:cubicBezTo>
                  <a:pt x="28" y="42"/>
                  <a:pt x="28" y="42"/>
                  <a:pt x="29" y="42"/>
                </a:cubicBezTo>
                <a:cubicBezTo>
                  <a:pt x="30" y="43"/>
                  <a:pt x="30" y="43"/>
                  <a:pt x="31" y="43"/>
                </a:cubicBezTo>
                <a:cubicBezTo>
                  <a:pt x="32" y="44"/>
                  <a:pt x="32" y="44"/>
                  <a:pt x="33" y="45"/>
                </a:cubicBezTo>
                <a:cubicBezTo>
                  <a:pt x="34" y="45"/>
                  <a:pt x="35" y="45"/>
                  <a:pt x="36" y="45"/>
                </a:cubicBezTo>
                <a:cubicBezTo>
                  <a:pt x="36" y="46"/>
                  <a:pt x="37" y="46"/>
                  <a:pt x="39" y="46"/>
                </a:cubicBezTo>
                <a:cubicBezTo>
                  <a:pt x="38" y="46"/>
                  <a:pt x="38" y="44"/>
                  <a:pt x="38" y="44"/>
                </a:cubicBezTo>
                <a:cubicBezTo>
                  <a:pt x="38" y="43"/>
                  <a:pt x="38" y="42"/>
                  <a:pt x="38" y="42"/>
                </a:cubicBezTo>
                <a:cubicBezTo>
                  <a:pt x="38" y="41"/>
                  <a:pt x="38" y="41"/>
                  <a:pt x="38" y="40"/>
                </a:cubicBezTo>
                <a:cubicBezTo>
                  <a:pt x="38" y="40"/>
                  <a:pt x="38" y="40"/>
                  <a:pt x="39" y="40"/>
                </a:cubicBezTo>
                <a:cubicBezTo>
                  <a:pt x="39" y="40"/>
                  <a:pt x="38" y="40"/>
                  <a:pt x="38" y="40"/>
                </a:cubicBezTo>
                <a:cubicBezTo>
                  <a:pt x="38" y="39"/>
                  <a:pt x="38" y="38"/>
                  <a:pt x="39" y="38"/>
                </a:cubicBezTo>
                <a:cubicBezTo>
                  <a:pt x="40" y="38"/>
                  <a:pt x="39" y="36"/>
                  <a:pt x="40" y="36"/>
                </a:cubicBezTo>
                <a:cubicBezTo>
                  <a:pt x="40" y="36"/>
                  <a:pt x="40" y="36"/>
                  <a:pt x="40" y="36"/>
                </a:cubicBezTo>
                <a:cubicBezTo>
                  <a:pt x="40" y="36"/>
                  <a:pt x="40" y="36"/>
                  <a:pt x="40" y="35"/>
                </a:cubicBezTo>
                <a:cubicBezTo>
                  <a:pt x="40" y="35"/>
                  <a:pt x="40" y="35"/>
                  <a:pt x="40" y="3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6" name="Lesotho"/>
          <p:cNvSpPr>
            <a:spLocks/>
          </p:cNvSpPr>
          <p:nvPr/>
        </p:nvSpPr>
        <p:spPr bwMode="auto">
          <a:xfrm>
            <a:off x="6717049" y="5798894"/>
            <a:ext cx="82997" cy="83997"/>
          </a:xfrm>
          <a:custGeom>
            <a:avLst/>
            <a:gdLst/>
            <a:ahLst/>
            <a:cxnLst>
              <a:cxn ang="0">
                <a:pos x="22" y="7"/>
              </a:cxn>
              <a:cxn ang="0">
                <a:pos x="22" y="6"/>
              </a:cxn>
              <a:cxn ang="0">
                <a:pos x="21" y="5"/>
              </a:cxn>
              <a:cxn ang="0">
                <a:pos x="20" y="4"/>
              </a:cxn>
              <a:cxn ang="0">
                <a:pos x="19" y="3"/>
              </a:cxn>
              <a:cxn ang="0">
                <a:pos x="18" y="2"/>
              </a:cxn>
              <a:cxn ang="0">
                <a:pos x="17" y="2"/>
              </a:cxn>
              <a:cxn ang="0">
                <a:pos x="17" y="2"/>
              </a:cxn>
              <a:cxn ang="0">
                <a:pos x="17" y="1"/>
              </a:cxn>
              <a:cxn ang="0">
                <a:pos x="16" y="0"/>
              </a:cxn>
              <a:cxn ang="0">
                <a:pos x="13" y="1"/>
              </a:cxn>
              <a:cxn ang="0">
                <a:pos x="13" y="2"/>
              </a:cxn>
              <a:cxn ang="0">
                <a:pos x="12" y="2"/>
              </a:cxn>
              <a:cxn ang="0">
                <a:pos x="9" y="4"/>
              </a:cxn>
              <a:cxn ang="0">
                <a:pos x="9" y="4"/>
              </a:cxn>
              <a:cxn ang="0">
                <a:pos x="8" y="4"/>
              </a:cxn>
              <a:cxn ang="0">
                <a:pos x="7" y="5"/>
              </a:cxn>
              <a:cxn ang="0">
                <a:pos x="6" y="6"/>
              </a:cxn>
              <a:cxn ang="0">
                <a:pos x="5" y="8"/>
              </a:cxn>
              <a:cxn ang="0">
                <a:pos x="4" y="8"/>
              </a:cxn>
              <a:cxn ang="0">
                <a:pos x="4" y="9"/>
              </a:cxn>
              <a:cxn ang="0">
                <a:pos x="3" y="11"/>
              </a:cxn>
              <a:cxn ang="0">
                <a:pos x="0" y="12"/>
              </a:cxn>
              <a:cxn ang="0">
                <a:pos x="2" y="15"/>
              </a:cxn>
              <a:cxn ang="0">
                <a:pos x="2" y="16"/>
              </a:cxn>
              <a:cxn ang="0">
                <a:pos x="3" y="17"/>
              </a:cxn>
              <a:cxn ang="0">
                <a:pos x="3" y="18"/>
              </a:cxn>
              <a:cxn ang="0">
                <a:pos x="3" y="19"/>
              </a:cxn>
              <a:cxn ang="0">
                <a:pos x="4" y="20"/>
              </a:cxn>
              <a:cxn ang="0">
                <a:pos x="5" y="21"/>
              </a:cxn>
              <a:cxn ang="0">
                <a:pos x="8" y="23"/>
              </a:cxn>
              <a:cxn ang="0">
                <a:pos x="9" y="23"/>
              </a:cxn>
              <a:cxn ang="0">
                <a:pos x="10" y="22"/>
              </a:cxn>
              <a:cxn ang="0">
                <a:pos x="10" y="21"/>
              </a:cxn>
              <a:cxn ang="0">
                <a:pos x="11" y="20"/>
              </a:cxn>
              <a:cxn ang="0">
                <a:pos x="11" y="19"/>
              </a:cxn>
              <a:cxn ang="0">
                <a:pos x="12" y="19"/>
              </a:cxn>
              <a:cxn ang="0">
                <a:pos x="13" y="18"/>
              </a:cxn>
              <a:cxn ang="0">
                <a:pos x="14" y="17"/>
              </a:cxn>
              <a:cxn ang="0">
                <a:pos x="14" y="17"/>
              </a:cxn>
              <a:cxn ang="0">
                <a:pos x="16" y="17"/>
              </a:cxn>
              <a:cxn ang="0">
                <a:pos x="18" y="17"/>
              </a:cxn>
              <a:cxn ang="0">
                <a:pos x="20" y="15"/>
              </a:cxn>
              <a:cxn ang="0">
                <a:pos x="20" y="14"/>
              </a:cxn>
              <a:cxn ang="0">
                <a:pos x="20" y="12"/>
              </a:cxn>
              <a:cxn ang="0">
                <a:pos x="21" y="12"/>
              </a:cxn>
              <a:cxn ang="0">
                <a:pos x="22" y="10"/>
              </a:cxn>
              <a:cxn ang="0">
                <a:pos x="23" y="9"/>
              </a:cxn>
              <a:cxn ang="0">
                <a:pos x="22" y="7"/>
              </a:cxn>
            </a:cxnLst>
            <a:rect l="0" t="0" r="r" b="b"/>
            <a:pathLst>
              <a:path w="23" h="23">
                <a:moveTo>
                  <a:pt x="22" y="7"/>
                </a:moveTo>
                <a:cubicBezTo>
                  <a:pt x="22" y="7"/>
                  <a:pt x="22" y="6"/>
                  <a:pt x="22" y="6"/>
                </a:cubicBezTo>
                <a:cubicBezTo>
                  <a:pt x="22" y="6"/>
                  <a:pt x="21" y="6"/>
                  <a:pt x="21" y="5"/>
                </a:cubicBezTo>
                <a:cubicBezTo>
                  <a:pt x="21" y="5"/>
                  <a:pt x="20" y="5"/>
                  <a:pt x="20" y="4"/>
                </a:cubicBezTo>
                <a:cubicBezTo>
                  <a:pt x="20" y="4"/>
                  <a:pt x="19" y="4"/>
                  <a:pt x="19" y="3"/>
                </a:cubicBezTo>
                <a:cubicBezTo>
                  <a:pt x="18" y="3"/>
                  <a:pt x="18" y="3"/>
                  <a:pt x="18" y="2"/>
                </a:cubicBezTo>
                <a:cubicBezTo>
                  <a:pt x="18" y="2"/>
                  <a:pt x="17" y="2"/>
                  <a:pt x="17" y="2"/>
                </a:cubicBezTo>
                <a:cubicBezTo>
                  <a:pt x="17" y="2"/>
                  <a:pt x="17" y="2"/>
                  <a:pt x="17" y="2"/>
                </a:cubicBezTo>
                <a:cubicBezTo>
                  <a:pt x="17" y="2"/>
                  <a:pt x="17" y="1"/>
                  <a:pt x="17" y="1"/>
                </a:cubicBezTo>
                <a:cubicBezTo>
                  <a:pt x="17" y="1"/>
                  <a:pt x="16" y="0"/>
                  <a:pt x="16" y="0"/>
                </a:cubicBezTo>
                <a:cubicBezTo>
                  <a:pt x="15" y="1"/>
                  <a:pt x="14" y="1"/>
                  <a:pt x="13" y="1"/>
                </a:cubicBezTo>
                <a:cubicBezTo>
                  <a:pt x="13" y="1"/>
                  <a:pt x="13" y="2"/>
                  <a:pt x="13" y="2"/>
                </a:cubicBezTo>
                <a:cubicBezTo>
                  <a:pt x="12" y="2"/>
                  <a:pt x="12" y="2"/>
                  <a:pt x="12" y="2"/>
                </a:cubicBezTo>
                <a:cubicBezTo>
                  <a:pt x="11" y="2"/>
                  <a:pt x="10" y="4"/>
                  <a:pt x="9" y="4"/>
                </a:cubicBezTo>
                <a:cubicBezTo>
                  <a:pt x="9" y="3"/>
                  <a:pt x="9" y="4"/>
                  <a:pt x="9" y="4"/>
                </a:cubicBezTo>
                <a:cubicBezTo>
                  <a:pt x="8" y="4"/>
                  <a:pt x="8" y="4"/>
                  <a:pt x="8" y="4"/>
                </a:cubicBezTo>
                <a:cubicBezTo>
                  <a:pt x="7" y="4"/>
                  <a:pt x="7" y="5"/>
                  <a:pt x="7" y="5"/>
                </a:cubicBezTo>
                <a:cubicBezTo>
                  <a:pt x="6" y="5"/>
                  <a:pt x="6" y="6"/>
                  <a:pt x="6" y="6"/>
                </a:cubicBezTo>
                <a:cubicBezTo>
                  <a:pt x="6" y="7"/>
                  <a:pt x="5" y="7"/>
                  <a:pt x="5" y="8"/>
                </a:cubicBezTo>
                <a:cubicBezTo>
                  <a:pt x="5" y="8"/>
                  <a:pt x="5" y="8"/>
                  <a:pt x="4" y="8"/>
                </a:cubicBezTo>
                <a:cubicBezTo>
                  <a:pt x="4" y="8"/>
                  <a:pt x="4" y="9"/>
                  <a:pt x="4" y="9"/>
                </a:cubicBezTo>
                <a:cubicBezTo>
                  <a:pt x="4" y="10"/>
                  <a:pt x="3" y="10"/>
                  <a:pt x="3" y="11"/>
                </a:cubicBezTo>
                <a:cubicBezTo>
                  <a:pt x="2" y="11"/>
                  <a:pt x="0" y="12"/>
                  <a:pt x="0" y="12"/>
                </a:cubicBezTo>
                <a:cubicBezTo>
                  <a:pt x="1" y="13"/>
                  <a:pt x="1" y="14"/>
                  <a:pt x="2" y="15"/>
                </a:cubicBezTo>
                <a:cubicBezTo>
                  <a:pt x="2" y="15"/>
                  <a:pt x="2" y="16"/>
                  <a:pt x="2" y="16"/>
                </a:cubicBezTo>
                <a:cubicBezTo>
                  <a:pt x="3" y="17"/>
                  <a:pt x="3" y="17"/>
                  <a:pt x="3" y="17"/>
                </a:cubicBezTo>
                <a:cubicBezTo>
                  <a:pt x="3" y="17"/>
                  <a:pt x="4" y="17"/>
                  <a:pt x="3" y="18"/>
                </a:cubicBezTo>
                <a:cubicBezTo>
                  <a:pt x="3" y="18"/>
                  <a:pt x="4" y="19"/>
                  <a:pt x="3" y="19"/>
                </a:cubicBezTo>
                <a:cubicBezTo>
                  <a:pt x="4" y="20"/>
                  <a:pt x="4" y="19"/>
                  <a:pt x="4" y="20"/>
                </a:cubicBezTo>
                <a:cubicBezTo>
                  <a:pt x="5" y="20"/>
                  <a:pt x="5" y="20"/>
                  <a:pt x="5" y="21"/>
                </a:cubicBezTo>
                <a:cubicBezTo>
                  <a:pt x="6" y="22"/>
                  <a:pt x="7" y="22"/>
                  <a:pt x="8" y="23"/>
                </a:cubicBezTo>
                <a:cubicBezTo>
                  <a:pt x="8" y="23"/>
                  <a:pt x="9" y="23"/>
                  <a:pt x="9" y="23"/>
                </a:cubicBezTo>
                <a:cubicBezTo>
                  <a:pt x="10" y="23"/>
                  <a:pt x="10" y="23"/>
                  <a:pt x="10" y="22"/>
                </a:cubicBezTo>
                <a:cubicBezTo>
                  <a:pt x="10" y="22"/>
                  <a:pt x="10" y="22"/>
                  <a:pt x="10" y="21"/>
                </a:cubicBezTo>
                <a:cubicBezTo>
                  <a:pt x="10" y="21"/>
                  <a:pt x="11" y="21"/>
                  <a:pt x="11" y="20"/>
                </a:cubicBezTo>
                <a:cubicBezTo>
                  <a:pt x="12" y="20"/>
                  <a:pt x="11" y="20"/>
                  <a:pt x="11" y="19"/>
                </a:cubicBezTo>
                <a:cubicBezTo>
                  <a:pt x="11" y="19"/>
                  <a:pt x="12" y="19"/>
                  <a:pt x="12" y="19"/>
                </a:cubicBezTo>
                <a:cubicBezTo>
                  <a:pt x="12" y="18"/>
                  <a:pt x="13" y="18"/>
                  <a:pt x="13" y="18"/>
                </a:cubicBezTo>
                <a:cubicBezTo>
                  <a:pt x="13" y="17"/>
                  <a:pt x="14" y="18"/>
                  <a:pt x="14" y="17"/>
                </a:cubicBezTo>
                <a:cubicBezTo>
                  <a:pt x="14" y="17"/>
                  <a:pt x="14" y="17"/>
                  <a:pt x="14" y="17"/>
                </a:cubicBezTo>
                <a:cubicBezTo>
                  <a:pt x="15" y="17"/>
                  <a:pt x="15" y="17"/>
                  <a:pt x="16" y="17"/>
                </a:cubicBezTo>
                <a:cubicBezTo>
                  <a:pt x="17" y="17"/>
                  <a:pt x="17" y="17"/>
                  <a:pt x="18" y="17"/>
                </a:cubicBezTo>
                <a:cubicBezTo>
                  <a:pt x="18" y="16"/>
                  <a:pt x="19" y="16"/>
                  <a:pt x="20" y="15"/>
                </a:cubicBezTo>
                <a:cubicBezTo>
                  <a:pt x="20" y="15"/>
                  <a:pt x="20" y="14"/>
                  <a:pt x="20" y="14"/>
                </a:cubicBezTo>
                <a:cubicBezTo>
                  <a:pt x="20" y="13"/>
                  <a:pt x="20" y="13"/>
                  <a:pt x="20" y="12"/>
                </a:cubicBezTo>
                <a:cubicBezTo>
                  <a:pt x="21" y="12"/>
                  <a:pt x="21" y="12"/>
                  <a:pt x="21" y="12"/>
                </a:cubicBezTo>
                <a:cubicBezTo>
                  <a:pt x="22" y="11"/>
                  <a:pt x="22" y="11"/>
                  <a:pt x="22" y="10"/>
                </a:cubicBezTo>
                <a:cubicBezTo>
                  <a:pt x="22" y="10"/>
                  <a:pt x="23" y="10"/>
                  <a:pt x="23" y="9"/>
                </a:cubicBezTo>
                <a:cubicBezTo>
                  <a:pt x="23" y="8"/>
                  <a:pt x="23" y="7"/>
                  <a:pt x="22"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7" name="Lebanon"/>
          <p:cNvSpPr>
            <a:spLocks/>
          </p:cNvSpPr>
          <p:nvPr/>
        </p:nvSpPr>
        <p:spPr bwMode="auto">
          <a:xfrm>
            <a:off x="6980038" y="3285989"/>
            <a:ext cx="46998" cy="64998"/>
          </a:xfrm>
          <a:custGeom>
            <a:avLst/>
            <a:gdLst/>
            <a:ahLst/>
            <a:cxnLst>
              <a:cxn ang="0">
                <a:pos x="13" y="5"/>
              </a:cxn>
              <a:cxn ang="0">
                <a:pos x="13" y="4"/>
              </a:cxn>
              <a:cxn ang="0">
                <a:pos x="12" y="4"/>
              </a:cxn>
              <a:cxn ang="0">
                <a:pos x="12" y="3"/>
              </a:cxn>
              <a:cxn ang="0">
                <a:pos x="11" y="2"/>
              </a:cxn>
              <a:cxn ang="0">
                <a:pos x="10" y="2"/>
              </a:cxn>
              <a:cxn ang="0">
                <a:pos x="10" y="1"/>
              </a:cxn>
              <a:cxn ang="0">
                <a:pos x="11" y="1"/>
              </a:cxn>
              <a:cxn ang="0">
                <a:pos x="11" y="1"/>
              </a:cxn>
              <a:cxn ang="0">
                <a:pos x="10" y="0"/>
              </a:cxn>
              <a:cxn ang="0">
                <a:pos x="10" y="0"/>
              </a:cxn>
              <a:cxn ang="0">
                <a:pos x="9" y="1"/>
              </a:cxn>
              <a:cxn ang="0">
                <a:pos x="8" y="1"/>
              </a:cxn>
              <a:cxn ang="0">
                <a:pos x="7" y="1"/>
              </a:cxn>
              <a:cxn ang="0">
                <a:pos x="5" y="3"/>
              </a:cxn>
              <a:cxn ang="0">
                <a:pos x="4" y="4"/>
              </a:cxn>
              <a:cxn ang="0">
                <a:pos x="4" y="6"/>
              </a:cxn>
              <a:cxn ang="0">
                <a:pos x="3" y="9"/>
              </a:cxn>
              <a:cxn ang="0">
                <a:pos x="3" y="10"/>
              </a:cxn>
              <a:cxn ang="0">
                <a:pos x="2" y="12"/>
              </a:cxn>
              <a:cxn ang="0">
                <a:pos x="2" y="13"/>
              </a:cxn>
              <a:cxn ang="0">
                <a:pos x="1" y="14"/>
              </a:cxn>
              <a:cxn ang="0">
                <a:pos x="1" y="16"/>
              </a:cxn>
              <a:cxn ang="0">
                <a:pos x="0" y="18"/>
              </a:cxn>
              <a:cxn ang="0">
                <a:pos x="2" y="17"/>
              </a:cxn>
              <a:cxn ang="0">
                <a:pos x="3" y="18"/>
              </a:cxn>
              <a:cxn ang="0">
                <a:pos x="4" y="16"/>
              </a:cxn>
              <a:cxn ang="0">
                <a:pos x="5" y="16"/>
              </a:cxn>
              <a:cxn ang="0">
                <a:pos x="6" y="15"/>
              </a:cxn>
              <a:cxn ang="0">
                <a:pos x="7" y="14"/>
              </a:cxn>
              <a:cxn ang="0">
                <a:pos x="8" y="13"/>
              </a:cxn>
              <a:cxn ang="0">
                <a:pos x="8" y="12"/>
              </a:cxn>
              <a:cxn ang="0">
                <a:pos x="7" y="12"/>
              </a:cxn>
              <a:cxn ang="0">
                <a:pos x="7" y="11"/>
              </a:cxn>
              <a:cxn ang="0">
                <a:pos x="8" y="10"/>
              </a:cxn>
              <a:cxn ang="0">
                <a:pos x="9" y="9"/>
              </a:cxn>
              <a:cxn ang="0">
                <a:pos x="10" y="9"/>
              </a:cxn>
              <a:cxn ang="0">
                <a:pos x="11" y="9"/>
              </a:cxn>
              <a:cxn ang="0">
                <a:pos x="10" y="8"/>
              </a:cxn>
              <a:cxn ang="0">
                <a:pos x="12" y="7"/>
              </a:cxn>
              <a:cxn ang="0">
                <a:pos x="12" y="6"/>
              </a:cxn>
              <a:cxn ang="0">
                <a:pos x="13" y="6"/>
              </a:cxn>
              <a:cxn ang="0">
                <a:pos x="13" y="5"/>
              </a:cxn>
            </a:cxnLst>
            <a:rect l="0" t="0" r="r" b="b"/>
            <a:pathLst>
              <a:path w="13" h="18">
                <a:moveTo>
                  <a:pt x="13" y="5"/>
                </a:moveTo>
                <a:cubicBezTo>
                  <a:pt x="12" y="4"/>
                  <a:pt x="13" y="4"/>
                  <a:pt x="13" y="4"/>
                </a:cubicBezTo>
                <a:cubicBezTo>
                  <a:pt x="13" y="4"/>
                  <a:pt x="12" y="4"/>
                  <a:pt x="12" y="4"/>
                </a:cubicBezTo>
                <a:cubicBezTo>
                  <a:pt x="12" y="4"/>
                  <a:pt x="12" y="3"/>
                  <a:pt x="12" y="3"/>
                </a:cubicBezTo>
                <a:cubicBezTo>
                  <a:pt x="12" y="3"/>
                  <a:pt x="12" y="3"/>
                  <a:pt x="11" y="2"/>
                </a:cubicBezTo>
                <a:cubicBezTo>
                  <a:pt x="11" y="2"/>
                  <a:pt x="11" y="2"/>
                  <a:pt x="10" y="2"/>
                </a:cubicBezTo>
                <a:cubicBezTo>
                  <a:pt x="10" y="2"/>
                  <a:pt x="10" y="2"/>
                  <a:pt x="10" y="1"/>
                </a:cubicBezTo>
                <a:cubicBezTo>
                  <a:pt x="11" y="1"/>
                  <a:pt x="11" y="1"/>
                  <a:pt x="11" y="1"/>
                </a:cubicBezTo>
                <a:cubicBezTo>
                  <a:pt x="11" y="1"/>
                  <a:pt x="11" y="1"/>
                  <a:pt x="11" y="1"/>
                </a:cubicBezTo>
                <a:cubicBezTo>
                  <a:pt x="10" y="1"/>
                  <a:pt x="10" y="1"/>
                  <a:pt x="10" y="0"/>
                </a:cubicBezTo>
                <a:cubicBezTo>
                  <a:pt x="10" y="0"/>
                  <a:pt x="10" y="0"/>
                  <a:pt x="10" y="0"/>
                </a:cubicBezTo>
                <a:cubicBezTo>
                  <a:pt x="9" y="0"/>
                  <a:pt x="10" y="1"/>
                  <a:pt x="9" y="1"/>
                </a:cubicBezTo>
                <a:cubicBezTo>
                  <a:pt x="9" y="1"/>
                  <a:pt x="8" y="1"/>
                  <a:pt x="8" y="1"/>
                </a:cubicBezTo>
                <a:cubicBezTo>
                  <a:pt x="7" y="1"/>
                  <a:pt x="6" y="0"/>
                  <a:pt x="7" y="1"/>
                </a:cubicBezTo>
                <a:cubicBezTo>
                  <a:pt x="7" y="2"/>
                  <a:pt x="6" y="3"/>
                  <a:pt x="5" y="3"/>
                </a:cubicBezTo>
                <a:cubicBezTo>
                  <a:pt x="5" y="3"/>
                  <a:pt x="4" y="4"/>
                  <a:pt x="4" y="4"/>
                </a:cubicBezTo>
                <a:cubicBezTo>
                  <a:pt x="4" y="4"/>
                  <a:pt x="4" y="6"/>
                  <a:pt x="4" y="6"/>
                </a:cubicBezTo>
                <a:cubicBezTo>
                  <a:pt x="4" y="7"/>
                  <a:pt x="4" y="9"/>
                  <a:pt x="3" y="9"/>
                </a:cubicBezTo>
                <a:cubicBezTo>
                  <a:pt x="2" y="9"/>
                  <a:pt x="3" y="9"/>
                  <a:pt x="3" y="10"/>
                </a:cubicBezTo>
                <a:cubicBezTo>
                  <a:pt x="3" y="10"/>
                  <a:pt x="2" y="11"/>
                  <a:pt x="2" y="12"/>
                </a:cubicBezTo>
                <a:cubicBezTo>
                  <a:pt x="2" y="12"/>
                  <a:pt x="2" y="13"/>
                  <a:pt x="2" y="13"/>
                </a:cubicBezTo>
                <a:cubicBezTo>
                  <a:pt x="1" y="13"/>
                  <a:pt x="1" y="14"/>
                  <a:pt x="1" y="14"/>
                </a:cubicBezTo>
                <a:cubicBezTo>
                  <a:pt x="1" y="14"/>
                  <a:pt x="1" y="15"/>
                  <a:pt x="1" y="16"/>
                </a:cubicBezTo>
                <a:cubicBezTo>
                  <a:pt x="1" y="16"/>
                  <a:pt x="0" y="17"/>
                  <a:pt x="0" y="18"/>
                </a:cubicBezTo>
                <a:cubicBezTo>
                  <a:pt x="0" y="18"/>
                  <a:pt x="1" y="18"/>
                  <a:pt x="2" y="17"/>
                </a:cubicBezTo>
                <a:cubicBezTo>
                  <a:pt x="2" y="17"/>
                  <a:pt x="2" y="18"/>
                  <a:pt x="3" y="18"/>
                </a:cubicBezTo>
                <a:cubicBezTo>
                  <a:pt x="4" y="17"/>
                  <a:pt x="4" y="17"/>
                  <a:pt x="4" y="16"/>
                </a:cubicBezTo>
                <a:cubicBezTo>
                  <a:pt x="4" y="15"/>
                  <a:pt x="4" y="16"/>
                  <a:pt x="5" y="16"/>
                </a:cubicBezTo>
                <a:cubicBezTo>
                  <a:pt x="4" y="15"/>
                  <a:pt x="5" y="15"/>
                  <a:pt x="6" y="15"/>
                </a:cubicBezTo>
                <a:cubicBezTo>
                  <a:pt x="6" y="15"/>
                  <a:pt x="6" y="14"/>
                  <a:pt x="7" y="14"/>
                </a:cubicBezTo>
                <a:cubicBezTo>
                  <a:pt x="7" y="13"/>
                  <a:pt x="7" y="13"/>
                  <a:pt x="8" y="13"/>
                </a:cubicBezTo>
                <a:cubicBezTo>
                  <a:pt x="8" y="13"/>
                  <a:pt x="9" y="12"/>
                  <a:pt x="8" y="12"/>
                </a:cubicBezTo>
                <a:cubicBezTo>
                  <a:pt x="8" y="12"/>
                  <a:pt x="8" y="12"/>
                  <a:pt x="7" y="12"/>
                </a:cubicBezTo>
                <a:cubicBezTo>
                  <a:pt x="7" y="12"/>
                  <a:pt x="7" y="12"/>
                  <a:pt x="7" y="11"/>
                </a:cubicBezTo>
                <a:cubicBezTo>
                  <a:pt x="7" y="11"/>
                  <a:pt x="8" y="10"/>
                  <a:pt x="8" y="10"/>
                </a:cubicBezTo>
                <a:cubicBezTo>
                  <a:pt x="8" y="10"/>
                  <a:pt x="8" y="9"/>
                  <a:pt x="9" y="9"/>
                </a:cubicBezTo>
                <a:cubicBezTo>
                  <a:pt x="9" y="9"/>
                  <a:pt x="9" y="9"/>
                  <a:pt x="10" y="9"/>
                </a:cubicBezTo>
                <a:cubicBezTo>
                  <a:pt x="10" y="9"/>
                  <a:pt x="11" y="10"/>
                  <a:pt x="11" y="9"/>
                </a:cubicBezTo>
                <a:cubicBezTo>
                  <a:pt x="11" y="9"/>
                  <a:pt x="10" y="9"/>
                  <a:pt x="10" y="8"/>
                </a:cubicBezTo>
                <a:cubicBezTo>
                  <a:pt x="10" y="7"/>
                  <a:pt x="11" y="7"/>
                  <a:pt x="12" y="7"/>
                </a:cubicBezTo>
                <a:cubicBezTo>
                  <a:pt x="12" y="7"/>
                  <a:pt x="12" y="7"/>
                  <a:pt x="12" y="6"/>
                </a:cubicBezTo>
                <a:cubicBezTo>
                  <a:pt x="12" y="6"/>
                  <a:pt x="13" y="6"/>
                  <a:pt x="13" y="6"/>
                </a:cubicBezTo>
                <a:cubicBezTo>
                  <a:pt x="13" y="5"/>
                  <a:pt x="13" y="5"/>
                  <a:pt x="13" y="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8" name="Latvia"/>
          <p:cNvSpPr>
            <a:spLocks/>
          </p:cNvSpPr>
          <p:nvPr/>
        </p:nvSpPr>
        <p:spPr bwMode="auto">
          <a:xfrm>
            <a:off x="6460058" y="2382023"/>
            <a:ext cx="212992" cy="85997"/>
          </a:xfrm>
          <a:custGeom>
            <a:avLst/>
            <a:gdLst/>
            <a:ahLst/>
            <a:cxnLst>
              <a:cxn ang="0">
                <a:pos x="57" y="15"/>
              </a:cxn>
              <a:cxn ang="0">
                <a:pos x="55" y="13"/>
              </a:cxn>
              <a:cxn ang="0">
                <a:pos x="53" y="12"/>
              </a:cxn>
              <a:cxn ang="0">
                <a:pos x="54" y="10"/>
              </a:cxn>
              <a:cxn ang="0">
                <a:pos x="54" y="8"/>
              </a:cxn>
              <a:cxn ang="0">
                <a:pos x="52" y="6"/>
              </a:cxn>
              <a:cxn ang="0">
                <a:pos x="50" y="5"/>
              </a:cxn>
              <a:cxn ang="0">
                <a:pos x="46" y="5"/>
              </a:cxn>
              <a:cxn ang="0">
                <a:pos x="42" y="5"/>
              </a:cxn>
              <a:cxn ang="0">
                <a:pos x="39" y="2"/>
              </a:cxn>
              <a:cxn ang="0">
                <a:pos x="37" y="1"/>
              </a:cxn>
              <a:cxn ang="0">
                <a:pos x="35" y="1"/>
              </a:cxn>
              <a:cxn ang="0">
                <a:pos x="33" y="0"/>
              </a:cxn>
              <a:cxn ang="0">
                <a:pos x="32" y="0"/>
              </a:cxn>
              <a:cxn ang="0">
                <a:pos x="30" y="1"/>
              </a:cxn>
              <a:cxn ang="0">
                <a:pos x="27" y="1"/>
              </a:cxn>
              <a:cxn ang="0">
                <a:pos x="26" y="2"/>
              </a:cxn>
              <a:cxn ang="0">
                <a:pos x="26" y="5"/>
              </a:cxn>
              <a:cxn ang="0">
                <a:pos x="26" y="9"/>
              </a:cxn>
              <a:cxn ang="0">
                <a:pos x="22" y="11"/>
              </a:cxn>
              <a:cxn ang="0">
                <a:pos x="18" y="10"/>
              </a:cxn>
              <a:cxn ang="0">
                <a:pos x="14" y="6"/>
              </a:cxn>
              <a:cxn ang="0">
                <a:pos x="12" y="3"/>
              </a:cxn>
              <a:cxn ang="0">
                <a:pos x="8" y="4"/>
              </a:cxn>
              <a:cxn ang="0">
                <a:pos x="4" y="7"/>
              </a:cxn>
              <a:cxn ang="0">
                <a:pos x="1" y="13"/>
              </a:cxn>
              <a:cxn ang="0">
                <a:pos x="1" y="16"/>
              </a:cxn>
              <a:cxn ang="0">
                <a:pos x="1" y="16"/>
              </a:cxn>
              <a:cxn ang="0">
                <a:pos x="1" y="19"/>
              </a:cxn>
              <a:cxn ang="0">
                <a:pos x="2" y="20"/>
              </a:cxn>
              <a:cxn ang="0">
                <a:pos x="5" y="18"/>
              </a:cxn>
              <a:cxn ang="0">
                <a:pos x="9" y="17"/>
              </a:cxn>
              <a:cxn ang="0">
                <a:pos x="14" y="17"/>
              </a:cxn>
              <a:cxn ang="0">
                <a:pos x="18" y="17"/>
              </a:cxn>
              <a:cxn ang="0">
                <a:pos x="22" y="17"/>
              </a:cxn>
              <a:cxn ang="0">
                <a:pos x="26" y="18"/>
              </a:cxn>
              <a:cxn ang="0">
                <a:pos x="29" y="18"/>
              </a:cxn>
              <a:cxn ang="0">
                <a:pos x="32" y="17"/>
              </a:cxn>
              <a:cxn ang="0">
                <a:pos x="38" y="20"/>
              </a:cxn>
              <a:cxn ang="0">
                <a:pos x="42" y="22"/>
              </a:cxn>
              <a:cxn ang="0">
                <a:pos x="46" y="24"/>
              </a:cxn>
              <a:cxn ang="0">
                <a:pos x="49" y="23"/>
              </a:cxn>
              <a:cxn ang="0">
                <a:pos x="52" y="23"/>
              </a:cxn>
              <a:cxn ang="0">
                <a:pos x="54" y="23"/>
              </a:cxn>
              <a:cxn ang="0">
                <a:pos x="55" y="21"/>
              </a:cxn>
              <a:cxn ang="0">
                <a:pos x="59" y="18"/>
              </a:cxn>
            </a:cxnLst>
            <a:rect l="0" t="0" r="r" b="b"/>
            <a:pathLst>
              <a:path w="59" h="24">
                <a:moveTo>
                  <a:pt x="58" y="16"/>
                </a:moveTo>
                <a:cubicBezTo>
                  <a:pt x="57" y="16"/>
                  <a:pt x="58" y="15"/>
                  <a:pt x="57" y="15"/>
                </a:cubicBezTo>
                <a:cubicBezTo>
                  <a:pt x="57" y="15"/>
                  <a:pt x="57" y="15"/>
                  <a:pt x="57" y="14"/>
                </a:cubicBezTo>
                <a:cubicBezTo>
                  <a:pt x="56" y="14"/>
                  <a:pt x="56" y="14"/>
                  <a:pt x="55" y="13"/>
                </a:cubicBezTo>
                <a:cubicBezTo>
                  <a:pt x="55" y="13"/>
                  <a:pt x="56" y="13"/>
                  <a:pt x="55" y="12"/>
                </a:cubicBezTo>
                <a:cubicBezTo>
                  <a:pt x="55" y="12"/>
                  <a:pt x="54" y="12"/>
                  <a:pt x="53" y="12"/>
                </a:cubicBezTo>
                <a:cubicBezTo>
                  <a:pt x="53" y="12"/>
                  <a:pt x="54" y="11"/>
                  <a:pt x="54" y="11"/>
                </a:cubicBezTo>
                <a:cubicBezTo>
                  <a:pt x="54" y="11"/>
                  <a:pt x="54" y="11"/>
                  <a:pt x="54" y="10"/>
                </a:cubicBezTo>
                <a:cubicBezTo>
                  <a:pt x="54" y="10"/>
                  <a:pt x="53" y="9"/>
                  <a:pt x="54" y="9"/>
                </a:cubicBezTo>
                <a:cubicBezTo>
                  <a:pt x="54" y="9"/>
                  <a:pt x="55" y="9"/>
                  <a:pt x="54" y="8"/>
                </a:cubicBezTo>
                <a:cubicBezTo>
                  <a:pt x="54" y="7"/>
                  <a:pt x="54" y="7"/>
                  <a:pt x="53" y="7"/>
                </a:cubicBezTo>
                <a:cubicBezTo>
                  <a:pt x="53" y="7"/>
                  <a:pt x="52" y="7"/>
                  <a:pt x="52" y="6"/>
                </a:cubicBezTo>
                <a:cubicBezTo>
                  <a:pt x="51" y="6"/>
                  <a:pt x="52" y="5"/>
                  <a:pt x="51" y="5"/>
                </a:cubicBezTo>
                <a:cubicBezTo>
                  <a:pt x="51" y="5"/>
                  <a:pt x="50" y="5"/>
                  <a:pt x="50" y="5"/>
                </a:cubicBezTo>
                <a:cubicBezTo>
                  <a:pt x="49" y="5"/>
                  <a:pt x="48" y="5"/>
                  <a:pt x="47" y="4"/>
                </a:cubicBezTo>
                <a:cubicBezTo>
                  <a:pt x="47" y="4"/>
                  <a:pt x="46" y="4"/>
                  <a:pt x="46" y="5"/>
                </a:cubicBezTo>
                <a:cubicBezTo>
                  <a:pt x="46" y="5"/>
                  <a:pt x="45" y="5"/>
                  <a:pt x="44" y="5"/>
                </a:cubicBezTo>
                <a:cubicBezTo>
                  <a:pt x="44" y="6"/>
                  <a:pt x="43" y="5"/>
                  <a:pt x="42" y="5"/>
                </a:cubicBezTo>
                <a:cubicBezTo>
                  <a:pt x="41" y="4"/>
                  <a:pt x="41" y="4"/>
                  <a:pt x="41" y="3"/>
                </a:cubicBezTo>
                <a:cubicBezTo>
                  <a:pt x="40" y="3"/>
                  <a:pt x="39" y="3"/>
                  <a:pt x="39" y="2"/>
                </a:cubicBezTo>
                <a:cubicBezTo>
                  <a:pt x="39" y="2"/>
                  <a:pt x="39" y="2"/>
                  <a:pt x="38" y="2"/>
                </a:cubicBezTo>
                <a:cubicBezTo>
                  <a:pt x="38" y="2"/>
                  <a:pt x="37" y="1"/>
                  <a:pt x="37" y="1"/>
                </a:cubicBezTo>
                <a:cubicBezTo>
                  <a:pt x="36" y="1"/>
                  <a:pt x="36" y="1"/>
                  <a:pt x="35" y="1"/>
                </a:cubicBezTo>
                <a:cubicBezTo>
                  <a:pt x="35" y="1"/>
                  <a:pt x="35" y="1"/>
                  <a:pt x="35" y="1"/>
                </a:cubicBezTo>
                <a:cubicBezTo>
                  <a:pt x="34" y="0"/>
                  <a:pt x="34" y="0"/>
                  <a:pt x="34" y="0"/>
                </a:cubicBezTo>
                <a:cubicBezTo>
                  <a:pt x="34" y="0"/>
                  <a:pt x="33" y="0"/>
                  <a:pt x="33" y="0"/>
                </a:cubicBezTo>
                <a:cubicBezTo>
                  <a:pt x="33" y="0"/>
                  <a:pt x="33" y="0"/>
                  <a:pt x="33" y="0"/>
                </a:cubicBezTo>
                <a:cubicBezTo>
                  <a:pt x="33" y="1"/>
                  <a:pt x="32" y="0"/>
                  <a:pt x="32" y="0"/>
                </a:cubicBezTo>
                <a:cubicBezTo>
                  <a:pt x="31" y="0"/>
                  <a:pt x="31" y="0"/>
                  <a:pt x="30" y="0"/>
                </a:cubicBezTo>
                <a:cubicBezTo>
                  <a:pt x="30" y="0"/>
                  <a:pt x="30" y="1"/>
                  <a:pt x="30" y="1"/>
                </a:cubicBezTo>
                <a:cubicBezTo>
                  <a:pt x="29" y="1"/>
                  <a:pt x="29" y="0"/>
                  <a:pt x="29" y="1"/>
                </a:cubicBezTo>
                <a:cubicBezTo>
                  <a:pt x="29" y="1"/>
                  <a:pt x="27" y="1"/>
                  <a:pt x="27" y="1"/>
                </a:cubicBezTo>
                <a:cubicBezTo>
                  <a:pt x="27" y="1"/>
                  <a:pt x="26" y="2"/>
                  <a:pt x="26" y="2"/>
                </a:cubicBezTo>
                <a:cubicBezTo>
                  <a:pt x="26" y="2"/>
                  <a:pt x="26" y="2"/>
                  <a:pt x="26" y="2"/>
                </a:cubicBezTo>
                <a:cubicBezTo>
                  <a:pt x="25" y="2"/>
                  <a:pt x="26" y="3"/>
                  <a:pt x="26" y="3"/>
                </a:cubicBezTo>
                <a:cubicBezTo>
                  <a:pt x="26" y="4"/>
                  <a:pt x="26" y="4"/>
                  <a:pt x="26" y="5"/>
                </a:cubicBezTo>
                <a:cubicBezTo>
                  <a:pt x="26" y="5"/>
                  <a:pt x="27" y="6"/>
                  <a:pt x="27" y="7"/>
                </a:cubicBezTo>
                <a:cubicBezTo>
                  <a:pt x="27" y="8"/>
                  <a:pt x="27" y="8"/>
                  <a:pt x="26" y="9"/>
                </a:cubicBezTo>
                <a:cubicBezTo>
                  <a:pt x="25" y="10"/>
                  <a:pt x="24" y="10"/>
                  <a:pt x="24" y="10"/>
                </a:cubicBezTo>
                <a:cubicBezTo>
                  <a:pt x="24" y="11"/>
                  <a:pt x="23" y="11"/>
                  <a:pt x="22" y="11"/>
                </a:cubicBezTo>
                <a:cubicBezTo>
                  <a:pt x="21" y="11"/>
                  <a:pt x="21" y="11"/>
                  <a:pt x="20" y="10"/>
                </a:cubicBezTo>
                <a:cubicBezTo>
                  <a:pt x="19" y="10"/>
                  <a:pt x="18" y="10"/>
                  <a:pt x="18" y="10"/>
                </a:cubicBezTo>
                <a:cubicBezTo>
                  <a:pt x="17" y="9"/>
                  <a:pt x="17" y="7"/>
                  <a:pt x="16" y="7"/>
                </a:cubicBezTo>
                <a:cubicBezTo>
                  <a:pt x="15" y="6"/>
                  <a:pt x="15" y="6"/>
                  <a:pt x="14" y="6"/>
                </a:cubicBezTo>
                <a:cubicBezTo>
                  <a:pt x="14" y="5"/>
                  <a:pt x="13" y="5"/>
                  <a:pt x="12" y="4"/>
                </a:cubicBezTo>
                <a:cubicBezTo>
                  <a:pt x="12" y="4"/>
                  <a:pt x="12" y="3"/>
                  <a:pt x="12" y="3"/>
                </a:cubicBezTo>
                <a:cubicBezTo>
                  <a:pt x="12" y="3"/>
                  <a:pt x="11" y="3"/>
                  <a:pt x="11" y="3"/>
                </a:cubicBezTo>
                <a:cubicBezTo>
                  <a:pt x="10" y="4"/>
                  <a:pt x="9" y="4"/>
                  <a:pt x="8" y="4"/>
                </a:cubicBezTo>
                <a:cubicBezTo>
                  <a:pt x="8" y="5"/>
                  <a:pt x="7" y="4"/>
                  <a:pt x="6" y="5"/>
                </a:cubicBezTo>
                <a:cubicBezTo>
                  <a:pt x="5" y="5"/>
                  <a:pt x="4" y="7"/>
                  <a:pt x="4" y="7"/>
                </a:cubicBezTo>
                <a:cubicBezTo>
                  <a:pt x="3" y="9"/>
                  <a:pt x="4" y="10"/>
                  <a:pt x="3" y="11"/>
                </a:cubicBezTo>
                <a:cubicBezTo>
                  <a:pt x="2" y="12"/>
                  <a:pt x="1" y="12"/>
                  <a:pt x="1" y="13"/>
                </a:cubicBezTo>
                <a:cubicBezTo>
                  <a:pt x="1" y="14"/>
                  <a:pt x="0" y="15"/>
                  <a:pt x="0" y="15"/>
                </a:cubicBezTo>
                <a:cubicBezTo>
                  <a:pt x="0" y="16"/>
                  <a:pt x="1" y="16"/>
                  <a:pt x="1" y="16"/>
                </a:cubicBezTo>
                <a:cubicBezTo>
                  <a:pt x="1" y="17"/>
                  <a:pt x="1" y="17"/>
                  <a:pt x="1" y="17"/>
                </a:cubicBezTo>
                <a:cubicBezTo>
                  <a:pt x="1" y="17"/>
                  <a:pt x="1" y="16"/>
                  <a:pt x="1" y="16"/>
                </a:cubicBezTo>
                <a:cubicBezTo>
                  <a:pt x="0" y="16"/>
                  <a:pt x="1" y="16"/>
                  <a:pt x="1" y="16"/>
                </a:cubicBezTo>
                <a:cubicBezTo>
                  <a:pt x="0" y="17"/>
                  <a:pt x="0" y="18"/>
                  <a:pt x="1" y="19"/>
                </a:cubicBezTo>
                <a:cubicBezTo>
                  <a:pt x="1" y="19"/>
                  <a:pt x="1" y="20"/>
                  <a:pt x="1" y="20"/>
                </a:cubicBezTo>
                <a:cubicBezTo>
                  <a:pt x="1" y="20"/>
                  <a:pt x="2" y="20"/>
                  <a:pt x="2" y="20"/>
                </a:cubicBezTo>
                <a:cubicBezTo>
                  <a:pt x="3" y="20"/>
                  <a:pt x="3" y="19"/>
                  <a:pt x="3" y="19"/>
                </a:cubicBezTo>
                <a:cubicBezTo>
                  <a:pt x="3" y="19"/>
                  <a:pt x="4" y="18"/>
                  <a:pt x="5" y="18"/>
                </a:cubicBezTo>
                <a:cubicBezTo>
                  <a:pt x="5" y="18"/>
                  <a:pt x="6" y="18"/>
                  <a:pt x="7" y="18"/>
                </a:cubicBezTo>
                <a:cubicBezTo>
                  <a:pt x="7" y="17"/>
                  <a:pt x="8" y="17"/>
                  <a:pt x="9" y="17"/>
                </a:cubicBezTo>
                <a:cubicBezTo>
                  <a:pt x="9" y="17"/>
                  <a:pt x="10" y="17"/>
                  <a:pt x="11" y="17"/>
                </a:cubicBezTo>
                <a:cubicBezTo>
                  <a:pt x="12" y="17"/>
                  <a:pt x="13" y="17"/>
                  <a:pt x="14" y="17"/>
                </a:cubicBezTo>
                <a:cubicBezTo>
                  <a:pt x="14" y="17"/>
                  <a:pt x="15" y="17"/>
                  <a:pt x="15" y="17"/>
                </a:cubicBezTo>
                <a:cubicBezTo>
                  <a:pt x="17" y="16"/>
                  <a:pt x="16" y="19"/>
                  <a:pt x="18" y="17"/>
                </a:cubicBezTo>
                <a:cubicBezTo>
                  <a:pt x="19" y="17"/>
                  <a:pt x="19" y="17"/>
                  <a:pt x="20" y="17"/>
                </a:cubicBezTo>
                <a:cubicBezTo>
                  <a:pt x="21" y="18"/>
                  <a:pt x="21" y="17"/>
                  <a:pt x="22" y="17"/>
                </a:cubicBezTo>
                <a:cubicBezTo>
                  <a:pt x="23" y="18"/>
                  <a:pt x="23" y="17"/>
                  <a:pt x="24" y="17"/>
                </a:cubicBezTo>
                <a:cubicBezTo>
                  <a:pt x="25" y="18"/>
                  <a:pt x="25" y="18"/>
                  <a:pt x="26" y="18"/>
                </a:cubicBezTo>
                <a:cubicBezTo>
                  <a:pt x="27" y="18"/>
                  <a:pt x="27" y="18"/>
                  <a:pt x="28" y="18"/>
                </a:cubicBezTo>
                <a:cubicBezTo>
                  <a:pt x="29" y="18"/>
                  <a:pt x="29" y="18"/>
                  <a:pt x="29" y="18"/>
                </a:cubicBezTo>
                <a:cubicBezTo>
                  <a:pt x="30" y="17"/>
                  <a:pt x="31" y="17"/>
                  <a:pt x="31" y="17"/>
                </a:cubicBezTo>
                <a:cubicBezTo>
                  <a:pt x="32" y="16"/>
                  <a:pt x="32" y="16"/>
                  <a:pt x="32" y="17"/>
                </a:cubicBezTo>
                <a:cubicBezTo>
                  <a:pt x="33" y="18"/>
                  <a:pt x="33" y="19"/>
                  <a:pt x="35" y="19"/>
                </a:cubicBezTo>
                <a:cubicBezTo>
                  <a:pt x="36" y="19"/>
                  <a:pt x="38" y="19"/>
                  <a:pt x="38" y="20"/>
                </a:cubicBezTo>
                <a:cubicBezTo>
                  <a:pt x="39" y="20"/>
                  <a:pt x="40" y="21"/>
                  <a:pt x="40" y="21"/>
                </a:cubicBezTo>
                <a:cubicBezTo>
                  <a:pt x="41" y="21"/>
                  <a:pt x="42" y="22"/>
                  <a:pt x="42" y="22"/>
                </a:cubicBezTo>
                <a:cubicBezTo>
                  <a:pt x="43" y="23"/>
                  <a:pt x="43" y="23"/>
                  <a:pt x="44" y="24"/>
                </a:cubicBezTo>
                <a:cubicBezTo>
                  <a:pt x="44" y="24"/>
                  <a:pt x="45" y="24"/>
                  <a:pt x="46" y="24"/>
                </a:cubicBezTo>
                <a:cubicBezTo>
                  <a:pt x="46" y="24"/>
                  <a:pt x="47" y="24"/>
                  <a:pt x="47" y="24"/>
                </a:cubicBezTo>
                <a:cubicBezTo>
                  <a:pt x="48" y="24"/>
                  <a:pt x="48" y="24"/>
                  <a:pt x="49" y="23"/>
                </a:cubicBezTo>
                <a:cubicBezTo>
                  <a:pt x="49" y="23"/>
                  <a:pt x="50" y="23"/>
                  <a:pt x="50" y="23"/>
                </a:cubicBezTo>
                <a:cubicBezTo>
                  <a:pt x="51" y="23"/>
                  <a:pt x="51" y="23"/>
                  <a:pt x="52" y="23"/>
                </a:cubicBezTo>
                <a:cubicBezTo>
                  <a:pt x="52" y="23"/>
                  <a:pt x="52" y="23"/>
                  <a:pt x="53" y="23"/>
                </a:cubicBezTo>
                <a:cubicBezTo>
                  <a:pt x="53" y="23"/>
                  <a:pt x="54" y="23"/>
                  <a:pt x="54" y="23"/>
                </a:cubicBezTo>
                <a:cubicBezTo>
                  <a:pt x="54" y="23"/>
                  <a:pt x="54" y="22"/>
                  <a:pt x="54" y="22"/>
                </a:cubicBezTo>
                <a:cubicBezTo>
                  <a:pt x="55" y="21"/>
                  <a:pt x="55" y="21"/>
                  <a:pt x="55" y="21"/>
                </a:cubicBezTo>
                <a:cubicBezTo>
                  <a:pt x="55" y="20"/>
                  <a:pt x="58" y="19"/>
                  <a:pt x="58" y="19"/>
                </a:cubicBezTo>
                <a:cubicBezTo>
                  <a:pt x="59" y="20"/>
                  <a:pt x="59" y="18"/>
                  <a:pt x="59" y="18"/>
                </a:cubicBezTo>
                <a:cubicBezTo>
                  <a:pt x="59" y="18"/>
                  <a:pt x="58" y="17"/>
                  <a:pt x="58" y="1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19" name="Laos"/>
          <p:cNvSpPr>
            <a:spLocks/>
          </p:cNvSpPr>
          <p:nvPr/>
        </p:nvSpPr>
        <p:spPr bwMode="auto">
          <a:xfrm>
            <a:off x="9244953" y="3769971"/>
            <a:ext cx="288990" cy="339987"/>
          </a:xfrm>
          <a:custGeom>
            <a:avLst/>
            <a:gdLst/>
            <a:ahLst/>
            <a:cxnLst>
              <a:cxn ang="0">
                <a:pos x="77" y="77"/>
              </a:cxn>
              <a:cxn ang="0">
                <a:pos x="75" y="74"/>
              </a:cxn>
              <a:cxn ang="0">
                <a:pos x="75" y="71"/>
              </a:cxn>
              <a:cxn ang="0">
                <a:pos x="71" y="66"/>
              </a:cxn>
              <a:cxn ang="0">
                <a:pos x="67" y="64"/>
              </a:cxn>
              <a:cxn ang="0">
                <a:pos x="64" y="58"/>
              </a:cxn>
              <a:cxn ang="0">
                <a:pos x="58" y="52"/>
              </a:cxn>
              <a:cxn ang="0">
                <a:pos x="55" y="47"/>
              </a:cxn>
              <a:cxn ang="0">
                <a:pos x="52" y="46"/>
              </a:cxn>
              <a:cxn ang="0">
                <a:pos x="51" y="43"/>
              </a:cxn>
              <a:cxn ang="0">
                <a:pos x="44" y="39"/>
              </a:cxn>
              <a:cxn ang="0">
                <a:pos x="38" y="35"/>
              </a:cxn>
              <a:cxn ang="0">
                <a:pos x="39" y="31"/>
              </a:cxn>
              <a:cxn ang="0">
                <a:pos x="43" y="31"/>
              </a:cxn>
              <a:cxn ang="0">
                <a:pos x="46" y="28"/>
              </a:cxn>
              <a:cxn ang="0">
                <a:pos x="46" y="25"/>
              </a:cxn>
              <a:cxn ang="0">
                <a:pos x="41" y="23"/>
              </a:cxn>
              <a:cxn ang="0">
                <a:pos x="42" y="20"/>
              </a:cxn>
              <a:cxn ang="0">
                <a:pos x="37" y="17"/>
              </a:cxn>
              <a:cxn ang="0">
                <a:pos x="34" y="20"/>
              </a:cxn>
              <a:cxn ang="0">
                <a:pos x="28" y="18"/>
              </a:cxn>
              <a:cxn ang="0">
                <a:pos x="25" y="14"/>
              </a:cxn>
              <a:cxn ang="0">
                <a:pos x="26" y="10"/>
              </a:cxn>
              <a:cxn ang="0">
                <a:pos x="24" y="8"/>
              </a:cxn>
              <a:cxn ang="0">
                <a:pos x="19" y="4"/>
              </a:cxn>
              <a:cxn ang="0">
                <a:pos x="14" y="1"/>
              </a:cxn>
              <a:cxn ang="0">
                <a:pos x="11" y="3"/>
              </a:cxn>
              <a:cxn ang="0">
                <a:pos x="13" y="6"/>
              </a:cxn>
              <a:cxn ang="0">
                <a:pos x="14" y="12"/>
              </a:cxn>
              <a:cxn ang="0">
                <a:pos x="13" y="14"/>
              </a:cxn>
              <a:cxn ang="0">
                <a:pos x="9" y="11"/>
              </a:cxn>
              <a:cxn ang="0">
                <a:pos x="5" y="13"/>
              </a:cxn>
              <a:cxn ang="0">
                <a:pos x="4" y="18"/>
              </a:cxn>
              <a:cxn ang="0">
                <a:pos x="1" y="25"/>
              </a:cxn>
              <a:cxn ang="0">
                <a:pos x="4" y="26"/>
              </a:cxn>
              <a:cxn ang="0">
                <a:pos x="6" y="33"/>
              </a:cxn>
              <a:cxn ang="0">
                <a:pos x="12" y="33"/>
              </a:cxn>
              <a:cxn ang="0">
                <a:pos x="14" y="38"/>
              </a:cxn>
              <a:cxn ang="0">
                <a:pos x="13" y="43"/>
              </a:cxn>
              <a:cxn ang="0">
                <a:pos x="13" y="47"/>
              </a:cxn>
              <a:cxn ang="0">
                <a:pos x="13" y="50"/>
              </a:cxn>
              <a:cxn ang="0">
                <a:pos x="13" y="55"/>
              </a:cxn>
              <a:cxn ang="0">
                <a:pos x="16" y="52"/>
              </a:cxn>
              <a:cxn ang="0">
                <a:pos x="19" y="50"/>
              </a:cxn>
              <a:cxn ang="0">
                <a:pos x="25" y="49"/>
              </a:cxn>
              <a:cxn ang="0">
                <a:pos x="29" y="51"/>
              </a:cxn>
              <a:cxn ang="0">
                <a:pos x="33" y="47"/>
              </a:cxn>
              <a:cxn ang="0">
                <a:pos x="39" y="46"/>
              </a:cxn>
              <a:cxn ang="0">
                <a:pos x="44" y="51"/>
              </a:cxn>
              <a:cxn ang="0">
                <a:pos x="49" y="60"/>
              </a:cxn>
              <a:cxn ang="0">
                <a:pos x="53" y="68"/>
              </a:cxn>
              <a:cxn ang="0">
                <a:pos x="57" y="73"/>
              </a:cxn>
              <a:cxn ang="0">
                <a:pos x="60" y="79"/>
              </a:cxn>
              <a:cxn ang="0">
                <a:pos x="60" y="85"/>
              </a:cxn>
              <a:cxn ang="0">
                <a:pos x="61" y="92"/>
              </a:cxn>
              <a:cxn ang="0">
                <a:pos x="65" y="94"/>
              </a:cxn>
              <a:cxn ang="0">
                <a:pos x="65" y="89"/>
              </a:cxn>
              <a:cxn ang="0">
                <a:pos x="69" y="88"/>
              </a:cxn>
              <a:cxn ang="0">
                <a:pos x="72" y="89"/>
              </a:cxn>
              <a:cxn ang="0">
                <a:pos x="76" y="89"/>
              </a:cxn>
              <a:cxn ang="0">
                <a:pos x="79" y="85"/>
              </a:cxn>
              <a:cxn ang="0">
                <a:pos x="79" y="82"/>
              </a:cxn>
            </a:cxnLst>
            <a:rect l="0" t="0" r="r" b="b"/>
            <a:pathLst>
              <a:path w="80" h="94">
                <a:moveTo>
                  <a:pt x="79" y="78"/>
                </a:moveTo>
                <a:cubicBezTo>
                  <a:pt x="79" y="78"/>
                  <a:pt x="79" y="78"/>
                  <a:pt x="78" y="78"/>
                </a:cubicBezTo>
                <a:cubicBezTo>
                  <a:pt x="78" y="78"/>
                  <a:pt x="78" y="77"/>
                  <a:pt x="78" y="77"/>
                </a:cubicBezTo>
                <a:cubicBezTo>
                  <a:pt x="78" y="77"/>
                  <a:pt x="78" y="77"/>
                  <a:pt x="77" y="77"/>
                </a:cubicBezTo>
                <a:cubicBezTo>
                  <a:pt x="77" y="77"/>
                  <a:pt x="77" y="77"/>
                  <a:pt x="77" y="77"/>
                </a:cubicBezTo>
                <a:cubicBezTo>
                  <a:pt x="77" y="77"/>
                  <a:pt x="77" y="76"/>
                  <a:pt x="76" y="76"/>
                </a:cubicBezTo>
                <a:cubicBezTo>
                  <a:pt x="76" y="76"/>
                  <a:pt x="76" y="76"/>
                  <a:pt x="76" y="75"/>
                </a:cubicBezTo>
                <a:cubicBezTo>
                  <a:pt x="75" y="75"/>
                  <a:pt x="75" y="74"/>
                  <a:pt x="75" y="74"/>
                </a:cubicBezTo>
                <a:cubicBezTo>
                  <a:pt x="74" y="73"/>
                  <a:pt x="75" y="73"/>
                  <a:pt x="75" y="73"/>
                </a:cubicBezTo>
                <a:cubicBezTo>
                  <a:pt x="76" y="72"/>
                  <a:pt x="77" y="72"/>
                  <a:pt x="77" y="71"/>
                </a:cubicBezTo>
                <a:cubicBezTo>
                  <a:pt x="77" y="71"/>
                  <a:pt x="77" y="71"/>
                  <a:pt x="77" y="71"/>
                </a:cubicBezTo>
                <a:cubicBezTo>
                  <a:pt x="76" y="71"/>
                  <a:pt x="76" y="71"/>
                  <a:pt x="75" y="71"/>
                </a:cubicBezTo>
                <a:cubicBezTo>
                  <a:pt x="75" y="71"/>
                  <a:pt x="75" y="70"/>
                  <a:pt x="74" y="70"/>
                </a:cubicBezTo>
                <a:cubicBezTo>
                  <a:pt x="73" y="69"/>
                  <a:pt x="73" y="68"/>
                  <a:pt x="72" y="68"/>
                </a:cubicBezTo>
                <a:cubicBezTo>
                  <a:pt x="72" y="67"/>
                  <a:pt x="71" y="67"/>
                  <a:pt x="71" y="67"/>
                </a:cubicBezTo>
                <a:cubicBezTo>
                  <a:pt x="71" y="67"/>
                  <a:pt x="71" y="66"/>
                  <a:pt x="71" y="66"/>
                </a:cubicBezTo>
                <a:cubicBezTo>
                  <a:pt x="70" y="65"/>
                  <a:pt x="70" y="66"/>
                  <a:pt x="70" y="66"/>
                </a:cubicBezTo>
                <a:cubicBezTo>
                  <a:pt x="70" y="67"/>
                  <a:pt x="69" y="67"/>
                  <a:pt x="69" y="67"/>
                </a:cubicBezTo>
                <a:cubicBezTo>
                  <a:pt x="68" y="66"/>
                  <a:pt x="69" y="66"/>
                  <a:pt x="68" y="65"/>
                </a:cubicBezTo>
                <a:cubicBezTo>
                  <a:pt x="68" y="65"/>
                  <a:pt x="68" y="65"/>
                  <a:pt x="67" y="64"/>
                </a:cubicBezTo>
                <a:cubicBezTo>
                  <a:pt x="67" y="64"/>
                  <a:pt x="67" y="63"/>
                  <a:pt x="67" y="62"/>
                </a:cubicBezTo>
                <a:cubicBezTo>
                  <a:pt x="67" y="62"/>
                  <a:pt x="67" y="61"/>
                  <a:pt x="67" y="60"/>
                </a:cubicBezTo>
                <a:cubicBezTo>
                  <a:pt x="66" y="62"/>
                  <a:pt x="65" y="60"/>
                  <a:pt x="65" y="59"/>
                </a:cubicBezTo>
                <a:cubicBezTo>
                  <a:pt x="65" y="59"/>
                  <a:pt x="64" y="59"/>
                  <a:pt x="64" y="58"/>
                </a:cubicBezTo>
                <a:cubicBezTo>
                  <a:pt x="64" y="58"/>
                  <a:pt x="64" y="57"/>
                  <a:pt x="64" y="57"/>
                </a:cubicBezTo>
                <a:cubicBezTo>
                  <a:pt x="63" y="58"/>
                  <a:pt x="62" y="57"/>
                  <a:pt x="62" y="57"/>
                </a:cubicBezTo>
                <a:cubicBezTo>
                  <a:pt x="61" y="56"/>
                  <a:pt x="60" y="54"/>
                  <a:pt x="59" y="53"/>
                </a:cubicBezTo>
                <a:cubicBezTo>
                  <a:pt x="58" y="53"/>
                  <a:pt x="58" y="53"/>
                  <a:pt x="58" y="52"/>
                </a:cubicBezTo>
                <a:cubicBezTo>
                  <a:pt x="57" y="52"/>
                  <a:pt x="57" y="51"/>
                  <a:pt x="57" y="51"/>
                </a:cubicBezTo>
                <a:cubicBezTo>
                  <a:pt x="56" y="51"/>
                  <a:pt x="56" y="50"/>
                  <a:pt x="56" y="50"/>
                </a:cubicBezTo>
                <a:cubicBezTo>
                  <a:pt x="56" y="49"/>
                  <a:pt x="56" y="49"/>
                  <a:pt x="55" y="48"/>
                </a:cubicBezTo>
                <a:cubicBezTo>
                  <a:pt x="55" y="48"/>
                  <a:pt x="55" y="47"/>
                  <a:pt x="55" y="47"/>
                </a:cubicBezTo>
                <a:cubicBezTo>
                  <a:pt x="54" y="47"/>
                  <a:pt x="54" y="47"/>
                  <a:pt x="54" y="48"/>
                </a:cubicBezTo>
                <a:cubicBezTo>
                  <a:pt x="53" y="48"/>
                  <a:pt x="53" y="47"/>
                  <a:pt x="53" y="47"/>
                </a:cubicBezTo>
                <a:cubicBezTo>
                  <a:pt x="53" y="47"/>
                  <a:pt x="52" y="46"/>
                  <a:pt x="52" y="46"/>
                </a:cubicBezTo>
                <a:cubicBezTo>
                  <a:pt x="52" y="46"/>
                  <a:pt x="52" y="46"/>
                  <a:pt x="52" y="46"/>
                </a:cubicBezTo>
                <a:cubicBezTo>
                  <a:pt x="52" y="46"/>
                  <a:pt x="52" y="46"/>
                  <a:pt x="52" y="46"/>
                </a:cubicBezTo>
                <a:cubicBezTo>
                  <a:pt x="51" y="45"/>
                  <a:pt x="51" y="45"/>
                  <a:pt x="51" y="44"/>
                </a:cubicBezTo>
                <a:cubicBezTo>
                  <a:pt x="50" y="44"/>
                  <a:pt x="51" y="43"/>
                  <a:pt x="51" y="43"/>
                </a:cubicBezTo>
                <a:cubicBezTo>
                  <a:pt x="51" y="43"/>
                  <a:pt x="51" y="43"/>
                  <a:pt x="51" y="43"/>
                </a:cubicBezTo>
                <a:cubicBezTo>
                  <a:pt x="51" y="42"/>
                  <a:pt x="50" y="42"/>
                  <a:pt x="49" y="41"/>
                </a:cubicBezTo>
                <a:cubicBezTo>
                  <a:pt x="49" y="41"/>
                  <a:pt x="48" y="41"/>
                  <a:pt x="46" y="41"/>
                </a:cubicBezTo>
                <a:cubicBezTo>
                  <a:pt x="46" y="40"/>
                  <a:pt x="45" y="40"/>
                  <a:pt x="45" y="39"/>
                </a:cubicBezTo>
                <a:cubicBezTo>
                  <a:pt x="45" y="39"/>
                  <a:pt x="44" y="38"/>
                  <a:pt x="44" y="39"/>
                </a:cubicBezTo>
                <a:cubicBezTo>
                  <a:pt x="44" y="39"/>
                  <a:pt x="42" y="37"/>
                  <a:pt x="41" y="37"/>
                </a:cubicBezTo>
                <a:cubicBezTo>
                  <a:pt x="41" y="37"/>
                  <a:pt x="41" y="37"/>
                  <a:pt x="41" y="36"/>
                </a:cubicBezTo>
                <a:cubicBezTo>
                  <a:pt x="40" y="36"/>
                  <a:pt x="40" y="36"/>
                  <a:pt x="39" y="36"/>
                </a:cubicBezTo>
                <a:cubicBezTo>
                  <a:pt x="39" y="36"/>
                  <a:pt x="38" y="35"/>
                  <a:pt x="38" y="35"/>
                </a:cubicBezTo>
                <a:cubicBezTo>
                  <a:pt x="38" y="35"/>
                  <a:pt x="39" y="34"/>
                  <a:pt x="39" y="34"/>
                </a:cubicBezTo>
                <a:cubicBezTo>
                  <a:pt x="39" y="34"/>
                  <a:pt x="39" y="34"/>
                  <a:pt x="39" y="33"/>
                </a:cubicBezTo>
                <a:cubicBezTo>
                  <a:pt x="40" y="32"/>
                  <a:pt x="39" y="32"/>
                  <a:pt x="38" y="31"/>
                </a:cubicBezTo>
                <a:cubicBezTo>
                  <a:pt x="38" y="31"/>
                  <a:pt x="39" y="31"/>
                  <a:pt x="39" y="31"/>
                </a:cubicBezTo>
                <a:cubicBezTo>
                  <a:pt x="40" y="31"/>
                  <a:pt x="40" y="31"/>
                  <a:pt x="40" y="31"/>
                </a:cubicBezTo>
                <a:cubicBezTo>
                  <a:pt x="41" y="31"/>
                  <a:pt x="41" y="31"/>
                  <a:pt x="42" y="31"/>
                </a:cubicBezTo>
                <a:cubicBezTo>
                  <a:pt x="42" y="31"/>
                  <a:pt x="42" y="31"/>
                  <a:pt x="42" y="31"/>
                </a:cubicBezTo>
                <a:cubicBezTo>
                  <a:pt x="43" y="31"/>
                  <a:pt x="43" y="31"/>
                  <a:pt x="43" y="31"/>
                </a:cubicBezTo>
                <a:cubicBezTo>
                  <a:pt x="43" y="32"/>
                  <a:pt x="44" y="32"/>
                  <a:pt x="44" y="32"/>
                </a:cubicBezTo>
                <a:cubicBezTo>
                  <a:pt x="45" y="32"/>
                  <a:pt x="45" y="31"/>
                  <a:pt x="45" y="31"/>
                </a:cubicBezTo>
                <a:cubicBezTo>
                  <a:pt x="45" y="31"/>
                  <a:pt x="47" y="29"/>
                  <a:pt x="46" y="29"/>
                </a:cubicBezTo>
                <a:cubicBezTo>
                  <a:pt x="45" y="29"/>
                  <a:pt x="46" y="28"/>
                  <a:pt x="46" y="28"/>
                </a:cubicBezTo>
                <a:cubicBezTo>
                  <a:pt x="46" y="28"/>
                  <a:pt x="46" y="27"/>
                  <a:pt x="47" y="28"/>
                </a:cubicBezTo>
                <a:cubicBezTo>
                  <a:pt x="47" y="28"/>
                  <a:pt x="47" y="28"/>
                  <a:pt x="47" y="27"/>
                </a:cubicBezTo>
                <a:cubicBezTo>
                  <a:pt x="47" y="27"/>
                  <a:pt x="47" y="26"/>
                  <a:pt x="47" y="26"/>
                </a:cubicBezTo>
                <a:cubicBezTo>
                  <a:pt x="46" y="26"/>
                  <a:pt x="46" y="25"/>
                  <a:pt x="46" y="25"/>
                </a:cubicBezTo>
                <a:cubicBezTo>
                  <a:pt x="45" y="25"/>
                  <a:pt x="44" y="25"/>
                  <a:pt x="44" y="25"/>
                </a:cubicBezTo>
                <a:cubicBezTo>
                  <a:pt x="44" y="24"/>
                  <a:pt x="44" y="24"/>
                  <a:pt x="44" y="24"/>
                </a:cubicBezTo>
                <a:cubicBezTo>
                  <a:pt x="44" y="24"/>
                  <a:pt x="43" y="23"/>
                  <a:pt x="43" y="23"/>
                </a:cubicBezTo>
                <a:cubicBezTo>
                  <a:pt x="42" y="23"/>
                  <a:pt x="42" y="23"/>
                  <a:pt x="41" y="23"/>
                </a:cubicBezTo>
                <a:cubicBezTo>
                  <a:pt x="40" y="22"/>
                  <a:pt x="41" y="22"/>
                  <a:pt x="41" y="22"/>
                </a:cubicBezTo>
                <a:cubicBezTo>
                  <a:pt x="41" y="22"/>
                  <a:pt x="42" y="22"/>
                  <a:pt x="42" y="21"/>
                </a:cubicBezTo>
                <a:cubicBezTo>
                  <a:pt x="43" y="21"/>
                  <a:pt x="43" y="21"/>
                  <a:pt x="43" y="20"/>
                </a:cubicBezTo>
                <a:cubicBezTo>
                  <a:pt x="43" y="20"/>
                  <a:pt x="42" y="20"/>
                  <a:pt x="42" y="20"/>
                </a:cubicBezTo>
                <a:cubicBezTo>
                  <a:pt x="41" y="19"/>
                  <a:pt x="41" y="19"/>
                  <a:pt x="41" y="19"/>
                </a:cubicBezTo>
                <a:cubicBezTo>
                  <a:pt x="41" y="19"/>
                  <a:pt x="40" y="19"/>
                  <a:pt x="40" y="19"/>
                </a:cubicBezTo>
                <a:cubicBezTo>
                  <a:pt x="40" y="18"/>
                  <a:pt x="39" y="18"/>
                  <a:pt x="39" y="17"/>
                </a:cubicBezTo>
                <a:cubicBezTo>
                  <a:pt x="38" y="17"/>
                  <a:pt x="38" y="17"/>
                  <a:pt x="37" y="17"/>
                </a:cubicBezTo>
                <a:cubicBezTo>
                  <a:pt x="37" y="17"/>
                  <a:pt x="37" y="17"/>
                  <a:pt x="36" y="17"/>
                </a:cubicBezTo>
                <a:cubicBezTo>
                  <a:pt x="36" y="18"/>
                  <a:pt x="35" y="18"/>
                  <a:pt x="35" y="18"/>
                </a:cubicBezTo>
                <a:cubicBezTo>
                  <a:pt x="34" y="19"/>
                  <a:pt x="35" y="19"/>
                  <a:pt x="34" y="19"/>
                </a:cubicBezTo>
                <a:cubicBezTo>
                  <a:pt x="34" y="20"/>
                  <a:pt x="34" y="20"/>
                  <a:pt x="34" y="20"/>
                </a:cubicBezTo>
                <a:cubicBezTo>
                  <a:pt x="34" y="20"/>
                  <a:pt x="33" y="20"/>
                  <a:pt x="33" y="19"/>
                </a:cubicBezTo>
                <a:cubicBezTo>
                  <a:pt x="32" y="19"/>
                  <a:pt x="31" y="18"/>
                  <a:pt x="31" y="19"/>
                </a:cubicBezTo>
                <a:cubicBezTo>
                  <a:pt x="31" y="19"/>
                  <a:pt x="30" y="18"/>
                  <a:pt x="30" y="18"/>
                </a:cubicBezTo>
                <a:cubicBezTo>
                  <a:pt x="29" y="18"/>
                  <a:pt x="28" y="18"/>
                  <a:pt x="28" y="18"/>
                </a:cubicBezTo>
                <a:cubicBezTo>
                  <a:pt x="28" y="17"/>
                  <a:pt x="27" y="16"/>
                  <a:pt x="27" y="16"/>
                </a:cubicBezTo>
                <a:cubicBezTo>
                  <a:pt x="26" y="16"/>
                  <a:pt x="26" y="16"/>
                  <a:pt x="26" y="15"/>
                </a:cubicBezTo>
                <a:cubicBezTo>
                  <a:pt x="26" y="15"/>
                  <a:pt x="26" y="15"/>
                  <a:pt x="26" y="15"/>
                </a:cubicBezTo>
                <a:cubicBezTo>
                  <a:pt x="25" y="14"/>
                  <a:pt x="26" y="14"/>
                  <a:pt x="25" y="14"/>
                </a:cubicBezTo>
                <a:cubicBezTo>
                  <a:pt x="24" y="14"/>
                  <a:pt x="25" y="13"/>
                  <a:pt x="25" y="13"/>
                </a:cubicBezTo>
                <a:cubicBezTo>
                  <a:pt x="25" y="13"/>
                  <a:pt x="25" y="11"/>
                  <a:pt x="25" y="11"/>
                </a:cubicBezTo>
                <a:cubicBezTo>
                  <a:pt x="25" y="12"/>
                  <a:pt x="25" y="12"/>
                  <a:pt x="25" y="12"/>
                </a:cubicBezTo>
                <a:cubicBezTo>
                  <a:pt x="25" y="11"/>
                  <a:pt x="26" y="11"/>
                  <a:pt x="26" y="10"/>
                </a:cubicBezTo>
                <a:cubicBezTo>
                  <a:pt x="26" y="10"/>
                  <a:pt x="26" y="9"/>
                  <a:pt x="25" y="9"/>
                </a:cubicBezTo>
                <a:cubicBezTo>
                  <a:pt x="25" y="8"/>
                  <a:pt x="25" y="9"/>
                  <a:pt x="24" y="8"/>
                </a:cubicBezTo>
                <a:cubicBezTo>
                  <a:pt x="24" y="8"/>
                  <a:pt x="24" y="8"/>
                  <a:pt x="24" y="7"/>
                </a:cubicBezTo>
                <a:cubicBezTo>
                  <a:pt x="23" y="7"/>
                  <a:pt x="24" y="8"/>
                  <a:pt x="24" y="8"/>
                </a:cubicBezTo>
                <a:cubicBezTo>
                  <a:pt x="24" y="9"/>
                  <a:pt x="23" y="10"/>
                  <a:pt x="23" y="9"/>
                </a:cubicBezTo>
                <a:cubicBezTo>
                  <a:pt x="22" y="8"/>
                  <a:pt x="22" y="6"/>
                  <a:pt x="21" y="6"/>
                </a:cubicBezTo>
                <a:cubicBezTo>
                  <a:pt x="20" y="6"/>
                  <a:pt x="21" y="5"/>
                  <a:pt x="20" y="5"/>
                </a:cubicBezTo>
                <a:cubicBezTo>
                  <a:pt x="20" y="5"/>
                  <a:pt x="19" y="4"/>
                  <a:pt x="19" y="4"/>
                </a:cubicBezTo>
                <a:cubicBezTo>
                  <a:pt x="18" y="3"/>
                  <a:pt x="18" y="3"/>
                  <a:pt x="17" y="2"/>
                </a:cubicBezTo>
                <a:cubicBezTo>
                  <a:pt x="17" y="2"/>
                  <a:pt x="17" y="1"/>
                  <a:pt x="16" y="1"/>
                </a:cubicBezTo>
                <a:cubicBezTo>
                  <a:pt x="16" y="0"/>
                  <a:pt x="15" y="1"/>
                  <a:pt x="14" y="1"/>
                </a:cubicBezTo>
                <a:cubicBezTo>
                  <a:pt x="14" y="1"/>
                  <a:pt x="14" y="2"/>
                  <a:pt x="14" y="1"/>
                </a:cubicBezTo>
                <a:cubicBezTo>
                  <a:pt x="13" y="1"/>
                  <a:pt x="13" y="0"/>
                  <a:pt x="12" y="0"/>
                </a:cubicBezTo>
                <a:cubicBezTo>
                  <a:pt x="11" y="0"/>
                  <a:pt x="12" y="1"/>
                  <a:pt x="12" y="2"/>
                </a:cubicBezTo>
                <a:cubicBezTo>
                  <a:pt x="12" y="2"/>
                  <a:pt x="12" y="3"/>
                  <a:pt x="11" y="2"/>
                </a:cubicBezTo>
                <a:cubicBezTo>
                  <a:pt x="11" y="2"/>
                  <a:pt x="11" y="2"/>
                  <a:pt x="11" y="3"/>
                </a:cubicBezTo>
                <a:cubicBezTo>
                  <a:pt x="11" y="3"/>
                  <a:pt x="11" y="3"/>
                  <a:pt x="11" y="4"/>
                </a:cubicBezTo>
                <a:cubicBezTo>
                  <a:pt x="12" y="4"/>
                  <a:pt x="11" y="4"/>
                  <a:pt x="12" y="4"/>
                </a:cubicBezTo>
                <a:cubicBezTo>
                  <a:pt x="12" y="5"/>
                  <a:pt x="12" y="5"/>
                  <a:pt x="12" y="6"/>
                </a:cubicBezTo>
                <a:cubicBezTo>
                  <a:pt x="12" y="6"/>
                  <a:pt x="13" y="6"/>
                  <a:pt x="13" y="6"/>
                </a:cubicBezTo>
                <a:cubicBezTo>
                  <a:pt x="13" y="7"/>
                  <a:pt x="14" y="7"/>
                  <a:pt x="14" y="8"/>
                </a:cubicBezTo>
                <a:cubicBezTo>
                  <a:pt x="14" y="8"/>
                  <a:pt x="14" y="9"/>
                  <a:pt x="15" y="10"/>
                </a:cubicBezTo>
                <a:cubicBezTo>
                  <a:pt x="15" y="10"/>
                  <a:pt x="14" y="10"/>
                  <a:pt x="14" y="10"/>
                </a:cubicBezTo>
                <a:cubicBezTo>
                  <a:pt x="14" y="11"/>
                  <a:pt x="14" y="12"/>
                  <a:pt x="14" y="12"/>
                </a:cubicBezTo>
                <a:cubicBezTo>
                  <a:pt x="14" y="13"/>
                  <a:pt x="15" y="13"/>
                  <a:pt x="15" y="14"/>
                </a:cubicBezTo>
                <a:cubicBezTo>
                  <a:pt x="16" y="14"/>
                  <a:pt x="15" y="14"/>
                  <a:pt x="15" y="14"/>
                </a:cubicBezTo>
                <a:cubicBezTo>
                  <a:pt x="15" y="15"/>
                  <a:pt x="14" y="15"/>
                  <a:pt x="14" y="14"/>
                </a:cubicBezTo>
                <a:cubicBezTo>
                  <a:pt x="14" y="14"/>
                  <a:pt x="13" y="14"/>
                  <a:pt x="13" y="14"/>
                </a:cubicBezTo>
                <a:cubicBezTo>
                  <a:pt x="13" y="14"/>
                  <a:pt x="13" y="14"/>
                  <a:pt x="13" y="14"/>
                </a:cubicBezTo>
                <a:cubicBezTo>
                  <a:pt x="12" y="14"/>
                  <a:pt x="11" y="14"/>
                  <a:pt x="11" y="14"/>
                </a:cubicBezTo>
                <a:cubicBezTo>
                  <a:pt x="10" y="15"/>
                  <a:pt x="9" y="13"/>
                  <a:pt x="10" y="13"/>
                </a:cubicBezTo>
                <a:cubicBezTo>
                  <a:pt x="10" y="12"/>
                  <a:pt x="9" y="12"/>
                  <a:pt x="9" y="11"/>
                </a:cubicBezTo>
                <a:cubicBezTo>
                  <a:pt x="9" y="11"/>
                  <a:pt x="9" y="10"/>
                  <a:pt x="8" y="10"/>
                </a:cubicBezTo>
                <a:cubicBezTo>
                  <a:pt x="9" y="11"/>
                  <a:pt x="7" y="12"/>
                  <a:pt x="6" y="12"/>
                </a:cubicBezTo>
                <a:cubicBezTo>
                  <a:pt x="6" y="13"/>
                  <a:pt x="6" y="13"/>
                  <a:pt x="5" y="13"/>
                </a:cubicBezTo>
                <a:cubicBezTo>
                  <a:pt x="5" y="13"/>
                  <a:pt x="5" y="13"/>
                  <a:pt x="5" y="13"/>
                </a:cubicBezTo>
                <a:cubicBezTo>
                  <a:pt x="4" y="14"/>
                  <a:pt x="5" y="14"/>
                  <a:pt x="4" y="15"/>
                </a:cubicBezTo>
                <a:cubicBezTo>
                  <a:pt x="4" y="15"/>
                  <a:pt x="4" y="16"/>
                  <a:pt x="4" y="16"/>
                </a:cubicBezTo>
                <a:cubicBezTo>
                  <a:pt x="3" y="16"/>
                  <a:pt x="3" y="18"/>
                  <a:pt x="4" y="18"/>
                </a:cubicBezTo>
                <a:cubicBezTo>
                  <a:pt x="4" y="18"/>
                  <a:pt x="5" y="18"/>
                  <a:pt x="4" y="18"/>
                </a:cubicBezTo>
                <a:cubicBezTo>
                  <a:pt x="3" y="19"/>
                  <a:pt x="2" y="18"/>
                  <a:pt x="1" y="19"/>
                </a:cubicBezTo>
                <a:cubicBezTo>
                  <a:pt x="0" y="20"/>
                  <a:pt x="0" y="21"/>
                  <a:pt x="0" y="22"/>
                </a:cubicBezTo>
                <a:cubicBezTo>
                  <a:pt x="0" y="23"/>
                  <a:pt x="0" y="24"/>
                  <a:pt x="0" y="24"/>
                </a:cubicBezTo>
                <a:cubicBezTo>
                  <a:pt x="0" y="25"/>
                  <a:pt x="1" y="25"/>
                  <a:pt x="1" y="25"/>
                </a:cubicBezTo>
                <a:cubicBezTo>
                  <a:pt x="1" y="25"/>
                  <a:pt x="1" y="25"/>
                  <a:pt x="1" y="24"/>
                </a:cubicBezTo>
                <a:cubicBezTo>
                  <a:pt x="1" y="24"/>
                  <a:pt x="1" y="24"/>
                  <a:pt x="1" y="24"/>
                </a:cubicBezTo>
                <a:cubicBezTo>
                  <a:pt x="2" y="22"/>
                  <a:pt x="3" y="24"/>
                  <a:pt x="3" y="25"/>
                </a:cubicBezTo>
                <a:cubicBezTo>
                  <a:pt x="4" y="25"/>
                  <a:pt x="4" y="26"/>
                  <a:pt x="4" y="26"/>
                </a:cubicBezTo>
                <a:cubicBezTo>
                  <a:pt x="5" y="26"/>
                  <a:pt x="5" y="27"/>
                  <a:pt x="5" y="27"/>
                </a:cubicBezTo>
                <a:cubicBezTo>
                  <a:pt x="5" y="28"/>
                  <a:pt x="5" y="28"/>
                  <a:pt x="4" y="29"/>
                </a:cubicBezTo>
                <a:cubicBezTo>
                  <a:pt x="4" y="30"/>
                  <a:pt x="4" y="30"/>
                  <a:pt x="4" y="31"/>
                </a:cubicBezTo>
                <a:cubicBezTo>
                  <a:pt x="4" y="31"/>
                  <a:pt x="5" y="33"/>
                  <a:pt x="6" y="33"/>
                </a:cubicBezTo>
                <a:cubicBezTo>
                  <a:pt x="6" y="32"/>
                  <a:pt x="6" y="32"/>
                  <a:pt x="7" y="33"/>
                </a:cubicBezTo>
                <a:cubicBezTo>
                  <a:pt x="8" y="33"/>
                  <a:pt x="8" y="33"/>
                  <a:pt x="8" y="32"/>
                </a:cubicBezTo>
                <a:cubicBezTo>
                  <a:pt x="9" y="30"/>
                  <a:pt x="11" y="33"/>
                  <a:pt x="12" y="32"/>
                </a:cubicBezTo>
                <a:cubicBezTo>
                  <a:pt x="12" y="32"/>
                  <a:pt x="13" y="33"/>
                  <a:pt x="12" y="33"/>
                </a:cubicBezTo>
                <a:cubicBezTo>
                  <a:pt x="12" y="33"/>
                  <a:pt x="12" y="34"/>
                  <a:pt x="12" y="34"/>
                </a:cubicBezTo>
                <a:cubicBezTo>
                  <a:pt x="12" y="34"/>
                  <a:pt x="12" y="35"/>
                  <a:pt x="12" y="35"/>
                </a:cubicBezTo>
                <a:cubicBezTo>
                  <a:pt x="12" y="35"/>
                  <a:pt x="13" y="37"/>
                  <a:pt x="13" y="37"/>
                </a:cubicBezTo>
                <a:cubicBezTo>
                  <a:pt x="13" y="37"/>
                  <a:pt x="14" y="38"/>
                  <a:pt x="14" y="38"/>
                </a:cubicBezTo>
                <a:cubicBezTo>
                  <a:pt x="14" y="39"/>
                  <a:pt x="13" y="39"/>
                  <a:pt x="13" y="40"/>
                </a:cubicBezTo>
                <a:cubicBezTo>
                  <a:pt x="13" y="40"/>
                  <a:pt x="13" y="41"/>
                  <a:pt x="13" y="41"/>
                </a:cubicBezTo>
                <a:cubicBezTo>
                  <a:pt x="13" y="42"/>
                  <a:pt x="14" y="42"/>
                  <a:pt x="14" y="42"/>
                </a:cubicBezTo>
                <a:cubicBezTo>
                  <a:pt x="14" y="42"/>
                  <a:pt x="13" y="43"/>
                  <a:pt x="13" y="43"/>
                </a:cubicBezTo>
                <a:cubicBezTo>
                  <a:pt x="13" y="44"/>
                  <a:pt x="12" y="44"/>
                  <a:pt x="12" y="45"/>
                </a:cubicBezTo>
                <a:cubicBezTo>
                  <a:pt x="12" y="45"/>
                  <a:pt x="13" y="45"/>
                  <a:pt x="13" y="46"/>
                </a:cubicBezTo>
                <a:cubicBezTo>
                  <a:pt x="13" y="46"/>
                  <a:pt x="13" y="46"/>
                  <a:pt x="13" y="46"/>
                </a:cubicBezTo>
                <a:cubicBezTo>
                  <a:pt x="13" y="47"/>
                  <a:pt x="13" y="47"/>
                  <a:pt x="13" y="47"/>
                </a:cubicBezTo>
                <a:cubicBezTo>
                  <a:pt x="14" y="47"/>
                  <a:pt x="14" y="48"/>
                  <a:pt x="14" y="48"/>
                </a:cubicBezTo>
                <a:cubicBezTo>
                  <a:pt x="14" y="48"/>
                  <a:pt x="14" y="49"/>
                  <a:pt x="14" y="49"/>
                </a:cubicBezTo>
                <a:cubicBezTo>
                  <a:pt x="14" y="49"/>
                  <a:pt x="13" y="50"/>
                  <a:pt x="13" y="50"/>
                </a:cubicBezTo>
                <a:cubicBezTo>
                  <a:pt x="13" y="50"/>
                  <a:pt x="13" y="50"/>
                  <a:pt x="13" y="50"/>
                </a:cubicBezTo>
                <a:cubicBezTo>
                  <a:pt x="12" y="51"/>
                  <a:pt x="12" y="51"/>
                  <a:pt x="13" y="51"/>
                </a:cubicBezTo>
                <a:cubicBezTo>
                  <a:pt x="13" y="51"/>
                  <a:pt x="12" y="51"/>
                  <a:pt x="12" y="51"/>
                </a:cubicBezTo>
                <a:cubicBezTo>
                  <a:pt x="12" y="52"/>
                  <a:pt x="13" y="52"/>
                  <a:pt x="12" y="54"/>
                </a:cubicBezTo>
                <a:cubicBezTo>
                  <a:pt x="12" y="54"/>
                  <a:pt x="13" y="54"/>
                  <a:pt x="13" y="55"/>
                </a:cubicBezTo>
                <a:cubicBezTo>
                  <a:pt x="13" y="55"/>
                  <a:pt x="14" y="55"/>
                  <a:pt x="14" y="55"/>
                </a:cubicBezTo>
                <a:cubicBezTo>
                  <a:pt x="15" y="55"/>
                  <a:pt x="15" y="54"/>
                  <a:pt x="15" y="54"/>
                </a:cubicBezTo>
                <a:cubicBezTo>
                  <a:pt x="16" y="53"/>
                  <a:pt x="16" y="53"/>
                  <a:pt x="17" y="53"/>
                </a:cubicBezTo>
                <a:cubicBezTo>
                  <a:pt x="17" y="53"/>
                  <a:pt x="17" y="53"/>
                  <a:pt x="16" y="52"/>
                </a:cubicBezTo>
                <a:cubicBezTo>
                  <a:pt x="16" y="53"/>
                  <a:pt x="17" y="52"/>
                  <a:pt x="17" y="52"/>
                </a:cubicBezTo>
                <a:cubicBezTo>
                  <a:pt x="17" y="52"/>
                  <a:pt x="18" y="52"/>
                  <a:pt x="18" y="52"/>
                </a:cubicBezTo>
                <a:cubicBezTo>
                  <a:pt x="18" y="51"/>
                  <a:pt x="18" y="51"/>
                  <a:pt x="18" y="51"/>
                </a:cubicBezTo>
                <a:cubicBezTo>
                  <a:pt x="18" y="51"/>
                  <a:pt x="19" y="50"/>
                  <a:pt x="19" y="50"/>
                </a:cubicBezTo>
                <a:cubicBezTo>
                  <a:pt x="19" y="49"/>
                  <a:pt x="19" y="48"/>
                  <a:pt x="20" y="49"/>
                </a:cubicBezTo>
                <a:cubicBezTo>
                  <a:pt x="21" y="49"/>
                  <a:pt x="21" y="48"/>
                  <a:pt x="22" y="48"/>
                </a:cubicBezTo>
                <a:cubicBezTo>
                  <a:pt x="22" y="47"/>
                  <a:pt x="23" y="47"/>
                  <a:pt x="23" y="48"/>
                </a:cubicBezTo>
                <a:cubicBezTo>
                  <a:pt x="24" y="48"/>
                  <a:pt x="25" y="49"/>
                  <a:pt x="25" y="49"/>
                </a:cubicBezTo>
                <a:cubicBezTo>
                  <a:pt x="26" y="50"/>
                  <a:pt x="28" y="50"/>
                  <a:pt x="28" y="50"/>
                </a:cubicBezTo>
                <a:cubicBezTo>
                  <a:pt x="28" y="51"/>
                  <a:pt x="28" y="52"/>
                  <a:pt x="28" y="52"/>
                </a:cubicBezTo>
                <a:cubicBezTo>
                  <a:pt x="29" y="52"/>
                  <a:pt x="28" y="51"/>
                  <a:pt x="28" y="51"/>
                </a:cubicBezTo>
                <a:cubicBezTo>
                  <a:pt x="28" y="51"/>
                  <a:pt x="29" y="51"/>
                  <a:pt x="29" y="51"/>
                </a:cubicBezTo>
                <a:cubicBezTo>
                  <a:pt x="30" y="50"/>
                  <a:pt x="30" y="49"/>
                  <a:pt x="31" y="49"/>
                </a:cubicBezTo>
                <a:cubicBezTo>
                  <a:pt x="32" y="50"/>
                  <a:pt x="31" y="49"/>
                  <a:pt x="32" y="48"/>
                </a:cubicBezTo>
                <a:cubicBezTo>
                  <a:pt x="32" y="48"/>
                  <a:pt x="32" y="48"/>
                  <a:pt x="32" y="47"/>
                </a:cubicBezTo>
                <a:cubicBezTo>
                  <a:pt x="32" y="47"/>
                  <a:pt x="32" y="47"/>
                  <a:pt x="33" y="47"/>
                </a:cubicBezTo>
                <a:cubicBezTo>
                  <a:pt x="33" y="46"/>
                  <a:pt x="33" y="46"/>
                  <a:pt x="33" y="46"/>
                </a:cubicBezTo>
                <a:cubicBezTo>
                  <a:pt x="33" y="45"/>
                  <a:pt x="34" y="45"/>
                  <a:pt x="34" y="45"/>
                </a:cubicBezTo>
                <a:cubicBezTo>
                  <a:pt x="35" y="45"/>
                  <a:pt x="36" y="45"/>
                  <a:pt x="37" y="46"/>
                </a:cubicBezTo>
                <a:cubicBezTo>
                  <a:pt x="38" y="46"/>
                  <a:pt x="38" y="46"/>
                  <a:pt x="39" y="46"/>
                </a:cubicBezTo>
                <a:cubicBezTo>
                  <a:pt x="39" y="47"/>
                  <a:pt x="40" y="45"/>
                  <a:pt x="40" y="46"/>
                </a:cubicBezTo>
                <a:cubicBezTo>
                  <a:pt x="41" y="47"/>
                  <a:pt x="41" y="47"/>
                  <a:pt x="41" y="48"/>
                </a:cubicBezTo>
                <a:cubicBezTo>
                  <a:pt x="42" y="48"/>
                  <a:pt x="42" y="49"/>
                  <a:pt x="43" y="50"/>
                </a:cubicBezTo>
                <a:cubicBezTo>
                  <a:pt x="43" y="50"/>
                  <a:pt x="44" y="51"/>
                  <a:pt x="44" y="51"/>
                </a:cubicBezTo>
                <a:cubicBezTo>
                  <a:pt x="45" y="52"/>
                  <a:pt x="45" y="53"/>
                  <a:pt x="46" y="53"/>
                </a:cubicBezTo>
                <a:cubicBezTo>
                  <a:pt x="46" y="54"/>
                  <a:pt x="47" y="54"/>
                  <a:pt x="47" y="54"/>
                </a:cubicBezTo>
                <a:cubicBezTo>
                  <a:pt x="49" y="55"/>
                  <a:pt x="50" y="56"/>
                  <a:pt x="50" y="58"/>
                </a:cubicBezTo>
                <a:cubicBezTo>
                  <a:pt x="50" y="59"/>
                  <a:pt x="49" y="59"/>
                  <a:pt x="49" y="60"/>
                </a:cubicBezTo>
                <a:cubicBezTo>
                  <a:pt x="49" y="61"/>
                  <a:pt x="50" y="62"/>
                  <a:pt x="50" y="63"/>
                </a:cubicBezTo>
                <a:cubicBezTo>
                  <a:pt x="50" y="63"/>
                  <a:pt x="50" y="64"/>
                  <a:pt x="50" y="65"/>
                </a:cubicBezTo>
                <a:cubicBezTo>
                  <a:pt x="50" y="66"/>
                  <a:pt x="51" y="66"/>
                  <a:pt x="51" y="67"/>
                </a:cubicBezTo>
                <a:cubicBezTo>
                  <a:pt x="52" y="67"/>
                  <a:pt x="52" y="68"/>
                  <a:pt x="53" y="68"/>
                </a:cubicBezTo>
                <a:cubicBezTo>
                  <a:pt x="53" y="69"/>
                  <a:pt x="53" y="70"/>
                  <a:pt x="54" y="70"/>
                </a:cubicBezTo>
                <a:cubicBezTo>
                  <a:pt x="54" y="71"/>
                  <a:pt x="57" y="71"/>
                  <a:pt x="57" y="71"/>
                </a:cubicBezTo>
                <a:cubicBezTo>
                  <a:pt x="57" y="72"/>
                  <a:pt x="57" y="72"/>
                  <a:pt x="57" y="72"/>
                </a:cubicBezTo>
                <a:cubicBezTo>
                  <a:pt x="57" y="72"/>
                  <a:pt x="57" y="73"/>
                  <a:pt x="57" y="73"/>
                </a:cubicBezTo>
                <a:cubicBezTo>
                  <a:pt x="57" y="74"/>
                  <a:pt x="58" y="74"/>
                  <a:pt x="59" y="74"/>
                </a:cubicBezTo>
                <a:cubicBezTo>
                  <a:pt x="60" y="74"/>
                  <a:pt x="60" y="76"/>
                  <a:pt x="60" y="77"/>
                </a:cubicBezTo>
                <a:cubicBezTo>
                  <a:pt x="60" y="78"/>
                  <a:pt x="59" y="78"/>
                  <a:pt x="59" y="78"/>
                </a:cubicBezTo>
                <a:cubicBezTo>
                  <a:pt x="59" y="79"/>
                  <a:pt x="59" y="79"/>
                  <a:pt x="60" y="79"/>
                </a:cubicBezTo>
                <a:cubicBezTo>
                  <a:pt x="60" y="79"/>
                  <a:pt x="58" y="80"/>
                  <a:pt x="59" y="81"/>
                </a:cubicBezTo>
                <a:cubicBezTo>
                  <a:pt x="59" y="82"/>
                  <a:pt x="60" y="82"/>
                  <a:pt x="60" y="82"/>
                </a:cubicBezTo>
                <a:cubicBezTo>
                  <a:pt x="61" y="83"/>
                  <a:pt x="60" y="83"/>
                  <a:pt x="60" y="83"/>
                </a:cubicBezTo>
                <a:cubicBezTo>
                  <a:pt x="60" y="84"/>
                  <a:pt x="60" y="84"/>
                  <a:pt x="60" y="85"/>
                </a:cubicBezTo>
                <a:cubicBezTo>
                  <a:pt x="60" y="86"/>
                  <a:pt x="60" y="88"/>
                  <a:pt x="59" y="89"/>
                </a:cubicBezTo>
                <a:cubicBezTo>
                  <a:pt x="59" y="89"/>
                  <a:pt x="58" y="90"/>
                  <a:pt x="57" y="90"/>
                </a:cubicBezTo>
                <a:cubicBezTo>
                  <a:pt x="57" y="90"/>
                  <a:pt x="58" y="92"/>
                  <a:pt x="59" y="92"/>
                </a:cubicBezTo>
                <a:cubicBezTo>
                  <a:pt x="60" y="92"/>
                  <a:pt x="60" y="92"/>
                  <a:pt x="61" y="92"/>
                </a:cubicBezTo>
                <a:cubicBezTo>
                  <a:pt x="61" y="92"/>
                  <a:pt x="62" y="92"/>
                  <a:pt x="62" y="92"/>
                </a:cubicBezTo>
                <a:cubicBezTo>
                  <a:pt x="62" y="92"/>
                  <a:pt x="63" y="92"/>
                  <a:pt x="63" y="92"/>
                </a:cubicBezTo>
                <a:cubicBezTo>
                  <a:pt x="63" y="93"/>
                  <a:pt x="63" y="93"/>
                  <a:pt x="64" y="93"/>
                </a:cubicBezTo>
                <a:cubicBezTo>
                  <a:pt x="64" y="94"/>
                  <a:pt x="64" y="94"/>
                  <a:pt x="65" y="94"/>
                </a:cubicBezTo>
                <a:cubicBezTo>
                  <a:pt x="65" y="94"/>
                  <a:pt x="66" y="94"/>
                  <a:pt x="66" y="94"/>
                </a:cubicBezTo>
                <a:cubicBezTo>
                  <a:pt x="66" y="94"/>
                  <a:pt x="66" y="93"/>
                  <a:pt x="67" y="93"/>
                </a:cubicBezTo>
                <a:cubicBezTo>
                  <a:pt x="67" y="93"/>
                  <a:pt x="67" y="93"/>
                  <a:pt x="67" y="92"/>
                </a:cubicBezTo>
                <a:cubicBezTo>
                  <a:pt x="66" y="92"/>
                  <a:pt x="64" y="90"/>
                  <a:pt x="65" y="89"/>
                </a:cubicBezTo>
                <a:cubicBezTo>
                  <a:pt x="65" y="89"/>
                  <a:pt x="65" y="89"/>
                  <a:pt x="65" y="89"/>
                </a:cubicBezTo>
                <a:cubicBezTo>
                  <a:pt x="66" y="89"/>
                  <a:pt x="66" y="89"/>
                  <a:pt x="66" y="89"/>
                </a:cubicBezTo>
                <a:cubicBezTo>
                  <a:pt x="67" y="90"/>
                  <a:pt x="67" y="88"/>
                  <a:pt x="67" y="88"/>
                </a:cubicBezTo>
                <a:cubicBezTo>
                  <a:pt x="68" y="88"/>
                  <a:pt x="68" y="89"/>
                  <a:pt x="69" y="88"/>
                </a:cubicBezTo>
                <a:cubicBezTo>
                  <a:pt x="69" y="88"/>
                  <a:pt x="69" y="87"/>
                  <a:pt x="69" y="88"/>
                </a:cubicBezTo>
                <a:cubicBezTo>
                  <a:pt x="69" y="87"/>
                  <a:pt x="70" y="87"/>
                  <a:pt x="70" y="87"/>
                </a:cubicBezTo>
                <a:cubicBezTo>
                  <a:pt x="70" y="87"/>
                  <a:pt x="70" y="88"/>
                  <a:pt x="71" y="88"/>
                </a:cubicBezTo>
                <a:cubicBezTo>
                  <a:pt x="71" y="88"/>
                  <a:pt x="72" y="88"/>
                  <a:pt x="72" y="89"/>
                </a:cubicBezTo>
                <a:cubicBezTo>
                  <a:pt x="72" y="89"/>
                  <a:pt x="73" y="90"/>
                  <a:pt x="73" y="90"/>
                </a:cubicBezTo>
                <a:cubicBezTo>
                  <a:pt x="73" y="90"/>
                  <a:pt x="74" y="90"/>
                  <a:pt x="74" y="90"/>
                </a:cubicBezTo>
                <a:cubicBezTo>
                  <a:pt x="75" y="89"/>
                  <a:pt x="75" y="89"/>
                  <a:pt x="75" y="89"/>
                </a:cubicBezTo>
                <a:cubicBezTo>
                  <a:pt x="75" y="88"/>
                  <a:pt x="75" y="89"/>
                  <a:pt x="76" y="89"/>
                </a:cubicBezTo>
                <a:cubicBezTo>
                  <a:pt x="76" y="89"/>
                  <a:pt x="77" y="88"/>
                  <a:pt x="77" y="88"/>
                </a:cubicBezTo>
                <a:cubicBezTo>
                  <a:pt x="77" y="87"/>
                  <a:pt x="77" y="86"/>
                  <a:pt x="78" y="87"/>
                </a:cubicBezTo>
                <a:cubicBezTo>
                  <a:pt x="79" y="88"/>
                  <a:pt x="79" y="87"/>
                  <a:pt x="79" y="86"/>
                </a:cubicBezTo>
                <a:cubicBezTo>
                  <a:pt x="79" y="86"/>
                  <a:pt x="80" y="86"/>
                  <a:pt x="79" y="85"/>
                </a:cubicBezTo>
                <a:cubicBezTo>
                  <a:pt x="79" y="85"/>
                  <a:pt x="79" y="84"/>
                  <a:pt x="79" y="84"/>
                </a:cubicBezTo>
                <a:cubicBezTo>
                  <a:pt x="80" y="83"/>
                  <a:pt x="79" y="83"/>
                  <a:pt x="79" y="83"/>
                </a:cubicBezTo>
                <a:cubicBezTo>
                  <a:pt x="79" y="83"/>
                  <a:pt x="78" y="82"/>
                  <a:pt x="78" y="82"/>
                </a:cubicBezTo>
                <a:cubicBezTo>
                  <a:pt x="79" y="82"/>
                  <a:pt x="79" y="82"/>
                  <a:pt x="79" y="82"/>
                </a:cubicBezTo>
                <a:cubicBezTo>
                  <a:pt x="79" y="81"/>
                  <a:pt x="80" y="81"/>
                  <a:pt x="80" y="80"/>
                </a:cubicBezTo>
                <a:cubicBezTo>
                  <a:pt x="80" y="80"/>
                  <a:pt x="80" y="80"/>
                  <a:pt x="80" y="80"/>
                </a:cubicBezTo>
                <a:cubicBezTo>
                  <a:pt x="80" y="79"/>
                  <a:pt x="79" y="79"/>
                  <a:pt x="79" y="7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0" name="Kyrgyzstan"/>
          <p:cNvSpPr>
            <a:spLocks noEditPoints="1"/>
          </p:cNvSpPr>
          <p:nvPr/>
        </p:nvSpPr>
        <p:spPr bwMode="auto">
          <a:xfrm>
            <a:off x="8060998" y="2946002"/>
            <a:ext cx="331988" cy="162994"/>
          </a:xfrm>
          <a:custGeom>
            <a:avLst/>
            <a:gdLst/>
            <a:ahLst/>
            <a:cxnLst>
              <a:cxn ang="0">
                <a:pos x="81" y="8"/>
              </a:cxn>
              <a:cxn ang="0">
                <a:pos x="73" y="4"/>
              </a:cxn>
              <a:cxn ang="0">
                <a:pos x="67" y="4"/>
              </a:cxn>
              <a:cxn ang="0">
                <a:pos x="56" y="4"/>
              </a:cxn>
              <a:cxn ang="0">
                <a:pos x="49" y="4"/>
              </a:cxn>
              <a:cxn ang="0">
                <a:pos x="40" y="3"/>
              </a:cxn>
              <a:cxn ang="0">
                <a:pos x="33" y="1"/>
              </a:cxn>
              <a:cxn ang="0">
                <a:pos x="29" y="5"/>
              </a:cxn>
              <a:cxn ang="0">
                <a:pos x="28" y="9"/>
              </a:cxn>
              <a:cxn ang="0">
                <a:pos x="23" y="7"/>
              </a:cxn>
              <a:cxn ang="0">
                <a:pos x="14" y="5"/>
              </a:cxn>
              <a:cxn ang="0">
                <a:pos x="10" y="6"/>
              </a:cxn>
              <a:cxn ang="0">
                <a:pos x="9" y="9"/>
              </a:cxn>
              <a:cxn ang="0">
                <a:pos x="9" y="11"/>
              </a:cxn>
              <a:cxn ang="0">
                <a:pos x="8" y="15"/>
              </a:cxn>
              <a:cxn ang="0">
                <a:pos x="4" y="19"/>
              </a:cxn>
              <a:cxn ang="0">
                <a:pos x="10" y="22"/>
              </a:cxn>
              <a:cxn ang="0">
                <a:pos x="14" y="23"/>
              </a:cxn>
              <a:cxn ang="0">
                <a:pos x="17" y="20"/>
              </a:cxn>
              <a:cxn ang="0">
                <a:pos x="19" y="22"/>
              </a:cxn>
              <a:cxn ang="0">
                <a:pos x="23" y="25"/>
              </a:cxn>
              <a:cxn ang="0">
                <a:pos x="27" y="26"/>
              </a:cxn>
              <a:cxn ang="0">
                <a:pos x="32" y="27"/>
              </a:cxn>
              <a:cxn ang="0">
                <a:pos x="26" y="29"/>
              </a:cxn>
              <a:cxn ang="0">
                <a:pos x="25" y="31"/>
              </a:cxn>
              <a:cxn ang="0">
                <a:pos x="24" y="33"/>
              </a:cxn>
              <a:cxn ang="0">
                <a:pos x="19" y="33"/>
              </a:cxn>
              <a:cxn ang="0">
                <a:pos x="12" y="35"/>
              </a:cxn>
              <a:cxn ang="0">
                <a:pos x="9" y="35"/>
              </a:cxn>
              <a:cxn ang="0">
                <a:pos x="4" y="34"/>
              </a:cxn>
              <a:cxn ang="0">
                <a:pos x="0" y="36"/>
              </a:cxn>
              <a:cxn ang="0">
                <a:pos x="2" y="41"/>
              </a:cxn>
              <a:cxn ang="0">
                <a:pos x="9" y="41"/>
              </a:cxn>
              <a:cxn ang="0">
                <a:pos x="14" y="41"/>
              </a:cxn>
              <a:cxn ang="0">
                <a:pos x="17" y="42"/>
              </a:cxn>
              <a:cxn ang="0">
                <a:pos x="22" y="42"/>
              </a:cxn>
              <a:cxn ang="0">
                <a:pos x="28" y="44"/>
              </a:cxn>
              <a:cxn ang="0">
                <a:pos x="34" y="43"/>
              </a:cxn>
              <a:cxn ang="0">
                <a:pos x="40" y="42"/>
              </a:cxn>
              <a:cxn ang="0">
                <a:pos x="41" y="38"/>
              </a:cxn>
              <a:cxn ang="0">
                <a:pos x="45" y="35"/>
              </a:cxn>
              <a:cxn ang="0">
                <a:pos x="48" y="30"/>
              </a:cxn>
              <a:cxn ang="0">
                <a:pos x="55" y="29"/>
              </a:cxn>
              <a:cxn ang="0">
                <a:pos x="60" y="32"/>
              </a:cxn>
              <a:cxn ang="0">
                <a:pos x="64" y="29"/>
              </a:cxn>
              <a:cxn ang="0">
                <a:pos x="67" y="25"/>
              </a:cxn>
              <a:cxn ang="0">
                <a:pos x="76" y="24"/>
              </a:cxn>
              <a:cxn ang="0">
                <a:pos x="79" y="19"/>
              </a:cxn>
              <a:cxn ang="0">
                <a:pos x="84" y="16"/>
              </a:cxn>
              <a:cxn ang="0">
                <a:pos x="88" y="14"/>
              </a:cxn>
              <a:cxn ang="0">
                <a:pos x="12" y="38"/>
              </a:cxn>
              <a:cxn ang="0">
                <a:pos x="16" y="37"/>
              </a:cxn>
              <a:cxn ang="0">
                <a:pos x="15" y="34"/>
              </a:cxn>
              <a:cxn ang="0">
                <a:pos x="22" y="37"/>
              </a:cxn>
            </a:cxnLst>
            <a:rect l="0" t="0" r="r" b="b"/>
            <a:pathLst>
              <a:path w="92" h="45">
                <a:moveTo>
                  <a:pt x="89" y="11"/>
                </a:moveTo>
                <a:cubicBezTo>
                  <a:pt x="88" y="10"/>
                  <a:pt x="86" y="9"/>
                  <a:pt x="85" y="9"/>
                </a:cubicBezTo>
                <a:cubicBezTo>
                  <a:pt x="84" y="9"/>
                  <a:pt x="83" y="9"/>
                  <a:pt x="83" y="9"/>
                </a:cubicBezTo>
                <a:cubicBezTo>
                  <a:pt x="82" y="9"/>
                  <a:pt x="82" y="8"/>
                  <a:pt x="81" y="8"/>
                </a:cubicBezTo>
                <a:cubicBezTo>
                  <a:pt x="81" y="7"/>
                  <a:pt x="80" y="7"/>
                  <a:pt x="80" y="6"/>
                </a:cubicBezTo>
                <a:cubicBezTo>
                  <a:pt x="79" y="6"/>
                  <a:pt x="79" y="5"/>
                  <a:pt x="79" y="5"/>
                </a:cubicBezTo>
                <a:cubicBezTo>
                  <a:pt x="77" y="6"/>
                  <a:pt x="76" y="5"/>
                  <a:pt x="75" y="5"/>
                </a:cubicBezTo>
                <a:cubicBezTo>
                  <a:pt x="74" y="5"/>
                  <a:pt x="73" y="4"/>
                  <a:pt x="73" y="4"/>
                </a:cubicBezTo>
                <a:cubicBezTo>
                  <a:pt x="72" y="4"/>
                  <a:pt x="72" y="5"/>
                  <a:pt x="72" y="5"/>
                </a:cubicBezTo>
                <a:cubicBezTo>
                  <a:pt x="71" y="5"/>
                  <a:pt x="71" y="5"/>
                  <a:pt x="71" y="5"/>
                </a:cubicBezTo>
                <a:cubicBezTo>
                  <a:pt x="70" y="5"/>
                  <a:pt x="69" y="5"/>
                  <a:pt x="68" y="4"/>
                </a:cubicBezTo>
                <a:cubicBezTo>
                  <a:pt x="68" y="4"/>
                  <a:pt x="67" y="5"/>
                  <a:pt x="67" y="4"/>
                </a:cubicBezTo>
                <a:cubicBezTo>
                  <a:pt x="66" y="4"/>
                  <a:pt x="65" y="4"/>
                  <a:pt x="65" y="4"/>
                </a:cubicBezTo>
                <a:cubicBezTo>
                  <a:pt x="64" y="4"/>
                  <a:pt x="63" y="4"/>
                  <a:pt x="62" y="4"/>
                </a:cubicBezTo>
                <a:cubicBezTo>
                  <a:pt x="61" y="4"/>
                  <a:pt x="59" y="3"/>
                  <a:pt x="58" y="3"/>
                </a:cubicBezTo>
                <a:cubicBezTo>
                  <a:pt x="57" y="4"/>
                  <a:pt x="57" y="4"/>
                  <a:pt x="56" y="4"/>
                </a:cubicBezTo>
                <a:cubicBezTo>
                  <a:pt x="55" y="4"/>
                  <a:pt x="55" y="4"/>
                  <a:pt x="54" y="4"/>
                </a:cubicBezTo>
                <a:cubicBezTo>
                  <a:pt x="54" y="4"/>
                  <a:pt x="53" y="4"/>
                  <a:pt x="52" y="4"/>
                </a:cubicBezTo>
                <a:cubicBezTo>
                  <a:pt x="51" y="4"/>
                  <a:pt x="51" y="4"/>
                  <a:pt x="50" y="4"/>
                </a:cubicBezTo>
                <a:cubicBezTo>
                  <a:pt x="49" y="4"/>
                  <a:pt x="49" y="4"/>
                  <a:pt x="49" y="4"/>
                </a:cubicBezTo>
                <a:cubicBezTo>
                  <a:pt x="49" y="5"/>
                  <a:pt x="48" y="5"/>
                  <a:pt x="48" y="5"/>
                </a:cubicBezTo>
                <a:cubicBezTo>
                  <a:pt x="47" y="5"/>
                  <a:pt x="46" y="5"/>
                  <a:pt x="45" y="5"/>
                </a:cubicBezTo>
                <a:cubicBezTo>
                  <a:pt x="45" y="5"/>
                  <a:pt x="44" y="5"/>
                  <a:pt x="43" y="4"/>
                </a:cubicBezTo>
                <a:cubicBezTo>
                  <a:pt x="42" y="4"/>
                  <a:pt x="41" y="3"/>
                  <a:pt x="40" y="3"/>
                </a:cubicBezTo>
                <a:cubicBezTo>
                  <a:pt x="39" y="3"/>
                  <a:pt x="39" y="3"/>
                  <a:pt x="38" y="2"/>
                </a:cubicBezTo>
                <a:cubicBezTo>
                  <a:pt x="38" y="2"/>
                  <a:pt x="37" y="2"/>
                  <a:pt x="36" y="1"/>
                </a:cubicBezTo>
                <a:cubicBezTo>
                  <a:pt x="35" y="1"/>
                  <a:pt x="35" y="1"/>
                  <a:pt x="34" y="0"/>
                </a:cubicBezTo>
                <a:cubicBezTo>
                  <a:pt x="35" y="1"/>
                  <a:pt x="34" y="1"/>
                  <a:pt x="33" y="1"/>
                </a:cubicBezTo>
                <a:cubicBezTo>
                  <a:pt x="33" y="1"/>
                  <a:pt x="32" y="1"/>
                  <a:pt x="32" y="1"/>
                </a:cubicBezTo>
                <a:cubicBezTo>
                  <a:pt x="32" y="1"/>
                  <a:pt x="32" y="2"/>
                  <a:pt x="32" y="2"/>
                </a:cubicBezTo>
                <a:cubicBezTo>
                  <a:pt x="31" y="2"/>
                  <a:pt x="31" y="2"/>
                  <a:pt x="31" y="2"/>
                </a:cubicBezTo>
                <a:cubicBezTo>
                  <a:pt x="29" y="2"/>
                  <a:pt x="28" y="3"/>
                  <a:pt x="29" y="5"/>
                </a:cubicBezTo>
                <a:cubicBezTo>
                  <a:pt x="30" y="6"/>
                  <a:pt x="29" y="6"/>
                  <a:pt x="29" y="7"/>
                </a:cubicBezTo>
                <a:cubicBezTo>
                  <a:pt x="29" y="8"/>
                  <a:pt x="30" y="9"/>
                  <a:pt x="30" y="9"/>
                </a:cubicBezTo>
                <a:cubicBezTo>
                  <a:pt x="31" y="10"/>
                  <a:pt x="29" y="9"/>
                  <a:pt x="29" y="9"/>
                </a:cubicBezTo>
                <a:cubicBezTo>
                  <a:pt x="29" y="9"/>
                  <a:pt x="29" y="9"/>
                  <a:pt x="28" y="9"/>
                </a:cubicBezTo>
                <a:cubicBezTo>
                  <a:pt x="28" y="8"/>
                  <a:pt x="28" y="8"/>
                  <a:pt x="28" y="8"/>
                </a:cubicBezTo>
                <a:cubicBezTo>
                  <a:pt x="27" y="8"/>
                  <a:pt x="27" y="8"/>
                  <a:pt x="27" y="8"/>
                </a:cubicBezTo>
                <a:cubicBezTo>
                  <a:pt x="26" y="8"/>
                  <a:pt x="26" y="8"/>
                  <a:pt x="25" y="8"/>
                </a:cubicBezTo>
                <a:cubicBezTo>
                  <a:pt x="24" y="8"/>
                  <a:pt x="24" y="8"/>
                  <a:pt x="23" y="7"/>
                </a:cubicBezTo>
                <a:cubicBezTo>
                  <a:pt x="23" y="7"/>
                  <a:pt x="22" y="7"/>
                  <a:pt x="21" y="7"/>
                </a:cubicBezTo>
                <a:cubicBezTo>
                  <a:pt x="20" y="6"/>
                  <a:pt x="20" y="6"/>
                  <a:pt x="19" y="6"/>
                </a:cubicBezTo>
                <a:cubicBezTo>
                  <a:pt x="18" y="5"/>
                  <a:pt x="18" y="6"/>
                  <a:pt x="17" y="6"/>
                </a:cubicBezTo>
                <a:cubicBezTo>
                  <a:pt x="16" y="6"/>
                  <a:pt x="15" y="5"/>
                  <a:pt x="14" y="5"/>
                </a:cubicBezTo>
                <a:cubicBezTo>
                  <a:pt x="14" y="5"/>
                  <a:pt x="14" y="5"/>
                  <a:pt x="13" y="5"/>
                </a:cubicBezTo>
                <a:cubicBezTo>
                  <a:pt x="13" y="5"/>
                  <a:pt x="13" y="6"/>
                  <a:pt x="13" y="6"/>
                </a:cubicBezTo>
                <a:cubicBezTo>
                  <a:pt x="12" y="6"/>
                  <a:pt x="11" y="5"/>
                  <a:pt x="11" y="5"/>
                </a:cubicBezTo>
                <a:cubicBezTo>
                  <a:pt x="11" y="5"/>
                  <a:pt x="11" y="6"/>
                  <a:pt x="10" y="6"/>
                </a:cubicBezTo>
                <a:cubicBezTo>
                  <a:pt x="10" y="6"/>
                  <a:pt x="9" y="6"/>
                  <a:pt x="9" y="7"/>
                </a:cubicBezTo>
                <a:cubicBezTo>
                  <a:pt x="9" y="7"/>
                  <a:pt x="9" y="7"/>
                  <a:pt x="9" y="7"/>
                </a:cubicBezTo>
                <a:cubicBezTo>
                  <a:pt x="9" y="7"/>
                  <a:pt x="8" y="8"/>
                  <a:pt x="8" y="8"/>
                </a:cubicBezTo>
                <a:cubicBezTo>
                  <a:pt x="8" y="8"/>
                  <a:pt x="9" y="9"/>
                  <a:pt x="9" y="9"/>
                </a:cubicBezTo>
                <a:cubicBezTo>
                  <a:pt x="8" y="9"/>
                  <a:pt x="8" y="9"/>
                  <a:pt x="8" y="9"/>
                </a:cubicBezTo>
                <a:cubicBezTo>
                  <a:pt x="8" y="9"/>
                  <a:pt x="8" y="10"/>
                  <a:pt x="8" y="10"/>
                </a:cubicBezTo>
                <a:cubicBezTo>
                  <a:pt x="8" y="10"/>
                  <a:pt x="7" y="10"/>
                  <a:pt x="7" y="11"/>
                </a:cubicBezTo>
                <a:cubicBezTo>
                  <a:pt x="8" y="11"/>
                  <a:pt x="8" y="11"/>
                  <a:pt x="9" y="11"/>
                </a:cubicBezTo>
                <a:cubicBezTo>
                  <a:pt x="9" y="10"/>
                  <a:pt x="10" y="11"/>
                  <a:pt x="10" y="11"/>
                </a:cubicBezTo>
                <a:cubicBezTo>
                  <a:pt x="10" y="11"/>
                  <a:pt x="11" y="12"/>
                  <a:pt x="11" y="12"/>
                </a:cubicBezTo>
                <a:cubicBezTo>
                  <a:pt x="12" y="12"/>
                  <a:pt x="9" y="14"/>
                  <a:pt x="9" y="14"/>
                </a:cubicBezTo>
                <a:cubicBezTo>
                  <a:pt x="8" y="14"/>
                  <a:pt x="8" y="15"/>
                  <a:pt x="8" y="15"/>
                </a:cubicBezTo>
                <a:cubicBezTo>
                  <a:pt x="8" y="15"/>
                  <a:pt x="7" y="15"/>
                  <a:pt x="7" y="15"/>
                </a:cubicBezTo>
                <a:cubicBezTo>
                  <a:pt x="6" y="16"/>
                  <a:pt x="6" y="16"/>
                  <a:pt x="6" y="17"/>
                </a:cubicBezTo>
                <a:cubicBezTo>
                  <a:pt x="5" y="18"/>
                  <a:pt x="5" y="18"/>
                  <a:pt x="4" y="18"/>
                </a:cubicBezTo>
                <a:cubicBezTo>
                  <a:pt x="4" y="18"/>
                  <a:pt x="3" y="19"/>
                  <a:pt x="4" y="19"/>
                </a:cubicBezTo>
                <a:cubicBezTo>
                  <a:pt x="4" y="20"/>
                  <a:pt x="5" y="19"/>
                  <a:pt x="5" y="20"/>
                </a:cubicBezTo>
                <a:cubicBezTo>
                  <a:pt x="6" y="20"/>
                  <a:pt x="7" y="21"/>
                  <a:pt x="7" y="20"/>
                </a:cubicBezTo>
                <a:cubicBezTo>
                  <a:pt x="8" y="20"/>
                  <a:pt x="8" y="20"/>
                  <a:pt x="9" y="20"/>
                </a:cubicBezTo>
                <a:cubicBezTo>
                  <a:pt x="9" y="21"/>
                  <a:pt x="9" y="21"/>
                  <a:pt x="10" y="22"/>
                </a:cubicBezTo>
                <a:cubicBezTo>
                  <a:pt x="10" y="22"/>
                  <a:pt x="11" y="22"/>
                  <a:pt x="11" y="23"/>
                </a:cubicBezTo>
                <a:cubicBezTo>
                  <a:pt x="11" y="23"/>
                  <a:pt x="12" y="23"/>
                  <a:pt x="13" y="23"/>
                </a:cubicBezTo>
                <a:cubicBezTo>
                  <a:pt x="13" y="23"/>
                  <a:pt x="14" y="23"/>
                  <a:pt x="14" y="24"/>
                </a:cubicBezTo>
                <a:cubicBezTo>
                  <a:pt x="13" y="23"/>
                  <a:pt x="14" y="22"/>
                  <a:pt x="14" y="23"/>
                </a:cubicBezTo>
                <a:cubicBezTo>
                  <a:pt x="15" y="24"/>
                  <a:pt x="15" y="23"/>
                  <a:pt x="15" y="23"/>
                </a:cubicBezTo>
                <a:cubicBezTo>
                  <a:pt x="16" y="24"/>
                  <a:pt x="15" y="21"/>
                  <a:pt x="15" y="21"/>
                </a:cubicBezTo>
                <a:cubicBezTo>
                  <a:pt x="16" y="21"/>
                  <a:pt x="16" y="22"/>
                  <a:pt x="17" y="21"/>
                </a:cubicBezTo>
                <a:cubicBezTo>
                  <a:pt x="17" y="21"/>
                  <a:pt x="17" y="20"/>
                  <a:pt x="17" y="20"/>
                </a:cubicBezTo>
                <a:cubicBezTo>
                  <a:pt x="17" y="20"/>
                  <a:pt x="16" y="19"/>
                  <a:pt x="17" y="19"/>
                </a:cubicBezTo>
                <a:cubicBezTo>
                  <a:pt x="18" y="19"/>
                  <a:pt x="17" y="20"/>
                  <a:pt x="17" y="20"/>
                </a:cubicBezTo>
                <a:cubicBezTo>
                  <a:pt x="17" y="20"/>
                  <a:pt x="18" y="20"/>
                  <a:pt x="18" y="20"/>
                </a:cubicBezTo>
                <a:cubicBezTo>
                  <a:pt x="18" y="20"/>
                  <a:pt x="19" y="21"/>
                  <a:pt x="19" y="22"/>
                </a:cubicBezTo>
                <a:cubicBezTo>
                  <a:pt x="20" y="22"/>
                  <a:pt x="20" y="23"/>
                  <a:pt x="20" y="23"/>
                </a:cubicBezTo>
                <a:cubicBezTo>
                  <a:pt x="20" y="23"/>
                  <a:pt x="21" y="23"/>
                  <a:pt x="21" y="23"/>
                </a:cubicBezTo>
                <a:cubicBezTo>
                  <a:pt x="21" y="23"/>
                  <a:pt x="22" y="22"/>
                  <a:pt x="23" y="23"/>
                </a:cubicBezTo>
                <a:cubicBezTo>
                  <a:pt x="23" y="23"/>
                  <a:pt x="23" y="24"/>
                  <a:pt x="23" y="25"/>
                </a:cubicBezTo>
                <a:cubicBezTo>
                  <a:pt x="23" y="25"/>
                  <a:pt x="24" y="25"/>
                  <a:pt x="24" y="25"/>
                </a:cubicBezTo>
                <a:cubicBezTo>
                  <a:pt x="24" y="24"/>
                  <a:pt x="24" y="24"/>
                  <a:pt x="24" y="24"/>
                </a:cubicBezTo>
                <a:cubicBezTo>
                  <a:pt x="24" y="24"/>
                  <a:pt x="25" y="25"/>
                  <a:pt x="26" y="25"/>
                </a:cubicBezTo>
                <a:cubicBezTo>
                  <a:pt x="26" y="25"/>
                  <a:pt x="27" y="25"/>
                  <a:pt x="27" y="26"/>
                </a:cubicBezTo>
                <a:cubicBezTo>
                  <a:pt x="27" y="27"/>
                  <a:pt x="29" y="26"/>
                  <a:pt x="29" y="26"/>
                </a:cubicBezTo>
                <a:cubicBezTo>
                  <a:pt x="30" y="26"/>
                  <a:pt x="30" y="27"/>
                  <a:pt x="30" y="27"/>
                </a:cubicBezTo>
                <a:cubicBezTo>
                  <a:pt x="31" y="26"/>
                  <a:pt x="31" y="27"/>
                  <a:pt x="32" y="27"/>
                </a:cubicBezTo>
                <a:cubicBezTo>
                  <a:pt x="32" y="27"/>
                  <a:pt x="32" y="27"/>
                  <a:pt x="32" y="27"/>
                </a:cubicBezTo>
                <a:cubicBezTo>
                  <a:pt x="31" y="28"/>
                  <a:pt x="31" y="28"/>
                  <a:pt x="30" y="28"/>
                </a:cubicBezTo>
                <a:cubicBezTo>
                  <a:pt x="30" y="28"/>
                  <a:pt x="29" y="29"/>
                  <a:pt x="29" y="29"/>
                </a:cubicBezTo>
                <a:cubicBezTo>
                  <a:pt x="29" y="30"/>
                  <a:pt x="29" y="29"/>
                  <a:pt x="29" y="30"/>
                </a:cubicBezTo>
                <a:cubicBezTo>
                  <a:pt x="29" y="31"/>
                  <a:pt x="27" y="29"/>
                  <a:pt x="26" y="29"/>
                </a:cubicBezTo>
                <a:cubicBezTo>
                  <a:pt x="26" y="29"/>
                  <a:pt x="26" y="30"/>
                  <a:pt x="26" y="30"/>
                </a:cubicBezTo>
                <a:cubicBezTo>
                  <a:pt x="26" y="31"/>
                  <a:pt x="27" y="31"/>
                  <a:pt x="27" y="31"/>
                </a:cubicBezTo>
                <a:cubicBezTo>
                  <a:pt x="27" y="32"/>
                  <a:pt x="26" y="31"/>
                  <a:pt x="25" y="31"/>
                </a:cubicBezTo>
                <a:cubicBezTo>
                  <a:pt x="25" y="31"/>
                  <a:pt x="25" y="31"/>
                  <a:pt x="25" y="31"/>
                </a:cubicBezTo>
                <a:cubicBezTo>
                  <a:pt x="25" y="31"/>
                  <a:pt x="24" y="31"/>
                  <a:pt x="24" y="31"/>
                </a:cubicBezTo>
                <a:cubicBezTo>
                  <a:pt x="24" y="31"/>
                  <a:pt x="24" y="32"/>
                  <a:pt x="24" y="32"/>
                </a:cubicBezTo>
                <a:cubicBezTo>
                  <a:pt x="24" y="32"/>
                  <a:pt x="23" y="32"/>
                  <a:pt x="23" y="32"/>
                </a:cubicBezTo>
                <a:cubicBezTo>
                  <a:pt x="23" y="33"/>
                  <a:pt x="24" y="33"/>
                  <a:pt x="24" y="33"/>
                </a:cubicBezTo>
                <a:cubicBezTo>
                  <a:pt x="24" y="34"/>
                  <a:pt x="22" y="33"/>
                  <a:pt x="22" y="33"/>
                </a:cubicBezTo>
                <a:cubicBezTo>
                  <a:pt x="22" y="34"/>
                  <a:pt x="22" y="34"/>
                  <a:pt x="21" y="34"/>
                </a:cubicBezTo>
                <a:cubicBezTo>
                  <a:pt x="21" y="34"/>
                  <a:pt x="21" y="33"/>
                  <a:pt x="21" y="33"/>
                </a:cubicBezTo>
                <a:cubicBezTo>
                  <a:pt x="20" y="33"/>
                  <a:pt x="20" y="34"/>
                  <a:pt x="19" y="33"/>
                </a:cubicBezTo>
                <a:cubicBezTo>
                  <a:pt x="19" y="33"/>
                  <a:pt x="17" y="32"/>
                  <a:pt x="17" y="32"/>
                </a:cubicBezTo>
                <a:cubicBezTo>
                  <a:pt x="16" y="33"/>
                  <a:pt x="15" y="32"/>
                  <a:pt x="15" y="33"/>
                </a:cubicBezTo>
                <a:cubicBezTo>
                  <a:pt x="14" y="33"/>
                  <a:pt x="15" y="34"/>
                  <a:pt x="14" y="34"/>
                </a:cubicBezTo>
                <a:cubicBezTo>
                  <a:pt x="13" y="34"/>
                  <a:pt x="13" y="34"/>
                  <a:pt x="12" y="35"/>
                </a:cubicBezTo>
                <a:cubicBezTo>
                  <a:pt x="12" y="35"/>
                  <a:pt x="12" y="36"/>
                  <a:pt x="12" y="36"/>
                </a:cubicBezTo>
                <a:cubicBezTo>
                  <a:pt x="11" y="36"/>
                  <a:pt x="11" y="37"/>
                  <a:pt x="11" y="37"/>
                </a:cubicBezTo>
                <a:cubicBezTo>
                  <a:pt x="11" y="36"/>
                  <a:pt x="12" y="36"/>
                  <a:pt x="11" y="35"/>
                </a:cubicBezTo>
                <a:cubicBezTo>
                  <a:pt x="11" y="35"/>
                  <a:pt x="10" y="35"/>
                  <a:pt x="9" y="35"/>
                </a:cubicBezTo>
                <a:cubicBezTo>
                  <a:pt x="9" y="35"/>
                  <a:pt x="9" y="35"/>
                  <a:pt x="8" y="34"/>
                </a:cubicBezTo>
                <a:cubicBezTo>
                  <a:pt x="8" y="34"/>
                  <a:pt x="8" y="34"/>
                  <a:pt x="7" y="34"/>
                </a:cubicBezTo>
                <a:cubicBezTo>
                  <a:pt x="6" y="34"/>
                  <a:pt x="6" y="33"/>
                  <a:pt x="5" y="34"/>
                </a:cubicBezTo>
                <a:cubicBezTo>
                  <a:pt x="5" y="34"/>
                  <a:pt x="4" y="34"/>
                  <a:pt x="4" y="34"/>
                </a:cubicBezTo>
                <a:cubicBezTo>
                  <a:pt x="4" y="34"/>
                  <a:pt x="2" y="35"/>
                  <a:pt x="2" y="35"/>
                </a:cubicBezTo>
                <a:cubicBezTo>
                  <a:pt x="2" y="35"/>
                  <a:pt x="2" y="36"/>
                  <a:pt x="2" y="36"/>
                </a:cubicBezTo>
                <a:cubicBezTo>
                  <a:pt x="2" y="36"/>
                  <a:pt x="2" y="37"/>
                  <a:pt x="1" y="37"/>
                </a:cubicBezTo>
                <a:cubicBezTo>
                  <a:pt x="1" y="37"/>
                  <a:pt x="1" y="36"/>
                  <a:pt x="0" y="36"/>
                </a:cubicBezTo>
                <a:cubicBezTo>
                  <a:pt x="0" y="36"/>
                  <a:pt x="0" y="37"/>
                  <a:pt x="0" y="37"/>
                </a:cubicBezTo>
                <a:cubicBezTo>
                  <a:pt x="0" y="38"/>
                  <a:pt x="0" y="39"/>
                  <a:pt x="1" y="39"/>
                </a:cubicBezTo>
                <a:cubicBezTo>
                  <a:pt x="1" y="39"/>
                  <a:pt x="1" y="40"/>
                  <a:pt x="1" y="41"/>
                </a:cubicBezTo>
                <a:cubicBezTo>
                  <a:pt x="1" y="41"/>
                  <a:pt x="2" y="41"/>
                  <a:pt x="2" y="41"/>
                </a:cubicBezTo>
                <a:cubicBezTo>
                  <a:pt x="3" y="41"/>
                  <a:pt x="3" y="41"/>
                  <a:pt x="4" y="41"/>
                </a:cubicBezTo>
                <a:cubicBezTo>
                  <a:pt x="5" y="40"/>
                  <a:pt x="5" y="40"/>
                  <a:pt x="6" y="41"/>
                </a:cubicBezTo>
                <a:cubicBezTo>
                  <a:pt x="7" y="41"/>
                  <a:pt x="7" y="41"/>
                  <a:pt x="8" y="41"/>
                </a:cubicBezTo>
                <a:cubicBezTo>
                  <a:pt x="8" y="40"/>
                  <a:pt x="9" y="41"/>
                  <a:pt x="9" y="41"/>
                </a:cubicBezTo>
                <a:cubicBezTo>
                  <a:pt x="9" y="40"/>
                  <a:pt x="9" y="40"/>
                  <a:pt x="10" y="40"/>
                </a:cubicBezTo>
                <a:cubicBezTo>
                  <a:pt x="10" y="41"/>
                  <a:pt x="10" y="41"/>
                  <a:pt x="11" y="40"/>
                </a:cubicBezTo>
                <a:cubicBezTo>
                  <a:pt x="11" y="40"/>
                  <a:pt x="12" y="40"/>
                  <a:pt x="13" y="40"/>
                </a:cubicBezTo>
                <a:cubicBezTo>
                  <a:pt x="13" y="41"/>
                  <a:pt x="13" y="41"/>
                  <a:pt x="14" y="41"/>
                </a:cubicBezTo>
                <a:cubicBezTo>
                  <a:pt x="14" y="42"/>
                  <a:pt x="14" y="42"/>
                  <a:pt x="15" y="42"/>
                </a:cubicBezTo>
                <a:cubicBezTo>
                  <a:pt x="15" y="43"/>
                  <a:pt x="15" y="42"/>
                  <a:pt x="16" y="42"/>
                </a:cubicBezTo>
                <a:cubicBezTo>
                  <a:pt x="16" y="42"/>
                  <a:pt x="16" y="42"/>
                  <a:pt x="16" y="42"/>
                </a:cubicBezTo>
                <a:cubicBezTo>
                  <a:pt x="17" y="42"/>
                  <a:pt x="17" y="43"/>
                  <a:pt x="17" y="42"/>
                </a:cubicBezTo>
                <a:cubicBezTo>
                  <a:pt x="17" y="41"/>
                  <a:pt x="17" y="41"/>
                  <a:pt x="18" y="41"/>
                </a:cubicBezTo>
                <a:cubicBezTo>
                  <a:pt x="19" y="41"/>
                  <a:pt x="19" y="41"/>
                  <a:pt x="19" y="41"/>
                </a:cubicBezTo>
                <a:cubicBezTo>
                  <a:pt x="20" y="40"/>
                  <a:pt x="21" y="40"/>
                  <a:pt x="21" y="41"/>
                </a:cubicBezTo>
                <a:cubicBezTo>
                  <a:pt x="21" y="41"/>
                  <a:pt x="21" y="41"/>
                  <a:pt x="22" y="42"/>
                </a:cubicBezTo>
                <a:cubicBezTo>
                  <a:pt x="22" y="42"/>
                  <a:pt x="24" y="41"/>
                  <a:pt x="24" y="43"/>
                </a:cubicBezTo>
                <a:cubicBezTo>
                  <a:pt x="23" y="45"/>
                  <a:pt x="26" y="43"/>
                  <a:pt x="26" y="43"/>
                </a:cubicBezTo>
                <a:cubicBezTo>
                  <a:pt x="27" y="43"/>
                  <a:pt x="27" y="43"/>
                  <a:pt x="27" y="44"/>
                </a:cubicBezTo>
                <a:cubicBezTo>
                  <a:pt x="28" y="44"/>
                  <a:pt x="28" y="44"/>
                  <a:pt x="28" y="44"/>
                </a:cubicBezTo>
                <a:cubicBezTo>
                  <a:pt x="28" y="44"/>
                  <a:pt x="28" y="45"/>
                  <a:pt x="29" y="45"/>
                </a:cubicBezTo>
                <a:cubicBezTo>
                  <a:pt x="29" y="44"/>
                  <a:pt x="29" y="43"/>
                  <a:pt x="30" y="43"/>
                </a:cubicBezTo>
                <a:cubicBezTo>
                  <a:pt x="30" y="43"/>
                  <a:pt x="31" y="43"/>
                  <a:pt x="32" y="43"/>
                </a:cubicBezTo>
                <a:cubicBezTo>
                  <a:pt x="32" y="42"/>
                  <a:pt x="33" y="43"/>
                  <a:pt x="34" y="43"/>
                </a:cubicBezTo>
                <a:cubicBezTo>
                  <a:pt x="34" y="43"/>
                  <a:pt x="35" y="43"/>
                  <a:pt x="35" y="43"/>
                </a:cubicBezTo>
                <a:cubicBezTo>
                  <a:pt x="36" y="43"/>
                  <a:pt x="36" y="43"/>
                  <a:pt x="36" y="43"/>
                </a:cubicBezTo>
                <a:cubicBezTo>
                  <a:pt x="36" y="43"/>
                  <a:pt x="38" y="43"/>
                  <a:pt x="38" y="42"/>
                </a:cubicBezTo>
                <a:cubicBezTo>
                  <a:pt x="38" y="42"/>
                  <a:pt x="39" y="42"/>
                  <a:pt x="40" y="42"/>
                </a:cubicBezTo>
                <a:cubicBezTo>
                  <a:pt x="40" y="42"/>
                  <a:pt x="41" y="42"/>
                  <a:pt x="42" y="42"/>
                </a:cubicBezTo>
                <a:cubicBezTo>
                  <a:pt x="42" y="42"/>
                  <a:pt x="42" y="41"/>
                  <a:pt x="42" y="41"/>
                </a:cubicBezTo>
                <a:cubicBezTo>
                  <a:pt x="43" y="40"/>
                  <a:pt x="43" y="40"/>
                  <a:pt x="42" y="39"/>
                </a:cubicBezTo>
                <a:cubicBezTo>
                  <a:pt x="42" y="39"/>
                  <a:pt x="41" y="39"/>
                  <a:pt x="41" y="38"/>
                </a:cubicBezTo>
                <a:cubicBezTo>
                  <a:pt x="41" y="38"/>
                  <a:pt x="41" y="38"/>
                  <a:pt x="42" y="37"/>
                </a:cubicBezTo>
                <a:cubicBezTo>
                  <a:pt x="42" y="37"/>
                  <a:pt x="42" y="36"/>
                  <a:pt x="42" y="36"/>
                </a:cubicBezTo>
                <a:cubicBezTo>
                  <a:pt x="42" y="35"/>
                  <a:pt x="42" y="35"/>
                  <a:pt x="42" y="35"/>
                </a:cubicBezTo>
                <a:cubicBezTo>
                  <a:pt x="43" y="35"/>
                  <a:pt x="44" y="35"/>
                  <a:pt x="45" y="35"/>
                </a:cubicBezTo>
                <a:cubicBezTo>
                  <a:pt x="46" y="35"/>
                  <a:pt x="46" y="34"/>
                  <a:pt x="47" y="33"/>
                </a:cubicBezTo>
                <a:cubicBezTo>
                  <a:pt x="47" y="33"/>
                  <a:pt x="47" y="32"/>
                  <a:pt x="48" y="32"/>
                </a:cubicBezTo>
                <a:cubicBezTo>
                  <a:pt x="49" y="32"/>
                  <a:pt x="49" y="32"/>
                  <a:pt x="49" y="32"/>
                </a:cubicBezTo>
                <a:cubicBezTo>
                  <a:pt x="48" y="31"/>
                  <a:pt x="48" y="31"/>
                  <a:pt x="48" y="30"/>
                </a:cubicBezTo>
                <a:cubicBezTo>
                  <a:pt x="48" y="30"/>
                  <a:pt x="49" y="30"/>
                  <a:pt x="49" y="31"/>
                </a:cubicBezTo>
                <a:cubicBezTo>
                  <a:pt x="50" y="31"/>
                  <a:pt x="50" y="31"/>
                  <a:pt x="51" y="31"/>
                </a:cubicBezTo>
                <a:cubicBezTo>
                  <a:pt x="52" y="31"/>
                  <a:pt x="52" y="31"/>
                  <a:pt x="52" y="31"/>
                </a:cubicBezTo>
                <a:cubicBezTo>
                  <a:pt x="53" y="30"/>
                  <a:pt x="54" y="28"/>
                  <a:pt x="55" y="29"/>
                </a:cubicBezTo>
                <a:cubicBezTo>
                  <a:pt x="55" y="30"/>
                  <a:pt x="55" y="30"/>
                  <a:pt x="55" y="31"/>
                </a:cubicBezTo>
                <a:cubicBezTo>
                  <a:pt x="56" y="31"/>
                  <a:pt x="56" y="31"/>
                  <a:pt x="56" y="32"/>
                </a:cubicBezTo>
                <a:cubicBezTo>
                  <a:pt x="56" y="33"/>
                  <a:pt x="58" y="33"/>
                  <a:pt x="59" y="32"/>
                </a:cubicBezTo>
                <a:cubicBezTo>
                  <a:pt x="59" y="31"/>
                  <a:pt x="60" y="31"/>
                  <a:pt x="60" y="32"/>
                </a:cubicBezTo>
                <a:cubicBezTo>
                  <a:pt x="61" y="32"/>
                  <a:pt x="61" y="31"/>
                  <a:pt x="61" y="31"/>
                </a:cubicBezTo>
                <a:cubicBezTo>
                  <a:pt x="62" y="31"/>
                  <a:pt x="62" y="32"/>
                  <a:pt x="62" y="32"/>
                </a:cubicBezTo>
                <a:cubicBezTo>
                  <a:pt x="63" y="32"/>
                  <a:pt x="63" y="31"/>
                  <a:pt x="63" y="31"/>
                </a:cubicBezTo>
                <a:cubicBezTo>
                  <a:pt x="63" y="30"/>
                  <a:pt x="64" y="29"/>
                  <a:pt x="64" y="29"/>
                </a:cubicBezTo>
                <a:cubicBezTo>
                  <a:pt x="64" y="28"/>
                  <a:pt x="63" y="27"/>
                  <a:pt x="64" y="27"/>
                </a:cubicBezTo>
                <a:cubicBezTo>
                  <a:pt x="65" y="26"/>
                  <a:pt x="64" y="26"/>
                  <a:pt x="64" y="25"/>
                </a:cubicBezTo>
                <a:cubicBezTo>
                  <a:pt x="65" y="25"/>
                  <a:pt x="65" y="24"/>
                  <a:pt x="66" y="24"/>
                </a:cubicBezTo>
                <a:cubicBezTo>
                  <a:pt x="66" y="25"/>
                  <a:pt x="67" y="25"/>
                  <a:pt x="67" y="25"/>
                </a:cubicBezTo>
                <a:cubicBezTo>
                  <a:pt x="68" y="25"/>
                  <a:pt x="70" y="25"/>
                  <a:pt x="71" y="25"/>
                </a:cubicBezTo>
                <a:cubicBezTo>
                  <a:pt x="72" y="25"/>
                  <a:pt x="72" y="25"/>
                  <a:pt x="73" y="24"/>
                </a:cubicBezTo>
                <a:cubicBezTo>
                  <a:pt x="74" y="24"/>
                  <a:pt x="74" y="24"/>
                  <a:pt x="75" y="24"/>
                </a:cubicBezTo>
                <a:cubicBezTo>
                  <a:pt x="75" y="25"/>
                  <a:pt x="76" y="24"/>
                  <a:pt x="76" y="24"/>
                </a:cubicBezTo>
                <a:cubicBezTo>
                  <a:pt x="76" y="23"/>
                  <a:pt x="77" y="22"/>
                  <a:pt x="77" y="22"/>
                </a:cubicBezTo>
                <a:cubicBezTo>
                  <a:pt x="77" y="21"/>
                  <a:pt x="77" y="21"/>
                  <a:pt x="77" y="20"/>
                </a:cubicBezTo>
                <a:cubicBezTo>
                  <a:pt x="78" y="20"/>
                  <a:pt x="78" y="20"/>
                  <a:pt x="79" y="20"/>
                </a:cubicBezTo>
                <a:cubicBezTo>
                  <a:pt x="79" y="20"/>
                  <a:pt x="79" y="19"/>
                  <a:pt x="79" y="19"/>
                </a:cubicBezTo>
                <a:cubicBezTo>
                  <a:pt x="79" y="19"/>
                  <a:pt x="80" y="19"/>
                  <a:pt x="80" y="19"/>
                </a:cubicBezTo>
                <a:cubicBezTo>
                  <a:pt x="81" y="18"/>
                  <a:pt x="81" y="18"/>
                  <a:pt x="82" y="17"/>
                </a:cubicBezTo>
                <a:cubicBezTo>
                  <a:pt x="82" y="17"/>
                  <a:pt x="83" y="17"/>
                  <a:pt x="83" y="17"/>
                </a:cubicBezTo>
                <a:cubicBezTo>
                  <a:pt x="83" y="17"/>
                  <a:pt x="83" y="16"/>
                  <a:pt x="84" y="16"/>
                </a:cubicBezTo>
                <a:cubicBezTo>
                  <a:pt x="84" y="16"/>
                  <a:pt x="84" y="16"/>
                  <a:pt x="85" y="16"/>
                </a:cubicBezTo>
                <a:cubicBezTo>
                  <a:pt x="85" y="16"/>
                  <a:pt x="85" y="16"/>
                  <a:pt x="85" y="16"/>
                </a:cubicBezTo>
                <a:cubicBezTo>
                  <a:pt x="86" y="16"/>
                  <a:pt x="86" y="15"/>
                  <a:pt x="87" y="15"/>
                </a:cubicBezTo>
                <a:cubicBezTo>
                  <a:pt x="88" y="15"/>
                  <a:pt x="88" y="15"/>
                  <a:pt x="88" y="14"/>
                </a:cubicBezTo>
                <a:cubicBezTo>
                  <a:pt x="88" y="13"/>
                  <a:pt x="92" y="14"/>
                  <a:pt x="91" y="13"/>
                </a:cubicBezTo>
                <a:cubicBezTo>
                  <a:pt x="91" y="12"/>
                  <a:pt x="90" y="11"/>
                  <a:pt x="89" y="11"/>
                </a:cubicBezTo>
                <a:close/>
                <a:moveTo>
                  <a:pt x="13" y="38"/>
                </a:moveTo>
                <a:cubicBezTo>
                  <a:pt x="12" y="38"/>
                  <a:pt x="12" y="38"/>
                  <a:pt x="12" y="38"/>
                </a:cubicBezTo>
                <a:cubicBezTo>
                  <a:pt x="12" y="38"/>
                  <a:pt x="11" y="37"/>
                  <a:pt x="11" y="37"/>
                </a:cubicBezTo>
                <a:cubicBezTo>
                  <a:pt x="12" y="37"/>
                  <a:pt x="14" y="37"/>
                  <a:pt x="13" y="38"/>
                </a:cubicBezTo>
                <a:close/>
                <a:moveTo>
                  <a:pt x="17" y="37"/>
                </a:moveTo>
                <a:cubicBezTo>
                  <a:pt x="17" y="37"/>
                  <a:pt x="17" y="37"/>
                  <a:pt x="16" y="37"/>
                </a:cubicBezTo>
                <a:cubicBezTo>
                  <a:pt x="16" y="37"/>
                  <a:pt x="16" y="37"/>
                  <a:pt x="16" y="37"/>
                </a:cubicBezTo>
                <a:cubicBezTo>
                  <a:pt x="16" y="37"/>
                  <a:pt x="16" y="36"/>
                  <a:pt x="16" y="36"/>
                </a:cubicBezTo>
                <a:cubicBezTo>
                  <a:pt x="15" y="35"/>
                  <a:pt x="15" y="35"/>
                  <a:pt x="15" y="35"/>
                </a:cubicBezTo>
                <a:cubicBezTo>
                  <a:pt x="15" y="34"/>
                  <a:pt x="15" y="34"/>
                  <a:pt x="15" y="34"/>
                </a:cubicBezTo>
                <a:cubicBezTo>
                  <a:pt x="16" y="35"/>
                  <a:pt x="16" y="35"/>
                  <a:pt x="16" y="35"/>
                </a:cubicBezTo>
                <a:cubicBezTo>
                  <a:pt x="17" y="35"/>
                  <a:pt x="17" y="35"/>
                  <a:pt x="17" y="35"/>
                </a:cubicBezTo>
                <a:cubicBezTo>
                  <a:pt x="16" y="36"/>
                  <a:pt x="18" y="37"/>
                  <a:pt x="17" y="37"/>
                </a:cubicBezTo>
                <a:close/>
                <a:moveTo>
                  <a:pt x="22" y="37"/>
                </a:moveTo>
                <a:cubicBezTo>
                  <a:pt x="22" y="37"/>
                  <a:pt x="21" y="37"/>
                  <a:pt x="22" y="36"/>
                </a:cubicBezTo>
                <a:cubicBezTo>
                  <a:pt x="22" y="36"/>
                  <a:pt x="23" y="36"/>
                  <a:pt x="22" y="3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1" name="Kuwait"/>
          <p:cNvSpPr>
            <a:spLocks noEditPoints="1"/>
          </p:cNvSpPr>
          <p:nvPr/>
        </p:nvSpPr>
        <p:spPr bwMode="auto">
          <a:xfrm>
            <a:off x="7378023" y="3466982"/>
            <a:ext cx="64998" cy="64998"/>
          </a:xfrm>
          <a:custGeom>
            <a:avLst/>
            <a:gdLst/>
            <a:ahLst/>
            <a:cxnLst>
              <a:cxn ang="0">
                <a:pos x="14" y="3"/>
              </a:cxn>
              <a:cxn ang="0">
                <a:pos x="14" y="2"/>
              </a:cxn>
              <a:cxn ang="0">
                <a:pos x="15" y="2"/>
              </a:cxn>
              <a:cxn ang="0">
                <a:pos x="16" y="4"/>
              </a:cxn>
              <a:cxn ang="0">
                <a:pos x="16" y="5"/>
              </a:cxn>
              <a:cxn ang="0">
                <a:pos x="15" y="6"/>
              </a:cxn>
              <a:cxn ang="0">
                <a:pos x="14" y="4"/>
              </a:cxn>
              <a:cxn ang="0">
                <a:pos x="14" y="3"/>
              </a:cxn>
              <a:cxn ang="0">
                <a:pos x="18" y="16"/>
              </a:cxn>
              <a:cxn ang="0">
                <a:pos x="17" y="16"/>
              </a:cxn>
              <a:cxn ang="0">
                <a:pos x="18" y="16"/>
              </a:cxn>
              <a:cxn ang="0">
                <a:pos x="17" y="15"/>
              </a:cxn>
              <a:cxn ang="0">
                <a:pos x="16" y="14"/>
              </a:cxn>
              <a:cxn ang="0">
                <a:pos x="15" y="13"/>
              </a:cxn>
              <a:cxn ang="0">
                <a:pos x="15" y="12"/>
              </a:cxn>
              <a:cxn ang="0">
                <a:pos x="14" y="10"/>
              </a:cxn>
              <a:cxn ang="0">
                <a:pos x="14" y="9"/>
              </a:cxn>
              <a:cxn ang="0">
                <a:pos x="13" y="9"/>
              </a:cxn>
              <a:cxn ang="0">
                <a:pos x="13" y="9"/>
              </a:cxn>
              <a:cxn ang="0">
                <a:pos x="12" y="9"/>
              </a:cxn>
              <a:cxn ang="0">
                <a:pos x="12" y="8"/>
              </a:cxn>
              <a:cxn ang="0">
                <a:pos x="10" y="8"/>
              </a:cxn>
              <a:cxn ang="0">
                <a:pos x="12" y="7"/>
              </a:cxn>
              <a:cxn ang="0">
                <a:pos x="13" y="6"/>
              </a:cxn>
              <a:cxn ang="0">
                <a:pos x="15" y="6"/>
              </a:cxn>
              <a:cxn ang="0">
                <a:pos x="14" y="5"/>
              </a:cxn>
              <a:cxn ang="0">
                <a:pos x="13" y="3"/>
              </a:cxn>
              <a:cxn ang="0">
                <a:pos x="12" y="1"/>
              </a:cxn>
              <a:cxn ang="0">
                <a:pos x="10" y="0"/>
              </a:cxn>
              <a:cxn ang="0">
                <a:pos x="8" y="0"/>
              </a:cxn>
              <a:cxn ang="0">
                <a:pos x="5" y="1"/>
              </a:cxn>
              <a:cxn ang="0">
                <a:pos x="4" y="4"/>
              </a:cxn>
              <a:cxn ang="0">
                <a:pos x="3" y="6"/>
              </a:cxn>
              <a:cxn ang="0">
                <a:pos x="2" y="9"/>
              </a:cxn>
              <a:cxn ang="0">
                <a:pos x="0" y="11"/>
              </a:cxn>
              <a:cxn ang="0">
                <a:pos x="6" y="12"/>
              </a:cxn>
              <a:cxn ang="0">
                <a:pos x="8" y="13"/>
              </a:cxn>
              <a:cxn ang="0">
                <a:pos x="10" y="14"/>
              </a:cxn>
              <a:cxn ang="0">
                <a:pos x="12" y="18"/>
              </a:cxn>
              <a:cxn ang="0">
                <a:pos x="16" y="18"/>
              </a:cxn>
              <a:cxn ang="0">
                <a:pos x="18" y="18"/>
              </a:cxn>
              <a:cxn ang="0">
                <a:pos x="18" y="16"/>
              </a:cxn>
            </a:cxnLst>
            <a:rect l="0" t="0" r="r" b="b"/>
            <a:pathLst>
              <a:path w="18" h="18">
                <a:moveTo>
                  <a:pt x="14" y="3"/>
                </a:moveTo>
                <a:cubicBezTo>
                  <a:pt x="14" y="3"/>
                  <a:pt x="15" y="3"/>
                  <a:pt x="14" y="2"/>
                </a:cubicBezTo>
                <a:cubicBezTo>
                  <a:pt x="13" y="2"/>
                  <a:pt x="14" y="1"/>
                  <a:pt x="15" y="2"/>
                </a:cubicBezTo>
                <a:cubicBezTo>
                  <a:pt x="15" y="3"/>
                  <a:pt x="16" y="3"/>
                  <a:pt x="16" y="4"/>
                </a:cubicBezTo>
                <a:cubicBezTo>
                  <a:pt x="16" y="4"/>
                  <a:pt x="16" y="5"/>
                  <a:pt x="16" y="5"/>
                </a:cubicBezTo>
                <a:cubicBezTo>
                  <a:pt x="16" y="5"/>
                  <a:pt x="16" y="6"/>
                  <a:pt x="15" y="6"/>
                </a:cubicBezTo>
                <a:cubicBezTo>
                  <a:pt x="14" y="6"/>
                  <a:pt x="14" y="5"/>
                  <a:pt x="14" y="4"/>
                </a:cubicBezTo>
                <a:cubicBezTo>
                  <a:pt x="13" y="4"/>
                  <a:pt x="14" y="3"/>
                  <a:pt x="14" y="3"/>
                </a:cubicBezTo>
                <a:close/>
                <a:moveTo>
                  <a:pt x="18" y="16"/>
                </a:moveTo>
                <a:cubicBezTo>
                  <a:pt x="18" y="17"/>
                  <a:pt x="17" y="17"/>
                  <a:pt x="17" y="16"/>
                </a:cubicBezTo>
                <a:cubicBezTo>
                  <a:pt x="17" y="16"/>
                  <a:pt x="18" y="16"/>
                  <a:pt x="18" y="16"/>
                </a:cubicBezTo>
                <a:cubicBezTo>
                  <a:pt x="17" y="15"/>
                  <a:pt x="17" y="15"/>
                  <a:pt x="17" y="15"/>
                </a:cubicBezTo>
                <a:cubicBezTo>
                  <a:pt x="17" y="15"/>
                  <a:pt x="17" y="14"/>
                  <a:pt x="16" y="14"/>
                </a:cubicBezTo>
                <a:cubicBezTo>
                  <a:pt x="16" y="13"/>
                  <a:pt x="16" y="13"/>
                  <a:pt x="15" y="13"/>
                </a:cubicBezTo>
                <a:cubicBezTo>
                  <a:pt x="15" y="12"/>
                  <a:pt x="15" y="12"/>
                  <a:pt x="15" y="12"/>
                </a:cubicBezTo>
                <a:cubicBezTo>
                  <a:pt x="15" y="11"/>
                  <a:pt x="14" y="11"/>
                  <a:pt x="14" y="10"/>
                </a:cubicBezTo>
                <a:cubicBezTo>
                  <a:pt x="14" y="10"/>
                  <a:pt x="14" y="9"/>
                  <a:pt x="14" y="9"/>
                </a:cubicBezTo>
                <a:cubicBezTo>
                  <a:pt x="14" y="9"/>
                  <a:pt x="13" y="8"/>
                  <a:pt x="13" y="9"/>
                </a:cubicBezTo>
                <a:cubicBezTo>
                  <a:pt x="13" y="8"/>
                  <a:pt x="13" y="8"/>
                  <a:pt x="13" y="9"/>
                </a:cubicBezTo>
                <a:cubicBezTo>
                  <a:pt x="12" y="9"/>
                  <a:pt x="12" y="9"/>
                  <a:pt x="12" y="9"/>
                </a:cubicBezTo>
                <a:cubicBezTo>
                  <a:pt x="11" y="9"/>
                  <a:pt x="12" y="8"/>
                  <a:pt x="12" y="8"/>
                </a:cubicBezTo>
                <a:cubicBezTo>
                  <a:pt x="12" y="8"/>
                  <a:pt x="10" y="8"/>
                  <a:pt x="10" y="8"/>
                </a:cubicBezTo>
                <a:cubicBezTo>
                  <a:pt x="11" y="8"/>
                  <a:pt x="11" y="7"/>
                  <a:pt x="12" y="7"/>
                </a:cubicBezTo>
                <a:cubicBezTo>
                  <a:pt x="12" y="6"/>
                  <a:pt x="13" y="5"/>
                  <a:pt x="13" y="6"/>
                </a:cubicBezTo>
                <a:cubicBezTo>
                  <a:pt x="13" y="6"/>
                  <a:pt x="14" y="7"/>
                  <a:pt x="15" y="6"/>
                </a:cubicBezTo>
                <a:cubicBezTo>
                  <a:pt x="15" y="6"/>
                  <a:pt x="14" y="5"/>
                  <a:pt x="14" y="5"/>
                </a:cubicBezTo>
                <a:cubicBezTo>
                  <a:pt x="13" y="4"/>
                  <a:pt x="13" y="4"/>
                  <a:pt x="13" y="3"/>
                </a:cubicBezTo>
                <a:cubicBezTo>
                  <a:pt x="13" y="3"/>
                  <a:pt x="13" y="2"/>
                  <a:pt x="12" y="1"/>
                </a:cubicBezTo>
                <a:cubicBezTo>
                  <a:pt x="11" y="1"/>
                  <a:pt x="10" y="1"/>
                  <a:pt x="10" y="0"/>
                </a:cubicBezTo>
                <a:cubicBezTo>
                  <a:pt x="9" y="0"/>
                  <a:pt x="8" y="0"/>
                  <a:pt x="8" y="0"/>
                </a:cubicBezTo>
                <a:cubicBezTo>
                  <a:pt x="7" y="0"/>
                  <a:pt x="6" y="1"/>
                  <a:pt x="5" y="1"/>
                </a:cubicBezTo>
                <a:cubicBezTo>
                  <a:pt x="4" y="2"/>
                  <a:pt x="4" y="3"/>
                  <a:pt x="4" y="4"/>
                </a:cubicBezTo>
                <a:cubicBezTo>
                  <a:pt x="4" y="5"/>
                  <a:pt x="3" y="6"/>
                  <a:pt x="3" y="6"/>
                </a:cubicBezTo>
                <a:cubicBezTo>
                  <a:pt x="3" y="7"/>
                  <a:pt x="2" y="8"/>
                  <a:pt x="2" y="9"/>
                </a:cubicBezTo>
                <a:cubicBezTo>
                  <a:pt x="1" y="10"/>
                  <a:pt x="1" y="11"/>
                  <a:pt x="0" y="11"/>
                </a:cubicBezTo>
                <a:cubicBezTo>
                  <a:pt x="2" y="12"/>
                  <a:pt x="4" y="12"/>
                  <a:pt x="6" y="12"/>
                </a:cubicBezTo>
                <a:cubicBezTo>
                  <a:pt x="7" y="12"/>
                  <a:pt x="8" y="12"/>
                  <a:pt x="8" y="13"/>
                </a:cubicBezTo>
                <a:cubicBezTo>
                  <a:pt x="9" y="13"/>
                  <a:pt x="9" y="14"/>
                  <a:pt x="10" y="14"/>
                </a:cubicBezTo>
                <a:cubicBezTo>
                  <a:pt x="10" y="15"/>
                  <a:pt x="10" y="17"/>
                  <a:pt x="12" y="18"/>
                </a:cubicBezTo>
                <a:cubicBezTo>
                  <a:pt x="13" y="18"/>
                  <a:pt x="15" y="18"/>
                  <a:pt x="16" y="18"/>
                </a:cubicBezTo>
                <a:cubicBezTo>
                  <a:pt x="17" y="18"/>
                  <a:pt x="18" y="18"/>
                  <a:pt x="18" y="18"/>
                </a:cubicBezTo>
                <a:cubicBezTo>
                  <a:pt x="18" y="17"/>
                  <a:pt x="18" y="17"/>
                  <a:pt x="18" y="1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2" name="Kosovo"/>
          <p:cNvSpPr>
            <a:spLocks/>
          </p:cNvSpPr>
          <p:nvPr/>
        </p:nvSpPr>
        <p:spPr bwMode="auto">
          <a:xfrm>
            <a:off x="6464057" y="2942001"/>
            <a:ext cx="53998" cy="61998"/>
          </a:xfrm>
          <a:custGeom>
            <a:avLst/>
            <a:gdLst/>
            <a:ahLst/>
            <a:cxnLst>
              <a:cxn ang="0">
                <a:pos x="13" y="10"/>
              </a:cxn>
              <a:cxn ang="0">
                <a:pos x="14" y="9"/>
              </a:cxn>
              <a:cxn ang="0">
                <a:pos x="14" y="8"/>
              </a:cxn>
              <a:cxn ang="0">
                <a:pos x="15" y="7"/>
              </a:cxn>
              <a:cxn ang="0">
                <a:pos x="15" y="6"/>
              </a:cxn>
              <a:cxn ang="0">
                <a:pos x="14" y="6"/>
              </a:cxn>
              <a:cxn ang="0">
                <a:pos x="13" y="5"/>
              </a:cxn>
              <a:cxn ang="0">
                <a:pos x="12" y="5"/>
              </a:cxn>
              <a:cxn ang="0">
                <a:pos x="12" y="4"/>
              </a:cxn>
              <a:cxn ang="0">
                <a:pos x="11" y="4"/>
              </a:cxn>
              <a:cxn ang="0">
                <a:pos x="10" y="3"/>
              </a:cxn>
              <a:cxn ang="0">
                <a:pos x="10" y="3"/>
              </a:cxn>
              <a:cxn ang="0">
                <a:pos x="10" y="3"/>
              </a:cxn>
              <a:cxn ang="0">
                <a:pos x="9" y="2"/>
              </a:cxn>
              <a:cxn ang="0">
                <a:pos x="8" y="1"/>
              </a:cxn>
              <a:cxn ang="0">
                <a:pos x="7" y="1"/>
              </a:cxn>
              <a:cxn ang="0">
                <a:pos x="7" y="0"/>
              </a:cxn>
              <a:cxn ang="0">
                <a:pos x="6" y="0"/>
              </a:cxn>
              <a:cxn ang="0">
                <a:pos x="5" y="0"/>
              </a:cxn>
              <a:cxn ang="0">
                <a:pos x="5" y="1"/>
              </a:cxn>
              <a:cxn ang="0">
                <a:pos x="5" y="1"/>
              </a:cxn>
              <a:cxn ang="0">
                <a:pos x="5" y="2"/>
              </a:cxn>
              <a:cxn ang="0">
                <a:pos x="4" y="3"/>
              </a:cxn>
              <a:cxn ang="0">
                <a:pos x="4" y="3"/>
              </a:cxn>
              <a:cxn ang="0">
                <a:pos x="4" y="4"/>
              </a:cxn>
              <a:cxn ang="0">
                <a:pos x="4" y="4"/>
              </a:cxn>
              <a:cxn ang="0">
                <a:pos x="3" y="5"/>
              </a:cxn>
              <a:cxn ang="0">
                <a:pos x="2" y="5"/>
              </a:cxn>
              <a:cxn ang="0">
                <a:pos x="3" y="6"/>
              </a:cxn>
              <a:cxn ang="0">
                <a:pos x="2" y="7"/>
              </a:cxn>
              <a:cxn ang="0">
                <a:pos x="1" y="7"/>
              </a:cxn>
              <a:cxn ang="0">
                <a:pos x="1" y="8"/>
              </a:cxn>
              <a:cxn ang="0">
                <a:pos x="1" y="9"/>
              </a:cxn>
              <a:cxn ang="0">
                <a:pos x="2" y="10"/>
              </a:cxn>
              <a:cxn ang="0">
                <a:pos x="2" y="11"/>
              </a:cxn>
              <a:cxn ang="0">
                <a:pos x="4" y="12"/>
              </a:cxn>
              <a:cxn ang="0">
                <a:pos x="5" y="13"/>
              </a:cxn>
              <a:cxn ang="0">
                <a:pos x="5" y="15"/>
              </a:cxn>
              <a:cxn ang="0">
                <a:pos x="6" y="17"/>
              </a:cxn>
              <a:cxn ang="0">
                <a:pos x="7" y="15"/>
              </a:cxn>
              <a:cxn ang="0">
                <a:pos x="8" y="14"/>
              </a:cxn>
              <a:cxn ang="0">
                <a:pos x="10" y="13"/>
              </a:cxn>
              <a:cxn ang="0">
                <a:pos x="11" y="14"/>
              </a:cxn>
              <a:cxn ang="0">
                <a:pos x="13" y="13"/>
              </a:cxn>
              <a:cxn ang="0">
                <a:pos x="14" y="12"/>
              </a:cxn>
              <a:cxn ang="0">
                <a:pos x="15" y="12"/>
              </a:cxn>
              <a:cxn ang="0">
                <a:pos x="14" y="11"/>
              </a:cxn>
              <a:cxn ang="0">
                <a:pos x="13" y="10"/>
              </a:cxn>
            </a:cxnLst>
            <a:rect l="0" t="0" r="r" b="b"/>
            <a:pathLst>
              <a:path w="15" h="17">
                <a:moveTo>
                  <a:pt x="13" y="10"/>
                </a:moveTo>
                <a:cubicBezTo>
                  <a:pt x="14" y="9"/>
                  <a:pt x="14" y="9"/>
                  <a:pt x="14" y="9"/>
                </a:cubicBezTo>
                <a:cubicBezTo>
                  <a:pt x="14" y="8"/>
                  <a:pt x="14" y="8"/>
                  <a:pt x="14" y="8"/>
                </a:cubicBezTo>
                <a:cubicBezTo>
                  <a:pt x="15" y="7"/>
                  <a:pt x="15" y="7"/>
                  <a:pt x="15" y="7"/>
                </a:cubicBezTo>
                <a:cubicBezTo>
                  <a:pt x="15" y="6"/>
                  <a:pt x="15" y="6"/>
                  <a:pt x="15" y="6"/>
                </a:cubicBezTo>
                <a:cubicBezTo>
                  <a:pt x="14" y="6"/>
                  <a:pt x="14" y="6"/>
                  <a:pt x="14" y="6"/>
                </a:cubicBezTo>
                <a:cubicBezTo>
                  <a:pt x="13" y="5"/>
                  <a:pt x="13" y="5"/>
                  <a:pt x="13" y="5"/>
                </a:cubicBezTo>
                <a:cubicBezTo>
                  <a:pt x="12" y="5"/>
                  <a:pt x="12" y="5"/>
                  <a:pt x="12" y="5"/>
                </a:cubicBezTo>
                <a:cubicBezTo>
                  <a:pt x="12" y="4"/>
                  <a:pt x="12" y="4"/>
                  <a:pt x="12" y="4"/>
                </a:cubicBezTo>
                <a:cubicBezTo>
                  <a:pt x="11" y="4"/>
                  <a:pt x="11" y="4"/>
                  <a:pt x="11" y="4"/>
                </a:cubicBezTo>
                <a:cubicBezTo>
                  <a:pt x="10" y="3"/>
                  <a:pt x="10" y="3"/>
                  <a:pt x="10" y="3"/>
                </a:cubicBezTo>
                <a:cubicBezTo>
                  <a:pt x="10" y="3"/>
                  <a:pt x="10" y="3"/>
                  <a:pt x="10" y="3"/>
                </a:cubicBezTo>
                <a:cubicBezTo>
                  <a:pt x="10" y="3"/>
                  <a:pt x="10" y="3"/>
                  <a:pt x="10" y="3"/>
                </a:cubicBezTo>
                <a:cubicBezTo>
                  <a:pt x="9" y="2"/>
                  <a:pt x="9" y="2"/>
                  <a:pt x="9" y="2"/>
                </a:cubicBezTo>
                <a:cubicBezTo>
                  <a:pt x="8" y="1"/>
                  <a:pt x="8" y="1"/>
                  <a:pt x="8" y="1"/>
                </a:cubicBezTo>
                <a:cubicBezTo>
                  <a:pt x="7" y="1"/>
                  <a:pt x="7" y="1"/>
                  <a:pt x="7" y="1"/>
                </a:cubicBezTo>
                <a:cubicBezTo>
                  <a:pt x="7" y="0"/>
                  <a:pt x="7" y="0"/>
                  <a:pt x="7" y="0"/>
                </a:cubicBezTo>
                <a:cubicBezTo>
                  <a:pt x="6" y="0"/>
                  <a:pt x="6" y="0"/>
                  <a:pt x="6" y="0"/>
                </a:cubicBezTo>
                <a:cubicBezTo>
                  <a:pt x="5" y="0"/>
                  <a:pt x="5" y="0"/>
                  <a:pt x="5" y="0"/>
                </a:cubicBezTo>
                <a:cubicBezTo>
                  <a:pt x="5" y="1"/>
                  <a:pt x="5" y="1"/>
                  <a:pt x="5" y="1"/>
                </a:cubicBezTo>
                <a:cubicBezTo>
                  <a:pt x="5" y="1"/>
                  <a:pt x="5" y="1"/>
                  <a:pt x="5" y="1"/>
                </a:cubicBezTo>
                <a:cubicBezTo>
                  <a:pt x="5" y="2"/>
                  <a:pt x="5" y="2"/>
                  <a:pt x="5" y="2"/>
                </a:cubicBezTo>
                <a:cubicBezTo>
                  <a:pt x="4" y="3"/>
                  <a:pt x="4" y="3"/>
                  <a:pt x="4" y="3"/>
                </a:cubicBezTo>
                <a:cubicBezTo>
                  <a:pt x="4" y="3"/>
                  <a:pt x="4" y="3"/>
                  <a:pt x="4" y="3"/>
                </a:cubicBezTo>
                <a:cubicBezTo>
                  <a:pt x="4" y="4"/>
                  <a:pt x="4" y="4"/>
                  <a:pt x="4" y="4"/>
                </a:cubicBezTo>
                <a:cubicBezTo>
                  <a:pt x="4" y="4"/>
                  <a:pt x="4" y="4"/>
                  <a:pt x="4" y="4"/>
                </a:cubicBezTo>
                <a:cubicBezTo>
                  <a:pt x="3" y="5"/>
                  <a:pt x="3" y="5"/>
                  <a:pt x="3" y="5"/>
                </a:cubicBezTo>
                <a:cubicBezTo>
                  <a:pt x="2" y="5"/>
                  <a:pt x="2" y="5"/>
                  <a:pt x="2" y="5"/>
                </a:cubicBezTo>
                <a:cubicBezTo>
                  <a:pt x="3" y="5"/>
                  <a:pt x="3" y="6"/>
                  <a:pt x="3" y="6"/>
                </a:cubicBezTo>
                <a:cubicBezTo>
                  <a:pt x="2" y="6"/>
                  <a:pt x="2" y="6"/>
                  <a:pt x="2" y="7"/>
                </a:cubicBezTo>
                <a:cubicBezTo>
                  <a:pt x="2" y="7"/>
                  <a:pt x="1" y="7"/>
                  <a:pt x="1" y="7"/>
                </a:cubicBezTo>
                <a:cubicBezTo>
                  <a:pt x="0" y="6"/>
                  <a:pt x="1" y="8"/>
                  <a:pt x="1" y="8"/>
                </a:cubicBezTo>
                <a:cubicBezTo>
                  <a:pt x="1" y="8"/>
                  <a:pt x="0" y="9"/>
                  <a:pt x="1" y="9"/>
                </a:cubicBezTo>
                <a:cubicBezTo>
                  <a:pt x="1" y="10"/>
                  <a:pt x="1" y="10"/>
                  <a:pt x="2" y="10"/>
                </a:cubicBezTo>
                <a:cubicBezTo>
                  <a:pt x="2" y="11"/>
                  <a:pt x="2" y="11"/>
                  <a:pt x="2" y="11"/>
                </a:cubicBezTo>
                <a:cubicBezTo>
                  <a:pt x="3" y="12"/>
                  <a:pt x="3" y="12"/>
                  <a:pt x="4" y="12"/>
                </a:cubicBezTo>
                <a:cubicBezTo>
                  <a:pt x="4" y="12"/>
                  <a:pt x="5" y="13"/>
                  <a:pt x="5" y="13"/>
                </a:cubicBezTo>
                <a:cubicBezTo>
                  <a:pt x="5" y="14"/>
                  <a:pt x="5" y="14"/>
                  <a:pt x="5" y="15"/>
                </a:cubicBezTo>
                <a:cubicBezTo>
                  <a:pt x="6" y="15"/>
                  <a:pt x="5" y="16"/>
                  <a:pt x="6" y="17"/>
                </a:cubicBezTo>
                <a:cubicBezTo>
                  <a:pt x="6" y="17"/>
                  <a:pt x="7" y="16"/>
                  <a:pt x="7" y="15"/>
                </a:cubicBezTo>
                <a:cubicBezTo>
                  <a:pt x="7" y="14"/>
                  <a:pt x="7" y="14"/>
                  <a:pt x="8" y="14"/>
                </a:cubicBezTo>
                <a:cubicBezTo>
                  <a:pt x="9" y="13"/>
                  <a:pt x="9" y="13"/>
                  <a:pt x="10" y="13"/>
                </a:cubicBezTo>
                <a:cubicBezTo>
                  <a:pt x="11" y="13"/>
                  <a:pt x="11" y="14"/>
                  <a:pt x="11" y="14"/>
                </a:cubicBezTo>
                <a:cubicBezTo>
                  <a:pt x="12" y="14"/>
                  <a:pt x="12" y="12"/>
                  <a:pt x="13" y="13"/>
                </a:cubicBezTo>
                <a:cubicBezTo>
                  <a:pt x="12" y="12"/>
                  <a:pt x="14" y="12"/>
                  <a:pt x="14" y="12"/>
                </a:cubicBezTo>
                <a:cubicBezTo>
                  <a:pt x="14" y="12"/>
                  <a:pt x="15" y="12"/>
                  <a:pt x="15" y="12"/>
                </a:cubicBezTo>
                <a:cubicBezTo>
                  <a:pt x="14" y="11"/>
                  <a:pt x="14" y="11"/>
                  <a:pt x="14" y="11"/>
                </a:cubicBezTo>
                <a:lnTo>
                  <a:pt x="13" y="10"/>
                </a:ln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3" name="Kenya"/>
          <p:cNvSpPr>
            <a:spLocks noEditPoints="1"/>
          </p:cNvSpPr>
          <p:nvPr/>
        </p:nvSpPr>
        <p:spPr bwMode="auto">
          <a:xfrm>
            <a:off x="6984038" y="4457945"/>
            <a:ext cx="277990" cy="393985"/>
          </a:xfrm>
          <a:custGeom>
            <a:avLst/>
            <a:gdLst/>
            <a:ahLst/>
            <a:cxnLst>
              <a:cxn ang="0">
                <a:pos x="68" y="64"/>
              </a:cxn>
              <a:cxn ang="0">
                <a:pos x="68" y="29"/>
              </a:cxn>
              <a:cxn ang="0">
                <a:pos x="77" y="14"/>
              </a:cxn>
              <a:cxn ang="0">
                <a:pos x="73" y="14"/>
              </a:cxn>
              <a:cxn ang="0">
                <a:pos x="68" y="12"/>
              </a:cxn>
              <a:cxn ang="0">
                <a:pos x="64" y="11"/>
              </a:cxn>
              <a:cxn ang="0">
                <a:pos x="55" y="19"/>
              </a:cxn>
              <a:cxn ang="0">
                <a:pos x="52" y="19"/>
              </a:cxn>
              <a:cxn ang="0">
                <a:pos x="44" y="17"/>
              </a:cxn>
              <a:cxn ang="0">
                <a:pos x="38" y="16"/>
              </a:cxn>
              <a:cxn ang="0">
                <a:pos x="24" y="8"/>
              </a:cxn>
              <a:cxn ang="0">
                <a:pos x="17" y="6"/>
              </a:cxn>
              <a:cxn ang="0">
                <a:pos x="13" y="2"/>
              </a:cxn>
              <a:cxn ang="0">
                <a:pos x="9" y="3"/>
              </a:cxn>
              <a:cxn ang="0">
                <a:pos x="0" y="11"/>
              </a:cxn>
              <a:cxn ang="0">
                <a:pos x="1" y="14"/>
              </a:cxn>
              <a:cxn ang="0">
                <a:pos x="2" y="16"/>
              </a:cxn>
              <a:cxn ang="0">
                <a:pos x="5" y="17"/>
              </a:cxn>
              <a:cxn ang="0">
                <a:pos x="5" y="22"/>
              </a:cxn>
              <a:cxn ang="0">
                <a:pos x="8" y="28"/>
              </a:cxn>
              <a:cxn ang="0">
                <a:pos x="9" y="31"/>
              </a:cxn>
              <a:cxn ang="0">
                <a:pos x="10" y="38"/>
              </a:cxn>
              <a:cxn ang="0">
                <a:pos x="8" y="42"/>
              </a:cxn>
              <a:cxn ang="0">
                <a:pos x="6" y="45"/>
              </a:cxn>
              <a:cxn ang="0">
                <a:pos x="3" y="49"/>
              </a:cxn>
              <a:cxn ang="0">
                <a:pos x="1" y="54"/>
              </a:cxn>
              <a:cxn ang="0">
                <a:pos x="1" y="58"/>
              </a:cxn>
              <a:cxn ang="0">
                <a:pos x="3" y="60"/>
              </a:cxn>
              <a:cxn ang="0">
                <a:pos x="3" y="62"/>
              </a:cxn>
              <a:cxn ang="0">
                <a:pos x="6" y="59"/>
              </a:cxn>
              <a:cxn ang="0">
                <a:pos x="9" y="61"/>
              </a:cxn>
              <a:cxn ang="0">
                <a:pos x="5" y="62"/>
              </a:cxn>
              <a:cxn ang="0">
                <a:pos x="4" y="62"/>
              </a:cxn>
              <a:cxn ang="0">
                <a:pos x="2" y="63"/>
              </a:cxn>
              <a:cxn ang="0">
                <a:pos x="1" y="66"/>
              </a:cxn>
              <a:cxn ang="0">
                <a:pos x="2" y="68"/>
              </a:cxn>
              <a:cxn ang="0">
                <a:pos x="20" y="80"/>
              </a:cxn>
              <a:cxn ang="0">
                <a:pos x="36" y="92"/>
              </a:cxn>
              <a:cxn ang="0">
                <a:pos x="35" y="96"/>
              </a:cxn>
              <a:cxn ang="0">
                <a:pos x="39" y="99"/>
              </a:cxn>
              <a:cxn ang="0">
                <a:pos x="51" y="108"/>
              </a:cxn>
              <a:cxn ang="0">
                <a:pos x="53" y="107"/>
              </a:cxn>
              <a:cxn ang="0">
                <a:pos x="55" y="104"/>
              </a:cxn>
              <a:cxn ang="0">
                <a:pos x="55" y="102"/>
              </a:cxn>
              <a:cxn ang="0">
                <a:pos x="56" y="101"/>
              </a:cxn>
              <a:cxn ang="0">
                <a:pos x="57" y="99"/>
              </a:cxn>
              <a:cxn ang="0">
                <a:pos x="58" y="94"/>
              </a:cxn>
              <a:cxn ang="0">
                <a:pos x="61" y="90"/>
              </a:cxn>
              <a:cxn ang="0">
                <a:pos x="63" y="85"/>
              </a:cxn>
              <a:cxn ang="0">
                <a:pos x="66" y="82"/>
              </a:cxn>
              <a:cxn ang="0">
                <a:pos x="68" y="82"/>
              </a:cxn>
              <a:cxn ang="0">
                <a:pos x="67" y="79"/>
              </a:cxn>
              <a:cxn ang="0">
                <a:pos x="69" y="80"/>
              </a:cxn>
              <a:cxn ang="0">
                <a:pos x="72" y="78"/>
              </a:cxn>
              <a:cxn ang="0">
                <a:pos x="70" y="80"/>
              </a:cxn>
              <a:cxn ang="0">
                <a:pos x="68" y="81"/>
              </a:cxn>
              <a:cxn ang="0">
                <a:pos x="69" y="80"/>
              </a:cxn>
            </a:cxnLst>
            <a:rect l="0" t="0" r="r" b="b"/>
            <a:pathLst>
              <a:path w="77" h="109">
                <a:moveTo>
                  <a:pt x="72" y="72"/>
                </a:moveTo>
                <a:cubicBezTo>
                  <a:pt x="71" y="70"/>
                  <a:pt x="70" y="69"/>
                  <a:pt x="69" y="68"/>
                </a:cubicBezTo>
                <a:cubicBezTo>
                  <a:pt x="68" y="67"/>
                  <a:pt x="68" y="66"/>
                  <a:pt x="68" y="64"/>
                </a:cubicBezTo>
                <a:cubicBezTo>
                  <a:pt x="68" y="63"/>
                  <a:pt x="68" y="61"/>
                  <a:pt x="68" y="59"/>
                </a:cubicBezTo>
                <a:cubicBezTo>
                  <a:pt x="68" y="56"/>
                  <a:pt x="68" y="53"/>
                  <a:pt x="68" y="49"/>
                </a:cubicBezTo>
                <a:cubicBezTo>
                  <a:pt x="68" y="42"/>
                  <a:pt x="68" y="36"/>
                  <a:pt x="68" y="29"/>
                </a:cubicBezTo>
                <a:cubicBezTo>
                  <a:pt x="68" y="27"/>
                  <a:pt x="68" y="26"/>
                  <a:pt x="69" y="25"/>
                </a:cubicBezTo>
                <a:cubicBezTo>
                  <a:pt x="70" y="24"/>
                  <a:pt x="71" y="23"/>
                  <a:pt x="72" y="22"/>
                </a:cubicBezTo>
                <a:cubicBezTo>
                  <a:pt x="74" y="19"/>
                  <a:pt x="75" y="16"/>
                  <a:pt x="77" y="14"/>
                </a:cubicBezTo>
                <a:cubicBezTo>
                  <a:pt x="76" y="14"/>
                  <a:pt x="76" y="13"/>
                  <a:pt x="75" y="13"/>
                </a:cubicBezTo>
                <a:cubicBezTo>
                  <a:pt x="75" y="14"/>
                  <a:pt x="74" y="13"/>
                  <a:pt x="74" y="14"/>
                </a:cubicBezTo>
                <a:cubicBezTo>
                  <a:pt x="73" y="14"/>
                  <a:pt x="73" y="14"/>
                  <a:pt x="73" y="14"/>
                </a:cubicBezTo>
                <a:cubicBezTo>
                  <a:pt x="72" y="14"/>
                  <a:pt x="72" y="14"/>
                  <a:pt x="71" y="14"/>
                </a:cubicBezTo>
                <a:cubicBezTo>
                  <a:pt x="70" y="14"/>
                  <a:pt x="70" y="14"/>
                  <a:pt x="69" y="14"/>
                </a:cubicBezTo>
                <a:cubicBezTo>
                  <a:pt x="69" y="13"/>
                  <a:pt x="69" y="13"/>
                  <a:pt x="68" y="12"/>
                </a:cubicBezTo>
                <a:cubicBezTo>
                  <a:pt x="68" y="12"/>
                  <a:pt x="67" y="12"/>
                  <a:pt x="67" y="11"/>
                </a:cubicBezTo>
                <a:cubicBezTo>
                  <a:pt x="67" y="11"/>
                  <a:pt x="66" y="11"/>
                  <a:pt x="66" y="10"/>
                </a:cubicBezTo>
                <a:cubicBezTo>
                  <a:pt x="65" y="11"/>
                  <a:pt x="65" y="11"/>
                  <a:pt x="64" y="11"/>
                </a:cubicBezTo>
                <a:cubicBezTo>
                  <a:pt x="63" y="11"/>
                  <a:pt x="63" y="12"/>
                  <a:pt x="62" y="12"/>
                </a:cubicBezTo>
                <a:cubicBezTo>
                  <a:pt x="61" y="13"/>
                  <a:pt x="60" y="13"/>
                  <a:pt x="59" y="14"/>
                </a:cubicBezTo>
                <a:cubicBezTo>
                  <a:pt x="57" y="15"/>
                  <a:pt x="56" y="17"/>
                  <a:pt x="55" y="19"/>
                </a:cubicBezTo>
                <a:cubicBezTo>
                  <a:pt x="54" y="19"/>
                  <a:pt x="54" y="20"/>
                  <a:pt x="54" y="20"/>
                </a:cubicBezTo>
                <a:cubicBezTo>
                  <a:pt x="54" y="19"/>
                  <a:pt x="53" y="19"/>
                  <a:pt x="52" y="19"/>
                </a:cubicBezTo>
                <a:cubicBezTo>
                  <a:pt x="52" y="19"/>
                  <a:pt x="52" y="19"/>
                  <a:pt x="52" y="19"/>
                </a:cubicBezTo>
                <a:cubicBezTo>
                  <a:pt x="51" y="19"/>
                  <a:pt x="51" y="19"/>
                  <a:pt x="51" y="19"/>
                </a:cubicBezTo>
                <a:cubicBezTo>
                  <a:pt x="49" y="18"/>
                  <a:pt x="48" y="19"/>
                  <a:pt x="47" y="18"/>
                </a:cubicBezTo>
                <a:cubicBezTo>
                  <a:pt x="46" y="18"/>
                  <a:pt x="45" y="17"/>
                  <a:pt x="44" y="17"/>
                </a:cubicBezTo>
                <a:cubicBezTo>
                  <a:pt x="44" y="17"/>
                  <a:pt x="43" y="18"/>
                  <a:pt x="43" y="18"/>
                </a:cubicBezTo>
                <a:cubicBezTo>
                  <a:pt x="42" y="18"/>
                  <a:pt x="41" y="18"/>
                  <a:pt x="41" y="17"/>
                </a:cubicBezTo>
                <a:cubicBezTo>
                  <a:pt x="40" y="17"/>
                  <a:pt x="39" y="16"/>
                  <a:pt x="38" y="16"/>
                </a:cubicBezTo>
                <a:cubicBezTo>
                  <a:pt x="36" y="14"/>
                  <a:pt x="33" y="12"/>
                  <a:pt x="31" y="11"/>
                </a:cubicBezTo>
                <a:cubicBezTo>
                  <a:pt x="30" y="10"/>
                  <a:pt x="29" y="9"/>
                  <a:pt x="28" y="9"/>
                </a:cubicBezTo>
                <a:cubicBezTo>
                  <a:pt x="27" y="8"/>
                  <a:pt x="25" y="8"/>
                  <a:pt x="24" y="8"/>
                </a:cubicBezTo>
                <a:cubicBezTo>
                  <a:pt x="23" y="8"/>
                  <a:pt x="22" y="8"/>
                  <a:pt x="21" y="8"/>
                </a:cubicBezTo>
                <a:cubicBezTo>
                  <a:pt x="20" y="8"/>
                  <a:pt x="19" y="7"/>
                  <a:pt x="19" y="6"/>
                </a:cubicBezTo>
                <a:cubicBezTo>
                  <a:pt x="18" y="6"/>
                  <a:pt x="17" y="6"/>
                  <a:pt x="17" y="6"/>
                </a:cubicBezTo>
                <a:cubicBezTo>
                  <a:pt x="16" y="6"/>
                  <a:pt x="15" y="5"/>
                  <a:pt x="15" y="5"/>
                </a:cubicBezTo>
                <a:cubicBezTo>
                  <a:pt x="15" y="4"/>
                  <a:pt x="15" y="4"/>
                  <a:pt x="15" y="3"/>
                </a:cubicBezTo>
                <a:cubicBezTo>
                  <a:pt x="14" y="2"/>
                  <a:pt x="14" y="3"/>
                  <a:pt x="13" y="2"/>
                </a:cubicBezTo>
                <a:cubicBezTo>
                  <a:pt x="13" y="2"/>
                  <a:pt x="14" y="0"/>
                  <a:pt x="13" y="2"/>
                </a:cubicBezTo>
                <a:cubicBezTo>
                  <a:pt x="12" y="2"/>
                  <a:pt x="12" y="2"/>
                  <a:pt x="12" y="2"/>
                </a:cubicBezTo>
                <a:cubicBezTo>
                  <a:pt x="11" y="2"/>
                  <a:pt x="10" y="3"/>
                  <a:pt x="9" y="3"/>
                </a:cubicBezTo>
                <a:cubicBezTo>
                  <a:pt x="7" y="4"/>
                  <a:pt x="5" y="5"/>
                  <a:pt x="4" y="7"/>
                </a:cubicBezTo>
                <a:cubicBezTo>
                  <a:pt x="4" y="7"/>
                  <a:pt x="4" y="7"/>
                  <a:pt x="4" y="7"/>
                </a:cubicBezTo>
                <a:cubicBezTo>
                  <a:pt x="3" y="8"/>
                  <a:pt x="1" y="9"/>
                  <a:pt x="0" y="11"/>
                </a:cubicBezTo>
                <a:cubicBezTo>
                  <a:pt x="1" y="11"/>
                  <a:pt x="1" y="12"/>
                  <a:pt x="1" y="12"/>
                </a:cubicBezTo>
                <a:cubicBezTo>
                  <a:pt x="1" y="13"/>
                  <a:pt x="1" y="13"/>
                  <a:pt x="1" y="14"/>
                </a:cubicBezTo>
                <a:cubicBezTo>
                  <a:pt x="1" y="14"/>
                  <a:pt x="2" y="14"/>
                  <a:pt x="1" y="14"/>
                </a:cubicBezTo>
                <a:cubicBezTo>
                  <a:pt x="1" y="15"/>
                  <a:pt x="2" y="14"/>
                  <a:pt x="2" y="15"/>
                </a:cubicBezTo>
                <a:cubicBezTo>
                  <a:pt x="3" y="15"/>
                  <a:pt x="2" y="15"/>
                  <a:pt x="2" y="15"/>
                </a:cubicBezTo>
                <a:cubicBezTo>
                  <a:pt x="2" y="15"/>
                  <a:pt x="2" y="16"/>
                  <a:pt x="2" y="16"/>
                </a:cubicBezTo>
                <a:cubicBezTo>
                  <a:pt x="2" y="16"/>
                  <a:pt x="3" y="16"/>
                  <a:pt x="3" y="16"/>
                </a:cubicBezTo>
                <a:cubicBezTo>
                  <a:pt x="3" y="16"/>
                  <a:pt x="3" y="17"/>
                  <a:pt x="3" y="16"/>
                </a:cubicBezTo>
                <a:cubicBezTo>
                  <a:pt x="4" y="16"/>
                  <a:pt x="4" y="17"/>
                  <a:pt x="5" y="17"/>
                </a:cubicBezTo>
                <a:cubicBezTo>
                  <a:pt x="5" y="17"/>
                  <a:pt x="5" y="18"/>
                  <a:pt x="5" y="18"/>
                </a:cubicBezTo>
                <a:cubicBezTo>
                  <a:pt x="5" y="18"/>
                  <a:pt x="5" y="18"/>
                  <a:pt x="4" y="19"/>
                </a:cubicBezTo>
                <a:cubicBezTo>
                  <a:pt x="4" y="20"/>
                  <a:pt x="5" y="21"/>
                  <a:pt x="5" y="22"/>
                </a:cubicBezTo>
                <a:cubicBezTo>
                  <a:pt x="5" y="23"/>
                  <a:pt x="6" y="23"/>
                  <a:pt x="6" y="23"/>
                </a:cubicBezTo>
                <a:cubicBezTo>
                  <a:pt x="6" y="24"/>
                  <a:pt x="6" y="26"/>
                  <a:pt x="7" y="26"/>
                </a:cubicBezTo>
                <a:cubicBezTo>
                  <a:pt x="8" y="26"/>
                  <a:pt x="8" y="27"/>
                  <a:pt x="8" y="28"/>
                </a:cubicBezTo>
                <a:cubicBezTo>
                  <a:pt x="8" y="28"/>
                  <a:pt x="8" y="28"/>
                  <a:pt x="8" y="29"/>
                </a:cubicBezTo>
                <a:cubicBezTo>
                  <a:pt x="9" y="29"/>
                  <a:pt x="9" y="29"/>
                  <a:pt x="9" y="29"/>
                </a:cubicBezTo>
                <a:cubicBezTo>
                  <a:pt x="9" y="29"/>
                  <a:pt x="10" y="30"/>
                  <a:pt x="9" y="31"/>
                </a:cubicBezTo>
                <a:cubicBezTo>
                  <a:pt x="9" y="31"/>
                  <a:pt x="9" y="33"/>
                  <a:pt x="10" y="33"/>
                </a:cubicBezTo>
                <a:cubicBezTo>
                  <a:pt x="10" y="34"/>
                  <a:pt x="10" y="35"/>
                  <a:pt x="10" y="36"/>
                </a:cubicBezTo>
                <a:cubicBezTo>
                  <a:pt x="10" y="36"/>
                  <a:pt x="10" y="38"/>
                  <a:pt x="10" y="38"/>
                </a:cubicBezTo>
                <a:cubicBezTo>
                  <a:pt x="10" y="39"/>
                  <a:pt x="10" y="39"/>
                  <a:pt x="10" y="40"/>
                </a:cubicBezTo>
                <a:cubicBezTo>
                  <a:pt x="9" y="40"/>
                  <a:pt x="9" y="40"/>
                  <a:pt x="9" y="41"/>
                </a:cubicBezTo>
                <a:cubicBezTo>
                  <a:pt x="9" y="41"/>
                  <a:pt x="9" y="42"/>
                  <a:pt x="8" y="42"/>
                </a:cubicBezTo>
                <a:cubicBezTo>
                  <a:pt x="8" y="42"/>
                  <a:pt x="8" y="42"/>
                  <a:pt x="8" y="42"/>
                </a:cubicBezTo>
                <a:cubicBezTo>
                  <a:pt x="9" y="43"/>
                  <a:pt x="9" y="44"/>
                  <a:pt x="8" y="44"/>
                </a:cubicBezTo>
                <a:cubicBezTo>
                  <a:pt x="7" y="44"/>
                  <a:pt x="6" y="45"/>
                  <a:pt x="6" y="45"/>
                </a:cubicBezTo>
                <a:cubicBezTo>
                  <a:pt x="5" y="45"/>
                  <a:pt x="5" y="47"/>
                  <a:pt x="5" y="47"/>
                </a:cubicBezTo>
                <a:cubicBezTo>
                  <a:pt x="5" y="48"/>
                  <a:pt x="4" y="48"/>
                  <a:pt x="4" y="49"/>
                </a:cubicBezTo>
                <a:cubicBezTo>
                  <a:pt x="4" y="49"/>
                  <a:pt x="3" y="49"/>
                  <a:pt x="3" y="49"/>
                </a:cubicBezTo>
                <a:cubicBezTo>
                  <a:pt x="3" y="50"/>
                  <a:pt x="3" y="50"/>
                  <a:pt x="2" y="50"/>
                </a:cubicBezTo>
                <a:cubicBezTo>
                  <a:pt x="2" y="51"/>
                  <a:pt x="2" y="52"/>
                  <a:pt x="1" y="53"/>
                </a:cubicBezTo>
                <a:cubicBezTo>
                  <a:pt x="1" y="53"/>
                  <a:pt x="2" y="53"/>
                  <a:pt x="1" y="54"/>
                </a:cubicBezTo>
                <a:cubicBezTo>
                  <a:pt x="1" y="54"/>
                  <a:pt x="1" y="54"/>
                  <a:pt x="1" y="55"/>
                </a:cubicBezTo>
                <a:cubicBezTo>
                  <a:pt x="0" y="55"/>
                  <a:pt x="0" y="56"/>
                  <a:pt x="0" y="57"/>
                </a:cubicBezTo>
                <a:cubicBezTo>
                  <a:pt x="0" y="57"/>
                  <a:pt x="1" y="58"/>
                  <a:pt x="1" y="58"/>
                </a:cubicBezTo>
                <a:cubicBezTo>
                  <a:pt x="1" y="58"/>
                  <a:pt x="1" y="58"/>
                  <a:pt x="2" y="58"/>
                </a:cubicBezTo>
                <a:cubicBezTo>
                  <a:pt x="2" y="58"/>
                  <a:pt x="1" y="58"/>
                  <a:pt x="2" y="59"/>
                </a:cubicBezTo>
                <a:cubicBezTo>
                  <a:pt x="1" y="59"/>
                  <a:pt x="2" y="59"/>
                  <a:pt x="3" y="60"/>
                </a:cubicBezTo>
                <a:cubicBezTo>
                  <a:pt x="3" y="60"/>
                  <a:pt x="3" y="60"/>
                  <a:pt x="3" y="60"/>
                </a:cubicBezTo>
                <a:cubicBezTo>
                  <a:pt x="3" y="60"/>
                  <a:pt x="3" y="61"/>
                  <a:pt x="3" y="61"/>
                </a:cubicBezTo>
                <a:cubicBezTo>
                  <a:pt x="3" y="61"/>
                  <a:pt x="3" y="62"/>
                  <a:pt x="3" y="62"/>
                </a:cubicBezTo>
                <a:cubicBezTo>
                  <a:pt x="3" y="62"/>
                  <a:pt x="4" y="61"/>
                  <a:pt x="4" y="61"/>
                </a:cubicBezTo>
                <a:cubicBezTo>
                  <a:pt x="4" y="60"/>
                  <a:pt x="4" y="60"/>
                  <a:pt x="4" y="59"/>
                </a:cubicBezTo>
                <a:cubicBezTo>
                  <a:pt x="4" y="59"/>
                  <a:pt x="5" y="59"/>
                  <a:pt x="6" y="59"/>
                </a:cubicBezTo>
                <a:cubicBezTo>
                  <a:pt x="6" y="59"/>
                  <a:pt x="6" y="59"/>
                  <a:pt x="7" y="59"/>
                </a:cubicBezTo>
                <a:cubicBezTo>
                  <a:pt x="7" y="58"/>
                  <a:pt x="7" y="58"/>
                  <a:pt x="8" y="58"/>
                </a:cubicBezTo>
                <a:cubicBezTo>
                  <a:pt x="7" y="59"/>
                  <a:pt x="9" y="60"/>
                  <a:pt x="9" y="61"/>
                </a:cubicBezTo>
                <a:cubicBezTo>
                  <a:pt x="8" y="61"/>
                  <a:pt x="8" y="60"/>
                  <a:pt x="8" y="61"/>
                </a:cubicBezTo>
                <a:cubicBezTo>
                  <a:pt x="8" y="61"/>
                  <a:pt x="7" y="61"/>
                  <a:pt x="7" y="61"/>
                </a:cubicBezTo>
                <a:cubicBezTo>
                  <a:pt x="6" y="61"/>
                  <a:pt x="4" y="60"/>
                  <a:pt x="5" y="62"/>
                </a:cubicBezTo>
                <a:cubicBezTo>
                  <a:pt x="5" y="62"/>
                  <a:pt x="5" y="62"/>
                  <a:pt x="5" y="63"/>
                </a:cubicBezTo>
                <a:cubicBezTo>
                  <a:pt x="5" y="63"/>
                  <a:pt x="4" y="63"/>
                  <a:pt x="4" y="63"/>
                </a:cubicBezTo>
                <a:cubicBezTo>
                  <a:pt x="4" y="63"/>
                  <a:pt x="4" y="62"/>
                  <a:pt x="4" y="62"/>
                </a:cubicBezTo>
                <a:cubicBezTo>
                  <a:pt x="4" y="62"/>
                  <a:pt x="4" y="63"/>
                  <a:pt x="3" y="62"/>
                </a:cubicBezTo>
                <a:cubicBezTo>
                  <a:pt x="3" y="63"/>
                  <a:pt x="2" y="61"/>
                  <a:pt x="2" y="63"/>
                </a:cubicBezTo>
                <a:cubicBezTo>
                  <a:pt x="2" y="63"/>
                  <a:pt x="2" y="63"/>
                  <a:pt x="2" y="63"/>
                </a:cubicBezTo>
                <a:cubicBezTo>
                  <a:pt x="1" y="63"/>
                  <a:pt x="1" y="63"/>
                  <a:pt x="1" y="64"/>
                </a:cubicBezTo>
                <a:cubicBezTo>
                  <a:pt x="1" y="64"/>
                  <a:pt x="1" y="64"/>
                  <a:pt x="1" y="65"/>
                </a:cubicBezTo>
                <a:cubicBezTo>
                  <a:pt x="1" y="65"/>
                  <a:pt x="1" y="66"/>
                  <a:pt x="1" y="66"/>
                </a:cubicBezTo>
                <a:cubicBezTo>
                  <a:pt x="2" y="66"/>
                  <a:pt x="2" y="66"/>
                  <a:pt x="2" y="67"/>
                </a:cubicBezTo>
                <a:cubicBezTo>
                  <a:pt x="2" y="67"/>
                  <a:pt x="2" y="67"/>
                  <a:pt x="2" y="67"/>
                </a:cubicBezTo>
                <a:cubicBezTo>
                  <a:pt x="2" y="68"/>
                  <a:pt x="2" y="68"/>
                  <a:pt x="2" y="68"/>
                </a:cubicBezTo>
                <a:cubicBezTo>
                  <a:pt x="1" y="68"/>
                  <a:pt x="1" y="68"/>
                  <a:pt x="1" y="68"/>
                </a:cubicBezTo>
                <a:cubicBezTo>
                  <a:pt x="1" y="68"/>
                  <a:pt x="2" y="68"/>
                  <a:pt x="1" y="69"/>
                </a:cubicBezTo>
                <a:cubicBezTo>
                  <a:pt x="7" y="73"/>
                  <a:pt x="13" y="76"/>
                  <a:pt x="20" y="80"/>
                </a:cubicBezTo>
                <a:cubicBezTo>
                  <a:pt x="23" y="82"/>
                  <a:pt x="26" y="84"/>
                  <a:pt x="29" y="86"/>
                </a:cubicBezTo>
                <a:cubicBezTo>
                  <a:pt x="30" y="87"/>
                  <a:pt x="32" y="88"/>
                  <a:pt x="34" y="89"/>
                </a:cubicBezTo>
                <a:cubicBezTo>
                  <a:pt x="35" y="90"/>
                  <a:pt x="36" y="90"/>
                  <a:pt x="36" y="92"/>
                </a:cubicBezTo>
                <a:cubicBezTo>
                  <a:pt x="36" y="92"/>
                  <a:pt x="36" y="93"/>
                  <a:pt x="36" y="94"/>
                </a:cubicBezTo>
                <a:cubicBezTo>
                  <a:pt x="36" y="94"/>
                  <a:pt x="36" y="94"/>
                  <a:pt x="35" y="95"/>
                </a:cubicBezTo>
                <a:cubicBezTo>
                  <a:pt x="35" y="95"/>
                  <a:pt x="35" y="96"/>
                  <a:pt x="35" y="96"/>
                </a:cubicBezTo>
                <a:cubicBezTo>
                  <a:pt x="36" y="96"/>
                  <a:pt x="36" y="96"/>
                  <a:pt x="36" y="96"/>
                </a:cubicBezTo>
                <a:cubicBezTo>
                  <a:pt x="37" y="96"/>
                  <a:pt x="37" y="97"/>
                  <a:pt x="37" y="97"/>
                </a:cubicBezTo>
                <a:cubicBezTo>
                  <a:pt x="38" y="98"/>
                  <a:pt x="38" y="98"/>
                  <a:pt x="39" y="99"/>
                </a:cubicBezTo>
                <a:cubicBezTo>
                  <a:pt x="40" y="100"/>
                  <a:pt x="42" y="101"/>
                  <a:pt x="43" y="102"/>
                </a:cubicBezTo>
                <a:cubicBezTo>
                  <a:pt x="45" y="104"/>
                  <a:pt x="47" y="106"/>
                  <a:pt x="50" y="108"/>
                </a:cubicBezTo>
                <a:cubicBezTo>
                  <a:pt x="50" y="108"/>
                  <a:pt x="50" y="108"/>
                  <a:pt x="51" y="108"/>
                </a:cubicBezTo>
                <a:cubicBezTo>
                  <a:pt x="51" y="108"/>
                  <a:pt x="51" y="108"/>
                  <a:pt x="52" y="108"/>
                </a:cubicBezTo>
                <a:cubicBezTo>
                  <a:pt x="52" y="108"/>
                  <a:pt x="53" y="109"/>
                  <a:pt x="52" y="108"/>
                </a:cubicBezTo>
                <a:cubicBezTo>
                  <a:pt x="52" y="107"/>
                  <a:pt x="53" y="107"/>
                  <a:pt x="53" y="107"/>
                </a:cubicBezTo>
                <a:cubicBezTo>
                  <a:pt x="53" y="107"/>
                  <a:pt x="53" y="107"/>
                  <a:pt x="53" y="108"/>
                </a:cubicBezTo>
                <a:cubicBezTo>
                  <a:pt x="53" y="107"/>
                  <a:pt x="54" y="106"/>
                  <a:pt x="54" y="105"/>
                </a:cubicBezTo>
                <a:cubicBezTo>
                  <a:pt x="54" y="105"/>
                  <a:pt x="54" y="104"/>
                  <a:pt x="55" y="104"/>
                </a:cubicBezTo>
                <a:cubicBezTo>
                  <a:pt x="55" y="104"/>
                  <a:pt x="55" y="103"/>
                  <a:pt x="55" y="102"/>
                </a:cubicBezTo>
                <a:cubicBezTo>
                  <a:pt x="55" y="102"/>
                  <a:pt x="55" y="102"/>
                  <a:pt x="54" y="102"/>
                </a:cubicBezTo>
                <a:cubicBezTo>
                  <a:pt x="54" y="102"/>
                  <a:pt x="54" y="102"/>
                  <a:pt x="55" y="102"/>
                </a:cubicBezTo>
                <a:cubicBezTo>
                  <a:pt x="55" y="102"/>
                  <a:pt x="55" y="101"/>
                  <a:pt x="55" y="101"/>
                </a:cubicBezTo>
                <a:cubicBezTo>
                  <a:pt x="55" y="101"/>
                  <a:pt x="55" y="101"/>
                  <a:pt x="55" y="101"/>
                </a:cubicBezTo>
                <a:cubicBezTo>
                  <a:pt x="55" y="102"/>
                  <a:pt x="56" y="101"/>
                  <a:pt x="56" y="101"/>
                </a:cubicBezTo>
                <a:cubicBezTo>
                  <a:pt x="56" y="101"/>
                  <a:pt x="55" y="101"/>
                  <a:pt x="56" y="100"/>
                </a:cubicBezTo>
                <a:cubicBezTo>
                  <a:pt x="56" y="101"/>
                  <a:pt x="56" y="101"/>
                  <a:pt x="56" y="100"/>
                </a:cubicBezTo>
                <a:cubicBezTo>
                  <a:pt x="57" y="100"/>
                  <a:pt x="57" y="99"/>
                  <a:pt x="57" y="99"/>
                </a:cubicBezTo>
                <a:cubicBezTo>
                  <a:pt x="57" y="98"/>
                  <a:pt x="57" y="98"/>
                  <a:pt x="57" y="97"/>
                </a:cubicBezTo>
                <a:cubicBezTo>
                  <a:pt x="57" y="97"/>
                  <a:pt x="56" y="97"/>
                  <a:pt x="56" y="97"/>
                </a:cubicBezTo>
                <a:cubicBezTo>
                  <a:pt x="58" y="98"/>
                  <a:pt x="58" y="94"/>
                  <a:pt x="58" y="94"/>
                </a:cubicBezTo>
                <a:cubicBezTo>
                  <a:pt x="58" y="95"/>
                  <a:pt x="59" y="94"/>
                  <a:pt x="60" y="93"/>
                </a:cubicBezTo>
                <a:cubicBezTo>
                  <a:pt x="60" y="93"/>
                  <a:pt x="60" y="92"/>
                  <a:pt x="60" y="91"/>
                </a:cubicBezTo>
                <a:cubicBezTo>
                  <a:pt x="60" y="91"/>
                  <a:pt x="61" y="90"/>
                  <a:pt x="61" y="90"/>
                </a:cubicBezTo>
                <a:cubicBezTo>
                  <a:pt x="60" y="91"/>
                  <a:pt x="60" y="89"/>
                  <a:pt x="60" y="88"/>
                </a:cubicBezTo>
                <a:cubicBezTo>
                  <a:pt x="60" y="88"/>
                  <a:pt x="60" y="87"/>
                  <a:pt x="61" y="86"/>
                </a:cubicBezTo>
                <a:cubicBezTo>
                  <a:pt x="62" y="86"/>
                  <a:pt x="62" y="85"/>
                  <a:pt x="63" y="85"/>
                </a:cubicBezTo>
                <a:cubicBezTo>
                  <a:pt x="64" y="85"/>
                  <a:pt x="64" y="86"/>
                  <a:pt x="65" y="85"/>
                </a:cubicBezTo>
                <a:cubicBezTo>
                  <a:pt x="65" y="85"/>
                  <a:pt x="66" y="84"/>
                  <a:pt x="66" y="84"/>
                </a:cubicBezTo>
                <a:cubicBezTo>
                  <a:pt x="67" y="83"/>
                  <a:pt x="66" y="83"/>
                  <a:pt x="66" y="82"/>
                </a:cubicBezTo>
                <a:cubicBezTo>
                  <a:pt x="67" y="82"/>
                  <a:pt x="67" y="82"/>
                  <a:pt x="68" y="82"/>
                </a:cubicBezTo>
                <a:cubicBezTo>
                  <a:pt x="68" y="82"/>
                  <a:pt x="68" y="83"/>
                  <a:pt x="68" y="83"/>
                </a:cubicBezTo>
                <a:cubicBezTo>
                  <a:pt x="68" y="83"/>
                  <a:pt x="68" y="82"/>
                  <a:pt x="68" y="82"/>
                </a:cubicBezTo>
                <a:cubicBezTo>
                  <a:pt x="68" y="82"/>
                  <a:pt x="67" y="82"/>
                  <a:pt x="67" y="81"/>
                </a:cubicBezTo>
                <a:cubicBezTo>
                  <a:pt x="67" y="81"/>
                  <a:pt x="67" y="80"/>
                  <a:pt x="67" y="79"/>
                </a:cubicBezTo>
                <a:cubicBezTo>
                  <a:pt x="67" y="79"/>
                  <a:pt x="67" y="79"/>
                  <a:pt x="67" y="79"/>
                </a:cubicBezTo>
                <a:cubicBezTo>
                  <a:pt x="67" y="79"/>
                  <a:pt x="68" y="80"/>
                  <a:pt x="68" y="80"/>
                </a:cubicBezTo>
                <a:cubicBezTo>
                  <a:pt x="68" y="80"/>
                  <a:pt x="68" y="78"/>
                  <a:pt x="68" y="78"/>
                </a:cubicBezTo>
                <a:cubicBezTo>
                  <a:pt x="68" y="78"/>
                  <a:pt x="68" y="80"/>
                  <a:pt x="69" y="80"/>
                </a:cubicBezTo>
                <a:cubicBezTo>
                  <a:pt x="69" y="79"/>
                  <a:pt x="69" y="79"/>
                  <a:pt x="70" y="79"/>
                </a:cubicBezTo>
                <a:cubicBezTo>
                  <a:pt x="70" y="79"/>
                  <a:pt x="70" y="79"/>
                  <a:pt x="70" y="79"/>
                </a:cubicBezTo>
                <a:cubicBezTo>
                  <a:pt x="71" y="80"/>
                  <a:pt x="72" y="78"/>
                  <a:pt x="72" y="78"/>
                </a:cubicBezTo>
                <a:cubicBezTo>
                  <a:pt x="73" y="77"/>
                  <a:pt x="74" y="76"/>
                  <a:pt x="74" y="75"/>
                </a:cubicBezTo>
                <a:cubicBezTo>
                  <a:pt x="74" y="74"/>
                  <a:pt x="72" y="73"/>
                  <a:pt x="72" y="72"/>
                </a:cubicBezTo>
                <a:close/>
                <a:moveTo>
                  <a:pt x="70" y="80"/>
                </a:moveTo>
                <a:cubicBezTo>
                  <a:pt x="70" y="80"/>
                  <a:pt x="70" y="81"/>
                  <a:pt x="70" y="80"/>
                </a:cubicBezTo>
                <a:cubicBezTo>
                  <a:pt x="70" y="81"/>
                  <a:pt x="69" y="81"/>
                  <a:pt x="69" y="81"/>
                </a:cubicBezTo>
                <a:cubicBezTo>
                  <a:pt x="69" y="81"/>
                  <a:pt x="68" y="81"/>
                  <a:pt x="68" y="81"/>
                </a:cubicBezTo>
                <a:cubicBezTo>
                  <a:pt x="68" y="81"/>
                  <a:pt x="69" y="81"/>
                  <a:pt x="68" y="81"/>
                </a:cubicBezTo>
                <a:cubicBezTo>
                  <a:pt x="68" y="81"/>
                  <a:pt x="68" y="81"/>
                  <a:pt x="68" y="81"/>
                </a:cubicBezTo>
                <a:cubicBezTo>
                  <a:pt x="68" y="80"/>
                  <a:pt x="68" y="80"/>
                  <a:pt x="69" y="80"/>
                </a:cubicBezTo>
                <a:cubicBezTo>
                  <a:pt x="69" y="80"/>
                  <a:pt x="69" y="80"/>
                  <a:pt x="70" y="8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4" name="Kazakhstan"/>
          <p:cNvSpPr>
            <a:spLocks noEditPoints="1"/>
          </p:cNvSpPr>
          <p:nvPr/>
        </p:nvSpPr>
        <p:spPr bwMode="auto">
          <a:xfrm>
            <a:off x="7266026" y="2479019"/>
            <a:ext cx="1245954" cy="574979"/>
          </a:xfrm>
          <a:custGeom>
            <a:avLst/>
            <a:gdLst/>
            <a:ahLst/>
            <a:cxnLst>
              <a:cxn ang="0">
                <a:pos x="119" y="108"/>
              </a:cxn>
              <a:cxn ang="0">
                <a:pos x="335" y="78"/>
              </a:cxn>
              <a:cxn ang="0">
                <a:pos x="316" y="98"/>
              </a:cxn>
              <a:cxn ang="0">
                <a:pos x="300" y="113"/>
              </a:cxn>
              <a:cxn ang="0">
                <a:pos x="311" y="133"/>
              </a:cxn>
              <a:cxn ang="0">
                <a:pos x="299" y="135"/>
              </a:cxn>
              <a:cxn ang="0">
                <a:pos x="269" y="134"/>
              </a:cxn>
              <a:cxn ang="0">
                <a:pos x="248" y="137"/>
              </a:cxn>
              <a:cxn ang="0">
                <a:pos x="227" y="140"/>
              </a:cxn>
              <a:cxn ang="0">
                <a:pos x="212" y="153"/>
              </a:cxn>
              <a:cxn ang="0">
                <a:pos x="191" y="146"/>
              </a:cxn>
              <a:cxn ang="0">
                <a:pos x="152" y="126"/>
              </a:cxn>
              <a:cxn ang="0">
                <a:pos x="120" y="101"/>
              </a:cxn>
              <a:cxn ang="0">
                <a:pos x="120" y="98"/>
              </a:cxn>
              <a:cxn ang="0">
                <a:pos x="113" y="101"/>
              </a:cxn>
              <a:cxn ang="0">
                <a:pos x="91" y="148"/>
              </a:cxn>
              <a:cxn ang="0">
                <a:pos x="66" y="136"/>
              </a:cxn>
              <a:cxn ang="0">
                <a:pos x="41" y="115"/>
              </a:cxn>
              <a:cxn ang="0">
                <a:pos x="47" y="110"/>
              </a:cxn>
              <a:cxn ang="0">
                <a:pos x="71" y="110"/>
              </a:cxn>
              <a:cxn ang="0">
                <a:pos x="71" y="106"/>
              </a:cxn>
              <a:cxn ang="0">
                <a:pos x="51" y="90"/>
              </a:cxn>
              <a:cxn ang="0">
                <a:pos x="38" y="91"/>
              </a:cxn>
              <a:cxn ang="0">
                <a:pos x="29" y="94"/>
              </a:cxn>
              <a:cxn ang="0">
                <a:pos x="23" y="89"/>
              </a:cxn>
              <a:cxn ang="0">
                <a:pos x="1" y="71"/>
              </a:cxn>
              <a:cxn ang="0">
                <a:pos x="16" y="58"/>
              </a:cxn>
              <a:cxn ang="0">
                <a:pos x="23" y="44"/>
              </a:cxn>
              <a:cxn ang="0">
                <a:pos x="36" y="41"/>
              </a:cxn>
              <a:cxn ang="0">
                <a:pos x="52" y="41"/>
              </a:cxn>
              <a:cxn ang="0">
                <a:pos x="67" y="47"/>
              </a:cxn>
              <a:cxn ang="0">
                <a:pos x="84" y="46"/>
              </a:cxn>
              <a:cxn ang="0">
                <a:pos x="104" y="50"/>
              </a:cxn>
              <a:cxn ang="0">
                <a:pos x="113" y="40"/>
              </a:cxn>
              <a:cxn ang="0">
                <a:pos x="109" y="29"/>
              </a:cxn>
              <a:cxn ang="0">
                <a:pos x="110" y="20"/>
              </a:cxn>
              <a:cxn ang="0">
                <a:pos x="110" y="14"/>
              </a:cxn>
              <a:cxn ang="0">
                <a:pos x="128" y="12"/>
              </a:cxn>
              <a:cxn ang="0">
                <a:pos x="151" y="7"/>
              </a:cxn>
              <a:cxn ang="0">
                <a:pos x="164" y="1"/>
              </a:cxn>
              <a:cxn ang="0">
                <a:pos x="179" y="1"/>
              </a:cxn>
              <a:cxn ang="0">
                <a:pos x="191" y="13"/>
              </a:cxn>
              <a:cxn ang="0">
                <a:pos x="200" y="16"/>
              </a:cxn>
              <a:cxn ang="0">
                <a:pos x="210" y="16"/>
              </a:cxn>
              <a:cxn ang="0">
                <a:pos x="219" y="18"/>
              </a:cxn>
              <a:cxn ang="0">
                <a:pos x="234" y="13"/>
              </a:cxn>
              <a:cxn ang="0">
                <a:pos x="279" y="47"/>
              </a:cxn>
              <a:cxn ang="0">
                <a:pos x="295" y="49"/>
              </a:cxn>
              <a:cxn ang="0">
                <a:pos x="316" y="55"/>
              </a:cxn>
              <a:cxn ang="0">
                <a:pos x="332" y="62"/>
              </a:cxn>
              <a:cxn ang="0">
                <a:pos x="132" y="94"/>
              </a:cxn>
              <a:cxn ang="0">
                <a:pos x="122" y="93"/>
              </a:cxn>
              <a:cxn ang="0">
                <a:pos x="132" y="94"/>
              </a:cxn>
              <a:cxn ang="0">
                <a:pos x="279" y="95"/>
              </a:cxn>
              <a:cxn ang="0">
                <a:pos x="261" y="93"/>
              </a:cxn>
              <a:cxn ang="0">
                <a:pos x="245" y="92"/>
              </a:cxn>
              <a:cxn ang="0">
                <a:pos x="240" y="103"/>
              </a:cxn>
              <a:cxn ang="0">
                <a:pos x="247" y="108"/>
              </a:cxn>
              <a:cxn ang="0">
                <a:pos x="251" y="95"/>
              </a:cxn>
              <a:cxn ang="0">
                <a:pos x="258" y="94"/>
              </a:cxn>
              <a:cxn ang="0">
                <a:pos x="274" y="95"/>
              </a:cxn>
            </a:cxnLst>
            <a:rect l="0" t="0" r="r" b="b"/>
            <a:pathLst>
              <a:path w="345" h="159">
                <a:moveTo>
                  <a:pt x="119" y="109"/>
                </a:moveTo>
                <a:cubicBezTo>
                  <a:pt x="118" y="108"/>
                  <a:pt x="116" y="107"/>
                  <a:pt x="114" y="106"/>
                </a:cubicBezTo>
                <a:cubicBezTo>
                  <a:pt x="113" y="106"/>
                  <a:pt x="113" y="106"/>
                  <a:pt x="112" y="105"/>
                </a:cubicBezTo>
                <a:cubicBezTo>
                  <a:pt x="113" y="105"/>
                  <a:pt x="113" y="105"/>
                  <a:pt x="113" y="105"/>
                </a:cubicBezTo>
                <a:cubicBezTo>
                  <a:pt x="113" y="105"/>
                  <a:pt x="113" y="105"/>
                  <a:pt x="114" y="104"/>
                </a:cubicBezTo>
                <a:cubicBezTo>
                  <a:pt x="114" y="104"/>
                  <a:pt x="114" y="102"/>
                  <a:pt x="114" y="103"/>
                </a:cubicBezTo>
                <a:cubicBezTo>
                  <a:pt x="114" y="103"/>
                  <a:pt x="114" y="103"/>
                  <a:pt x="114" y="103"/>
                </a:cubicBezTo>
                <a:cubicBezTo>
                  <a:pt x="115" y="104"/>
                  <a:pt x="115" y="103"/>
                  <a:pt x="115" y="103"/>
                </a:cubicBezTo>
                <a:cubicBezTo>
                  <a:pt x="115" y="103"/>
                  <a:pt x="114" y="101"/>
                  <a:pt x="115" y="102"/>
                </a:cubicBezTo>
                <a:cubicBezTo>
                  <a:pt x="115" y="102"/>
                  <a:pt x="115" y="103"/>
                  <a:pt x="116" y="103"/>
                </a:cubicBezTo>
                <a:cubicBezTo>
                  <a:pt x="116" y="104"/>
                  <a:pt x="116" y="104"/>
                  <a:pt x="117" y="104"/>
                </a:cubicBezTo>
                <a:cubicBezTo>
                  <a:pt x="118" y="104"/>
                  <a:pt x="117" y="106"/>
                  <a:pt x="118" y="107"/>
                </a:cubicBezTo>
                <a:cubicBezTo>
                  <a:pt x="118" y="106"/>
                  <a:pt x="117" y="106"/>
                  <a:pt x="118" y="105"/>
                </a:cubicBezTo>
                <a:cubicBezTo>
                  <a:pt x="118" y="105"/>
                  <a:pt x="117" y="105"/>
                  <a:pt x="118" y="105"/>
                </a:cubicBezTo>
                <a:cubicBezTo>
                  <a:pt x="118" y="105"/>
                  <a:pt x="119" y="108"/>
                  <a:pt x="119" y="108"/>
                </a:cubicBezTo>
                <a:cubicBezTo>
                  <a:pt x="119" y="108"/>
                  <a:pt x="119" y="108"/>
                  <a:pt x="119" y="109"/>
                </a:cubicBezTo>
                <a:cubicBezTo>
                  <a:pt x="119" y="109"/>
                  <a:pt x="119" y="109"/>
                  <a:pt x="119" y="109"/>
                </a:cubicBezTo>
                <a:close/>
                <a:moveTo>
                  <a:pt x="345" y="67"/>
                </a:moveTo>
                <a:cubicBezTo>
                  <a:pt x="344" y="66"/>
                  <a:pt x="344" y="66"/>
                  <a:pt x="343" y="66"/>
                </a:cubicBezTo>
                <a:cubicBezTo>
                  <a:pt x="343" y="66"/>
                  <a:pt x="342" y="66"/>
                  <a:pt x="342" y="66"/>
                </a:cubicBezTo>
                <a:cubicBezTo>
                  <a:pt x="342" y="66"/>
                  <a:pt x="342" y="66"/>
                  <a:pt x="341" y="66"/>
                </a:cubicBezTo>
                <a:cubicBezTo>
                  <a:pt x="341" y="66"/>
                  <a:pt x="341" y="68"/>
                  <a:pt x="341" y="68"/>
                </a:cubicBezTo>
                <a:cubicBezTo>
                  <a:pt x="341" y="69"/>
                  <a:pt x="341" y="69"/>
                  <a:pt x="342" y="69"/>
                </a:cubicBezTo>
                <a:cubicBezTo>
                  <a:pt x="342" y="70"/>
                  <a:pt x="342" y="70"/>
                  <a:pt x="342" y="70"/>
                </a:cubicBezTo>
                <a:cubicBezTo>
                  <a:pt x="342" y="71"/>
                  <a:pt x="341" y="72"/>
                  <a:pt x="341" y="72"/>
                </a:cubicBezTo>
                <a:cubicBezTo>
                  <a:pt x="341" y="73"/>
                  <a:pt x="341" y="73"/>
                  <a:pt x="340" y="73"/>
                </a:cubicBezTo>
                <a:cubicBezTo>
                  <a:pt x="340" y="73"/>
                  <a:pt x="340" y="73"/>
                  <a:pt x="340" y="73"/>
                </a:cubicBezTo>
                <a:cubicBezTo>
                  <a:pt x="339" y="73"/>
                  <a:pt x="339" y="73"/>
                  <a:pt x="339" y="74"/>
                </a:cubicBezTo>
                <a:cubicBezTo>
                  <a:pt x="338" y="74"/>
                  <a:pt x="336" y="73"/>
                  <a:pt x="335" y="74"/>
                </a:cubicBezTo>
                <a:cubicBezTo>
                  <a:pt x="334" y="74"/>
                  <a:pt x="335" y="77"/>
                  <a:pt x="335" y="78"/>
                </a:cubicBezTo>
                <a:cubicBezTo>
                  <a:pt x="335" y="80"/>
                  <a:pt x="336" y="81"/>
                  <a:pt x="337" y="82"/>
                </a:cubicBezTo>
                <a:cubicBezTo>
                  <a:pt x="337" y="83"/>
                  <a:pt x="337" y="83"/>
                  <a:pt x="338" y="84"/>
                </a:cubicBezTo>
                <a:cubicBezTo>
                  <a:pt x="338" y="85"/>
                  <a:pt x="339" y="85"/>
                  <a:pt x="339" y="86"/>
                </a:cubicBezTo>
                <a:cubicBezTo>
                  <a:pt x="339" y="86"/>
                  <a:pt x="339" y="87"/>
                  <a:pt x="339" y="87"/>
                </a:cubicBezTo>
                <a:cubicBezTo>
                  <a:pt x="338" y="87"/>
                  <a:pt x="338" y="88"/>
                  <a:pt x="338" y="88"/>
                </a:cubicBezTo>
                <a:cubicBezTo>
                  <a:pt x="338" y="89"/>
                  <a:pt x="336" y="88"/>
                  <a:pt x="336" y="89"/>
                </a:cubicBezTo>
                <a:cubicBezTo>
                  <a:pt x="335" y="89"/>
                  <a:pt x="334" y="91"/>
                  <a:pt x="333" y="91"/>
                </a:cubicBezTo>
                <a:cubicBezTo>
                  <a:pt x="332" y="91"/>
                  <a:pt x="333" y="90"/>
                  <a:pt x="332" y="90"/>
                </a:cubicBezTo>
                <a:cubicBezTo>
                  <a:pt x="332" y="89"/>
                  <a:pt x="331" y="89"/>
                  <a:pt x="331" y="89"/>
                </a:cubicBezTo>
                <a:cubicBezTo>
                  <a:pt x="329" y="89"/>
                  <a:pt x="328" y="89"/>
                  <a:pt x="327" y="89"/>
                </a:cubicBezTo>
                <a:cubicBezTo>
                  <a:pt x="325" y="89"/>
                  <a:pt x="323" y="89"/>
                  <a:pt x="322" y="88"/>
                </a:cubicBezTo>
                <a:cubicBezTo>
                  <a:pt x="320" y="88"/>
                  <a:pt x="319" y="87"/>
                  <a:pt x="317" y="87"/>
                </a:cubicBezTo>
                <a:cubicBezTo>
                  <a:pt x="316" y="86"/>
                  <a:pt x="317" y="89"/>
                  <a:pt x="317" y="90"/>
                </a:cubicBezTo>
                <a:cubicBezTo>
                  <a:pt x="317" y="92"/>
                  <a:pt x="317" y="94"/>
                  <a:pt x="317" y="96"/>
                </a:cubicBezTo>
                <a:cubicBezTo>
                  <a:pt x="317" y="96"/>
                  <a:pt x="316" y="97"/>
                  <a:pt x="316" y="98"/>
                </a:cubicBezTo>
                <a:cubicBezTo>
                  <a:pt x="317" y="99"/>
                  <a:pt x="317" y="100"/>
                  <a:pt x="317" y="101"/>
                </a:cubicBezTo>
                <a:cubicBezTo>
                  <a:pt x="317" y="102"/>
                  <a:pt x="316" y="105"/>
                  <a:pt x="317" y="105"/>
                </a:cubicBezTo>
                <a:cubicBezTo>
                  <a:pt x="318" y="106"/>
                  <a:pt x="320" y="105"/>
                  <a:pt x="320" y="107"/>
                </a:cubicBezTo>
                <a:cubicBezTo>
                  <a:pt x="320" y="107"/>
                  <a:pt x="321" y="109"/>
                  <a:pt x="320" y="109"/>
                </a:cubicBezTo>
                <a:cubicBezTo>
                  <a:pt x="319" y="109"/>
                  <a:pt x="319" y="108"/>
                  <a:pt x="318" y="108"/>
                </a:cubicBezTo>
                <a:cubicBezTo>
                  <a:pt x="317" y="108"/>
                  <a:pt x="316" y="108"/>
                  <a:pt x="316" y="109"/>
                </a:cubicBezTo>
                <a:cubicBezTo>
                  <a:pt x="314" y="109"/>
                  <a:pt x="314" y="108"/>
                  <a:pt x="313" y="107"/>
                </a:cubicBezTo>
                <a:cubicBezTo>
                  <a:pt x="313" y="107"/>
                  <a:pt x="312" y="107"/>
                  <a:pt x="311" y="107"/>
                </a:cubicBezTo>
                <a:cubicBezTo>
                  <a:pt x="311" y="107"/>
                  <a:pt x="310" y="108"/>
                  <a:pt x="309" y="108"/>
                </a:cubicBezTo>
                <a:cubicBezTo>
                  <a:pt x="308" y="108"/>
                  <a:pt x="308" y="109"/>
                  <a:pt x="307" y="109"/>
                </a:cubicBezTo>
                <a:cubicBezTo>
                  <a:pt x="306" y="109"/>
                  <a:pt x="305" y="109"/>
                  <a:pt x="304" y="109"/>
                </a:cubicBezTo>
                <a:cubicBezTo>
                  <a:pt x="303" y="109"/>
                  <a:pt x="303" y="109"/>
                  <a:pt x="302" y="109"/>
                </a:cubicBezTo>
                <a:cubicBezTo>
                  <a:pt x="302" y="109"/>
                  <a:pt x="302" y="110"/>
                  <a:pt x="301" y="110"/>
                </a:cubicBezTo>
                <a:cubicBezTo>
                  <a:pt x="300" y="110"/>
                  <a:pt x="299" y="110"/>
                  <a:pt x="298" y="111"/>
                </a:cubicBezTo>
                <a:cubicBezTo>
                  <a:pt x="297" y="112"/>
                  <a:pt x="299" y="113"/>
                  <a:pt x="300" y="113"/>
                </a:cubicBezTo>
                <a:cubicBezTo>
                  <a:pt x="301" y="113"/>
                  <a:pt x="301" y="112"/>
                  <a:pt x="302" y="113"/>
                </a:cubicBezTo>
                <a:cubicBezTo>
                  <a:pt x="302" y="113"/>
                  <a:pt x="303" y="113"/>
                  <a:pt x="303" y="113"/>
                </a:cubicBezTo>
                <a:cubicBezTo>
                  <a:pt x="305" y="114"/>
                  <a:pt x="303" y="114"/>
                  <a:pt x="303" y="114"/>
                </a:cubicBezTo>
                <a:cubicBezTo>
                  <a:pt x="304" y="115"/>
                  <a:pt x="303" y="116"/>
                  <a:pt x="304" y="117"/>
                </a:cubicBezTo>
                <a:cubicBezTo>
                  <a:pt x="304" y="117"/>
                  <a:pt x="305" y="118"/>
                  <a:pt x="305" y="119"/>
                </a:cubicBezTo>
                <a:cubicBezTo>
                  <a:pt x="305" y="120"/>
                  <a:pt x="305" y="120"/>
                  <a:pt x="305" y="121"/>
                </a:cubicBezTo>
                <a:cubicBezTo>
                  <a:pt x="306" y="121"/>
                  <a:pt x="306" y="121"/>
                  <a:pt x="306" y="121"/>
                </a:cubicBezTo>
                <a:cubicBezTo>
                  <a:pt x="306" y="122"/>
                  <a:pt x="307" y="122"/>
                  <a:pt x="307" y="122"/>
                </a:cubicBezTo>
                <a:cubicBezTo>
                  <a:pt x="308" y="124"/>
                  <a:pt x="309" y="125"/>
                  <a:pt x="310" y="126"/>
                </a:cubicBezTo>
                <a:cubicBezTo>
                  <a:pt x="310" y="127"/>
                  <a:pt x="311" y="127"/>
                  <a:pt x="310" y="128"/>
                </a:cubicBezTo>
                <a:cubicBezTo>
                  <a:pt x="310" y="129"/>
                  <a:pt x="311" y="129"/>
                  <a:pt x="311" y="129"/>
                </a:cubicBezTo>
                <a:cubicBezTo>
                  <a:pt x="312" y="129"/>
                  <a:pt x="312" y="130"/>
                  <a:pt x="312" y="131"/>
                </a:cubicBezTo>
                <a:cubicBezTo>
                  <a:pt x="312" y="131"/>
                  <a:pt x="311" y="131"/>
                  <a:pt x="311" y="131"/>
                </a:cubicBezTo>
                <a:cubicBezTo>
                  <a:pt x="311" y="131"/>
                  <a:pt x="308" y="132"/>
                  <a:pt x="309" y="132"/>
                </a:cubicBezTo>
                <a:cubicBezTo>
                  <a:pt x="309" y="133"/>
                  <a:pt x="311" y="133"/>
                  <a:pt x="311" y="133"/>
                </a:cubicBezTo>
                <a:cubicBezTo>
                  <a:pt x="311" y="134"/>
                  <a:pt x="310" y="134"/>
                  <a:pt x="310" y="134"/>
                </a:cubicBezTo>
                <a:cubicBezTo>
                  <a:pt x="309" y="134"/>
                  <a:pt x="309" y="134"/>
                  <a:pt x="309" y="134"/>
                </a:cubicBezTo>
                <a:cubicBezTo>
                  <a:pt x="309" y="135"/>
                  <a:pt x="309" y="135"/>
                  <a:pt x="309" y="135"/>
                </a:cubicBezTo>
                <a:cubicBezTo>
                  <a:pt x="309" y="136"/>
                  <a:pt x="308" y="136"/>
                  <a:pt x="308" y="136"/>
                </a:cubicBezTo>
                <a:cubicBezTo>
                  <a:pt x="309" y="137"/>
                  <a:pt x="309" y="137"/>
                  <a:pt x="310" y="138"/>
                </a:cubicBezTo>
                <a:cubicBezTo>
                  <a:pt x="310" y="138"/>
                  <a:pt x="309" y="138"/>
                  <a:pt x="310" y="138"/>
                </a:cubicBezTo>
                <a:cubicBezTo>
                  <a:pt x="310" y="139"/>
                  <a:pt x="310" y="139"/>
                  <a:pt x="310" y="139"/>
                </a:cubicBezTo>
                <a:cubicBezTo>
                  <a:pt x="310" y="139"/>
                  <a:pt x="311" y="141"/>
                  <a:pt x="311" y="141"/>
                </a:cubicBezTo>
                <a:cubicBezTo>
                  <a:pt x="310" y="141"/>
                  <a:pt x="310" y="141"/>
                  <a:pt x="310" y="140"/>
                </a:cubicBezTo>
                <a:cubicBezTo>
                  <a:pt x="309" y="140"/>
                  <a:pt x="308" y="139"/>
                  <a:pt x="308" y="139"/>
                </a:cubicBezTo>
                <a:cubicBezTo>
                  <a:pt x="307" y="138"/>
                  <a:pt x="307" y="138"/>
                  <a:pt x="306" y="138"/>
                </a:cubicBezTo>
                <a:cubicBezTo>
                  <a:pt x="305" y="138"/>
                  <a:pt x="304" y="138"/>
                  <a:pt x="303" y="138"/>
                </a:cubicBezTo>
                <a:cubicBezTo>
                  <a:pt x="302" y="138"/>
                  <a:pt x="302" y="137"/>
                  <a:pt x="302" y="137"/>
                </a:cubicBezTo>
                <a:cubicBezTo>
                  <a:pt x="301" y="136"/>
                  <a:pt x="301" y="136"/>
                  <a:pt x="300" y="136"/>
                </a:cubicBezTo>
                <a:cubicBezTo>
                  <a:pt x="300" y="136"/>
                  <a:pt x="300" y="135"/>
                  <a:pt x="299" y="135"/>
                </a:cubicBezTo>
                <a:cubicBezTo>
                  <a:pt x="299" y="134"/>
                  <a:pt x="298" y="135"/>
                  <a:pt x="298" y="135"/>
                </a:cubicBezTo>
                <a:cubicBezTo>
                  <a:pt x="297" y="134"/>
                  <a:pt x="296" y="134"/>
                  <a:pt x="296" y="134"/>
                </a:cubicBezTo>
                <a:cubicBezTo>
                  <a:pt x="295" y="134"/>
                  <a:pt x="294" y="134"/>
                  <a:pt x="294" y="134"/>
                </a:cubicBezTo>
                <a:cubicBezTo>
                  <a:pt x="293" y="133"/>
                  <a:pt x="293" y="133"/>
                  <a:pt x="292" y="134"/>
                </a:cubicBezTo>
                <a:cubicBezTo>
                  <a:pt x="291" y="134"/>
                  <a:pt x="290" y="134"/>
                  <a:pt x="289" y="134"/>
                </a:cubicBezTo>
                <a:cubicBezTo>
                  <a:pt x="289" y="134"/>
                  <a:pt x="288" y="133"/>
                  <a:pt x="287" y="133"/>
                </a:cubicBezTo>
                <a:cubicBezTo>
                  <a:pt x="286" y="134"/>
                  <a:pt x="286" y="133"/>
                  <a:pt x="285" y="133"/>
                </a:cubicBezTo>
                <a:cubicBezTo>
                  <a:pt x="285" y="134"/>
                  <a:pt x="284" y="133"/>
                  <a:pt x="283" y="133"/>
                </a:cubicBezTo>
                <a:cubicBezTo>
                  <a:pt x="282" y="133"/>
                  <a:pt x="281" y="133"/>
                  <a:pt x="281" y="133"/>
                </a:cubicBezTo>
                <a:cubicBezTo>
                  <a:pt x="280" y="132"/>
                  <a:pt x="278" y="132"/>
                  <a:pt x="277" y="133"/>
                </a:cubicBezTo>
                <a:cubicBezTo>
                  <a:pt x="277" y="133"/>
                  <a:pt x="276" y="133"/>
                  <a:pt x="276" y="133"/>
                </a:cubicBezTo>
                <a:cubicBezTo>
                  <a:pt x="276" y="133"/>
                  <a:pt x="275" y="133"/>
                  <a:pt x="275" y="133"/>
                </a:cubicBezTo>
                <a:cubicBezTo>
                  <a:pt x="275" y="133"/>
                  <a:pt x="275" y="133"/>
                  <a:pt x="275" y="133"/>
                </a:cubicBezTo>
                <a:cubicBezTo>
                  <a:pt x="274" y="133"/>
                  <a:pt x="273" y="133"/>
                  <a:pt x="272" y="133"/>
                </a:cubicBezTo>
                <a:cubicBezTo>
                  <a:pt x="270" y="133"/>
                  <a:pt x="269" y="132"/>
                  <a:pt x="269" y="134"/>
                </a:cubicBezTo>
                <a:cubicBezTo>
                  <a:pt x="268" y="135"/>
                  <a:pt x="267" y="134"/>
                  <a:pt x="266" y="134"/>
                </a:cubicBezTo>
                <a:cubicBezTo>
                  <a:pt x="265" y="134"/>
                  <a:pt x="263" y="134"/>
                  <a:pt x="262" y="133"/>
                </a:cubicBezTo>
                <a:cubicBezTo>
                  <a:pt x="261" y="132"/>
                  <a:pt x="259" y="132"/>
                  <a:pt x="258" y="131"/>
                </a:cubicBezTo>
                <a:cubicBezTo>
                  <a:pt x="257" y="130"/>
                  <a:pt x="255" y="130"/>
                  <a:pt x="254" y="129"/>
                </a:cubicBezTo>
                <a:cubicBezTo>
                  <a:pt x="255" y="130"/>
                  <a:pt x="253" y="130"/>
                  <a:pt x="253" y="130"/>
                </a:cubicBezTo>
                <a:cubicBezTo>
                  <a:pt x="252" y="130"/>
                  <a:pt x="252" y="130"/>
                  <a:pt x="252" y="130"/>
                </a:cubicBezTo>
                <a:cubicBezTo>
                  <a:pt x="252" y="130"/>
                  <a:pt x="252" y="131"/>
                  <a:pt x="252" y="131"/>
                </a:cubicBezTo>
                <a:cubicBezTo>
                  <a:pt x="252" y="131"/>
                  <a:pt x="251" y="131"/>
                  <a:pt x="250" y="131"/>
                </a:cubicBezTo>
                <a:cubicBezTo>
                  <a:pt x="250" y="131"/>
                  <a:pt x="249" y="131"/>
                  <a:pt x="249" y="132"/>
                </a:cubicBezTo>
                <a:cubicBezTo>
                  <a:pt x="249" y="132"/>
                  <a:pt x="249" y="133"/>
                  <a:pt x="249" y="133"/>
                </a:cubicBezTo>
                <a:cubicBezTo>
                  <a:pt x="249" y="134"/>
                  <a:pt x="249" y="134"/>
                  <a:pt x="249" y="135"/>
                </a:cubicBezTo>
                <a:cubicBezTo>
                  <a:pt x="249" y="136"/>
                  <a:pt x="249" y="137"/>
                  <a:pt x="250" y="137"/>
                </a:cubicBezTo>
                <a:cubicBezTo>
                  <a:pt x="250" y="138"/>
                  <a:pt x="251" y="139"/>
                  <a:pt x="250" y="138"/>
                </a:cubicBezTo>
                <a:cubicBezTo>
                  <a:pt x="249" y="138"/>
                  <a:pt x="249" y="138"/>
                  <a:pt x="249" y="138"/>
                </a:cubicBezTo>
                <a:cubicBezTo>
                  <a:pt x="249" y="138"/>
                  <a:pt x="248" y="137"/>
                  <a:pt x="248" y="137"/>
                </a:cubicBezTo>
                <a:cubicBezTo>
                  <a:pt x="248" y="137"/>
                  <a:pt x="247" y="137"/>
                  <a:pt x="247" y="137"/>
                </a:cubicBezTo>
                <a:cubicBezTo>
                  <a:pt x="246" y="137"/>
                  <a:pt x="246" y="137"/>
                  <a:pt x="245" y="137"/>
                </a:cubicBezTo>
                <a:cubicBezTo>
                  <a:pt x="244" y="137"/>
                  <a:pt x="244" y="136"/>
                  <a:pt x="243" y="136"/>
                </a:cubicBezTo>
                <a:cubicBezTo>
                  <a:pt x="242" y="136"/>
                  <a:pt x="242" y="136"/>
                  <a:pt x="241" y="136"/>
                </a:cubicBezTo>
                <a:cubicBezTo>
                  <a:pt x="240" y="135"/>
                  <a:pt x="240" y="135"/>
                  <a:pt x="239" y="135"/>
                </a:cubicBezTo>
                <a:cubicBezTo>
                  <a:pt x="238" y="135"/>
                  <a:pt x="238" y="134"/>
                  <a:pt x="237" y="135"/>
                </a:cubicBezTo>
                <a:cubicBezTo>
                  <a:pt x="237" y="135"/>
                  <a:pt x="237" y="135"/>
                  <a:pt x="237" y="135"/>
                </a:cubicBezTo>
                <a:cubicBezTo>
                  <a:pt x="235" y="134"/>
                  <a:pt x="234" y="134"/>
                  <a:pt x="233" y="134"/>
                </a:cubicBezTo>
                <a:cubicBezTo>
                  <a:pt x="232" y="135"/>
                  <a:pt x="231" y="134"/>
                  <a:pt x="231" y="135"/>
                </a:cubicBezTo>
                <a:cubicBezTo>
                  <a:pt x="230" y="135"/>
                  <a:pt x="230" y="135"/>
                  <a:pt x="230" y="135"/>
                </a:cubicBezTo>
                <a:cubicBezTo>
                  <a:pt x="229" y="135"/>
                  <a:pt x="230" y="135"/>
                  <a:pt x="229" y="135"/>
                </a:cubicBezTo>
                <a:cubicBezTo>
                  <a:pt x="229" y="136"/>
                  <a:pt x="230" y="137"/>
                  <a:pt x="229" y="137"/>
                </a:cubicBezTo>
                <a:cubicBezTo>
                  <a:pt x="227" y="137"/>
                  <a:pt x="229" y="138"/>
                  <a:pt x="229" y="138"/>
                </a:cubicBezTo>
                <a:cubicBezTo>
                  <a:pt x="228" y="138"/>
                  <a:pt x="228" y="137"/>
                  <a:pt x="228" y="138"/>
                </a:cubicBezTo>
                <a:cubicBezTo>
                  <a:pt x="228" y="139"/>
                  <a:pt x="227" y="139"/>
                  <a:pt x="227" y="140"/>
                </a:cubicBezTo>
                <a:cubicBezTo>
                  <a:pt x="227" y="140"/>
                  <a:pt x="228" y="140"/>
                  <a:pt x="228" y="140"/>
                </a:cubicBezTo>
                <a:cubicBezTo>
                  <a:pt x="228" y="140"/>
                  <a:pt x="228" y="141"/>
                  <a:pt x="228" y="141"/>
                </a:cubicBezTo>
                <a:cubicBezTo>
                  <a:pt x="227" y="141"/>
                  <a:pt x="227" y="141"/>
                  <a:pt x="227" y="141"/>
                </a:cubicBezTo>
                <a:cubicBezTo>
                  <a:pt x="226" y="141"/>
                  <a:pt x="226" y="142"/>
                  <a:pt x="226" y="143"/>
                </a:cubicBezTo>
                <a:cubicBezTo>
                  <a:pt x="226" y="143"/>
                  <a:pt x="225" y="142"/>
                  <a:pt x="225" y="142"/>
                </a:cubicBezTo>
                <a:cubicBezTo>
                  <a:pt x="224" y="142"/>
                  <a:pt x="224" y="142"/>
                  <a:pt x="223" y="143"/>
                </a:cubicBezTo>
                <a:cubicBezTo>
                  <a:pt x="223" y="144"/>
                  <a:pt x="222" y="146"/>
                  <a:pt x="220" y="146"/>
                </a:cubicBezTo>
                <a:cubicBezTo>
                  <a:pt x="219" y="146"/>
                  <a:pt x="219" y="146"/>
                  <a:pt x="218" y="147"/>
                </a:cubicBezTo>
                <a:cubicBezTo>
                  <a:pt x="217" y="148"/>
                  <a:pt x="217" y="148"/>
                  <a:pt x="217" y="149"/>
                </a:cubicBezTo>
                <a:cubicBezTo>
                  <a:pt x="217" y="149"/>
                  <a:pt x="216" y="149"/>
                  <a:pt x="215" y="149"/>
                </a:cubicBezTo>
                <a:cubicBezTo>
                  <a:pt x="215" y="149"/>
                  <a:pt x="215" y="149"/>
                  <a:pt x="215" y="149"/>
                </a:cubicBezTo>
                <a:cubicBezTo>
                  <a:pt x="215" y="150"/>
                  <a:pt x="215" y="149"/>
                  <a:pt x="214" y="150"/>
                </a:cubicBezTo>
                <a:cubicBezTo>
                  <a:pt x="214" y="150"/>
                  <a:pt x="215" y="151"/>
                  <a:pt x="214" y="152"/>
                </a:cubicBezTo>
                <a:cubicBezTo>
                  <a:pt x="214" y="152"/>
                  <a:pt x="213" y="152"/>
                  <a:pt x="213" y="152"/>
                </a:cubicBezTo>
                <a:cubicBezTo>
                  <a:pt x="213" y="153"/>
                  <a:pt x="213" y="153"/>
                  <a:pt x="212" y="153"/>
                </a:cubicBezTo>
                <a:cubicBezTo>
                  <a:pt x="212" y="154"/>
                  <a:pt x="212" y="154"/>
                  <a:pt x="212" y="154"/>
                </a:cubicBezTo>
                <a:cubicBezTo>
                  <a:pt x="211" y="155"/>
                  <a:pt x="211" y="156"/>
                  <a:pt x="211" y="156"/>
                </a:cubicBezTo>
                <a:cubicBezTo>
                  <a:pt x="212" y="157"/>
                  <a:pt x="213" y="159"/>
                  <a:pt x="212" y="158"/>
                </a:cubicBezTo>
                <a:cubicBezTo>
                  <a:pt x="211" y="158"/>
                  <a:pt x="211" y="158"/>
                  <a:pt x="211" y="158"/>
                </a:cubicBezTo>
                <a:cubicBezTo>
                  <a:pt x="210" y="158"/>
                  <a:pt x="210" y="158"/>
                  <a:pt x="209" y="157"/>
                </a:cubicBezTo>
                <a:cubicBezTo>
                  <a:pt x="208" y="157"/>
                  <a:pt x="207" y="156"/>
                  <a:pt x="206" y="156"/>
                </a:cubicBezTo>
                <a:cubicBezTo>
                  <a:pt x="207" y="156"/>
                  <a:pt x="208" y="154"/>
                  <a:pt x="207" y="154"/>
                </a:cubicBezTo>
                <a:cubicBezTo>
                  <a:pt x="207" y="153"/>
                  <a:pt x="207" y="153"/>
                  <a:pt x="206" y="153"/>
                </a:cubicBezTo>
                <a:cubicBezTo>
                  <a:pt x="206" y="153"/>
                  <a:pt x="206" y="153"/>
                  <a:pt x="205" y="153"/>
                </a:cubicBezTo>
                <a:cubicBezTo>
                  <a:pt x="205" y="153"/>
                  <a:pt x="205" y="152"/>
                  <a:pt x="204" y="152"/>
                </a:cubicBezTo>
                <a:cubicBezTo>
                  <a:pt x="204" y="152"/>
                  <a:pt x="203" y="152"/>
                  <a:pt x="203" y="152"/>
                </a:cubicBezTo>
                <a:cubicBezTo>
                  <a:pt x="201" y="152"/>
                  <a:pt x="199" y="152"/>
                  <a:pt x="197" y="152"/>
                </a:cubicBezTo>
                <a:cubicBezTo>
                  <a:pt x="196" y="152"/>
                  <a:pt x="195" y="152"/>
                  <a:pt x="195" y="152"/>
                </a:cubicBezTo>
                <a:cubicBezTo>
                  <a:pt x="194" y="152"/>
                  <a:pt x="194" y="151"/>
                  <a:pt x="193" y="151"/>
                </a:cubicBezTo>
                <a:cubicBezTo>
                  <a:pt x="192" y="149"/>
                  <a:pt x="191" y="147"/>
                  <a:pt x="191" y="146"/>
                </a:cubicBezTo>
                <a:cubicBezTo>
                  <a:pt x="190" y="144"/>
                  <a:pt x="190" y="143"/>
                  <a:pt x="189" y="143"/>
                </a:cubicBezTo>
                <a:cubicBezTo>
                  <a:pt x="188" y="143"/>
                  <a:pt x="186" y="143"/>
                  <a:pt x="186" y="143"/>
                </a:cubicBezTo>
                <a:cubicBezTo>
                  <a:pt x="185" y="142"/>
                  <a:pt x="185" y="141"/>
                  <a:pt x="185" y="140"/>
                </a:cubicBezTo>
                <a:cubicBezTo>
                  <a:pt x="184" y="140"/>
                  <a:pt x="184" y="139"/>
                  <a:pt x="184" y="139"/>
                </a:cubicBezTo>
                <a:cubicBezTo>
                  <a:pt x="184" y="138"/>
                  <a:pt x="185" y="139"/>
                  <a:pt x="185" y="138"/>
                </a:cubicBezTo>
                <a:cubicBezTo>
                  <a:pt x="185" y="138"/>
                  <a:pt x="185" y="137"/>
                  <a:pt x="184" y="137"/>
                </a:cubicBezTo>
                <a:cubicBezTo>
                  <a:pt x="184" y="136"/>
                  <a:pt x="184" y="135"/>
                  <a:pt x="184" y="133"/>
                </a:cubicBezTo>
                <a:cubicBezTo>
                  <a:pt x="184" y="132"/>
                  <a:pt x="183" y="132"/>
                  <a:pt x="182" y="133"/>
                </a:cubicBezTo>
                <a:cubicBezTo>
                  <a:pt x="181" y="134"/>
                  <a:pt x="180" y="132"/>
                  <a:pt x="179" y="131"/>
                </a:cubicBezTo>
                <a:cubicBezTo>
                  <a:pt x="178" y="130"/>
                  <a:pt x="177" y="129"/>
                  <a:pt x="176" y="128"/>
                </a:cubicBezTo>
                <a:cubicBezTo>
                  <a:pt x="174" y="127"/>
                  <a:pt x="173" y="126"/>
                  <a:pt x="172" y="125"/>
                </a:cubicBezTo>
                <a:cubicBezTo>
                  <a:pt x="171" y="124"/>
                  <a:pt x="170" y="124"/>
                  <a:pt x="169" y="125"/>
                </a:cubicBezTo>
                <a:cubicBezTo>
                  <a:pt x="168" y="126"/>
                  <a:pt x="166" y="126"/>
                  <a:pt x="164" y="126"/>
                </a:cubicBezTo>
                <a:cubicBezTo>
                  <a:pt x="163" y="126"/>
                  <a:pt x="161" y="126"/>
                  <a:pt x="159" y="125"/>
                </a:cubicBezTo>
                <a:cubicBezTo>
                  <a:pt x="157" y="125"/>
                  <a:pt x="155" y="126"/>
                  <a:pt x="152" y="126"/>
                </a:cubicBezTo>
                <a:cubicBezTo>
                  <a:pt x="151" y="126"/>
                  <a:pt x="149" y="126"/>
                  <a:pt x="147" y="127"/>
                </a:cubicBezTo>
                <a:cubicBezTo>
                  <a:pt x="146" y="127"/>
                  <a:pt x="146" y="127"/>
                  <a:pt x="145" y="126"/>
                </a:cubicBezTo>
                <a:cubicBezTo>
                  <a:pt x="144" y="125"/>
                  <a:pt x="143" y="125"/>
                  <a:pt x="143" y="124"/>
                </a:cubicBezTo>
                <a:cubicBezTo>
                  <a:pt x="141" y="123"/>
                  <a:pt x="140" y="121"/>
                  <a:pt x="138" y="120"/>
                </a:cubicBezTo>
                <a:cubicBezTo>
                  <a:pt x="137" y="120"/>
                  <a:pt x="137" y="119"/>
                  <a:pt x="136" y="119"/>
                </a:cubicBezTo>
                <a:cubicBezTo>
                  <a:pt x="136" y="118"/>
                  <a:pt x="136" y="117"/>
                  <a:pt x="135" y="117"/>
                </a:cubicBezTo>
                <a:cubicBezTo>
                  <a:pt x="134" y="116"/>
                  <a:pt x="133" y="116"/>
                  <a:pt x="132" y="115"/>
                </a:cubicBezTo>
                <a:cubicBezTo>
                  <a:pt x="130" y="114"/>
                  <a:pt x="128" y="113"/>
                  <a:pt x="126" y="112"/>
                </a:cubicBezTo>
                <a:cubicBezTo>
                  <a:pt x="126" y="111"/>
                  <a:pt x="125" y="109"/>
                  <a:pt x="125" y="108"/>
                </a:cubicBezTo>
                <a:cubicBezTo>
                  <a:pt x="125" y="107"/>
                  <a:pt x="125" y="106"/>
                  <a:pt x="124" y="105"/>
                </a:cubicBezTo>
                <a:cubicBezTo>
                  <a:pt x="123" y="104"/>
                  <a:pt x="121" y="105"/>
                  <a:pt x="121" y="104"/>
                </a:cubicBezTo>
                <a:cubicBezTo>
                  <a:pt x="120" y="103"/>
                  <a:pt x="121" y="103"/>
                  <a:pt x="121" y="102"/>
                </a:cubicBezTo>
                <a:cubicBezTo>
                  <a:pt x="121" y="103"/>
                  <a:pt x="120" y="102"/>
                  <a:pt x="120" y="102"/>
                </a:cubicBezTo>
                <a:cubicBezTo>
                  <a:pt x="121" y="102"/>
                  <a:pt x="121" y="102"/>
                  <a:pt x="121" y="102"/>
                </a:cubicBezTo>
                <a:cubicBezTo>
                  <a:pt x="121" y="102"/>
                  <a:pt x="121" y="101"/>
                  <a:pt x="120" y="101"/>
                </a:cubicBezTo>
                <a:cubicBezTo>
                  <a:pt x="121" y="101"/>
                  <a:pt x="121" y="101"/>
                  <a:pt x="120" y="101"/>
                </a:cubicBezTo>
                <a:cubicBezTo>
                  <a:pt x="120" y="101"/>
                  <a:pt x="121" y="101"/>
                  <a:pt x="121" y="101"/>
                </a:cubicBezTo>
                <a:cubicBezTo>
                  <a:pt x="121" y="101"/>
                  <a:pt x="122" y="101"/>
                  <a:pt x="122" y="101"/>
                </a:cubicBezTo>
                <a:cubicBezTo>
                  <a:pt x="122" y="101"/>
                  <a:pt x="123" y="101"/>
                  <a:pt x="123" y="101"/>
                </a:cubicBezTo>
                <a:cubicBezTo>
                  <a:pt x="123" y="101"/>
                  <a:pt x="124" y="101"/>
                  <a:pt x="124" y="101"/>
                </a:cubicBezTo>
                <a:cubicBezTo>
                  <a:pt x="125" y="102"/>
                  <a:pt x="125" y="102"/>
                  <a:pt x="125" y="102"/>
                </a:cubicBezTo>
                <a:cubicBezTo>
                  <a:pt x="126" y="102"/>
                  <a:pt x="126" y="102"/>
                  <a:pt x="127" y="101"/>
                </a:cubicBezTo>
                <a:cubicBezTo>
                  <a:pt x="127" y="100"/>
                  <a:pt x="127" y="100"/>
                  <a:pt x="128" y="100"/>
                </a:cubicBezTo>
                <a:cubicBezTo>
                  <a:pt x="128" y="100"/>
                  <a:pt x="127" y="99"/>
                  <a:pt x="127" y="99"/>
                </a:cubicBezTo>
                <a:cubicBezTo>
                  <a:pt x="126" y="99"/>
                  <a:pt x="126" y="99"/>
                  <a:pt x="125" y="99"/>
                </a:cubicBezTo>
                <a:cubicBezTo>
                  <a:pt x="124" y="99"/>
                  <a:pt x="123" y="99"/>
                  <a:pt x="123" y="99"/>
                </a:cubicBezTo>
                <a:cubicBezTo>
                  <a:pt x="122" y="99"/>
                  <a:pt x="122" y="99"/>
                  <a:pt x="122" y="99"/>
                </a:cubicBezTo>
                <a:cubicBezTo>
                  <a:pt x="121" y="99"/>
                  <a:pt x="121" y="99"/>
                  <a:pt x="121" y="100"/>
                </a:cubicBezTo>
                <a:cubicBezTo>
                  <a:pt x="120" y="100"/>
                  <a:pt x="119" y="100"/>
                  <a:pt x="120" y="99"/>
                </a:cubicBezTo>
                <a:cubicBezTo>
                  <a:pt x="120" y="99"/>
                  <a:pt x="120" y="99"/>
                  <a:pt x="120" y="98"/>
                </a:cubicBezTo>
                <a:cubicBezTo>
                  <a:pt x="120" y="98"/>
                  <a:pt x="120" y="97"/>
                  <a:pt x="119" y="97"/>
                </a:cubicBezTo>
                <a:cubicBezTo>
                  <a:pt x="119" y="97"/>
                  <a:pt x="119" y="97"/>
                  <a:pt x="118" y="97"/>
                </a:cubicBezTo>
                <a:cubicBezTo>
                  <a:pt x="118" y="97"/>
                  <a:pt x="118" y="97"/>
                  <a:pt x="117" y="97"/>
                </a:cubicBezTo>
                <a:cubicBezTo>
                  <a:pt x="117" y="97"/>
                  <a:pt x="117" y="97"/>
                  <a:pt x="117" y="97"/>
                </a:cubicBezTo>
                <a:cubicBezTo>
                  <a:pt x="117" y="97"/>
                  <a:pt x="118" y="98"/>
                  <a:pt x="118" y="98"/>
                </a:cubicBezTo>
                <a:cubicBezTo>
                  <a:pt x="119" y="98"/>
                  <a:pt x="120" y="99"/>
                  <a:pt x="119" y="100"/>
                </a:cubicBezTo>
                <a:cubicBezTo>
                  <a:pt x="119" y="101"/>
                  <a:pt x="119" y="101"/>
                  <a:pt x="119" y="102"/>
                </a:cubicBezTo>
                <a:cubicBezTo>
                  <a:pt x="119" y="103"/>
                  <a:pt x="120" y="103"/>
                  <a:pt x="119" y="103"/>
                </a:cubicBezTo>
                <a:cubicBezTo>
                  <a:pt x="118" y="102"/>
                  <a:pt x="118" y="104"/>
                  <a:pt x="118" y="104"/>
                </a:cubicBezTo>
                <a:cubicBezTo>
                  <a:pt x="118" y="103"/>
                  <a:pt x="118" y="103"/>
                  <a:pt x="117" y="103"/>
                </a:cubicBezTo>
                <a:cubicBezTo>
                  <a:pt x="117" y="103"/>
                  <a:pt x="117" y="103"/>
                  <a:pt x="117" y="103"/>
                </a:cubicBezTo>
                <a:cubicBezTo>
                  <a:pt x="116" y="103"/>
                  <a:pt x="116" y="103"/>
                  <a:pt x="116" y="103"/>
                </a:cubicBezTo>
                <a:cubicBezTo>
                  <a:pt x="115" y="102"/>
                  <a:pt x="116" y="101"/>
                  <a:pt x="116" y="101"/>
                </a:cubicBezTo>
                <a:cubicBezTo>
                  <a:pt x="116" y="100"/>
                  <a:pt x="116" y="100"/>
                  <a:pt x="115" y="101"/>
                </a:cubicBezTo>
                <a:cubicBezTo>
                  <a:pt x="115" y="101"/>
                  <a:pt x="114" y="100"/>
                  <a:pt x="113" y="101"/>
                </a:cubicBezTo>
                <a:cubicBezTo>
                  <a:pt x="114" y="101"/>
                  <a:pt x="112" y="101"/>
                  <a:pt x="112" y="101"/>
                </a:cubicBezTo>
                <a:cubicBezTo>
                  <a:pt x="112" y="101"/>
                  <a:pt x="112" y="101"/>
                  <a:pt x="112" y="101"/>
                </a:cubicBezTo>
                <a:cubicBezTo>
                  <a:pt x="112" y="102"/>
                  <a:pt x="111" y="102"/>
                  <a:pt x="111" y="102"/>
                </a:cubicBezTo>
                <a:cubicBezTo>
                  <a:pt x="111" y="103"/>
                  <a:pt x="112" y="104"/>
                  <a:pt x="111" y="105"/>
                </a:cubicBezTo>
                <a:cubicBezTo>
                  <a:pt x="111" y="105"/>
                  <a:pt x="111" y="105"/>
                  <a:pt x="111" y="105"/>
                </a:cubicBezTo>
                <a:cubicBezTo>
                  <a:pt x="110" y="105"/>
                  <a:pt x="110" y="105"/>
                  <a:pt x="109" y="105"/>
                </a:cubicBezTo>
                <a:cubicBezTo>
                  <a:pt x="107" y="105"/>
                  <a:pt x="105" y="106"/>
                  <a:pt x="103" y="106"/>
                </a:cubicBezTo>
                <a:cubicBezTo>
                  <a:pt x="99" y="107"/>
                  <a:pt x="96" y="109"/>
                  <a:pt x="92" y="110"/>
                </a:cubicBezTo>
                <a:cubicBezTo>
                  <a:pt x="91" y="110"/>
                  <a:pt x="90" y="110"/>
                  <a:pt x="90" y="110"/>
                </a:cubicBezTo>
                <a:cubicBezTo>
                  <a:pt x="89" y="111"/>
                  <a:pt x="90" y="112"/>
                  <a:pt x="90" y="112"/>
                </a:cubicBezTo>
                <a:cubicBezTo>
                  <a:pt x="90" y="114"/>
                  <a:pt x="91" y="116"/>
                  <a:pt x="91" y="119"/>
                </a:cubicBezTo>
                <a:cubicBezTo>
                  <a:pt x="94" y="129"/>
                  <a:pt x="96" y="140"/>
                  <a:pt x="98" y="150"/>
                </a:cubicBezTo>
                <a:cubicBezTo>
                  <a:pt x="97" y="150"/>
                  <a:pt x="95" y="152"/>
                  <a:pt x="94" y="151"/>
                </a:cubicBezTo>
                <a:cubicBezTo>
                  <a:pt x="93" y="151"/>
                  <a:pt x="93" y="150"/>
                  <a:pt x="93" y="150"/>
                </a:cubicBezTo>
                <a:cubicBezTo>
                  <a:pt x="92" y="149"/>
                  <a:pt x="91" y="149"/>
                  <a:pt x="91" y="148"/>
                </a:cubicBezTo>
                <a:cubicBezTo>
                  <a:pt x="90" y="148"/>
                  <a:pt x="90" y="147"/>
                  <a:pt x="89" y="147"/>
                </a:cubicBezTo>
                <a:cubicBezTo>
                  <a:pt x="89" y="146"/>
                  <a:pt x="88" y="145"/>
                  <a:pt x="88" y="145"/>
                </a:cubicBezTo>
                <a:cubicBezTo>
                  <a:pt x="88" y="143"/>
                  <a:pt x="85" y="142"/>
                  <a:pt x="84" y="142"/>
                </a:cubicBezTo>
                <a:cubicBezTo>
                  <a:pt x="83" y="141"/>
                  <a:pt x="81" y="140"/>
                  <a:pt x="80" y="139"/>
                </a:cubicBezTo>
                <a:cubicBezTo>
                  <a:pt x="78" y="139"/>
                  <a:pt x="76" y="140"/>
                  <a:pt x="74" y="140"/>
                </a:cubicBezTo>
                <a:cubicBezTo>
                  <a:pt x="73" y="140"/>
                  <a:pt x="71" y="141"/>
                  <a:pt x="70" y="142"/>
                </a:cubicBezTo>
                <a:cubicBezTo>
                  <a:pt x="68" y="143"/>
                  <a:pt x="67" y="144"/>
                  <a:pt x="66" y="146"/>
                </a:cubicBezTo>
                <a:cubicBezTo>
                  <a:pt x="65" y="146"/>
                  <a:pt x="66" y="145"/>
                  <a:pt x="66" y="145"/>
                </a:cubicBezTo>
                <a:cubicBezTo>
                  <a:pt x="66" y="144"/>
                  <a:pt x="66" y="144"/>
                  <a:pt x="65" y="143"/>
                </a:cubicBezTo>
                <a:cubicBezTo>
                  <a:pt x="64" y="142"/>
                  <a:pt x="65" y="141"/>
                  <a:pt x="65" y="140"/>
                </a:cubicBezTo>
                <a:cubicBezTo>
                  <a:pt x="66" y="139"/>
                  <a:pt x="66" y="138"/>
                  <a:pt x="66" y="137"/>
                </a:cubicBezTo>
                <a:cubicBezTo>
                  <a:pt x="66" y="136"/>
                  <a:pt x="65" y="136"/>
                  <a:pt x="65" y="135"/>
                </a:cubicBezTo>
                <a:cubicBezTo>
                  <a:pt x="65" y="135"/>
                  <a:pt x="65" y="136"/>
                  <a:pt x="66" y="136"/>
                </a:cubicBezTo>
                <a:cubicBezTo>
                  <a:pt x="66" y="136"/>
                  <a:pt x="66" y="137"/>
                  <a:pt x="66" y="137"/>
                </a:cubicBezTo>
                <a:cubicBezTo>
                  <a:pt x="67" y="137"/>
                  <a:pt x="66" y="136"/>
                  <a:pt x="66" y="136"/>
                </a:cubicBezTo>
                <a:cubicBezTo>
                  <a:pt x="66" y="135"/>
                  <a:pt x="66" y="135"/>
                  <a:pt x="66" y="135"/>
                </a:cubicBezTo>
                <a:cubicBezTo>
                  <a:pt x="65" y="135"/>
                  <a:pt x="64" y="134"/>
                  <a:pt x="63" y="134"/>
                </a:cubicBezTo>
                <a:cubicBezTo>
                  <a:pt x="63" y="134"/>
                  <a:pt x="62" y="135"/>
                  <a:pt x="62" y="134"/>
                </a:cubicBezTo>
                <a:cubicBezTo>
                  <a:pt x="61" y="133"/>
                  <a:pt x="60" y="134"/>
                  <a:pt x="59" y="134"/>
                </a:cubicBezTo>
                <a:cubicBezTo>
                  <a:pt x="58" y="134"/>
                  <a:pt x="58" y="133"/>
                  <a:pt x="58" y="133"/>
                </a:cubicBezTo>
                <a:cubicBezTo>
                  <a:pt x="57" y="132"/>
                  <a:pt x="56" y="131"/>
                  <a:pt x="56" y="131"/>
                </a:cubicBezTo>
                <a:cubicBezTo>
                  <a:pt x="56" y="129"/>
                  <a:pt x="52" y="132"/>
                  <a:pt x="52" y="130"/>
                </a:cubicBezTo>
                <a:cubicBezTo>
                  <a:pt x="52" y="129"/>
                  <a:pt x="53" y="128"/>
                  <a:pt x="52" y="127"/>
                </a:cubicBezTo>
                <a:cubicBezTo>
                  <a:pt x="52" y="126"/>
                  <a:pt x="51" y="126"/>
                  <a:pt x="50" y="125"/>
                </a:cubicBezTo>
                <a:cubicBezTo>
                  <a:pt x="49" y="124"/>
                  <a:pt x="49" y="123"/>
                  <a:pt x="49" y="123"/>
                </a:cubicBezTo>
                <a:cubicBezTo>
                  <a:pt x="48" y="122"/>
                  <a:pt x="47" y="121"/>
                  <a:pt x="47" y="120"/>
                </a:cubicBezTo>
                <a:cubicBezTo>
                  <a:pt x="46" y="118"/>
                  <a:pt x="44" y="118"/>
                  <a:pt x="43" y="118"/>
                </a:cubicBezTo>
                <a:cubicBezTo>
                  <a:pt x="42" y="118"/>
                  <a:pt x="41" y="118"/>
                  <a:pt x="41" y="117"/>
                </a:cubicBezTo>
                <a:cubicBezTo>
                  <a:pt x="41" y="117"/>
                  <a:pt x="40" y="116"/>
                  <a:pt x="40" y="115"/>
                </a:cubicBezTo>
                <a:cubicBezTo>
                  <a:pt x="41" y="116"/>
                  <a:pt x="41" y="115"/>
                  <a:pt x="41" y="115"/>
                </a:cubicBezTo>
                <a:cubicBezTo>
                  <a:pt x="41" y="114"/>
                  <a:pt x="41" y="114"/>
                  <a:pt x="41" y="114"/>
                </a:cubicBezTo>
                <a:cubicBezTo>
                  <a:pt x="42" y="114"/>
                  <a:pt x="43" y="114"/>
                  <a:pt x="44" y="114"/>
                </a:cubicBezTo>
                <a:cubicBezTo>
                  <a:pt x="44" y="115"/>
                  <a:pt x="44" y="115"/>
                  <a:pt x="45" y="115"/>
                </a:cubicBezTo>
                <a:cubicBezTo>
                  <a:pt x="45" y="115"/>
                  <a:pt x="45" y="114"/>
                  <a:pt x="45" y="115"/>
                </a:cubicBezTo>
                <a:cubicBezTo>
                  <a:pt x="46" y="115"/>
                  <a:pt x="46" y="115"/>
                  <a:pt x="47" y="115"/>
                </a:cubicBezTo>
                <a:cubicBezTo>
                  <a:pt x="47" y="116"/>
                  <a:pt x="48" y="116"/>
                  <a:pt x="48" y="116"/>
                </a:cubicBezTo>
                <a:cubicBezTo>
                  <a:pt x="49" y="116"/>
                  <a:pt x="49" y="116"/>
                  <a:pt x="50" y="115"/>
                </a:cubicBezTo>
                <a:cubicBezTo>
                  <a:pt x="50" y="115"/>
                  <a:pt x="50" y="115"/>
                  <a:pt x="50" y="116"/>
                </a:cubicBezTo>
                <a:cubicBezTo>
                  <a:pt x="50" y="116"/>
                  <a:pt x="51" y="116"/>
                  <a:pt x="51" y="116"/>
                </a:cubicBezTo>
                <a:cubicBezTo>
                  <a:pt x="53" y="116"/>
                  <a:pt x="52" y="115"/>
                  <a:pt x="51" y="115"/>
                </a:cubicBezTo>
                <a:cubicBezTo>
                  <a:pt x="51" y="115"/>
                  <a:pt x="50" y="115"/>
                  <a:pt x="50" y="115"/>
                </a:cubicBezTo>
                <a:cubicBezTo>
                  <a:pt x="49" y="115"/>
                  <a:pt x="49" y="114"/>
                  <a:pt x="48" y="113"/>
                </a:cubicBezTo>
                <a:cubicBezTo>
                  <a:pt x="48" y="113"/>
                  <a:pt x="47" y="113"/>
                  <a:pt x="46" y="112"/>
                </a:cubicBezTo>
                <a:cubicBezTo>
                  <a:pt x="46" y="112"/>
                  <a:pt x="46" y="111"/>
                  <a:pt x="46" y="111"/>
                </a:cubicBezTo>
                <a:cubicBezTo>
                  <a:pt x="46" y="111"/>
                  <a:pt x="47" y="111"/>
                  <a:pt x="47" y="110"/>
                </a:cubicBezTo>
                <a:cubicBezTo>
                  <a:pt x="47" y="110"/>
                  <a:pt x="47" y="110"/>
                  <a:pt x="48" y="110"/>
                </a:cubicBezTo>
                <a:cubicBezTo>
                  <a:pt x="48" y="110"/>
                  <a:pt x="48" y="110"/>
                  <a:pt x="48" y="110"/>
                </a:cubicBezTo>
                <a:cubicBezTo>
                  <a:pt x="49" y="110"/>
                  <a:pt x="48" y="110"/>
                  <a:pt x="48" y="109"/>
                </a:cubicBezTo>
                <a:cubicBezTo>
                  <a:pt x="48" y="109"/>
                  <a:pt x="48" y="109"/>
                  <a:pt x="48" y="108"/>
                </a:cubicBezTo>
                <a:cubicBezTo>
                  <a:pt x="48" y="108"/>
                  <a:pt x="49" y="107"/>
                  <a:pt x="49" y="107"/>
                </a:cubicBezTo>
                <a:cubicBezTo>
                  <a:pt x="49" y="106"/>
                  <a:pt x="50" y="107"/>
                  <a:pt x="50" y="107"/>
                </a:cubicBezTo>
                <a:cubicBezTo>
                  <a:pt x="51" y="107"/>
                  <a:pt x="51" y="106"/>
                  <a:pt x="52" y="106"/>
                </a:cubicBezTo>
                <a:cubicBezTo>
                  <a:pt x="52" y="106"/>
                  <a:pt x="52" y="105"/>
                  <a:pt x="52" y="106"/>
                </a:cubicBezTo>
                <a:cubicBezTo>
                  <a:pt x="52" y="106"/>
                  <a:pt x="53" y="106"/>
                  <a:pt x="54" y="106"/>
                </a:cubicBezTo>
                <a:cubicBezTo>
                  <a:pt x="55" y="107"/>
                  <a:pt x="56" y="107"/>
                  <a:pt x="57" y="107"/>
                </a:cubicBezTo>
                <a:cubicBezTo>
                  <a:pt x="59" y="107"/>
                  <a:pt x="61" y="108"/>
                  <a:pt x="62" y="108"/>
                </a:cubicBezTo>
                <a:cubicBezTo>
                  <a:pt x="64" y="108"/>
                  <a:pt x="66" y="108"/>
                  <a:pt x="68" y="108"/>
                </a:cubicBezTo>
                <a:cubicBezTo>
                  <a:pt x="69" y="108"/>
                  <a:pt x="69" y="108"/>
                  <a:pt x="70" y="108"/>
                </a:cubicBezTo>
                <a:cubicBezTo>
                  <a:pt x="71" y="108"/>
                  <a:pt x="71" y="108"/>
                  <a:pt x="72" y="108"/>
                </a:cubicBezTo>
                <a:cubicBezTo>
                  <a:pt x="73" y="109"/>
                  <a:pt x="72" y="110"/>
                  <a:pt x="71" y="110"/>
                </a:cubicBezTo>
                <a:cubicBezTo>
                  <a:pt x="69" y="110"/>
                  <a:pt x="69" y="111"/>
                  <a:pt x="68" y="112"/>
                </a:cubicBezTo>
                <a:cubicBezTo>
                  <a:pt x="68" y="112"/>
                  <a:pt x="67" y="113"/>
                  <a:pt x="67" y="114"/>
                </a:cubicBezTo>
                <a:cubicBezTo>
                  <a:pt x="67" y="115"/>
                  <a:pt x="66" y="115"/>
                  <a:pt x="66" y="116"/>
                </a:cubicBezTo>
                <a:cubicBezTo>
                  <a:pt x="66" y="117"/>
                  <a:pt x="67" y="117"/>
                  <a:pt x="67" y="117"/>
                </a:cubicBezTo>
                <a:cubicBezTo>
                  <a:pt x="68" y="117"/>
                  <a:pt x="68" y="116"/>
                  <a:pt x="68" y="115"/>
                </a:cubicBezTo>
                <a:cubicBezTo>
                  <a:pt x="68" y="115"/>
                  <a:pt x="68" y="114"/>
                  <a:pt x="69" y="113"/>
                </a:cubicBezTo>
                <a:cubicBezTo>
                  <a:pt x="69" y="112"/>
                  <a:pt x="69" y="111"/>
                  <a:pt x="70" y="111"/>
                </a:cubicBezTo>
                <a:cubicBezTo>
                  <a:pt x="70" y="111"/>
                  <a:pt x="71" y="111"/>
                  <a:pt x="72" y="111"/>
                </a:cubicBezTo>
                <a:cubicBezTo>
                  <a:pt x="72" y="111"/>
                  <a:pt x="73" y="111"/>
                  <a:pt x="73" y="111"/>
                </a:cubicBezTo>
                <a:cubicBezTo>
                  <a:pt x="74" y="111"/>
                  <a:pt x="74" y="111"/>
                  <a:pt x="75" y="111"/>
                </a:cubicBezTo>
                <a:cubicBezTo>
                  <a:pt x="76" y="111"/>
                  <a:pt x="75" y="110"/>
                  <a:pt x="75" y="109"/>
                </a:cubicBezTo>
                <a:cubicBezTo>
                  <a:pt x="74" y="108"/>
                  <a:pt x="73" y="108"/>
                  <a:pt x="73" y="107"/>
                </a:cubicBezTo>
                <a:cubicBezTo>
                  <a:pt x="73" y="106"/>
                  <a:pt x="73" y="106"/>
                  <a:pt x="73" y="106"/>
                </a:cubicBezTo>
                <a:cubicBezTo>
                  <a:pt x="73" y="105"/>
                  <a:pt x="72" y="105"/>
                  <a:pt x="72" y="105"/>
                </a:cubicBezTo>
                <a:cubicBezTo>
                  <a:pt x="71" y="105"/>
                  <a:pt x="71" y="105"/>
                  <a:pt x="71" y="106"/>
                </a:cubicBezTo>
                <a:cubicBezTo>
                  <a:pt x="71" y="106"/>
                  <a:pt x="70" y="107"/>
                  <a:pt x="70" y="107"/>
                </a:cubicBezTo>
                <a:cubicBezTo>
                  <a:pt x="68" y="107"/>
                  <a:pt x="67" y="107"/>
                  <a:pt x="66" y="107"/>
                </a:cubicBezTo>
                <a:cubicBezTo>
                  <a:pt x="65" y="106"/>
                  <a:pt x="65" y="107"/>
                  <a:pt x="64" y="106"/>
                </a:cubicBezTo>
                <a:cubicBezTo>
                  <a:pt x="64" y="106"/>
                  <a:pt x="63" y="106"/>
                  <a:pt x="63" y="105"/>
                </a:cubicBezTo>
                <a:cubicBezTo>
                  <a:pt x="63" y="105"/>
                  <a:pt x="63" y="104"/>
                  <a:pt x="62" y="104"/>
                </a:cubicBezTo>
                <a:cubicBezTo>
                  <a:pt x="62" y="103"/>
                  <a:pt x="63" y="102"/>
                  <a:pt x="63" y="101"/>
                </a:cubicBezTo>
                <a:cubicBezTo>
                  <a:pt x="63" y="100"/>
                  <a:pt x="64" y="98"/>
                  <a:pt x="63" y="97"/>
                </a:cubicBezTo>
                <a:cubicBezTo>
                  <a:pt x="63" y="95"/>
                  <a:pt x="61" y="94"/>
                  <a:pt x="61" y="92"/>
                </a:cubicBezTo>
                <a:cubicBezTo>
                  <a:pt x="60" y="91"/>
                  <a:pt x="59" y="90"/>
                  <a:pt x="58" y="89"/>
                </a:cubicBezTo>
                <a:cubicBezTo>
                  <a:pt x="57" y="89"/>
                  <a:pt x="56" y="90"/>
                  <a:pt x="56" y="89"/>
                </a:cubicBezTo>
                <a:cubicBezTo>
                  <a:pt x="55" y="89"/>
                  <a:pt x="54" y="89"/>
                  <a:pt x="54" y="89"/>
                </a:cubicBezTo>
                <a:cubicBezTo>
                  <a:pt x="54" y="91"/>
                  <a:pt x="53" y="90"/>
                  <a:pt x="52" y="90"/>
                </a:cubicBezTo>
                <a:cubicBezTo>
                  <a:pt x="52" y="90"/>
                  <a:pt x="53" y="91"/>
                  <a:pt x="53" y="91"/>
                </a:cubicBezTo>
                <a:cubicBezTo>
                  <a:pt x="53" y="91"/>
                  <a:pt x="52" y="91"/>
                  <a:pt x="51" y="91"/>
                </a:cubicBezTo>
                <a:cubicBezTo>
                  <a:pt x="51" y="91"/>
                  <a:pt x="50" y="90"/>
                  <a:pt x="51" y="90"/>
                </a:cubicBezTo>
                <a:cubicBezTo>
                  <a:pt x="50" y="90"/>
                  <a:pt x="51" y="90"/>
                  <a:pt x="50" y="90"/>
                </a:cubicBezTo>
                <a:cubicBezTo>
                  <a:pt x="49" y="90"/>
                  <a:pt x="50" y="90"/>
                  <a:pt x="50" y="90"/>
                </a:cubicBezTo>
                <a:cubicBezTo>
                  <a:pt x="50" y="90"/>
                  <a:pt x="48" y="90"/>
                  <a:pt x="48" y="89"/>
                </a:cubicBezTo>
                <a:cubicBezTo>
                  <a:pt x="48" y="89"/>
                  <a:pt x="48" y="88"/>
                  <a:pt x="48" y="88"/>
                </a:cubicBezTo>
                <a:cubicBezTo>
                  <a:pt x="47" y="88"/>
                  <a:pt x="47" y="89"/>
                  <a:pt x="47" y="89"/>
                </a:cubicBezTo>
                <a:cubicBezTo>
                  <a:pt x="47" y="89"/>
                  <a:pt x="46" y="88"/>
                  <a:pt x="46" y="88"/>
                </a:cubicBezTo>
                <a:cubicBezTo>
                  <a:pt x="45" y="88"/>
                  <a:pt x="44" y="88"/>
                  <a:pt x="43" y="88"/>
                </a:cubicBezTo>
                <a:cubicBezTo>
                  <a:pt x="43" y="88"/>
                  <a:pt x="43" y="88"/>
                  <a:pt x="43" y="88"/>
                </a:cubicBezTo>
                <a:cubicBezTo>
                  <a:pt x="42" y="88"/>
                  <a:pt x="42" y="88"/>
                  <a:pt x="42" y="88"/>
                </a:cubicBezTo>
                <a:cubicBezTo>
                  <a:pt x="41" y="88"/>
                  <a:pt x="41" y="89"/>
                  <a:pt x="41" y="89"/>
                </a:cubicBezTo>
                <a:cubicBezTo>
                  <a:pt x="41" y="89"/>
                  <a:pt x="41" y="89"/>
                  <a:pt x="40" y="89"/>
                </a:cubicBezTo>
                <a:cubicBezTo>
                  <a:pt x="41" y="89"/>
                  <a:pt x="40" y="90"/>
                  <a:pt x="40" y="90"/>
                </a:cubicBezTo>
                <a:cubicBezTo>
                  <a:pt x="40" y="90"/>
                  <a:pt x="40" y="89"/>
                  <a:pt x="40" y="89"/>
                </a:cubicBezTo>
                <a:cubicBezTo>
                  <a:pt x="40" y="89"/>
                  <a:pt x="39" y="90"/>
                  <a:pt x="39" y="90"/>
                </a:cubicBezTo>
                <a:cubicBezTo>
                  <a:pt x="39" y="90"/>
                  <a:pt x="39" y="91"/>
                  <a:pt x="38" y="91"/>
                </a:cubicBezTo>
                <a:cubicBezTo>
                  <a:pt x="38" y="91"/>
                  <a:pt x="39" y="90"/>
                  <a:pt x="38" y="90"/>
                </a:cubicBezTo>
                <a:cubicBezTo>
                  <a:pt x="38" y="90"/>
                  <a:pt x="37" y="90"/>
                  <a:pt x="37" y="90"/>
                </a:cubicBezTo>
                <a:cubicBezTo>
                  <a:pt x="37" y="90"/>
                  <a:pt x="37" y="91"/>
                  <a:pt x="37" y="91"/>
                </a:cubicBezTo>
                <a:cubicBezTo>
                  <a:pt x="37" y="91"/>
                  <a:pt x="37" y="91"/>
                  <a:pt x="37" y="91"/>
                </a:cubicBezTo>
                <a:cubicBezTo>
                  <a:pt x="37" y="91"/>
                  <a:pt x="36" y="92"/>
                  <a:pt x="36" y="92"/>
                </a:cubicBezTo>
                <a:cubicBezTo>
                  <a:pt x="35" y="91"/>
                  <a:pt x="34" y="93"/>
                  <a:pt x="34" y="93"/>
                </a:cubicBezTo>
                <a:cubicBezTo>
                  <a:pt x="34" y="93"/>
                  <a:pt x="33" y="94"/>
                  <a:pt x="33" y="94"/>
                </a:cubicBezTo>
                <a:cubicBezTo>
                  <a:pt x="33" y="94"/>
                  <a:pt x="32" y="94"/>
                  <a:pt x="32" y="94"/>
                </a:cubicBezTo>
                <a:cubicBezTo>
                  <a:pt x="32" y="94"/>
                  <a:pt x="32" y="94"/>
                  <a:pt x="31" y="94"/>
                </a:cubicBezTo>
                <a:cubicBezTo>
                  <a:pt x="31" y="93"/>
                  <a:pt x="31" y="94"/>
                  <a:pt x="31" y="94"/>
                </a:cubicBezTo>
                <a:cubicBezTo>
                  <a:pt x="30" y="94"/>
                  <a:pt x="30" y="94"/>
                  <a:pt x="30" y="94"/>
                </a:cubicBezTo>
                <a:cubicBezTo>
                  <a:pt x="30" y="94"/>
                  <a:pt x="30" y="94"/>
                  <a:pt x="30" y="94"/>
                </a:cubicBezTo>
                <a:cubicBezTo>
                  <a:pt x="30" y="94"/>
                  <a:pt x="30" y="94"/>
                  <a:pt x="29" y="94"/>
                </a:cubicBezTo>
                <a:cubicBezTo>
                  <a:pt x="29" y="94"/>
                  <a:pt x="29" y="94"/>
                  <a:pt x="28" y="93"/>
                </a:cubicBezTo>
                <a:cubicBezTo>
                  <a:pt x="28" y="94"/>
                  <a:pt x="29" y="94"/>
                  <a:pt x="29" y="94"/>
                </a:cubicBezTo>
                <a:cubicBezTo>
                  <a:pt x="29" y="95"/>
                  <a:pt x="28" y="94"/>
                  <a:pt x="28" y="94"/>
                </a:cubicBezTo>
                <a:cubicBezTo>
                  <a:pt x="28" y="94"/>
                  <a:pt x="28" y="95"/>
                  <a:pt x="29" y="95"/>
                </a:cubicBezTo>
                <a:cubicBezTo>
                  <a:pt x="29" y="95"/>
                  <a:pt x="29" y="95"/>
                  <a:pt x="29" y="95"/>
                </a:cubicBezTo>
                <a:cubicBezTo>
                  <a:pt x="29" y="96"/>
                  <a:pt x="28" y="95"/>
                  <a:pt x="28" y="95"/>
                </a:cubicBezTo>
                <a:cubicBezTo>
                  <a:pt x="28" y="95"/>
                  <a:pt x="28" y="95"/>
                  <a:pt x="28" y="95"/>
                </a:cubicBezTo>
                <a:cubicBezTo>
                  <a:pt x="28" y="96"/>
                  <a:pt x="28" y="95"/>
                  <a:pt x="27" y="95"/>
                </a:cubicBezTo>
                <a:cubicBezTo>
                  <a:pt x="27" y="96"/>
                  <a:pt x="28" y="96"/>
                  <a:pt x="28" y="96"/>
                </a:cubicBezTo>
                <a:cubicBezTo>
                  <a:pt x="27" y="96"/>
                  <a:pt x="26" y="95"/>
                  <a:pt x="25" y="95"/>
                </a:cubicBezTo>
                <a:cubicBezTo>
                  <a:pt x="25" y="94"/>
                  <a:pt x="24" y="94"/>
                  <a:pt x="23" y="94"/>
                </a:cubicBezTo>
                <a:cubicBezTo>
                  <a:pt x="23" y="93"/>
                  <a:pt x="22" y="94"/>
                  <a:pt x="22" y="94"/>
                </a:cubicBezTo>
                <a:cubicBezTo>
                  <a:pt x="21" y="93"/>
                  <a:pt x="22" y="93"/>
                  <a:pt x="21" y="93"/>
                </a:cubicBezTo>
                <a:cubicBezTo>
                  <a:pt x="21" y="92"/>
                  <a:pt x="21" y="92"/>
                  <a:pt x="22" y="91"/>
                </a:cubicBezTo>
                <a:cubicBezTo>
                  <a:pt x="22" y="91"/>
                  <a:pt x="23" y="91"/>
                  <a:pt x="23" y="92"/>
                </a:cubicBezTo>
                <a:cubicBezTo>
                  <a:pt x="24" y="92"/>
                  <a:pt x="25" y="92"/>
                  <a:pt x="25" y="91"/>
                </a:cubicBezTo>
                <a:cubicBezTo>
                  <a:pt x="25" y="90"/>
                  <a:pt x="23" y="89"/>
                  <a:pt x="23" y="89"/>
                </a:cubicBezTo>
                <a:cubicBezTo>
                  <a:pt x="22" y="87"/>
                  <a:pt x="21" y="86"/>
                  <a:pt x="20" y="85"/>
                </a:cubicBezTo>
                <a:cubicBezTo>
                  <a:pt x="20" y="85"/>
                  <a:pt x="20" y="84"/>
                  <a:pt x="19" y="84"/>
                </a:cubicBezTo>
                <a:cubicBezTo>
                  <a:pt x="19" y="84"/>
                  <a:pt x="18" y="84"/>
                  <a:pt x="18" y="83"/>
                </a:cubicBezTo>
                <a:cubicBezTo>
                  <a:pt x="17" y="82"/>
                  <a:pt x="16" y="81"/>
                  <a:pt x="15" y="81"/>
                </a:cubicBezTo>
                <a:cubicBezTo>
                  <a:pt x="13" y="80"/>
                  <a:pt x="12" y="81"/>
                  <a:pt x="11" y="80"/>
                </a:cubicBezTo>
                <a:cubicBezTo>
                  <a:pt x="9" y="80"/>
                  <a:pt x="9" y="80"/>
                  <a:pt x="9" y="82"/>
                </a:cubicBezTo>
                <a:cubicBezTo>
                  <a:pt x="9" y="81"/>
                  <a:pt x="7" y="81"/>
                  <a:pt x="7" y="80"/>
                </a:cubicBezTo>
                <a:cubicBezTo>
                  <a:pt x="7" y="79"/>
                  <a:pt x="7" y="79"/>
                  <a:pt x="6" y="79"/>
                </a:cubicBezTo>
                <a:cubicBezTo>
                  <a:pt x="6" y="78"/>
                  <a:pt x="6" y="78"/>
                  <a:pt x="7" y="78"/>
                </a:cubicBezTo>
                <a:cubicBezTo>
                  <a:pt x="7" y="77"/>
                  <a:pt x="7" y="77"/>
                  <a:pt x="7" y="77"/>
                </a:cubicBezTo>
                <a:cubicBezTo>
                  <a:pt x="6" y="77"/>
                  <a:pt x="6" y="76"/>
                  <a:pt x="6" y="76"/>
                </a:cubicBezTo>
                <a:cubicBezTo>
                  <a:pt x="6" y="76"/>
                  <a:pt x="6" y="75"/>
                  <a:pt x="5" y="75"/>
                </a:cubicBezTo>
                <a:cubicBezTo>
                  <a:pt x="4" y="75"/>
                  <a:pt x="3" y="75"/>
                  <a:pt x="2" y="74"/>
                </a:cubicBezTo>
                <a:cubicBezTo>
                  <a:pt x="2" y="74"/>
                  <a:pt x="0" y="74"/>
                  <a:pt x="0" y="74"/>
                </a:cubicBezTo>
                <a:cubicBezTo>
                  <a:pt x="0" y="73"/>
                  <a:pt x="1" y="72"/>
                  <a:pt x="1" y="71"/>
                </a:cubicBezTo>
                <a:cubicBezTo>
                  <a:pt x="1" y="70"/>
                  <a:pt x="1" y="70"/>
                  <a:pt x="1" y="69"/>
                </a:cubicBezTo>
                <a:cubicBezTo>
                  <a:pt x="2" y="68"/>
                  <a:pt x="2" y="68"/>
                  <a:pt x="3" y="67"/>
                </a:cubicBezTo>
                <a:cubicBezTo>
                  <a:pt x="4" y="66"/>
                  <a:pt x="3" y="65"/>
                  <a:pt x="2" y="64"/>
                </a:cubicBezTo>
                <a:cubicBezTo>
                  <a:pt x="1" y="64"/>
                  <a:pt x="1" y="64"/>
                  <a:pt x="1" y="63"/>
                </a:cubicBezTo>
                <a:cubicBezTo>
                  <a:pt x="1" y="62"/>
                  <a:pt x="1" y="61"/>
                  <a:pt x="1" y="60"/>
                </a:cubicBezTo>
                <a:cubicBezTo>
                  <a:pt x="1" y="58"/>
                  <a:pt x="2" y="58"/>
                  <a:pt x="3" y="57"/>
                </a:cubicBezTo>
                <a:cubicBezTo>
                  <a:pt x="3" y="57"/>
                  <a:pt x="4" y="56"/>
                  <a:pt x="4" y="56"/>
                </a:cubicBezTo>
                <a:cubicBezTo>
                  <a:pt x="4" y="55"/>
                  <a:pt x="3" y="55"/>
                  <a:pt x="3" y="55"/>
                </a:cubicBezTo>
                <a:cubicBezTo>
                  <a:pt x="4" y="54"/>
                  <a:pt x="3" y="54"/>
                  <a:pt x="4" y="54"/>
                </a:cubicBezTo>
                <a:cubicBezTo>
                  <a:pt x="4" y="53"/>
                  <a:pt x="4" y="52"/>
                  <a:pt x="5" y="52"/>
                </a:cubicBezTo>
                <a:cubicBezTo>
                  <a:pt x="6" y="52"/>
                  <a:pt x="8" y="54"/>
                  <a:pt x="8" y="54"/>
                </a:cubicBezTo>
                <a:cubicBezTo>
                  <a:pt x="9" y="55"/>
                  <a:pt x="10" y="55"/>
                  <a:pt x="10" y="56"/>
                </a:cubicBezTo>
                <a:cubicBezTo>
                  <a:pt x="11" y="56"/>
                  <a:pt x="11" y="57"/>
                  <a:pt x="11" y="57"/>
                </a:cubicBezTo>
                <a:cubicBezTo>
                  <a:pt x="12" y="58"/>
                  <a:pt x="13" y="59"/>
                  <a:pt x="14" y="59"/>
                </a:cubicBezTo>
                <a:cubicBezTo>
                  <a:pt x="14" y="59"/>
                  <a:pt x="15" y="58"/>
                  <a:pt x="16" y="58"/>
                </a:cubicBezTo>
                <a:cubicBezTo>
                  <a:pt x="16" y="58"/>
                  <a:pt x="17" y="57"/>
                  <a:pt x="17" y="57"/>
                </a:cubicBezTo>
                <a:cubicBezTo>
                  <a:pt x="17" y="56"/>
                  <a:pt x="16" y="56"/>
                  <a:pt x="16" y="56"/>
                </a:cubicBezTo>
                <a:cubicBezTo>
                  <a:pt x="16" y="55"/>
                  <a:pt x="16" y="55"/>
                  <a:pt x="16" y="55"/>
                </a:cubicBezTo>
                <a:cubicBezTo>
                  <a:pt x="16" y="54"/>
                  <a:pt x="15" y="54"/>
                  <a:pt x="15" y="54"/>
                </a:cubicBezTo>
                <a:cubicBezTo>
                  <a:pt x="15" y="53"/>
                  <a:pt x="14" y="52"/>
                  <a:pt x="14" y="51"/>
                </a:cubicBezTo>
                <a:cubicBezTo>
                  <a:pt x="14" y="51"/>
                  <a:pt x="14" y="51"/>
                  <a:pt x="14" y="51"/>
                </a:cubicBezTo>
                <a:cubicBezTo>
                  <a:pt x="14" y="50"/>
                  <a:pt x="13" y="50"/>
                  <a:pt x="13" y="50"/>
                </a:cubicBezTo>
                <a:cubicBezTo>
                  <a:pt x="13" y="50"/>
                  <a:pt x="15" y="51"/>
                  <a:pt x="15" y="51"/>
                </a:cubicBezTo>
                <a:cubicBezTo>
                  <a:pt x="16" y="50"/>
                  <a:pt x="17" y="50"/>
                  <a:pt x="17" y="49"/>
                </a:cubicBezTo>
                <a:cubicBezTo>
                  <a:pt x="17" y="49"/>
                  <a:pt x="18" y="49"/>
                  <a:pt x="18" y="48"/>
                </a:cubicBezTo>
                <a:cubicBezTo>
                  <a:pt x="19" y="48"/>
                  <a:pt x="19" y="48"/>
                  <a:pt x="20" y="48"/>
                </a:cubicBezTo>
                <a:cubicBezTo>
                  <a:pt x="20" y="47"/>
                  <a:pt x="19" y="47"/>
                  <a:pt x="19" y="47"/>
                </a:cubicBezTo>
                <a:cubicBezTo>
                  <a:pt x="19" y="46"/>
                  <a:pt x="19" y="46"/>
                  <a:pt x="19" y="45"/>
                </a:cubicBezTo>
                <a:cubicBezTo>
                  <a:pt x="19" y="45"/>
                  <a:pt x="21" y="45"/>
                  <a:pt x="21" y="45"/>
                </a:cubicBezTo>
                <a:cubicBezTo>
                  <a:pt x="22" y="45"/>
                  <a:pt x="22" y="45"/>
                  <a:pt x="23" y="44"/>
                </a:cubicBezTo>
                <a:cubicBezTo>
                  <a:pt x="23" y="44"/>
                  <a:pt x="26" y="44"/>
                  <a:pt x="26" y="43"/>
                </a:cubicBezTo>
                <a:cubicBezTo>
                  <a:pt x="26" y="42"/>
                  <a:pt x="26" y="42"/>
                  <a:pt x="26" y="42"/>
                </a:cubicBezTo>
                <a:cubicBezTo>
                  <a:pt x="27" y="41"/>
                  <a:pt x="27" y="42"/>
                  <a:pt x="27" y="41"/>
                </a:cubicBezTo>
                <a:cubicBezTo>
                  <a:pt x="27" y="40"/>
                  <a:pt x="28" y="40"/>
                  <a:pt x="28" y="40"/>
                </a:cubicBezTo>
                <a:cubicBezTo>
                  <a:pt x="28" y="40"/>
                  <a:pt x="28" y="40"/>
                  <a:pt x="28" y="40"/>
                </a:cubicBezTo>
                <a:cubicBezTo>
                  <a:pt x="29" y="40"/>
                  <a:pt x="28" y="40"/>
                  <a:pt x="28" y="40"/>
                </a:cubicBezTo>
                <a:cubicBezTo>
                  <a:pt x="29" y="40"/>
                  <a:pt x="30" y="40"/>
                  <a:pt x="29" y="40"/>
                </a:cubicBezTo>
                <a:cubicBezTo>
                  <a:pt x="29" y="39"/>
                  <a:pt x="28" y="39"/>
                  <a:pt x="29" y="38"/>
                </a:cubicBezTo>
                <a:cubicBezTo>
                  <a:pt x="29" y="38"/>
                  <a:pt x="30" y="39"/>
                  <a:pt x="30" y="39"/>
                </a:cubicBezTo>
                <a:cubicBezTo>
                  <a:pt x="31" y="39"/>
                  <a:pt x="32" y="39"/>
                  <a:pt x="32" y="39"/>
                </a:cubicBezTo>
                <a:cubicBezTo>
                  <a:pt x="32" y="39"/>
                  <a:pt x="33" y="39"/>
                  <a:pt x="33" y="39"/>
                </a:cubicBezTo>
                <a:cubicBezTo>
                  <a:pt x="33" y="39"/>
                  <a:pt x="33" y="39"/>
                  <a:pt x="34" y="39"/>
                </a:cubicBezTo>
                <a:cubicBezTo>
                  <a:pt x="34" y="40"/>
                  <a:pt x="35" y="40"/>
                  <a:pt x="34" y="40"/>
                </a:cubicBezTo>
                <a:cubicBezTo>
                  <a:pt x="33" y="41"/>
                  <a:pt x="34" y="41"/>
                  <a:pt x="35" y="41"/>
                </a:cubicBezTo>
                <a:cubicBezTo>
                  <a:pt x="35" y="41"/>
                  <a:pt x="35" y="41"/>
                  <a:pt x="36" y="41"/>
                </a:cubicBezTo>
                <a:cubicBezTo>
                  <a:pt x="37" y="40"/>
                  <a:pt x="36" y="41"/>
                  <a:pt x="37" y="41"/>
                </a:cubicBezTo>
                <a:cubicBezTo>
                  <a:pt x="37" y="42"/>
                  <a:pt x="38" y="41"/>
                  <a:pt x="38" y="41"/>
                </a:cubicBezTo>
                <a:cubicBezTo>
                  <a:pt x="38" y="40"/>
                  <a:pt x="37" y="40"/>
                  <a:pt x="38" y="39"/>
                </a:cubicBezTo>
                <a:cubicBezTo>
                  <a:pt x="38" y="39"/>
                  <a:pt x="39" y="39"/>
                  <a:pt x="39" y="39"/>
                </a:cubicBezTo>
                <a:cubicBezTo>
                  <a:pt x="39" y="39"/>
                  <a:pt x="40" y="39"/>
                  <a:pt x="40" y="39"/>
                </a:cubicBezTo>
                <a:cubicBezTo>
                  <a:pt x="40" y="39"/>
                  <a:pt x="40" y="39"/>
                  <a:pt x="40" y="39"/>
                </a:cubicBezTo>
                <a:cubicBezTo>
                  <a:pt x="41" y="39"/>
                  <a:pt x="41" y="39"/>
                  <a:pt x="41" y="39"/>
                </a:cubicBezTo>
                <a:cubicBezTo>
                  <a:pt x="42" y="39"/>
                  <a:pt x="41" y="38"/>
                  <a:pt x="41" y="38"/>
                </a:cubicBezTo>
                <a:cubicBezTo>
                  <a:pt x="42" y="38"/>
                  <a:pt x="42" y="39"/>
                  <a:pt x="42" y="39"/>
                </a:cubicBezTo>
                <a:cubicBezTo>
                  <a:pt x="43" y="40"/>
                  <a:pt x="43" y="40"/>
                  <a:pt x="43" y="41"/>
                </a:cubicBezTo>
                <a:cubicBezTo>
                  <a:pt x="44" y="41"/>
                  <a:pt x="45" y="42"/>
                  <a:pt x="45" y="41"/>
                </a:cubicBezTo>
                <a:cubicBezTo>
                  <a:pt x="46" y="41"/>
                  <a:pt x="46" y="41"/>
                  <a:pt x="47" y="41"/>
                </a:cubicBezTo>
                <a:cubicBezTo>
                  <a:pt x="47" y="42"/>
                  <a:pt x="48" y="41"/>
                  <a:pt x="49" y="41"/>
                </a:cubicBezTo>
                <a:cubicBezTo>
                  <a:pt x="49" y="41"/>
                  <a:pt x="49" y="41"/>
                  <a:pt x="50" y="41"/>
                </a:cubicBezTo>
                <a:cubicBezTo>
                  <a:pt x="51" y="41"/>
                  <a:pt x="51" y="41"/>
                  <a:pt x="52" y="41"/>
                </a:cubicBezTo>
                <a:cubicBezTo>
                  <a:pt x="52" y="42"/>
                  <a:pt x="53" y="42"/>
                  <a:pt x="53" y="42"/>
                </a:cubicBezTo>
                <a:cubicBezTo>
                  <a:pt x="54" y="42"/>
                  <a:pt x="53" y="43"/>
                  <a:pt x="54" y="43"/>
                </a:cubicBezTo>
                <a:cubicBezTo>
                  <a:pt x="54" y="44"/>
                  <a:pt x="55" y="44"/>
                  <a:pt x="56" y="44"/>
                </a:cubicBezTo>
                <a:cubicBezTo>
                  <a:pt x="57" y="44"/>
                  <a:pt x="57" y="44"/>
                  <a:pt x="58" y="45"/>
                </a:cubicBezTo>
                <a:cubicBezTo>
                  <a:pt x="58" y="45"/>
                  <a:pt x="58" y="45"/>
                  <a:pt x="59" y="46"/>
                </a:cubicBezTo>
                <a:cubicBezTo>
                  <a:pt x="59" y="46"/>
                  <a:pt x="59" y="47"/>
                  <a:pt x="60" y="47"/>
                </a:cubicBezTo>
                <a:cubicBezTo>
                  <a:pt x="61" y="47"/>
                  <a:pt x="61" y="47"/>
                  <a:pt x="62" y="48"/>
                </a:cubicBezTo>
                <a:cubicBezTo>
                  <a:pt x="63" y="48"/>
                  <a:pt x="62" y="49"/>
                  <a:pt x="62" y="49"/>
                </a:cubicBezTo>
                <a:cubicBezTo>
                  <a:pt x="62" y="50"/>
                  <a:pt x="62" y="51"/>
                  <a:pt x="64" y="51"/>
                </a:cubicBezTo>
                <a:cubicBezTo>
                  <a:pt x="65" y="51"/>
                  <a:pt x="64" y="49"/>
                  <a:pt x="64" y="48"/>
                </a:cubicBezTo>
                <a:cubicBezTo>
                  <a:pt x="63" y="48"/>
                  <a:pt x="63" y="47"/>
                  <a:pt x="63" y="47"/>
                </a:cubicBezTo>
                <a:cubicBezTo>
                  <a:pt x="62" y="47"/>
                  <a:pt x="62" y="47"/>
                  <a:pt x="62" y="47"/>
                </a:cubicBezTo>
                <a:cubicBezTo>
                  <a:pt x="62" y="46"/>
                  <a:pt x="62" y="46"/>
                  <a:pt x="63" y="46"/>
                </a:cubicBezTo>
                <a:cubicBezTo>
                  <a:pt x="64" y="46"/>
                  <a:pt x="64" y="46"/>
                  <a:pt x="65" y="47"/>
                </a:cubicBezTo>
                <a:cubicBezTo>
                  <a:pt x="65" y="47"/>
                  <a:pt x="66" y="47"/>
                  <a:pt x="67" y="47"/>
                </a:cubicBezTo>
                <a:cubicBezTo>
                  <a:pt x="67" y="48"/>
                  <a:pt x="67" y="48"/>
                  <a:pt x="68" y="49"/>
                </a:cubicBezTo>
                <a:cubicBezTo>
                  <a:pt x="68" y="49"/>
                  <a:pt x="69" y="49"/>
                  <a:pt x="69" y="50"/>
                </a:cubicBezTo>
                <a:cubicBezTo>
                  <a:pt x="70" y="50"/>
                  <a:pt x="71" y="50"/>
                  <a:pt x="71" y="50"/>
                </a:cubicBezTo>
                <a:cubicBezTo>
                  <a:pt x="72" y="50"/>
                  <a:pt x="73" y="51"/>
                  <a:pt x="73" y="51"/>
                </a:cubicBezTo>
                <a:cubicBezTo>
                  <a:pt x="74" y="51"/>
                  <a:pt x="74" y="50"/>
                  <a:pt x="75" y="50"/>
                </a:cubicBezTo>
                <a:cubicBezTo>
                  <a:pt x="75" y="50"/>
                  <a:pt x="76" y="49"/>
                  <a:pt x="76" y="49"/>
                </a:cubicBezTo>
                <a:cubicBezTo>
                  <a:pt x="76" y="48"/>
                  <a:pt x="76" y="47"/>
                  <a:pt x="77" y="47"/>
                </a:cubicBezTo>
                <a:cubicBezTo>
                  <a:pt x="77" y="47"/>
                  <a:pt x="78" y="48"/>
                  <a:pt x="78" y="47"/>
                </a:cubicBezTo>
                <a:cubicBezTo>
                  <a:pt x="77" y="46"/>
                  <a:pt x="78" y="47"/>
                  <a:pt x="78" y="46"/>
                </a:cubicBezTo>
                <a:cubicBezTo>
                  <a:pt x="78" y="46"/>
                  <a:pt x="78" y="45"/>
                  <a:pt x="79" y="46"/>
                </a:cubicBezTo>
                <a:cubicBezTo>
                  <a:pt x="79" y="46"/>
                  <a:pt x="80" y="47"/>
                  <a:pt x="80" y="46"/>
                </a:cubicBezTo>
                <a:cubicBezTo>
                  <a:pt x="80" y="46"/>
                  <a:pt x="80" y="46"/>
                  <a:pt x="80" y="45"/>
                </a:cubicBezTo>
                <a:cubicBezTo>
                  <a:pt x="81" y="45"/>
                  <a:pt x="81" y="46"/>
                  <a:pt x="82" y="46"/>
                </a:cubicBezTo>
                <a:cubicBezTo>
                  <a:pt x="82" y="45"/>
                  <a:pt x="83" y="45"/>
                  <a:pt x="84" y="45"/>
                </a:cubicBezTo>
                <a:cubicBezTo>
                  <a:pt x="84" y="45"/>
                  <a:pt x="84" y="45"/>
                  <a:pt x="84" y="46"/>
                </a:cubicBezTo>
                <a:cubicBezTo>
                  <a:pt x="84" y="46"/>
                  <a:pt x="85" y="46"/>
                  <a:pt x="85" y="46"/>
                </a:cubicBezTo>
                <a:cubicBezTo>
                  <a:pt x="86" y="47"/>
                  <a:pt x="86" y="47"/>
                  <a:pt x="87" y="48"/>
                </a:cubicBezTo>
                <a:cubicBezTo>
                  <a:pt x="87" y="48"/>
                  <a:pt x="87" y="47"/>
                  <a:pt x="88" y="47"/>
                </a:cubicBezTo>
                <a:cubicBezTo>
                  <a:pt x="88" y="47"/>
                  <a:pt x="89" y="48"/>
                  <a:pt x="89" y="47"/>
                </a:cubicBezTo>
                <a:cubicBezTo>
                  <a:pt x="90" y="47"/>
                  <a:pt x="89" y="46"/>
                  <a:pt x="89" y="45"/>
                </a:cubicBezTo>
                <a:cubicBezTo>
                  <a:pt x="89" y="45"/>
                  <a:pt x="92" y="45"/>
                  <a:pt x="92" y="46"/>
                </a:cubicBezTo>
                <a:cubicBezTo>
                  <a:pt x="92" y="46"/>
                  <a:pt x="93" y="45"/>
                  <a:pt x="93" y="45"/>
                </a:cubicBezTo>
                <a:cubicBezTo>
                  <a:pt x="93" y="44"/>
                  <a:pt x="94" y="45"/>
                  <a:pt x="94" y="45"/>
                </a:cubicBezTo>
                <a:cubicBezTo>
                  <a:pt x="95" y="46"/>
                  <a:pt x="96" y="45"/>
                  <a:pt x="96" y="46"/>
                </a:cubicBezTo>
                <a:cubicBezTo>
                  <a:pt x="96" y="46"/>
                  <a:pt x="96" y="47"/>
                  <a:pt x="96" y="47"/>
                </a:cubicBezTo>
                <a:cubicBezTo>
                  <a:pt x="96" y="48"/>
                  <a:pt x="97" y="47"/>
                  <a:pt x="97" y="48"/>
                </a:cubicBezTo>
                <a:cubicBezTo>
                  <a:pt x="97" y="49"/>
                  <a:pt x="98" y="48"/>
                  <a:pt x="98" y="48"/>
                </a:cubicBezTo>
                <a:cubicBezTo>
                  <a:pt x="98" y="48"/>
                  <a:pt x="99" y="49"/>
                  <a:pt x="99" y="49"/>
                </a:cubicBezTo>
                <a:cubicBezTo>
                  <a:pt x="100" y="50"/>
                  <a:pt x="102" y="49"/>
                  <a:pt x="103" y="50"/>
                </a:cubicBezTo>
                <a:cubicBezTo>
                  <a:pt x="103" y="50"/>
                  <a:pt x="104" y="50"/>
                  <a:pt x="104" y="50"/>
                </a:cubicBezTo>
                <a:cubicBezTo>
                  <a:pt x="105" y="50"/>
                  <a:pt x="105" y="51"/>
                  <a:pt x="105" y="51"/>
                </a:cubicBezTo>
                <a:cubicBezTo>
                  <a:pt x="105" y="51"/>
                  <a:pt x="106" y="51"/>
                  <a:pt x="105" y="51"/>
                </a:cubicBezTo>
                <a:cubicBezTo>
                  <a:pt x="105" y="51"/>
                  <a:pt x="104" y="51"/>
                  <a:pt x="105" y="51"/>
                </a:cubicBezTo>
                <a:cubicBezTo>
                  <a:pt x="106" y="52"/>
                  <a:pt x="106" y="51"/>
                  <a:pt x="106" y="51"/>
                </a:cubicBezTo>
                <a:cubicBezTo>
                  <a:pt x="107" y="51"/>
                  <a:pt x="107" y="51"/>
                  <a:pt x="108" y="51"/>
                </a:cubicBezTo>
                <a:cubicBezTo>
                  <a:pt x="108" y="50"/>
                  <a:pt x="108" y="50"/>
                  <a:pt x="108" y="49"/>
                </a:cubicBezTo>
                <a:cubicBezTo>
                  <a:pt x="108" y="48"/>
                  <a:pt x="109" y="47"/>
                  <a:pt x="110" y="48"/>
                </a:cubicBezTo>
                <a:cubicBezTo>
                  <a:pt x="111" y="50"/>
                  <a:pt x="113" y="50"/>
                  <a:pt x="114" y="50"/>
                </a:cubicBezTo>
                <a:cubicBezTo>
                  <a:pt x="116" y="50"/>
                  <a:pt x="117" y="49"/>
                  <a:pt x="119" y="49"/>
                </a:cubicBezTo>
                <a:cubicBezTo>
                  <a:pt x="121" y="49"/>
                  <a:pt x="120" y="47"/>
                  <a:pt x="120" y="46"/>
                </a:cubicBezTo>
                <a:cubicBezTo>
                  <a:pt x="120" y="45"/>
                  <a:pt x="120" y="44"/>
                  <a:pt x="121" y="43"/>
                </a:cubicBezTo>
                <a:cubicBezTo>
                  <a:pt x="120" y="43"/>
                  <a:pt x="120" y="43"/>
                  <a:pt x="119" y="42"/>
                </a:cubicBezTo>
                <a:cubicBezTo>
                  <a:pt x="119" y="42"/>
                  <a:pt x="118" y="41"/>
                  <a:pt x="117" y="41"/>
                </a:cubicBezTo>
                <a:cubicBezTo>
                  <a:pt x="116" y="41"/>
                  <a:pt x="115" y="41"/>
                  <a:pt x="115" y="41"/>
                </a:cubicBezTo>
                <a:cubicBezTo>
                  <a:pt x="114" y="41"/>
                  <a:pt x="114" y="40"/>
                  <a:pt x="113" y="40"/>
                </a:cubicBezTo>
                <a:cubicBezTo>
                  <a:pt x="112" y="40"/>
                  <a:pt x="111" y="40"/>
                  <a:pt x="110" y="39"/>
                </a:cubicBezTo>
                <a:cubicBezTo>
                  <a:pt x="110" y="39"/>
                  <a:pt x="109" y="39"/>
                  <a:pt x="109" y="39"/>
                </a:cubicBezTo>
                <a:cubicBezTo>
                  <a:pt x="108" y="39"/>
                  <a:pt x="109" y="39"/>
                  <a:pt x="109" y="39"/>
                </a:cubicBezTo>
                <a:cubicBezTo>
                  <a:pt x="110" y="38"/>
                  <a:pt x="109" y="38"/>
                  <a:pt x="108" y="37"/>
                </a:cubicBezTo>
                <a:cubicBezTo>
                  <a:pt x="107" y="37"/>
                  <a:pt x="107" y="37"/>
                  <a:pt x="106" y="37"/>
                </a:cubicBezTo>
                <a:cubicBezTo>
                  <a:pt x="106" y="37"/>
                  <a:pt x="106" y="37"/>
                  <a:pt x="106" y="37"/>
                </a:cubicBezTo>
                <a:cubicBezTo>
                  <a:pt x="106" y="37"/>
                  <a:pt x="104" y="36"/>
                  <a:pt x="105" y="36"/>
                </a:cubicBezTo>
                <a:cubicBezTo>
                  <a:pt x="105" y="36"/>
                  <a:pt x="106" y="36"/>
                  <a:pt x="106" y="36"/>
                </a:cubicBezTo>
                <a:cubicBezTo>
                  <a:pt x="107" y="36"/>
                  <a:pt x="107" y="35"/>
                  <a:pt x="108" y="35"/>
                </a:cubicBezTo>
                <a:cubicBezTo>
                  <a:pt x="108" y="34"/>
                  <a:pt x="109" y="35"/>
                  <a:pt x="110" y="34"/>
                </a:cubicBezTo>
                <a:cubicBezTo>
                  <a:pt x="110" y="33"/>
                  <a:pt x="112" y="32"/>
                  <a:pt x="112" y="32"/>
                </a:cubicBezTo>
                <a:cubicBezTo>
                  <a:pt x="112" y="32"/>
                  <a:pt x="112" y="32"/>
                  <a:pt x="111" y="31"/>
                </a:cubicBezTo>
                <a:cubicBezTo>
                  <a:pt x="111" y="31"/>
                  <a:pt x="111" y="30"/>
                  <a:pt x="111" y="30"/>
                </a:cubicBezTo>
                <a:cubicBezTo>
                  <a:pt x="110" y="30"/>
                  <a:pt x="110" y="30"/>
                  <a:pt x="110" y="30"/>
                </a:cubicBezTo>
                <a:cubicBezTo>
                  <a:pt x="110" y="29"/>
                  <a:pt x="109" y="29"/>
                  <a:pt x="109" y="29"/>
                </a:cubicBezTo>
                <a:cubicBezTo>
                  <a:pt x="108" y="29"/>
                  <a:pt x="108" y="28"/>
                  <a:pt x="109" y="27"/>
                </a:cubicBezTo>
                <a:cubicBezTo>
                  <a:pt x="110" y="27"/>
                  <a:pt x="111" y="26"/>
                  <a:pt x="110" y="25"/>
                </a:cubicBezTo>
                <a:cubicBezTo>
                  <a:pt x="111" y="25"/>
                  <a:pt x="111" y="25"/>
                  <a:pt x="112" y="25"/>
                </a:cubicBezTo>
                <a:cubicBezTo>
                  <a:pt x="113" y="25"/>
                  <a:pt x="113" y="25"/>
                  <a:pt x="114" y="25"/>
                </a:cubicBezTo>
                <a:cubicBezTo>
                  <a:pt x="115" y="26"/>
                  <a:pt x="115" y="25"/>
                  <a:pt x="116" y="25"/>
                </a:cubicBezTo>
                <a:cubicBezTo>
                  <a:pt x="116" y="25"/>
                  <a:pt x="117" y="25"/>
                  <a:pt x="117" y="25"/>
                </a:cubicBezTo>
                <a:cubicBezTo>
                  <a:pt x="117" y="25"/>
                  <a:pt x="117" y="26"/>
                  <a:pt x="118" y="26"/>
                </a:cubicBezTo>
                <a:cubicBezTo>
                  <a:pt x="119" y="26"/>
                  <a:pt x="119" y="25"/>
                  <a:pt x="119" y="25"/>
                </a:cubicBezTo>
                <a:cubicBezTo>
                  <a:pt x="119" y="24"/>
                  <a:pt x="118" y="24"/>
                  <a:pt x="118" y="24"/>
                </a:cubicBezTo>
                <a:cubicBezTo>
                  <a:pt x="117" y="24"/>
                  <a:pt x="116" y="24"/>
                  <a:pt x="115" y="23"/>
                </a:cubicBezTo>
                <a:cubicBezTo>
                  <a:pt x="115" y="23"/>
                  <a:pt x="115" y="23"/>
                  <a:pt x="115" y="23"/>
                </a:cubicBezTo>
                <a:cubicBezTo>
                  <a:pt x="114" y="23"/>
                  <a:pt x="114" y="23"/>
                  <a:pt x="114" y="23"/>
                </a:cubicBezTo>
                <a:cubicBezTo>
                  <a:pt x="113" y="23"/>
                  <a:pt x="112" y="22"/>
                  <a:pt x="111" y="22"/>
                </a:cubicBezTo>
                <a:cubicBezTo>
                  <a:pt x="111" y="22"/>
                  <a:pt x="110" y="22"/>
                  <a:pt x="110" y="21"/>
                </a:cubicBezTo>
                <a:cubicBezTo>
                  <a:pt x="110" y="21"/>
                  <a:pt x="110" y="20"/>
                  <a:pt x="110" y="20"/>
                </a:cubicBezTo>
                <a:cubicBezTo>
                  <a:pt x="111" y="20"/>
                  <a:pt x="111" y="20"/>
                  <a:pt x="111" y="20"/>
                </a:cubicBezTo>
                <a:cubicBezTo>
                  <a:pt x="112" y="21"/>
                  <a:pt x="112" y="20"/>
                  <a:pt x="112" y="20"/>
                </a:cubicBezTo>
                <a:cubicBezTo>
                  <a:pt x="113" y="20"/>
                  <a:pt x="113" y="19"/>
                  <a:pt x="112" y="19"/>
                </a:cubicBezTo>
                <a:cubicBezTo>
                  <a:pt x="111" y="19"/>
                  <a:pt x="111" y="19"/>
                  <a:pt x="110" y="19"/>
                </a:cubicBezTo>
                <a:cubicBezTo>
                  <a:pt x="110" y="19"/>
                  <a:pt x="109" y="19"/>
                  <a:pt x="109" y="19"/>
                </a:cubicBezTo>
                <a:cubicBezTo>
                  <a:pt x="108" y="19"/>
                  <a:pt x="107" y="19"/>
                  <a:pt x="107" y="18"/>
                </a:cubicBezTo>
                <a:cubicBezTo>
                  <a:pt x="107" y="18"/>
                  <a:pt x="108" y="19"/>
                  <a:pt x="108" y="18"/>
                </a:cubicBezTo>
                <a:cubicBezTo>
                  <a:pt x="108" y="18"/>
                  <a:pt x="108" y="18"/>
                  <a:pt x="108" y="18"/>
                </a:cubicBezTo>
                <a:cubicBezTo>
                  <a:pt x="108" y="18"/>
                  <a:pt x="108" y="18"/>
                  <a:pt x="108" y="17"/>
                </a:cubicBezTo>
                <a:cubicBezTo>
                  <a:pt x="109" y="17"/>
                  <a:pt x="109" y="17"/>
                  <a:pt x="108" y="16"/>
                </a:cubicBezTo>
                <a:cubicBezTo>
                  <a:pt x="108" y="16"/>
                  <a:pt x="106" y="16"/>
                  <a:pt x="107" y="15"/>
                </a:cubicBezTo>
                <a:cubicBezTo>
                  <a:pt x="107" y="15"/>
                  <a:pt x="108" y="15"/>
                  <a:pt x="108" y="16"/>
                </a:cubicBezTo>
                <a:cubicBezTo>
                  <a:pt x="109" y="16"/>
                  <a:pt x="108" y="14"/>
                  <a:pt x="108" y="14"/>
                </a:cubicBezTo>
                <a:cubicBezTo>
                  <a:pt x="109" y="14"/>
                  <a:pt x="109" y="14"/>
                  <a:pt x="109" y="14"/>
                </a:cubicBezTo>
                <a:cubicBezTo>
                  <a:pt x="110" y="14"/>
                  <a:pt x="110" y="14"/>
                  <a:pt x="110" y="14"/>
                </a:cubicBezTo>
                <a:cubicBezTo>
                  <a:pt x="111" y="15"/>
                  <a:pt x="112" y="16"/>
                  <a:pt x="112" y="15"/>
                </a:cubicBezTo>
                <a:cubicBezTo>
                  <a:pt x="112" y="15"/>
                  <a:pt x="113" y="15"/>
                  <a:pt x="113" y="15"/>
                </a:cubicBezTo>
                <a:cubicBezTo>
                  <a:pt x="113" y="15"/>
                  <a:pt x="114" y="15"/>
                  <a:pt x="114" y="15"/>
                </a:cubicBezTo>
                <a:cubicBezTo>
                  <a:pt x="115" y="15"/>
                  <a:pt x="115" y="15"/>
                  <a:pt x="115" y="15"/>
                </a:cubicBezTo>
                <a:cubicBezTo>
                  <a:pt x="115" y="14"/>
                  <a:pt x="116" y="14"/>
                  <a:pt x="116" y="14"/>
                </a:cubicBezTo>
                <a:cubicBezTo>
                  <a:pt x="116" y="14"/>
                  <a:pt x="118" y="14"/>
                  <a:pt x="118" y="15"/>
                </a:cubicBezTo>
                <a:cubicBezTo>
                  <a:pt x="118" y="15"/>
                  <a:pt x="118" y="15"/>
                  <a:pt x="118" y="15"/>
                </a:cubicBezTo>
                <a:cubicBezTo>
                  <a:pt x="118" y="16"/>
                  <a:pt x="119" y="16"/>
                  <a:pt x="119" y="16"/>
                </a:cubicBezTo>
                <a:cubicBezTo>
                  <a:pt x="119" y="16"/>
                  <a:pt x="119" y="15"/>
                  <a:pt x="119" y="15"/>
                </a:cubicBezTo>
                <a:cubicBezTo>
                  <a:pt x="119" y="15"/>
                  <a:pt x="120" y="15"/>
                  <a:pt x="119" y="15"/>
                </a:cubicBezTo>
                <a:cubicBezTo>
                  <a:pt x="119" y="15"/>
                  <a:pt x="119" y="14"/>
                  <a:pt x="119" y="14"/>
                </a:cubicBezTo>
                <a:cubicBezTo>
                  <a:pt x="120" y="14"/>
                  <a:pt x="121" y="14"/>
                  <a:pt x="123" y="14"/>
                </a:cubicBezTo>
                <a:cubicBezTo>
                  <a:pt x="123" y="14"/>
                  <a:pt x="124" y="14"/>
                  <a:pt x="123" y="13"/>
                </a:cubicBezTo>
                <a:cubicBezTo>
                  <a:pt x="123" y="13"/>
                  <a:pt x="124" y="13"/>
                  <a:pt x="124" y="13"/>
                </a:cubicBezTo>
                <a:cubicBezTo>
                  <a:pt x="126" y="13"/>
                  <a:pt x="127" y="12"/>
                  <a:pt x="128" y="12"/>
                </a:cubicBezTo>
                <a:cubicBezTo>
                  <a:pt x="129" y="12"/>
                  <a:pt x="129" y="13"/>
                  <a:pt x="130" y="13"/>
                </a:cubicBezTo>
                <a:cubicBezTo>
                  <a:pt x="131" y="12"/>
                  <a:pt x="130" y="12"/>
                  <a:pt x="130" y="12"/>
                </a:cubicBezTo>
                <a:cubicBezTo>
                  <a:pt x="130" y="11"/>
                  <a:pt x="133" y="11"/>
                  <a:pt x="134" y="11"/>
                </a:cubicBezTo>
                <a:cubicBezTo>
                  <a:pt x="135" y="10"/>
                  <a:pt x="135" y="11"/>
                  <a:pt x="135" y="11"/>
                </a:cubicBezTo>
                <a:cubicBezTo>
                  <a:pt x="136" y="11"/>
                  <a:pt x="136" y="11"/>
                  <a:pt x="137" y="11"/>
                </a:cubicBezTo>
                <a:cubicBezTo>
                  <a:pt x="137" y="10"/>
                  <a:pt x="140" y="12"/>
                  <a:pt x="139" y="11"/>
                </a:cubicBezTo>
                <a:cubicBezTo>
                  <a:pt x="139" y="10"/>
                  <a:pt x="139" y="9"/>
                  <a:pt x="139" y="9"/>
                </a:cubicBezTo>
                <a:cubicBezTo>
                  <a:pt x="140" y="9"/>
                  <a:pt x="141" y="9"/>
                  <a:pt x="141" y="9"/>
                </a:cubicBezTo>
                <a:cubicBezTo>
                  <a:pt x="141" y="9"/>
                  <a:pt x="140" y="8"/>
                  <a:pt x="141" y="8"/>
                </a:cubicBezTo>
                <a:cubicBezTo>
                  <a:pt x="141" y="8"/>
                  <a:pt x="142" y="8"/>
                  <a:pt x="143" y="8"/>
                </a:cubicBezTo>
                <a:cubicBezTo>
                  <a:pt x="143" y="8"/>
                  <a:pt x="143" y="8"/>
                  <a:pt x="144" y="7"/>
                </a:cubicBezTo>
                <a:cubicBezTo>
                  <a:pt x="144" y="7"/>
                  <a:pt x="144" y="8"/>
                  <a:pt x="145" y="8"/>
                </a:cubicBezTo>
                <a:cubicBezTo>
                  <a:pt x="145" y="8"/>
                  <a:pt x="146" y="8"/>
                  <a:pt x="147" y="8"/>
                </a:cubicBezTo>
                <a:cubicBezTo>
                  <a:pt x="148" y="7"/>
                  <a:pt x="149" y="7"/>
                  <a:pt x="150" y="7"/>
                </a:cubicBezTo>
                <a:cubicBezTo>
                  <a:pt x="150" y="7"/>
                  <a:pt x="151" y="7"/>
                  <a:pt x="151" y="7"/>
                </a:cubicBezTo>
                <a:cubicBezTo>
                  <a:pt x="152" y="7"/>
                  <a:pt x="153" y="6"/>
                  <a:pt x="153" y="6"/>
                </a:cubicBezTo>
                <a:cubicBezTo>
                  <a:pt x="154" y="6"/>
                  <a:pt x="154" y="6"/>
                  <a:pt x="154" y="6"/>
                </a:cubicBezTo>
                <a:cubicBezTo>
                  <a:pt x="155" y="6"/>
                  <a:pt x="154" y="6"/>
                  <a:pt x="155" y="6"/>
                </a:cubicBezTo>
                <a:cubicBezTo>
                  <a:pt x="156" y="6"/>
                  <a:pt x="156" y="6"/>
                  <a:pt x="157" y="6"/>
                </a:cubicBezTo>
                <a:cubicBezTo>
                  <a:pt x="158" y="6"/>
                  <a:pt x="158" y="5"/>
                  <a:pt x="159" y="5"/>
                </a:cubicBezTo>
                <a:cubicBezTo>
                  <a:pt x="159" y="5"/>
                  <a:pt x="160" y="5"/>
                  <a:pt x="160" y="5"/>
                </a:cubicBezTo>
                <a:cubicBezTo>
                  <a:pt x="161" y="5"/>
                  <a:pt x="161" y="5"/>
                  <a:pt x="161" y="5"/>
                </a:cubicBezTo>
                <a:cubicBezTo>
                  <a:pt x="162" y="4"/>
                  <a:pt x="161" y="4"/>
                  <a:pt x="162" y="4"/>
                </a:cubicBezTo>
                <a:cubicBezTo>
                  <a:pt x="162" y="4"/>
                  <a:pt x="162" y="4"/>
                  <a:pt x="162" y="4"/>
                </a:cubicBezTo>
                <a:cubicBezTo>
                  <a:pt x="162" y="3"/>
                  <a:pt x="161" y="3"/>
                  <a:pt x="161" y="3"/>
                </a:cubicBezTo>
                <a:cubicBezTo>
                  <a:pt x="161" y="3"/>
                  <a:pt x="160" y="2"/>
                  <a:pt x="161" y="2"/>
                </a:cubicBezTo>
                <a:cubicBezTo>
                  <a:pt x="161" y="2"/>
                  <a:pt x="162" y="2"/>
                  <a:pt x="162" y="2"/>
                </a:cubicBezTo>
                <a:cubicBezTo>
                  <a:pt x="163" y="2"/>
                  <a:pt x="164" y="2"/>
                  <a:pt x="164" y="2"/>
                </a:cubicBezTo>
                <a:cubicBezTo>
                  <a:pt x="164" y="2"/>
                  <a:pt x="164" y="2"/>
                  <a:pt x="164" y="1"/>
                </a:cubicBezTo>
                <a:cubicBezTo>
                  <a:pt x="164" y="1"/>
                  <a:pt x="164" y="1"/>
                  <a:pt x="164" y="1"/>
                </a:cubicBezTo>
                <a:cubicBezTo>
                  <a:pt x="164" y="1"/>
                  <a:pt x="164" y="1"/>
                  <a:pt x="164" y="1"/>
                </a:cubicBezTo>
                <a:cubicBezTo>
                  <a:pt x="165" y="1"/>
                  <a:pt x="165" y="1"/>
                  <a:pt x="165" y="1"/>
                </a:cubicBezTo>
                <a:cubicBezTo>
                  <a:pt x="166" y="1"/>
                  <a:pt x="166" y="1"/>
                  <a:pt x="166" y="1"/>
                </a:cubicBezTo>
                <a:cubicBezTo>
                  <a:pt x="167" y="1"/>
                  <a:pt x="166" y="1"/>
                  <a:pt x="166" y="1"/>
                </a:cubicBezTo>
                <a:cubicBezTo>
                  <a:pt x="166" y="0"/>
                  <a:pt x="165" y="0"/>
                  <a:pt x="166" y="0"/>
                </a:cubicBezTo>
                <a:cubicBezTo>
                  <a:pt x="166" y="0"/>
                  <a:pt x="167" y="0"/>
                  <a:pt x="167" y="0"/>
                </a:cubicBezTo>
                <a:cubicBezTo>
                  <a:pt x="168" y="0"/>
                  <a:pt x="168" y="1"/>
                  <a:pt x="168" y="1"/>
                </a:cubicBezTo>
                <a:cubicBezTo>
                  <a:pt x="169" y="0"/>
                  <a:pt x="170" y="0"/>
                  <a:pt x="170" y="1"/>
                </a:cubicBezTo>
                <a:cubicBezTo>
                  <a:pt x="171" y="1"/>
                  <a:pt x="172" y="1"/>
                  <a:pt x="173" y="1"/>
                </a:cubicBezTo>
                <a:cubicBezTo>
                  <a:pt x="173" y="1"/>
                  <a:pt x="174" y="2"/>
                  <a:pt x="174" y="2"/>
                </a:cubicBezTo>
                <a:cubicBezTo>
                  <a:pt x="174" y="2"/>
                  <a:pt x="175" y="2"/>
                  <a:pt x="175" y="2"/>
                </a:cubicBezTo>
                <a:cubicBezTo>
                  <a:pt x="176" y="2"/>
                  <a:pt x="176" y="3"/>
                  <a:pt x="177" y="3"/>
                </a:cubicBezTo>
                <a:cubicBezTo>
                  <a:pt x="177" y="3"/>
                  <a:pt x="178" y="2"/>
                  <a:pt x="178" y="2"/>
                </a:cubicBezTo>
                <a:cubicBezTo>
                  <a:pt x="178" y="2"/>
                  <a:pt x="178" y="2"/>
                  <a:pt x="178" y="1"/>
                </a:cubicBezTo>
                <a:cubicBezTo>
                  <a:pt x="179" y="1"/>
                  <a:pt x="179" y="1"/>
                  <a:pt x="179" y="1"/>
                </a:cubicBezTo>
                <a:cubicBezTo>
                  <a:pt x="180" y="1"/>
                  <a:pt x="180" y="1"/>
                  <a:pt x="180" y="1"/>
                </a:cubicBezTo>
                <a:cubicBezTo>
                  <a:pt x="181" y="1"/>
                  <a:pt x="181" y="2"/>
                  <a:pt x="182" y="2"/>
                </a:cubicBezTo>
                <a:cubicBezTo>
                  <a:pt x="183" y="3"/>
                  <a:pt x="183" y="3"/>
                  <a:pt x="184" y="4"/>
                </a:cubicBezTo>
                <a:cubicBezTo>
                  <a:pt x="184" y="4"/>
                  <a:pt x="184" y="5"/>
                  <a:pt x="184" y="6"/>
                </a:cubicBezTo>
                <a:cubicBezTo>
                  <a:pt x="185" y="6"/>
                  <a:pt x="185" y="7"/>
                  <a:pt x="186" y="7"/>
                </a:cubicBezTo>
                <a:cubicBezTo>
                  <a:pt x="187" y="7"/>
                  <a:pt x="187" y="7"/>
                  <a:pt x="187" y="8"/>
                </a:cubicBezTo>
                <a:cubicBezTo>
                  <a:pt x="188" y="8"/>
                  <a:pt x="188" y="8"/>
                  <a:pt x="187" y="8"/>
                </a:cubicBezTo>
                <a:cubicBezTo>
                  <a:pt x="187" y="8"/>
                  <a:pt x="187" y="10"/>
                  <a:pt x="188" y="10"/>
                </a:cubicBezTo>
                <a:cubicBezTo>
                  <a:pt x="188" y="10"/>
                  <a:pt x="189" y="11"/>
                  <a:pt x="188" y="11"/>
                </a:cubicBezTo>
                <a:cubicBezTo>
                  <a:pt x="188" y="11"/>
                  <a:pt x="187" y="11"/>
                  <a:pt x="187" y="11"/>
                </a:cubicBezTo>
                <a:cubicBezTo>
                  <a:pt x="187" y="12"/>
                  <a:pt x="187" y="12"/>
                  <a:pt x="187" y="12"/>
                </a:cubicBezTo>
                <a:cubicBezTo>
                  <a:pt x="188" y="12"/>
                  <a:pt x="188" y="12"/>
                  <a:pt x="188" y="13"/>
                </a:cubicBezTo>
                <a:cubicBezTo>
                  <a:pt x="188" y="13"/>
                  <a:pt x="189" y="13"/>
                  <a:pt x="189" y="13"/>
                </a:cubicBezTo>
                <a:cubicBezTo>
                  <a:pt x="190" y="14"/>
                  <a:pt x="189" y="13"/>
                  <a:pt x="190" y="13"/>
                </a:cubicBezTo>
                <a:cubicBezTo>
                  <a:pt x="190" y="12"/>
                  <a:pt x="191" y="13"/>
                  <a:pt x="191" y="13"/>
                </a:cubicBezTo>
                <a:cubicBezTo>
                  <a:pt x="191" y="13"/>
                  <a:pt x="191" y="13"/>
                  <a:pt x="192" y="13"/>
                </a:cubicBezTo>
                <a:cubicBezTo>
                  <a:pt x="192" y="14"/>
                  <a:pt x="192" y="13"/>
                  <a:pt x="193" y="13"/>
                </a:cubicBezTo>
                <a:cubicBezTo>
                  <a:pt x="193" y="13"/>
                  <a:pt x="193" y="13"/>
                  <a:pt x="193" y="12"/>
                </a:cubicBezTo>
                <a:cubicBezTo>
                  <a:pt x="193" y="12"/>
                  <a:pt x="194" y="12"/>
                  <a:pt x="195" y="12"/>
                </a:cubicBezTo>
                <a:cubicBezTo>
                  <a:pt x="195" y="12"/>
                  <a:pt x="196" y="12"/>
                  <a:pt x="196" y="13"/>
                </a:cubicBezTo>
                <a:cubicBezTo>
                  <a:pt x="196" y="13"/>
                  <a:pt x="197" y="14"/>
                  <a:pt x="197" y="13"/>
                </a:cubicBezTo>
                <a:cubicBezTo>
                  <a:pt x="198" y="13"/>
                  <a:pt x="196" y="12"/>
                  <a:pt x="196" y="12"/>
                </a:cubicBezTo>
                <a:cubicBezTo>
                  <a:pt x="196" y="12"/>
                  <a:pt x="196" y="12"/>
                  <a:pt x="196" y="11"/>
                </a:cubicBezTo>
                <a:cubicBezTo>
                  <a:pt x="196" y="11"/>
                  <a:pt x="195" y="11"/>
                  <a:pt x="195" y="11"/>
                </a:cubicBezTo>
                <a:cubicBezTo>
                  <a:pt x="196" y="10"/>
                  <a:pt x="197" y="11"/>
                  <a:pt x="198" y="12"/>
                </a:cubicBezTo>
                <a:cubicBezTo>
                  <a:pt x="198" y="12"/>
                  <a:pt x="198" y="12"/>
                  <a:pt x="198" y="13"/>
                </a:cubicBezTo>
                <a:cubicBezTo>
                  <a:pt x="199" y="13"/>
                  <a:pt x="199" y="13"/>
                  <a:pt x="200" y="13"/>
                </a:cubicBezTo>
                <a:cubicBezTo>
                  <a:pt x="200" y="14"/>
                  <a:pt x="199" y="14"/>
                  <a:pt x="199" y="14"/>
                </a:cubicBezTo>
                <a:cubicBezTo>
                  <a:pt x="199" y="14"/>
                  <a:pt x="200" y="14"/>
                  <a:pt x="200" y="15"/>
                </a:cubicBezTo>
                <a:cubicBezTo>
                  <a:pt x="200" y="15"/>
                  <a:pt x="200" y="16"/>
                  <a:pt x="200" y="16"/>
                </a:cubicBezTo>
                <a:cubicBezTo>
                  <a:pt x="201" y="16"/>
                  <a:pt x="201" y="15"/>
                  <a:pt x="201" y="15"/>
                </a:cubicBezTo>
                <a:cubicBezTo>
                  <a:pt x="201" y="15"/>
                  <a:pt x="202" y="15"/>
                  <a:pt x="202" y="15"/>
                </a:cubicBezTo>
                <a:cubicBezTo>
                  <a:pt x="202" y="15"/>
                  <a:pt x="202" y="14"/>
                  <a:pt x="201" y="14"/>
                </a:cubicBezTo>
                <a:cubicBezTo>
                  <a:pt x="201" y="14"/>
                  <a:pt x="201" y="14"/>
                  <a:pt x="200" y="14"/>
                </a:cubicBezTo>
                <a:cubicBezTo>
                  <a:pt x="200" y="14"/>
                  <a:pt x="200" y="13"/>
                  <a:pt x="201" y="13"/>
                </a:cubicBezTo>
                <a:cubicBezTo>
                  <a:pt x="202" y="13"/>
                  <a:pt x="202" y="13"/>
                  <a:pt x="203" y="13"/>
                </a:cubicBezTo>
                <a:cubicBezTo>
                  <a:pt x="204" y="13"/>
                  <a:pt x="204" y="14"/>
                  <a:pt x="204" y="14"/>
                </a:cubicBezTo>
                <a:cubicBezTo>
                  <a:pt x="204" y="14"/>
                  <a:pt x="204" y="14"/>
                  <a:pt x="205" y="14"/>
                </a:cubicBezTo>
                <a:cubicBezTo>
                  <a:pt x="205" y="14"/>
                  <a:pt x="205" y="15"/>
                  <a:pt x="205" y="15"/>
                </a:cubicBezTo>
                <a:cubicBezTo>
                  <a:pt x="206" y="15"/>
                  <a:pt x="206" y="15"/>
                  <a:pt x="207" y="15"/>
                </a:cubicBezTo>
                <a:cubicBezTo>
                  <a:pt x="207" y="15"/>
                  <a:pt x="208" y="15"/>
                  <a:pt x="208" y="15"/>
                </a:cubicBezTo>
                <a:cubicBezTo>
                  <a:pt x="208" y="15"/>
                  <a:pt x="209" y="15"/>
                  <a:pt x="209" y="15"/>
                </a:cubicBezTo>
                <a:cubicBezTo>
                  <a:pt x="209" y="15"/>
                  <a:pt x="209" y="14"/>
                  <a:pt x="209" y="14"/>
                </a:cubicBezTo>
                <a:cubicBezTo>
                  <a:pt x="210" y="14"/>
                  <a:pt x="210" y="14"/>
                  <a:pt x="210" y="14"/>
                </a:cubicBezTo>
                <a:cubicBezTo>
                  <a:pt x="211" y="15"/>
                  <a:pt x="211" y="16"/>
                  <a:pt x="210" y="16"/>
                </a:cubicBezTo>
                <a:cubicBezTo>
                  <a:pt x="209" y="16"/>
                  <a:pt x="209" y="16"/>
                  <a:pt x="209" y="16"/>
                </a:cubicBezTo>
                <a:cubicBezTo>
                  <a:pt x="208" y="16"/>
                  <a:pt x="209" y="17"/>
                  <a:pt x="208" y="17"/>
                </a:cubicBezTo>
                <a:cubicBezTo>
                  <a:pt x="208" y="17"/>
                  <a:pt x="208" y="18"/>
                  <a:pt x="208" y="18"/>
                </a:cubicBezTo>
                <a:cubicBezTo>
                  <a:pt x="208" y="18"/>
                  <a:pt x="208" y="19"/>
                  <a:pt x="208" y="19"/>
                </a:cubicBezTo>
                <a:cubicBezTo>
                  <a:pt x="209" y="19"/>
                  <a:pt x="209" y="19"/>
                  <a:pt x="210" y="20"/>
                </a:cubicBezTo>
                <a:cubicBezTo>
                  <a:pt x="210" y="20"/>
                  <a:pt x="210" y="21"/>
                  <a:pt x="211" y="20"/>
                </a:cubicBezTo>
                <a:cubicBezTo>
                  <a:pt x="211" y="20"/>
                  <a:pt x="211" y="19"/>
                  <a:pt x="211" y="19"/>
                </a:cubicBezTo>
                <a:cubicBezTo>
                  <a:pt x="212" y="19"/>
                  <a:pt x="211" y="19"/>
                  <a:pt x="212" y="19"/>
                </a:cubicBezTo>
                <a:cubicBezTo>
                  <a:pt x="212" y="19"/>
                  <a:pt x="212" y="19"/>
                  <a:pt x="213" y="19"/>
                </a:cubicBezTo>
                <a:cubicBezTo>
                  <a:pt x="213" y="19"/>
                  <a:pt x="213" y="18"/>
                  <a:pt x="214" y="18"/>
                </a:cubicBezTo>
                <a:cubicBezTo>
                  <a:pt x="214" y="19"/>
                  <a:pt x="215" y="19"/>
                  <a:pt x="215" y="19"/>
                </a:cubicBezTo>
                <a:cubicBezTo>
                  <a:pt x="216" y="19"/>
                  <a:pt x="216" y="19"/>
                  <a:pt x="216" y="19"/>
                </a:cubicBezTo>
                <a:cubicBezTo>
                  <a:pt x="217" y="19"/>
                  <a:pt x="217" y="20"/>
                  <a:pt x="218" y="20"/>
                </a:cubicBezTo>
                <a:cubicBezTo>
                  <a:pt x="219" y="21"/>
                  <a:pt x="218" y="18"/>
                  <a:pt x="218" y="18"/>
                </a:cubicBezTo>
                <a:cubicBezTo>
                  <a:pt x="218" y="18"/>
                  <a:pt x="219" y="18"/>
                  <a:pt x="219" y="18"/>
                </a:cubicBezTo>
                <a:cubicBezTo>
                  <a:pt x="219" y="17"/>
                  <a:pt x="219" y="17"/>
                  <a:pt x="219" y="17"/>
                </a:cubicBezTo>
                <a:cubicBezTo>
                  <a:pt x="220" y="17"/>
                  <a:pt x="220" y="17"/>
                  <a:pt x="220" y="17"/>
                </a:cubicBezTo>
                <a:cubicBezTo>
                  <a:pt x="220" y="17"/>
                  <a:pt x="220" y="17"/>
                  <a:pt x="220" y="17"/>
                </a:cubicBezTo>
                <a:cubicBezTo>
                  <a:pt x="220" y="16"/>
                  <a:pt x="221" y="17"/>
                  <a:pt x="222" y="17"/>
                </a:cubicBezTo>
                <a:cubicBezTo>
                  <a:pt x="223" y="16"/>
                  <a:pt x="224" y="15"/>
                  <a:pt x="224" y="15"/>
                </a:cubicBezTo>
                <a:cubicBezTo>
                  <a:pt x="224" y="15"/>
                  <a:pt x="224" y="14"/>
                  <a:pt x="224" y="14"/>
                </a:cubicBezTo>
                <a:cubicBezTo>
                  <a:pt x="224" y="13"/>
                  <a:pt x="225" y="14"/>
                  <a:pt x="225" y="14"/>
                </a:cubicBezTo>
                <a:cubicBezTo>
                  <a:pt x="226" y="14"/>
                  <a:pt x="227" y="13"/>
                  <a:pt x="228" y="13"/>
                </a:cubicBezTo>
                <a:cubicBezTo>
                  <a:pt x="229" y="12"/>
                  <a:pt x="229" y="12"/>
                  <a:pt x="229" y="11"/>
                </a:cubicBezTo>
                <a:cubicBezTo>
                  <a:pt x="229" y="11"/>
                  <a:pt x="230" y="11"/>
                  <a:pt x="230" y="11"/>
                </a:cubicBezTo>
                <a:cubicBezTo>
                  <a:pt x="231" y="11"/>
                  <a:pt x="232" y="11"/>
                  <a:pt x="232" y="11"/>
                </a:cubicBezTo>
                <a:cubicBezTo>
                  <a:pt x="233" y="11"/>
                  <a:pt x="232" y="10"/>
                  <a:pt x="233" y="10"/>
                </a:cubicBezTo>
                <a:cubicBezTo>
                  <a:pt x="233" y="10"/>
                  <a:pt x="234" y="10"/>
                  <a:pt x="234" y="10"/>
                </a:cubicBezTo>
                <a:cubicBezTo>
                  <a:pt x="234" y="10"/>
                  <a:pt x="233" y="11"/>
                  <a:pt x="234" y="11"/>
                </a:cubicBezTo>
                <a:cubicBezTo>
                  <a:pt x="235" y="11"/>
                  <a:pt x="235" y="12"/>
                  <a:pt x="234" y="13"/>
                </a:cubicBezTo>
                <a:cubicBezTo>
                  <a:pt x="234" y="13"/>
                  <a:pt x="233" y="13"/>
                  <a:pt x="233" y="13"/>
                </a:cubicBezTo>
                <a:cubicBezTo>
                  <a:pt x="233" y="13"/>
                  <a:pt x="231" y="13"/>
                  <a:pt x="232" y="13"/>
                </a:cubicBezTo>
                <a:cubicBezTo>
                  <a:pt x="232" y="14"/>
                  <a:pt x="233" y="15"/>
                  <a:pt x="234" y="16"/>
                </a:cubicBezTo>
                <a:cubicBezTo>
                  <a:pt x="237" y="17"/>
                  <a:pt x="240" y="18"/>
                  <a:pt x="243" y="20"/>
                </a:cubicBezTo>
                <a:cubicBezTo>
                  <a:pt x="246" y="21"/>
                  <a:pt x="248" y="22"/>
                  <a:pt x="250" y="24"/>
                </a:cubicBezTo>
                <a:cubicBezTo>
                  <a:pt x="252" y="26"/>
                  <a:pt x="255" y="28"/>
                  <a:pt x="257" y="30"/>
                </a:cubicBezTo>
                <a:cubicBezTo>
                  <a:pt x="260" y="32"/>
                  <a:pt x="262" y="35"/>
                  <a:pt x="264" y="37"/>
                </a:cubicBezTo>
                <a:cubicBezTo>
                  <a:pt x="265" y="38"/>
                  <a:pt x="266" y="39"/>
                  <a:pt x="267" y="40"/>
                </a:cubicBezTo>
                <a:cubicBezTo>
                  <a:pt x="268" y="41"/>
                  <a:pt x="270" y="42"/>
                  <a:pt x="271" y="43"/>
                </a:cubicBezTo>
                <a:cubicBezTo>
                  <a:pt x="272" y="44"/>
                  <a:pt x="273" y="45"/>
                  <a:pt x="274" y="46"/>
                </a:cubicBezTo>
                <a:cubicBezTo>
                  <a:pt x="275" y="47"/>
                  <a:pt x="276" y="49"/>
                  <a:pt x="277" y="49"/>
                </a:cubicBezTo>
                <a:cubicBezTo>
                  <a:pt x="277" y="49"/>
                  <a:pt x="276" y="48"/>
                  <a:pt x="276" y="48"/>
                </a:cubicBezTo>
                <a:cubicBezTo>
                  <a:pt x="276" y="48"/>
                  <a:pt x="276" y="48"/>
                  <a:pt x="277" y="48"/>
                </a:cubicBezTo>
                <a:cubicBezTo>
                  <a:pt x="277" y="48"/>
                  <a:pt x="277" y="48"/>
                  <a:pt x="277" y="48"/>
                </a:cubicBezTo>
                <a:cubicBezTo>
                  <a:pt x="278" y="47"/>
                  <a:pt x="278" y="47"/>
                  <a:pt x="279" y="47"/>
                </a:cubicBezTo>
                <a:cubicBezTo>
                  <a:pt x="280" y="47"/>
                  <a:pt x="279" y="46"/>
                  <a:pt x="278" y="45"/>
                </a:cubicBezTo>
                <a:cubicBezTo>
                  <a:pt x="278" y="45"/>
                  <a:pt x="278" y="44"/>
                  <a:pt x="278" y="44"/>
                </a:cubicBezTo>
                <a:cubicBezTo>
                  <a:pt x="278" y="44"/>
                  <a:pt x="279" y="44"/>
                  <a:pt x="279" y="44"/>
                </a:cubicBezTo>
                <a:cubicBezTo>
                  <a:pt x="279" y="44"/>
                  <a:pt x="279" y="43"/>
                  <a:pt x="279" y="43"/>
                </a:cubicBezTo>
                <a:cubicBezTo>
                  <a:pt x="280" y="43"/>
                  <a:pt x="280" y="43"/>
                  <a:pt x="281" y="43"/>
                </a:cubicBezTo>
                <a:cubicBezTo>
                  <a:pt x="281" y="43"/>
                  <a:pt x="282" y="43"/>
                  <a:pt x="282" y="44"/>
                </a:cubicBezTo>
                <a:cubicBezTo>
                  <a:pt x="282" y="44"/>
                  <a:pt x="283" y="45"/>
                  <a:pt x="284" y="44"/>
                </a:cubicBezTo>
                <a:cubicBezTo>
                  <a:pt x="284" y="43"/>
                  <a:pt x="284" y="46"/>
                  <a:pt x="284" y="46"/>
                </a:cubicBezTo>
                <a:cubicBezTo>
                  <a:pt x="284" y="48"/>
                  <a:pt x="286" y="46"/>
                  <a:pt x="287" y="47"/>
                </a:cubicBezTo>
                <a:cubicBezTo>
                  <a:pt x="287" y="47"/>
                  <a:pt x="288" y="47"/>
                  <a:pt x="288" y="48"/>
                </a:cubicBezTo>
                <a:cubicBezTo>
                  <a:pt x="288" y="48"/>
                  <a:pt x="288" y="49"/>
                  <a:pt x="288" y="49"/>
                </a:cubicBezTo>
                <a:cubicBezTo>
                  <a:pt x="289" y="49"/>
                  <a:pt x="290" y="49"/>
                  <a:pt x="290" y="49"/>
                </a:cubicBezTo>
                <a:cubicBezTo>
                  <a:pt x="291" y="49"/>
                  <a:pt x="291" y="48"/>
                  <a:pt x="291" y="49"/>
                </a:cubicBezTo>
                <a:cubicBezTo>
                  <a:pt x="292" y="49"/>
                  <a:pt x="293" y="49"/>
                  <a:pt x="293" y="49"/>
                </a:cubicBezTo>
                <a:cubicBezTo>
                  <a:pt x="294" y="49"/>
                  <a:pt x="295" y="50"/>
                  <a:pt x="295" y="49"/>
                </a:cubicBezTo>
                <a:cubicBezTo>
                  <a:pt x="296" y="48"/>
                  <a:pt x="297" y="49"/>
                  <a:pt x="298" y="49"/>
                </a:cubicBezTo>
                <a:cubicBezTo>
                  <a:pt x="298" y="49"/>
                  <a:pt x="299" y="48"/>
                  <a:pt x="298" y="48"/>
                </a:cubicBezTo>
                <a:cubicBezTo>
                  <a:pt x="298" y="47"/>
                  <a:pt x="299" y="47"/>
                  <a:pt x="299" y="47"/>
                </a:cubicBezTo>
                <a:cubicBezTo>
                  <a:pt x="300" y="47"/>
                  <a:pt x="300" y="48"/>
                  <a:pt x="301" y="47"/>
                </a:cubicBezTo>
                <a:cubicBezTo>
                  <a:pt x="302" y="47"/>
                  <a:pt x="301" y="46"/>
                  <a:pt x="302" y="46"/>
                </a:cubicBezTo>
                <a:cubicBezTo>
                  <a:pt x="303" y="46"/>
                  <a:pt x="303" y="46"/>
                  <a:pt x="304" y="46"/>
                </a:cubicBezTo>
                <a:cubicBezTo>
                  <a:pt x="305" y="46"/>
                  <a:pt x="306" y="47"/>
                  <a:pt x="306" y="47"/>
                </a:cubicBezTo>
                <a:cubicBezTo>
                  <a:pt x="307" y="48"/>
                  <a:pt x="309" y="48"/>
                  <a:pt x="309" y="49"/>
                </a:cubicBezTo>
                <a:cubicBezTo>
                  <a:pt x="310" y="50"/>
                  <a:pt x="311" y="50"/>
                  <a:pt x="311" y="50"/>
                </a:cubicBezTo>
                <a:cubicBezTo>
                  <a:pt x="312" y="50"/>
                  <a:pt x="312" y="51"/>
                  <a:pt x="312" y="51"/>
                </a:cubicBezTo>
                <a:cubicBezTo>
                  <a:pt x="313" y="52"/>
                  <a:pt x="312" y="52"/>
                  <a:pt x="313" y="52"/>
                </a:cubicBezTo>
                <a:cubicBezTo>
                  <a:pt x="313" y="52"/>
                  <a:pt x="313" y="53"/>
                  <a:pt x="313" y="53"/>
                </a:cubicBezTo>
                <a:cubicBezTo>
                  <a:pt x="314" y="53"/>
                  <a:pt x="314" y="54"/>
                  <a:pt x="315" y="54"/>
                </a:cubicBezTo>
                <a:cubicBezTo>
                  <a:pt x="315" y="55"/>
                  <a:pt x="315" y="54"/>
                  <a:pt x="316" y="54"/>
                </a:cubicBezTo>
                <a:cubicBezTo>
                  <a:pt x="316" y="54"/>
                  <a:pt x="316" y="54"/>
                  <a:pt x="316" y="55"/>
                </a:cubicBezTo>
                <a:cubicBezTo>
                  <a:pt x="317" y="55"/>
                  <a:pt x="317" y="55"/>
                  <a:pt x="318" y="55"/>
                </a:cubicBezTo>
                <a:cubicBezTo>
                  <a:pt x="318" y="55"/>
                  <a:pt x="318" y="55"/>
                  <a:pt x="318" y="55"/>
                </a:cubicBezTo>
                <a:cubicBezTo>
                  <a:pt x="319" y="55"/>
                  <a:pt x="319" y="55"/>
                  <a:pt x="319" y="55"/>
                </a:cubicBezTo>
                <a:cubicBezTo>
                  <a:pt x="320" y="56"/>
                  <a:pt x="321" y="56"/>
                  <a:pt x="321" y="56"/>
                </a:cubicBezTo>
                <a:cubicBezTo>
                  <a:pt x="322" y="57"/>
                  <a:pt x="321" y="56"/>
                  <a:pt x="321" y="57"/>
                </a:cubicBezTo>
                <a:cubicBezTo>
                  <a:pt x="321" y="58"/>
                  <a:pt x="323" y="58"/>
                  <a:pt x="323" y="59"/>
                </a:cubicBezTo>
                <a:cubicBezTo>
                  <a:pt x="323" y="59"/>
                  <a:pt x="324" y="59"/>
                  <a:pt x="324" y="60"/>
                </a:cubicBezTo>
                <a:cubicBezTo>
                  <a:pt x="325" y="60"/>
                  <a:pt x="325" y="60"/>
                  <a:pt x="325" y="61"/>
                </a:cubicBezTo>
                <a:cubicBezTo>
                  <a:pt x="325" y="61"/>
                  <a:pt x="326" y="61"/>
                  <a:pt x="326" y="61"/>
                </a:cubicBezTo>
                <a:cubicBezTo>
                  <a:pt x="326" y="61"/>
                  <a:pt x="327" y="61"/>
                  <a:pt x="327" y="61"/>
                </a:cubicBezTo>
                <a:cubicBezTo>
                  <a:pt x="328" y="61"/>
                  <a:pt x="328" y="61"/>
                  <a:pt x="328" y="61"/>
                </a:cubicBezTo>
                <a:cubicBezTo>
                  <a:pt x="328" y="61"/>
                  <a:pt x="329" y="61"/>
                  <a:pt x="329" y="61"/>
                </a:cubicBezTo>
                <a:cubicBezTo>
                  <a:pt x="329" y="61"/>
                  <a:pt x="330" y="61"/>
                  <a:pt x="330" y="62"/>
                </a:cubicBezTo>
                <a:cubicBezTo>
                  <a:pt x="331" y="62"/>
                  <a:pt x="331" y="61"/>
                  <a:pt x="331" y="61"/>
                </a:cubicBezTo>
                <a:cubicBezTo>
                  <a:pt x="332" y="62"/>
                  <a:pt x="331" y="62"/>
                  <a:pt x="332" y="62"/>
                </a:cubicBezTo>
                <a:cubicBezTo>
                  <a:pt x="332" y="63"/>
                  <a:pt x="332" y="62"/>
                  <a:pt x="333" y="62"/>
                </a:cubicBezTo>
                <a:cubicBezTo>
                  <a:pt x="333" y="62"/>
                  <a:pt x="334" y="63"/>
                  <a:pt x="334" y="62"/>
                </a:cubicBezTo>
                <a:cubicBezTo>
                  <a:pt x="334" y="61"/>
                  <a:pt x="335" y="61"/>
                  <a:pt x="335" y="60"/>
                </a:cubicBezTo>
                <a:cubicBezTo>
                  <a:pt x="335" y="60"/>
                  <a:pt x="335" y="60"/>
                  <a:pt x="336" y="60"/>
                </a:cubicBezTo>
                <a:cubicBezTo>
                  <a:pt x="336" y="59"/>
                  <a:pt x="336" y="59"/>
                  <a:pt x="336" y="59"/>
                </a:cubicBezTo>
                <a:cubicBezTo>
                  <a:pt x="337" y="59"/>
                  <a:pt x="337" y="59"/>
                  <a:pt x="337" y="59"/>
                </a:cubicBezTo>
                <a:cubicBezTo>
                  <a:pt x="337" y="59"/>
                  <a:pt x="337" y="60"/>
                  <a:pt x="338" y="60"/>
                </a:cubicBezTo>
                <a:cubicBezTo>
                  <a:pt x="338" y="60"/>
                  <a:pt x="336" y="61"/>
                  <a:pt x="337" y="61"/>
                </a:cubicBezTo>
                <a:cubicBezTo>
                  <a:pt x="338" y="62"/>
                  <a:pt x="339" y="61"/>
                  <a:pt x="339" y="62"/>
                </a:cubicBezTo>
                <a:cubicBezTo>
                  <a:pt x="339" y="62"/>
                  <a:pt x="339" y="63"/>
                  <a:pt x="340" y="63"/>
                </a:cubicBezTo>
                <a:cubicBezTo>
                  <a:pt x="340" y="63"/>
                  <a:pt x="340" y="63"/>
                  <a:pt x="340" y="63"/>
                </a:cubicBezTo>
                <a:cubicBezTo>
                  <a:pt x="341" y="64"/>
                  <a:pt x="340" y="63"/>
                  <a:pt x="341" y="64"/>
                </a:cubicBezTo>
                <a:cubicBezTo>
                  <a:pt x="341" y="65"/>
                  <a:pt x="342" y="65"/>
                  <a:pt x="343" y="65"/>
                </a:cubicBezTo>
                <a:cubicBezTo>
                  <a:pt x="344" y="65"/>
                  <a:pt x="345" y="66"/>
                  <a:pt x="345" y="67"/>
                </a:cubicBezTo>
                <a:close/>
                <a:moveTo>
                  <a:pt x="132" y="94"/>
                </a:moveTo>
                <a:cubicBezTo>
                  <a:pt x="132" y="94"/>
                  <a:pt x="132" y="95"/>
                  <a:pt x="132" y="95"/>
                </a:cubicBezTo>
                <a:cubicBezTo>
                  <a:pt x="132" y="95"/>
                  <a:pt x="131" y="96"/>
                  <a:pt x="131" y="96"/>
                </a:cubicBezTo>
                <a:cubicBezTo>
                  <a:pt x="130" y="96"/>
                  <a:pt x="130" y="95"/>
                  <a:pt x="130" y="95"/>
                </a:cubicBezTo>
                <a:cubicBezTo>
                  <a:pt x="130" y="95"/>
                  <a:pt x="129" y="95"/>
                  <a:pt x="129" y="95"/>
                </a:cubicBezTo>
                <a:cubicBezTo>
                  <a:pt x="128" y="95"/>
                  <a:pt x="127" y="95"/>
                  <a:pt x="127" y="94"/>
                </a:cubicBezTo>
                <a:cubicBezTo>
                  <a:pt x="127" y="94"/>
                  <a:pt x="127" y="93"/>
                  <a:pt x="127" y="93"/>
                </a:cubicBezTo>
                <a:cubicBezTo>
                  <a:pt x="127" y="92"/>
                  <a:pt x="126" y="92"/>
                  <a:pt x="126" y="92"/>
                </a:cubicBezTo>
                <a:cubicBezTo>
                  <a:pt x="126" y="92"/>
                  <a:pt x="125" y="92"/>
                  <a:pt x="125" y="92"/>
                </a:cubicBezTo>
                <a:cubicBezTo>
                  <a:pt x="125" y="92"/>
                  <a:pt x="125" y="92"/>
                  <a:pt x="125" y="93"/>
                </a:cubicBezTo>
                <a:cubicBezTo>
                  <a:pt x="125" y="93"/>
                  <a:pt x="127" y="93"/>
                  <a:pt x="127" y="93"/>
                </a:cubicBezTo>
                <a:cubicBezTo>
                  <a:pt x="127" y="94"/>
                  <a:pt x="126" y="94"/>
                  <a:pt x="126" y="94"/>
                </a:cubicBezTo>
                <a:cubicBezTo>
                  <a:pt x="125" y="94"/>
                  <a:pt x="125" y="94"/>
                  <a:pt x="124" y="94"/>
                </a:cubicBezTo>
                <a:cubicBezTo>
                  <a:pt x="125" y="94"/>
                  <a:pt x="124" y="95"/>
                  <a:pt x="124" y="95"/>
                </a:cubicBezTo>
                <a:cubicBezTo>
                  <a:pt x="124" y="95"/>
                  <a:pt x="124" y="93"/>
                  <a:pt x="123" y="93"/>
                </a:cubicBezTo>
                <a:cubicBezTo>
                  <a:pt x="122" y="93"/>
                  <a:pt x="122" y="93"/>
                  <a:pt x="122" y="93"/>
                </a:cubicBezTo>
                <a:cubicBezTo>
                  <a:pt x="121" y="94"/>
                  <a:pt x="121" y="94"/>
                  <a:pt x="121" y="94"/>
                </a:cubicBezTo>
                <a:cubicBezTo>
                  <a:pt x="120" y="95"/>
                  <a:pt x="121" y="96"/>
                  <a:pt x="122" y="96"/>
                </a:cubicBezTo>
                <a:cubicBezTo>
                  <a:pt x="123" y="96"/>
                  <a:pt x="124" y="96"/>
                  <a:pt x="124" y="96"/>
                </a:cubicBezTo>
                <a:cubicBezTo>
                  <a:pt x="124" y="96"/>
                  <a:pt x="124" y="96"/>
                  <a:pt x="124" y="96"/>
                </a:cubicBezTo>
                <a:cubicBezTo>
                  <a:pt x="125" y="96"/>
                  <a:pt x="125" y="97"/>
                  <a:pt x="126" y="97"/>
                </a:cubicBezTo>
                <a:cubicBezTo>
                  <a:pt x="126" y="97"/>
                  <a:pt x="127" y="96"/>
                  <a:pt x="127" y="96"/>
                </a:cubicBezTo>
                <a:cubicBezTo>
                  <a:pt x="127" y="96"/>
                  <a:pt x="127" y="96"/>
                  <a:pt x="127" y="96"/>
                </a:cubicBezTo>
                <a:cubicBezTo>
                  <a:pt x="128" y="96"/>
                  <a:pt x="128" y="97"/>
                  <a:pt x="128" y="97"/>
                </a:cubicBezTo>
                <a:cubicBezTo>
                  <a:pt x="129" y="98"/>
                  <a:pt x="129" y="98"/>
                  <a:pt x="129" y="99"/>
                </a:cubicBezTo>
                <a:cubicBezTo>
                  <a:pt x="129" y="98"/>
                  <a:pt x="129" y="98"/>
                  <a:pt x="129" y="98"/>
                </a:cubicBezTo>
                <a:cubicBezTo>
                  <a:pt x="130" y="99"/>
                  <a:pt x="131" y="98"/>
                  <a:pt x="131" y="98"/>
                </a:cubicBezTo>
                <a:cubicBezTo>
                  <a:pt x="131" y="98"/>
                  <a:pt x="132" y="98"/>
                  <a:pt x="132" y="97"/>
                </a:cubicBezTo>
                <a:cubicBezTo>
                  <a:pt x="132" y="97"/>
                  <a:pt x="132" y="96"/>
                  <a:pt x="132" y="96"/>
                </a:cubicBezTo>
                <a:cubicBezTo>
                  <a:pt x="132" y="96"/>
                  <a:pt x="132" y="95"/>
                  <a:pt x="132" y="95"/>
                </a:cubicBezTo>
                <a:cubicBezTo>
                  <a:pt x="132" y="95"/>
                  <a:pt x="132" y="95"/>
                  <a:pt x="132" y="94"/>
                </a:cubicBezTo>
                <a:close/>
                <a:moveTo>
                  <a:pt x="285" y="91"/>
                </a:moveTo>
                <a:cubicBezTo>
                  <a:pt x="284" y="91"/>
                  <a:pt x="284" y="91"/>
                  <a:pt x="283" y="91"/>
                </a:cubicBezTo>
                <a:cubicBezTo>
                  <a:pt x="283" y="91"/>
                  <a:pt x="284" y="92"/>
                  <a:pt x="284" y="92"/>
                </a:cubicBezTo>
                <a:cubicBezTo>
                  <a:pt x="283" y="92"/>
                  <a:pt x="283" y="91"/>
                  <a:pt x="282" y="91"/>
                </a:cubicBezTo>
                <a:cubicBezTo>
                  <a:pt x="282" y="91"/>
                  <a:pt x="281" y="91"/>
                  <a:pt x="282" y="92"/>
                </a:cubicBezTo>
                <a:cubicBezTo>
                  <a:pt x="282" y="92"/>
                  <a:pt x="284" y="93"/>
                  <a:pt x="283" y="93"/>
                </a:cubicBezTo>
                <a:cubicBezTo>
                  <a:pt x="282" y="93"/>
                  <a:pt x="282" y="93"/>
                  <a:pt x="282" y="93"/>
                </a:cubicBezTo>
                <a:cubicBezTo>
                  <a:pt x="282" y="92"/>
                  <a:pt x="281" y="92"/>
                  <a:pt x="281" y="92"/>
                </a:cubicBezTo>
                <a:cubicBezTo>
                  <a:pt x="280" y="92"/>
                  <a:pt x="280" y="92"/>
                  <a:pt x="280" y="92"/>
                </a:cubicBezTo>
                <a:cubicBezTo>
                  <a:pt x="279" y="92"/>
                  <a:pt x="280" y="93"/>
                  <a:pt x="279" y="93"/>
                </a:cubicBezTo>
                <a:cubicBezTo>
                  <a:pt x="279" y="93"/>
                  <a:pt x="279" y="93"/>
                  <a:pt x="279" y="93"/>
                </a:cubicBezTo>
                <a:cubicBezTo>
                  <a:pt x="279" y="92"/>
                  <a:pt x="279" y="93"/>
                  <a:pt x="279" y="93"/>
                </a:cubicBezTo>
                <a:cubicBezTo>
                  <a:pt x="279" y="93"/>
                  <a:pt x="278" y="92"/>
                  <a:pt x="278" y="92"/>
                </a:cubicBezTo>
                <a:cubicBezTo>
                  <a:pt x="278" y="93"/>
                  <a:pt x="279" y="94"/>
                  <a:pt x="279" y="94"/>
                </a:cubicBezTo>
                <a:cubicBezTo>
                  <a:pt x="279" y="94"/>
                  <a:pt x="279" y="95"/>
                  <a:pt x="279" y="95"/>
                </a:cubicBezTo>
                <a:cubicBezTo>
                  <a:pt x="278" y="95"/>
                  <a:pt x="277" y="93"/>
                  <a:pt x="276" y="93"/>
                </a:cubicBezTo>
                <a:cubicBezTo>
                  <a:pt x="276" y="94"/>
                  <a:pt x="275" y="93"/>
                  <a:pt x="274" y="93"/>
                </a:cubicBezTo>
                <a:cubicBezTo>
                  <a:pt x="274" y="93"/>
                  <a:pt x="273" y="93"/>
                  <a:pt x="272" y="93"/>
                </a:cubicBezTo>
                <a:cubicBezTo>
                  <a:pt x="272" y="93"/>
                  <a:pt x="272" y="93"/>
                  <a:pt x="272" y="93"/>
                </a:cubicBezTo>
                <a:cubicBezTo>
                  <a:pt x="271" y="93"/>
                  <a:pt x="271" y="93"/>
                  <a:pt x="270" y="93"/>
                </a:cubicBezTo>
                <a:cubicBezTo>
                  <a:pt x="270" y="93"/>
                  <a:pt x="269" y="93"/>
                  <a:pt x="269" y="93"/>
                </a:cubicBezTo>
                <a:cubicBezTo>
                  <a:pt x="269" y="94"/>
                  <a:pt x="269" y="94"/>
                  <a:pt x="268" y="94"/>
                </a:cubicBezTo>
                <a:cubicBezTo>
                  <a:pt x="267" y="94"/>
                  <a:pt x="267" y="93"/>
                  <a:pt x="266" y="93"/>
                </a:cubicBezTo>
                <a:cubicBezTo>
                  <a:pt x="266" y="93"/>
                  <a:pt x="266" y="93"/>
                  <a:pt x="266" y="93"/>
                </a:cubicBezTo>
                <a:cubicBezTo>
                  <a:pt x="266" y="93"/>
                  <a:pt x="265" y="92"/>
                  <a:pt x="265" y="92"/>
                </a:cubicBezTo>
                <a:cubicBezTo>
                  <a:pt x="265" y="93"/>
                  <a:pt x="266" y="94"/>
                  <a:pt x="266" y="94"/>
                </a:cubicBezTo>
                <a:cubicBezTo>
                  <a:pt x="266" y="94"/>
                  <a:pt x="265" y="93"/>
                  <a:pt x="265" y="93"/>
                </a:cubicBezTo>
                <a:cubicBezTo>
                  <a:pt x="264" y="93"/>
                  <a:pt x="264" y="93"/>
                  <a:pt x="264" y="92"/>
                </a:cubicBezTo>
                <a:cubicBezTo>
                  <a:pt x="264" y="92"/>
                  <a:pt x="262" y="93"/>
                  <a:pt x="262" y="93"/>
                </a:cubicBezTo>
                <a:cubicBezTo>
                  <a:pt x="262" y="93"/>
                  <a:pt x="261" y="93"/>
                  <a:pt x="261" y="93"/>
                </a:cubicBezTo>
                <a:cubicBezTo>
                  <a:pt x="261" y="93"/>
                  <a:pt x="261" y="93"/>
                  <a:pt x="261" y="93"/>
                </a:cubicBezTo>
                <a:cubicBezTo>
                  <a:pt x="261" y="92"/>
                  <a:pt x="259" y="91"/>
                  <a:pt x="258" y="91"/>
                </a:cubicBezTo>
                <a:cubicBezTo>
                  <a:pt x="258" y="91"/>
                  <a:pt x="258" y="91"/>
                  <a:pt x="258" y="91"/>
                </a:cubicBezTo>
                <a:cubicBezTo>
                  <a:pt x="258" y="91"/>
                  <a:pt x="258" y="92"/>
                  <a:pt x="257" y="91"/>
                </a:cubicBezTo>
                <a:cubicBezTo>
                  <a:pt x="257" y="91"/>
                  <a:pt x="257" y="91"/>
                  <a:pt x="256" y="91"/>
                </a:cubicBezTo>
                <a:cubicBezTo>
                  <a:pt x="256" y="91"/>
                  <a:pt x="255" y="91"/>
                  <a:pt x="255" y="91"/>
                </a:cubicBezTo>
                <a:cubicBezTo>
                  <a:pt x="254" y="91"/>
                  <a:pt x="254" y="92"/>
                  <a:pt x="253" y="92"/>
                </a:cubicBezTo>
                <a:cubicBezTo>
                  <a:pt x="252" y="92"/>
                  <a:pt x="251" y="92"/>
                  <a:pt x="251" y="92"/>
                </a:cubicBezTo>
                <a:cubicBezTo>
                  <a:pt x="250" y="92"/>
                  <a:pt x="250" y="91"/>
                  <a:pt x="250" y="91"/>
                </a:cubicBezTo>
                <a:cubicBezTo>
                  <a:pt x="250" y="91"/>
                  <a:pt x="250" y="91"/>
                  <a:pt x="249" y="91"/>
                </a:cubicBezTo>
                <a:cubicBezTo>
                  <a:pt x="249" y="91"/>
                  <a:pt x="249" y="91"/>
                  <a:pt x="249" y="91"/>
                </a:cubicBezTo>
                <a:cubicBezTo>
                  <a:pt x="249" y="91"/>
                  <a:pt x="249" y="91"/>
                  <a:pt x="248" y="91"/>
                </a:cubicBezTo>
                <a:cubicBezTo>
                  <a:pt x="248" y="91"/>
                  <a:pt x="248" y="91"/>
                  <a:pt x="248" y="91"/>
                </a:cubicBezTo>
                <a:cubicBezTo>
                  <a:pt x="248" y="92"/>
                  <a:pt x="246" y="91"/>
                  <a:pt x="246" y="92"/>
                </a:cubicBezTo>
                <a:cubicBezTo>
                  <a:pt x="246" y="92"/>
                  <a:pt x="245" y="92"/>
                  <a:pt x="245" y="92"/>
                </a:cubicBezTo>
                <a:cubicBezTo>
                  <a:pt x="245" y="92"/>
                  <a:pt x="246" y="93"/>
                  <a:pt x="245" y="93"/>
                </a:cubicBezTo>
                <a:cubicBezTo>
                  <a:pt x="245" y="93"/>
                  <a:pt x="245" y="93"/>
                  <a:pt x="245" y="94"/>
                </a:cubicBezTo>
                <a:cubicBezTo>
                  <a:pt x="245" y="94"/>
                  <a:pt x="244" y="94"/>
                  <a:pt x="244" y="95"/>
                </a:cubicBezTo>
                <a:cubicBezTo>
                  <a:pt x="244" y="95"/>
                  <a:pt x="243" y="95"/>
                  <a:pt x="243" y="95"/>
                </a:cubicBezTo>
                <a:cubicBezTo>
                  <a:pt x="242" y="95"/>
                  <a:pt x="242" y="95"/>
                  <a:pt x="242" y="96"/>
                </a:cubicBezTo>
                <a:cubicBezTo>
                  <a:pt x="242" y="96"/>
                  <a:pt x="241" y="97"/>
                  <a:pt x="242" y="97"/>
                </a:cubicBezTo>
                <a:cubicBezTo>
                  <a:pt x="242" y="97"/>
                  <a:pt x="242" y="97"/>
                  <a:pt x="243" y="97"/>
                </a:cubicBezTo>
                <a:cubicBezTo>
                  <a:pt x="242" y="98"/>
                  <a:pt x="241" y="97"/>
                  <a:pt x="241" y="98"/>
                </a:cubicBezTo>
                <a:cubicBezTo>
                  <a:pt x="240" y="98"/>
                  <a:pt x="240" y="97"/>
                  <a:pt x="239" y="98"/>
                </a:cubicBezTo>
                <a:cubicBezTo>
                  <a:pt x="239" y="99"/>
                  <a:pt x="240" y="99"/>
                  <a:pt x="241" y="100"/>
                </a:cubicBezTo>
                <a:cubicBezTo>
                  <a:pt x="241" y="100"/>
                  <a:pt x="240" y="100"/>
                  <a:pt x="240" y="100"/>
                </a:cubicBezTo>
                <a:cubicBezTo>
                  <a:pt x="240" y="100"/>
                  <a:pt x="240" y="101"/>
                  <a:pt x="240" y="101"/>
                </a:cubicBezTo>
                <a:cubicBezTo>
                  <a:pt x="240" y="101"/>
                  <a:pt x="240" y="102"/>
                  <a:pt x="239" y="102"/>
                </a:cubicBezTo>
                <a:cubicBezTo>
                  <a:pt x="239" y="101"/>
                  <a:pt x="238" y="102"/>
                  <a:pt x="239" y="102"/>
                </a:cubicBezTo>
                <a:cubicBezTo>
                  <a:pt x="239" y="102"/>
                  <a:pt x="240" y="102"/>
                  <a:pt x="240" y="103"/>
                </a:cubicBezTo>
                <a:cubicBezTo>
                  <a:pt x="240" y="103"/>
                  <a:pt x="240" y="104"/>
                  <a:pt x="239" y="103"/>
                </a:cubicBezTo>
                <a:cubicBezTo>
                  <a:pt x="239" y="103"/>
                  <a:pt x="239" y="104"/>
                  <a:pt x="240" y="104"/>
                </a:cubicBezTo>
                <a:cubicBezTo>
                  <a:pt x="240" y="105"/>
                  <a:pt x="241" y="105"/>
                  <a:pt x="241" y="105"/>
                </a:cubicBezTo>
                <a:cubicBezTo>
                  <a:pt x="242" y="106"/>
                  <a:pt x="242" y="106"/>
                  <a:pt x="243" y="107"/>
                </a:cubicBezTo>
                <a:cubicBezTo>
                  <a:pt x="243" y="107"/>
                  <a:pt x="243" y="107"/>
                  <a:pt x="243" y="107"/>
                </a:cubicBezTo>
                <a:cubicBezTo>
                  <a:pt x="244" y="107"/>
                  <a:pt x="244" y="108"/>
                  <a:pt x="244" y="108"/>
                </a:cubicBezTo>
                <a:cubicBezTo>
                  <a:pt x="244" y="108"/>
                  <a:pt x="245" y="108"/>
                  <a:pt x="245" y="108"/>
                </a:cubicBezTo>
                <a:cubicBezTo>
                  <a:pt x="245" y="108"/>
                  <a:pt x="246" y="108"/>
                  <a:pt x="246" y="108"/>
                </a:cubicBezTo>
                <a:cubicBezTo>
                  <a:pt x="246" y="108"/>
                  <a:pt x="246" y="109"/>
                  <a:pt x="246" y="109"/>
                </a:cubicBezTo>
                <a:cubicBezTo>
                  <a:pt x="245" y="109"/>
                  <a:pt x="246" y="110"/>
                  <a:pt x="246" y="110"/>
                </a:cubicBezTo>
                <a:cubicBezTo>
                  <a:pt x="246" y="110"/>
                  <a:pt x="246" y="110"/>
                  <a:pt x="246" y="110"/>
                </a:cubicBezTo>
                <a:cubicBezTo>
                  <a:pt x="246" y="111"/>
                  <a:pt x="247" y="111"/>
                  <a:pt x="248" y="111"/>
                </a:cubicBezTo>
                <a:cubicBezTo>
                  <a:pt x="247" y="110"/>
                  <a:pt x="247" y="110"/>
                  <a:pt x="247" y="110"/>
                </a:cubicBezTo>
                <a:cubicBezTo>
                  <a:pt x="246" y="110"/>
                  <a:pt x="247" y="110"/>
                  <a:pt x="247" y="110"/>
                </a:cubicBezTo>
                <a:cubicBezTo>
                  <a:pt x="248" y="109"/>
                  <a:pt x="247" y="108"/>
                  <a:pt x="247" y="108"/>
                </a:cubicBezTo>
                <a:cubicBezTo>
                  <a:pt x="247" y="107"/>
                  <a:pt x="247" y="107"/>
                  <a:pt x="246" y="107"/>
                </a:cubicBezTo>
                <a:cubicBezTo>
                  <a:pt x="246" y="107"/>
                  <a:pt x="246" y="107"/>
                  <a:pt x="246" y="106"/>
                </a:cubicBezTo>
                <a:cubicBezTo>
                  <a:pt x="246" y="106"/>
                  <a:pt x="246" y="105"/>
                  <a:pt x="245" y="105"/>
                </a:cubicBezTo>
                <a:cubicBezTo>
                  <a:pt x="245" y="105"/>
                  <a:pt x="245" y="105"/>
                  <a:pt x="245" y="105"/>
                </a:cubicBezTo>
                <a:cubicBezTo>
                  <a:pt x="245" y="104"/>
                  <a:pt x="247" y="104"/>
                  <a:pt x="246" y="103"/>
                </a:cubicBezTo>
                <a:cubicBezTo>
                  <a:pt x="246" y="103"/>
                  <a:pt x="247" y="103"/>
                  <a:pt x="247" y="103"/>
                </a:cubicBezTo>
                <a:cubicBezTo>
                  <a:pt x="247" y="103"/>
                  <a:pt x="247" y="103"/>
                  <a:pt x="247" y="103"/>
                </a:cubicBezTo>
                <a:cubicBezTo>
                  <a:pt x="246" y="103"/>
                  <a:pt x="246" y="103"/>
                  <a:pt x="246" y="103"/>
                </a:cubicBezTo>
                <a:cubicBezTo>
                  <a:pt x="246" y="102"/>
                  <a:pt x="246" y="102"/>
                  <a:pt x="246" y="102"/>
                </a:cubicBezTo>
                <a:cubicBezTo>
                  <a:pt x="247" y="101"/>
                  <a:pt x="245" y="101"/>
                  <a:pt x="245" y="100"/>
                </a:cubicBezTo>
                <a:cubicBezTo>
                  <a:pt x="245" y="99"/>
                  <a:pt x="247" y="99"/>
                  <a:pt x="247" y="99"/>
                </a:cubicBezTo>
                <a:cubicBezTo>
                  <a:pt x="248" y="100"/>
                  <a:pt x="248" y="100"/>
                  <a:pt x="248" y="99"/>
                </a:cubicBezTo>
                <a:cubicBezTo>
                  <a:pt x="249" y="98"/>
                  <a:pt x="250" y="99"/>
                  <a:pt x="249" y="98"/>
                </a:cubicBezTo>
                <a:cubicBezTo>
                  <a:pt x="249" y="97"/>
                  <a:pt x="249" y="96"/>
                  <a:pt x="249" y="96"/>
                </a:cubicBezTo>
                <a:cubicBezTo>
                  <a:pt x="249" y="95"/>
                  <a:pt x="250" y="96"/>
                  <a:pt x="251" y="95"/>
                </a:cubicBezTo>
                <a:cubicBezTo>
                  <a:pt x="251" y="95"/>
                  <a:pt x="251" y="95"/>
                  <a:pt x="251" y="95"/>
                </a:cubicBezTo>
                <a:cubicBezTo>
                  <a:pt x="251" y="95"/>
                  <a:pt x="251" y="94"/>
                  <a:pt x="251" y="94"/>
                </a:cubicBezTo>
                <a:cubicBezTo>
                  <a:pt x="251" y="95"/>
                  <a:pt x="251" y="95"/>
                  <a:pt x="251" y="95"/>
                </a:cubicBezTo>
                <a:cubicBezTo>
                  <a:pt x="252" y="95"/>
                  <a:pt x="252" y="95"/>
                  <a:pt x="252" y="94"/>
                </a:cubicBezTo>
                <a:cubicBezTo>
                  <a:pt x="252" y="94"/>
                  <a:pt x="252" y="94"/>
                  <a:pt x="253" y="94"/>
                </a:cubicBezTo>
                <a:cubicBezTo>
                  <a:pt x="253" y="94"/>
                  <a:pt x="253" y="94"/>
                  <a:pt x="253" y="95"/>
                </a:cubicBezTo>
                <a:cubicBezTo>
                  <a:pt x="253" y="95"/>
                  <a:pt x="254" y="95"/>
                  <a:pt x="254" y="94"/>
                </a:cubicBezTo>
                <a:cubicBezTo>
                  <a:pt x="254" y="94"/>
                  <a:pt x="253" y="94"/>
                  <a:pt x="253" y="93"/>
                </a:cubicBezTo>
                <a:cubicBezTo>
                  <a:pt x="253" y="92"/>
                  <a:pt x="255" y="93"/>
                  <a:pt x="254" y="93"/>
                </a:cubicBezTo>
                <a:cubicBezTo>
                  <a:pt x="254" y="93"/>
                  <a:pt x="253" y="92"/>
                  <a:pt x="254" y="93"/>
                </a:cubicBezTo>
                <a:cubicBezTo>
                  <a:pt x="254" y="93"/>
                  <a:pt x="255" y="94"/>
                  <a:pt x="255" y="95"/>
                </a:cubicBezTo>
                <a:cubicBezTo>
                  <a:pt x="255" y="95"/>
                  <a:pt x="255" y="95"/>
                  <a:pt x="256" y="95"/>
                </a:cubicBezTo>
                <a:cubicBezTo>
                  <a:pt x="256" y="95"/>
                  <a:pt x="256" y="94"/>
                  <a:pt x="256" y="94"/>
                </a:cubicBezTo>
                <a:cubicBezTo>
                  <a:pt x="256" y="94"/>
                  <a:pt x="256" y="94"/>
                  <a:pt x="256" y="94"/>
                </a:cubicBezTo>
                <a:cubicBezTo>
                  <a:pt x="257" y="94"/>
                  <a:pt x="257" y="94"/>
                  <a:pt x="258" y="94"/>
                </a:cubicBezTo>
                <a:cubicBezTo>
                  <a:pt x="258" y="94"/>
                  <a:pt x="258" y="94"/>
                  <a:pt x="258" y="94"/>
                </a:cubicBezTo>
                <a:cubicBezTo>
                  <a:pt x="258" y="94"/>
                  <a:pt x="259" y="94"/>
                  <a:pt x="259" y="94"/>
                </a:cubicBezTo>
                <a:cubicBezTo>
                  <a:pt x="259" y="94"/>
                  <a:pt x="260" y="94"/>
                  <a:pt x="260" y="94"/>
                </a:cubicBezTo>
                <a:cubicBezTo>
                  <a:pt x="260" y="94"/>
                  <a:pt x="261" y="94"/>
                  <a:pt x="261" y="94"/>
                </a:cubicBezTo>
                <a:cubicBezTo>
                  <a:pt x="261" y="93"/>
                  <a:pt x="261" y="94"/>
                  <a:pt x="262" y="94"/>
                </a:cubicBezTo>
                <a:cubicBezTo>
                  <a:pt x="263" y="94"/>
                  <a:pt x="264" y="94"/>
                  <a:pt x="264" y="94"/>
                </a:cubicBezTo>
                <a:cubicBezTo>
                  <a:pt x="265" y="94"/>
                  <a:pt x="265" y="94"/>
                  <a:pt x="266" y="95"/>
                </a:cubicBezTo>
                <a:cubicBezTo>
                  <a:pt x="266" y="95"/>
                  <a:pt x="267" y="95"/>
                  <a:pt x="267" y="95"/>
                </a:cubicBezTo>
                <a:cubicBezTo>
                  <a:pt x="268" y="95"/>
                  <a:pt x="268" y="95"/>
                  <a:pt x="269" y="95"/>
                </a:cubicBezTo>
                <a:cubicBezTo>
                  <a:pt x="269" y="95"/>
                  <a:pt x="270" y="95"/>
                  <a:pt x="270" y="94"/>
                </a:cubicBezTo>
                <a:cubicBezTo>
                  <a:pt x="271" y="94"/>
                  <a:pt x="271" y="95"/>
                  <a:pt x="272" y="95"/>
                </a:cubicBezTo>
                <a:cubicBezTo>
                  <a:pt x="272" y="95"/>
                  <a:pt x="273" y="95"/>
                  <a:pt x="274" y="95"/>
                </a:cubicBezTo>
                <a:cubicBezTo>
                  <a:pt x="274" y="95"/>
                  <a:pt x="274" y="96"/>
                  <a:pt x="274" y="96"/>
                </a:cubicBezTo>
                <a:cubicBezTo>
                  <a:pt x="274" y="96"/>
                  <a:pt x="274" y="95"/>
                  <a:pt x="275" y="95"/>
                </a:cubicBezTo>
                <a:cubicBezTo>
                  <a:pt x="274" y="95"/>
                  <a:pt x="274" y="95"/>
                  <a:pt x="274" y="95"/>
                </a:cubicBezTo>
                <a:cubicBezTo>
                  <a:pt x="275" y="95"/>
                  <a:pt x="276" y="97"/>
                  <a:pt x="278" y="96"/>
                </a:cubicBezTo>
                <a:cubicBezTo>
                  <a:pt x="278" y="96"/>
                  <a:pt x="278" y="96"/>
                  <a:pt x="277" y="96"/>
                </a:cubicBezTo>
                <a:cubicBezTo>
                  <a:pt x="278" y="96"/>
                  <a:pt x="278" y="96"/>
                  <a:pt x="279" y="96"/>
                </a:cubicBezTo>
                <a:cubicBezTo>
                  <a:pt x="279" y="96"/>
                  <a:pt x="279" y="96"/>
                  <a:pt x="279" y="96"/>
                </a:cubicBezTo>
                <a:cubicBezTo>
                  <a:pt x="280" y="96"/>
                  <a:pt x="280" y="97"/>
                  <a:pt x="280" y="97"/>
                </a:cubicBezTo>
                <a:cubicBezTo>
                  <a:pt x="281" y="97"/>
                  <a:pt x="280" y="96"/>
                  <a:pt x="280" y="96"/>
                </a:cubicBezTo>
                <a:cubicBezTo>
                  <a:pt x="280" y="95"/>
                  <a:pt x="280" y="95"/>
                  <a:pt x="281" y="96"/>
                </a:cubicBezTo>
                <a:cubicBezTo>
                  <a:pt x="281" y="96"/>
                  <a:pt x="282" y="96"/>
                  <a:pt x="282" y="96"/>
                </a:cubicBezTo>
                <a:cubicBezTo>
                  <a:pt x="283" y="96"/>
                  <a:pt x="284" y="96"/>
                  <a:pt x="284" y="96"/>
                </a:cubicBezTo>
                <a:cubicBezTo>
                  <a:pt x="285" y="96"/>
                  <a:pt x="285" y="95"/>
                  <a:pt x="285" y="94"/>
                </a:cubicBezTo>
                <a:cubicBezTo>
                  <a:pt x="285" y="93"/>
                  <a:pt x="286" y="94"/>
                  <a:pt x="286" y="93"/>
                </a:cubicBezTo>
                <a:cubicBezTo>
                  <a:pt x="286" y="92"/>
                  <a:pt x="285" y="91"/>
                  <a:pt x="285" y="9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5" name="Juan de Nove (Fr)"/>
          <p:cNvSpPr>
            <a:spLocks/>
          </p:cNvSpPr>
          <p:nvPr/>
        </p:nvSpPr>
        <p:spPr bwMode="auto">
          <a:xfrm>
            <a:off x="7277027" y="5343912"/>
            <a:ext cx="1001" cy="100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6" name="Jordan"/>
          <p:cNvSpPr>
            <a:spLocks/>
          </p:cNvSpPr>
          <p:nvPr/>
        </p:nvSpPr>
        <p:spPr bwMode="auto">
          <a:xfrm>
            <a:off x="6984038" y="3335986"/>
            <a:ext cx="140995" cy="169994"/>
          </a:xfrm>
          <a:custGeom>
            <a:avLst/>
            <a:gdLst/>
            <a:ahLst/>
            <a:cxnLst>
              <a:cxn ang="0">
                <a:pos x="38" y="12"/>
              </a:cxn>
              <a:cxn ang="0">
                <a:pos x="36" y="12"/>
              </a:cxn>
              <a:cxn ang="0">
                <a:pos x="36" y="10"/>
              </a:cxn>
              <a:cxn ang="0">
                <a:pos x="33" y="0"/>
              </a:cxn>
              <a:cxn ang="0">
                <a:pos x="19" y="10"/>
              </a:cxn>
              <a:cxn ang="0">
                <a:pos x="16" y="12"/>
              </a:cxn>
              <a:cxn ang="0">
                <a:pos x="13" y="12"/>
              </a:cxn>
              <a:cxn ang="0">
                <a:pos x="11" y="11"/>
              </a:cxn>
              <a:cxn ang="0">
                <a:pos x="8" y="10"/>
              </a:cxn>
              <a:cxn ang="0">
                <a:pos x="8" y="8"/>
              </a:cxn>
              <a:cxn ang="0">
                <a:pos x="7" y="8"/>
              </a:cxn>
              <a:cxn ang="0">
                <a:pos x="7" y="8"/>
              </a:cxn>
              <a:cxn ang="0">
                <a:pos x="6" y="7"/>
              </a:cxn>
              <a:cxn ang="0">
                <a:pos x="4" y="8"/>
              </a:cxn>
              <a:cxn ang="0">
                <a:pos x="4" y="8"/>
              </a:cxn>
              <a:cxn ang="0">
                <a:pos x="4" y="9"/>
              </a:cxn>
              <a:cxn ang="0">
                <a:pos x="4" y="12"/>
              </a:cxn>
              <a:cxn ang="0">
                <a:pos x="4" y="14"/>
              </a:cxn>
              <a:cxn ang="0">
                <a:pos x="4" y="15"/>
              </a:cxn>
              <a:cxn ang="0">
                <a:pos x="4" y="16"/>
              </a:cxn>
              <a:cxn ang="0">
                <a:pos x="4" y="18"/>
              </a:cxn>
              <a:cxn ang="0">
                <a:pos x="4" y="21"/>
              </a:cxn>
              <a:cxn ang="0">
                <a:pos x="3" y="23"/>
              </a:cxn>
              <a:cxn ang="0">
                <a:pos x="4" y="24"/>
              </a:cxn>
              <a:cxn ang="0">
                <a:pos x="3" y="28"/>
              </a:cxn>
              <a:cxn ang="0">
                <a:pos x="2" y="31"/>
              </a:cxn>
              <a:cxn ang="0">
                <a:pos x="2" y="33"/>
              </a:cxn>
              <a:cxn ang="0">
                <a:pos x="2" y="34"/>
              </a:cxn>
              <a:cxn ang="0">
                <a:pos x="2" y="35"/>
              </a:cxn>
              <a:cxn ang="0">
                <a:pos x="1" y="37"/>
              </a:cxn>
              <a:cxn ang="0">
                <a:pos x="1" y="40"/>
              </a:cxn>
              <a:cxn ang="0">
                <a:pos x="1" y="42"/>
              </a:cxn>
              <a:cxn ang="0">
                <a:pos x="1" y="43"/>
              </a:cxn>
              <a:cxn ang="0">
                <a:pos x="1" y="44"/>
              </a:cxn>
              <a:cxn ang="0">
                <a:pos x="3" y="45"/>
              </a:cxn>
              <a:cxn ang="0">
                <a:pos x="8" y="46"/>
              </a:cxn>
              <a:cxn ang="0">
                <a:pos x="11" y="46"/>
              </a:cxn>
              <a:cxn ang="0">
                <a:pos x="13" y="45"/>
              </a:cxn>
              <a:cxn ang="0">
                <a:pos x="15" y="43"/>
              </a:cxn>
              <a:cxn ang="0">
                <a:pos x="16" y="41"/>
              </a:cxn>
              <a:cxn ang="0">
                <a:pos x="17" y="39"/>
              </a:cxn>
              <a:cxn ang="0">
                <a:pos x="20" y="38"/>
              </a:cxn>
              <a:cxn ang="0">
                <a:pos x="22" y="38"/>
              </a:cxn>
              <a:cxn ang="0">
                <a:pos x="24" y="37"/>
              </a:cxn>
              <a:cxn ang="0">
                <a:pos x="25" y="35"/>
              </a:cxn>
              <a:cxn ang="0">
                <a:pos x="28" y="32"/>
              </a:cxn>
              <a:cxn ang="0">
                <a:pos x="23" y="26"/>
              </a:cxn>
              <a:cxn ang="0">
                <a:pos x="18" y="21"/>
              </a:cxn>
              <a:cxn ang="0">
                <a:pos x="30" y="17"/>
              </a:cxn>
              <a:cxn ang="0">
                <a:pos x="35" y="16"/>
              </a:cxn>
              <a:cxn ang="0">
                <a:pos x="37" y="14"/>
              </a:cxn>
              <a:cxn ang="0">
                <a:pos x="38" y="12"/>
              </a:cxn>
            </a:cxnLst>
            <a:rect l="0" t="0" r="r" b="b"/>
            <a:pathLst>
              <a:path w="39" h="47">
                <a:moveTo>
                  <a:pt x="38" y="12"/>
                </a:moveTo>
                <a:cubicBezTo>
                  <a:pt x="37" y="11"/>
                  <a:pt x="37" y="12"/>
                  <a:pt x="36" y="12"/>
                </a:cubicBezTo>
                <a:cubicBezTo>
                  <a:pt x="36" y="11"/>
                  <a:pt x="35" y="10"/>
                  <a:pt x="36" y="10"/>
                </a:cubicBezTo>
                <a:cubicBezTo>
                  <a:pt x="35" y="7"/>
                  <a:pt x="34" y="4"/>
                  <a:pt x="33" y="0"/>
                </a:cubicBezTo>
                <a:cubicBezTo>
                  <a:pt x="28" y="3"/>
                  <a:pt x="24" y="6"/>
                  <a:pt x="19" y="10"/>
                </a:cubicBezTo>
                <a:cubicBezTo>
                  <a:pt x="18" y="10"/>
                  <a:pt x="17" y="11"/>
                  <a:pt x="16" y="12"/>
                </a:cubicBezTo>
                <a:cubicBezTo>
                  <a:pt x="15" y="12"/>
                  <a:pt x="14" y="12"/>
                  <a:pt x="13" y="12"/>
                </a:cubicBezTo>
                <a:cubicBezTo>
                  <a:pt x="12" y="11"/>
                  <a:pt x="12" y="11"/>
                  <a:pt x="11" y="11"/>
                </a:cubicBezTo>
                <a:cubicBezTo>
                  <a:pt x="10" y="10"/>
                  <a:pt x="10" y="9"/>
                  <a:pt x="8" y="10"/>
                </a:cubicBezTo>
                <a:cubicBezTo>
                  <a:pt x="8" y="9"/>
                  <a:pt x="8" y="9"/>
                  <a:pt x="8" y="8"/>
                </a:cubicBezTo>
                <a:cubicBezTo>
                  <a:pt x="8" y="8"/>
                  <a:pt x="8" y="8"/>
                  <a:pt x="7" y="8"/>
                </a:cubicBezTo>
                <a:cubicBezTo>
                  <a:pt x="7" y="8"/>
                  <a:pt x="7" y="8"/>
                  <a:pt x="7" y="8"/>
                </a:cubicBezTo>
                <a:cubicBezTo>
                  <a:pt x="6" y="7"/>
                  <a:pt x="6" y="7"/>
                  <a:pt x="6" y="7"/>
                </a:cubicBezTo>
                <a:cubicBezTo>
                  <a:pt x="5" y="7"/>
                  <a:pt x="5" y="8"/>
                  <a:pt x="4" y="8"/>
                </a:cubicBezTo>
                <a:cubicBezTo>
                  <a:pt x="4" y="8"/>
                  <a:pt x="4" y="8"/>
                  <a:pt x="4" y="8"/>
                </a:cubicBezTo>
                <a:cubicBezTo>
                  <a:pt x="3" y="9"/>
                  <a:pt x="4" y="9"/>
                  <a:pt x="4" y="9"/>
                </a:cubicBezTo>
                <a:cubicBezTo>
                  <a:pt x="4" y="10"/>
                  <a:pt x="4" y="11"/>
                  <a:pt x="4" y="12"/>
                </a:cubicBezTo>
                <a:cubicBezTo>
                  <a:pt x="4" y="12"/>
                  <a:pt x="4" y="13"/>
                  <a:pt x="4" y="14"/>
                </a:cubicBezTo>
                <a:cubicBezTo>
                  <a:pt x="4" y="14"/>
                  <a:pt x="4" y="15"/>
                  <a:pt x="4" y="15"/>
                </a:cubicBezTo>
                <a:cubicBezTo>
                  <a:pt x="4" y="15"/>
                  <a:pt x="4" y="16"/>
                  <a:pt x="4" y="16"/>
                </a:cubicBezTo>
                <a:cubicBezTo>
                  <a:pt x="4" y="17"/>
                  <a:pt x="4" y="18"/>
                  <a:pt x="4" y="18"/>
                </a:cubicBezTo>
                <a:cubicBezTo>
                  <a:pt x="4" y="19"/>
                  <a:pt x="4" y="20"/>
                  <a:pt x="4" y="21"/>
                </a:cubicBezTo>
                <a:cubicBezTo>
                  <a:pt x="4" y="22"/>
                  <a:pt x="4" y="22"/>
                  <a:pt x="3" y="23"/>
                </a:cubicBezTo>
                <a:cubicBezTo>
                  <a:pt x="3" y="24"/>
                  <a:pt x="3" y="24"/>
                  <a:pt x="4" y="24"/>
                </a:cubicBezTo>
                <a:cubicBezTo>
                  <a:pt x="4" y="25"/>
                  <a:pt x="3" y="27"/>
                  <a:pt x="3" y="28"/>
                </a:cubicBezTo>
                <a:cubicBezTo>
                  <a:pt x="3" y="29"/>
                  <a:pt x="2" y="30"/>
                  <a:pt x="2" y="31"/>
                </a:cubicBezTo>
                <a:cubicBezTo>
                  <a:pt x="2" y="31"/>
                  <a:pt x="1" y="32"/>
                  <a:pt x="2" y="33"/>
                </a:cubicBezTo>
                <a:cubicBezTo>
                  <a:pt x="2" y="33"/>
                  <a:pt x="2" y="34"/>
                  <a:pt x="2" y="34"/>
                </a:cubicBezTo>
                <a:cubicBezTo>
                  <a:pt x="2" y="35"/>
                  <a:pt x="2" y="35"/>
                  <a:pt x="2" y="35"/>
                </a:cubicBezTo>
                <a:cubicBezTo>
                  <a:pt x="2" y="36"/>
                  <a:pt x="2" y="37"/>
                  <a:pt x="1" y="37"/>
                </a:cubicBezTo>
                <a:cubicBezTo>
                  <a:pt x="1" y="38"/>
                  <a:pt x="1" y="39"/>
                  <a:pt x="1" y="40"/>
                </a:cubicBezTo>
                <a:cubicBezTo>
                  <a:pt x="1" y="41"/>
                  <a:pt x="0" y="42"/>
                  <a:pt x="1" y="42"/>
                </a:cubicBezTo>
                <a:cubicBezTo>
                  <a:pt x="1" y="43"/>
                  <a:pt x="1" y="43"/>
                  <a:pt x="1" y="43"/>
                </a:cubicBezTo>
                <a:cubicBezTo>
                  <a:pt x="1" y="44"/>
                  <a:pt x="0" y="44"/>
                  <a:pt x="1" y="44"/>
                </a:cubicBezTo>
                <a:cubicBezTo>
                  <a:pt x="1" y="45"/>
                  <a:pt x="2" y="45"/>
                  <a:pt x="3" y="45"/>
                </a:cubicBezTo>
                <a:cubicBezTo>
                  <a:pt x="4" y="45"/>
                  <a:pt x="6" y="45"/>
                  <a:pt x="8" y="46"/>
                </a:cubicBezTo>
                <a:cubicBezTo>
                  <a:pt x="9" y="46"/>
                  <a:pt x="10" y="47"/>
                  <a:pt x="11" y="46"/>
                </a:cubicBezTo>
                <a:cubicBezTo>
                  <a:pt x="12" y="46"/>
                  <a:pt x="12" y="45"/>
                  <a:pt x="13" y="45"/>
                </a:cubicBezTo>
                <a:cubicBezTo>
                  <a:pt x="14" y="44"/>
                  <a:pt x="14" y="44"/>
                  <a:pt x="15" y="43"/>
                </a:cubicBezTo>
                <a:cubicBezTo>
                  <a:pt x="15" y="42"/>
                  <a:pt x="16" y="41"/>
                  <a:pt x="16" y="41"/>
                </a:cubicBezTo>
                <a:cubicBezTo>
                  <a:pt x="16" y="40"/>
                  <a:pt x="16" y="39"/>
                  <a:pt x="17" y="39"/>
                </a:cubicBezTo>
                <a:cubicBezTo>
                  <a:pt x="18" y="39"/>
                  <a:pt x="19" y="38"/>
                  <a:pt x="20" y="38"/>
                </a:cubicBezTo>
                <a:cubicBezTo>
                  <a:pt x="21" y="38"/>
                  <a:pt x="22" y="38"/>
                  <a:pt x="22" y="38"/>
                </a:cubicBezTo>
                <a:cubicBezTo>
                  <a:pt x="23" y="38"/>
                  <a:pt x="24" y="38"/>
                  <a:pt x="24" y="37"/>
                </a:cubicBezTo>
                <a:cubicBezTo>
                  <a:pt x="24" y="36"/>
                  <a:pt x="24" y="36"/>
                  <a:pt x="25" y="35"/>
                </a:cubicBezTo>
                <a:cubicBezTo>
                  <a:pt x="25" y="33"/>
                  <a:pt x="27" y="33"/>
                  <a:pt x="28" y="32"/>
                </a:cubicBezTo>
                <a:cubicBezTo>
                  <a:pt x="26" y="30"/>
                  <a:pt x="25" y="28"/>
                  <a:pt x="23" y="26"/>
                </a:cubicBezTo>
                <a:cubicBezTo>
                  <a:pt x="21" y="25"/>
                  <a:pt x="19" y="23"/>
                  <a:pt x="18" y="21"/>
                </a:cubicBezTo>
                <a:cubicBezTo>
                  <a:pt x="22" y="20"/>
                  <a:pt x="26" y="18"/>
                  <a:pt x="30" y="17"/>
                </a:cubicBezTo>
                <a:cubicBezTo>
                  <a:pt x="32" y="17"/>
                  <a:pt x="33" y="16"/>
                  <a:pt x="35" y="16"/>
                </a:cubicBezTo>
                <a:cubicBezTo>
                  <a:pt x="36" y="16"/>
                  <a:pt x="36" y="15"/>
                  <a:pt x="37" y="14"/>
                </a:cubicBezTo>
                <a:cubicBezTo>
                  <a:pt x="38" y="14"/>
                  <a:pt x="39" y="12"/>
                  <a:pt x="38" y="1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7" name="Japan"/>
          <p:cNvSpPr>
            <a:spLocks noEditPoints="1"/>
          </p:cNvSpPr>
          <p:nvPr/>
        </p:nvSpPr>
        <p:spPr bwMode="auto">
          <a:xfrm>
            <a:off x="9999924" y="2859005"/>
            <a:ext cx="1065960" cy="842969"/>
          </a:xfrm>
          <a:custGeom>
            <a:avLst/>
            <a:gdLst/>
            <a:ahLst/>
            <a:cxnLst>
              <a:cxn ang="0">
                <a:pos x="26" y="120"/>
              </a:cxn>
              <a:cxn ang="0">
                <a:pos x="56" y="188"/>
              </a:cxn>
              <a:cxn ang="0">
                <a:pos x="41" y="213"/>
              </a:cxn>
              <a:cxn ang="0">
                <a:pos x="28" y="141"/>
              </a:cxn>
              <a:cxn ang="0">
                <a:pos x="43" y="144"/>
              </a:cxn>
              <a:cxn ang="0">
                <a:pos x="71" y="3"/>
              </a:cxn>
              <a:cxn ang="0">
                <a:pos x="83" y="25"/>
              </a:cxn>
              <a:cxn ang="0">
                <a:pos x="81" y="36"/>
              </a:cxn>
              <a:cxn ang="0">
                <a:pos x="95" y="41"/>
              </a:cxn>
              <a:cxn ang="0">
                <a:pos x="90" y="34"/>
              </a:cxn>
              <a:cxn ang="0">
                <a:pos x="119" y="28"/>
              </a:cxn>
              <a:cxn ang="0">
                <a:pos x="121" y="24"/>
              </a:cxn>
              <a:cxn ang="0">
                <a:pos x="113" y="15"/>
              </a:cxn>
              <a:cxn ang="0">
                <a:pos x="91" y="9"/>
              </a:cxn>
              <a:cxn ang="0">
                <a:pos x="56" y="135"/>
              </a:cxn>
              <a:cxn ang="0">
                <a:pos x="45" y="126"/>
              </a:cxn>
              <a:cxn ang="0">
                <a:pos x="36" y="131"/>
              </a:cxn>
              <a:cxn ang="0">
                <a:pos x="37" y="136"/>
              </a:cxn>
              <a:cxn ang="0">
                <a:pos x="40" y="140"/>
              </a:cxn>
              <a:cxn ang="0">
                <a:pos x="46" y="140"/>
              </a:cxn>
              <a:cxn ang="0">
                <a:pos x="48" y="152"/>
              </a:cxn>
              <a:cxn ang="0">
                <a:pos x="52" y="154"/>
              </a:cxn>
              <a:cxn ang="0">
                <a:pos x="57" y="149"/>
              </a:cxn>
              <a:cxn ang="0">
                <a:pos x="59" y="137"/>
              </a:cxn>
              <a:cxn ang="0">
                <a:pos x="71" y="122"/>
              </a:cxn>
              <a:cxn ang="0">
                <a:pos x="61" y="129"/>
              </a:cxn>
              <a:cxn ang="0">
                <a:pos x="61" y="135"/>
              </a:cxn>
              <a:cxn ang="0">
                <a:pos x="67" y="138"/>
              </a:cxn>
              <a:cxn ang="0">
                <a:pos x="77" y="130"/>
              </a:cxn>
              <a:cxn ang="0">
                <a:pos x="123" y="103"/>
              </a:cxn>
              <a:cxn ang="0">
                <a:pos x="115" y="78"/>
              </a:cxn>
              <a:cxn ang="0">
                <a:pos x="116" y="71"/>
              </a:cxn>
              <a:cxn ang="0">
                <a:pos x="117" y="67"/>
              </a:cxn>
              <a:cxn ang="0">
                <a:pos x="106" y="54"/>
              </a:cxn>
              <a:cxn ang="0">
                <a:pos x="98" y="50"/>
              </a:cxn>
              <a:cxn ang="0">
                <a:pos x="91" y="53"/>
              </a:cxn>
              <a:cxn ang="0">
                <a:pos x="100" y="78"/>
              </a:cxn>
              <a:cxn ang="0">
                <a:pos x="85" y="92"/>
              </a:cxn>
              <a:cxn ang="0">
                <a:pos x="81" y="101"/>
              </a:cxn>
              <a:cxn ang="0">
                <a:pos x="80" y="109"/>
              </a:cxn>
              <a:cxn ang="0">
                <a:pos x="74" y="107"/>
              </a:cxn>
              <a:cxn ang="0">
                <a:pos x="53" y="111"/>
              </a:cxn>
              <a:cxn ang="0">
                <a:pos x="42" y="121"/>
              </a:cxn>
              <a:cxn ang="0">
                <a:pos x="48" y="126"/>
              </a:cxn>
              <a:cxn ang="0">
                <a:pos x="55" y="123"/>
              </a:cxn>
              <a:cxn ang="0">
                <a:pos x="63" y="121"/>
              </a:cxn>
              <a:cxn ang="0">
                <a:pos x="70" y="118"/>
              </a:cxn>
              <a:cxn ang="0">
                <a:pos x="86" y="129"/>
              </a:cxn>
              <a:cxn ang="0">
                <a:pos x="94" y="123"/>
              </a:cxn>
              <a:cxn ang="0">
                <a:pos x="92" y="114"/>
              </a:cxn>
              <a:cxn ang="0">
                <a:pos x="103" y="119"/>
              </a:cxn>
              <a:cxn ang="0">
                <a:pos x="113" y="119"/>
              </a:cxn>
              <a:cxn ang="0">
                <a:pos x="117" y="108"/>
              </a:cxn>
              <a:cxn ang="0">
                <a:pos x="123" y="114"/>
              </a:cxn>
              <a:cxn ang="0">
                <a:pos x="54" y="100"/>
              </a:cxn>
              <a:cxn ang="0">
                <a:pos x="50" y="190"/>
              </a:cxn>
              <a:cxn ang="0">
                <a:pos x="79" y="120"/>
              </a:cxn>
              <a:cxn ang="0">
                <a:pos x="30" y="137"/>
              </a:cxn>
              <a:cxn ang="0">
                <a:pos x="92" y="84"/>
              </a:cxn>
              <a:cxn ang="0">
                <a:pos x="78" y="37"/>
              </a:cxn>
              <a:cxn ang="0">
                <a:pos x="51" y="190"/>
              </a:cxn>
              <a:cxn ang="0">
                <a:pos x="1" y="230"/>
              </a:cxn>
              <a:cxn ang="0">
                <a:pos x="54" y="165"/>
              </a:cxn>
            </a:cxnLst>
            <a:rect l="0" t="0" r="r" b="b"/>
            <a:pathLst>
              <a:path w="295" h="233">
                <a:moveTo>
                  <a:pt x="26" y="120"/>
                </a:moveTo>
                <a:cubicBezTo>
                  <a:pt x="26" y="120"/>
                  <a:pt x="26" y="119"/>
                  <a:pt x="26" y="119"/>
                </a:cubicBezTo>
                <a:cubicBezTo>
                  <a:pt x="26" y="119"/>
                  <a:pt x="26" y="119"/>
                  <a:pt x="27" y="119"/>
                </a:cubicBezTo>
                <a:cubicBezTo>
                  <a:pt x="27" y="118"/>
                  <a:pt x="27" y="118"/>
                  <a:pt x="27" y="118"/>
                </a:cubicBezTo>
                <a:cubicBezTo>
                  <a:pt x="27" y="118"/>
                  <a:pt x="28" y="119"/>
                  <a:pt x="27" y="119"/>
                </a:cubicBezTo>
                <a:cubicBezTo>
                  <a:pt x="28" y="119"/>
                  <a:pt x="27" y="120"/>
                  <a:pt x="27" y="121"/>
                </a:cubicBezTo>
                <a:cubicBezTo>
                  <a:pt x="27" y="121"/>
                  <a:pt x="28" y="121"/>
                  <a:pt x="28" y="122"/>
                </a:cubicBezTo>
                <a:cubicBezTo>
                  <a:pt x="28" y="122"/>
                  <a:pt x="28" y="122"/>
                  <a:pt x="27" y="122"/>
                </a:cubicBezTo>
                <a:cubicBezTo>
                  <a:pt x="27" y="122"/>
                  <a:pt x="27" y="122"/>
                  <a:pt x="28" y="122"/>
                </a:cubicBezTo>
                <a:cubicBezTo>
                  <a:pt x="28" y="122"/>
                  <a:pt x="27" y="121"/>
                  <a:pt x="27" y="121"/>
                </a:cubicBezTo>
                <a:cubicBezTo>
                  <a:pt x="27" y="121"/>
                  <a:pt x="27" y="122"/>
                  <a:pt x="26" y="122"/>
                </a:cubicBezTo>
                <a:cubicBezTo>
                  <a:pt x="27" y="121"/>
                  <a:pt x="26" y="121"/>
                  <a:pt x="27" y="121"/>
                </a:cubicBezTo>
                <a:cubicBezTo>
                  <a:pt x="26" y="121"/>
                  <a:pt x="26" y="120"/>
                  <a:pt x="26" y="120"/>
                </a:cubicBezTo>
                <a:close/>
                <a:moveTo>
                  <a:pt x="28" y="123"/>
                </a:moveTo>
                <a:cubicBezTo>
                  <a:pt x="28" y="122"/>
                  <a:pt x="27" y="122"/>
                  <a:pt x="27" y="122"/>
                </a:cubicBezTo>
                <a:cubicBezTo>
                  <a:pt x="27" y="122"/>
                  <a:pt x="26" y="122"/>
                  <a:pt x="26" y="122"/>
                </a:cubicBezTo>
                <a:cubicBezTo>
                  <a:pt x="26" y="123"/>
                  <a:pt x="27" y="123"/>
                  <a:pt x="27" y="123"/>
                </a:cubicBezTo>
                <a:cubicBezTo>
                  <a:pt x="27" y="123"/>
                  <a:pt x="27" y="125"/>
                  <a:pt x="28" y="125"/>
                </a:cubicBezTo>
                <a:cubicBezTo>
                  <a:pt x="28" y="124"/>
                  <a:pt x="28" y="123"/>
                  <a:pt x="28" y="123"/>
                </a:cubicBezTo>
                <a:close/>
                <a:moveTo>
                  <a:pt x="13" y="231"/>
                </a:moveTo>
                <a:cubicBezTo>
                  <a:pt x="12" y="231"/>
                  <a:pt x="12" y="230"/>
                  <a:pt x="11" y="231"/>
                </a:cubicBezTo>
                <a:cubicBezTo>
                  <a:pt x="11" y="231"/>
                  <a:pt x="13" y="233"/>
                  <a:pt x="13" y="232"/>
                </a:cubicBezTo>
                <a:cubicBezTo>
                  <a:pt x="13" y="231"/>
                  <a:pt x="13" y="231"/>
                  <a:pt x="13" y="230"/>
                </a:cubicBezTo>
                <a:cubicBezTo>
                  <a:pt x="13" y="230"/>
                  <a:pt x="14" y="229"/>
                  <a:pt x="13" y="229"/>
                </a:cubicBezTo>
                <a:cubicBezTo>
                  <a:pt x="13" y="229"/>
                  <a:pt x="13" y="230"/>
                  <a:pt x="13" y="231"/>
                </a:cubicBezTo>
                <a:close/>
                <a:moveTo>
                  <a:pt x="56" y="188"/>
                </a:moveTo>
                <a:cubicBezTo>
                  <a:pt x="57" y="187"/>
                  <a:pt x="55" y="188"/>
                  <a:pt x="56" y="188"/>
                </a:cubicBezTo>
                <a:close/>
                <a:moveTo>
                  <a:pt x="76" y="216"/>
                </a:moveTo>
                <a:cubicBezTo>
                  <a:pt x="76" y="215"/>
                  <a:pt x="76" y="215"/>
                  <a:pt x="75" y="215"/>
                </a:cubicBezTo>
                <a:cubicBezTo>
                  <a:pt x="75" y="215"/>
                  <a:pt x="75" y="216"/>
                  <a:pt x="76" y="216"/>
                </a:cubicBezTo>
                <a:close/>
                <a:moveTo>
                  <a:pt x="44" y="204"/>
                </a:moveTo>
                <a:cubicBezTo>
                  <a:pt x="45" y="205"/>
                  <a:pt x="44" y="206"/>
                  <a:pt x="43" y="207"/>
                </a:cubicBezTo>
                <a:cubicBezTo>
                  <a:pt x="43" y="207"/>
                  <a:pt x="42" y="205"/>
                  <a:pt x="41" y="206"/>
                </a:cubicBezTo>
                <a:cubicBezTo>
                  <a:pt x="41" y="206"/>
                  <a:pt x="42" y="207"/>
                  <a:pt x="42" y="207"/>
                </a:cubicBezTo>
                <a:cubicBezTo>
                  <a:pt x="42" y="207"/>
                  <a:pt x="43" y="207"/>
                  <a:pt x="43" y="207"/>
                </a:cubicBezTo>
                <a:cubicBezTo>
                  <a:pt x="42" y="208"/>
                  <a:pt x="42" y="208"/>
                  <a:pt x="42" y="208"/>
                </a:cubicBezTo>
                <a:cubicBezTo>
                  <a:pt x="42" y="209"/>
                  <a:pt x="41" y="209"/>
                  <a:pt x="41" y="209"/>
                </a:cubicBezTo>
                <a:cubicBezTo>
                  <a:pt x="40" y="209"/>
                  <a:pt x="41" y="210"/>
                  <a:pt x="41" y="211"/>
                </a:cubicBezTo>
                <a:cubicBezTo>
                  <a:pt x="41" y="211"/>
                  <a:pt x="40" y="212"/>
                  <a:pt x="41" y="213"/>
                </a:cubicBezTo>
                <a:cubicBezTo>
                  <a:pt x="41" y="213"/>
                  <a:pt x="43" y="212"/>
                  <a:pt x="42" y="212"/>
                </a:cubicBezTo>
                <a:cubicBezTo>
                  <a:pt x="42" y="211"/>
                  <a:pt x="42" y="212"/>
                  <a:pt x="42" y="211"/>
                </a:cubicBezTo>
                <a:cubicBezTo>
                  <a:pt x="42" y="211"/>
                  <a:pt x="42" y="210"/>
                  <a:pt x="42" y="210"/>
                </a:cubicBezTo>
                <a:cubicBezTo>
                  <a:pt x="42" y="210"/>
                  <a:pt x="43" y="210"/>
                  <a:pt x="43" y="210"/>
                </a:cubicBezTo>
                <a:cubicBezTo>
                  <a:pt x="43" y="210"/>
                  <a:pt x="42" y="209"/>
                  <a:pt x="42" y="209"/>
                </a:cubicBezTo>
                <a:cubicBezTo>
                  <a:pt x="43" y="208"/>
                  <a:pt x="43" y="208"/>
                  <a:pt x="44" y="208"/>
                </a:cubicBezTo>
                <a:cubicBezTo>
                  <a:pt x="44" y="207"/>
                  <a:pt x="44" y="207"/>
                  <a:pt x="44" y="207"/>
                </a:cubicBezTo>
                <a:cubicBezTo>
                  <a:pt x="44" y="207"/>
                  <a:pt x="45" y="207"/>
                  <a:pt x="45" y="206"/>
                </a:cubicBezTo>
                <a:cubicBezTo>
                  <a:pt x="46" y="206"/>
                  <a:pt x="45" y="204"/>
                  <a:pt x="44" y="204"/>
                </a:cubicBezTo>
                <a:close/>
                <a:moveTo>
                  <a:pt x="29" y="139"/>
                </a:moveTo>
                <a:cubicBezTo>
                  <a:pt x="29" y="139"/>
                  <a:pt x="28" y="139"/>
                  <a:pt x="28" y="139"/>
                </a:cubicBezTo>
                <a:cubicBezTo>
                  <a:pt x="28" y="139"/>
                  <a:pt x="28" y="140"/>
                  <a:pt x="28" y="140"/>
                </a:cubicBezTo>
                <a:cubicBezTo>
                  <a:pt x="28" y="140"/>
                  <a:pt x="28" y="140"/>
                  <a:pt x="28" y="141"/>
                </a:cubicBezTo>
                <a:cubicBezTo>
                  <a:pt x="28" y="140"/>
                  <a:pt x="28" y="140"/>
                  <a:pt x="28" y="140"/>
                </a:cubicBezTo>
                <a:cubicBezTo>
                  <a:pt x="28" y="141"/>
                  <a:pt x="29" y="141"/>
                  <a:pt x="29" y="141"/>
                </a:cubicBezTo>
                <a:cubicBezTo>
                  <a:pt x="30" y="141"/>
                  <a:pt x="29" y="140"/>
                  <a:pt x="30" y="140"/>
                </a:cubicBezTo>
                <a:cubicBezTo>
                  <a:pt x="30" y="140"/>
                  <a:pt x="30" y="140"/>
                  <a:pt x="31" y="140"/>
                </a:cubicBezTo>
                <a:cubicBezTo>
                  <a:pt x="30" y="140"/>
                  <a:pt x="29" y="139"/>
                  <a:pt x="29" y="139"/>
                </a:cubicBezTo>
                <a:close/>
                <a:moveTo>
                  <a:pt x="42" y="145"/>
                </a:moveTo>
                <a:cubicBezTo>
                  <a:pt x="43" y="145"/>
                  <a:pt x="42" y="145"/>
                  <a:pt x="43" y="145"/>
                </a:cubicBezTo>
                <a:cubicBezTo>
                  <a:pt x="43" y="145"/>
                  <a:pt x="43" y="145"/>
                  <a:pt x="44" y="144"/>
                </a:cubicBezTo>
                <a:cubicBezTo>
                  <a:pt x="44" y="144"/>
                  <a:pt x="44" y="143"/>
                  <a:pt x="43" y="143"/>
                </a:cubicBezTo>
                <a:cubicBezTo>
                  <a:pt x="43" y="142"/>
                  <a:pt x="43" y="141"/>
                  <a:pt x="42" y="142"/>
                </a:cubicBezTo>
                <a:cubicBezTo>
                  <a:pt x="42" y="142"/>
                  <a:pt x="42" y="142"/>
                  <a:pt x="41" y="142"/>
                </a:cubicBezTo>
                <a:cubicBezTo>
                  <a:pt x="42" y="142"/>
                  <a:pt x="42" y="143"/>
                  <a:pt x="42" y="143"/>
                </a:cubicBezTo>
                <a:cubicBezTo>
                  <a:pt x="42" y="144"/>
                  <a:pt x="42" y="144"/>
                  <a:pt x="43" y="144"/>
                </a:cubicBezTo>
                <a:cubicBezTo>
                  <a:pt x="42" y="144"/>
                  <a:pt x="42" y="145"/>
                  <a:pt x="42" y="145"/>
                </a:cubicBezTo>
                <a:close/>
                <a:moveTo>
                  <a:pt x="23" y="227"/>
                </a:moveTo>
                <a:cubicBezTo>
                  <a:pt x="23" y="227"/>
                  <a:pt x="22" y="226"/>
                  <a:pt x="22" y="226"/>
                </a:cubicBezTo>
                <a:cubicBezTo>
                  <a:pt x="22" y="226"/>
                  <a:pt x="22" y="226"/>
                  <a:pt x="22" y="226"/>
                </a:cubicBezTo>
                <a:cubicBezTo>
                  <a:pt x="22" y="227"/>
                  <a:pt x="21" y="228"/>
                  <a:pt x="23" y="228"/>
                </a:cubicBezTo>
                <a:cubicBezTo>
                  <a:pt x="23" y="227"/>
                  <a:pt x="24" y="227"/>
                  <a:pt x="23" y="227"/>
                </a:cubicBezTo>
                <a:close/>
                <a:moveTo>
                  <a:pt x="118" y="117"/>
                </a:moveTo>
                <a:cubicBezTo>
                  <a:pt x="117" y="117"/>
                  <a:pt x="118" y="118"/>
                  <a:pt x="118" y="118"/>
                </a:cubicBezTo>
                <a:cubicBezTo>
                  <a:pt x="119" y="118"/>
                  <a:pt x="118" y="117"/>
                  <a:pt x="118" y="117"/>
                </a:cubicBezTo>
                <a:close/>
                <a:moveTo>
                  <a:pt x="70" y="1"/>
                </a:moveTo>
                <a:cubicBezTo>
                  <a:pt x="70" y="1"/>
                  <a:pt x="69" y="1"/>
                  <a:pt x="69" y="1"/>
                </a:cubicBezTo>
                <a:cubicBezTo>
                  <a:pt x="69" y="1"/>
                  <a:pt x="69" y="1"/>
                  <a:pt x="69" y="0"/>
                </a:cubicBezTo>
                <a:cubicBezTo>
                  <a:pt x="69" y="1"/>
                  <a:pt x="70" y="2"/>
                  <a:pt x="71" y="3"/>
                </a:cubicBezTo>
                <a:cubicBezTo>
                  <a:pt x="71" y="2"/>
                  <a:pt x="70" y="2"/>
                  <a:pt x="70" y="1"/>
                </a:cubicBezTo>
                <a:close/>
                <a:moveTo>
                  <a:pt x="76" y="4"/>
                </a:moveTo>
                <a:cubicBezTo>
                  <a:pt x="77" y="4"/>
                  <a:pt x="77" y="5"/>
                  <a:pt x="78" y="5"/>
                </a:cubicBezTo>
                <a:cubicBezTo>
                  <a:pt x="79" y="6"/>
                  <a:pt x="79" y="7"/>
                  <a:pt x="80" y="7"/>
                </a:cubicBezTo>
                <a:cubicBezTo>
                  <a:pt x="81" y="8"/>
                  <a:pt x="81" y="9"/>
                  <a:pt x="82" y="10"/>
                </a:cubicBezTo>
                <a:cubicBezTo>
                  <a:pt x="83" y="11"/>
                  <a:pt x="83" y="13"/>
                  <a:pt x="83" y="14"/>
                </a:cubicBezTo>
                <a:cubicBezTo>
                  <a:pt x="84" y="15"/>
                  <a:pt x="86" y="17"/>
                  <a:pt x="85" y="18"/>
                </a:cubicBezTo>
                <a:cubicBezTo>
                  <a:pt x="85" y="18"/>
                  <a:pt x="84" y="18"/>
                  <a:pt x="84" y="19"/>
                </a:cubicBezTo>
                <a:cubicBezTo>
                  <a:pt x="84" y="20"/>
                  <a:pt x="85" y="20"/>
                  <a:pt x="85" y="21"/>
                </a:cubicBezTo>
                <a:cubicBezTo>
                  <a:pt x="85" y="21"/>
                  <a:pt x="85" y="22"/>
                  <a:pt x="86" y="22"/>
                </a:cubicBezTo>
                <a:cubicBezTo>
                  <a:pt x="87" y="23"/>
                  <a:pt x="87" y="23"/>
                  <a:pt x="87" y="24"/>
                </a:cubicBezTo>
                <a:cubicBezTo>
                  <a:pt x="87" y="26"/>
                  <a:pt x="85" y="26"/>
                  <a:pt x="84" y="25"/>
                </a:cubicBezTo>
                <a:cubicBezTo>
                  <a:pt x="84" y="24"/>
                  <a:pt x="83" y="25"/>
                  <a:pt x="83" y="25"/>
                </a:cubicBezTo>
                <a:cubicBezTo>
                  <a:pt x="82" y="25"/>
                  <a:pt x="81" y="25"/>
                  <a:pt x="81" y="24"/>
                </a:cubicBezTo>
                <a:cubicBezTo>
                  <a:pt x="80" y="24"/>
                  <a:pt x="80" y="24"/>
                  <a:pt x="79" y="23"/>
                </a:cubicBezTo>
                <a:cubicBezTo>
                  <a:pt x="78" y="23"/>
                  <a:pt x="79" y="23"/>
                  <a:pt x="79" y="23"/>
                </a:cubicBezTo>
                <a:cubicBezTo>
                  <a:pt x="79" y="24"/>
                  <a:pt x="78" y="24"/>
                  <a:pt x="78" y="24"/>
                </a:cubicBezTo>
                <a:cubicBezTo>
                  <a:pt x="77" y="24"/>
                  <a:pt x="80" y="26"/>
                  <a:pt x="80" y="26"/>
                </a:cubicBezTo>
                <a:cubicBezTo>
                  <a:pt x="80" y="26"/>
                  <a:pt x="81" y="27"/>
                  <a:pt x="81" y="27"/>
                </a:cubicBezTo>
                <a:cubicBezTo>
                  <a:pt x="82" y="27"/>
                  <a:pt x="81" y="28"/>
                  <a:pt x="81" y="29"/>
                </a:cubicBezTo>
                <a:cubicBezTo>
                  <a:pt x="81" y="30"/>
                  <a:pt x="81" y="30"/>
                  <a:pt x="80" y="29"/>
                </a:cubicBezTo>
                <a:cubicBezTo>
                  <a:pt x="80" y="29"/>
                  <a:pt x="80" y="30"/>
                  <a:pt x="79" y="30"/>
                </a:cubicBezTo>
                <a:cubicBezTo>
                  <a:pt x="79" y="31"/>
                  <a:pt x="79" y="30"/>
                  <a:pt x="78" y="31"/>
                </a:cubicBezTo>
                <a:cubicBezTo>
                  <a:pt x="77" y="31"/>
                  <a:pt x="79" y="33"/>
                  <a:pt x="79" y="33"/>
                </a:cubicBezTo>
                <a:cubicBezTo>
                  <a:pt x="79" y="34"/>
                  <a:pt x="79" y="34"/>
                  <a:pt x="80" y="35"/>
                </a:cubicBezTo>
                <a:cubicBezTo>
                  <a:pt x="80" y="36"/>
                  <a:pt x="81" y="36"/>
                  <a:pt x="81" y="36"/>
                </a:cubicBezTo>
                <a:cubicBezTo>
                  <a:pt x="82" y="37"/>
                  <a:pt x="84" y="37"/>
                  <a:pt x="85" y="38"/>
                </a:cubicBezTo>
                <a:cubicBezTo>
                  <a:pt x="86" y="39"/>
                  <a:pt x="85" y="41"/>
                  <a:pt x="85" y="42"/>
                </a:cubicBezTo>
                <a:cubicBezTo>
                  <a:pt x="86" y="43"/>
                  <a:pt x="86" y="43"/>
                  <a:pt x="87" y="44"/>
                </a:cubicBezTo>
                <a:cubicBezTo>
                  <a:pt x="87" y="44"/>
                  <a:pt x="88" y="44"/>
                  <a:pt x="89" y="45"/>
                </a:cubicBezTo>
                <a:cubicBezTo>
                  <a:pt x="89" y="44"/>
                  <a:pt x="89" y="44"/>
                  <a:pt x="89" y="44"/>
                </a:cubicBezTo>
                <a:cubicBezTo>
                  <a:pt x="89" y="43"/>
                  <a:pt x="90" y="43"/>
                  <a:pt x="90" y="43"/>
                </a:cubicBezTo>
                <a:cubicBezTo>
                  <a:pt x="90" y="43"/>
                  <a:pt x="89" y="42"/>
                  <a:pt x="89" y="42"/>
                </a:cubicBezTo>
                <a:cubicBezTo>
                  <a:pt x="90" y="41"/>
                  <a:pt x="90" y="41"/>
                  <a:pt x="90" y="41"/>
                </a:cubicBezTo>
                <a:cubicBezTo>
                  <a:pt x="90" y="41"/>
                  <a:pt x="90" y="40"/>
                  <a:pt x="90" y="40"/>
                </a:cubicBezTo>
                <a:cubicBezTo>
                  <a:pt x="90" y="39"/>
                  <a:pt x="91" y="40"/>
                  <a:pt x="91" y="41"/>
                </a:cubicBezTo>
                <a:cubicBezTo>
                  <a:pt x="91" y="41"/>
                  <a:pt x="91" y="41"/>
                  <a:pt x="92" y="41"/>
                </a:cubicBezTo>
                <a:cubicBezTo>
                  <a:pt x="92" y="41"/>
                  <a:pt x="93" y="41"/>
                  <a:pt x="93" y="41"/>
                </a:cubicBezTo>
                <a:cubicBezTo>
                  <a:pt x="94" y="41"/>
                  <a:pt x="94" y="41"/>
                  <a:pt x="95" y="41"/>
                </a:cubicBezTo>
                <a:cubicBezTo>
                  <a:pt x="95" y="40"/>
                  <a:pt x="95" y="40"/>
                  <a:pt x="94" y="40"/>
                </a:cubicBezTo>
                <a:cubicBezTo>
                  <a:pt x="93" y="39"/>
                  <a:pt x="93" y="39"/>
                  <a:pt x="92" y="39"/>
                </a:cubicBezTo>
                <a:cubicBezTo>
                  <a:pt x="91" y="38"/>
                  <a:pt x="91" y="38"/>
                  <a:pt x="90" y="38"/>
                </a:cubicBezTo>
                <a:cubicBezTo>
                  <a:pt x="90" y="37"/>
                  <a:pt x="90" y="37"/>
                  <a:pt x="89" y="37"/>
                </a:cubicBezTo>
                <a:cubicBezTo>
                  <a:pt x="89" y="37"/>
                  <a:pt x="88" y="37"/>
                  <a:pt x="88" y="37"/>
                </a:cubicBezTo>
                <a:cubicBezTo>
                  <a:pt x="87" y="37"/>
                  <a:pt x="87" y="37"/>
                  <a:pt x="87" y="36"/>
                </a:cubicBezTo>
                <a:cubicBezTo>
                  <a:pt x="85" y="36"/>
                  <a:pt x="84" y="35"/>
                  <a:pt x="83" y="34"/>
                </a:cubicBezTo>
                <a:cubicBezTo>
                  <a:pt x="83" y="33"/>
                  <a:pt x="83" y="32"/>
                  <a:pt x="84" y="32"/>
                </a:cubicBezTo>
                <a:cubicBezTo>
                  <a:pt x="84" y="32"/>
                  <a:pt x="85" y="32"/>
                  <a:pt x="86" y="32"/>
                </a:cubicBezTo>
                <a:cubicBezTo>
                  <a:pt x="86" y="32"/>
                  <a:pt x="87" y="33"/>
                  <a:pt x="88" y="33"/>
                </a:cubicBezTo>
                <a:cubicBezTo>
                  <a:pt x="89" y="33"/>
                  <a:pt x="89" y="34"/>
                  <a:pt x="90" y="34"/>
                </a:cubicBezTo>
                <a:cubicBezTo>
                  <a:pt x="89" y="34"/>
                  <a:pt x="90" y="35"/>
                  <a:pt x="90" y="35"/>
                </a:cubicBezTo>
                <a:cubicBezTo>
                  <a:pt x="90" y="35"/>
                  <a:pt x="90" y="34"/>
                  <a:pt x="90" y="34"/>
                </a:cubicBezTo>
                <a:cubicBezTo>
                  <a:pt x="91" y="33"/>
                  <a:pt x="92" y="33"/>
                  <a:pt x="92" y="32"/>
                </a:cubicBezTo>
                <a:cubicBezTo>
                  <a:pt x="94" y="30"/>
                  <a:pt x="96" y="32"/>
                  <a:pt x="98" y="33"/>
                </a:cubicBezTo>
                <a:cubicBezTo>
                  <a:pt x="99" y="33"/>
                  <a:pt x="100" y="33"/>
                  <a:pt x="101" y="34"/>
                </a:cubicBezTo>
                <a:cubicBezTo>
                  <a:pt x="102" y="34"/>
                  <a:pt x="103" y="35"/>
                  <a:pt x="104" y="35"/>
                </a:cubicBezTo>
                <a:cubicBezTo>
                  <a:pt x="106" y="36"/>
                  <a:pt x="108" y="36"/>
                  <a:pt x="110" y="37"/>
                </a:cubicBezTo>
                <a:cubicBezTo>
                  <a:pt x="111" y="38"/>
                  <a:pt x="112" y="39"/>
                  <a:pt x="112" y="39"/>
                </a:cubicBezTo>
                <a:cubicBezTo>
                  <a:pt x="113" y="39"/>
                  <a:pt x="112" y="37"/>
                  <a:pt x="112" y="37"/>
                </a:cubicBezTo>
                <a:cubicBezTo>
                  <a:pt x="111" y="36"/>
                  <a:pt x="111" y="35"/>
                  <a:pt x="111" y="34"/>
                </a:cubicBezTo>
                <a:cubicBezTo>
                  <a:pt x="111" y="33"/>
                  <a:pt x="111" y="32"/>
                  <a:pt x="111" y="31"/>
                </a:cubicBezTo>
                <a:cubicBezTo>
                  <a:pt x="112" y="29"/>
                  <a:pt x="112" y="28"/>
                  <a:pt x="114" y="27"/>
                </a:cubicBezTo>
                <a:cubicBezTo>
                  <a:pt x="115" y="27"/>
                  <a:pt x="116" y="28"/>
                  <a:pt x="117" y="28"/>
                </a:cubicBezTo>
                <a:cubicBezTo>
                  <a:pt x="117" y="28"/>
                  <a:pt x="118" y="28"/>
                  <a:pt x="118" y="28"/>
                </a:cubicBezTo>
                <a:cubicBezTo>
                  <a:pt x="119" y="28"/>
                  <a:pt x="119" y="28"/>
                  <a:pt x="119" y="28"/>
                </a:cubicBezTo>
                <a:cubicBezTo>
                  <a:pt x="119" y="28"/>
                  <a:pt x="118" y="27"/>
                  <a:pt x="119" y="27"/>
                </a:cubicBezTo>
                <a:cubicBezTo>
                  <a:pt x="119" y="27"/>
                  <a:pt x="119" y="27"/>
                  <a:pt x="119" y="27"/>
                </a:cubicBezTo>
                <a:cubicBezTo>
                  <a:pt x="120" y="27"/>
                  <a:pt x="120" y="28"/>
                  <a:pt x="120" y="27"/>
                </a:cubicBezTo>
                <a:cubicBezTo>
                  <a:pt x="121" y="27"/>
                  <a:pt x="121" y="27"/>
                  <a:pt x="121" y="27"/>
                </a:cubicBezTo>
                <a:cubicBezTo>
                  <a:pt x="121" y="27"/>
                  <a:pt x="122" y="27"/>
                  <a:pt x="121" y="27"/>
                </a:cubicBezTo>
                <a:cubicBezTo>
                  <a:pt x="121" y="26"/>
                  <a:pt x="122" y="27"/>
                  <a:pt x="122" y="26"/>
                </a:cubicBezTo>
                <a:cubicBezTo>
                  <a:pt x="122" y="26"/>
                  <a:pt x="121" y="26"/>
                  <a:pt x="122" y="26"/>
                </a:cubicBezTo>
                <a:cubicBezTo>
                  <a:pt x="122" y="26"/>
                  <a:pt x="122" y="25"/>
                  <a:pt x="123" y="25"/>
                </a:cubicBezTo>
                <a:cubicBezTo>
                  <a:pt x="123" y="25"/>
                  <a:pt x="124" y="25"/>
                  <a:pt x="124" y="25"/>
                </a:cubicBezTo>
                <a:cubicBezTo>
                  <a:pt x="123" y="24"/>
                  <a:pt x="125" y="24"/>
                  <a:pt x="125" y="23"/>
                </a:cubicBezTo>
                <a:cubicBezTo>
                  <a:pt x="126" y="23"/>
                  <a:pt x="124" y="23"/>
                  <a:pt x="124" y="23"/>
                </a:cubicBezTo>
                <a:cubicBezTo>
                  <a:pt x="123" y="24"/>
                  <a:pt x="123" y="24"/>
                  <a:pt x="124" y="25"/>
                </a:cubicBezTo>
                <a:cubicBezTo>
                  <a:pt x="123" y="25"/>
                  <a:pt x="122" y="24"/>
                  <a:pt x="121" y="24"/>
                </a:cubicBezTo>
                <a:cubicBezTo>
                  <a:pt x="120" y="23"/>
                  <a:pt x="122" y="24"/>
                  <a:pt x="122" y="24"/>
                </a:cubicBezTo>
                <a:cubicBezTo>
                  <a:pt x="122" y="23"/>
                  <a:pt x="121" y="23"/>
                  <a:pt x="120" y="23"/>
                </a:cubicBezTo>
                <a:cubicBezTo>
                  <a:pt x="120" y="22"/>
                  <a:pt x="119" y="21"/>
                  <a:pt x="118" y="21"/>
                </a:cubicBezTo>
                <a:cubicBezTo>
                  <a:pt x="119" y="21"/>
                  <a:pt x="120" y="21"/>
                  <a:pt x="120" y="21"/>
                </a:cubicBezTo>
                <a:cubicBezTo>
                  <a:pt x="120" y="21"/>
                  <a:pt x="120" y="21"/>
                  <a:pt x="120" y="21"/>
                </a:cubicBezTo>
                <a:cubicBezTo>
                  <a:pt x="120" y="22"/>
                  <a:pt x="120" y="21"/>
                  <a:pt x="120" y="21"/>
                </a:cubicBezTo>
                <a:cubicBezTo>
                  <a:pt x="120" y="21"/>
                  <a:pt x="119" y="21"/>
                  <a:pt x="119" y="21"/>
                </a:cubicBezTo>
                <a:cubicBezTo>
                  <a:pt x="117" y="20"/>
                  <a:pt x="116" y="19"/>
                  <a:pt x="116" y="18"/>
                </a:cubicBezTo>
                <a:cubicBezTo>
                  <a:pt x="116" y="17"/>
                  <a:pt x="115" y="16"/>
                  <a:pt x="116" y="16"/>
                </a:cubicBezTo>
                <a:cubicBezTo>
                  <a:pt x="116" y="16"/>
                  <a:pt x="116" y="15"/>
                  <a:pt x="116" y="15"/>
                </a:cubicBezTo>
                <a:cubicBezTo>
                  <a:pt x="115" y="15"/>
                  <a:pt x="115" y="15"/>
                  <a:pt x="116" y="14"/>
                </a:cubicBezTo>
                <a:cubicBezTo>
                  <a:pt x="116" y="13"/>
                  <a:pt x="114" y="12"/>
                  <a:pt x="114" y="14"/>
                </a:cubicBezTo>
                <a:cubicBezTo>
                  <a:pt x="114" y="14"/>
                  <a:pt x="114" y="15"/>
                  <a:pt x="113" y="15"/>
                </a:cubicBezTo>
                <a:cubicBezTo>
                  <a:pt x="113" y="16"/>
                  <a:pt x="113" y="17"/>
                  <a:pt x="113" y="17"/>
                </a:cubicBezTo>
                <a:cubicBezTo>
                  <a:pt x="112" y="18"/>
                  <a:pt x="110" y="17"/>
                  <a:pt x="109" y="17"/>
                </a:cubicBezTo>
                <a:cubicBezTo>
                  <a:pt x="108" y="17"/>
                  <a:pt x="108" y="16"/>
                  <a:pt x="107" y="16"/>
                </a:cubicBezTo>
                <a:cubicBezTo>
                  <a:pt x="107" y="16"/>
                  <a:pt x="106" y="15"/>
                  <a:pt x="106" y="15"/>
                </a:cubicBezTo>
                <a:cubicBezTo>
                  <a:pt x="106" y="16"/>
                  <a:pt x="107" y="17"/>
                  <a:pt x="106" y="16"/>
                </a:cubicBezTo>
                <a:cubicBezTo>
                  <a:pt x="105" y="15"/>
                  <a:pt x="106" y="15"/>
                  <a:pt x="106" y="15"/>
                </a:cubicBezTo>
                <a:cubicBezTo>
                  <a:pt x="106" y="15"/>
                  <a:pt x="105" y="15"/>
                  <a:pt x="105" y="15"/>
                </a:cubicBezTo>
                <a:cubicBezTo>
                  <a:pt x="104" y="15"/>
                  <a:pt x="104" y="15"/>
                  <a:pt x="104" y="15"/>
                </a:cubicBezTo>
                <a:cubicBezTo>
                  <a:pt x="103" y="15"/>
                  <a:pt x="102" y="15"/>
                  <a:pt x="101" y="14"/>
                </a:cubicBezTo>
                <a:cubicBezTo>
                  <a:pt x="101" y="14"/>
                  <a:pt x="102" y="14"/>
                  <a:pt x="102" y="14"/>
                </a:cubicBezTo>
                <a:cubicBezTo>
                  <a:pt x="101" y="14"/>
                  <a:pt x="100" y="14"/>
                  <a:pt x="99" y="14"/>
                </a:cubicBezTo>
                <a:cubicBezTo>
                  <a:pt x="98" y="13"/>
                  <a:pt x="98" y="13"/>
                  <a:pt x="97" y="12"/>
                </a:cubicBezTo>
                <a:cubicBezTo>
                  <a:pt x="95" y="11"/>
                  <a:pt x="93" y="10"/>
                  <a:pt x="91" y="9"/>
                </a:cubicBezTo>
                <a:cubicBezTo>
                  <a:pt x="87" y="7"/>
                  <a:pt x="84" y="4"/>
                  <a:pt x="80" y="2"/>
                </a:cubicBezTo>
                <a:cubicBezTo>
                  <a:pt x="79" y="1"/>
                  <a:pt x="78" y="1"/>
                  <a:pt x="77" y="0"/>
                </a:cubicBezTo>
                <a:cubicBezTo>
                  <a:pt x="77" y="0"/>
                  <a:pt x="77" y="0"/>
                  <a:pt x="77" y="1"/>
                </a:cubicBezTo>
                <a:cubicBezTo>
                  <a:pt x="77" y="1"/>
                  <a:pt x="76" y="1"/>
                  <a:pt x="75" y="1"/>
                </a:cubicBezTo>
                <a:cubicBezTo>
                  <a:pt x="75" y="1"/>
                  <a:pt x="75" y="1"/>
                  <a:pt x="75" y="1"/>
                </a:cubicBezTo>
                <a:cubicBezTo>
                  <a:pt x="75" y="1"/>
                  <a:pt x="75" y="1"/>
                  <a:pt x="75" y="1"/>
                </a:cubicBezTo>
                <a:cubicBezTo>
                  <a:pt x="76" y="2"/>
                  <a:pt x="75" y="3"/>
                  <a:pt x="76" y="4"/>
                </a:cubicBezTo>
                <a:close/>
                <a:moveTo>
                  <a:pt x="59" y="137"/>
                </a:moveTo>
                <a:cubicBezTo>
                  <a:pt x="59" y="137"/>
                  <a:pt x="57" y="137"/>
                  <a:pt x="57" y="137"/>
                </a:cubicBezTo>
                <a:cubicBezTo>
                  <a:pt x="57" y="136"/>
                  <a:pt x="58" y="136"/>
                  <a:pt x="57" y="136"/>
                </a:cubicBezTo>
                <a:cubicBezTo>
                  <a:pt x="57" y="136"/>
                  <a:pt x="57" y="136"/>
                  <a:pt x="57" y="136"/>
                </a:cubicBezTo>
                <a:cubicBezTo>
                  <a:pt x="57" y="136"/>
                  <a:pt x="57" y="136"/>
                  <a:pt x="56" y="136"/>
                </a:cubicBezTo>
                <a:cubicBezTo>
                  <a:pt x="56" y="136"/>
                  <a:pt x="56" y="135"/>
                  <a:pt x="56" y="135"/>
                </a:cubicBezTo>
                <a:cubicBezTo>
                  <a:pt x="56" y="135"/>
                  <a:pt x="56" y="135"/>
                  <a:pt x="56" y="135"/>
                </a:cubicBezTo>
                <a:cubicBezTo>
                  <a:pt x="55" y="135"/>
                  <a:pt x="56" y="135"/>
                  <a:pt x="56" y="134"/>
                </a:cubicBezTo>
                <a:cubicBezTo>
                  <a:pt x="56" y="134"/>
                  <a:pt x="56" y="134"/>
                  <a:pt x="55" y="134"/>
                </a:cubicBezTo>
                <a:cubicBezTo>
                  <a:pt x="55" y="134"/>
                  <a:pt x="54" y="134"/>
                  <a:pt x="54" y="134"/>
                </a:cubicBezTo>
                <a:cubicBezTo>
                  <a:pt x="53" y="134"/>
                  <a:pt x="52" y="134"/>
                  <a:pt x="52" y="133"/>
                </a:cubicBezTo>
                <a:cubicBezTo>
                  <a:pt x="52" y="133"/>
                  <a:pt x="53" y="133"/>
                  <a:pt x="53" y="132"/>
                </a:cubicBezTo>
                <a:cubicBezTo>
                  <a:pt x="53" y="132"/>
                  <a:pt x="53" y="132"/>
                  <a:pt x="53" y="132"/>
                </a:cubicBezTo>
                <a:cubicBezTo>
                  <a:pt x="53" y="132"/>
                  <a:pt x="53" y="131"/>
                  <a:pt x="53" y="131"/>
                </a:cubicBezTo>
                <a:cubicBezTo>
                  <a:pt x="53" y="130"/>
                  <a:pt x="52" y="129"/>
                  <a:pt x="51" y="129"/>
                </a:cubicBezTo>
                <a:cubicBezTo>
                  <a:pt x="50" y="129"/>
                  <a:pt x="50" y="130"/>
                  <a:pt x="50" y="130"/>
                </a:cubicBezTo>
                <a:cubicBezTo>
                  <a:pt x="49" y="131"/>
                  <a:pt x="48" y="130"/>
                  <a:pt x="47" y="130"/>
                </a:cubicBezTo>
                <a:cubicBezTo>
                  <a:pt x="46" y="130"/>
                  <a:pt x="46" y="129"/>
                  <a:pt x="45" y="129"/>
                </a:cubicBezTo>
                <a:cubicBezTo>
                  <a:pt x="45" y="128"/>
                  <a:pt x="45" y="127"/>
                  <a:pt x="45" y="126"/>
                </a:cubicBezTo>
                <a:cubicBezTo>
                  <a:pt x="44" y="126"/>
                  <a:pt x="44" y="127"/>
                  <a:pt x="44" y="127"/>
                </a:cubicBezTo>
                <a:cubicBezTo>
                  <a:pt x="44" y="127"/>
                  <a:pt x="42" y="126"/>
                  <a:pt x="42" y="126"/>
                </a:cubicBezTo>
                <a:cubicBezTo>
                  <a:pt x="41" y="126"/>
                  <a:pt x="42" y="127"/>
                  <a:pt x="41" y="127"/>
                </a:cubicBezTo>
                <a:cubicBezTo>
                  <a:pt x="41" y="127"/>
                  <a:pt x="41" y="127"/>
                  <a:pt x="41" y="127"/>
                </a:cubicBezTo>
                <a:cubicBezTo>
                  <a:pt x="40" y="127"/>
                  <a:pt x="40" y="128"/>
                  <a:pt x="40" y="128"/>
                </a:cubicBezTo>
                <a:cubicBezTo>
                  <a:pt x="41" y="129"/>
                  <a:pt x="40" y="129"/>
                  <a:pt x="40" y="129"/>
                </a:cubicBezTo>
                <a:cubicBezTo>
                  <a:pt x="40" y="130"/>
                  <a:pt x="41" y="129"/>
                  <a:pt x="40" y="130"/>
                </a:cubicBezTo>
                <a:cubicBezTo>
                  <a:pt x="40" y="131"/>
                  <a:pt x="39" y="130"/>
                  <a:pt x="39" y="130"/>
                </a:cubicBezTo>
                <a:cubicBezTo>
                  <a:pt x="38" y="130"/>
                  <a:pt x="38" y="130"/>
                  <a:pt x="38" y="130"/>
                </a:cubicBezTo>
                <a:cubicBezTo>
                  <a:pt x="38" y="130"/>
                  <a:pt x="38" y="131"/>
                  <a:pt x="38" y="131"/>
                </a:cubicBezTo>
                <a:cubicBezTo>
                  <a:pt x="39" y="131"/>
                  <a:pt x="38" y="131"/>
                  <a:pt x="38" y="132"/>
                </a:cubicBezTo>
                <a:cubicBezTo>
                  <a:pt x="37" y="132"/>
                  <a:pt x="37" y="131"/>
                  <a:pt x="37" y="131"/>
                </a:cubicBezTo>
                <a:cubicBezTo>
                  <a:pt x="37" y="131"/>
                  <a:pt x="36" y="131"/>
                  <a:pt x="36" y="131"/>
                </a:cubicBezTo>
                <a:cubicBezTo>
                  <a:pt x="36" y="131"/>
                  <a:pt x="36" y="132"/>
                  <a:pt x="36" y="132"/>
                </a:cubicBezTo>
                <a:cubicBezTo>
                  <a:pt x="36" y="132"/>
                  <a:pt x="36" y="131"/>
                  <a:pt x="36" y="131"/>
                </a:cubicBezTo>
                <a:cubicBezTo>
                  <a:pt x="35" y="131"/>
                  <a:pt x="36" y="132"/>
                  <a:pt x="36" y="132"/>
                </a:cubicBezTo>
                <a:cubicBezTo>
                  <a:pt x="37" y="133"/>
                  <a:pt x="37" y="133"/>
                  <a:pt x="37" y="133"/>
                </a:cubicBezTo>
                <a:cubicBezTo>
                  <a:pt x="36" y="133"/>
                  <a:pt x="36" y="133"/>
                  <a:pt x="35" y="133"/>
                </a:cubicBezTo>
                <a:cubicBezTo>
                  <a:pt x="35" y="133"/>
                  <a:pt x="35" y="133"/>
                  <a:pt x="35" y="133"/>
                </a:cubicBezTo>
                <a:cubicBezTo>
                  <a:pt x="35" y="133"/>
                  <a:pt x="35" y="133"/>
                  <a:pt x="35" y="133"/>
                </a:cubicBezTo>
                <a:cubicBezTo>
                  <a:pt x="35" y="133"/>
                  <a:pt x="34" y="133"/>
                  <a:pt x="34" y="133"/>
                </a:cubicBezTo>
                <a:cubicBezTo>
                  <a:pt x="34" y="133"/>
                  <a:pt x="34" y="134"/>
                  <a:pt x="35" y="134"/>
                </a:cubicBezTo>
                <a:cubicBezTo>
                  <a:pt x="35" y="135"/>
                  <a:pt x="35" y="135"/>
                  <a:pt x="36" y="135"/>
                </a:cubicBezTo>
                <a:cubicBezTo>
                  <a:pt x="36" y="136"/>
                  <a:pt x="36" y="135"/>
                  <a:pt x="36" y="135"/>
                </a:cubicBezTo>
                <a:cubicBezTo>
                  <a:pt x="36" y="135"/>
                  <a:pt x="37" y="135"/>
                  <a:pt x="37" y="135"/>
                </a:cubicBezTo>
                <a:cubicBezTo>
                  <a:pt x="37" y="135"/>
                  <a:pt x="36" y="136"/>
                  <a:pt x="37" y="136"/>
                </a:cubicBezTo>
                <a:cubicBezTo>
                  <a:pt x="37" y="136"/>
                  <a:pt x="38" y="136"/>
                  <a:pt x="38" y="136"/>
                </a:cubicBezTo>
                <a:cubicBezTo>
                  <a:pt x="38" y="136"/>
                  <a:pt x="39" y="137"/>
                  <a:pt x="39" y="137"/>
                </a:cubicBezTo>
                <a:cubicBezTo>
                  <a:pt x="39" y="138"/>
                  <a:pt x="39" y="138"/>
                  <a:pt x="40" y="138"/>
                </a:cubicBezTo>
                <a:cubicBezTo>
                  <a:pt x="40" y="138"/>
                  <a:pt x="39" y="138"/>
                  <a:pt x="39" y="138"/>
                </a:cubicBezTo>
                <a:cubicBezTo>
                  <a:pt x="38" y="139"/>
                  <a:pt x="38" y="138"/>
                  <a:pt x="38" y="137"/>
                </a:cubicBezTo>
                <a:cubicBezTo>
                  <a:pt x="38" y="137"/>
                  <a:pt x="38" y="138"/>
                  <a:pt x="38" y="138"/>
                </a:cubicBezTo>
                <a:cubicBezTo>
                  <a:pt x="38" y="137"/>
                  <a:pt x="37" y="136"/>
                  <a:pt x="37" y="137"/>
                </a:cubicBezTo>
                <a:cubicBezTo>
                  <a:pt x="37" y="136"/>
                  <a:pt x="37" y="136"/>
                  <a:pt x="36" y="136"/>
                </a:cubicBezTo>
                <a:cubicBezTo>
                  <a:pt x="36" y="136"/>
                  <a:pt x="36" y="136"/>
                  <a:pt x="36" y="137"/>
                </a:cubicBezTo>
                <a:cubicBezTo>
                  <a:pt x="36" y="138"/>
                  <a:pt x="38" y="139"/>
                  <a:pt x="39" y="139"/>
                </a:cubicBezTo>
                <a:cubicBezTo>
                  <a:pt x="39" y="140"/>
                  <a:pt x="39" y="140"/>
                  <a:pt x="39" y="141"/>
                </a:cubicBezTo>
                <a:cubicBezTo>
                  <a:pt x="39" y="141"/>
                  <a:pt x="39" y="142"/>
                  <a:pt x="39" y="141"/>
                </a:cubicBezTo>
                <a:cubicBezTo>
                  <a:pt x="40" y="141"/>
                  <a:pt x="40" y="140"/>
                  <a:pt x="40" y="140"/>
                </a:cubicBezTo>
                <a:cubicBezTo>
                  <a:pt x="40" y="139"/>
                  <a:pt x="41" y="139"/>
                  <a:pt x="41" y="139"/>
                </a:cubicBezTo>
                <a:cubicBezTo>
                  <a:pt x="42" y="139"/>
                  <a:pt x="42" y="139"/>
                  <a:pt x="42" y="140"/>
                </a:cubicBezTo>
                <a:cubicBezTo>
                  <a:pt x="42" y="140"/>
                  <a:pt x="42" y="141"/>
                  <a:pt x="42" y="141"/>
                </a:cubicBezTo>
                <a:cubicBezTo>
                  <a:pt x="43" y="141"/>
                  <a:pt x="44" y="140"/>
                  <a:pt x="44" y="140"/>
                </a:cubicBezTo>
                <a:cubicBezTo>
                  <a:pt x="44" y="140"/>
                  <a:pt x="44" y="139"/>
                  <a:pt x="43" y="139"/>
                </a:cubicBezTo>
                <a:cubicBezTo>
                  <a:pt x="43" y="138"/>
                  <a:pt x="42" y="138"/>
                  <a:pt x="42" y="138"/>
                </a:cubicBezTo>
                <a:cubicBezTo>
                  <a:pt x="42" y="138"/>
                  <a:pt x="40" y="138"/>
                  <a:pt x="41" y="138"/>
                </a:cubicBezTo>
                <a:cubicBezTo>
                  <a:pt x="41" y="138"/>
                  <a:pt x="42" y="137"/>
                  <a:pt x="41" y="137"/>
                </a:cubicBezTo>
                <a:cubicBezTo>
                  <a:pt x="41" y="136"/>
                  <a:pt x="40" y="136"/>
                  <a:pt x="40" y="135"/>
                </a:cubicBezTo>
                <a:cubicBezTo>
                  <a:pt x="40" y="136"/>
                  <a:pt x="40" y="134"/>
                  <a:pt x="41" y="135"/>
                </a:cubicBezTo>
                <a:cubicBezTo>
                  <a:pt x="42" y="135"/>
                  <a:pt x="43" y="135"/>
                  <a:pt x="43" y="136"/>
                </a:cubicBezTo>
                <a:cubicBezTo>
                  <a:pt x="43" y="137"/>
                  <a:pt x="44" y="138"/>
                  <a:pt x="45" y="138"/>
                </a:cubicBezTo>
                <a:cubicBezTo>
                  <a:pt x="45" y="139"/>
                  <a:pt x="46" y="139"/>
                  <a:pt x="46" y="140"/>
                </a:cubicBezTo>
                <a:cubicBezTo>
                  <a:pt x="46" y="140"/>
                  <a:pt x="45" y="141"/>
                  <a:pt x="45" y="141"/>
                </a:cubicBezTo>
                <a:cubicBezTo>
                  <a:pt x="45" y="141"/>
                  <a:pt x="46" y="141"/>
                  <a:pt x="46" y="141"/>
                </a:cubicBezTo>
                <a:cubicBezTo>
                  <a:pt x="47" y="141"/>
                  <a:pt x="47" y="141"/>
                  <a:pt x="47" y="141"/>
                </a:cubicBezTo>
                <a:cubicBezTo>
                  <a:pt x="46" y="142"/>
                  <a:pt x="46" y="142"/>
                  <a:pt x="47" y="142"/>
                </a:cubicBezTo>
                <a:cubicBezTo>
                  <a:pt x="46" y="142"/>
                  <a:pt x="47" y="143"/>
                  <a:pt x="47" y="143"/>
                </a:cubicBezTo>
                <a:cubicBezTo>
                  <a:pt x="47" y="143"/>
                  <a:pt x="47" y="144"/>
                  <a:pt x="46" y="144"/>
                </a:cubicBezTo>
                <a:cubicBezTo>
                  <a:pt x="46" y="145"/>
                  <a:pt x="46" y="145"/>
                  <a:pt x="46" y="146"/>
                </a:cubicBezTo>
                <a:cubicBezTo>
                  <a:pt x="46" y="147"/>
                  <a:pt x="45" y="146"/>
                  <a:pt x="45" y="146"/>
                </a:cubicBezTo>
                <a:cubicBezTo>
                  <a:pt x="45" y="146"/>
                  <a:pt x="45" y="148"/>
                  <a:pt x="45" y="148"/>
                </a:cubicBezTo>
                <a:cubicBezTo>
                  <a:pt x="46" y="148"/>
                  <a:pt x="46" y="149"/>
                  <a:pt x="46" y="150"/>
                </a:cubicBezTo>
                <a:cubicBezTo>
                  <a:pt x="46" y="149"/>
                  <a:pt x="46" y="150"/>
                  <a:pt x="46" y="150"/>
                </a:cubicBezTo>
                <a:cubicBezTo>
                  <a:pt x="46" y="150"/>
                  <a:pt x="46" y="150"/>
                  <a:pt x="47" y="151"/>
                </a:cubicBezTo>
                <a:cubicBezTo>
                  <a:pt x="47" y="151"/>
                  <a:pt x="48" y="151"/>
                  <a:pt x="48" y="152"/>
                </a:cubicBezTo>
                <a:cubicBezTo>
                  <a:pt x="48" y="153"/>
                  <a:pt x="48" y="153"/>
                  <a:pt x="48" y="154"/>
                </a:cubicBezTo>
                <a:cubicBezTo>
                  <a:pt x="48" y="154"/>
                  <a:pt x="47" y="154"/>
                  <a:pt x="47" y="154"/>
                </a:cubicBezTo>
                <a:cubicBezTo>
                  <a:pt x="47" y="155"/>
                  <a:pt x="48" y="155"/>
                  <a:pt x="48" y="156"/>
                </a:cubicBezTo>
                <a:cubicBezTo>
                  <a:pt x="49" y="156"/>
                  <a:pt x="50" y="156"/>
                  <a:pt x="50" y="156"/>
                </a:cubicBezTo>
                <a:cubicBezTo>
                  <a:pt x="51" y="156"/>
                  <a:pt x="52" y="157"/>
                  <a:pt x="52" y="156"/>
                </a:cubicBezTo>
                <a:cubicBezTo>
                  <a:pt x="53" y="156"/>
                  <a:pt x="52" y="155"/>
                  <a:pt x="51" y="155"/>
                </a:cubicBezTo>
                <a:cubicBezTo>
                  <a:pt x="51" y="154"/>
                  <a:pt x="50" y="154"/>
                  <a:pt x="50" y="153"/>
                </a:cubicBezTo>
                <a:cubicBezTo>
                  <a:pt x="50" y="152"/>
                  <a:pt x="50" y="151"/>
                  <a:pt x="50" y="151"/>
                </a:cubicBezTo>
                <a:cubicBezTo>
                  <a:pt x="51" y="150"/>
                  <a:pt x="52" y="151"/>
                  <a:pt x="52" y="151"/>
                </a:cubicBezTo>
                <a:cubicBezTo>
                  <a:pt x="52" y="151"/>
                  <a:pt x="52" y="153"/>
                  <a:pt x="52" y="152"/>
                </a:cubicBezTo>
                <a:cubicBezTo>
                  <a:pt x="51" y="152"/>
                  <a:pt x="51" y="152"/>
                  <a:pt x="51" y="152"/>
                </a:cubicBezTo>
                <a:cubicBezTo>
                  <a:pt x="50" y="152"/>
                  <a:pt x="51" y="152"/>
                  <a:pt x="51" y="153"/>
                </a:cubicBezTo>
                <a:cubicBezTo>
                  <a:pt x="52" y="153"/>
                  <a:pt x="52" y="153"/>
                  <a:pt x="52" y="154"/>
                </a:cubicBezTo>
                <a:cubicBezTo>
                  <a:pt x="53" y="154"/>
                  <a:pt x="53" y="155"/>
                  <a:pt x="53" y="155"/>
                </a:cubicBezTo>
                <a:cubicBezTo>
                  <a:pt x="54" y="156"/>
                  <a:pt x="54" y="157"/>
                  <a:pt x="53" y="158"/>
                </a:cubicBezTo>
                <a:cubicBezTo>
                  <a:pt x="53" y="158"/>
                  <a:pt x="53" y="159"/>
                  <a:pt x="54" y="158"/>
                </a:cubicBezTo>
                <a:cubicBezTo>
                  <a:pt x="54" y="158"/>
                  <a:pt x="55" y="158"/>
                  <a:pt x="56" y="157"/>
                </a:cubicBezTo>
                <a:cubicBezTo>
                  <a:pt x="56" y="157"/>
                  <a:pt x="56" y="156"/>
                  <a:pt x="56" y="156"/>
                </a:cubicBezTo>
                <a:cubicBezTo>
                  <a:pt x="56" y="156"/>
                  <a:pt x="56" y="156"/>
                  <a:pt x="57" y="156"/>
                </a:cubicBezTo>
                <a:cubicBezTo>
                  <a:pt x="56" y="156"/>
                  <a:pt x="56" y="155"/>
                  <a:pt x="56" y="155"/>
                </a:cubicBezTo>
                <a:cubicBezTo>
                  <a:pt x="55" y="155"/>
                  <a:pt x="55" y="154"/>
                  <a:pt x="56" y="154"/>
                </a:cubicBezTo>
                <a:cubicBezTo>
                  <a:pt x="56" y="153"/>
                  <a:pt x="57" y="154"/>
                  <a:pt x="57" y="154"/>
                </a:cubicBezTo>
                <a:cubicBezTo>
                  <a:pt x="57" y="154"/>
                  <a:pt x="58" y="155"/>
                  <a:pt x="58" y="154"/>
                </a:cubicBezTo>
                <a:cubicBezTo>
                  <a:pt x="58" y="154"/>
                  <a:pt x="58" y="154"/>
                  <a:pt x="58" y="153"/>
                </a:cubicBezTo>
                <a:cubicBezTo>
                  <a:pt x="58" y="153"/>
                  <a:pt x="58" y="153"/>
                  <a:pt x="58" y="152"/>
                </a:cubicBezTo>
                <a:cubicBezTo>
                  <a:pt x="58" y="151"/>
                  <a:pt x="58" y="150"/>
                  <a:pt x="57" y="149"/>
                </a:cubicBezTo>
                <a:cubicBezTo>
                  <a:pt x="57" y="149"/>
                  <a:pt x="57" y="148"/>
                  <a:pt x="57" y="147"/>
                </a:cubicBezTo>
                <a:cubicBezTo>
                  <a:pt x="57" y="147"/>
                  <a:pt x="57" y="146"/>
                  <a:pt x="57" y="145"/>
                </a:cubicBezTo>
                <a:cubicBezTo>
                  <a:pt x="57" y="145"/>
                  <a:pt x="57" y="144"/>
                  <a:pt x="57" y="143"/>
                </a:cubicBezTo>
                <a:cubicBezTo>
                  <a:pt x="57" y="143"/>
                  <a:pt x="57" y="143"/>
                  <a:pt x="57" y="142"/>
                </a:cubicBezTo>
                <a:cubicBezTo>
                  <a:pt x="57" y="143"/>
                  <a:pt x="58" y="142"/>
                  <a:pt x="57" y="142"/>
                </a:cubicBezTo>
                <a:cubicBezTo>
                  <a:pt x="57" y="142"/>
                  <a:pt x="57" y="142"/>
                  <a:pt x="57" y="141"/>
                </a:cubicBezTo>
                <a:cubicBezTo>
                  <a:pt x="57" y="141"/>
                  <a:pt x="57" y="141"/>
                  <a:pt x="57" y="140"/>
                </a:cubicBezTo>
                <a:cubicBezTo>
                  <a:pt x="57" y="140"/>
                  <a:pt x="58" y="140"/>
                  <a:pt x="58" y="140"/>
                </a:cubicBezTo>
                <a:cubicBezTo>
                  <a:pt x="58" y="139"/>
                  <a:pt x="57" y="139"/>
                  <a:pt x="58" y="139"/>
                </a:cubicBezTo>
                <a:cubicBezTo>
                  <a:pt x="58" y="139"/>
                  <a:pt x="59" y="139"/>
                  <a:pt x="58" y="138"/>
                </a:cubicBezTo>
                <a:cubicBezTo>
                  <a:pt x="58" y="138"/>
                  <a:pt x="58" y="138"/>
                  <a:pt x="58" y="138"/>
                </a:cubicBezTo>
                <a:cubicBezTo>
                  <a:pt x="58" y="138"/>
                  <a:pt x="58" y="138"/>
                  <a:pt x="58" y="138"/>
                </a:cubicBezTo>
                <a:cubicBezTo>
                  <a:pt x="58" y="138"/>
                  <a:pt x="59" y="138"/>
                  <a:pt x="59" y="137"/>
                </a:cubicBezTo>
                <a:close/>
                <a:moveTo>
                  <a:pt x="164" y="200"/>
                </a:moveTo>
                <a:cubicBezTo>
                  <a:pt x="164" y="200"/>
                  <a:pt x="164" y="200"/>
                  <a:pt x="164" y="200"/>
                </a:cubicBezTo>
                <a:cubicBezTo>
                  <a:pt x="164" y="200"/>
                  <a:pt x="164" y="200"/>
                  <a:pt x="164" y="200"/>
                </a:cubicBezTo>
                <a:close/>
                <a:moveTo>
                  <a:pt x="78" y="126"/>
                </a:moveTo>
                <a:cubicBezTo>
                  <a:pt x="78" y="126"/>
                  <a:pt x="77" y="126"/>
                  <a:pt x="77" y="125"/>
                </a:cubicBezTo>
                <a:cubicBezTo>
                  <a:pt x="77" y="124"/>
                  <a:pt x="77" y="124"/>
                  <a:pt x="77" y="123"/>
                </a:cubicBezTo>
                <a:cubicBezTo>
                  <a:pt x="77" y="123"/>
                  <a:pt x="77" y="123"/>
                  <a:pt x="76" y="123"/>
                </a:cubicBezTo>
                <a:cubicBezTo>
                  <a:pt x="76" y="123"/>
                  <a:pt x="76" y="123"/>
                  <a:pt x="76" y="123"/>
                </a:cubicBezTo>
                <a:cubicBezTo>
                  <a:pt x="76" y="123"/>
                  <a:pt x="76" y="123"/>
                  <a:pt x="75" y="123"/>
                </a:cubicBezTo>
                <a:cubicBezTo>
                  <a:pt x="75" y="123"/>
                  <a:pt x="74" y="123"/>
                  <a:pt x="73" y="123"/>
                </a:cubicBezTo>
                <a:cubicBezTo>
                  <a:pt x="73" y="122"/>
                  <a:pt x="72" y="122"/>
                  <a:pt x="72" y="122"/>
                </a:cubicBezTo>
                <a:cubicBezTo>
                  <a:pt x="72" y="122"/>
                  <a:pt x="72" y="121"/>
                  <a:pt x="71" y="121"/>
                </a:cubicBezTo>
                <a:cubicBezTo>
                  <a:pt x="71" y="121"/>
                  <a:pt x="71" y="122"/>
                  <a:pt x="71" y="122"/>
                </a:cubicBezTo>
                <a:cubicBezTo>
                  <a:pt x="70" y="122"/>
                  <a:pt x="70" y="121"/>
                  <a:pt x="69" y="122"/>
                </a:cubicBezTo>
                <a:cubicBezTo>
                  <a:pt x="69" y="122"/>
                  <a:pt x="69" y="123"/>
                  <a:pt x="68" y="123"/>
                </a:cubicBezTo>
                <a:cubicBezTo>
                  <a:pt x="68" y="123"/>
                  <a:pt x="67" y="123"/>
                  <a:pt x="67" y="123"/>
                </a:cubicBezTo>
                <a:cubicBezTo>
                  <a:pt x="67" y="123"/>
                  <a:pt x="69" y="124"/>
                  <a:pt x="68" y="125"/>
                </a:cubicBezTo>
                <a:cubicBezTo>
                  <a:pt x="68" y="126"/>
                  <a:pt x="67" y="126"/>
                  <a:pt x="66" y="126"/>
                </a:cubicBezTo>
                <a:cubicBezTo>
                  <a:pt x="66" y="126"/>
                  <a:pt x="65" y="126"/>
                  <a:pt x="65" y="126"/>
                </a:cubicBezTo>
                <a:cubicBezTo>
                  <a:pt x="65" y="126"/>
                  <a:pt x="65" y="127"/>
                  <a:pt x="64" y="127"/>
                </a:cubicBezTo>
                <a:cubicBezTo>
                  <a:pt x="64" y="126"/>
                  <a:pt x="62" y="124"/>
                  <a:pt x="61" y="124"/>
                </a:cubicBezTo>
                <a:cubicBezTo>
                  <a:pt x="61" y="124"/>
                  <a:pt x="62" y="125"/>
                  <a:pt x="62" y="125"/>
                </a:cubicBezTo>
                <a:cubicBezTo>
                  <a:pt x="61" y="125"/>
                  <a:pt x="61" y="125"/>
                  <a:pt x="61" y="125"/>
                </a:cubicBezTo>
                <a:cubicBezTo>
                  <a:pt x="61" y="126"/>
                  <a:pt x="61" y="126"/>
                  <a:pt x="61" y="126"/>
                </a:cubicBezTo>
                <a:cubicBezTo>
                  <a:pt x="61" y="127"/>
                  <a:pt x="60" y="127"/>
                  <a:pt x="61" y="127"/>
                </a:cubicBezTo>
                <a:cubicBezTo>
                  <a:pt x="61" y="128"/>
                  <a:pt x="61" y="128"/>
                  <a:pt x="61" y="129"/>
                </a:cubicBezTo>
                <a:cubicBezTo>
                  <a:pt x="61" y="129"/>
                  <a:pt x="60" y="129"/>
                  <a:pt x="60" y="130"/>
                </a:cubicBezTo>
                <a:cubicBezTo>
                  <a:pt x="59" y="130"/>
                  <a:pt x="59" y="130"/>
                  <a:pt x="59" y="131"/>
                </a:cubicBezTo>
                <a:cubicBezTo>
                  <a:pt x="58" y="132"/>
                  <a:pt x="57" y="132"/>
                  <a:pt x="56" y="133"/>
                </a:cubicBezTo>
                <a:cubicBezTo>
                  <a:pt x="57" y="133"/>
                  <a:pt x="57" y="133"/>
                  <a:pt x="57" y="133"/>
                </a:cubicBezTo>
                <a:cubicBezTo>
                  <a:pt x="57" y="132"/>
                  <a:pt x="57" y="133"/>
                  <a:pt x="58" y="133"/>
                </a:cubicBezTo>
                <a:cubicBezTo>
                  <a:pt x="58" y="133"/>
                  <a:pt x="58" y="132"/>
                  <a:pt x="58" y="132"/>
                </a:cubicBezTo>
                <a:cubicBezTo>
                  <a:pt x="58" y="132"/>
                  <a:pt x="58" y="132"/>
                  <a:pt x="58" y="132"/>
                </a:cubicBezTo>
                <a:cubicBezTo>
                  <a:pt x="59" y="132"/>
                  <a:pt x="59" y="131"/>
                  <a:pt x="59" y="132"/>
                </a:cubicBezTo>
                <a:cubicBezTo>
                  <a:pt x="60" y="132"/>
                  <a:pt x="60" y="133"/>
                  <a:pt x="60" y="133"/>
                </a:cubicBezTo>
                <a:cubicBezTo>
                  <a:pt x="60" y="133"/>
                  <a:pt x="60" y="133"/>
                  <a:pt x="60" y="133"/>
                </a:cubicBezTo>
                <a:cubicBezTo>
                  <a:pt x="61" y="133"/>
                  <a:pt x="61" y="133"/>
                  <a:pt x="61" y="134"/>
                </a:cubicBezTo>
                <a:cubicBezTo>
                  <a:pt x="61" y="134"/>
                  <a:pt x="62" y="134"/>
                  <a:pt x="62" y="134"/>
                </a:cubicBezTo>
                <a:cubicBezTo>
                  <a:pt x="62" y="135"/>
                  <a:pt x="61" y="135"/>
                  <a:pt x="61" y="135"/>
                </a:cubicBezTo>
                <a:cubicBezTo>
                  <a:pt x="61" y="135"/>
                  <a:pt x="61" y="135"/>
                  <a:pt x="62" y="135"/>
                </a:cubicBezTo>
                <a:cubicBezTo>
                  <a:pt x="62" y="135"/>
                  <a:pt x="62" y="135"/>
                  <a:pt x="61" y="135"/>
                </a:cubicBezTo>
                <a:cubicBezTo>
                  <a:pt x="62" y="136"/>
                  <a:pt x="62" y="136"/>
                  <a:pt x="61" y="136"/>
                </a:cubicBezTo>
                <a:cubicBezTo>
                  <a:pt x="62" y="136"/>
                  <a:pt x="62" y="136"/>
                  <a:pt x="62" y="137"/>
                </a:cubicBezTo>
                <a:cubicBezTo>
                  <a:pt x="62" y="137"/>
                  <a:pt x="63" y="138"/>
                  <a:pt x="63" y="138"/>
                </a:cubicBezTo>
                <a:cubicBezTo>
                  <a:pt x="63" y="137"/>
                  <a:pt x="63" y="137"/>
                  <a:pt x="63" y="137"/>
                </a:cubicBezTo>
                <a:cubicBezTo>
                  <a:pt x="64" y="137"/>
                  <a:pt x="64" y="138"/>
                  <a:pt x="64" y="138"/>
                </a:cubicBezTo>
                <a:cubicBezTo>
                  <a:pt x="65" y="138"/>
                  <a:pt x="65" y="138"/>
                  <a:pt x="65" y="138"/>
                </a:cubicBezTo>
                <a:cubicBezTo>
                  <a:pt x="65" y="138"/>
                  <a:pt x="64" y="140"/>
                  <a:pt x="65" y="139"/>
                </a:cubicBezTo>
                <a:cubicBezTo>
                  <a:pt x="65" y="139"/>
                  <a:pt x="65" y="139"/>
                  <a:pt x="65" y="139"/>
                </a:cubicBezTo>
                <a:cubicBezTo>
                  <a:pt x="66" y="140"/>
                  <a:pt x="67" y="139"/>
                  <a:pt x="67" y="139"/>
                </a:cubicBezTo>
                <a:cubicBezTo>
                  <a:pt x="67" y="139"/>
                  <a:pt x="68" y="140"/>
                  <a:pt x="68" y="140"/>
                </a:cubicBezTo>
                <a:cubicBezTo>
                  <a:pt x="69" y="139"/>
                  <a:pt x="67" y="139"/>
                  <a:pt x="67" y="138"/>
                </a:cubicBezTo>
                <a:cubicBezTo>
                  <a:pt x="68" y="138"/>
                  <a:pt x="67" y="137"/>
                  <a:pt x="67" y="137"/>
                </a:cubicBezTo>
                <a:cubicBezTo>
                  <a:pt x="67" y="136"/>
                  <a:pt x="68" y="137"/>
                  <a:pt x="68" y="136"/>
                </a:cubicBezTo>
                <a:cubicBezTo>
                  <a:pt x="68" y="136"/>
                  <a:pt x="68" y="135"/>
                  <a:pt x="68" y="135"/>
                </a:cubicBezTo>
                <a:cubicBezTo>
                  <a:pt x="68" y="135"/>
                  <a:pt x="68" y="134"/>
                  <a:pt x="68" y="133"/>
                </a:cubicBezTo>
                <a:cubicBezTo>
                  <a:pt x="68" y="133"/>
                  <a:pt x="68" y="132"/>
                  <a:pt x="68" y="133"/>
                </a:cubicBezTo>
                <a:cubicBezTo>
                  <a:pt x="68" y="132"/>
                  <a:pt x="69" y="132"/>
                  <a:pt x="69" y="132"/>
                </a:cubicBezTo>
                <a:cubicBezTo>
                  <a:pt x="69" y="132"/>
                  <a:pt x="69" y="132"/>
                  <a:pt x="70" y="132"/>
                </a:cubicBezTo>
                <a:cubicBezTo>
                  <a:pt x="70" y="131"/>
                  <a:pt x="70" y="131"/>
                  <a:pt x="71" y="131"/>
                </a:cubicBezTo>
                <a:cubicBezTo>
                  <a:pt x="71" y="131"/>
                  <a:pt x="72" y="131"/>
                  <a:pt x="72" y="131"/>
                </a:cubicBezTo>
                <a:cubicBezTo>
                  <a:pt x="73" y="131"/>
                  <a:pt x="74" y="132"/>
                  <a:pt x="75" y="132"/>
                </a:cubicBezTo>
                <a:cubicBezTo>
                  <a:pt x="75" y="133"/>
                  <a:pt x="76" y="134"/>
                  <a:pt x="77" y="134"/>
                </a:cubicBezTo>
                <a:cubicBezTo>
                  <a:pt x="77" y="133"/>
                  <a:pt x="76" y="132"/>
                  <a:pt x="77" y="132"/>
                </a:cubicBezTo>
                <a:cubicBezTo>
                  <a:pt x="77" y="131"/>
                  <a:pt x="77" y="131"/>
                  <a:pt x="77" y="130"/>
                </a:cubicBezTo>
                <a:cubicBezTo>
                  <a:pt x="77" y="129"/>
                  <a:pt x="78" y="129"/>
                  <a:pt x="78" y="128"/>
                </a:cubicBezTo>
                <a:cubicBezTo>
                  <a:pt x="79" y="128"/>
                  <a:pt x="79" y="128"/>
                  <a:pt x="79" y="127"/>
                </a:cubicBezTo>
                <a:cubicBezTo>
                  <a:pt x="79" y="128"/>
                  <a:pt x="79" y="127"/>
                  <a:pt x="79" y="127"/>
                </a:cubicBezTo>
                <a:cubicBezTo>
                  <a:pt x="79" y="127"/>
                  <a:pt x="78" y="126"/>
                  <a:pt x="78" y="126"/>
                </a:cubicBezTo>
                <a:close/>
                <a:moveTo>
                  <a:pt x="122" y="125"/>
                </a:moveTo>
                <a:cubicBezTo>
                  <a:pt x="122" y="125"/>
                  <a:pt x="123" y="125"/>
                  <a:pt x="123" y="125"/>
                </a:cubicBezTo>
                <a:cubicBezTo>
                  <a:pt x="122" y="124"/>
                  <a:pt x="122" y="125"/>
                  <a:pt x="122" y="125"/>
                </a:cubicBezTo>
                <a:close/>
                <a:moveTo>
                  <a:pt x="34" y="128"/>
                </a:moveTo>
                <a:cubicBezTo>
                  <a:pt x="33" y="127"/>
                  <a:pt x="33" y="127"/>
                  <a:pt x="33" y="128"/>
                </a:cubicBezTo>
                <a:cubicBezTo>
                  <a:pt x="33" y="128"/>
                  <a:pt x="33" y="128"/>
                  <a:pt x="33" y="129"/>
                </a:cubicBezTo>
                <a:cubicBezTo>
                  <a:pt x="34" y="129"/>
                  <a:pt x="34" y="129"/>
                  <a:pt x="34" y="128"/>
                </a:cubicBezTo>
                <a:cubicBezTo>
                  <a:pt x="34" y="128"/>
                  <a:pt x="34" y="128"/>
                  <a:pt x="34" y="128"/>
                </a:cubicBezTo>
                <a:close/>
                <a:moveTo>
                  <a:pt x="123" y="103"/>
                </a:moveTo>
                <a:cubicBezTo>
                  <a:pt x="122" y="102"/>
                  <a:pt x="121" y="101"/>
                  <a:pt x="121" y="100"/>
                </a:cubicBezTo>
                <a:cubicBezTo>
                  <a:pt x="121" y="99"/>
                  <a:pt x="120" y="99"/>
                  <a:pt x="120" y="98"/>
                </a:cubicBezTo>
                <a:cubicBezTo>
                  <a:pt x="120" y="97"/>
                  <a:pt x="120" y="96"/>
                  <a:pt x="120" y="95"/>
                </a:cubicBezTo>
                <a:cubicBezTo>
                  <a:pt x="120" y="94"/>
                  <a:pt x="120" y="94"/>
                  <a:pt x="120" y="94"/>
                </a:cubicBezTo>
                <a:cubicBezTo>
                  <a:pt x="120" y="94"/>
                  <a:pt x="121" y="94"/>
                  <a:pt x="121" y="93"/>
                </a:cubicBezTo>
                <a:cubicBezTo>
                  <a:pt x="122" y="93"/>
                  <a:pt x="120" y="90"/>
                  <a:pt x="120" y="90"/>
                </a:cubicBezTo>
                <a:cubicBezTo>
                  <a:pt x="120" y="89"/>
                  <a:pt x="119" y="88"/>
                  <a:pt x="119" y="87"/>
                </a:cubicBezTo>
                <a:cubicBezTo>
                  <a:pt x="119" y="87"/>
                  <a:pt x="119" y="87"/>
                  <a:pt x="118" y="86"/>
                </a:cubicBezTo>
                <a:cubicBezTo>
                  <a:pt x="118" y="85"/>
                  <a:pt x="117" y="85"/>
                  <a:pt x="116" y="84"/>
                </a:cubicBezTo>
                <a:cubicBezTo>
                  <a:pt x="116" y="83"/>
                  <a:pt x="115" y="82"/>
                  <a:pt x="115" y="81"/>
                </a:cubicBezTo>
                <a:cubicBezTo>
                  <a:pt x="115" y="80"/>
                  <a:pt x="114" y="80"/>
                  <a:pt x="115" y="79"/>
                </a:cubicBezTo>
                <a:cubicBezTo>
                  <a:pt x="115" y="79"/>
                  <a:pt x="115" y="79"/>
                  <a:pt x="115" y="78"/>
                </a:cubicBezTo>
                <a:cubicBezTo>
                  <a:pt x="115" y="78"/>
                  <a:pt x="114" y="78"/>
                  <a:pt x="115" y="78"/>
                </a:cubicBezTo>
                <a:cubicBezTo>
                  <a:pt x="115" y="78"/>
                  <a:pt x="115" y="78"/>
                  <a:pt x="115" y="78"/>
                </a:cubicBezTo>
                <a:cubicBezTo>
                  <a:pt x="116" y="79"/>
                  <a:pt x="115" y="78"/>
                  <a:pt x="116" y="78"/>
                </a:cubicBezTo>
                <a:cubicBezTo>
                  <a:pt x="116" y="76"/>
                  <a:pt x="119" y="78"/>
                  <a:pt x="119" y="79"/>
                </a:cubicBezTo>
                <a:cubicBezTo>
                  <a:pt x="119" y="78"/>
                  <a:pt x="118" y="78"/>
                  <a:pt x="119" y="78"/>
                </a:cubicBezTo>
                <a:cubicBezTo>
                  <a:pt x="119" y="77"/>
                  <a:pt x="118" y="77"/>
                  <a:pt x="118" y="77"/>
                </a:cubicBezTo>
                <a:cubicBezTo>
                  <a:pt x="118" y="77"/>
                  <a:pt x="118" y="77"/>
                  <a:pt x="118" y="76"/>
                </a:cubicBezTo>
                <a:cubicBezTo>
                  <a:pt x="118" y="77"/>
                  <a:pt x="118" y="76"/>
                  <a:pt x="118" y="76"/>
                </a:cubicBezTo>
                <a:cubicBezTo>
                  <a:pt x="117" y="76"/>
                  <a:pt x="117" y="76"/>
                  <a:pt x="117" y="75"/>
                </a:cubicBezTo>
                <a:cubicBezTo>
                  <a:pt x="117" y="75"/>
                  <a:pt x="117" y="75"/>
                  <a:pt x="117" y="75"/>
                </a:cubicBezTo>
                <a:cubicBezTo>
                  <a:pt x="117" y="75"/>
                  <a:pt x="116" y="75"/>
                  <a:pt x="117" y="74"/>
                </a:cubicBezTo>
                <a:cubicBezTo>
                  <a:pt x="118" y="74"/>
                  <a:pt x="116" y="73"/>
                  <a:pt x="116" y="73"/>
                </a:cubicBezTo>
                <a:cubicBezTo>
                  <a:pt x="117" y="73"/>
                  <a:pt x="116" y="71"/>
                  <a:pt x="117" y="72"/>
                </a:cubicBezTo>
                <a:cubicBezTo>
                  <a:pt x="117" y="72"/>
                  <a:pt x="116" y="71"/>
                  <a:pt x="116" y="71"/>
                </a:cubicBezTo>
                <a:cubicBezTo>
                  <a:pt x="116" y="71"/>
                  <a:pt x="117" y="71"/>
                  <a:pt x="117" y="71"/>
                </a:cubicBezTo>
                <a:cubicBezTo>
                  <a:pt x="117" y="71"/>
                  <a:pt x="117" y="71"/>
                  <a:pt x="117" y="71"/>
                </a:cubicBezTo>
                <a:cubicBezTo>
                  <a:pt x="117" y="71"/>
                  <a:pt x="117" y="71"/>
                  <a:pt x="117" y="70"/>
                </a:cubicBezTo>
                <a:cubicBezTo>
                  <a:pt x="117" y="71"/>
                  <a:pt x="117" y="71"/>
                  <a:pt x="118" y="71"/>
                </a:cubicBezTo>
                <a:cubicBezTo>
                  <a:pt x="118" y="70"/>
                  <a:pt x="117" y="70"/>
                  <a:pt x="118" y="70"/>
                </a:cubicBezTo>
                <a:cubicBezTo>
                  <a:pt x="118" y="70"/>
                  <a:pt x="117" y="70"/>
                  <a:pt x="117" y="70"/>
                </a:cubicBezTo>
                <a:cubicBezTo>
                  <a:pt x="117" y="70"/>
                  <a:pt x="118" y="70"/>
                  <a:pt x="118" y="70"/>
                </a:cubicBezTo>
                <a:cubicBezTo>
                  <a:pt x="118" y="70"/>
                  <a:pt x="117" y="69"/>
                  <a:pt x="117" y="69"/>
                </a:cubicBezTo>
                <a:cubicBezTo>
                  <a:pt x="118" y="69"/>
                  <a:pt x="117" y="69"/>
                  <a:pt x="117" y="69"/>
                </a:cubicBezTo>
                <a:cubicBezTo>
                  <a:pt x="118" y="68"/>
                  <a:pt x="116" y="68"/>
                  <a:pt x="117" y="68"/>
                </a:cubicBezTo>
                <a:cubicBezTo>
                  <a:pt x="117" y="68"/>
                  <a:pt x="118" y="67"/>
                  <a:pt x="117" y="67"/>
                </a:cubicBezTo>
                <a:cubicBezTo>
                  <a:pt x="117" y="67"/>
                  <a:pt x="117" y="67"/>
                  <a:pt x="117" y="67"/>
                </a:cubicBezTo>
                <a:cubicBezTo>
                  <a:pt x="117" y="67"/>
                  <a:pt x="117" y="67"/>
                  <a:pt x="117" y="67"/>
                </a:cubicBezTo>
                <a:cubicBezTo>
                  <a:pt x="117" y="66"/>
                  <a:pt x="117" y="66"/>
                  <a:pt x="117" y="66"/>
                </a:cubicBezTo>
                <a:cubicBezTo>
                  <a:pt x="117" y="66"/>
                  <a:pt x="117" y="65"/>
                  <a:pt x="117" y="66"/>
                </a:cubicBezTo>
                <a:cubicBezTo>
                  <a:pt x="116" y="66"/>
                  <a:pt x="116" y="66"/>
                  <a:pt x="116" y="66"/>
                </a:cubicBezTo>
                <a:cubicBezTo>
                  <a:pt x="116" y="66"/>
                  <a:pt x="117" y="65"/>
                  <a:pt x="117" y="65"/>
                </a:cubicBezTo>
                <a:cubicBezTo>
                  <a:pt x="117" y="65"/>
                  <a:pt x="116" y="64"/>
                  <a:pt x="116" y="64"/>
                </a:cubicBezTo>
                <a:cubicBezTo>
                  <a:pt x="116" y="64"/>
                  <a:pt x="116" y="65"/>
                  <a:pt x="115" y="64"/>
                </a:cubicBezTo>
                <a:cubicBezTo>
                  <a:pt x="115" y="64"/>
                  <a:pt x="115" y="63"/>
                  <a:pt x="115" y="63"/>
                </a:cubicBezTo>
                <a:cubicBezTo>
                  <a:pt x="114" y="61"/>
                  <a:pt x="113" y="60"/>
                  <a:pt x="112" y="59"/>
                </a:cubicBezTo>
                <a:cubicBezTo>
                  <a:pt x="111" y="59"/>
                  <a:pt x="112" y="59"/>
                  <a:pt x="112" y="59"/>
                </a:cubicBezTo>
                <a:cubicBezTo>
                  <a:pt x="111" y="58"/>
                  <a:pt x="111" y="58"/>
                  <a:pt x="111" y="58"/>
                </a:cubicBezTo>
                <a:cubicBezTo>
                  <a:pt x="110" y="57"/>
                  <a:pt x="110" y="57"/>
                  <a:pt x="110" y="56"/>
                </a:cubicBezTo>
                <a:cubicBezTo>
                  <a:pt x="109" y="56"/>
                  <a:pt x="108" y="55"/>
                  <a:pt x="108" y="55"/>
                </a:cubicBezTo>
                <a:cubicBezTo>
                  <a:pt x="107" y="54"/>
                  <a:pt x="106" y="54"/>
                  <a:pt x="106" y="54"/>
                </a:cubicBezTo>
                <a:cubicBezTo>
                  <a:pt x="104" y="53"/>
                  <a:pt x="103" y="51"/>
                  <a:pt x="102" y="50"/>
                </a:cubicBezTo>
                <a:cubicBezTo>
                  <a:pt x="102" y="48"/>
                  <a:pt x="101" y="47"/>
                  <a:pt x="101" y="46"/>
                </a:cubicBezTo>
                <a:cubicBezTo>
                  <a:pt x="100" y="45"/>
                  <a:pt x="100" y="44"/>
                  <a:pt x="100" y="45"/>
                </a:cubicBezTo>
                <a:cubicBezTo>
                  <a:pt x="99" y="45"/>
                  <a:pt x="99" y="45"/>
                  <a:pt x="98" y="45"/>
                </a:cubicBezTo>
                <a:cubicBezTo>
                  <a:pt x="98" y="45"/>
                  <a:pt x="95" y="43"/>
                  <a:pt x="94" y="43"/>
                </a:cubicBezTo>
                <a:cubicBezTo>
                  <a:pt x="94" y="44"/>
                  <a:pt x="95" y="45"/>
                  <a:pt x="95" y="45"/>
                </a:cubicBezTo>
                <a:cubicBezTo>
                  <a:pt x="95" y="46"/>
                  <a:pt x="95" y="47"/>
                  <a:pt x="95" y="47"/>
                </a:cubicBezTo>
                <a:cubicBezTo>
                  <a:pt x="96" y="48"/>
                  <a:pt x="97" y="47"/>
                  <a:pt x="98" y="47"/>
                </a:cubicBezTo>
                <a:cubicBezTo>
                  <a:pt x="98" y="47"/>
                  <a:pt x="98" y="46"/>
                  <a:pt x="98" y="46"/>
                </a:cubicBezTo>
                <a:cubicBezTo>
                  <a:pt x="100" y="46"/>
                  <a:pt x="100" y="48"/>
                  <a:pt x="101" y="49"/>
                </a:cubicBezTo>
                <a:cubicBezTo>
                  <a:pt x="101" y="51"/>
                  <a:pt x="100" y="50"/>
                  <a:pt x="99" y="50"/>
                </a:cubicBezTo>
                <a:cubicBezTo>
                  <a:pt x="99" y="49"/>
                  <a:pt x="98" y="49"/>
                  <a:pt x="97" y="49"/>
                </a:cubicBezTo>
                <a:cubicBezTo>
                  <a:pt x="97" y="49"/>
                  <a:pt x="98" y="50"/>
                  <a:pt x="98" y="50"/>
                </a:cubicBezTo>
                <a:cubicBezTo>
                  <a:pt x="98" y="52"/>
                  <a:pt x="96" y="50"/>
                  <a:pt x="96" y="50"/>
                </a:cubicBezTo>
                <a:cubicBezTo>
                  <a:pt x="96" y="49"/>
                  <a:pt x="95" y="49"/>
                  <a:pt x="95" y="48"/>
                </a:cubicBezTo>
                <a:cubicBezTo>
                  <a:pt x="95" y="48"/>
                  <a:pt x="94" y="47"/>
                  <a:pt x="94" y="47"/>
                </a:cubicBezTo>
                <a:cubicBezTo>
                  <a:pt x="94" y="47"/>
                  <a:pt x="93" y="46"/>
                  <a:pt x="93" y="47"/>
                </a:cubicBezTo>
                <a:cubicBezTo>
                  <a:pt x="93" y="47"/>
                  <a:pt x="93" y="47"/>
                  <a:pt x="92" y="47"/>
                </a:cubicBezTo>
                <a:cubicBezTo>
                  <a:pt x="92" y="47"/>
                  <a:pt x="92" y="46"/>
                  <a:pt x="91" y="46"/>
                </a:cubicBezTo>
                <a:cubicBezTo>
                  <a:pt x="91" y="47"/>
                  <a:pt x="92" y="48"/>
                  <a:pt x="91" y="47"/>
                </a:cubicBezTo>
                <a:cubicBezTo>
                  <a:pt x="91" y="48"/>
                  <a:pt x="93" y="48"/>
                  <a:pt x="93" y="49"/>
                </a:cubicBezTo>
                <a:cubicBezTo>
                  <a:pt x="93" y="49"/>
                  <a:pt x="93" y="49"/>
                  <a:pt x="92" y="49"/>
                </a:cubicBezTo>
                <a:cubicBezTo>
                  <a:pt x="92" y="50"/>
                  <a:pt x="93" y="50"/>
                  <a:pt x="93" y="51"/>
                </a:cubicBezTo>
                <a:cubicBezTo>
                  <a:pt x="93" y="52"/>
                  <a:pt x="92" y="52"/>
                  <a:pt x="91" y="52"/>
                </a:cubicBezTo>
                <a:cubicBezTo>
                  <a:pt x="91" y="52"/>
                  <a:pt x="91" y="52"/>
                  <a:pt x="91" y="52"/>
                </a:cubicBezTo>
                <a:cubicBezTo>
                  <a:pt x="91" y="53"/>
                  <a:pt x="91" y="53"/>
                  <a:pt x="91" y="53"/>
                </a:cubicBezTo>
                <a:cubicBezTo>
                  <a:pt x="91" y="54"/>
                  <a:pt x="91" y="54"/>
                  <a:pt x="92" y="54"/>
                </a:cubicBezTo>
                <a:cubicBezTo>
                  <a:pt x="92" y="54"/>
                  <a:pt x="92" y="55"/>
                  <a:pt x="92" y="55"/>
                </a:cubicBezTo>
                <a:cubicBezTo>
                  <a:pt x="93" y="56"/>
                  <a:pt x="93" y="56"/>
                  <a:pt x="93" y="56"/>
                </a:cubicBezTo>
                <a:cubicBezTo>
                  <a:pt x="94" y="56"/>
                  <a:pt x="94" y="57"/>
                  <a:pt x="95" y="58"/>
                </a:cubicBezTo>
                <a:cubicBezTo>
                  <a:pt x="95" y="59"/>
                  <a:pt x="95" y="61"/>
                  <a:pt x="93" y="60"/>
                </a:cubicBezTo>
                <a:cubicBezTo>
                  <a:pt x="93" y="61"/>
                  <a:pt x="94" y="61"/>
                  <a:pt x="94" y="61"/>
                </a:cubicBezTo>
                <a:cubicBezTo>
                  <a:pt x="95" y="62"/>
                  <a:pt x="95" y="61"/>
                  <a:pt x="95" y="61"/>
                </a:cubicBezTo>
                <a:cubicBezTo>
                  <a:pt x="96" y="61"/>
                  <a:pt x="97" y="62"/>
                  <a:pt x="98" y="63"/>
                </a:cubicBezTo>
                <a:cubicBezTo>
                  <a:pt x="99" y="64"/>
                  <a:pt x="99" y="65"/>
                  <a:pt x="99" y="67"/>
                </a:cubicBezTo>
                <a:cubicBezTo>
                  <a:pt x="99" y="67"/>
                  <a:pt x="99" y="68"/>
                  <a:pt x="99" y="68"/>
                </a:cubicBezTo>
                <a:cubicBezTo>
                  <a:pt x="99" y="69"/>
                  <a:pt x="100" y="69"/>
                  <a:pt x="100" y="70"/>
                </a:cubicBezTo>
                <a:cubicBezTo>
                  <a:pt x="100" y="71"/>
                  <a:pt x="100" y="73"/>
                  <a:pt x="100" y="74"/>
                </a:cubicBezTo>
                <a:cubicBezTo>
                  <a:pt x="100" y="75"/>
                  <a:pt x="100" y="77"/>
                  <a:pt x="100" y="78"/>
                </a:cubicBezTo>
                <a:cubicBezTo>
                  <a:pt x="100" y="79"/>
                  <a:pt x="101" y="80"/>
                  <a:pt x="100" y="81"/>
                </a:cubicBezTo>
                <a:cubicBezTo>
                  <a:pt x="100" y="82"/>
                  <a:pt x="99" y="82"/>
                  <a:pt x="98" y="83"/>
                </a:cubicBezTo>
                <a:cubicBezTo>
                  <a:pt x="96" y="84"/>
                  <a:pt x="98" y="85"/>
                  <a:pt x="98" y="86"/>
                </a:cubicBezTo>
                <a:cubicBezTo>
                  <a:pt x="98" y="87"/>
                  <a:pt x="97" y="88"/>
                  <a:pt x="96" y="89"/>
                </a:cubicBezTo>
                <a:cubicBezTo>
                  <a:pt x="96" y="90"/>
                  <a:pt x="96" y="91"/>
                  <a:pt x="94" y="91"/>
                </a:cubicBezTo>
                <a:cubicBezTo>
                  <a:pt x="94" y="91"/>
                  <a:pt x="94" y="91"/>
                  <a:pt x="93" y="92"/>
                </a:cubicBezTo>
                <a:cubicBezTo>
                  <a:pt x="93" y="92"/>
                  <a:pt x="92" y="92"/>
                  <a:pt x="92" y="93"/>
                </a:cubicBezTo>
                <a:cubicBezTo>
                  <a:pt x="91" y="93"/>
                  <a:pt x="89" y="93"/>
                  <a:pt x="89" y="94"/>
                </a:cubicBezTo>
                <a:cubicBezTo>
                  <a:pt x="89" y="94"/>
                  <a:pt x="90" y="95"/>
                  <a:pt x="89" y="95"/>
                </a:cubicBezTo>
                <a:cubicBezTo>
                  <a:pt x="89" y="96"/>
                  <a:pt x="88" y="96"/>
                  <a:pt x="88" y="95"/>
                </a:cubicBezTo>
                <a:cubicBezTo>
                  <a:pt x="87" y="95"/>
                  <a:pt x="86" y="95"/>
                  <a:pt x="86" y="94"/>
                </a:cubicBezTo>
                <a:cubicBezTo>
                  <a:pt x="85" y="94"/>
                  <a:pt x="86" y="93"/>
                  <a:pt x="85" y="93"/>
                </a:cubicBezTo>
                <a:cubicBezTo>
                  <a:pt x="85" y="92"/>
                  <a:pt x="85" y="92"/>
                  <a:pt x="85" y="92"/>
                </a:cubicBezTo>
                <a:cubicBezTo>
                  <a:pt x="85" y="92"/>
                  <a:pt x="85" y="92"/>
                  <a:pt x="84" y="92"/>
                </a:cubicBezTo>
                <a:cubicBezTo>
                  <a:pt x="84" y="92"/>
                  <a:pt x="84" y="92"/>
                  <a:pt x="84" y="92"/>
                </a:cubicBezTo>
                <a:cubicBezTo>
                  <a:pt x="83" y="92"/>
                  <a:pt x="83" y="90"/>
                  <a:pt x="84" y="90"/>
                </a:cubicBezTo>
                <a:cubicBezTo>
                  <a:pt x="85" y="91"/>
                  <a:pt x="84" y="89"/>
                  <a:pt x="85" y="90"/>
                </a:cubicBezTo>
                <a:cubicBezTo>
                  <a:pt x="86" y="90"/>
                  <a:pt x="85" y="88"/>
                  <a:pt x="85" y="88"/>
                </a:cubicBezTo>
                <a:cubicBezTo>
                  <a:pt x="86" y="88"/>
                  <a:pt x="86" y="87"/>
                  <a:pt x="85" y="87"/>
                </a:cubicBezTo>
                <a:cubicBezTo>
                  <a:pt x="84" y="87"/>
                  <a:pt x="83" y="88"/>
                  <a:pt x="83" y="88"/>
                </a:cubicBezTo>
                <a:cubicBezTo>
                  <a:pt x="82" y="89"/>
                  <a:pt x="81" y="89"/>
                  <a:pt x="81" y="90"/>
                </a:cubicBezTo>
                <a:cubicBezTo>
                  <a:pt x="81" y="90"/>
                  <a:pt x="81" y="91"/>
                  <a:pt x="81" y="91"/>
                </a:cubicBezTo>
                <a:cubicBezTo>
                  <a:pt x="82" y="92"/>
                  <a:pt x="82" y="91"/>
                  <a:pt x="82" y="92"/>
                </a:cubicBezTo>
                <a:cubicBezTo>
                  <a:pt x="83" y="93"/>
                  <a:pt x="84" y="94"/>
                  <a:pt x="84" y="95"/>
                </a:cubicBezTo>
                <a:cubicBezTo>
                  <a:pt x="84" y="97"/>
                  <a:pt x="83" y="98"/>
                  <a:pt x="82" y="99"/>
                </a:cubicBezTo>
                <a:cubicBezTo>
                  <a:pt x="82" y="100"/>
                  <a:pt x="82" y="101"/>
                  <a:pt x="81" y="101"/>
                </a:cubicBezTo>
                <a:cubicBezTo>
                  <a:pt x="81" y="101"/>
                  <a:pt x="81" y="101"/>
                  <a:pt x="81" y="102"/>
                </a:cubicBezTo>
                <a:cubicBezTo>
                  <a:pt x="81" y="102"/>
                  <a:pt x="81" y="103"/>
                  <a:pt x="81" y="103"/>
                </a:cubicBezTo>
                <a:cubicBezTo>
                  <a:pt x="81" y="103"/>
                  <a:pt x="81" y="104"/>
                  <a:pt x="81" y="104"/>
                </a:cubicBezTo>
                <a:cubicBezTo>
                  <a:pt x="81" y="105"/>
                  <a:pt x="82" y="105"/>
                  <a:pt x="83" y="106"/>
                </a:cubicBezTo>
                <a:cubicBezTo>
                  <a:pt x="83" y="107"/>
                  <a:pt x="83" y="108"/>
                  <a:pt x="83" y="107"/>
                </a:cubicBezTo>
                <a:cubicBezTo>
                  <a:pt x="83" y="107"/>
                  <a:pt x="82" y="106"/>
                  <a:pt x="82" y="107"/>
                </a:cubicBezTo>
                <a:cubicBezTo>
                  <a:pt x="82" y="107"/>
                  <a:pt x="82" y="107"/>
                  <a:pt x="82" y="108"/>
                </a:cubicBezTo>
                <a:cubicBezTo>
                  <a:pt x="83" y="108"/>
                  <a:pt x="81" y="108"/>
                  <a:pt x="81" y="108"/>
                </a:cubicBezTo>
                <a:cubicBezTo>
                  <a:pt x="81" y="108"/>
                  <a:pt x="82" y="108"/>
                  <a:pt x="81" y="108"/>
                </a:cubicBezTo>
                <a:cubicBezTo>
                  <a:pt x="81" y="109"/>
                  <a:pt x="81" y="109"/>
                  <a:pt x="81" y="109"/>
                </a:cubicBezTo>
                <a:cubicBezTo>
                  <a:pt x="81" y="109"/>
                  <a:pt x="80" y="109"/>
                  <a:pt x="80" y="109"/>
                </a:cubicBezTo>
                <a:cubicBezTo>
                  <a:pt x="81" y="109"/>
                  <a:pt x="81" y="109"/>
                  <a:pt x="81" y="109"/>
                </a:cubicBezTo>
                <a:cubicBezTo>
                  <a:pt x="81" y="109"/>
                  <a:pt x="80" y="109"/>
                  <a:pt x="80" y="109"/>
                </a:cubicBezTo>
                <a:cubicBezTo>
                  <a:pt x="80" y="109"/>
                  <a:pt x="80" y="109"/>
                  <a:pt x="80" y="109"/>
                </a:cubicBezTo>
                <a:cubicBezTo>
                  <a:pt x="80" y="109"/>
                  <a:pt x="79" y="110"/>
                  <a:pt x="79" y="109"/>
                </a:cubicBezTo>
                <a:cubicBezTo>
                  <a:pt x="78" y="109"/>
                  <a:pt x="78" y="108"/>
                  <a:pt x="77" y="109"/>
                </a:cubicBezTo>
                <a:cubicBezTo>
                  <a:pt x="77" y="109"/>
                  <a:pt x="77" y="109"/>
                  <a:pt x="77" y="109"/>
                </a:cubicBezTo>
                <a:cubicBezTo>
                  <a:pt x="77" y="109"/>
                  <a:pt x="78" y="109"/>
                  <a:pt x="78" y="109"/>
                </a:cubicBezTo>
                <a:cubicBezTo>
                  <a:pt x="78" y="109"/>
                  <a:pt x="77" y="109"/>
                  <a:pt x="77" y="109"/>
                </a:cubicBezTo>
                <a:cubicBezTo>
                  <a:pt x="77" y="110"/>
                  <a:pt x="77" y="110"/>
                  <a:pt x="77" y="110"/>
                </a:cubicBezTo>
                <a:cubicBezTo>
                  <a:pt x="77" y="110"/>
                  <a:pt x="77" y="109"/>
                  <a:pt x="77" y="109"/>
                </a:cubicBezTo>
                <a:cubicBezTo>
                  <a:pt x="77" y="109"/>
                  <a:pt x="76" y="109"/>
                  <a:pt x="76" y="109"/>
                </a:cubicBezTo>
                <a:cubicBezTo>
                  <a:pt x="76" y="109"/>
                  <a:pt x="76" y="108"/>
                  <a:pt x="76" y="108"/>
                </a:cubicBezTo>
                <a:cubicBezTo>
                  <a:pt x="76" y="108"/>
                  <a:pt x="76" y="109"/>
                  <a:pt x="76" y="109"/>
                </a:cubicBezTo>
                <a:cubicBezTo>
                  <a:pt x="75" y="109"/>
                  <a:pt x="76" y="108"/>
                  <a:pt x="76" y="107"/>
                </a:cubicBezTo>
                <a:cubicBezTo>
                  <a:pt x="76" y="106"/>
                  <a:pt x="74" y="106"/>
                  <a:pt x="74" y="107"/>
                </a:cubicBezTo>
                <a:cubicBezTo>
                  <a:pt x="73" y="108"/>
                  <a:pt x="73" y="107"/>
                  <a:pt x="72" y="108"/>
                </a:cubicBezTo>
                <a:cubicBezTo>
                  <a:pt x="71" y="108"/>
                  <a:pt x="69" y="107"/>
                  <a:pt x="68" y="108"/>
                </a:cubicBezTo>
                <a:cubicBezTo>
                  <a:pt x="67" y="108"/>
                  <a:pt x="67" y="109"/>
                  <a:pt x="66" y="109"/>
                </a:cubicBezTo>
                <a:cubicBezTo>
                  <a:pt x="65" y="109"/>
                  <a:pt x="63" y="109"/>
                  <a:pt x="62" y="109"/>
                </a:cubicBezTo>
                <a:cubicBezTo>
                  <a:pt x="62" y="109"/>
                  <a:pt x="61" y="109"/>
                  <a:pt x="61" y="109"/>
                </a:cubicBezTo>
                <a:cubicBezTo>
                  <a:pt x="60" y="109"/>
                  <a:pt x="60" y="110"/>
                  <a:pt x="60" y="110"/>
                </a:cubicBezTo>
                <a:cubicBezTo>
                  <a:pt x="59" y="110"/>
                  <a:pt x="58" y="109"/>
                  <a:pt x="58" y="108"/>
                </a:cubicBezTo>
                <a:cubicBezTo>
                  <a:pt x="58" y="108"/>
                  <a:pt x="57" y="108"/>
                  <a:pt x="57" y="108"/>
                </a:cubicBezTo>
                <a:cubicBezTo>
                  <a:pt x="57" y="109"/>
                  <a:pt x="57" y="108"/>
                  <a:pt x="56" y="108"/>
                </a:cubicBezTo>
                <a:cubicBezTo>
                  <a:pt x="56" y="108"/>
                  <a:pt x="56" y="109"/>
                  <a:pt x="55" y="109"/>
                </a:cubicBezTo>
                <a:cubicBezTo>
                  <a:pt x="55" y="109"/>
                  <a:pt x="54" y="109"/>
                  <a:pt x="54" y="110"/>
                </a:cubicBezTo>
                <a:cubicBezTo>
                  <a:pt x="54" y="110"/>
                  <a:pt x="53" y="110"/>
                  <a:pt x="53" y="110"/>
                </a:cubicBezTo>
                <a:cubicBezTo>
                  <a:pt x="53" y="110"/>
                  <a:pt x="54" y="111"/>
                  <a:pt x="53" y="111"/>
                </a:cubicBezTo>
                <a:cubicBezTo>
                  <a:pt x="53" y="112"/>
                  <a:pt x="52" y="112"/>
                  <a:pt x="52" y="113"/>
                </a:cubicBezTo>
                <a:cubicBezTo>
                  <a:pt x="52" y="114"/>
                  <a:pt x="52" y="114"/>
                  <a:pt x="51" y="114"/>
                </a:cubicBezTo>
                <a:cubicBezTo>
                  <a:pt x="50" y="115"/>
                  <a:pt x="50" y="116"/>
                  <a:pt x="50" y="116"/>
                </a:cubicBezTo>
                <a:cubicBezTo>
                  <a:pt x="49" y="117"/>
                  <a:pt x="49" y="118"/>
                  <a:pt x="48" y="118"/>
                </a:cubicBezTo>
                <a:cubicBezTo>
                  <a:pt x="48" y="118"/>
                  <a:pt x="47" y="118"/>
                  <a:pt x="47" y="119"/>
                </a:cubicBezTo>
                <a:cubicBezTo>
                  <a:pt x="47" y="119"/>
                  <a:pt x="47" y="119"/>
                  <a:pt x="47" y="119"/>
                </a:cubicBezTo>
                <a:cubicBezTo>
                  <a:pt x="47" y="119"/>
                  <a:pt x="46" y="120"/>
                  <a:pt x="46" y="120"/>
                </a:cubicBezTo>
                <a:cubicBezTo>
                  <a:pt x="46" y="120"/>
                  <a:pt x="46" y="121"/>
                  <a:pt x="46" y="121"/>
                </a:cubicBezTo>
                <a:cubicBezTo>
                  <a:pt x="46" y="121"/>
                  <a:pt x="45" y="122"/>
                  <a:pt x="45" y="122"/>
                </a:cubicBezTo>
                <a:cubicBezTo>
                  <a:pt x="44" y="121"/>
                  <a:pt x="45" y="121"/>
                  <a:pt x="45" y="121"/>
                </a:cubicBezTo>
                <a:cubicBezTo>
                  <a:pt x="45" y="121"/>
                  <a:pt x="44" y="121"/>
                  <a:pt x="44" y="121"/>
                </a:cubicBezTo>
                <a:cubicBezTo>
                  <a:pt x="44" y="121"/>
                  <a:pt x="44" y="121"/>
                  <a:pt x="44" y="121"/>
                </a:cubicBezTo>
                <a:cubicBezTo>
                  <a:pt x="44" y="121"/>
                  <a:pt x="42" y="121"/>
                  <a:pt x="42" y="121"/>
                </a:cubicBezTo>
                <a:cubicBezTo>
                  <a:pt x="41" y="121"/>
                  <a:pt x="43" y="122"/>
                  <a:pt x="43" y="122"/>
                </a:cubicBezTo>
                <a:cubicBezTo>
                  <a:pt x="42" y="122"/>
                  <a:pt x="41" y="122"/>
                  <a:pt x="42" y="123"/>
                </a:cubicBezTo>
                <a:cubicBezTo>
                  <a:pt x="42" y="123"/>
                  <a:pt x="43" y="123"/>
                  <a:pt x="43" y="124"/>
                </a:cubicBezTo>
                <a:cubicBezTo>
                  <a:pt x="43" y="124"/>
                  <a:pt x="42" y="124"/>
                  <a:pt x="43" y="125"/>
                </a:cubicBezTo>
                <a:cubicBezTo>
                  <a:pt x="43" y="125"/>
                  <a:pt x="43" y="125"/>
                  <a:pt x="43" y="126"/>
                </a:cubicBezTo>
                <a:cubicBezTo>
                  <a:pt x="44" y="126"/>
                  <a:pt x="43" y="127"/>
                  <a:pt x="44" y="126"/>
                </a:cubicBezTo>
                <a:cubicBezTo>
                  <a:pt x="44" y="126"/>
                  <a:pt x="44" y="125"/>
                  <a:pt x="45" y="125"/>
                </a:cubicBezTo>
                <a:cubicBezTo>
                  <a:pt x="45" y="125"/>
                  <a:pt x="46" y="126"/>
                  <a:pt x="46" y="126"/>
                </a:cubicBezTo>
                <a:cubicBezTo>
                  <a:pt x="46" y="126"/>
                  <a:pt x="46" y="126"/>
                  <a:pt x="47" y="126"/>
                </a:cubicBezTo>
                <a:cubicBezTo>
                  <a:pt x="47" y="126"/>
                  <a:pt x="47" y="127"/>
                  <a:pt x="47" y="126"/>
                </a:cubicBezTo>
                <a:cubicBezTo>
                  <a:pt x="48" y="126"/>
                  <a:pt x="48" y="126"/>
                  <a:pt x="48" y="125"/>
                </a:cubicBezTo>
                <a:cubicBezTo>
                  <a:pt x="48" y="125"/>
                  <a:pt x="48" y="126"/>
                  <a:pt x="48" y="126"/>
                </a:cubicBezTo>
                <a:cubicBezTo>
                  <a:pt x="48" y="126"/>
                  <a:pt x="48" y="126"/>
                  <a:pt x="48" y="126"/>
                </a:cubicBezTo>
                <a:cubicBezTo>
                  <a:pt x="48" y="125"/>
                  <a:pt x="49" y="126"/>
                  <a:pt x="49" y="126"/>
                </a:cubicBezTo>
                <a:cubicBezTo>
                  <a:pt x="50" y="126"/>
                  <a:pt x="49" y="125"/>
                  <a:pt x="50" y="125"/>
                </a:cubicBezTo>
                <a:cubicBezTo>
                  <a:pt x="50" y="125"/>
                  <a:pt x="51" y="125"/>
                  <a:pt x="52" y="125"/>
                </a:cubicBezTo>
                <a:cubicBezTo>
                  <a:pt x="52" y="126"/>
                  <a:pt x="51" y="126"/>
                  <a:pt x="52" y="126"/>
                </a:cubicBezTo>
                <a:cubicBezTo>
                  <a:pt x="52" y="125"/>
                  <a:pt x="53" y="126"/>
                  <a:pt x="54" y="127"/>
                </a:cubicBezTo>
                <a:cubicBezTo>
                  <a:pt x="54" y="127"/>
                  <a:pt x="55" y="127"/>
                  <a:pt x="55" y="127"/>
                </a:cubicBezTo>
                <a:cubicBezTo>
                  <a:pt x="55" y="127"/>
                  <a:pt x="54" y="128"/>
                  <a:pt x="55" y="128"/>
                </a:cubicBezTo>
                <a:cubicBezTo>
                  <a:pt x="55" y="128"/>
                  <a:pt x="55" y="128"/>
                  <a:pt x="55" y="128"/>
                </a:cubicBezTo>
                <a:cubicBezTo>
                  <a:pt x="56" y="127"/>
                  <a:pt x="55" y="127"/>
                  <a:pt x="55" y="127"/>
                </a:cubicBezTo>
                <a:cubicBezTo>
                  <a:pt x="55" y="126"/>
                  <a:pt x="55" y="126"/>
                  <a:pt x="55" y="126"/>
                </a:cubicBezTo>
                <a:cubicBezTo>
                  <a:pt x="56" y="126"/>
                  <a:pt x="55" y="125"/>
                  <a:pt x="55" y="125"/>
                </a:cubicBezTo>
                <a:cubicBezTo>
                  <a:pt x="55" y="124"/>
                  <a:pt x="55" y="124"/>
                  <a:pt x="55" y="123"/>
                </a:cubicBezTo>
                <a:cubicBezTo>
                  <a:pt x="55" y="123"/>
                  <a:pt x="55" y="123"/>
                  <a:pt x="55" y="123"/>
                </a:cubicBezTo>
                <a:cubicBezTo>
                  <a:pt x="55" y="122"/>
                  <a:pt x="56" y="122"/>
                  <a:pt x="56" y="122"/>
                </a:cubicBezTo>
                <a:cubicBezTo>
                  <a:pt x="57" y="122"/>
                  <a:pt x="57" y="123"/>
                  <a:pt x="57" y="123"/>
                </a:cubicBezTo>
                <a:cubicBezTo>
                  <a:pt x="57" y="123"/>
                  <a:pt x="57" y="123"/>
                  <a:pt x="58" y="123"/>
                </a:cubicBezTo>
                <a:cubicBezTo>
                  <a:pt x="58" y="124"/>
                  <a:pt x="59" y="123"/>
                  <a:pt x="59" y="123"/>
                </a:cubicBezTo>
                <a:cubicBezTo>
                  <a:pt x="59" y="123"/>
                  <a:pt x="59" y="122"/>
                  <a:pt x="60" y="122"/>
                </a:cubicBezTo>
                <a:cubicBezTo>
                  <a:pt x="60" y="122"/>
                  <a:pt x="60" y="122"/>
                  <a:pt x="61" y="122"/>
                </a:cubicBezTo>
                <a:cubicBezTo>
                  <a:pt x="61" y="122"/>
                  <a:pt x="61" y="122"/>
                  <a:pt x="62" y="122"/>
                </a:cubicBezTo>
                <a:cubicBezTo>
                  <a:pt x="62" y="122"/>
                  <a:pt x="62" y="121"/>
                  <a:pt x="62" y="121"/>
                </a:cubicBezTo>
                <a:cubicBezTo>
                  <a:pt x="62" y="121"/>
                  <a:pt x="63" y="122"/>
                  <a:pt x="62" y="122"/>
                </a:cubicBezTo>
                <a:cubicBezTo>
                  <a:pt x="62" y="122"/>
                  <a:pt x="62" y="122"/>
                  <a:pt x="62" y="122"/>
                </a:cubicBezTo>
                <a:cubicBezTo>
                  <a:pt x="62" y="122"/>
                  <a:pt x="62" y="123"/>
                  <a:pt x="62" y="123"/>
                </a:cubicBezTo>
                <a:cubicBezTo>
                  <a:pt x="63" y="122"/>
                  <a:pt x="63" y="123"/>
                  <a:pt x="63" y="122"/>
                </a:cubicBezTo>
                <a:cubicBezTo>
                  <a:pt x="63" y="122"/>
                  <a:pt x="63" y="121"/>
                  <a:pt x="63" y="121"/>
                </a:cubicBezTo>
                <a:cubicBezTo>
                  <a:pt x="63" y="120"/>
                  <a:pt x="63" y="121"/>
                  <a:pt x="63" y="121"/>
                </a:cubicBezTo>
                <a:cubicBezTo>
                  <a:pt x="63" y="121"/>
                  <a:pt x="64" y="121"/>
                  <a:pt x="64" y="122"/>
                </a:cubicBezTo>
                <a:cubicBezTo>
                  <a:pt x="64" y="122"/>
                  <a:pt x="64" y="122"/>
                  <a:pt x="64" y="122"/>
                </a:cubicBezTo>
                <a:cubicBezTo>
                  <a:pt x="64" y="122"/>
                  <a:pt x="64" y="121"/>
                  <a:pt x="65" y="121"/>
                </a:cubicBezTo>
                <a:cubicBezTo>
                  <a:pt x="65" y="120"/>
                  <a:pt x="65" y="120"/>
                  <a:pt x="65" y="120"/>
                </a:cubicBezTo>
                <a:cubicBezTo>
                  <a:pt x="65" y="120"/>
                  <a:pt x="65" y="121"/>
                  <a:pt x="65" y="121"/>
                </a:cubicBezTo>
                <a:cubicBezTo>
                  <a:pt x="66" y="121"/>
                  <a:pt x="66" y="119"/>
                  <a:pt x="67" y="120"/>
                </a:cubicBezTo>
                <a:cubicBezTo>
                  <a:pt x="68" y="121"/>
                  <a:pt x="68" y="120"/>
                  <a:pt x="69" y="121"/>
                </a:cubicBezTo>
                <a:cubicBezTo>
                  <a:pt x="69" y="121"/>
                  <a:pt x="70" y="120"/>
                  <a:pt x="70" y="119"/>
                </a:cubicBezTo>
                <a:cubicBezTo>
                  <a:pt x="70" y="119"/>
                  <a:pt x="69" y="120"/>
                  <a:pt x="69" y="119"/>
                </a:cubicBezTo>
                <a:cubicBezTo>
                  <a:pt x="68" y="119"/>
                  <a:pt x="70" y="119"/>
                  <a:pt x="70" y="119"/>
                </a:cubicBezTo>
                <a:cubicBezTo>
                  <a:pt x="70" y="119"/>
                  <a:pt x="71" y="118"/>
                  <a:pt x="71" y="118"/>
                </a:cubicBezTo>
                <a:cubicBezTo>
                  <a:pt x="71" y="118"/>
                  <a:pt x="71" y="118"/>
                  <a:pt x="70" y="118"/>
                </a:cubicBezTo>
                <a:cubicBezTo>
                  <a:pt x="71" y="118"/>
                  <a:pt x="72" y="118"/>
                  <a:pt x="73" y="117"/>
                </a:cubicBezTo>
                <a:cubicBezTo>
                  <a:pt x="73" y="118"/>
                  <a:pt x="74" y="117"/>
                  <a:pt x="75" y="117"/>
                </a:cubicBezTo>
                <a:cubicBezTo>
                  <a:pt x="76" y="117"/>
                  <a:pt x="76" y="118"/>
                  <a:pt x="77" y="118"/>
                </a:cubicBezTo>
                <a:cubicBezTo>
                  <a:pt x="79" y="119"/>
                  <a:pt x="81" y="117"/>
                  <a:pt x="82" y="118"/>
                </a:cubicBezTo>
                <a:cubicBezTo>
                  <a:pt x="83" y="120"/>
                  <a:pt x="82" y="121"/>
                  <a:pt x="81" y="122"/>
                </a:cubicBezTo>
                <a:cubicBezTo>
                  <a:pt x="80" y="122"/>
                  <a:pt x="80" y="123"/>
                  <a:pt x="81" y="123"/>
                </a:cubicBezTo>
                <a:cubicBezTo>
                  <a:pt x="81" y="123"/>
                  <a:pt x="82" y="124"/>
                  <a:pt x="82" y="124"/>
                </a:cubicBezTo>
                <a:cubicBezTo>
                  <a:pt x="81" y="125"/>
                  <a:pt x="82" y="125"/>
                  <a:pt x="82" y="125"/>
                </a:cubicBezTo>
                <a:cubicBezTo>
                  <a:pt x="82" y="125"/>
                  <a:pt x="82" y="126"/>
                  <a:pt x="82" y="126"/>
                </a:cubicBezTo>
                <a:cubicBezTo>
                  <a:pt x="82" y="126"/>
                  <a:pt x="82" y="126"/>
                  <a:pt x="82" y="126"/>
                </a:cubicBezTo>
                <a:cubicBezTo>
                  <a:pt x="82" y="127"/>
                  <a:pt x="83" y="127"/>
                  <a:pt x="84" y="128"/>
                </a:cubicBezTo>
                <a:cubicBezTo>
                  <a:pt x="84" y="128"/>
                  <a:pt x="86" y="128"/>
                  <a:pt x="86" y="129"/>
                </a:cubicBezTo>
                <a:cubicBezTo>
                  <a:pt x="86" y="129"/>
                  <a:pt x="86" y="129"/>
                  <a:pt x="86" y="129"/>
                </a:cubicBezTo>
                <a:cubicBezTo>
                  <a:pt x="86" y="129"/>
                  <a:pt x="86" y="130"/>
                  <a:pt x="86" y="130"/>
                </a:cubicBezTo>
                <a:cubicBezTo>
                  <a:pt x="86" y="130"/>
                  <a:pt x="86" y="130"/>
                  <a:pt x="87" y="130"/>
                </a:cubicBezTo>
                <a:cubicBezTo>
                  <a:pt x="87" y="131"/>
                  <a:pt x="88" y="131"/>
                  <a:pt x="88" y="131"/>
                </a:cubicBezTo>
                <a:cubicBezTo>
                  <a:pt x="89" y="131"/>
                  <a:pt x="91" y="132"/>
                  <a:pt x="91" y="132"/>
                </a:cubicBezTo>
                <a:cubicBezTo>
                  <a:pt x="91" y="131"/>
                  <a:pt x="91" y="131"/>
                  <a:pt x="92" y="130"/>
                </a:cubicBezTo>
                <a:cubicBezTo>
                  <a:pt x="91" y="130"/>
                  <a:pt x="91" y="129"/>
                  <a:pt x="92" y="129"/>
                </a:cubicBezTo>
                <a:cubicBezTo>
                  <a:pt x="92" y="128"/>
                  <a:pt x="91" y="128"/>
                  <a:pt x="92" y="127"/>
                </a:cubicBezTo>
                <a:cubicBezTo>
                  <a:pt x="92" y="127"/>
                  <a:pt x="92" y="126"/>
                  <a:pt x="92" y="126"/>
                </a:cubicBezTo>
                <a:cubicBezTo>
                  <a:pt x="93" y="126"/>
                  <a:pt x="92" y="126"/>
                  <a:pt x="92" y="126"/>
                </a:cubicBezTo>
                <a:cubicBezTo>
                  <a:pt x="92" y="126"/>
                  <a:pt x="93" y="126"/>
                  <a:pt x="93" y="125"/>
                </a:cubicBezTo>
                <a:cubicBezTo>
                  <a:pt x="92" y="125"/>
                  <a:pt x="92" y="124"/>
                  <a:pt x="92" y="125"/>
                </a:cubicBezTo>
                <a:cubicBezTo>
                  <a:pt x="93" y="125"/>
                  <a:pt x="92" y="124"/>
                  <a:pt x="92" y="124"/>
                </a:cubicBezTo>
                <a:cubicBezTo>
                  <a:pt x="92" y="123"/>
                  <a:pt x="93" y="123"/>
                  <a:pt x="94" y="123"/>
                </a:cubicBezTo>
                <a:cubicBezTo>
                  <a:pt x="94" y="123"/>
                  <a:pt x="94" y="123"/>
                  <a:pt x="94" y="123"/>
                </a:cubicBezTo>
                <a:cubicBezTo>
                  <a:pt x="94" y="123"/>
                  <a:pt x="95" y="123"/>
                  <a:pt x="95" y="123"/>
                </a:cubicBezTo>
                <a:cubicBezTo>
                  <a:pt x="95" y="122"/>
                  <a:pt x="95" y="122"/>
                  <a:pt x="95" y="122"/>
                </a:cubicBezTo>
                <a:cubicBezTo>
                  <a:pt x="95" y="122"/>
                  <a:pt x="95" y="122"/>
                  <a:pt x="95" y="122"/>
                </a:cubicBezTo>
                <a:cubicBezTo>
                  <a:pt x="95" y="123"/>
                  <a:pt x="96" y="122"/>
                  <a:pt x="96" y="122"/>
                </a:cubicBezTo>
                <a:cubicBezTo>
                  <a:pt x="96" y="122"/>
                  <a:pt x="97" y="122"/>
                  <a:pt x="97" y="122"/>
                </a:cubicBezTo>
                <a:cubicBezTo>
                  <a:pt x="97" y="123"/>
                  <a:pt x="96" y="123"/>
                  <a:pt x="96" y="123"/>
                </a:cubicBezTo>
                <a:cubicBezTo>
                  <a:pt x="96" y="123"/>
                  <a:pt x="97" y="123"/>
                  <a:pt x="97" y="123"/>
                </a:cubicBezTo>
                <a:cubicBezTo>
                  <a:pt x="97" y="122"/>
                  <a:pt x="97" y="122"/>
                  <a:pt x="97" y="122"/>
                </a:cubicBezTo>
                <a:cubicBezTo>
                  <a:pt x="96" y="121"/>
                  <a:pt x="97" y="122"/>
                  <a:pt x="97" y="121"/>
                </a:cubicBezTo>
                <a:cubicBezTo>
                  <a:pt x="97" y="121"/>
                  <a:pt x="96" y="121"/>
                  <a:pt x="96" y="120"/>
                </a:cubicBezTo>
                <a:cubicBezTo>
                  <a:pt x="95" y="120"/>
                  <a:pt x="91" y="119"/>
                  <a:pt x="92" y="117"/>
                </a:cubicBezTo>
                <a:cubicBezTo>
                  <a:pt x="92" y="116"/>
                  <a:pt x="91" y="115"/>
                  <a:pt x="92" y="114"/>
                </a:cubicBezTo>
                <a:cubicBezTo>
                  <a:pt x="93" y="114"/>
                  <a:pt x="94" y="113"/>
                  <a:pt x="94" y="114"/>
                </a:cubicBezTo>
                <a:cubicBezTo>
                  <a:pt x="94" y="115"/>
                  <a:pt x="93" y="115"/>
                  <a:pt x="94" y="116"/>
                </a:cubicBezTo>
                <a:cubicBezTo>
                  <a:pt x="94" y="116"/>
                  <a:pt x="94" y="116"/>
                  <a:pt x="94" y="117"/>
                </a:cubicBezTo>
                <a:cubicBezTo>
                  <a:pt x="95" y="117"/>
                  <a:pt x="94" y="117"/>
                  <a:pt x="95" y="118"/>
                </a:cubicBezTo>
                <a:cubicBezTo>
                  <a:pt x="95" y="118"/>
                  <a:pt x="96" y="118"/>
                  <a:pt x="96" y="118"/>
                </a:cubicBezTo>
                <a:cubicBezTo>
                  <a:pt x="96" y="118"/>
                  <a:pt x="95" y="117"/>
                  <a:pt x="95" y="117"/>
                </a:cubicBezTo>
                <a:cubicBezTo>
                  <a:pt x="95" y="117"/>
                  <a:pt x="95" y="116"/>
                  <a:pt x="95" y="116"/>
                </a:cubicBezTo>
                <a:cubicBezTo>
                  <a:pt x="96" y="116"/>
                  <a:pt x="95" y="117"/>
                  <a:pt x="97" y="117"/>
                </a:cubicBezTo>
                <a:cubicBezTo>
                  <a:pt x="98" y="117"/>
                  <a:pt x="98" y="117"/>
                  <a:pt x="99" y="118"/>
                </a:cubicBezTo>
                <a:cubicBezTo>
                  <a:pt x="99" y="118"/>
                  <a:pt x="98" y="118"/>
                  <a:pt x="98" y="118"/>
                </a:cubicBezTo>
                <a:cubicBezTo>
                  <a:pt x="98" y="119"/>
                  <a:pt x="97" y="119"/>
                  <a:pt x="97" y="119"/>
                </a:cubicBezTo>
                <a:cubicBezTo>
                  <a:pt x="97" y="120"/>
                  <a:pt x="101" y="118"/>
                  <a:pt x="101" y="118"/>
                </a:cubicBezTo>
                <a:cubicBezTo>
                  <a:pt x="102" y="118"/>
                  <a:pt x="103" y="119"/>
                  <a:pt x="103" y="119"/>
                </a:cubicBezTo>
                <a:cubicBezTo>
                  <a:pt x="104" y="119"/>
                  <a:pt x="104" y="118"/>
                  <a:pt x="105" y="118"/>
                </a:cubicBezTo>
                <a:cubicBezTo>
                  <a:pt x="106" y="118"/>
                  <a:pt x="107" y="119"/>
                  <a:pt x="108" y="119"/>
                </a:cubicBezTo>
                <a:cubicBezTo>
                  <a:pt x="107" y="119"/>
                  <a:pt x="107" y="118"/>
                  <a:pt x="108" y="117"/>
                </a:cubicBezTo>
                <a:cubicBezTo>
                  <a:pt x="108" y="117"/>
                  <a:pt x="108" y="117"/>
                  <a:pt x="108" y="116"/>
                </a:cubicBezTo>
                <a:cubicBezTo>
                  <a:pt x="108" y="116"/>
                  <a:pt x="108" y="115"/>
                  <a:pt x="108" y="115"/>
                </a:cubicBezTo>
                <a:cubicBezTo>
                  <a:pt x="109" y="115"/>
                  <a:pt x="109" y="114"/>
                  <a:pt x="109" y="115"/>
                </a:cubicBezTo>
                <a:cubicBezTo>
                  <a:pt x="108" y="114"/>
                  <a:pt x="109" y="114"/>
                  <a:pt x="109" y="113"/>
                </a:cubicBezTo>
                <a:cubicBezTo>
                  <a:pt x="110" y="113"/>
                  <a:pt x="110" y="113"/>
                  <a:pt x="111" y="114"/>
                </a:cubicBezTo>
                <a:cubicBezTo>
                  <a:pt x="111" y="114"/>
                  <a:pt x="112" y="114"/>
                  <a:pt x="112" y="114"/>
                </a:cubicBezTo>
                <a:cubicBezTo>
                  <a:pt x="112" y="115"/>
                  <a:pt x="111" y="114"/>
                  <a:pt x="111" y="115"/>
                </a:cubicBezTo>
                <a:cubicBezTo>
                  <a:pt x="111" y="115"/>
                  <a:pt x="111" y="116"/>
                  <a:pt x="112" y="116"/>
                </a:cubicBezTo>
                <a:cubicBezTo>
                  <a:pt x="112" y="117"/>
                  <a:pt x="112" y="117"/>
                  <a:pt x="112" y="118"/>
                </a:cubicBezTo>
                <a:cubicBezTo>
                  <a:pt x="112" y="118"/>
                  <a:pt x="113" y="119"/>
                  <a:pt x="113" y="119"/>
                </a:cubicBezTo>
                <a:cubicBezTo>
                  <a:pt x="114" y="119"/>
                  <a:pt x="114" y="118"/>
                  <a:pt x="115" y="119"/>
                </a:cubicBezTo>
                <a:cubicBezTo>
                  <a:pt x="114" y="118"/>
                  <a:pt x="115" y="117"/>
                  <a:pt x="115" y="116"/>
                </a:cubicBezTo>
                <a:cubicBezTo>
                  <a:pt x="114" y="115"/>
                  <a:pt x="113" y="114"/>
                  <a:pt x="114" y="113"/>
                </a:cubicBezTo>
                <a:cubicBezTo>
                  <a:pt x="114" y="113"/>
                  <a:pt x="113" y="113"/>
                  <a:pt x="113" y="112"/>
                </a:cubicBezTo>
                <a:cubicBezTo>
                  <a:pt x="113" y="112"/>
                  <a:pt x="114" y="112"/>
                  <a:pt x="114" y="111"/>
                </a:cubicBezTo>
                <a:cubicBezTo>
                  <a:pt x="115" y="111"/>
                  <a:pt x="117" y="111"/>
                  <a:pt x="117" y="112"/>
                </a:cubicBezTo>
                <a:cubicBezTo>
                  <a:pt x="118" y="112"/>
                  <a:pt x="118" y="113"/>
                  <a:pt x="118" y="113"/>
                </a:cubicBezTo>
                <a:cubicBezTo>
                  <a:pt x="119" y="113"/>
                  <a:pt x="118" y="113"/>
                  <a:pt x="118" y="112"/>
                </a:cubicBezTo>
                <a:cubicBezTo>
                  <a:pt x="119" y="112"/>
                  <a:pt x="117" y="111"/>
                  <a:pt x="117" y="111"/>
                </a:cubicBezTo>
                <a:cubicBezTo>
                  <a:pt x="117" y="111"/>
                  <a:pt x="117" y="110"/>
                  <a:pt x="117" y="110"/>
                </a:cubicBezTo>
                <a:cubicBezTo>
                  <a:pt x="118" y="110"/>
                  <a:pt x="117" y="110"/>
                  <a:pt x="117" y="110"/>
                </a:cubicBezTo>
                <a:cubicBezTo>
                  <a:pt x="117" y="109"/>
                  <a:pt x="118" y="110"/>
                  <a:pt x="118" y="109"/>
                </a:cubicBezTo>
                <a:cubicBezTo>
                  <a:pt x="118" y="109"/>
                  <a:pt x="117" y="108"/>
                  <a:pt x="117" y="108"/>
                </a:cubicBezTo>
                <a:cubicBezTo>
                  <a:pt x="117" y="108"/>
                  <a:pt x="118" y="107"/>
                  <a:pt x="118" y="108"/>
                </a:cubicBezTo>
                <a:cubicBezTo>
                  <a:pt x="118" y="108"/>
                  <a:pt x="118" y="108"/>
                  <a:pt x="118" y="108"/>
                </a:cubicBezTo>
                <a:cubicBezTo>
                  <a:pt x="119" y="108"/>
                  <a:pt x="118" y="107"/>
                  <a:pt x="119" y="107"/>
                </a:cubicBezTo>
                <a:cubicBezTo>
                  <a:pt x="119" y="107"/>
                  <a:pt x="121" y="108"/>
                  <a:pt x="120" y="109"/>
                </a:cubicBezTo>
                <a:cubicBezTo>
                  <a:pt x="120" y="109"/>
                  <a:pt x="120" y="109"/>
                  <a:pt x="120" y="110"/>
                </a:cubicBezTo>
                <a:cubicBezTo>
                  <a:pt x="120" y="110"/>
                  <a:pt x="119" y="110"/>
                  <a:pt x="119" y="110"/>
                </a:cubicBezTo>
                <a:cubicBezTo>
                  <a:pt x="120" y="111"/>
                  <a:pt x="119" y="111"/>
                  <a:pt x="119" y="111"/>
                </a:cubicBezTo>
                <a:cubicBezTo>
                  <a:pt x="119" y="111"/>
                  <a:pt x="120" y="112"/>
                  <a:pt x="120" y="112"/>
                </a:cubicBezTo>
                <a:cubicBezTo>
                  <a:pt x="120" y="113"/>
                  <a:pt x="120" y="113"/>
                  <a:pt x="120" y="113"/>
                </a:cubicBezTo>
                <a:cubicBezTo>
                  <a:pt x="120" y="114"/>
                  <a:pt x="121" y="115"/>
                  <a:pt x="120" y="115"/>
                </a:cubicBezTo>
                <a:cubicBezTo>
                  <a:pt x="121" y="115"/>
                  <a:pt x="121" y="116"/>
                  <a:pt x="122" y="116"/>
                </a:cubicBezTo>
                <a:cubicBezTo>
                  <a:pt x="122" y="116"/>
                  <a:pt x="122" y="115"/>
                  <a:pt x="122" y="115"/>
                </a:cubicBezTo>
                <a:cubicBezTo>
                  <a:pt x="122" y="114"/>
                  <a:pt x="123" y="114"/>
                  <a:pt x="123" y="114"/>
                </a:cubicBezTo>
                <a:cubicBezTo>
                  <a:pt x="124" y="113"/>
                  <a:pt x="124" y="113"/>
                  <a:pt x="125" y="113"/>
                </a:cubicBezTo>
                <a:cubicBezTo>
                  <a:pt x="125" y="112"/>
                  <a:pt x="125" y="112"/>
                  <a:pt x="124" y="111"/>
                </a:cubicBezTo>
                <a:cubicBezTo>
                  <a:pt x="124" y="110"/>
                  <a:pt x="124" y="110"/>
                  <a:pt x="124" y="109"/>
                </a:cubicBezTo>
                <a:cubicBezTo>
                  <a:pt x="124" y="108"/>
                  <a:pt x="125" y="107"/>
                  <a:pt x="125" y="107"/>
                </a:cubicBezTo>
                <a:cubicBezTo>
                  <a:pt x="126" y="107"/>
                  <a:pt x="127" y="107"/>
                  <a:pt x="127" y="107"/>
                </a:cubicBezTo>
                <a:cubicBezTo>
                  <a:pt x="127" y="107"/>
                  <a:pt x="123" y="103"/>
                  <a:pt x="123" y="103"/>
                </a:cubicBezTo>
                <a:close/>
                <a:moveTo>
                  <a:pt x="32" y="209"/>
                </a:moveTo>
                <a:cubicBezTo>
                  <a:pt x="31" y="209"/>
                  <a:pt x="32" y="210"/>
                  <a:pt x="32" y="210"/>
                </a:cubicBezTo>
                <a:cubicBezTo>
                  <a:pt x="33" y="210"/>
                  <a:pt x="32" y="209"/>
                  <a:pt x="32" y="209"/>
                </a:cubicBezTo>
                <a:close/>
                <a:moveTo>
                  <a:pt x="56" y="102"/>
                </a:moveTo>
                <a:cubicBezTo>
                  <a:pt x="55" y="101"/>
                  <a:pt x="56" y="101"/>
                  <a:pt x="56" y="101"/>
                </a:cubicBezTo>
                <a:cubicBezTo>
                  <a:pt x="56" y="101"/>
                  <a:pt x="55" y="100"/>
                  <a:pt x="55" y="100"/>
                </a:cubicBezTo>
                <a:cubicBezTo>
                  <a:pt x="55" y="100"/>
                  <a:pt x="55" y="100"/>
                  <a:pt x="54" y="100"/>
                </a:cubicBezTo>
                <a:cubicBezTo>
                  <a:pt x="54" y="100"/>
                  <a:pt x="54" y="101"/>
                  <a:pt x="54" y="101"/>
                </a:cubicBezTo>
                <a:cubicBezTo>
                  <a:pt x="55" y="102"/>
                  <a:pt x="55" y="102"/>
                  <a:pt x="56" y="102"/>
                </a:cubicBezTo>
                <a:close/>
                <a:moveTo>
                  <a:pt x="48" y="193"/>
                </a:moveTo>
                <a:cubicBezTo>
                  <a:pt x="47" y="193"/>
                  <a:pt x="48" y="195"/>
                  <a:pt x="48" y="195"/>
                </a:cubicBezTo>
                <a:cubicBezTo>
                  <a:pt x="49" y="195"/>
                  <a:pt x="49" y="192"/>
                  <a:pt x="48" y="193"/>
                </a:cubicBezTo>
                <a:close/>
                <a:moveTo>
                  <a:pt x="58" y="160"/>
                </a:moveTo>
                <a:cubicBezTo>
                  <a:pt x="57" y="160"/>
                  <a:pt x="57" y="162"/>
                  <a:pt x="57" y="162"/>
                </a:cubicBezTo>
                <a:cubicBezTo>
                  <a:pt x="58" y="163"/>
                  <a:pt x="57" y="165"/>
                  <a:pt x="58" y="165"/>
                </a:cubicBezTo>
                <a:cubicBezTo>
                  <a:pt x="58" y="166"/>
                  <a:pt x="58" y="165"/>
                  <a:pt x="58" y="165"/>
                </a:cubicBezTo>
                <a:cubicBezTo>
                  <a:pt x="58" y="164"/>
                  <a:pt x="58" y="164"/>
                  <a:pt x="58" y="163"/>
                </a:cubicBezTo>
                <a:cubicBezTo>
                  <a:pt x="58" y="162"/>
                  <a:pt x="58" y="161"/>
                  <a:pt x="58" y="160"/>
                </a:cubicBezTo>
                <a:close/>
                <a:moveTo>
                  <a:pt x="50" y="190"/>
                </a:moveTo>
                <a:cubicBezTo>
                  <a:pt x="50" y="190"/>
                  <a:pt x="50" y="190"/>
                  <a:pt x="50" y="190"/>
                </a:cubicBezTo>
                <a:cubicBezTo>
                  <a:pt x="50" y="190"/>
                  <a:pt x="50" y="190"/>
                  <a:pt x="49" y="189"/>
                </a:cubicBezTo>
                <a:cubicBezTo>
                  <a:pt x="49" y="189"/>
                  <a:pt x="49" y="189"/>
                  <a:pt x="49" y="189"/>
                </a:cubicBezTo>
                <a:cubicBezTo>
                  <a:pt x="49" y="190"/>
                  <a:pt x="51" y="191"/>
                  <a:pt x="51" y="191"/>
                </a:cubicBezTo>
                <a:cubicBezTo>
                  <a:pt x="51" y="190"/>
                  <a:pt x="50" y="190"/>
                  <a:pt x="50" y="190"/>
                </a:cubicBezTo>
                <a:close/>
                <a:moveTo>
                  <a:pt x="78" y="119"/>
                </a:moveTo>
                <a:cubicBezTo>
                  <a:pt x="78" y="120"/>
                  <a:pt x="77" y="120"/>
                  <a:pt x="77" y="121"/>
                </a:cubicBezTo>
                <a:cubicBezTo>
                  <a:pt x="77" y="121"/>
                  <a:pt x="77" y="121"/>
                  <a:pt x="77" y="122"/>
                </a:cubicBezTo>
                <a:cubicBezTo>
                  <a:pt x="77" y="122"/>
                  <a:pt x="77" y="122"/>
                  <a:pt x="77" y="122"/>
                </a:cubicBezTo>
                <a:cubicBezTo>
                  <a:pt x="77" y="122"/>
                  <a:pt x="77" y="123"/>
                  <a:pt x="77" y="123"/>
                </a:cubicBezTo>
                <a:cubicBezTo>
                  <a:pt x="78" y="123"/>
                  <a:pt x="78" y="124"/>
                  <a:pt x="78" y="123"/>
                </a:cubicBezTo>
                <a:cubicBezTo>
                  <a:pt x="79" y="123"/>
                  <a:pt x="79" y="123"/>
                  <a:pt x="79" y="122"/>
                </a:cubicBezTo>
                <a:cubicBezTo>
                  <a:pt x="79" y="122"/>
                  <a:pt x="78" y="122"/>
                  <a:pt x="78" y="121"/>
                </a:cubicBezTo>
                <a:cubicBezTo>
                  <a:pt x="78" y="121"/>
                  <a:pt x="79" y="120"/>
                  <a:pt x="79" y="120"/>
                </a:cubicBezTo>
                <a:cubicBezTo>
                  <a:pt x="79" y="119"/>
                  <a:pt x="78" y="119"/>
                  <a:pt x="78" y="119"/>
                </a:cubicBezTo>
                <a:close/>
                <a:moveTo>
                  <a:pt x="33" y="132"/>
                </a:moveTo>
                <a:cubicBezTo>
                  <a:pt x="34" y="133"/>
                  <a:pt x="33" y="133"/>
                  <a:pt x="33" y="133"/>
                </a:cubicBezTo>
                <a:cubicBezTo>
                  <a:pt x="33" y="134"/>
                  <a:pt x="33" y="135"/>
                  <a:pt x="33" y="135"/>
                </a:cubicBezTo>
                <a:cubicBezTo>
                  <a:pt x="34" y="135"/>
                  <a:pt x="34" y="132"/>
                  <a:pt x="33" y="132"/>
                </a:cubicBezTo>
                <a:close/>
                <a:moveTo>
                  <a:pt x="31" y="138"/>
                </a:moveTo>
                <a:cubicBezTo>
                  <a:pt x="31" y="137"/>
                  <a:pt x="32" y="137"/>
                  <a:pt x="32" y="137"/>
                </a:cubicBezTo>
                <a:cubicBezTo>
                  <a:pt x="32" y="137"/>
                  <a:pt x="31" y="137"/>
                  <a:pt x="31" y="137"/>
                </a:cubicBezTo>
                <a:cubicBezTo>
                  <a:pt x="31" y="137"/>
                  <a:pt x="31" y="136"/>
                  <a:pt x="31" y="136"/>
                </a:cubicBezTo>
                <a:cubicBezTo>
                  <a:pt x="31" y="136"/>
                  <a:pt x="31" y="135"/>
                  <a:pt x="31" y="135"/>
                </a:cubicBezTo>
                <a:cubicBezTo>
                  <a:pt x="30" y="135"/>
                  <a:pt x="31" y="136"/>
                  <a:pt x="31" y="136"/>
                </a:cubicBezTo>
                <a:cubicBezTo>
                  <a:pt x="30" y="136"/>
                  <a:pt x="31" y="137"/>
                  <a:pt x="31" y="137"/>
                </a:cubicBezTo>
                <a:cubicBezTo>
                  <a:pt x="31" y="137"/>
                  <a:pt x="30" y="137"/>
                  <a:pt x="30" y="137"/>
                </a:cubicBezTo>
                <a:cubicBezTo>
                  <a:pt x="31" y="137"/>
                  <a:pt x="31" y="138"/>
                  <a:pt x="31" y="138"/>
                </a:cubicBezTo>
                <a:cubicBezTo>
                  <a:pt x="31" y="138"/>
                  <a:pt x="31" y="138"/>
                  <a:pt x="31" y="138"/>
                </a:cubicBezTo>
                <a:cubicBezTo>
                  <a:pt x="31" y="138"/>
                  <a:pt x="31" y="138"/>
                  <a:pt x="31" y="138"/>
                </a:cubicBezTo>
                <a:close/>
                <a:moveTo>
                  <a:pt x="74" y="4"/>
                </a:moveTo>
                <a:cubicBezTo>
                  <a:pt x="75" y="4"/>
                  <a:pt x="73" y="3"/>
                  <a:pt x="72" y="3"/>
                </a:cubicBezTo>
                <a:cubicBezTo>
                  <a:pt x="71" y="4"/>
                  <a:pt x="73" y="4"/>
                  <a:pt x="74" y="4"/>
                </a:cubicBezTo>
                <a:close/>
                <a:moveTo>
                  <a:pt x="9" y="231"/>
                </a:moveTo>
                <a:cubicBezTo>
                  <a:pt x="8" y="231"/>
                  <a:pt x="8" y="232"/>
                  <a:pt x="8" y="232"/>
                </a:cubicBezTo>
                <a:cubicBezTo>
                  <a:pt x="8" y="232"/>
                  <a:pt x="8" y="232"/>
                  <a:pt x="8" y="232"/>
                </a:cubicBezTo>
                <a:cubicBezTo>
                  <a:pt x="8" y="233"/>
                  <a:pt x="8" y="232"/>
                  <a:pt x="8" y="232"/>
                </a:cubicBezTo>
                <a:cubicBezTo>
                  <a:pt x="9" y="233"/>
                  <a:pt x="11" y="233"/>
                  <a:pt x="10" y="232"/>
                </a:cubicBezTo>
                <a:cubicBezTo>
                  <a:pt x="10" y="231"/>
                  <a:pt x="9" y="231"/>
                  <a:pt x="9" y="231"/>
                </a:cubicBezTo>
                <a:close/>
                <a:moveTo>
                  <a:pt x="92" y="84"/>
                </a:moveTo>
                <a:cubicBezTo>
                  <a:pt x="92" y="84"/>
                  <a:pt x="92" y="84"/>
                  <a:pt x="92" y="84"/>
                </a:cubicBezTo>
                <a:cubicBezTo>
                  <a:pt x="93" y="84"/>
                  <a:pt x="93" y="84"/>
                  <a:pt x="94" y="83"/>
                </a:cubicBezTo>
                <a:cubicBezTo>
                  <a:pt x="94" y="83"/>
                  <a:pt x="94" y="82"/>
                  <a:pt x="94" y="81"/>
                </a:cubicBezTo>
                <a:cubicBezTo>
                  <a:pt x="94" y="81"/>
                  <a:pt x="93" y="81"/>
                  <a:pt x="93" y="81"/>
                </a:cubicBezTo>
                <a:cubicBezTo>
                  <a:pt x="92" y="81"/>
                  <a:pt x="92" y="79"/>
                  <a:pt x="92" y="79"/>
                </a:cubicBezTo>
                <a:cubicBezTo>
                  <a:pt x="92" y="78"/>
                  <a:pt x="91" y="78"/>
                  <a:pt x="91" y="79"/>
                </a:cubicBezTo>
                <a:cubicBezTo>
                  <a:pt x="91" y="79"/>
                  <a:pt x="91" y="79"/>
                  <a:pt x="91" y="79"/>
                </a:cubicBezTo>
                <a:cubicBezTo>
                  <a:pt x="91" y="80"/>
                  <a:pt x="90" y="81"/>
                  <a:pt x="91" y="82"/>
                </a:cubicBezTo>
                <a:cubicBezTo>
                  <a:pt x="91" y="82"/>
                  <a:pt x="92" y="82"/>
                  <a:pt x="92" y="82"/>
                </a:cubicBezTo>
                <a:cubicBezTo>
                  <a:pt x="92" y="82"/>
                  <a:pt x="92" y="83"/>
                  <a:pt x="92" y="83"/>
                </a:cubicBezTo>
                <a:cubicBezTo>
                  <a:pt x="92" y="84"/>
                  <a:pt x="92" y="83"/>
                  <a:pt x="92" y="84"/>
                </a:cubicBezTo>
                <a:close/>
                <a:moveTo>
                  <a:pt x="77" y="36"/>
                </a:moveTo>
                <a:cubicBezTo>
                  <a:pt x="77" y="36"/>
                  <a:pt x="78" y="38"/>
                  <a:pt x="78" y="37"/>
                </a:cubicBezTo>
                <a:cubicBezTo>
                  <a:pt x="79" y="37"/>
                  <a:pt x="78" y="36"/>
                  <a:pt x="78" y="36"/>
                </a:cubicBezTo>
                <a:cubicBezTo>
                  <a:pt x="78" y="35"/>
                  <a:pt x="77" y="36"/>
                  <a:pt x="77" y="36"/>
                </a:cubicBezTo>
                <a:close/>
                <a:moveTo>
                  <a:pt x="53" y="187"/>
                </a:moveTo>
                <a:cubicBezTo>
                  <a:pt x="53" y="187"/>
                  <a:pt x="53" y="187"/>
                  <a:pt x="52" y="187"/>
                </a:cubicBezTo>
                <a:cubicBezTo>
                  <a:pt x="53" y="186"/>
                  <a:pt x="52" y="186"/>
                  <a:pt x="52" y="186"/>
                </a:cubicBezTo>
                <a:cubicBezTo>
                  <a:pt x="52" y="187"/>
                  <a:pt x="52" y="187"/>
                  <a:pt x="52" y="187"/>
                </a:cubicBezTo>
                <a:cubicBezTo>
                  <a:pt x="52" y="187"/>
                  <a:pt x="51" y="187"/>
                  <a:pt x="51" y="187"/>
                </a:cubicBezTo>
                <a:cubicBezTo>
                  <a:pt x="51" y="187"/>
                  <a:pt x="51" y="188"/>
                  <a:pt x="50" y="188"/>
                </a:cubicBezTo>
                <a:cubicBezTo>
                  <a:pt x="50" y="188"/>
                  <a:pt x="50" y="188"/>
                  <a:pt x="49" y="188"/>
                </a:cubicBezTo>
                <a:cubicBezTo>
                  <a:pt x="49" y="188"/>
                  <a:pt x="50" y="189"/>
                  <a:pt x="50" y="189"/>
                </a:cubicBezTo>
                <a:cubicBezTo>
                  <a:pt x="50" y="189"/>
                  <a:pt x="48" y="189"/>
                  <a:pt x="49" y="189"/>
                </a:cubicBezTo>
                <a:cubicBezTo>
                  <a:pt x="50" y="189"/>
                  <a:pt x="50" y="189"/>
                  <a:pt x="50" y="189"/>
                </a:cubicBezTo>
                <a:cubicBezTo>
                  <a:pt x="50" y="190"/>
                  <a:pt x="51" y="190"/>
                  <a:pt x="51" y="190"/>
                </a:cubicBezTo>
                <a:cubicBezTo>
                  <a:pt x="51" y="190"/>
                  <a:pt x="51" y="190"/>
                  <a:pt x="51" y="190"/>
                </a:cubicBezTo>
                <a:cubicBezTo>
                  <a:pt x="51" y="190"/>
                  <a:pt x="52" y="190"/>
                  <a:pt x="52" y="189"/>
                </a:cubicBezTo>
                <a:cubicBezTo>
                  <a:pt x="52" y="189"/>
                  <a:pt x="52" y="189"/>
                  <a:pt x="51" y="189"/>
                </a:cubicBezTo>
                <a:cubicBezTo>
                  <a:pt x="52" y="189"/>
                  <a:pt x="52" y="189"/>
                  <a:pt x="52" y="188"/>
                </a:cubicBezTo>
                <a:cubicBezTo>
                  <a:pt x="52" y="188"/>
                  <a:pt x="52" y="188"/>
                  <a:pt x="52" y="188"/>
                </a:cubicBezTo>
                <a:cubicBezTo>
                  <a:pt x="52" y="188"/>
                  <a:pt x="53" y="188"/>
                  <a:pt x="53" y="187"/>
                </a:cubicBezTo>
                <a:cubicBezTo>
                  <a:pt x="53" y="187"/>
                  <a:pt x="53" y="187"/>
                  <a:pt x="53" y="186"/>
                </a:cubicBezTo>
                <a:cubicBezTo>
                  <a:pt x="53" y="186"/>
                  <a:pt x="53" y="186"/>
                  <a:pt x="53" y="187"/>
                </a:cubicBezTo>
                <a:close/>
                <a:moveTo>
                  <a:pt x="46" y="199"/>
                </a:moveTo>
                <a:cubicBezTo>
                  <a:pt x="47" y="199"/>
                  <a:pt x="47" y="198"/>
                  <a:pt x="47" y="198"/>
                </a:cubicBezTo>
                <a:cubicBezTo>
                  <a:pt x="47" y="198"/>
                  <a:pt x="46" y="198"/>
                  <a:pt x="46" y="198"/>
                </a:cubicBezTo>
                <a:cubicBezTo>
                  <a:pt x="45" y="198"/>
                  <a:pt x="46" y="199"/>
                  <a:pt x="46" y="199"/>
                </a:cubicBezTo>
                <a:close/>
                <a:moveTo>
                  <a:pt x="1" y="230"/>
                </a:moveTo>
                <a:cubicBezTo>
                  <a:pt x="0" y="231"/>
                  <a:pt x="2" y="230"/>
                  <a:pt x="1" y="230"/>
                </a:cubicBezTo>
                <a:close/>
                <a:moveTo>
                  <a:pt x="51" y="172"/>
                </a:moveTo>
                <a:cubicBezTo>
                  <a:pt x="51" y="171"/>
                  <a:pt x="50" y="171"/>
                  <a:pt x="50" y="171"/>
                </a:cubicBezTo>
                <a:cubicBezTo>
                  <a:pt x="50" y="171"/>
                  <a:pt x="50" y="172"/>
                  <a:pt x="51" y="172"/>
                </a:cubicBezTo>
                <a:close/>
                <a:moveTo>
                  <a:pt x="49" y="173"/>
                </a:moveTo>
                <a:cubicBezTo>
                  <a:pt x="49" y="175"/>
                  <a:pt x="50" y="173"/>
                  <a:pt x="49" y="173"/>
                </a:cubicBezTo>
                <a:close/>
                <a:moveTo>
                  <a:pt x="51" y="170"/>
                </a:moveTo>
                <a:cubicBezTo>
                  <a:pt x="51" y="169"/>
                  <a:pt x="49" y="170"/>
                  <a:pt x="51" y="170"/>
                </a:cubicBezTo>
                <a:close/>
                <a:moveTo>
                  <a:pt x="54" y="165"/>
                </a:moveTo>
                <a:cubicBezTo>
                  <a:pt x="54" y="164"/>
                  <a:pt x="53" y="165"/>
                  <a:pt x="53" y="166"/>
                </a:cubicBezTo>
                <a:cubicBezTo>
                  <a:pt x="53" y="166"/>
                  <a:pt x="54" y="167"/>
                  <a:pt x="54" y="167"/>
                </a:cubicBezTo>
                <a:cubicBezTo>
                  <a:pt x="55" y="167"/>
                  <a:pt x="56" y="167"/>
                  <a:pt x="56" y="166"/>
                </a:cubicBezTo>
                <a:cubicBezTo>
                  <a:pt x="56" y="165"/>
                  <a:pt x="55" y="165"/>
                  <a:pt x="54" y="165"/>
                </a:cubicBezTo>
                <a:close/>
                <a:moveTo>
                  <a:pt x="295" y="232"/>
                </a:moveTo>
                <a:cubicBezTo>
                  <a:pt x="295" y="232"/>
                  <a:pt x="295" y="232"/>
                  <a:pt x="295" y="232"/>
                </a:cubicBezTo>
                <a:cubicBezTo>
                  <a:pt x="295" y="232"/>
                  <a:pt x="295" y="232"/>
                  <a:pt x="295" y="23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8" name="Jamaica"/>
          <p:cNvSpPr>
            <a:spLocks/>
          </p:cNvSpPr>
          <p:nvPr/>
        </p:nvSpPr>
        <p:spPr bwMode="auto">
          <a:xfrm>
            <a:off x="3090184" y="3929964"/>
            <a:ext cx="75997" cy="31999"/>
          </a:xfrm>
          <a:custGeom>
            <a:avLst/>
            <a:gdLst/>
            <a:ahLst/>
            <a:cxnLst>
              <a:cxn ang="0">
                <a:pos x="20" y="4"/>
              </a:cxn>
              <a:cxn ang="0">
                <a:pos x="18" y="3"/>
              </a:cxn>
              <a:cxn ang="0">
                <a:pos x="17" y="3"/>
              </a:cxn>
              <a:cxn ang="0">
                <a:pos x="16" y="2"/>
              </a:cxn>
              <a:cxn ang="0">
                <a:pos x="14" y="1"/>
              </a:cxn>
              <a:cxn ang="0">
                <a:pos x="13" y="1"/>
              </a:cxn>
              <a:cxn ang="0">
                <a:pos x="11" y="1"/>
              </a:cxn>
              <a:cxn ang="0">
                <a:pos x="9" y="0"/>
              </a:cxn>
              <a:cxn ang="0">
                <a:pos x="8" y="0"/>
              </a:cxn>
              <a:cxn ang="0">
                <a:pos x="6" y="0"/>
              </a:cxn>
              <a:cxn ang="0">
                <a:pos x="4" y="1"/>
              </a:cxn>
              <a:cxn ang="0">
                <a:pos x="2" y="1"/>
              </a:cxn>
              <a:cxn ang="0">
                <a:pos x="0" y="3"/>
              </a:cxn>
              <a:cxn ang="0">
                <a:pos x="1" y="3"/>
              </a:cxn>
              <a:cxn ang="0">
                <a:pos x="3" y="3"/>
              </a:cxn>
              <a:cxn ang="0">
                <a:pos x="4" y="5"/>
              </a:cxn>
              <a:cxn ang="0">
                <a:pos x="5" y="5"/>
              </a:cxn>
              <a:cxn ang="0">
                <a:pos x="6" y="7"/>
              </a:cxn>
              <a:cxn ang="0">
                <a:pos x="7" y="7"/>
              </a:cxn>
              <a:cxn ang="0">
                <a:pos x="9" y="7"/>
              </a:cxn>
              <a:cxn ang="0">
                <a:pos x="11" y="9"/>
              </a:cxn>
              <a:cxn ang="0">
                <a:pos x="11" y="8"/>
              </a:cxn>
              <a:cxn ang="0">
                <a:pos x="12" y="7"/>
              </a:cxn>
              <a:cxn ang="0">
                <a:pos x="13" y="7"/>
              </a:cxn>
              <a:cxn ang="0">
                <a:pos x="14" y="6"/>
              </a:cxn>
              <a:cxn ang="0">
                <a:pos x="15" y="6"/>
              </a:cxn>
              <a:cxn ang="0">
                <a:pos x="16" y="6"/>
              </a:cxn>
              <a:cxn ang="0">
                <a:pos x="15" y="6"/>
              </a:cxn>
              <a:cxn ang="0">
                <a:pos x="16" y="6"/>
              </a:cxn>
              <a:cxn ang="0">
                <a:pos x="17" y="7"/>
              </a:cxn>
              <a:cxn ang="0">
                <a:pos x="20" y="7"/>
              </a:cxn>
              <a:cxn ang="0">
                <a:pos x="21" y="6"/>
              </a:cxn>
              <a:cxn ang="0">
                <a:pos x="20" y="4"/>
              </a:cxn>
            </a:cxnLst>
            <a:rect l="0" t="0" r="r" b="b"/>
            <a:pathLst>
              <a:path w="21" h="9">
                <a:moveTo>
                  <a:pt x="20" y="4"/>
                </a:moveTo>
                <a:cubicBezTo>
                  <a:pt x="19" y="4"/>
                  <a:pt x="19" y="3"/>
                  <a:pt x="18" y="3"/>
                </a:cubicBezTo>
                <a:cubicBezTo>
                  <a:pt x="17" y="3"/>
                  <a:pt x="17" y="3"/>
                  <a:pt x="17" y="3"/>
                </a:cubicBezTo>
                <a:cubicBezTo>
                  <a:pt x="16" y="2"/>
                  <a:pt x="16" y="3"/>
                  <a:pt x="16" y="2"/>
                </a:cubicBezTo>
                <a:cubicBezTo>
                  <a:pt x="15" y="2"/>
                  <a:pt x="15" y="1"/>
                  <a:pt x="14" y="1"/>
                </a:cubicBezTo>
                <a:cubicBezTo>
                  <a:pt x="14" y="1"/>
                  <a:pt x="13" y="1"/>
                  <a:pt x="13" y="1"/>
                </a:cubicBezTo>
                <a:cubicBezTo>
                  <a:pt x="12" y="1"/>
                  <a:pt x="12" y="1"/>
                  <a:pt x="11" y="1"/>
                </a:cubicBezTo>
                <a:cubicBezTo>
                  <a:pt x="11" y="0"/>
                  <a:pt x="10" y="0"/>
                  <a:pt x="9" y="0"/>
                </a:cubicBezTo>
                <a:cubicBezTo>
                  <a:pt x="9" y="0"/>
                  <a:pt x="9" y="0"/>
                  <a:pt x="8" y="0"/>
                </a:cubicBezTo>
                <a:cubicBezTo>
                  <a:pt x="7" y="0"/>
                  <a:pt x="7" y="0"/>
                  <a:pt x="6" y="0"/>
                </a:cubicBezTo>
                <a:cubicBezTo>
                  <a:pt x="5" y="0"/>
                  <a:pt x="5" y="1"/>
                  <a:pt x="4" y="1"/>
                </a:cubicBezTo>
                <a:cubicBezTo>
                  <a:pt x="4" y="0"/>
                  <a:pt x="2" y="0"/>
                  <a:pt x="2" y="1"/>
                </a:cubicBezTo>
                <a:cubicBezTo>
                  <a:pt x="1" y="2"/>
                  <a:pt x="1" y="2"/>
                  <a:pt x="0" y="3"/>
                </a:cubicBezTo>
                <a:cubicBezTo>
                  <a:pt x="0" y="3"/>
                  <a:pt x="1" y="3"/>
                  <a:pt x="1" y="3"/>
                </a:cubicBezTo>
                <a:cubicBezTo>
                  <a:pt x="2" y="3"/>
                  <a:pt x="2" y="3"/>
                  <a:pt x="3" y="3"/>
                </a:cubicBezTo>
                <a:cubicBezTo>
                  <a:pt x="4" y="3"/>
                  <a:pt x="3" y="4"/>
                  <a:pt x="4" y="5"/>
                </a:cubicBezTo>
                <a:cubicBezTo>
                  <a:pt x="4" y="5"/>
                  <a:pt x="5" y="5"/>
                  <a:pt x="5" y="5"/>
                </a:cubicBezTo>
                <a:cubicBezTo>
                  <a:pt x="5" y="6"/>
                  <a:pt x="5" y="6"/>
                  <a:pt x="6" y="7"/>
                </a:cubicBezTo>
                <a:cubicBezTo>
                  <a:pt x="6" y="7"/>
                  <a:pt x="7" y="7"/>
                  <a:pt x="7" y="7"/>
                </a:cubicBezTo>
                <a:cubicBezTo>
                  <a:pt x="8" y="7"/>
                  <a:pt x="8" y="7"/>
                  <a:pt x="9" y="7"/>
                </a:cubicBezTo>
                <a:cubicBezTo>
                  <a:pt x="10" y="7"/>
                  <a:pt x="10" y="9"/>
                  <a:pt x="11" y="9"/>
                </a:cubicBezTo>
                <a:cubicBezTo>
                  <a:pt x="12" y="9"/>
                  <a:pt x="11" y="8"/>
                  <a:pt x="11" y="8"/>
                </a:cubicBezTo>
                <a:cubicBezTo>
                  <a:pt x="11" y="8"/>
                  <a:pt x="12" y="7"/>
                  <a:pt x="12" y="7"/>
                </a:cubicBezTo>
                <a:cubicBezTo>
                  <a:pt x="12" y="6"/>
                  <a:pt x="13" y="7"/>
                  <a:pt x="13" y="7"/>
                </a:cubicBezTo>
                <a:cubicBezTo>
                  <a:pt x="13" y="7"/>
                  <a:pt x="14" y="7"/>
                  <a:pt x="14" y="6"/>
                </a:cubicBezTo>
                <a:cubicBezTo>
                  <a:pt x="14" y="6"/>
                  <a:pt x="14" y="5"/>
                  <a:pt x="15" y="6"/>
                </a:cubicBezTo>
                <a:cubicBezTo>
                  <a:pt x="15" y="6"/>
                  <a:pt x="16" y="6"/>
                  <a:pt x="16" y="6"/>
                </a:cubicBezTo>
                <a:cubicBezTo>
                  <a:pt x="15" y="6"/>
                  <a:pt x="15" y="6"/>
                  <a:pt x="15" y="6"/>
                </a:cubicBezTo>
                <a:cubicBezTo>
                  <a:pt x="15" y="6"/>
                  <a:pt x="16" y="6"/>
                  <a:pt x="16" y="6"/>
                </a:cubicBezTo>
                <a:cubicBezTo>
                  <a:pt x="17" y="7"/>
                  <a:pt x="17" y="7"/>
                  <a:pt x="17" y="7"/>
                </a:cubicBezTo>
                <a:cubicBezTo>
                  <a:pt x="18" y="8"/>
                  <a:pt x="19" y="7"/>
                  <a:pt x="20" y="7"/>
                </a:cubicBezTo>
                <a:cubicBezTo>
                  <a:pt x="19" y="7"/>
                  <a:pt x="21" y="6"/>
                  <a:pt x="21" y="6"/>
                </a:cubicBezTo>
                <a:cubicBezTo>
                  <a:pt x="21" y="6"/>
                  <a:pt x="20" y="5"/>
                  <a:pt x="20" y="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29" name="Italy"/>
          <p:cNvSpPr>
            <a:spLocks noEditPoints="1"/>
          </p:cNvSpPr>
          <p:nvPr/>
        </p:nvSpPr>
        <p:spPr bwMode="auto">
          <a:xfrm>
            <a:off x="6038074" y="2798007"/>
            <a:ext cx="382986" cy="411984"/>
          </a:xfrm>
          <a:custGeom>
            <a:avLst/>
            <a:gdLst/>
            <a:ahLst/>
            <a:cxnLst>
              <a:cxn ang="0">
                <a:pos x="87" y="63"/>
              </a:cxn>
              <a:cxn ang="0">
                <a:pos x="71" y="53"/>
              </a:cxn>
              <a:cxn ang="0">
                <a:pos x="58" y="37"/>
              </a:cxn>
              <a:cxn ang="0">
                <a:pos x="50" y="25"/>
              </a:cxn>
              <a:cxn ang="0">
                <a:pos x="49" y="22"/>
              </a:cxn>
              <a:cxn ang="0">
                <a:pos x="50" y="17"/>
              </a:cxn>
              <a:cxn ang="0">
                <a:pos x="56" y="14"/>
              </a:cxn>
              <a:cxn ang="0">
                <a:pos x="63" y="16"/>
              </a:cxn>
              <a:cxn ang="0">
                <a:pos x="60" y="9"/>
              </a:cxn>
              <a:cxn ang="0">
                <a:pos x="56" y="5"/>
              </a:cxn>
              <a:cxn ang="0">
                <a:pos x="48" y="0"/>
              </a:cxn>
              <a:cxn ang="0">
                <a:pos x="36" y="3"/>
              </a:cxn>
              <a:cxn ang="0">
                <a:pos x="32" y="5"/>
              </a:cxn>
              <a:cxn ang="0">
                <a:pos x="30" y="8"/>
              </a:cxn>
              <a:cxn ang="0">
                <a:pos x="23" y="8"/>
              </a:cxn>
              <a:cxn ang="0">
                <a:pos x="19" y="11"/>
              </a:cxn>
              <a:cxn ang="0">
                <a:pos x="13" y="11"/>
              </a:cxn>
              <a:cxn ang="0">
                <a:pos x="4" y="13"/>
              </a:cxn>
              <a:cxn ang="0">
                <a:pos x="4" y="20"/>
              </a:cxn>
              <a:cxn ang="0">
                <a:pos x="3" y="27"/>
              </a:cxn>
              <a:cxn ang="0">
                <a:pos x="8" y="34"/>
              </a:cxn>
              <a:cxn ang="0">
                <a:pos x="15" y="31"/>
              </a:cxn>
              <a:cxn ang="0">
                <a:pos x="28" y="32"/>
              </a:cxn>
              <a:cxn ang="0">
                <a:pos x="34" y="44"/>
              </a:cxn>
              <a:cxn ang="0">
                <a:pos x="39" y="50"/>
              </a:cxn>
              <a:cxn ang="0">
                <a:pos x="50" y="58"/>
              </a:cxn>
              <a:cxn ang="0">
                <a:pos x="62" y="63"/>
              </a:cxn>
              <a:cxn ang="0">
                <a:pos x="68" y="70"/>
              </a:cxn>
              <a:cxn ang="0">
                <a:pos x="74" y="74"/>
              </a:cxn>
              <a:cxn ang="0">
                <a:pos x="82" y="80"/>
              </a:cxn>
              <a:cxn ang="0">
                <a:pos x="83" y="93"/>
              </a:cxn>
              <a:cxn ang="0">
                <a:pos x="84" y="99"/>
              </a:cxn>
              <a:cxn ang="0">
                <a:pos x="93" y="89"/>
              </a:cxn>
              <a:cxn ang="0">
                <a:pos x="89" y="81"/>
              </a:cxn>
              <a:cxn ang="0">
                <a:pos x="94" y="72"/>
              </a:cxn>
              <a:cxn ang="0">
                <a:pos x="101" y="76"/>
              </a:cxn>
              <a:cxn ang="0">
                <a:pos x="51" y="34"/>
              </a:cxn>
              <a:cxn ang="0">
                <a:pos x="78" y="100"/>
              </a:cxn>
              <a:cxn ang="0">
                <a:pos x="78" y="109"/>
              </a:cxn>
              <a:cxn ang="0">
                <a:pos x="74" y="113"/>
              </a:cxn>
              <a:cxn ang="0">
                <a:pos x="62" y="107"/>
              </a:cxn>
              <a:cxn ang="0">
                <a:pos x="52" y="101"/>
              </a:cxn>
              <a:cxn ang="0">
                <a:pos x="55" y="98"/>
              </a:cxn>
              <a:cxn ang="0">
                <a:pos x="65" y="98"/>
              </a:cxn>
              <a:cxn ang="0">
                <a:pos x="78" y="96"/>
              </a:cxn>
              <a:cxn ang="0">
                <a:pos x="27" y="77"/>
              </a:cxn>
              <a:cxn ang="0">
                <a:pos x="25" y="86"/>
              </a:cxn>
              <a:cxn ang="0">
                <a:pos x="21" y="88"/>
              </a:cxn>
              <a:cxn ang="0">
                <a:pos x="16" y="88"/>
              </a:cxn>
              <a:cxn ang="0">
                <a:pos x="15" y="82"/>
              </a:cxn>
              <a:cxn ang="0">
                <a:pos x="15" y="78"/>
              </a:cxn>
              <a:cxn ang="0">
                <a:pos x="14" y="70"/>
              </a:cxn>
              <a:cxn ang="0">
                <a:pos x="14" y="67"/>
              </a:cxn>
              <a:cxn ang="0">
                <a:pos x="22" y="63"/>
              </a:cxn>
              <a:cxn ang="0">
                <a:pos x="25" y="66"/>
              </a:cxn>
              <a:cxn ang="0">
                <a:pos x="26" y="67"/>
              </a:cxn>
              <a:cxn ang="0">
                <a:pos x="32" y="47"/>
              </a:cxn>
            </a:cxnLst>
            <a:rect l="0" t="0" r="r" b="b"/>
            <a:pathLst>
              <a:path w="106" h="114">
                <a:moveTo>
                  <a:pt x="104" y="73"/>
                </a:moveTo>
                <a:cubicBezTo>
                  <a:pt x="104" y="73"/>
                  <a:pt x="103" y="72"/>
                  <a:pt x="103" y="72"/>
                </a:cubicBezTo>
                <a:cubicBezTo>
                  <a:pt x="102" y="71"/>
                  <a:pt x="101" y="71"/>
                  <a:pt x="101" y="71"/>
                </a:cubicBezTo>
                <a:cubicBezTo>
                  <a:pt x="101" y="69"/>
                  <a:pt x="99" y="69"/>
                  <a:pt x="97" y="68"/>
                </a:cubicBezTo>
                <a:cubicBezTo>
                  <a:pt x="96" y="68"/>
                  <a:pt x="95" y="66"/>
                  <a:pt x="93" y="65"/>
                </a:cubicBezTo>
                <a:cubicBezTo>
                  <a:pt x="92" y="65"/>
                  <a:pt x="90" y="64"/>
                  <a:pt x="89" y="64"/>
                </a:cubicBezTo>
                <a:cubicBezTo>
                  <a:pt x="88" y="64"/>
                  <a:pt x="88" y="63"/>
                  <a:pt x="87" y="63"/>
                </a:cubicBezTo>
                <a:cubicBezTo>
                  <a:pt x="86" y="62"/>
                  <a:pt x="84" y="62"/>
                  <a:pt x="83" y="61"/>
                </a:cubicBezTo>
                <a:cubicBezTo>
                  <a:pt x="82" y="61"/>
                  <a:pt x="81" y="60"/>
                  <a:pt x="82" y="59"/>
                </a:cubicBezTo>
                <a:cubicBezTo>
                  <a:pt x="82" y="58"/>
                  <a:pt x="84" y="58"/>
                  <a:pt x="84" y="57"/>
                </a:cubicBezTo>
                <a:cubicBezTo>
                  <a:pt x="85" y="55"/>
                  <a:pt x="80" y="56"/>
                  <a:pt x="79" y="56"/>
                </a:cubicBezTo>
                <a:cubicBezTo>
                  <a:pt x="78" y="56"/>
                  <a:pt x="77" y="56"/>
                  <a:pt x="76" y="56"/>
                </a:cubicBezTo>
                <a:cubicBezTo>
                  <a:pt x="75" y="56"/>
                  <a:pt x="75" y="56"/>
                  <a:pt x="74" y="55"/>
                </a:cubicBezTo>
                <a:cubicBezTo>
                  <a:pt x="73" y="55"/>
                  <a:pt x="72" y="55"/>
                  <a:pt x="71" y="53"/>
                </a:cubicBezTo>
                <a:cubicBezTo>
                  <a:pt x="71" y="53"/>
                  <a:pt x="70" y="53"/>
                  <a:pt x="70" y="52"/>
                </a:cubicBezTo>
                <a:cubicBezTo>
                  <a:pt x="69" y="52"/>
                  <a:pt x="69" y="51"/>
                  <a:pt x="68" y="51"/>
                </a:cubicBezTo>
                <a:cubicBezTo>
                  <a:pt x="67" y="50"/>
                  <a:pt x="66" y="49"/>
                  <a:pt x="65" y="48"/>
                </a:cubicBezTo>
                <a:cubicBezTo>
                  <a:pt x="64" y="47"/>
                  <a:pt x="64" y="45"/>
                  <a:pt x="63" y="44"/>
                </a:cubicBezTo>
                <a:cubicBezTo>
                  <a:pt x="63" y="43"/>
                  <a:pt x="63" y="42"/>
                  <a:pt x="63" y="41"/>
                </a:cubicBezTo>
                <a:cubicBezTo>
                  <a:pt x="62" y="40"/>
                  <a:pt x="62" y="40"/>
                  <a:pt x="61" y="39"/>
                </a:cubicBezTo>
                <a:cubicBezTo>
                  <a:pt x="61" y="37"/>
                  <a:pt x="60" y="38"/>
                  <a:pt x="58" y="37"/>
                </a:cubicBezTo>
                <a:cubicBezTo>
                  <a:pt x="58" y="36"/>
                  <a:pt x="57" y="36"/>
                  <a:pt x="56" y="35"/>
                </a:cubicBezTo>
                <a:cubicBezTo>
                  <a:pt x="56" y="35"/>
                  <a:pt x="55" y="34"/>
                  <a:pt x="55" y="34"/>
                </a:cubicBezTo>
                <a:cubicBezTo>
                  <a:pt x="54" y="34"/>
                  <a:pt x="53" y="34"/>
                  <a:pt x="52" y="33"/>
                </a:cubicBezTo>
                <a:cubicBezTo>
                  <a:pt x="52" y="33"/>
                  <a:pt x="51" y="32"/>
                  <a:pt x="51" y="32"/>
                </a:cubicBezTo>
                <a:cubicBezTo>
                  <a:pt x="50" y="30"/>
                  <a:pt x="50" y="29"/>
                  <a:pt x="49" y="27"/>
                </a:cubicBezTo>
                <a:cubicBezTo>
                  <a:pt x="49" y="27"/>
                  <a:pt x="49" y="24"/>
                  <a:pt x="50" y="24"/>
                </a:cubicBezTo>
                <a:cubicBezTo>
                  <a:pt x="50" y="25"/>
                  <a:pt x="50" y="25"/>
                  <a:pt x="50" y="25"/>
                </a:cubicBezTo>
                <a:cubicBezTo>
                  <a:pt x="51" y="24"/>
                  <a:pt x="50" y="24"/>
                  <a:pt x="51" y="24"/>
                </a:cubicBezTo>
                <a:cubicBezTo>
                  <a:pt x="51" y="24"/>
                  <a:pt x="51" y="24"/>
                  <a:pt x="51" y="24"/>
                </a:cubicBezTo>
                <a:cubicBezTo>
                  <a:pt x="51" y="24"/>
                  <a:pt x="51" y="24"/>
                  <a:pt x="51" y="23"/>
                </a:cubicBezTo>
                <a:cubicBezTo>
                  <a:pt x="52" y="23"/>
                  <a:pt x="51" y="23"/>
                  <a:pt x="51" y="23"/>
                </a:cubicBezTo>
                <a:cubicBezTo>
                  <a:pt x="51" y="23"/>
                  <a:pt x="50" y="22"/>
                  <a:pt x="50" y="22"/>
                </a:cubicBezTo>
                <a:cubicBezTo>
                  <a:pt x="50" y="22"/>
                  <a:pt x="50" y="22"/>
                  <a:pt x="50" y="22"/>
                </a:cubicBezTo>
                <a:cubicBezTo>
                  <a:pt x="50" y="22"/>
                  <a:pt x="49" y="22"/>
                  <a:pt x="49" y="22"/>
                </a:cubicBezTo>
                <a:cubicBezTo>
                  <a:pt x="50" y="21"/>
                  <a:pt x="50" y="21"/>
                  <a:pt x="50" y="21"/>
                </a:cubicBezTo>
                <a:cubicBezTo>
                  <a:pt x="50" y="21"/>
                  <a:pt x="49" y="20"/>
                  <a:pt x="49" y="20"/>
                </a:cubicBezTo>
                <a:cubicBezTo>
                  <a:pt x="49" y="21"/>
                  <a:pt x="49" y="20"/>
                  <a:pt x="49" y="19"/>
                </a:cubicBezTo>
                <a:cubicBezTo>
                  <a:pt x="49" y="20"/>
                  <a:pt x="48" y="19"/>
                  <a:pt x="48" y="19"/>
                </a:cubicBezTo>
                <a:cubicBezTo>
                  <a:pt x="48" y="19"/>
                  <a:pt x="49" y="20"/>
                  <a:pt x="49" y="19"/>
                </a:cubicBezTo>
                <a:cubicBezTo>
                  <a:pt x="49" y="19"/>
                  <a:pt x="49" y="18"/>
                  <a:pt x="49" y="18"/>
                </a:cubicBezTo>
                <a:cubicBezTo>
                  <a:pt x="49" y="17"/>
                  <a:pt x="50" y="18"/>
                  <a:pt x="50" y="17"/>
                </a:cubicBezTo>
                <a:cubicBezTo>
                  <a:pt x="50" y="17"/>
                  <a:pt x="50" y="17"/>
                  <a:pt x="50" y="17"/>
                </a:cubicBezTo>
                <a:cubicBezTo>
                  <a:pt x="51" y="17"/>
                  <a:pt x="51" y="17"/>
                  <a:pt x="51" y="17"/>
                </a:cubicBezTo>
                <a:cubicBezTo>
                  <a:pt x="51" y="16"/>
                  <a:pt x="51" y="17"/>
                  <a:pt x="52" y="17"/>
                </a:cubicBezTo>
                <a:cubicBezTo>
                  <a:pt x="51" y="17"/>
                  <a:pt x="51" y="17"/>
                  <a:pt x="50" y="18"/>
                </a:cubicBezTo>
                <a:cubicBezTo>
                  <a:pt x="52" y="18"/>
                  <a:pt x="53" y="17"/>
                  <a:pt x="54" y="16"/>
                </a:cubicBezTo>
                <a:cubicBezTo>
                  <a:pt x="55" y="16"/>
                  <a:pt x="56" y="16"/>
                  <a:pt x="57" y="15"/>
                </a:cubicBezTo>
                <a:cubicBezTo>
                  <a:pt x="56" y="15"/>
                  <a:pt x="56" y="15"/>
                  <a:pt x="56" y="14"/>
                </a:cubicBezTo>
                <a:cubicBezTo>
                  <a:pt x="56" y="14"/>
                  <a:pt x="57" y="14"/>
                  <a:pt x="57" y="14"/>
                </a:cubicBezTo>
                <a:cubicBezTo>
                  <a:pt x="58" y="14"/>
                  <a:pt x="60" y="15"/>
                  <a:pt x="59" y="15"/>
                </a:cubicBezTo>
                <a:cubicBezTo>
                  <a:pt x="59" y="15"/>
                  <a:pt x="60" y="15"/>
                  <a:pt x="60" y="15"/>
                </a:cubicBezTo>
                <a:cubicBezTo>
                  <a:pt x="60" y="14"/>
                  <a:pt x="61" y="14"/>
                  <a:pt x="61" y="14"/>
                </a:cubicBezTo>
                <a:cubicBezTo>
                  <a:pt x="62" y="15"/>
                  <a:pt x="62" y="16"/>
                  <a:pt x="62" y="16"/>
                </a:cubicBezTo>
                <a:cubicBezTo>
                  <a:pt x="62" y="16"/>
                  <a:pt x="62" y="16"/>
                  <a:pt x="62" y="16"/>
                </a:cubicBezTo>
                <a:cubicBezTo>
                  <a:pt x="62" y="16"/>
                  <a:pt x="63" y="16"/>
                  <a:pt x="63" y="16"/>
                </a:cubicBezTo>
                <a:cubicBezTo>
                  <a:pt x="63" y="15"/>
                  <a:pt x="63" y="15"/>
                  <a:pt x="62" y="15"/>
                </a:cubicBezTo>
                <a:cubicBezTo>
                  <a:pt x="62" y="14"/>
                  <a:pt x="60" y="14"/>
                  <a:pt x="61" y="13"/>
                </a:cubicBezTo>
                <a:cubicBezTo>
                  <a:pt x="61" y="13"/>
                  <a:pt x="61" y="12"/>
                  <a:pt x="61" y="12"/>
                </a:cubicBezTo>
                <a:cubicBezTo>
                  <a:pt x="60" y="12"/>
                  <a:pt x="60" y="12"/>
                  <a:pt x="60" y="12"/>
                </a:cubicBezTo>
                <a:cubicBezTo>
                  <a:pt x="59" y="11"/>
                  <a:pt x="61" y="10"/>
                  <a:pt x="61" y="10"/>
                </a:cubicBezTo>
                <a:cubicBezTo>
                  <a:pt x="61" y="10"/>
                  <a:pt x="60" y="10"/>
                  <a:pt x="60" y="9"/>
                </a:cubicBezTo>
                <a:cubicBezTo>
                  <a:pt x="60" y="9"/>
                  <a:pt x="60" y="9"/>
                  <a:pt x="60" y="9"/>
                </a:cubicBezTo>
                <a:cubicBezTo>
                  <a:pt x="59" y="9"/>
                  <a:pt x="59" y="9"/>
                  <a:pt x="59" y="9"/>
                </a:cubicBezTo>
                <a:cubicBezTo>
                  <a:pt x="59" y="10"/>
                  <a:pt x="59" y="8"/>
                  <a:pt x="59" y="8"/>
                </a:cubicBezTo>
                <a:cubicBezTo>
                  <a:pt x="59" y="8"/>
                  <a:pt x="59" y="8"/>
                  <a:pt x="60" y="8"/>
                </a:cubicBezTo>
                <a:cubicBezTo>
                  <a:pt x="61" y="7"/>
                  <a:pt x="61" y="7"/>
                  <a:pt x="62" y="6"/>
                </a:cubicBezTo>
                <a:cubicBezTo>
                  <a:pt x="61" y="6"/>
                  <a:pt x="61" y="6"/>
                  <a:pt x="60" y="6"/>
                </a:cubicBezTo>
                <a:cubicBezTo>
                  <a:pt x="60" y="6"/>
                  <a:pt x="60" y="6"/>
                  <a:pt x="59" y="6"/>
                </a:cubicBezTo>
                <a:cubicBezTo>
                  <a:pt x="58" y="6"/>
                  <a:pt x="57" y="5"/>
                  <a:pt x="56" y="5"/>
                </a:cubicBezTo>
                <a:cubicBezTo>
                  <a:pt x="54" y="5"/>
                  <a:pt x="53" y="5"/>
                  <a:pt x="51" y="4"/>
                </a:cubicBezTo>
                <a:cubicBezTo>
                  <a:pt x="51" y="4"/>
                  <a:pt x="50" y="4"/>
                  <a:pt x="50" y="4"/>
                </a:cubicBezTo>
                <a:cubicBezTo>
                  <a:pt x="50" y="3"/>
                  <a:pt x="50" y="3"/>
                  <a:pt x="49" y="3"/>
                </a:cubicBezTo>
                <a:cubicBezTo>
                  <a:pt x="49" y="3"/>
                  <a:pt x="49" y="3"/>
                  <a:pt x="49" y="2"/>
                </a:cubicBezTo>
                <a:cubicBezTo>
                  <a:pt x="49" y="2"/>
                  <a:pt x="49" y="2"/>
                  <a:pt x="48" y="2"/>
                </a:cubicBezTo>
                <a:cubicBezTo>
                  <a:pt x="48" y="2"/>
                  <a:pt x="48" y="1"/>
                  <a:pt x="48" y="1"/>
                </a:cubicBezTo>
                <a:cubicBezTo>
                  <a:pt x="49" y="0"/>
                  <a:pt x="48" y="0"/>
                  <a:pt x="48" y="0"/>
                </a:cubicBezTo>
                <a:cubicBezTo>
                  <a:pt x="47" y="0"/>
                  <a:pt x="45" y="2"/>
                  <a:pt x="44" y="1"/>
                </a:cubicBezTo>
                <a:cubicBezTo>
                  <a:pt x="43" y="1"/>
                  <a:pt x="43" y="1"/>
                  <a:pt x="42" y="1"/>
                </a:cubicBezTo>
                <a:cubicBezTo>
                  <a:pt x="42" y="1"/>
                  <a:pt x="42" y="1"/>
                  <a:pt x="42" y="1"/>
                </a:cubicBezTo>
                <a:cubicBezTo>
                  <a:pt x="41" y="1"/>
                  <a:pt x="41" y="1"/>
                  <a:pt x="41" y="1"/>
                </a:cubicBezTo>
                <a:cubicBezTo>
                  <a:pt x="40" y="1"/>
                  <a:pt x="39" y="1"/>
                  <a:pt x="39" y="2"/>
                </a:cubicBezTo>
                <a:cubicBezTo>
                  <a:pt x="39" y="2"/>
                  <a:pt x="39" y="3"/>
                  <a:pt x="38" y="3"/>
                </a:cubicBezTo>
                <a:cubicBezTo>
                  <a:pt x="38" y="4"/>
                  <a:pt x="36" y="3"/>
                  <a:pt x="36" y="3"/>
                </a:cubicBezTo>
                <a:cubicBezTo>
                  <a:pt x="36" y="3"/>
                  <a:pt x="36" y="3"/>
                  <a:pt x="36" y="3"/>
                </a:cubicBezTo>
                <a:cubicBezTo>
                  <a:pt x="36" y="3"/>
                  <a:pt x="36" y="2"/>
                  <a:pt x="35" y="2"/>
                </a:cubicBezTo>
                <a:cubicBezTo>
                  <a:pt x="35" y="2"/>
                  <a:pt x="34" y="3"/>
                  <a:pt x="34" y="2"/>
                </a:cubicBezTo>
                <a:cubicBezTo>
                  <a:pt x="33" y="3"/>
                  <a:pt x="33" y="4"/>
                  <a:pt x="33" y="4"/>
                </a:cubicBezTo>
                <a:cubicBezTo>
                  <a:pt x="33" y="5"/>
                  <a:pt x="33" y="5"/>
                  <a:pt x="34" y="5"/>
                </a:cubicBezTo>
                <a:cubicBezTo>
                  <a:pt x="34" y="5"/>
                  <a:pt x="34" y="6"/>
                  <a:pt x="33" y="6"/>
                </a:cubicBezTo>
                <a:cubicBezTo>
                  <a:pt x="33" y="6"/>
                  <a:pt x="32" y="6"/>
                  <a:pt x="32" y="5"/>
                </a:cubicBezTo>
                <a:cubicBezTo>
                  <a:pt x="32" y="5"/>
                  <a:pt x="31" y="5"/>
                  <a:pt x="31" y="5"/>
                </a:cubicBezTo>
                <a:cubicBezTo>
                  <a:pt x="31" y="5"/>
                  <a:pt x="30" y="5"/>
                  <a:pt x="30" y="5"/>
                </a:cubicBezTo>
                <a:cubicBezTo>
                  <a:pt x="30" y="6"/>
                  <a:pt x="30" y="6"/>
                  <a:pt x="30" y="6"/>
                </a:cubicBezTo>
                <a:cubicBezTo>
                  <a:pt x="30" y="7"/>
                  <a:pt x="31" y="7"/>
                  <a:pt x="31" y="7"/>
                </a:cubicBezTo>
                <a:cubicBezTo>
                  <a:pt x="31" y="8"/>
                  <a:pt x="30" y="8"/>
                  <a:pt x="30" y="8"/>
                </a:cubicBezTo>
                <a:cubicBezTo>
                  <a:pt x="30" y="8"/>
                  <a:pt x="31" y="8"/>
                  <a:pt x="31" y="9"/>
                </a:cubicBezTo>
                <a:cubicBezTo>
                  <a:pt x="31" y="10"/>
                  <a:pt x="30" y="9"/>
                  <a:pt x="30" y="8"/>
                </a:cubicBezTo>
                <a:cubicBezTo>
                  <a:pt x="29" y="8"/>
                  <a:pt x="29" y="7"/>
                  <a:pt x="28" y="8"/>
                </a:cubicBezTo>
                <a:cubicBezTo>
                  <a:pt x="28" y="8"/>
                  <a:pt x="27" y="8"/>
                  <a:pt x="27" y="8"/>
                </a:cubicBezTo>
                <a:cubicBezTo>
                  <a:pt x="27" y="8"/>
                  <a:pt x="27" y="8"/>
                  <a:pt x="26" y="9"/>
                </a:cubicBezTo>
                <a:cubicBezTo>
                  <a:pt x="26" y="9"/>
                  <a:pt x="25" y="8"/>
                  <a:pt x="25" y="7"/>
                </a:cubicBezTo>
                <a:cubicBezTo>
                  <a:pt x="25" y="7"/>
                  <a:pt x="25" y="6"/>
                  <a:pt x="24" y="6"/>
                </a:cubicBezTo>
                <a:cubicBezTo>
                  <a:pt x="24" y="7"/>
                  <a:pt x="24" y="6"/>
                  <a:pt x="24" y="6"/>
                </a:cubicBezTo>
                <a:cubicBezTo>
                  <a:pt x="23" y="6"/>
                  <a:pt x="23" y="7"/>
                  <a:pt x="23" y="8"/>
                </a:cubicBezTo>
                <a:cubicBezTo>
                  <a:pt x="23" y="9"/>
                  <a:pt x="22" y="9"/>
                  <a:pt x="22" y="10"/>
                </a:cubicBezTo>
                <a:cubicBezTo>
                  <a:pt x="22" y="10"/>
                  <a:pt x="22" y="11"/>
                  <a:pt x="21" y="11"/>
                </a:cubicBezTo>
                <a:cubicBezTo>
                  <a:pt x="21" y="11"/>
                  <a:pt x="21" y="11"/>
                  <a:pt x="21" y="12"/>
                </a:cubicBezTo>
                <a:cubicBezTo>
                  <a:pt x="21" y="12"/>
                  <a:pt x="21" y="12"/>
                  <a:pt x="21" y="13"/>
                </a:cubicBezTo>
                <a:cubicBezTo>
                  <a:pt x="22" y="14"/>
                  <a:pt x="20" y="13"/>
                  <a:pt x="20" y="13"/>
                </a:cubicBezTo>
                <a:cubicBezTo>
                  <a:pt x="21" y="13"/>
                  <a:pt x="20" y="12"/>
                  <a:pt x="19" y="12"/>
                </a:cubicBezTo>
                <a:cubicBezTo>
                  <a:pt x="19" y="12"/>
                  <a:pt x="20" y="11"/>
                  <a:pt x="19" y="11"/>
                </a:cubicBezTo>
                <a:cubicBezTo>
                  <a:pt x="19" y="10"/>
                  <a:pt x="18" y="11"/>
                  <a:pt x="18" y="10"/>
                </a:cubicBezTo>
                <a:cubicBezTo>
                  <a:pt x="17" y="10"/>
                  <a:pt x="17" y="10"/>
                  <a:pt x="16" y="9"/>
                </a:cubicBezTo>
                <a:cubicBezTo>
                  <a:pt x="16" y="9"/>
                  <a:pt x="16" y="8"/>
                  <a:pt x="16" y="8"/>
                </a:cubicBezTo>
                <a:cubicBezTo>
                  <a:pt x="16" y="7"/>
                  <a:pt x="16" y="7"/>
                  <a:pt x="16" y="7"/>
                </a:cubicBezTo>
                <a:cubicBezTo>
                  <a:pt x="15" y="7"/>
                  <a:pt x="15" y="9"/>
                  <a:pt x="14" y="8"/>
                </a:cubicBezTo>
                <a:cubicBezTo>
                  <a:pt x="13" y="8"/>
                  <a:pt x="13" y="9"/>
                  <a:pt x="13" y="9"/>
                </a:cubicBezTo>
                <a:cubicBezTo>
                  <a:pt x="14" y="10"/>
                  <a:pt x="13" y="10"/>
                  <a:pt x="13" y="11"/>
                </a:cubicBezTo>
                <a:cubicBezTo>
                  <a:pt x="13" y="11"/>
                  <a:pt x="12" y="11"/>
                  <a:pt x="12" y="11"/>
                </a:cubicBezTo>
                <a:cubicBezTo>
                  <a:pt x="12" y="11"/>
                  <a:pt x="12" y="12"/>
                  <a:pt x="12" y="12"/>
                </a:cubicBezTo>
                <a:cubicBezTo>
                  <a:pt x="11" y="12"/>
                  <a:pt x="11" y="12"/>
                  <a:pt x="11" y="12"/>
                </a:cubicBezTo>
                <a:cubicBezTo>
                  <a:pt x="10" y="13"/>
                  <a:pt x="9" y="12"/>
                  <a:pt x="9" y="12"/>
                </a:cubicBezTo>
                <a:cubicBezTo>
                  <a:pt x="8" y="12"/>
                  <a:pt x="8" y="12"/>
                  <a:pt x="7" y="12"/>
                </a:cubicBezTo>
                <a:cubicBezTo>
                  <a:pt x="7" y="13"/>
                  <a:pt x="6" y="13"/>
                  <a:pt x="5" y="13"/>
                </a:cubicBezTo>
                <a:cubicBezTo>
                  <a:pt x="5" y="13"/>
                  <a:pt x="4" y="13"/>
                  <a:pt x="4" y="13"/>
                </a:cubicBezTo>
                <a:cubicBezTo>
                  <a:pt x="4" y="12"/>
                  <a:pt x="4" y="13"/>
                  <a:pt x="3" y="13"/>
                </a:cubicBezTo>
                <a:cubicBezTo>
                  <a:pt x="3" y="13"/>
                  <a:pt x="2" y="13"/>
                  <a:pt x="2" y="14"/>
                </a:cubicBezTo>
                <a:cubicBezTo>
                  <a:pt x="2" y="15"/>
                  <a:pt x="2" y="15"/>
                  <a:pt x="3" y="15"/>
                </a:cubicBezTo>
                <a:cubicBezTo>
                  <a:pt x="3" y="16"/>
                  <a:pt x="3" y="16"/>
                  <a:pt x="3" y="16"/>
                </a:cubicBezTo>
                <a:cubicBezTo>
                  <a:pt x="3" y="17"/>
                  <a:pt x="4" y="17"/>
                  <a:pt x="4" y="18"/>
                </a:cubicBezTo>
                <a:cubicBezTo>
                  <a:pt x="5" y="18"/>
                  <a:pt x="5" y="18"/>
                  <a:pt x="5" y="19"/>
                </a:cubicBezTo>
                <a:cubicBezTo>
                  <a:pt x="4" y="19"/>
                  <a:pt x="5" y="20"/>
                  <a:pt x="4" y="20"/>
                </a:cubicBezTo>
                <a:cubicBezTo>
                  <a:pt x="4" y="20"/>
                  <a:pt x="3" y="20"/>
                  <a:pt x="3" y="21"/>
                </a:cubicBezTo>
                <a:cubicBezTo>
                  <a:pt x="2" y="21"/>
                  <a:pt x="2" y="21"/>
                  <a:pt x="1" y="21"/>
                </a:cubicBezTo>
                <a:cubicBezTo>
                  <a:pt x="0" y="21"/>
                  <a:pt x="0" y="22"/>
                  <a:pt x="1" y="22"/>
                </a:cubicBezTo>
                <a:cubicBezTo>
                  <a:pt x="1" y="23"/>
                  <a:pt x="1" y="23"/>
                  <a:pt x="1" y="23"/>
                </a:cubicBezTo>
                <a:cubicBezTo>
                  <a:pt x="2" y="24"/>
                  <a:pt x="3" y="24"/>
                  <a:pt x="3" y="24"/>
                </a:cubicBezTo>
                <a:cubicBezTo>
                  <a:pt x="3" y="25"/>
                  <a:pt x="4" y="26"/>
                  <a:pt x="4" y="26"/>
                </a:cubicBezTo>
                <a:cubicBezTo>
                  <a:pt x="3" y="26"/>
                  <a:pt x="3" y="26"/>
                  <a:pt x="3" y="27"/>
                </a:cubicBezTo>
                <a:cubicBezTo>
                  <a:pt x="2" y="27"/>
                  <a:pt x="2" y="27"/>
                  <a:pt x="2" y="28"/>
                </a:cubicBezTo>
                <a:cubicBezTo>
                  <a:pt x="3" y="29"/>
                  <a:pt x="2" y="29"/>
                  <a:pt x="2" y="29"/>
                </a:cubicBezTo>
                <a:cubicBezTo>
                  <a:pt x="2" y="30"/>
                  <a:pt x="4" y="31"/>
                  <a:pt x="5" y="31"/>
                </a:cubicBezTo>
                <a:cubicBezTo>
                  <a:pt x="6" y="31"/>
                  <a:pt x="6" y="32"/>
                  <a:pt x="7" y="32"/>
                </a:cubicBezTo>
                <a:cubicBezTo>
                  <a:pt x="8" y="32"/>
                  <a:pt x="8" y="31"/>
                  <a:pt x="9" y="31"/>
                </a:cubicBezTo>
                <a:cubicBezTo>
                  <a:pt x="9" y="31"/>
                  <a:pt x="10" y="32"/>
                  <a:pt x="9" y="33"/>
                </a:cubicBezTo>
                <a:cubicBezTo>
                  <a:pt x="9" y="33"/>
                  <a:pt x="9" y="34"/>
                  <a:pt x="8" y="34"/>
                </a:cubicBezTo>
                <a:cubicBezTo>
                  <a:pt x="8" y="34"/>
                  <a:pt x="7" y="35"/>
                  <a:pt x="8" y="35"/>
                </a:cubicBezTo>
                <a:cubicBezTo>
                  <a:pt x="8" y="36"/>
                  <a:pt x="9" y="36"/>
                  <a:pt x="9" y="36"/>
                </a:cubicBezTo>
                <a:cubicBezTo>
                  <a:pt x="10" y="36"/>
                  <a:pt x="11" y="35"/>
                  <a:pt x="12" y="35"/>
                </a:cubicBezTo>
                <a:cubicBezTo>
                  <a:pt x="12" y="35"/>
                  <a:pt x="13" y="34"/>
                  <a:pt x="13" y="34"/>
                </a:cubicBezTo>
                <a:cubicBezTo>
                  <a:pt x="13" y="34"/>
                  <a:pt x="13" y="34"/>
                  <a:pt x="13" y="33"/>
                </a:cubicBezTo>
                <a:cubicBezTo>
                  <a:pt x="13" y="33"/>
                  <a:pt x="14" y="33"/>
                  <a:pt x="14" y="33"/>
                </a:cubicBezTo>
                <a:cubicBezTo>
                  <a:pt x="14" y="32"/>
                  <a:pt x="14" y="32"/>
                  <a:pt x="15" y="31"/>
                </a:cubicBezTo>
                <a:cubicBezTo>
                  <a:pt x="16" y="31"/>
                  <a:pt x="16" y="30"/>
                  <a:pt x="16" y="30"/>
                </a:cubicBezTo>
                <a:cubicBezTo>
                  <a:pt x="17" y="29"/>
                  <a:pt x="18" y="29"/>
                  <a:pt x="19" y="29"/>
                </a:cubicBezTo>
                <a:cubicBezTo>
                  <a:pt x="19" y="29"/>
                  <a:pt x="20" y="29"/>
                  <a:pt x="21" y="29"/>
                </a:cubicBezTo>
                <a:cubicBezTo>
                  <a:pt x="22" y="29"/>
                  <a:pt x="22" y="30"/>
                  <a:pt x="23" y="30"/>
                </a:cubicBezTo>
                <a:cubicBezTo>
                  <a:pt x="22" y="29"/>
                  <a:pt x="24" y="30"/>
                  <a:pt x="24" y="31"/>
                </a:cubicBezTo>
                <a:cubicBezTo>
                  <a:pt x="26" y="31"/>
                  <a:pt x="27" y="32"/>
                  <a:pt x="28" y="33"/>
                </a:cubicBezTo>
                <a:cubicBezTo>
                  <a:pt x="28" y="33"/>
                  <a:pt x="28" y="32"/>
                  <a:pt x="28" y="32"/>
                </a:cubicBezTo>
                <a:cubicBezTo>
                  <a:pt x="28" y="32"/>
                  <a:pt x="29" y="33"/>
                  <a:pt x="29" y="33"/>
                </a:cubicBezTo>
                <a:cubicBezTo>
                  <a:pt x="30" y="33"/>
                  <a:pt x="30" y="33"/>
                  <a:pt x="31" y="34"/>
                </a:cubicBezTo>
                <a:cubicBezTo>
                  <a:pt x="32" y="35"/>
                  <a:pt x="32" y="36"/>
                  <a:pt x="32" y="37"/>
                </a:cubicBezTo>
                <a:cubicBezTo>
                  <a:pt x="32" y="37"/>
                  <a:pt x="32" y="39"/>
                  <a:pt x="32" y="39"/>
                </a:cubicBezTo>
                <a:cubicBezTo>
                  <a:pt x="33" y="40"/>
                  <a:pt x="34" y="41"/>
                  <a:pt x="34" y="42"/>
                </a:cubicBezTo>
                <a:cubicBezTo>
                  <a:pt x="34" y="42"/>
                  <a:pt x="34" y="43"/>
                  <a:pt x="34" y="43"/>
                </a:cubicBezTo>
                <a:cubicBezTo>
                  <a:pt x="34" y="44"/>
                  <a:pt x="34" y="44"/>
                  <a:pt x="34" y="44"/>
                </a:cubicBezTo>
                <a:cubicBezTo>
                  <a:pt x="34" y="45"/>
                  <a:pt x="35" y="45"/>
                  <a:pt x="36" y="45"/>
                </a:cubicBezTo>
                <a:cubicBezTo>
                  <a:pt x="36" y="45"/>
                  <a:pt x="37" y="46"/>
                  <a:pt x="36" y="46"/>
                </a:cubicBezTo>
                <a:cubicBezTo>
                  <a:pt x="36" y="47"/>
                  <a:pt x="38" y="47"/>
                  <a:pt x="38" y="47"/>
                </a:cubicBezTo>
                <a:cubicBezTo>
                  <a:pt x="38" y="48"/>
                  <a:pt x="39" y="48"/>
                  <a:pt x="39" y="48"/>
                </a:cubicBezTo>
                <a:cubicBezTo>
                  <a:pt x="39" y="49"/>
                  <a:pt x="39" y="49"/>
                  <a:pt x="40" y="49"/>
                </a:cubicBezTo>
                <a:cubicBezTo>
                  <a:pt x="40" y="49"/>
                  <a:pt x="40" y="50"/>
                  <a:pt x="40" y="50"/>
                </a:cubicBezTo>
                <a:cubicBezTo>
                  <a:pt x="40" y="50"/>
                  <a:pt x="39" y="50"/>
                  <a:pt x="39" y="50"/>
                </a:cubicBezTo>
                <a:cubicBezTo>
                  <a:pt x="39" y="51"/>
                  <a:pt x="40" y="51"/>
                  <a:pt x="40" y="51"/>
                </a:cubicBezTo>
                <a:cubicBezTo>
                  <a:pt x="40" y="51"/>
                  <a:pt x="40" y="51"/>
                  <a:pt x="40" y="51"/>
                </a:cubicBezTo>
                <a:cubicBezTo>
                  <a:pt x="41" y="50"/>
                  <a:pt x="43" y="52"/>
                  <a:pt x="44" y="52"/>
                </a:cubicBezTo>
                <a:cubicBezTo>
                  <a:pt x="45" y="53"/>
                  <a:pt x="45" y="53"/>
                  <a:pt x="45" y="54"/>
                </a:cubicBezTo>
                <a:cubicBezTo>
                  <a:pt x="46" y="55"/>
                  <a:pt x="46" y="55"/>
                  <a:pt x="47" y="55"/>
                </a:cubicBezTo>
                <a:cubicBezTo>
                  <a:pt x="48" y="55"/>
                  <a:pt x="48" y="56"/>
                  <a:pt x="49" y="57"/>
                </a:cubicBezTo>
                <a:cubicBezTo>
                  <a:pt x="49" y="58"/>
                  <a:pt x="49" y="58"/>
                  <a:pt x="50" y="58"/>
                </a:cubicBezTo>
                <a:cubicBezTo>
                  <a:pt x="51" y="59"/>
                  <a:pt x="52" y="59"/>
                  <a:pt x="52" y="60"/>
                </a:cubicBezTo>
                <a:cubicBezTo>
                  <a:pt x="53" y="61"/>
                  <a:pt x="53" y="61"/>
                  <a:pt x="54" y="61"/>
                </a:cubicBezTo>
                <a:cubicBezTo>
                  <a:pt x="54" y="62"/>
                  <a:pt x="55" y="61"/>
                  <a:pt x="56" y="62"/>
                </a:cubicBezTo>
                <a:cubicBezTo>
                  <a:pt x="56" y="63"/>
                  <a:pt x="56" y="64"/>
                  <a:pt x="57" y="63"/>
                </a:cubicBezTo>
                <a:cubicBezTo>
                  <a:pt x="58" y="63"/>
                  <a:pt x="59" y="63"/>
                  <a:pt x="59" y="63"/>
                </a:cubicBezTo>
                <a:cubicBezTo>
                  <a:pt x="60" y="63"/>
                  <a:pt x="61" y="64"/>
                  <a:pt x="61" y="64"/>
                </a:cubicBezTo>
                <a:cubicBezTo>
                  <a:pt x="61" y="63"/>
                  <a:pt x="62" y="63"/>
                  <a:pt x="62" y="63"/>
                </a:cubicBezTo>
                <a:cubicBezTo>
                  <a:pt x="63" y="63"/>
                  <a:pt x="63" y="64"/>
                  <a:pt x="64" y="64"/>
                </a:cubicBezTo>
                <a:cubicBezTo>
                  <a:pt x="64" y="65"/>
                  <a:pt x="65" y="66"/>
                  <a:pt x="65" y="66"/>
                </a:cubicBezTo>
                <a:cubicBezTo>
                  <a:pt x="65" y="67"/>
                  <a:pt x="66" y="68"/>
                  <a:pt x="66" y="68"/>
                </a:cubicBezTo>
                <a:cubicBezTo>
                  <a:pt x="66" y="68"/>
                  <a:pt x="66" y="68"/>
                  <a:pt x="67" y="68"/>
                </a:cubicBezTo>
                <a:cubicBezTo>
                  <a:pt x="67" y="68"/>
                  <a:pt x="67" y="68"/>
                  <a:pt x="67" y="68"/>
                </a:cubicBezTo>
                <a:cubicBezTo>
                  <a:pt x="68" y="68"/>
                  <a:pt x="70" y="69"/>
                  <a:pt x="69" y="69"/>
                </a:cubicBezTo>
                <a:cubicBezTo>
                  <a:pt x="69" y="70"/>
                  <a:pt x="68" y="70"/>
                  <a:pt x="68" y="70"/>
                </a:cubicBezTo>
                <a:cubicBezTo>
                  <a:pt x="68" y="71"/>
                  <a:pt x="69" y="70"/>
                  <a:pt x="69" y="70"/>
                </a:cubicBezTo>
                <a:cubicBezTo>
                  <a:pt x="70" y="70"/>
                  <a:pt x="70" y="70"/>
                  <a:pt x="70" y="70"/>
                </a:cubicBezTo>
                <a:cubicBezTo>
                  <a:pt x="71" y="70"/>
                  <a:pt x="71" y="70"/>
                  <a:pt x="71" y="70"/>
                </a:cubicBezTo>
                <a:cubicBezTo>
                  <a:pt x="71" y="70"/>
                  <a:pt x="71" y="70"/>
                  <a:pt x="72" y="70"/>
                </a:cubicBezTo>
                <a:cubicBezTo>
                  <a:pt x="73" y="69"/>
                  <a:pt x="73" y="71"/>
                  <a:pt x="74" y="72"/>
                </a:cubicBezTo>
                <a:cubicBezTo>
                  <a:pt x="74" y="73"/>
                  <a:pt x="74" y="73"/>
                  <a:pt x="74" y="74"/>
                </a:cubicBezTo>
                <a:cubicBezTo>
                  <a:pt x="74" y="74"/>
                  <a:pt x="73" y="74"/>
                  <a:pt x="74" y="74"/>
                </a:cubicBezTo>
                <a:cubicBezTo>
                  <a:pt x="74" y="75"/>
                  <a:pt x="74" y="75"/>
                  <a:pt x="75" y="75"/>
                </a:cubicBezTo>
                <a:cubicBezTo>
                  <a:pt x="75" y="75"/>
                  <a:pt x="77" y="76"/>
                  <a:pt x="77" y="77"/>
                </a:cubicBezTo>
                <a:cubicBezTo>
                  <a:pt x="77" y="76"/>
                  <a:pt x="78" y="77"/>
                  <a:pt x="78" y="77"/>
                </a:cubicBezTo>
                <a:cubicBezTo>
                  <a:pt x="78" y="76"/>
                  <a:pt x="79" y="76"/>
                  <a:pt x="79" y="76"/>
                </a:cubicBezTo>
                <a:cubicBezTo>
                  <a:pt x="80" y="76"/>
                  <a:pt x="80" y="77"/>
                  <a:pt x="81" y="77"/>
                </a:cubicBezTo>
                <a:cubicBezTo>
                  <a:pt x="81" y="78"/>
                  <a:pt x="81" y="78"/>
                  <a:pt x="81" y="79"/>
                </a:cubicBezTo>
                <a:cubicBezTo>
                  <a:pt x="81" y="79"/>
                  <a:pt x="81" y="80"/>
                  <a:pt x="82" y="80"/>
                </a:cubicBezTo>
                <a:cubicBezTo>
                  <a:pt x="82" y="81"/>
                  <a:pt x="82" y="81"/>
                  <a:pt x="82" y="82"/>
                </a:cubicBezTo>
                <a:cubicBezTo>
                  <a:pt x="83" y="82"/>
                  <a:pt x="83" y="83"/>
                  <a:pt x="83" y="83"/>
                </a:cubicBezTo>
                <a:cubicBezTo>
                  <a:pt x="84" y="84"/>
                  <a:pt x="84" y="85"/>
                  <a:pt x="84" y="85"/>
                </a:cubicBezTo>
                <a:cubicBezTo>
                  <a:pt x="84" y="86"/>
                  <a:pt x="84" y="88"/>
                  <a:pt x="85" y="89"/>
                </a:cubicBezTo>
                <a:cubicBezTo>
                  <a:pt x="86" y="89"/>
                  <a:pt x="85" y="91"/>
                  <a:pt x="84" y="91"/>
                </a:cubicBezTo>
                <a:cubicBezTo>
                  <a:pt x="84" y="91"/>
                  <a:pt x="82" y="91"/>
                  <a:pt x="82" y="92"/>
                </a:cubicBezTo>
                <a:cubicBezTo>
                  <a:pt x="82" y="93"/>
                  <a:pt x="83" y="92"/>
                  <a:pt x="83" y="93"/>
                </a:cubicBezTo>
                <a:cubicBezTo>
                  <a:pt x="83" y="94"/>
                  <a:pt x="82" y="94"/>
                  <a:pt x="82" y="95"/>
                </a:cubicBezTo>
                <a:cubicBezTo>
                  <a:pt x="82" y="96"/>
                  <a:pt x="81" y="96"/>
                  <a:pt x="81" y="96"/>
                </a:cubicBezTo>
                <a:cubicBezTo>
                  <a:pt x="80" y="96"/>
                  <a:pt x="80" y="96"/>
                  <a:pt x="80" y="97"/>
                </a:cubicBezTo>
                <a:cubicBezTo>
                  <a:pt x="80" y="97"/>
                  <a:pt x="80" y="97"/>
                  <a:pt x="80" y="97"/>
                </a:cubicBezTo>
                <a:cubicBezTo>
                  <a:pt x="80" y="98"/>
                  <a:pt x="80" y="98"/>
                  <a:pt x="80" y="98"/>
                </a:cubicBezTo>
                <a:cubicBezTo>
                  <a:pt x="81" y="99"/>
                  <a:pt x="80" y="99"/>
                  <a:pt x="81" y="99"/>
                </a:cubicBezTo>
                <a:cubicBezTo>
                  <a:pt x="82" y="100"/>
                  <a:pt x="84" y="100"/>
                  <a:pt x="84" y="99"/>
                </a:cubicBezTo>
                <a:cubicBezTo>
                  <a:pt x="85" y="99"/>
                  <a:pt x="85" y="98"/>
                  <a:pt x="85" y="98"/>
                </a:cubicBezTo>
                <a:cubicBezTo>
                  <a:pt x="85" y="97"/>
                  <a:pt x="86" y="97"/>
                  <a:pt x="86" y="96"/>
                </a:cubicBezTo>
                <a:cubicBezTo>
                  <a:pt x="87" y="95"/>
                  <a:pt x="88" y="95"/>
                  <a:pt x="88" y="94"/>
                </a:cubicBezTo>
                <a:cubicBezTo>
                  <a:pt x="89" y="94"/>
                  <a:pt x="89" y="92"/>
                  <a:pt x="88" y="91"/>
                </a:cubicBezTo>
                <a:cubicBezTo>
                  <a:pt x="88" y="90"/>
                  <a:pt x="89" y="89"/>
                  <a:pt x="90" y="89"/>
                </a:cubicBezTo>
                <a:cubicBezTo>
                  <a:pt x="91" y="89"/>
                  <a:pt x="92" y="88"/>
                  <a:pt x="92" y="89"/>
                </a:cubicBezTo>
                <a:cubicBezTo>
                  <a:pt x="93" y="89"/>
                  <a:pt x="93" y="88"/>
                  <a:pt x="93" y="89"/>
                </a:cubicBezTo>
                <a:cubicBezTo>
                  <a:pt x="94" y="89"/>
                  <a:pt x="94" y="88"/>
                  <a:pt x="94" y="88"/>
                </a:cubicBezTo>
                <a:cubicBezTo>
                  <a:pt x="94" y="88"/>
                  <a:pt x="94" y="88"/>
                  <a:pt x="94" y="87"/>
                </a:cubicBezTo>
                <a:cubicBezTo>
                  <a:pt x="93" y="87"/>
                  <a:pt x="94" y="86"/>
                  <a:pt x="93" y="85"/>
                </a:cubicBezTo>
                <a:cubicBezTo>
                  <a:pt x="93" y="84"/>
                  <a:pt x="94" y="84"/>
                  <a:pt x="94" y="84"/>
                </a:cubicBezTo>
                <a:cubicBezTo>
                  <a:pt x="94" y="83"/>
                  <a:pt x="93" y="83"/>
                  <a:pt x="93" y="83"/>
                </a:cubicBezTo>
                <a:cubicBezTo>
                  <a:pt x="92" y="82"/>
                  <a:pt x="92" y="82"/>
                  <a:pt x="91" y="82"/>
                </a:cubicBezTo>
                <a:cubicBezTo>
                  <a:pt x="90" y="81"/>
                  <a:pt x="90" y="81"/>
                  <a:pt x="89" y="81"/>
                </a:cubicBezTo>
                <a:cubicBezTo>
                  <a:pt x="88" y="81"/>
                  <a:pt x="88" y="81"/>
                  <a:pt x="88" y="80"/>
                </a:cubicBezTo>
                <a:cubicBezTo>
                  <a:pt x="87" y="79"/>
                  <a:pt x="88" y="78"/>
                  <a:pt x="88" y="78"/>
                </a:cubicBezTo>
                <a:cubicBezTo>
                  <a:pt x="89" y="77"/>
                  <a:pt x="89" y="77"/>
                  <a:pt x="89" y="77"/>
                </a:cubicBezTo>
                <a:cubicBezTo>
                  <a:pt x="88" y="76"/>
                  <a:pt x="89" y="76"/>
                  <a:pt x="89" y="75"/>
                </a:cubicBezTo>
                <a:cubicBezTo>
                  <a:pt x="90" y="75"/>
                  <a:pt x="90" y="74"/>
                  <a:pt x="90" y="74"/>
                </a:cubicBezTo>
                <a:cubicBezTo>
                  <a:pt x="91" y="73"/>
                  <a:pt x="92" y="71"/>
                  <a:pt x="93" y="71"/>
                </a:cubicBezTo>
                <a:cubicBezTo>
                  <a:pt x="93" y="71"/>
                  <a:pt x="93" y="72"/>
                  <a:pt x="94" y="72"/>
                </a:cubicBezTo>
                <a:cubicBezTo>
                  <a:pt x="94" y="72"/>
                  <a:pt x="94" y="71"/>
                  <a:pt x="94" y="71"/>
                </a:cubicBezTo>
                <a:cubicBezTo>
                  <a:pt x="94" y="71"/>
                  <a:pt x="95" y="71"/>
                  <a:pt x="95" y="72"/>
                </a:cubicBezTo>
                <a:cubicBezTo>
                  <a:pt x="95" y="72"/>
                  <a:pt x="94" y="72"/>
                  <a:pt x="94" y="72"/>
                </a:cubicBezTo>
                <a:cubicBezTo>
                  <a:pt x="94" y="72"/>
                  <a:pt x="94" y="72"/>
                  <a:pt x="94" y="72"/>
                </a:cubicBezTo>
                <a:cubicBezTo>
                  <a:pt x="94" y="73"/>
                  <a:pt x="96" y="73"/>
                  <a:pt x="96" y="73"/>
                </a:cubicBezTo>
                <a:cubicBezTo>
                  <a:pt x="97" y="74"/>
                  <a:pt x="98" y="73"/>
                  <a:pt x="99" y="74"/>
                </a:cubicBezTo>
                <a:cubicBezTo>
                  <a:pt x="100" y="74"/>
                  <a:pt x="102" y="76"/>
                  <a:pt x="101" y="76"/>
                </a:cubicBezTo>
                <a:cubicBezTo>
                  <a:pt x="101" y="76"/>
                  <a:pt x="101" y="77"/>
                  <a:pt x="101" y="77"/>
                </a:cubicBezTo>
                <a:cubicBezTo>
                  <a:pt x="102" y="78"/>
                  <a:pt x="103" y="78"/>
                  <a:pt x="104" y="79"/>
                </a:cubicBezTo>
                <a:cubicBezTo>
                  <a:pt x="105" y="79"/>
                  <a:pt x="104" y="78"/>
                  <a:pt x="105" y="77"/>
                </a:cubicBezTo>
                <a:cubicBezTo>
                  <a:pt x="105" y="76"/>
                  <a:pt x="106" y="76"/>
                  <a:pt x="106" y="75"/>
                </a:cubicBezTo>
                <a:cubicBezTo>
                  <a:pt x="105" y="75"/>
                  <a:pt x="105" y="74"/>
                  <a:pt x="104" y="73"/>
                </a:cubicBezTo>
                <a:close/>
                <a:moveTo>
                  <a:pt x="51" y="34"/>
                </a:moveTo>
                <a:cubicBezTo>
                  <a:pt x="51" y="35"/>
                  <a:pt x="50" y="34"/>
                  <a:pt x="51" y="34"/>
                </a:cubicBezTo>
                <a:cubicBezTo>
                  <a:pt x="51" y="33"/>
                  <a:pt x="52" y="33"/>
                  <a:pt x="51" y="34"/>
                </a:cubicBezTo>
                <a:close/>
                <a:moveTo>
                  <a:pt x="48" y="112"/>
                </a:moveTo>
                <a:cubicBezTo>
                  <a:pt x="48" y="112"/>
                  <a:pt x="47" y="111"/>
                  <a:pt x="48" y="111"/>
                </a:cubicBezTo>
                <a:cubicBezTo>
                  <a:pt x="48" y="111"/>
                  <a:pt x="49" y="112"/>
                  <a:pt x="48" y="112"/>
                </a:cubicBezTo>
                <a:close/>
                <a:moveTo>
                  <a:pt x="80" y="96"/>
                </a:moveTo>
                <a:cubicBezTo>
                  <a:pt x="79" y="96"/>
                  <a:pt x="79" y="97"/>
                  <a:pt x="79" y="98"/>
                </a:cubicBezTo>
                <a:cubicBezTo>
                  <a:pt x="78" y="99"/>
                  <a:pt x="78" y="99"/>
                  <a:pt x="78" y="100"/>
                </a:cubicBezTo>
                <a:cubicBezTo>
                  <a:pt x="77" y="100"/>
                  <a:pt x="77" y="101"/>
                  <a:pt x="76" y="102"/>
                </a:cubicBezTo>
                <a:cubicBezTo>
                  <a:pt x="76" y="102"/>
                  <a:pt x="76" y="103"/>
                  <a:pt x="76" y="104"/>
                </a:cubicBezTo>
                <a:cubicBezTo>
                  <a:pt x="76" y="104"/>
                  <a:pt x="75" y="105"/>
                  <a:pt x="76" y="105"/>
                </a:cubicBezTo>
                <a:cubicBezTo>
                  <a:pt x="76" y="106"/>
                  <a:pt x="76" y="106"/>
                  <a:pt x="77" y="107"/>
                </a:cubicBezTo>
                <a:cubicBezTo>
                  <a:pt x="77" y="107"/>
                  <a:pt x="77" y="107"/>
                  <a:pt x="77" y="107"/>
                </a:cubicBezTo>
                <a:cubicBezTo>
                  <a:pt x="77" y="107"/>
                  <a:pt x="76" y="108"/>
                  <a:pt x="77" y="108"/>
                </a:cubicBezTo>
                <a:cubicBezTo>
                  <a:pt x="77" y="108"/>
                  <a:pt x="77" y="108"/>
                  <a:pt x="78" y="109"/>
                </a:cubicBezTo>
                <a:cubicBezTo>
                  <a:pt x="78" y="109"/>
                  <a:pt x="78" y="109"/>
                  <a:pt x="77" y="109"/>
                </a:cubicBezTo>
                <a:cubicBezTo>
                  <a:pt x="77" y="109"/>
                  <a:pt x="78" y="109"/>
                  <a:pt x="78" y="110"/>
                </a:cubicBezTo>
                <a:cubicBezTo>
                  <a:pt x="78" y="109"/>
                  <a:pt x="77" y="110"/>
                  <a:pt x="77" y="110"/>
                </a:cubicBezTo>
                <a:cubicBezTo>
                  <a:pt x="76" y="111"/>
                  <a:pt x="76" y="112"/>
                  <a:pt x="76" y="112"/>
                </a:cubicBezTo>
                <a:cubicBezTo>
                  <a:pt x="76" y="113"/>
                  <a:pt x="76" y="113"/>
                  <a:pt x="76" y="113"/>
                </a:cubicBezTo>
                <a:cubicBezTo>
                  <a:pt x="76" y="113"/>
                  <a:pt x="75" y="114"/>
                  <a:pt x="75" y="113"/>
                </a:cubicBezTo>
                <a:cubicBezTo>
                  <a:pt x="75" y="113"/>
                  <a:pt x="74" y="113"/>
                  <a:pt x="74" y="113"/>
                </a:cubicBezTo>
                <a:cubicBezTo>
                  <a:pt x="73" y="113"/>
                  <a:pt x="72" y="113"/>
                  <a:pt x="72" y="112"/>
                </a:cubicBezTo>
                <a:cubicBezTo>
                  <a:pt x="71" y="112"/>
                  <a:pt x="71" y="112"/>
                  <a:pt x="70" y="112"/>
                </a:cubicBezTo>
                <a:cubicBezTo>
                  <a:pt x="70" y="111"/>
                  <a:pt x="70" y="111"/>
                  <a:pt x="69" y="110"/>
                </a:cubicBezTo>
                <a:cubicBezTo>
                  <a:pt x="69" y="109"/>
                  <a:pt x="68" y="109"/>
                  <a:pt x="67" y="109"/>
                </a:cubicBezTo>
                <a:cubicBezTo>
                  <a:pt x="66" y="108"/>
                  <a:pt x="66" y="109"/>
                  <a:pt x="65" y="108"/>
                </a:cubicBezTo>
                <a:cubicBezTo>
                  <a:pt x="64" y="108"/>
                  <a:pt x="64" y="108"/>
                  <a:pt x="63" y="108"/>
                </a:cubicBezTo>
                <a:cubicBezTo>
                  <a:pt x="63" y="108"/>
                  <a:pt x="62" y="107"/>
                  <a:pt x="62" y="107"/>
                </a:cubicBezTo>
                <a:cubicBezTo>
                  <a:pt x="61" y="106"/>
                  <a:pt x="61" y="106"/>
                  <a:pt x="60" y="106"/>
                </a:cubicBezTo>
                <a:cubicBezTo>
                  <a:pt x="59" y="106"/>
                  <a:pt x="59" y="105"/>
                  <a:pt x="58" y="105"/>
                </a:cubicBezTo>
                <a:cubicBezTo>
                  <a:pt x="58" y="104"/>
                  <a:pt x="57" y="105"/>
                  <a:pt x="57" y="104"/>
                </a:cubicBezTo>
                <a:cubicBezTo>
                  <a:pt x="56" y="104"/>
                  <a:pt x="56" y="103"/>
                  <a:pt x="56" y="103"/>
                </a:cubicBezTo>
                <a:cubicBezTo>
                  <a:pt x="55" y="103"/>
                  <a:pt x="54" y="104"/>
                  <a:pt x="54" y="103"/>
                </a:cubicBezTo>
                <a:cubicBezTo>
                  <a:pt x="53" y="103"/>
                  <a:pt x="53" y="103"/>
                  <a:pt x="52" y="102"/>
                </a:cubicBezTo>
                <a:cubicBezTo>
                  <a:pt x="52" y="102"/>
                  <a:pt x="52" y="102"/>
                  <a:pt x="52" y="101"/>
                </a:cubicBezTo>
                <a:cubicBezTo>
                  <a:pt x="52" y="101"/>
                  <a:pt x="51" y="101"/>
                  <a:pt x="52" y="101"/>
                </a:cubicBezTo>
                <a:cubicBezTo>
                  <a:pt x="52" y="101"/>
                  <a:pt x="52" y="100"/>
                  <a:pt x="52" y="100"/>
                </a:cubicBezTo>
                <a:cubicBezTo>
                  <a:pt x="52" y="100"/>
                  <a:pt x="52" y="99"/>
                  <a:pt x="52" y="98"/>
                </a:cubicBezTo>
                <a:cubicBezTo>
                  <a:pt x="52" y="98"/>
                  <a:pt x="53" y="98"/>
                  <a:pt x="53" y="98"/>
                </a:cubicBezTo>
                <a:cubicBezTo>
                  <a:pt x="53" y="98"/>
                  <a:pt x="53" y="98"/>
                  <a:pt x="54" y="98"/>
                </a:cubicBezTo>
                <a:cubicBezTo>
                  <a:pt x="54" y="97"/>
                  <a:pt x="54" y="97"/>
                  <a:pt x="54" y="97"/>
                </a:cubicBezTo>
                <a:cubicBezTo>
                  <a:pt x="55" y="97"/>
                  <a:pt x="55" y="98"/>
                  <a:pt x="55" y="98"/>
                </a:cubicBezTo>
                <a:cubicBezTo>
                  <a:pt x="56" y="99"/>
                  <a:pt x="56" y="98"/>
                  <a:pt x="57" y="98"/>
                </a:cubicBezTo>
                <a:cubicBezTo>
                  <a:pt x="57" y="98"/>
                  <a:pt x="57" y="97"/>
                  <a:pt x="57" y="97"/>
                </a:cubicBezTo>
                <a:cubicBezTo>
                  <a:pt x="58" y="97"/>
                  <a:pt x="58" y="97"/>
                  <a:pt x="59" y="97"/>
                </a:cubicBezTo>
                <a:cubicBezTo>
                  <a:pt x="60" y="96"/>
                  <a:pt x="59" y="98"/>
                  <a:pt x="61" y="98"/>
                </a:cubicBezTo>
                <a:cubicBezTo>
                  <a:pt x="62" y="97"/>
                  <a:pt x="61" y="98"/>
                  <a:pt x="62" y="98"/>
                </a:cubicBezTo>
                <a:cubicBezTo>
                  <a:pt x="62" y="99"/>
                  <a:pt x="63" y="99"/>
                  <a:pt x="64" y="99"/>
                </a:cubicBezTo>
                <a:cubicBezTo>
                  <a:pt x="64" y="99"/>
                  <a:pt x="65" y="99"/>
                  <a:pt x="65" y="98"/>
                </a:cubicBezTo>
                <a:cubicBezTo>
                  <a:pt x="66" y="98"/>
                  <a:pt x="67" y="98"/>
                  <a:pt x="67" y="98"/>
                </a:cubicBezTo>
                <a:cubicBezTo>
                  <a:pt x="68" y="99"/>
                  <a:pt x="69" y="98"/>
                  <a:pt x="70" y="98"/>
                </a:cubicBezTo>
                <a:cubicBezTo>
                  <a:pt x="71" y="98"/>
                  <a:pt x="72" y="97"/>
                  <a:pt x="73" y="97"/>
                </a:cubicBezTo>
                <a:cubicBezTo>
                  <a:pt x="74" y="97"/>
                  <a:pt x="74" y="97"/>
                  <a:pt x="75" y="97"/>
                </a:cubicBezTo>
                <a:cubicBezTo>
                  <a:pt x="76" y="97"/>
                  <a:pt x="77" y="97"/>
                  <a:pt x="77" y="96"/>
                </a:cubicBezTo>
                <a:cubicBezTo>
                  <a:pt x="77" y="96"/>
                  <a:pt x="77" y="96"/>
                  <a:pt x="77" y="96"/>
                </a:cubicBezTo>
                <a:cubicBezTo>
                  <a:pt x="77" y="97"/>
                  <a:pt x="78" y="96"/>
                  <a:pt x="78" y="96"/>
                </a:cubicBezTo>
                <a:cubicBezTo>
                  <a:pt x="79" y="96"/>
                  <a:pt x="79" y="96"/>
                  <a:pt x="79" y="96"/>
                </a:cubicBezTo>
                <a:cubicBezTo>
                  <a:pt x="80" y="95"/>
                  <a:pt x="80" y="96"/>
                  <a:pt x="80" y="96"/>
                </a:cubicBezTo>
                <a:close/>
                <a:moveTo>
                  <a:pt x="27" y="68"/>
                </a:moveTo>
                <a:cubicBezTo>
                  <a:pt x="27" y="69"/>
                  <a:pt x="28" y="70"/>
                  <a:pt x="28" y="71"/>
                </a:cubicBezTo>
                <a:cubicBezTo>
                  <a:pt x="28" y="72"/>
                  <a:pt x="28" y="72"/>
                  <a:pt x="27" y="73"/>
                </a:cubicBezTo>
                <a:cubicBezTo>
                  <a:pt x="26" y="74"/>
                  <a:pt x="26" y="75"/>
                  <a:pt x="27" y="75"/>
                </a:cubicBezTo>
                <a:cubicBezTo>
                  <a:pt x="27" y="76"/>
                  <a:pt x="27" y="76"/>
                  <a:pt x="27" y="77"/>
                </a:cubicBezTo>
                <a:cubicBezTo>
                  <a:pt x="27" y="77"/>
                  <a:pt x="27" y="77"/>
                  <a:pt x="27" y="77"/>
                </a:cubicBezTo>
                <a:cubicBezTo>
                  <a:pt x="27" y="77"/>
                  <a:pt x="27" y="78"/>
                  <a:pt x="27" y="78"/>
                </a:cubicBezTo>
                <a:cubicBezTo>
                  <a:pt x="27" y="79"/>
                  <a:pt x="26" y="81"/>
                  <a:pt x="26" y="83"/>
                </a:cubicBezTo>
                <a:cubicBezTo>
                  <a:pt x="26" y="83"/>
                  <a:pt x="26" y="84"/>
                  <a:pt x="26" y="84"/>
                </a:cubicBezTo>
                <a:cubicBezTo>
                  <a:pt x="26" y="84"/>
                  <a:pt x="26" y="84"/>
                  <a:pt x="26" y="85"/>
                </a:cubicBezTo>
                <a:cubicBezTo>
                  <a:pt x="26" y="85"/>
                  <a:pt x="26" y="87"/>
                  <a:pt x="25" y="87"/>
                </a:cubicBezTo>
                <a:cubicBezTo>
                  <a:pt x="25" y="87"/>
                  <a:pt x="25" y="86"/>
                  <a:pt x="25" y="86"/>
                </a:cubicBezTo>
                <a:cubicBezTo>
                  <a:pt x="25" y="86"/>
                  <a:pt x="24" y="86"/>
                  <a:pt x="24" y="86"/>
                </a:cubicBezTo>
                <a:cubicBezTo>
                  <a:pt x="24" y="86"/>
                  <a:pt x="23" y="85"/>
                  <a:pt x="22" y="85"/>
                </a:cubicBezTo>
                <a:cubicBezTo>
                  <a:pt x="22" y="86"/>
                  <a:pt x="22" y="86"/>
                  <a:pt x="21" y="86"/>
                </a:cubicBezTo>
                <a:cubicBezTo>
                  <a:pt x="21" y="85"/>
                  <a:pt x="21" y="85"/>
                  <a:pt x="21" y="85"/>
                </a:cubicBezTo>
                <a:cubicBezTo>
                  <a:pt x="20" y="85"/>
                  <a:pt x="21" y="86"/>
                  <a:pt x="21" y="85"/>
                </a:cubicBezTo>
                <a:cubicBezTo>
                  <a:pt x="21" y="86"/>
                  <a:pt x="21" y="86"/>
                  <a:pt x="21" y="86"/>
                </a:cubicBezTo>
                <a:cubicBezTo>
                  <a:pt x="21" y="87"/>
                  <a:pt x="21" y="87"/>
                  <a:pt x="21" y="88"/>
                </a:cubicBezTo>
                <a:cubicBezTo>
                  <a:pt x="21" y="88"/>
                  <a:pt x="20" y="88"/>
                  <a:pt x="20" y="89"/>
                </a:cubicBezTo>
                <a:cubicBezTo>
                  <a:pt x="19" y="89"/>
                  <a:pt x="19" y="89"/>
                  <a:pt x="19" y="89"/>
                </a:cubicBezTo>
                <a:cubicBezTo>
                  <a:pt x="18" y="89"/>
                  <a:pt x="17" y="88"/>
                  <a:pt x="17" y="89"/>
                </a:cubicBezTo>
                <a:cubicBezTo>
                  <a:pt x="17" y="89"/>
                  <a:pt x="17" y="89"/>
                  <a:pt x="17" y="89"/>
                </a:cubicBezTo>
                <a:cubicBezTo>
                  <a:pt x="17" y="88"/>
                  <a:pt x="17" y="88"/>
                  <a:pt x="17" y="88"/>
                </a:cubicBezTo>
                <a:cubicBezTo>
                  <a:pt x="16" y="87"/>
                  <a:pt x="16" y="87"/>
                  <a:pt x="16" y="87"/>
                </a:cubicBezTo>
                <a:cubicBezTo>
                  <a:pt x="16" y="87"/>
                  <a:pt x="16" y="88"/>
                  <a:pt x="16" y="88"/>
                </a:cubicBezTo>
                <a:cubicBezTo>
                  <a:pt x="15" y="89"/>
                  <a:pt x="14" y="87"/>
                  <a:pt x="15" y="87"/>
                </a:cubicBezTo>
                <a:cubicBezTo>
                  <a:pt x="15" y="86"/>
                  <a:pt x="16" y="87"/>
                  <a:pt x="16" y="87"/>
                </a:cubicBezTo>
                <a:cubicBezTo>
                  <a:pt x="16" y="86"/>
                  <a:pt x="15" y="86"/>
                  <a:pt x="15" y="85"/>
                </a:cubicBezTo>
                <a:cubicBezTo>
                  <a:pt x="15" y="85"/>
                  <a:pt x="15" y="85"/>
                  <a:pt x="15" y="84"/>
                </a:cubicBezTo>
                <a:cubicBezTo>
                  <a:pt x="15" y="84"/>
                  <a:pt x="15" y="84"/>
                  <a:pt x="15" y="84"/>
                </a:cubicBezTo>
                <a:cubicBezTo>
                  <a:pt x="15" y="83"/>
                  <a:pt x="15" y="83"/>
                  <a:pt x="15" y="83"/>
                </a:cubicBezTo>
                <a:cubicBezTo>
                  <a:pt x="15" y="82"/>
                  <a:pt x="15" y="82"/>
                  <a:pt x="15" y="82"/>
                </a:cubicBezTo>
                <a:cubicBezTo>
                  <a:pt x="16" y="81"/>
                  <a:pt x="16" y="81"/>
                  <a:pt x="16" y="80"/>
                </a:cubicBezTo>
                <a:cubicBezTo>
                  <a:pt x="16" y="79"/>
                  <a:pt x="16" y="80"/>
                  <a:pt x="17" y="80"/>
                </a:cubicBezTo>
                <a:cubicBezTo>
                  <a:pt x="16" y="80"/>
                  <a:pt x="16" y="80"/>
                  <a:pt x="16" y="80"/>
                </a:cubicBezTo>
                <a:cubicBezTo>
                  <a:pt x="16" y="80"/>
                  <a:pt x="17" y="79"/>
                  <a:pt x="16" y="79"/>
                </a:cubicBezTo>
                <a:cubicBezTo>
                  <a:pt x="17" y="79"/>
                  <a:pt x="16" y="77"/>
                  <a:pt x="15" y="78"/>
                </a:cubicBezTo>
                <a:cubicBezTo>
                  <a:pt x="16" y="78"/>
                  <a:pt x="16" y="78"/>
                  <a:pt x="15" y="78"/>
                </a:cubicBezTo>
                <a:cubicBezTo>
                  <a:pt x="15" y="78"/>
                  <a:pt x="15" y="78"/>
                  <a:pt x="15" y="78"/>
                </a:cubicBezTo>
                <a:cubicBezTo>
                  <a:pt x="15" y="78"/>
                  <a:pt x="15" y="77"/>
                  <a:pt x="15" y="77"/>
                </a:cubicBezTo>
                <a:cubicBezTo>
                  <a:pt x="15" y="77"/>
                  <a:pt x="15" y="76"/>
                  <a:pt x="15" y="76"/>
                </a:cubicBezTo>
                <a:cubicBezTo>
                  <a:pt x="16" y="76"/>
                  <a:pt x="16" y="76"/>
                  <a:pt x="16" y="75"/>
                </a:cubicBezTo>
                <a:cubicBezTo>
                  <a:pt x="16" y="75"/>
                  <a:pt x="16" y="74"/>
                  <a:pt x="16" y="74"/>
                </a:cubicBezTo>
                <a:cubicBezTo>
                  <a:pt x="16" y="73"/>
                  <a:pt x="15" y="73"/>
                  <a:pt x="15" y="73"/>
                </a:cubicBezTo>
                <a:cubicBezTo>
                  <a:pt x="15" y="72"/>
                  <a:pt x="15" y="72"/>
                  <a:pt x="14" y="71"/>
                </a:cubicBezTo>
                <a:cubicBezTo>
                  <a:pt x="14" y="71"/>
                  <a:pt x="14" y="70"/>
                  <a:pt x="14" y="70"/>
                </a:cubicBezTo>
                <a:cubicBezTo>
                  <a:pt x="13" y="71"/>
                  <a:pt x="14" y="70"/>
                  <a:pt x="13" y="70"/>
                </a:cubicBezTo>
                <a:cubicBezTo>
                  <a:pt x="13" y="70"/>
                  <a:pt x="13" y="70"/>
                  <a:pt x="13" y="71"/>
                </a:cubicBezTo>
                <a:cubicBezTo>
                  <a:pt x="13" y="70"/>
                  <a:pt x="14" y="70"/>
                  <a:pt x="13" y="69"/>
                </a:cubicBezTo>
                <a:cubicBezTo>
                  <a:pt x="13" y="69"/>
                  <a:pt x="13" y="68"/>
                  <a:pt x="13" y="68"/>
                </a:cubicBezTo>
                <a:cubicBezTo>
                  <a:pt x="13" y="68"/>
                  <a:pt x="14" y="67"/>
                  <a:pt x="14" y="67"/>
                </a:cubicBezTo>
                <a:cubicBezTo>
                  <a:pt x="14" y="67"/>
                  <a:pt x="13" y="67"/>
                  <a:pt x="13" y="66"/>
                </a:cubicBezTo>
                <a:cubicBezTo>
                  <a:pt x="14" y="66"/>
                  <a:pt x="14" y="67"/>
                  <a:pt x="14" y="67"/>
                </a:cubicBezTo>
                <a:cubicBezTo>
                  <a:pt x="14" y="67"/>
                  <a:pt x="15" y="68"/>
                  <a:pt x="15" y="68"/>
                </a:cubicBezTo>
                <a:cubicBezTo>
                  <a:pt x="16" y="68"/>
                  <a:pt x="16" y="68"/>
                  <a:pt x="17" y="67"/>
                </a:cubicBezTo>
                <a:cubicBezTo>
                  <a:pt x="17" y="67"/>
                  <a:pt x="18" y="67"/>
                  <a:pt x="18" y="67"/>
                </a:cubicBezTo>
                <a:cubicBezTo>
                  <a:pt x="18" y="67"/>
                  <a:pt x="19" y="67"/>
                  <a:pt x="19" y="67"/>
                </a:cubicBezTo>
                <a:cubicBezTo>
                  <a:pt x="20" y="66"/>
                  <a:pt x="20" y="65"/>
                  <a:pt x="21" y="65"/>
                </a:cubicBezTo>
                <a:cubicBezTo>
                  <a:pt x="21" y="65"/>
                  <a:pt x="22" y="65"/>
                  <a:pt x="22" y="64"/>
                </a:cubicBezTo>
                <a:cubicBezTo>
                  <a:pt x="22" y="64"/>
                  <a:pt x="22" y="63"/>
                  <a:pt x="22" y="63"/>
                </a:cubicBezTo>
                <a:cubicBezTo>
                  <a:pt x="22" y="63"/>
                  <a:pt x="22" y="63"/>
                  <a:pt x="23" y="63"/>
                </a:cubicBezTo>
                <a:cubicBezTo>
                  <a:pt x="23" y="63"/>
                  <a:pt x="23" y="64"/>
                  <a:pt x="23" y="64"/>
                </a:cubicBezTo>
                <a:cubicBezTo>
                  <a:pt x="23" y="63"/>
                  <a:pt x="23" y="63"/>
                  <a:pt x="23" y="64"/>
                </a:cubicBezTo>
                <a:cubicBezTo>
                  <a:pt x="23" y="64"/>
                  <a:pt x="24" y="64"/>
                  <a:pt x="24" y="64"/>
                </a:cubicBezTo>
                <a:cubicBezTo>
                  <a:pt x="24" y="64"/>
                  <a:pt x="24" y="65"/>
                  <a:pt x="25" y="65"/>
                </a:cubicBezTo>
                <a:cubicBezTo>
                  <a:pt x="25" y="64"/>
                  <a:pt x="25" y="64"/>
                  <a:pt x="25" y="65"/>
                </a:cubicBezTo>
                <a:cubicBezTo>
                  <a:pt x="26" y="65"/>
                  <a:pt x="25" y="66"/>
                  <a:pt x="25" y="66"/>
                </a:cubicBezTo>
                <a:cubicBezTo>
                  <a:pt x="25" y="66"/>
                  <a:pt x="25" y="66"/>
                  <a:pt x="26" y="66"/>
                </a:cubicBezTo>
                <a:cubicBezTo>
                  <a:pt x="25" y="66"/>
                  <a:pt x="27" y="66"/>
                  <a:pt x="26" y="66"/>
                </a:cubicBezTo>
                <a:cubicBezTo>
                  <a:pt x="26" y="66"/>
                  <a:pt x="26" y="66"/>
                  <a:pt x="26" y="66"/>
                </a:cubicBezTo>
                <a:cubicBezTo>
                  <a:pt x="26" y="66"/>
                  <a:pt x="26" y="66"/>
                  <a:pt x="26" y="66"/>
                </a:cubicBezTo>
                <a:cubicBezTo>
                  <a:pt x="25" y="67"/>
                  <a:pt x="25" y="67"/>
                  <a:pt x="25" y="67"/>
                </a:cubicBezTo>
                <a:cubicBezTo>
                  <a:pt x="25" y="67"/>
                  <a:pt x="26" y="67"/>
                  <a:pt x="26" y="67"/>
                </a:cubicBezTo>
                <a:cubicBezTo>
                  <a:pt x="26" y="67"/>
                  <a:pt x="26" y="67"/>
                  <a:pt x="26" y="67"/>
                </a:cubicBezTo>
                <a:cubicBezTo>
                  <a:pt x="26" y="67"/>
                  <a:pt x="26" y="67"/>
                  <a:pt x="26" y="67"/>
                </a:cubicBezTo>
                <a:cubicBezTo>
                  <a:pt x="26" y="68"/>
                  <a:pt x="27" y="67"/>
                  <a:pt x="27" y="68"/>
                </a:cubicBezTo>
                <a:cubicBezTo>
                  <a:pt x="27" y="68"/>
                  <a:pt x="27" y="68"/>
                  <a:pt x="27" y="68"/>
                </a:cubicBezTo>
                <a:close/>
                <a:moveTo>
                  <a:pt x="33" y="47"/>
                </a:moveTo>
                <a:cubicBezTo>
                  <a:pt x="33" y="47"/>
                  <a:pt x="33" y="47"/>
                  <a:pt x="33" y="47"/>
                </a:cubicBezTo>
                <a:cubicBezTo>
                  <a:pt x="33" y="47"/>
                  <a:pt x="33" y="47"/>
                  <a:pt x="32" y="47"/>
                </a:cubicBezTo>
                <a:cubicBezTo>
                  <a:pt x="32" y="47"/>
                  <a:pt x="32" y="47"/>
                  <a:pt x="32" y="47"/>
                </a:cubicBezTo>
                <a:cubicBezTo>
                  <a:pt x="31" y="47"/>
                  <a:pt x="30" y="47"/>
                  <a:pt x="30" y="46"/>
                </a:cubicBezTo>
                <a:cubicBezTo>
                  <a:pt x="31" y="46"/>
                  <a:pt x="31" y="47"/>
                  <a:pt x="32" y="46"/>
                </a:cubicBezTo>
                <a:cubicBezTo>
                  <a:pt x="32" y="46"/>
                  <a:pt x="32" y="46"/>
                  <a:pt x="33" y="46"/>
                </a:cubicBezTo>
                <a:cubicBezTo>
                  <a:pt x="33" y="46"/>
                  <a:pt x="33" y="45"/>
                  <a:pt x="33" y="46"/>
                </a:cubicBezTo>
                <a:cubicBezTo>
                  <a:pt x="33" y="46"/>
                  <a:pt x="33" y="47"/>
                  <a:pt x="33" y="4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0" name="Israel"/>
          <p:cNvSpPr>
            <a:spLocks/>
          </p:cNvSpPr>
          <p:nvPr/>
        </p:nvSpPr>
        <p:spPr bwMode="auto">
          <a:xfrm>
            <a:off x="6959039" y="3339986"/>
            <a:ext cx="42998" cy="151995"/>
          </a:xfrm>
          <a:custGeom>
            <a:avLst/>
            <a:gdLst/>
            <a:ahLst/>
            <a:cxnLst>
              <a:cxn ang="0">
                <a:pos x="11" y="7"/>
              </a:cxn>
              <a:cxn ang="0">
                <a:pos x="12" y="7"/>
              </a:cxn>
              <a:cxn ang="0">
                <a:pos x="11" y="6"/>
              </a:cxn>
              <a:cxn ang="0">
                <a:pos x="11" y="6"/>
              </a:cxn>
              <a:cxn ang="0">
                <a:pos x="11" y="5"/>
              </a:cxn>
              <a:cxn ang="0">
                <a:pos x="11" y="3"/>
              </a:cxn>
              <a:cxn ang="0">
                <a:pos x="11" y="1"/>
              </a:cxn>
              <a:cxn ang="0">
                <a:pos x="11" y="1"/>
              </a:cxn>
              <a:cxn ang="0">
                <a:pos x="11" y="1"/>
              </a:cxn>
              <a:cxn ang="0">
                <a:pos x="10" y="0"/>
              </a:cxn>
              <a:cxn ang="0">
                <a:pos x="10" y="2"/>
              </a:cxn>
              <a:cxn ang="0">
                <a:pos x="8" y="3"/>
              </a:cxn>
              <a:cxn ang="0">
                <a:pos x="6" y="3"/>
              </a:cxn>
              <a:cxn ang="0">
                <a:pos x="6" y="5"/>
              </a:cxn>
              <a:cxn ang="0">
                <a:pos x="5" y="6"/>
              </a:cxn>
              <a:cxn ang="0">
                <a:pos x="4" y="11"/>
              </a:cxn>
              <a:cxn ang="0">
                <a:pos x="3" y="14"/>
              </a:cxn>
              <a:cxn ang="0">
                <a:pos x="2" y="18"/>
              </a:cxn>
              <a:cxn ang="0">
                <a:pos x="2" y="19"/>
              </a:cxn>
              <a:cxn ang="0">
                <a:pos x="2" y="19"/>
              </a:cxn>
              <a:cxn ang="0">
                <a:pos x="1" y="21"/>
              </a:cxn>
              <a:cxn ang="0">
                <a:pos x="1" y="22"/>
              </a:cxn>
              <a:cxn ang="0">
                <a:pos x="0" y="23"/>
              </a:cxn>
              <a:cxn ang="0">
                <a:pos x="1" y="26"/>
              </a:cxn>
              <a:cxn ang="0">
                <a:pos x="2" y="28"/>
              </a:cxn>
              <a:cxn ang="0">
                <a:pos x="3" y="31"/>
              </a:cxn>
              <a:cxn ang="0">
                <a:pos x="4" y="33"/>
              </a:cxn>
              <a:cxn ang="0">
                <a:pos x="5" y="36"/>
              </a:cxn>
              <a:cxn ang="0">
                <a:pos x="6" y="39"/>
              </a:cxn>
              <a:cxn ang="0">
                <a:pos x="7" y="42"/>
              </a:cxn>
              <a:cxn ang="0">
                <a:pos x="8" y="42"/>
              </a:cxn>
              <a:cxn ang="0">
                <a:pos x="8" y="39"/>
              </a:cxn>
              <a:cxn ang="0">
                <a:pos x="8" y="37"/>
              </a:cxn>
              <a:cxn ang="0">
                <a:pos x="9" y="35"/>
              </a:cxn>
              <a:cxn ang="0">
                <a:pos x="9" y="32"/>
              </a:cxn>
              <a:cxn ang="0">
                <a:pos x="9" y="31"/>
              </a:cxn>
              <a:cxn ang="0">
                <a:pos x="9" y="30"/>
              </a:cxn>
              <a:cxn ang="0">
                <a:pos x="10" y="27"/>
              </a:cxn>
              <a:cxn ang="0">
                <a:pos x="10" y="26"/>
              </a:cxn>
              <a:cxn ang="0">
                <a:pos x="10" y="25"/>
              </a:cxn>
              <a:cxn ang="0">
                <a:pos x="11" y="24"/>
              </a:cxn>
              <a:cxn ang="0">
                <a:pos x="10" y="22"/>
              </a:cxn>
              <a:cxn ang="0">
                <a:pos x="11" y="20"/>
              </a:cxn>
              <a:cxn ang="0">
                <a:pos x="9" y="21"/>
              </a:cxn>
              <a:cxn ang="0">
                <a:pos x="7" y="22"/>
              </a:cxn>
              <a:cxn ang="0">
                <a:pos x="5" y="21"/>
              </a:cxn>
              <a:cxn ang="0">
                <a:pos x="6" y="19"/>
              </a:cxn>
              <a:cxn ang="0">
                <a:pos x="8" y="17"/>
              </a:cxn>
              <a:cxn ang="0">
                <a:pos x="7" y="16"/>
              </a:cxn>
              <a:cxn ang="0">
                <a:pos x="6" y="16"/>
              </a:cxn>
              <a:cxn ang="0">
                <a:pos x="6" y="16"/>
              </a:cxn>
              <a:cxn ang="0">
                <a:pos x="6" y="15"/>
              </a:cxn>
              <a:cxn ang="0">
                <a:pos x="6" y="14"/>
              </a:cxn>
              <a:cxn ang="0">
                <a:pos x="6" y="12"/>
              </a:cxn>
              <a:cxn ang="0">
                <a:pos x="6" y="11"/>
              </a:cxn>
              <a:cxn ang="0">
                <a:pos x="6" y="10"/>
              </a:cxn>
              <a:cxn ang="0">
                <a:pos x="7" y="9"/>
              </a:cxn>
              <a:cxn ang="0">
                <a:pos x="9" y="9"/>
              </a:cxn>
              <a:cxn ang="0">
                <a:pos x="11" y="10"/>
              </a:cxn>
              <a:cxn ang="0">
                <a:pos x="11" y="9"/>
              </a:cxn>
              <a:cxn ang="0">
                <a:pos x="11" y="8"/>
              </a:cxn>
              <a:cxn ang="0">
                <a:pos x="11" y="7"/>
              </a:cxn>
            </a:cxnLst>
            <a:rect l="0" t="0" r="r" b="b"/>
            <a:pathLst>
              <a:path w="12" h="42">
                <a:moveTo>
                  <a:pt x="11" y="7"/>
                </a:moveTo>
                <a:cubicBezTo>
                  <a:pt x="11" y="7"/>
                  <a:pt x="11" y="7"/>
                  <a:pt x="12" y="7"/>
                </a:cubicBezTo>
                <a:cubicBezTo>
                  <a:pt x="11" y="7"/>
                  <a:pt x="11" y="6"/>
                  <a:pt x="11" y="6"/>
                </a:cubicBezTo>
                <a:cubicBezTo>
                  <a:pt x="11" y="6"/>
                  <a:pt x="11" y="6"/>
                  <a:pt x="11" y="6"/>
                </a:cubicBezTo>
                <a:cubicBezTo>
                  <a:pt x="11" y="5"/>
                  <a:pt x="11" y="5"/>
                  <a:pt x="11" y="5"/>
                </a:cubicBezTo>
                <a:cubicBezTo>
                  <a:pt x="11" y="4"/>
                  <a:pt x="11" y="4"/>
                  <a:pt x="11" y="3"/>
                </a:cubicBezTo>
                <a:cubicBezTo>
                  <a:pt x="11" y="2"/>
                  <a:pt x="11" y="2"/>
                  <a:pt x="11" y="1"/>
                </a:cubicBezTo>
                <a:cubicBezTo>
                  <a:pt x="11" y="1"/>
                  <a:pt x="11" y="1"/>
                  <a:pt x="11" y="1"/>
                </a:cubicBezTo>
                <a:cubicBezTo>
                  <a:pt x="11" y="1"/>
                  <a:pt x="11" y="1"/>
                  <a:pt x="11" y="1"/>
                </a:cubicBezTo>
                <a:cubicBezTo>
                  <a:pt x="10" y="1"/>
                  <a:pt x="10" y="0"/>
                  <a:pt x="10" y="0"/>
                </a:cubicBezTo>
                <a:cubicBezTo>
                  <a:pt x="10" y="0"/>
                  <a:pt x="10" y="2"/>
                  <a:pt x="10" y="2"/>
                </a:cubicBezTo>
                <a:cubicBezTo>
                  <a:pt x="10" y="3"/>
                  <a:pt x="8" y="3"/>
                  <a:pt x="8" y="3"/>
                </a:cubicBezTo>
                <a:cubicBezTo>
                  <a:pt x="8" y="2"/>
                  <a:pt x="6" y="3"/>
                  <a:pt x="6" y="3"/>
                </a:cubicBezTo>
                <a:cubicBezTo>
                  <a:pt x="6" y="3"/>
                  <a:pt x="6" y="5"/>
                  <a:pt x="6" y="5"/>
                </a:cubicBezTo>
                <a:cubicBezTo>
                  <a:pt x="5" y="6"/>
                  <a:pt x="5" y="5"/>
                  <a:pt x="5" y="6"/>
                </a:cubicBezTo>
                <a:cubicBezTo>
                  <a:pt x="4" y="8"/>
                  <a:pt x="4" y="10"/>
                  <a:pt x="4" y="11"/>
                </a:cubicBezTo>
                <a:cubicBezTo>
                  <a:pt x="4" y="12"/>
                  <a:pt x="4" y="13"/>
                  <a:pt x="3" y="14"/>
                </a:cubicBezTo>
                <a:cubicBezTo>
                  <a:pt x="3" y="16"/>
                  <a:pt x="3" y="17"/>
                  <a:pt x="2" y="18"/>
                </a:cubicBezTo>
                <a:cubicBezTo>
                  <a:pt x="2" y="18"/>
                  <a:pt x="2" y="19"/>
                  <a:pt x="2" y="19"/>
                </a:cubicBezTo>
                <a:cubicBezTo>
                  <a:pt x="2" y="19"/>
                  <a:pt x="2" y="19"/>
                  <a:pt x="2" y="19"/>
                </a:cubicBezTo>
                <a:cubicBezTo>
                  <a:pt x="2" y="20"/>
                  <a:pt x="1" y="21"/>
                  <a:pt x="1" y="21"/>
                </a:cubicBezTo>
                <a:cubicBezTo>
                  <a:pt x="1" y="21"/>
                  <a:pt x="1" y="22"/>
                  <a:pt x="1" y="22"/>
                </a:cubicBezTo>
                <a:cubicBezTo>
                  <a:pt x="0" y="23"/>
                  <a:pt x="0" y="23"/>
                  <a:pt x="0" y="23"/>
                </a:cubicBezTo>
                <a:cubicBezTo>
                  <a:pt x="0" y="24"/>
                  <a:pt x="0" y="25"/>
                  <a:pt x="1" y="26"/>
                </a:cubicBezTo>
                <a:cubicBezTo>
                  <a:pt x="1" y="26"/>
                  <a:pt x="2" y="27"/>
                  <a:pt x="2" y="28"/>
                </a:cubicBezTo>
                <a:cubicBezTo>
                  <a:pt x="2" y="29"/>
                  <a:pt x="2" y="30"/>
                  <a:pt x="3" y="31"/>
                </a:cubicBezTo>
                <a:cubicBezTo>
                  <a:pt x="3" y="32"/>
                  <a:pt x="4" y="33"/>
                  <a:pt x="4" y="33"/>
                </a:cubicBezTo>
                <a:cubicBezTo>
                  <a:pt x="4" y="34"/>
                  <a:pt x="5" y="35"/>
                  <a:pt x="5" y="36"/>
                </a:cubicBezTo>
                <a:cubicBezTo>
                  <a:pt x="5" y="37"/>
                  <a:pt x="6" y="38"/>
                  <a:pt x="6" y="39"/>
                </a:cubicBezTo>
                <a:cubicBezTo>
                  <a:pt x="6" y="40"/>
                  <a:pt x="6" y="41"/>
                  <a:pt x="7" y="42"/>
                </a:cubicBezTo>
                <a:cubicBezTo>
                  <a:pt x="7" y="42"/>
                  <a:pt x="7" y="41"/>
                  <a:pt x="8" y="42"/>
                </a:cubicBezTo>
                <a:cubicBezTo>
                  <a:pt x="7" y="41"/>
                  <a:pt x="8" y="40"/>
                  <a:pt x="8" y="39"/>
                </a:cubicBezTo>
                <a:cubicBezTo>
                  <a:pt x="8" y="39"/>
                  <a:pt x="8" y="38"/>
                  <a:pt x="8" y="37"/>
                </a:cubicBezTo>
                <a:cubicBezTo>
                  <a:pt x="8" y="36"/>
                  <a:pt x="9" y="35"/>
                  <a:pt x="9" y="35"/>
                </a:cubicBezTo>
                <a:cubicBezTo>
                  <a:pt x="9" y="34"/>
                  <a:pt x="9" y="33"/>
                  <a:pt x="9" y="32"/>
                </a:cubicBezTo>
                <a:cubicBezTo>
                  <a:pt x="9" y="32"/>
                  <a:pt x="9" y="32"/>
                  <a:pt x="9" y="31"/>
                </a:cubicBezTo>
                <a:cubicBezTo>
                  <a:pt x="9" y="31"/>
                  <a:pt x="9" y="30"/>
                  <a:pt x="9" y="30"/>
                </a:cubicBezTo>
                <a:cubicBezTo>
                  <a:pt x="9" y="29"/>
                  <a:pt x="10" y="28"/>
                  <a:pt x="10" y="27"/>
                </a:cubicBezTo>
                <a:cubicBezTo>
                  <a:pt x="10" y="27"/>
                  <a:pt x="10" y="27"/>
                  <a:pt x="10" y="26"/>
                </a:cubicBezTo>
                <a:cubicBezTo>
                  <a:pt x="11" y="26"/>
                  <a:pt x="10" y="26"/>
                  <a:pt x="10" y="25"/>
                </a:cubicBezTo>
                <a:cubicBezTo>
                  <a:pt x="11" y="25"/>
                  <a:pt x="11" y="24"/>
                  <a:pt x="11" y="24"/>
                </a:cubicBezTo>
                <a:cubicBezTo>
                  <a:pt x="10" y="23"/>
                  <a:pt x="10" y="23"/>
                  <a:pt x="10" y="22"/>
                </a:cubicBezTo>
                <a:cubicBezTo>
                  <a:pt x="11" y="21"/>
                  <a:pt x="11" y="20"/>
                  <a:pt x="11" y="20"/>
                </a:cubicBezTo>
                <a:cubicBezTo>
                  <a:pt x="10" y="20"/>
                  <a:pt x="9" y="21"/>
                  <a:pt x="9" y="21"/>
                </a:cubicBezTo>
                <a:cubicBezTo>
                  <a:pt x="9" y="21"/>
                  <a:pt x="8" y="22"/>
                  <a:pt x="7" y="22"/>
                </a:cubicBezTo>
                <a:cubicBezTo>
                  <a:pt x="7" y="22"/>
                  <a:pt x="6" y="22"/>
                  <a:pt x="5" y="21"/>
                </a:cubicBezTo>
                <a:cubicBezTo>
                  <a:pt x="5" y="21"/>
                  <a:pt x="6" y="20"/>
                  <a:pt x="6" y="19"/>
                </a:cubicBezTo>
                <a:cubicBezTo>
                  <a:pt x="6" y="19"/>
                  <a:pt x="7" y="17"/>
                  <a:pt x="8" y="17"/>
                </a:cubicBezTo>
                <a:cubicBezTo>
                  <a:pt x="8" y="17"/>
                  <a:pt x="7" y="16"/>
                  <a:pt x="7" y="16"/>
                </a:cubicBezTo>
                <a:cubicBezTo>
                  <a:pt x="6" y="16"/>
                  <a:pt x="6" y="17"/>
                  <a:pt x="6" y="16"/>
                </a:cubicBezTo>
                <a:cubicBezTo>
                  <a:pt x="5" y="16"/>
                  <a:pt x="6" y="16"/>
                  <a:pt x="6" y="16"/>
                </a:cubicBezTo>
                <a:cubicBezTo>
                  <a:pt x="6" y="16"/>
                  <a:pt x="6" y="16"/>
                  <a:pt x="6" y="15"/>
                </a:cubicBezTo>
                <a:cubicBezTo>
                  <a:pt x="6" y="15"/>
                  <a:pt x="6" y="14"/>
                  <a:pt x="6" y="14"/>
                </a:cubicBezTo>
                <a:cubicBezTo>
                  <a:pt x="6" y="13"/>
                  <a:pt x="5" y="13"/>
                  <a:pt x="6" y="12"/>
                </a:cubicBezTo>
                <a:cubicBezTo>
                  <a:pt x="6" y="12"/>
                  <a:pt x="6" y="12"/>
                  <a:pt x="6" y="11"/>
                </a:cubicBezTo>
                <a:cubicBezTo>
                  <a:pt x="6" y="11"/>
                  <a:pt x="6" y="10"/>
                  <a:pt x="6" y="10"/>
                </a:cubicBezTo>
                <a:cubicBezTo>
                  <a:pt x="6" y="10"/>
                  <a:pt x="7" y="9"/>
                  <a:pt x="7" y="9"/>
                </a:cubicBezTo>
                <a:cubicBezTo>
                  <a:pt x="8" y="9"/>
                  <a:pt x="9" y="9"/>
                  <a:pt x="9" y="9"/>
                </a:cubicBezTo>
                <a:cubicBezTo>
                  <a:pt x="9" y="10"/>
                  <a:pt x="10" y="10"/>
                  <a:pt x="11" y="10"/>
                </a:cubicBezTo>
                <a:cubicBezTo>
                  <a:pt x="11" y="10"/>
                  <a:pt x="11" y="10"/>
                  <a:pt x="11" y="9"/>
                </a:cubicBezTo>
                <a:cubicBezTo>
                  <a:pt x="11" y="9"/>
                  <a:pt x="11" y="9"/>
                  <a:pt x="11" y="8"/>
                </a:cubicBezTo>
                <a:cubicBezTo>
                  <a:pt x="11" y="8"/>
                  <a:pt x="10" y="8"/>
                  <a:pt x="11"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1" name="Ireland"/>
          <p:cNvSpPr>
            <a:spLocks noEditPoints="1"/>
          </p:cNvSpPr>
          <p:nvPr/>
        </p:nvSpPr>
        <p:spPr bwMode="auto">
          <a:xfrm>
            <a:off x="5532093" y="2479019"/>
            <a:ext cx="136995" cy="151995"/>
          </a:xfrm>
          <a:custGeom>
            <a:avLst/>
            <a:gdLst/>
            <a:ahLst/>
            <a:cxnLst>
              <a:cxn ang="0">
                <a:pos x="37" y="24"/>
              </a:cxn>
              <a:cxn ang="0">
                <a:pos x="34" y="32"/>
              </a:cxn>
              <a:cxn ang="0">
                <a:pos x="32" y="34"/>
              </a:cxn>
              <a:cxn ang="0">
                <a:pos x="29" y="34"/>
              </a:cxn>
              <a:cxn ang="0">
                <a:pos x="27" y="34"/>
              </a:cxn>
              <a:cxn ang="0">
                <a:pos x="21" y="37"/>
              </a:cxn>
              <a:cxn ang="0">
                <a:pos x="18" y="37"/>
              </a:cxn>
              <a:cxn ang="0">
                <a:pos x="15" y="39"/>
              </a:cxn>
              <a:cxn ang="0">
                <a:pos x="12" y="40"/>
              </a:cxn>
              <a:cxn ang="0">
                <a:pos x="8" y="41"/>
              </a:cxn>
              <a:cxn ang="0">
                <a:pos x="4" y="41"/>
              </a:cxn>
              <a:cxn ang="0">
                <a:pos x="6" y="39"/>
              </a:cxn>
              <a:cxn ang="0">
                <a:pos x="5" y="38"/>
              </a:cxn>
              <a:cxn ang="0">
                <a:pos x="1" y="38"/>
              </a:cxn>
              <a:cxn ang="0">
                <a:pos x="1" y="37"/>
              </a:cxn>
              <a:cxn ang="0">
                <a:pos x="4" y="34"/>
              </a:cxn>
              <a:cxn ang="0">
                <a:pos x="1" y="35"/>
              </a:cxn>
              <a:cxn ang="0">
                <a:pos x="1" y="33"/>
              </a:cxn>
              <a:cxn ang="0">
                <a:pos x="4" y="33"/>
              </a:cxn>
              <a:cxn ang="0">
                <a:pos x="5" y="32"/>
              </a:cxn>
              <a:cxn ang="0">
                <a:pos x="10" y="30"/>
              </a:cxn>
              <a:cxn ang="0">
                <a:pos x="12" y="29"/>
              </a:cxn>
              <a:cxn ang="0">
                <a:pos x="7" y="29"/>
              </a:cxn>
              <a:cxn ang="0">
                <a:pos x="8" y="28"/>
              </a:cxn>
              <a:cxn ang="0">
                <a:pos x="12" y="24"/>
              </a:cxn>
              <a:cxn ang="0">
                <a:pos x="14" y="23"/>
              </a:cxn>
              <a:cxn ang="0">
                <a:pos x="9" y="23"/>
              </a:cxn>
              <a:cxn ang="0">
                <a:pos x="8" y="21"/>
              </a:cxn>
              <a:cxn ang="0">
                <a:pos x="6" y="21"/>
              </a:cxn>
              <a:cxn ang="0">
                <a:pos x="5" y="20"/>
              </a:cxn>
              <a:cxn ang="0">
                <a:pos x="8" y="19"/>
              </a:cxn>
              <a:cxn ang="0">
                <a:pos x="8" y="16"/>
              </a:cxn>
              <a:cxn ang="0">
                <a:pos x="6" y="14"/>
              </a:cxn>
              <a:cxn ang="0">
                <a:pos x="6" y="14"/>
              </a:cxn>
              <a:cxn ang="0">
                <a:pos x="7" y="12"/>
              </a:cxn>
              <a:cxn ang="0">
                <a:pos x="10" y="12"/>
              </a:cxn>
              <a:cxn ang="0">
                <a:pos x="15" y="12"/>
              </a:cxn>
              <a:cxn ang="0">
                <a:pos x="18" y="11"/>
              </a:cxn>
              <a:cxn ang="0">
                <a:pos x="22" y="8"/>
              </a:cxn>
              <a:cxn ang="0">
                <a:pos x="19" y="8"/>
              </a:cxn>
              <a:cxn ang="0">
                <a:pos x="19" y="7"/>
              </a:cxn>
              <a:cxn ang="0">
                <a:pos x="21" y="6"/>
              </a:cxn>
              <a:cxn ang="0">
                <a:pos x="22" y="3"/>
              </a:cxn>
              <a:cxn ang="0">
                <a:pos x="25" y="2"/>
              </a:cxn>
              <a:cxn ang="0">
                <a:pos x="26" y="2"/>
              </a:cxn>
              <a:cxn ang="0">
                <a:pos x="26" y="5"/>
              </a:cxn>
              <a:cxn ang="0">
                <a:pos x="30" y="1"/>
              </a:cxn>
              <a:cxn ang="0">
                <a:pos x="28" y="4"/>
              </a:cxn>
              <a:cxn ang="0">
                <a:pos x="25" y="8"/>
              </a:cxn>
              <a:cxn ang="0">
                <a:pos x="24" y="13"/>
              </a:cxn>
              <a:cxn ang="0">
                <a:pos x="28" y="13"/>
              </a:cxn>
              <a:cxn ang="0">
                <a:pos x="30" y="11"/>
              </a:cxn>
              <a:cxn ang="0">
                <a:pos x="33" y="14"/>
              </a:cxn>
              <a:cxn ang="0">
                <a:pos x="37" y="15"/>
              </a:cxn>
              <a:cxn ang="0">
                <a:pos x="37" y="20"/>
              </a:cxn>
              <a:cxn ang="0">
                <a:pos x="6" y="15"/>
              </a:cxn>
            </a:cxnLst>
            <a:rect l="0" t="0" r="r" b="b"/>
            <a:pathLst>
              <a:path w="38" h="42">
                <a:moveTo>
                  <a:pt x="37" y="20"/>
                </a:moveTo>
                <a:cubicBezTo>
                  <a:pt x="37" y="20"/>
                  <a:pt x="37" y="21"/>
                  <a:pt x="38" y="21"/>
                </a:cubicBezTo>
                <a:cubicBezTo>
                  <a:pt x="37" y="22"/>
                  <a:pt x="37" y="21"/>
                  <a:pt x="36" y="22"/>
                </a:cubicBezTo>
                <a:cubicBezTo>
                  <a:pt x="36" y="22"/>
                  <a:pt x="37" y="22"/>
                  <a:pt x="37" y="22"/>
                </a:cubicBezTo>
                <a:cubicBezTo>
                  <a:pt x="37" y="23"/>
                  <a:pt x="37" y="23"/>
                  <a:pt x="37" y="24"/>
                </a:cubicBezTo>
                <a:cubicBezTo>
                  <a:pt x="38" y="24"/>
                  <a:pt x="37" y="25"/>
                  <a:pt x="37" y="26"/>
                </a:cubicBezTo>
                <a:cubicBezTo>
                  <a:pt x="38" y="26"/>
                  <a:pt x="37" y="27"/>
                  <a:pt x="36" y="27"/>
                </a:cubicBezTo>
                <a:cubicBezTo>
                  <a:pt x="36" y="27"/>
                  <a:pt x="36" y="29"/>
                  <a:pt x="35" y="29"/>
                </a:cubicBezTo>
                <a:cubicBezTo>
                  <a:pt x="35" y="30"/>
                  <a:pt x="36" y="30"/>
                  <a:pt x="35" y="31"/>
                </a:cubicBezTo>
                <a:cubicBezTo>
                  <a:pt x="34" y="31"/>
                  <a:pt x="34" y="31"/>
                  <a:pt x="34" y="32"/>
                </a:cubicBezTo>
                <a:cubicBezTo>
                  <a:pt x="34" y="32"/>
                  <a:pt x="33" y="32"/>
                  <a:pt x="33" y="32"/>
                </a:cubicBezTo>
                <a:cubicBezTo>
                  <a:pt x="33" y="32"/>
                  <a:pt x="34" y="33"/>
                  <a:pt x="34" y="32"/>
                </a:cubicBezTo>
                <a:cubicBezTo>
                  <a:pt x="34" y="33"/>
                  <a:pt x="34" y="33"/>
                  <a:pt x="34" y="33"/>
                </a:cubicBezTo>
                <a:cubicBezTo>
                  <a:pt x="34" y="34"/>
                  <a:pt x="33" y="34"/>
                  <a:pt x="34" y="34"/>
                </a:cubicBezTo>
                <a:cubicBezTo>
                  <a:pt x="33" y="34"/>
                  <a:pt x="32" y="34"/>
                  <a:pt x="32" y="34"/>
                </a:cubicBezTo>
                <a:cubicBezTo>
                  <a:pt x="32" y="34"/>
                  <a:pt x="31" y="34"/>
                  <a:pt x="30" y="34"/>
                </a:cubicBezTo>
                <a:cubicBezTo>
                  <a:pt x="30" y="33"/>
                  <a:pt x="30" y="33"/>
                  <a:pt x="31" y="33"/>
                </a:cubicBezTo>
                <a:cubicBezTo>
                  <a:pt x="30" y="33"/>
                  <a:pt x="30" y="33"/>
                  <a:pt x="30" y="33"/>
                </a:cubicBezTo>
                <a:cubicBezTo>
                  <a:pt x="30" y="33"/>
                  <a:pt x="30" y="34"/>
                  <a:pt x="30" y="34"/>
                </a:cubicBezTo>
                <a:cubicBezTo>
                  <a:pt x="30" y="34"/>
                  <a:pt x="29" y="34"/>
                  <a:pt x="29" y="34"/>
                </a:cubicBezTo>
                <a:cubicBezTo>
                  <a:pt x="29" y="34"/>
                  <a:pt x="29" y="33"/>
                  <a:pt x="29" y="33"/>
                </a:cubicBezTo>
                <a:cubicBezTo>
                  <a:pt x="29" y="33"/>
                  <a:pt x="29" y="34"/>
                  <a:pt x="29" y="34"/>
                </a:cubicBezTo>
                <a:cubicBezTo>
                  <a:pt x="28" y="34"/>
                  <a:pt x="28" y="34"/>
                  <a:pt x="28" y="34"/>
                </a:cubicBezTo>
                <a:cubicBezTo>
                  <a:pt x="28" y="34"/>
                  <a:pt x="28" y="34"/>
                  <a:pt x="28" y="34"/>
                </a:cubicBezTo>
                <a:cubicBezTo>
                  <a:pt x="28" y="34"/>
                  <a:pt x="27" y="34"/>
                  <a:pt x="27" y="34"/>
                </a:cubicBezTo>
                <a:cubicBezTo>
                  <a:pt x="27" y="34"/>
                  <a:pt x="26" y="34"/>
                  <a:pt x="26" y="34"/>
                </a:cubicBezTo>
                <a:cubicBezTo>
                  <a:pt x="25" y="34"/>
                  <a:pt x="23" y="35"/>
                  <a:pt x="23" y="35"/>
                </a:cubicBezTo>
                <a:cubicBezTo>
                  <a:pt x="24" y="35"/>
                  <a:pt x="23" y="36"/>
                  <a:pt x="23" y="36"/>
                </a:cubicBezTo>
                <a:cubicBezTo>
                  <a:pt x="23" y="36"/>
                  <a:pt x="22" y="37"/>
                  <a:pt x="21" y="36"/>
                </a:cubicBezTo>
                <a:cubicBezTo>
                  <a:pt x="21" y="36"/>
                  <a:pt x="21" y="37"/>
                  <a:pt x="21" y="37"/>
                </a:cubicBezTo>
                <a:cubicBezTo>
                  <a:pt x="21" y="37"/>
                  <a:pt x="20" y="37"/>
                  <a:pt x="20" y="37"/>
                </a:cubicBezTo>
                <a:cubicBezTo>
                  <a:pt x="20" y="37"/>
                  <a:pt x="19" y="38"/>
                  <a:pt x="19" y="38"/>
                </a:cubicBezTo>
                <a:cubicBezTo>
                  <a:pt x="19" y="38"/>
                  <a:pt x="18" y="38"/>
                  <a:pt x="18" y="38"/>
                </a:cubicBezTo>
                <a:cubicBezTo>
                  <a:pt x="18" y="37"/>
                  <a:pt x="18" y="37"/>
                  <a:pt x="18" y="37"/>
                </a:cubicBezTo>
                <a:cubicBezTo>
                  <a:pt x="18" y="37"/>
                  <a:pt x="18" y="37"/>
                  <a:pt x="18" y="37"/>
                </a:cubicBezTo>
                <a:cubicBezTo>
                  <a:pt x="18" y="37"/>
                  <a:pt x="17" y="37"/>
                  <a:pt x="16" y="37"/>
                </a:cubicBezTo>
                <a:cubicBezTo>
                  <a:pt x="17" y="37"/>
                  <a:pt x="17" y="37"/>
                  <a:pt x="17" y="37"/>
                </a:cubicBezTo>
                <a:cubicBezTo>
                  <a:pt x="17" y="37"/>
                  <a:pt x="17" y="38"/>
                  <a:pt x="17" y="38"/>
                </a:cubicBezTo>
                <a:cubicBezTo>
                  <a:pt x="17" y="38"/>
                  <a:pt x="16" y="39"/>
                  <a:pt x="16" y="39"/>
                </a:cubicBezTo>
                <a:cubicBezTo>
                  <a:pt x="16" y="39"/>
                  <a:pt x="15" y="39"/>
                  <a:pt x="15" y="39"/>
                </a:cubicBezTo>
                <a:cubicBezTo>
                  <a:pt x="15" y="39"/>
                  <a:pt x="15" y="39"/>
                  <a:pt x="15" y="39"/>
                </a:cubicBezTo>
                <a:cubicBezTo>
                  <a:pt x="15" y="39"/>
                  <a:pt x="15" y="39"/>
                  <a:pt x="15" y="40"/>
                </a:cubicBezTo>
                <a:cubicBezTo>
                  <a:pt x="15" y="39"/>
                  <a:pt x="14" y="40"/>
                  <a:pt x="13" y="40"/>
                </a:cubicBezTo>
                <a:cubicBezTo>
                  <a:pt x="14" y="40"/>
                  <a:pt x="14" y="40"/>
                  <a:pt x="14" y="40"/>
                </a:cubicBezTo>
                <a:cubicBezTo>
                  <a:pt x="14" y="40"/>
                  <a:pt x="13" y="40"/>
                  <a:pt x="12" y="40"/>
                </a:cubicBezTo>
                <a:cubicBezTo>
                  <a:pt x="12" y="40"/>
                  <a:pt x="12" y="41"/>
                  <a:pt x="12" y="40"/>
                </a:cubicBezTo>
                <a:cubicBezTo>
                  <a:pt x="12" y="40"/>
                  <a:pt x="10" y="40"/>
                  <a:pt x="10" y="40"/>
                </a:cubicBezTo>
                <a:cubicBezTo>
                  <a:pt x="10" y="41"/>
                  <a:pt x="8" y="41"/>
                  <a:pt x="8" y="41"/>
                </a:cubicBezTo>
                <a:cubicBezTo>
                  <a:pt x="8" y="41"/>
                  <a:pt x="8" y="41"/>
                  <a:pt x="8" y="41"/>
                </a:cubicBezTo>
                <a:cubicBezTo>
                  <a:pt x="8" y="41"/>
                  <a:pt x="8" y="41"/>
                  <a:pt x="8" y="41"/>
                </a:cubicBezTo>
                <a:cubicBezTo>
                  <a:pt x="8" y="41"/>
                  <a:pt x="8" y="41"/>
                  <a:pt x="8" y="41"/>
                </a:cubicBezTo>
                <a:cubicBezTo>
                  <a:pt x="8" y="40"/>
                  <a:pt x="7" y="41"/>
                  <a:pt x="7" y="41"/>
                </a:cubicBezTo>
                <a:cubicBezTo>
                  <a:pt x="7" y="41"/>
                  <a:pt x="6" y="41"/>
                  <a:pt x="6" y="41"/>
                </a:cubicBezTo>
                <a:cubicBezTo>
                  <a:pt x="6" y="41"/>
                  <a:pt x="6" y="41"/>
                  <a:pt x="5" y="41"/>
                </a:cubicBezTo>
                <a:cubicBezTo>
                  <a:pt x="5" y="41"/>
                  <a:pt x="4" y="42"/>
                  <a:pt x="4" y="41"/>
                </a:cubicBezTo>
                <a:cubicBezTo>
                  <a:pt x="4" y="41"/>
                  <a:pt x="6" y="40"/>
                  <a:pt x="7" y="40"/>
                </a:cubicBezTo>
                <a:cubicBezTo>
                  <a:pt x="6" y="40"/>
                  <a:pt x="5" y="41"/>
                  <a:pt x="4" y="41"/>
                </a:cubicBezTo>
                <a:cubicBezTo>
                  <a:pt x="5" y="40"/>
                  <a:pt x="8" y="39"/>
                  <a:pt x="8" y="39"/>
                </a:cubicBezTo>
                <a:cubicBezTo>
                  <a:pt x="8" y="39"/>
                  <a:pt x="7" y="38"/>
                  <a:pt x="7" y="38"/>
                </a:cubicBezTo>
                <a:cubicBezTo>
                  <a:pt x="7" y="38"/>
                  <a:pt x="6" y="39"/>
                  <a:pt x="6" y="39"/>
                </a:cubicBezTo>
                <a:cubicBezTo>
                  <a:pt x="5" y="39"/>
                  <a:pt x="3" y="40"/>
                  <a:pt x="2" y="40"/>
                </a:cubicBezTo>
                <a:cubicBezTo>
                  <a:pt x="2" y="40"/>
                  <a:pt x="3" y="40"/>
                  <a:pt x="2" y="39"/>
                </a:cubicBezTo>
                <a:cubicBezTo>
                  <a:pt x="3" y="39"/>
                  <a:pt x="3" y="39"/>
                  <a:pt x="3" y="39"/>
                </a:cubicBezTo>
                <a:cubicBezTo>
                  <a:pt x="3" y="39"/>
                  <a:pt x="4" y="38"/>
                  <a:pt x="4" y="38"/>
                </a:cubicBezTo>
                <a:cubicBezTo>
                  <a:pt x="4" y="38"/>
                  <a:pt x="5" y="38"/>
                  <a:pt x="5" y="38"/>
                </a:cubicBezTo>
                <a:cubicBezTo>
                  <a:pt x="5" y="38"/>
                  <a:pt x="5" y="38"/>
                  <a:pt x="5" y="38"/>
                </a:cubicBezTo>
                <a:cubicBezTo>
                  <a:pt x="6" y="37"/>
                  <a:pt x="6" y="37"/>
                  <a:pt x="7" y="37"/>
                </a:cubicBezTo>
                <a:cubicBezTo>
                  <a:pt x="6" y="37"/>
                  <a:pt x="5" y="38"/>
                  <a:pt x="4" y="38"/>
                </a:cubicBezTo>
                <a:cubicBezTo>
                  <a:pt x="3" y="38"/>
                  <a:pt x="3" y="38"/>
                  <a:pt x="2" y="38"/>
                </a:cubicBezTo>
                <a:cubicBezTo>
                  <a:pt x="2" y="38"/>
                  <a:pt x="2" y="38"/>
                  <a:pt x="1" y="38"/>
                </a:cubicBezTo>
                <a:cubicBezTo>
                  <a:pt x="2" y="38"/>
                  <a:pt x="2" y="37"/>
                  <a:pt x="1" y="37"/>
                </a:cubicBezTo>
                <a:cubicBezTo>
                  <a:pt x="1" y="37"/>
                  <a:pt x="1" y="38"/>
                  <a:pt x="0" y="38"/>
                </a:cubicBezTo>
                <a:cubicBezTo>
                  <a:pt x="0" y="38"/>
                  <a:pt x="0" y="38"/>
                  <a:pt x="0" y="37"/>
                </a:cubicBezTo>
                <a:cubicBezTo>
                  <a:pt x="0" y="37"/>
                  <a:pt x="0" y="37"/>
                  <a:pt x="0" y="37"/>
                </a:cubicBezTo>
                <a:cubicBezTo>
                  <a:pt x="0" y="37"/>
                  <a:pt x="1" y="37"/>
                  <a:pt x="1" y="37"/>
                </a:cubicBezTo>
                <a:cubicBezTo>
                  <a:pt x="1" y="36"/>
                  <a:pt x="2" y="36"/>
                  <a:pt x="2" y="35"/>
                </a:cubicBezTo>
                <a:cubicBezTo>
                  <a:pt x="3" y="35"/>
                  <a:pt x="4" y="35"/>
                  <a:pt x="4" y="35"/>
                </a:cubicBezTo>
                <a:cubicBezTo>
                  <a:pt x="4" y="35"/>
                  <a:pt x="4" y="35"/>
                  <a:pt x="4" y="34"/>
                </a:cubicBezTo>
                <a:cubicBezTo>
                  <a:pt x="5" y="35"/>
                  <a:pt x="5" y="34"/>
                  <a:pt x="6" y="34"/>
                </a:cubicBezTo>
                <a:cubicBezTo>
                  <a:pt x="5" y="34"/>
                  <a:pt x="5" y="34"/>
                  <a:pt x="4" y="34"/>
                </a:cubicBezTo>
                <a:cubicBezTo>
                  <a:pt x="4" y="34"/>
                  <a:pt x="4" y="34"/>
                  <a:pt x="4" y="34"/>
                </a:cubicBezTo>
                <a:cubicBezTo>
                  <a:pt x="4" y="34"/>
                  <a:pt x="4" y="34"/>
                  <a:pt x="4" y="34"/>
                </a:cubicBezTo>
                <a:cubicBezTo>
                  <a:pt x="4" y="34"/>
                  <a:pt x="3" y="34"/>
                  <a:pt x="3" y="34"/>
                </a:cubicBezTo>
                <a:cubicBezTo>
                  <a:pt x="2" y="35"/>
                  <a:pt x="2" y="34"/>
                  <a:pt x="2" y="34"/>
                </a:cubicBezTo>
                <a:cubicBezTo>
                  <a:pt x="2" y="34"/>
                  <a:pt x="1" y="34"/>
                  <a:pt x="1" y="35"/>
                </a:cubicBezTo>
                <a:cubicBezTo>
                  <a:pt x="1" y="35"/>
                  <a:pt x="1" y="34"/>
                  <a:pt x="1" y="35"/>
                </a:cubicBezTo>
                <a:cubicBezTo>
                  <a:pt x="0" y="35"/>
                  <a:pt x="0" y="35"/>
                  <a:pt x="0" y="35"/>
                </a:cubicBezTo>
                <a:cubicBezTo>
                  <a:pt x="0" y="34"/>
                  <a:pt x="0" y="34"/>
                  <a:pt x="0" y="34"/>
                </a:cubicBezTo>
                <a:cubicBezTo>
                  <a:pt x="0" y="34"/>
                  <a:pt x="0" y="34"/>
                  <a:pt x="0" y="34"/>
                </a:cubicBezTo>
                <a:cubicBezTo>
                  <a:pt x="0" y="34"/>
                  <a:pt x="1" y="33"/>
                  <a:pt x="1" y="33"/>
                </a:cubicBezTo>
                <a:cubicBezTo>
                  <a:pt x="2" y="33"/>
                  <a:pt x="2" y="33"/>
                  <a:pt x="2" y="33"/>
                </a:cubicBezTo>
                <a:cubicBezTo>
                  <a:pt x="3" y="33"/>
                  <a:pt x="2" y="33"/>
                  <a:pt x="2" y="33"/>
                </a:cubicBezTo>
                <a:cubicBezTo>
                  <a:pt x="3" y="33"/>
                  <a:pt x="4" y="33"/>
                  <a:pt x="3" y="32"/>
                </a:cubicBezTo>
                <a:cubicBezTo>
                  <a:pt x="3" y="32"/>
                  <a:pt x="4" y="32"/>
                  <a:pt x="4" y="32"/>
                </a:cubicBezTo>
                <a:cubicBezTo>
                  <a:pt x="4" y="33"/>
                  <a:pt x="4" y="33"/>
                  <a:pt x="4" y="33"/>
                </a:cubicBezTo>
                <a:cubicBezTo>
                  <a:pt x="5" y="33"/>
                  <a:pt x="5" y="33"/>
                  <a:pt x="5" y="33"/>
                </a:cubicBezTo>
                <a:cubicBezTo>
                  <a:pt x="5" y="33"/>
                  <a:pt x="6" y="33"/>
                  <a:pt x="6" y="33"/>
                </a:cubicBezTo>
                <a:cubicBezTo>
                  <a:pt x="6" y="33"/>
                  <a:pt x="5" y="33"/>
                  <a:pt x="5" y="33"/>
                </a:cubicBezTo>
                <a:cubicBezTo>
                  <a:pt x="5" y="33"/>
                  <a:pt x="5" y="33"/>
                  <a:pt x="5" y="33"/>
                </a:cubicBezTo>
                <a:cubicBezTo>
                  <a:pt x="5" y="33"/>
                  <a:pt x="6" y="32"/>
                  <a:pt x="5" y="32"/>
                </a:cubicBezTo>
                <a:cubicBezTo>
                  <a:pt x="5" y="32"/>
                  <a:pt x="4" y="31"/>
                  <a:pt x="5" y="31"/>
                </a:cubicBezTo>
                <a:cubicBezTo>
                  <a:pt x="5" y="31"/>
                  <a:pt x="5" y="31"/>
                  <a:pt x="6" y="31"/>
                </a:cubicBezTo>
                <a:cubicBezTo>
                  <a:pt x="6" y="31"/>
                  <a:pt x="7" y="31"/>
                  <a:pt x="7" y="31"/>
                </a:cubicBezTo>
                <a:cubicBezTo>
                  <a:pt x="6" y="30"/>
                  <a:pt x="7" y="30"/>
                  <a:pt x="8" y="30"/>
                </a:cubicBezTo>
                <a:cubicBezTo>
                  <a:pt x="8" y="30"/>
                  <a:pt x="9" y="30"/>
                  <a:pt x="10" y="30"/>
                </a:cubicBezTo>
                <a:cubicBezTo>
                  <a:pt x="11" y="30"/>
                  <a:pt x="12" y="29"/>
                  <a:pt x="13" y="29"/>
                </a:cubicBezTo>
                <a:cubicBezTo>
                  <a:pt x="13" y="29"/>
                  <a:pt x="14" y="29"/>
                  <a:pt x="15" y="29"/>
                </a:cubicBezTo>
                <a:cubicBezTo>
                  <a:pt x="14" y="29"/>
                  <a:pt x="13" y="29"/>
                  <a:pt x="13" y="28"/>
                </a:cubicBezTo>
                <a:cubicBezTo>
                  <a:pt x="13" y="28"/>
                  <a:pt x="13" y="28"/>
                  <a:pt x="13" y="28"/>
                </a:cubicBezTo>
                <a:cubicBezTo>
                  <a:pt x="12" y="28"/>
                  <a:pt x="12" y="28"/>
                  <a:pt x="12" y="29"/>
                </a:cubicBezTo>
                <a:cubicBezTo>
                  <a:pt x="11" y="29"/>
                  <a:pt x="10" y="30"/>
                  <a:pt x="10" y="29"/>
                </a:cubicBezTo>
                <a:cubicBezTo>
                  <a:pt x="10" y="29"/>
                  <a:pt x="10" y="29"/>
                  <a:pt x="10" y="29"/>
                </a:cubicBezTo>
                <a:cubicBezTo>
                  <a:pt x="10" y="29"/>
                  <a:pt x="9" y="29"/>
                  <a:pt x="9" y="29"/>
                </a:cubicBezTo>
                <a:cubicBezTo>
                  <a:pt x="8" y="29"/>
                  <a:pt x="8" y="29"/>
                  <a:pt x="8" y="29"/>
                </a:cubicBezTo>
                <a:cubicBezTo>
                  <a:pt x="8" y="29"/>
                  <a:pt x="7" y="29"/>
                  <a:pt x="7" y="29"/>
                </a:cubicBezTo>
                <a:cubicBezTo>
                  <a:pt x="6" y="30"/>
                  <a:pt x="5" y="30"/>
                  <a:pt x="5" y="30"/>
                </a:cubicBezTo>
                <a:cubicBezTo>
                  <a:pt x="5" y="30"/>
                  <a:pt x="5" y="30"/>
                  <a:pt x="6" y="29"/>
                </a:cubicBezTo>
                <a:cubicBezTo>
                  <a:pt x="6" y="29"/>
                  <a:pt x="6" y="29"/>
                  <a:pt x="7" y="29"/>
                </a:cubicBezTo>
                <a:cubicBezTo>
                  <a:pt x="7" y="28"/>
                  <a:pt x="7" y="28"/>
                  <a:pt x="8" y="28"/>
                </a:cubicBezTo>
                <a:cubicBezTo>
                  <a:pt x="8" y="28"/>
                  <a:pt x="8" y="28"/>
                  <a:pt x="8" y="28"/>
                </a:cubicBezTo>
                <a:cubicBezTo>
                  <a:pt x="9" y="27"/>
                  <a:pt x="9" y="27"/>
                  <a:pt x="10" y="26"/>
                </a:cubicBezTo>
                <a:cubicBezTo>
                  <a:pt x="10" y="26"/>
                  <a:pt x="9" y="26"/>
                  <a:pt x="9" y="26"/>
                </a:cubicBezTo>
                <a:cubicBezTo>
                  <a:pt x="9" y="26"/>
                  <a:pt x="10" y="25"/>
                  <a:pt x="10" y="25"/>
                </a:cubicBezTo>
                <a:cubicBezTo>
                  <a:pt x="10" y="25"/>
                  <a:pt x="10" y="24"/>
                  <a:pt x="11" y="24"/>
                </a:cubicBezTo>
                <a:cubicBezTo>
                  <a:pt x="11" y="24"/>
                  <a:pt x="12" y="24"/>
                  <a:pt x="12" y="24"/>
                </a:cubicBezTo>
                <a:cubicBezTo>
                  <a:pt x="12" y="24"/>
                  <a:pt x="12" y="24"/>
                  <a:pt x="12" y="24"/>
                </a:cubicBezTo>
                <a:cubicBezTo>
                  <a:pt x="12" y="23"/>
                  <a:pt x="13" y="24"/>
                  <a:pt x="13" y="24"/>
                </a:cubicBezTo>
                <a:cubicBezTo>
                  <a:pt x="13" y="24"/>
                  <a:pt x="13" y="24"/>
                  <a:pt x="13" y="23"/>
                </a:cubicBezTo>
                <a:cubicBezTo>
                  <a:pt x="13" y="23"/>
                  <a:pt x="13" y="24"/>
                  <a:pt x="14" y="24"/>
                </a:cubicBezTo>
                <a:cubicBezTo>
                  <a:pt x="13" y="23"/>
                  <a:pt x="14" y="23"/>
                  <a:pt x="14" y="23"/>
                </a:cubicBezTo>
                <a:cubicBezTo>
                  <a:pt x="14" y="23"/>
                  <a:pt x="13" y="23"/>
                  <a:pt x="13" y="23"/>
                </a:cubicBezTo>
                <a:cubicBezTo>
                  <a:pt x="13" y="23"/>
                  <a:pt x="13" y="23"/>
                  <a:pt x="13" y="23"/>
                </a:cubicBezTo>
                <a:cubicBezTo>
                  <a:pt x="13" y="23"/>
                  <a:pt x="14" y="23"/>
                  <a:pt x="14" y="22"/>
                </a:cubicBezTo>
                <a:cubicBezTo>
                  <a:pt x="13" y="22"/>
                  <a:pt x="12" y="23"/>
                  <a:pt x="11" y="23"/>
                </a:cubicBezTo>
                <a:cubicBezTo>
                  <a:pt x="10" y="23"/>
                  <a:pt x="10" y="23"/>
                  <a:pt x="9" y="23"/>
                </a:cubicBezTo>
                <a:cubicBezTo>
                  <a:pt x="9" y="23"/>
                  <a:pt x="9" y="22"/>
                  <a:pt x="9" y="22"/>
                </a:cubicBezTo>
                <a:cubicBezTo>
                  <a:pt x="8" y="22"/>
                  <a:pt x="8" y="23"/>
                  <a:pt x="8" y="23"/>
                </a:cubicBezTo>
                <a:cubicBezTo>
                  <a:pt x="8" y="22"/>
                  <a:pt x="9" y="22"/>
                  <a:pt x="9" y="22"/>
                </a:cubicBezTo>
                <a:cubicBezTo>
                  <a:pt x="9" y="22"/>
                  <a:pt x="8" y="21"/>
                  <a:pt x="9" y="21"/>
                </a:cubicBezTo>
                <a:cubicBezTo>
                  <a:pt x="8" y="21"/>
                  <a:pt x="8" y="22"/>
                  <a:pt x="8" y="21"/>
                </a:cubicBezTo>
                <a:cubicBezTo>
                  <a:pt x="8" y="21"/>
                  <a:pt x="7" y="22"/>
                  <a:pt x="7" y="22"/>
                </a:cubicBezTo>
                <a:cubicBezTo>
                  <a:pt x="7" y="22"/>
                  <a:pt x="6" y="22"/>
                  <a:pt x="6" y="22"/>
                </a:cubicBezTo>
                <a:cubicBezTo>
                  <a:pt x="6" y="22"/>
                  <a:pt x="7" y="21"/>
                  <a:pt x="7" y="21"/>
                </a:cubicBezTo>
                <a:cubicBezTo>
                  <a:pt x="7" y="21"/>
                  <a:pt x="7" y="21"/>
                  <a:pt x="6" y="21"/>
                </a:cubicBezTo>
                <a:cubicBezTo>
                  <a:pt x="6" y="21"/>
                  <a:pt x="6" y="21"/>
                  <a:pt x="6" y="21"/>
                </a:cubicBezTo>
                <a:cubicBezTo>
                  <a:pt x="6" y="21"/>
                  <a:pt x="6" y="21"/>
                  <a:pt x="5" y="21"/>
                </a:cubicBezTo>
                <a:cubicBezTo>
                  <a:pt x="5" y="21"/>
                  <a:pt x="5" y="21"/>
                  <a:pt x="5" y="21"/>
                </a:cubicBezTo>
                <a:cubicBezTo>
                  <a:pt x="4" y="21"/>
                  <a:pt x="4" y="21"/>
                  <a:pt x="4" y="21"/>
                </a:cubicBezTo>
                <a:cubicBezTo>
                  <a:pt x="4" y="21"/>
                  <a:pt x="5" y="21"/>
                  <a:pt x="5" y="20"/>
                </a:cubicBezTo>
                <a:cubicBezTo>
                  <a:pt x="5" y="20"/>
                  <a:pt x="5" y="20"/>
                  <a:pt x="5" y="20"/>
                </a:cubicBezTo>
                <a:cubicBezTo>
                  <a:pt x="5" y="20"/>
                  <a:pt x="5" y="20"/>
                  <a:pt x="4" y="20"/>
                </a:cubicBezTo>
                <a:cubicBezTo>
                  <a:pt x="4" y="20"/>
                  <a:pt x="4" y="19"/>
                  <a:pt x="4" y="20"/>
                </a:cubicBezTo>
                <a:cubicBezTo>
                  <a:pt x="4" y="19"/>
                  <a:pt x="5" y="20"/>
                  <a:pt x="6" y="19"/>
                </a:cubicBezTo>
                <a:cubicBezTo>
                  <a:pt x="6" y="19"/>
                  <a:pt x="5" y="19"/>
                  <a:pt x="5" y="19"/>
                </a:cubicBezTo>
                <a:cubicBezTo>
                  <a:pt x="6" y="18"/>
                  <a:pt x="7" y="19"/>
                  <a:pt x="8" y="19"/>
                </a:cubicBezTo>
                <a:cubicBezTo>
                  <a:pt x="7" y="19"/>
                  <a:pt x="6" y="19"/>
                  <a:pt x="6" y="17"/>
                </a:cubicBezTo>
                <a:cubicBezTo>
                  <a:pt x="7" y="16"/>
                  <a:pt x="9" y="18"/>
                  <a:pt x="9" y="17"/>
                </a:cubicBezTo>
                <a:cubicBezTo>
                  <a:pt x="9" y="17"/>
                  <a:pt x="9" y="17"/>
                  <a:pt x="9" y="17"/>
                </a:cubicBezTo>
                <a:cubicBezTo>
                  <a:pt x="9" y="16"/>
                  <a:pt x="9" y="16"/>
                  <a:pt x="9" y="16"/>
                </a:cubicBezTo>
                <a:cubicBezTo>
                  <a:pt x="9" y="16"/>
                  <a:pt x="8" y="16"/>
                  <a:pt x="8" y="16"/>
                </a:cubicBezTo>
                <a:cubicBezTo>
                  <a:pt x="8" y="16"/>
                  <a:pt x="7" y="16"/>
                  <a:pt x="7" y="16"/>
                </a:cubicBezTo>
                <a:cubicBezTo>
                  <a:pt x="6" y="16"/>
                  <a:pt x="7" y="16"/>
                  <a:pt x="7" y="16"/>
                </a:cubicBezTo>
                <a:cubicBezTo>
                  <a:pt x="7" y="15"/>
                  <a:pt x="8" y="16"/>
                  <a:pt x="8" y="15"/>
                </a:cubicBezTo>
                <a:cubicBezTo>
                  <a:pt x="7" y="15"/>
                  <a:pt x="6" y="14"/>
                  <a:pt x="7" y="14"/>
                </a:cubicBezTo>
                <a:cubicBezTo>
                  <a:pt x="7" y="13"/>
                  <a:pt x="7" y="15"/>
                  <a:pt x="6" y="14"/>
                </a:cubicBezTo>
                <a:cubicBezTo>
                  <a:pt x="6" y="13"/>
                  <a:pt x="7" y="14"/>
                  <a:pt x="7" y="13"/>
                </a:cubicBezTo>
                <a:cubicBezTo>
                  <a:pt x="7" y="13"/>
                  <a:pt x="7" y="12"/>
                  <a:pt x="6" y="12"/>
                </a:cubicBezTo>
                <a:cubicBezTo>
                  <a:pt x="6" y="12"/>
                  <a:pt x="6" y="13"/>
                  <a:pt x="6" y="13"/>
                </a:cubicBezTo>
                <a:cubicBezTo>
                  <a:pt x="6" y="13"/>
                  <a:pt x="6" y="13"/>
                  <a:pt x="6" y="13"/>
                </a:cubicBezTo>
                <a:cubicBezTo>
                  <a:pt x="6" y="13"/>
                  <a:pt x="6" y="14"/>
                  <a:pt x="6" y="14"/>
                </a:cubicBezTo>
                <a:cubicBezTo>
                  <a:pt x="5" y="14"/>
                  <a:pt x="5" y="14"/>
                  <a:pt x="5" y="14"/>
                </a:cubicBezTo>
                <a:cubicBezTo>
                  <a:pt x="5" y="13"/>
                  <a:pt x="6" y="13"/>
                  <a:pt x="6" y="12"/>
                </a:cubicBezTo>
                <a:cubicBezTo>
                  <a:pt x="6" y="12"/>
                  <a:pt x="5" y="13"/>
                  <a:pt x="6" y="12"/>
                </a:cubicBezTo>
                <a:cubicBezTo>
                  <a:pt x="6" y="12"/>
                  <a:pt x="6" y="12"/>
                  <a:pt x="7" y="12"/>
                </a:cubicBezTo>
                <a:cubicBezTo>
                  <a:pt x="8" y="12"/>
                  <a:pt x="6" y="12"/>
                  <a:pt x="7" y="12"/>
                </a:cubicBezTo>
                <a:cubicBezTo>
                  <a:pt x="7" y="13"/>
                  <a:pt x="7" y="12"/>
                  <a:pt x="7" y="12"/>
                </a:cubicBezTo>
                <a:cubicBezTo>
                  <a:pt x="8" y="12"/>
                  <a:pt x="8" y="12"/>
                  <a:pt x="8" y="12"/>
                </a:cubicBezTo>
                <a:cubicBezTo>
                  <a:pt x="8" y="12"/>
                  <a:pt x="8" y="12"/>
                  <a:pt x="8" y="12"/>
                </a:cubicBezTo>
                <a:cubicBezTo>
                  <a:pt x="8" y="12"/>
                  <a:pt x="7" y="12"/>
                  <a:pt x="8" y="11"/>
                </a:cubicBezTo>
                <a:cubicBezTo>
                  <a:pt x="8" y="11"/>
                  <a:pt x="9" y="12"/>
                  <a:pt x="10" y="12"/>
                </a:cubicBezTo>
                <a:cubicBezTo>
                  <a:pt x="10" y="12"/>
                  <a:pt x="11" y="11"/>
                  <a:pt x="11" y="11"/>
                </a:cubicBezTo>
                <a:cubicBezTo>
                  <a:pt x="12" y="11"/>
                  <a:pt x="12" y="12"/>
                  <a:pt x="13" y="12"/>
                </a:cubicBezTo>
                <a:cubicBezTo>
                  <a:pt x="13" y="12"/>
                  <a:pt x="13" y="12"/>
                  <a:pt x="13" y="13"/>
                </a:cubicBezTo>
                <a:cubicBezTo>
                  <a:pt x="13" y="13"/>
                  <a:pt x="13" y="13"/>
                  <a:pt x="13" y="13"/>
                </a:cubicBezTo>
                <a:cubicBezTo>
                  <a:pt x="14" y="12"/>
                  <a:pt x="14" y="12"/>
                  <a:pt x="15" y="12"/>
                </a:cubicBezTo>
                <a:cubicBezTo>
                  <a:pt x="16" y="12"/>
                  <a:pt x="17" y="12"/>
                  <a:pt x="17" y="12"/>
                </a:cubicBezTo>
                <a:cubicBezTo>
                  <a:pt x="18" y="12"/>
                  <a:pt x="18" y="13"/>
                  <a:pt x="18" y="13"/>
                </a:cubicBezTo>
                <a:cubicBezTo>
                  <a:pt x="17" y="12"/>
                  <a:pt x="18" y="12"/>
                  <a:pt x="19" y="12"/>
                </a:cubicBezTo>
                <a:cubicBezTo>
                  <a:pt x="19" y="12"/>
                  <a:pt x="18" y="12"/>
                  <a:pt x="18" y="11"/>
                </a:cubicBezTo>
                <a:cubicBezTo>
                  <a:pt x="18" y="11"/>
                  <a:pt x="18" y="12"/>
                  <a:pt x="18" y="11"/>
                </a:cubicBezTo>
                <a:cubicBezTo>
                  <a:pt x="18" y="11"/>
                  <a:pt x="16" y="11"/>
                  <a:pt x="18" y="11"/>
                </a:cubicBezTo>
                <a:cubicBezTo>
                  <a:pt x="18" y="11"/>
                  <a:pt x="19" y="10"/>
                  <a:pt x="19" y="10"/>
                </a:cubicBezTo>
                <a:cubicBezTo>
                  <a:pt x="19" y="10"/>
                  <a:pt x="19" y="10"/>
                  <a:pt x="19" y="10"/>
                </a:cubicBezTo>
                <a:cubicBezTo>
                  <a:pt x="20" y="10"/>
                  <a:pt x="21" y="10"/>
                  <a:pt x="21" y="9"/>
                </a:cubicBezTo>
                <a:cubicBezTo>
                  <a:pt x="20" y="10"/>
                  <a:pt x="22" y="8"/>
                  <a:pt x="22" y="8"/>
                </a:cubicBezTo>
                <a:cubicBezTo>
                  <a:pt x="22" y="8"/>
                  <a:pt x="21" y="8"/>
                  <a:pt x="21" y="8"/>
                </a:cubicBezTo>
                <a:cubicBezTo>
                  <a:pt x="21" y="8"/>
                  <a:pt x="20" y="9"/>
                  <a:pt x="19" y="9"/>
                </a:cubicBezTo>
                <a:cubicBezTo>
                  <a:pt x="19" y="9"/>
                  <a:pt x="20" y="9"/>
                  <a:pt x="20" y="8"/>
                </a:cubicBezTo>
                <a:cubicBezTo>
                  <a:pt x="20" y="8"/>
                  <a:pt x="20" y="8"/>
                  <a:pt x="20" y="8"/>
                </a:cubicBezTo>
                <a:cubicBezTo>
                  <a:pt x="20" y="9"/>
                  <a:pt x="19" y="8"/>
                  <a:pt x="19" y="8"/>
                </a:cubicBezTo>
                <a:cubicBezTo>
                  <a:pt x="19" y="8"/>
                  <a:pt x="19" y="8"/>
                  <a:pt x="18" y="8"/>
                </a:cubicBezTo>
                <a:cubicBezTo>
                  <a:pt x="18" y="8"/>
                  <a:pt x="18" y="8"/>
                  <a:pt x="17" y="8"/>
                </a:cubicBezTo>
                <a:cubicBezTo>
                  <a:pt x="17" y="8"/>
                  <a:pt x="16" y="8"/>
                  <a:pt x="17" y="7"/>
                </a:cubicBezTo>
                <a:cubicBezTo>
                  <a:pt x="18" y="7"/>
                  <a:pt x="19" y="7"/>
                  <a:pt x="20" y="7"/>
                </a:cubicBezTo>
                <a:cubicBezTo>
                  <a:pt x="19" y="7"/>
                  <a:pt x="19" y="7"/>
                  <a:pt x="19" y="7"/>
                </a:cubicBezTo>
                <a:cubicBezTo>
                  <a:pt x="19" y="6"/>
                  <a:pt x="20" y="7"/>
                  <a:pt x="20" y="7"/>
                </a:cubicBezTo>
                <a:cubicBezTo>
                  <a:pt x="20" y="7"/>
                  <a:pt x="19" y="6"/>
                  <a:pt x="19" y="6"/>
                </a:cubicBezTo>
                <a:cubicBezTo>
                  <a:pt x="19" y="6"/>
                  <a:pt x="19" y="6"/>
                  <a:pt x="19" y="6"/>
                </a:cubicBezTo>
                <a:cubicBezTo>
                  <a:pt x="20" y="6"/>
                  <a:pt x="20" y="6"/>
                  <a:pt x="21" y="6"/>
                </a:cubicBezTo>
                <a:cubicBezTo>
                  <a:pt x="20" y="6"/>
                  <a:pt x="20" y="5"/>
                  <a:pt x="21" y="6"/>
                </a:cubicBezTo>
                <a:cubicBezTo>
                  <a:pt x="21" y="5"/>
                  <a:pt x="20" y="6"/>
                  <a:pt x="20" y="5"/>
                </a:cubicBezTo>
                <a:cubicBezTo>
                  <a:pt x="20" y="5"/>
                  <a:pt x="20" y="5"/>
                  <a:pt x="20" y="5"/>
                </a:cubicBezTo>
                <a:cubicBezTo>
                  <a:pt x="19" y="4"/>
                  <a:pt x="21" y="4"/>
                  <a:pt x="21" y="4"/>
                </a:cubicBezTo>
                <a:cubicBezTo>
                  <a:pt x="21" y="4"/>
                  <a:pt x="21" y="3"/>
                  <a:pt x="21" y="3"/>
                </a:cubicBezTo>
                <a:cubicBezTo>
                  <a:pt x="21" y="3"/>
                  <a:pt x="23" y="2"/>
                  <a:pt x="22" y="3"/>
                </a:cubicBezTo>
                <a:cubicBezTo>
                  <a:pt x="23" y="3"/>
                  <a:pt x="24" y="2"/>
                  <a:pt x="24" y="2"/>
                </a:cubicBezTo>
                <a:cubicBezTo>
                  <a:pt x="24" y="2"/>
                  <a:pt x="24" y="3"/>
                  <a:pt x="24" y="3"/>
                </a:cubicBezTo>
                <a:cubicBezTo>
                  <a:pt x="24" y="2"/>
                  <a:pt x="25" y="3"/>
                  <a:pt x="25" y="3"/>
                </a:cubicBezTo>
                <a:cubicBezTo>
                  <a:pt x="25" y="3"/>
                  <a:pt x="25" y="3"/>
                  <a:pt x="25" y="3"/>
                </a:cubicBezTo>
                <a:cubicBezTo>
                  <a:pt x="25" y="3"/>
                  <a:pt x="25" y="3"/>
                  <a:pt x="25" y="2"/>
                </a:cubicBezTo>
                <a:cubicBezTo>
                  <a:pt x="25" y="2"/>
                  <a:pt x="25" y="2"/>
                  <a:pt x="25" y="2"/>
                </a:cubicBezTo>
                <a:cubicBezTo>
                  <a:pt x="25" y="2"/>
                  <a:pt x="25" y="3"/>
                  <a:pt x="26" y="2"/>
                </a:cubicBezTo>
                <a:cubicBezTo>
                  <a:pt x="26" y="2"/>
                  <a:pt x="26" y="3"/>
                  <a:pt x="26" y="3"/>
                </a:cubicBezTo>
                <a:cubicBezTo>
                  <a:pt x="27" y="3"/>
                  <a:pt x="26" y="3"/>
                  <a:pt x="26" y="2"/>
                </a:cubicBezTo>
                <a:cubicBezTo>
                  <a:pt x="26" y="2"/>
                  <a:pt x="26" y="3"/>
                  <a:pt x="26" y="2"/>
                </a:cubicBezTo>
                <a:cubicBezTo>
                  <a:pt x="25" y="2"/>
                  <a:pt x="26" y="2"/>
                  <a:pt x="27" y="2"/>
                </a:cubicBezTo>
                <a:cubicBezTo>
                  <a:pt x="27" y="1"/>
                  <a:pt x="27" y="2"/>
                  <a:pt x="27" y="3"/>
                </a:cubicBezTo>
                <a:cubicBezTo>
                  <a:pt x="28" y="3"/>
                  <a:pt x="27" y="4"/>
                  <a:pt x="27" y="4"/>
                </a:cubicBezTo>
                <a:cubicBezTo>
                  <a:pt x="27" y="4"/>
                  <a:pt x="27" y="4"/>
                  <a:pt x="27" y="4"/>
                </a:cubicBezTo>
                <a:cubicBezTo>
                  <a:pt x="27" y="4"/>
                  <a:pt x="26" y="5"/>
                  <a:pt x="26" y="5"/>
                </a:cubicBezTo>
                <a:cubicBezTo>
                  <a:pt x="27" y="5"/>
                  <a:pt x="28" y="4"/>
                  <a:pt x="28" y="3"/>
                </a:cubicBezTo>
                <a:cubicBezTo>
                  <a:pt x="28" y="3"/>
                  <a:pt x="27" y="2"/>
                  <a:pt x="28" y="1"/>
                </a:cubicBezTo>
                <a:cubicBezTo>
                  <a:pt x="28" y="1"/>
                  <a:pt x="29" y="1"/>
                  <a:pt x="29" y="1"/>
                </a:cubicBezTo>
                <a:cubicBezTo>
                  <a:pt x="29" y="1"/>
                  <a:pt x="30" y="1"/>
                  <a:pt x="29" y="1"/>
                </a:cubicBezTo>
                <a:cubicBezTo>
                  <a:pt x="30" y="1"/>
                  <a:pt x="30" y="1"/>
                  <a:pt x="30" y="1"/>
                </a:cubicBezTo>
                <a:cubicBezTo>
                  <a:pt x="30" y="1"/>
                  <a:pt x="29" y="1"/>
                  <a:pt x="29" y="0"/>
                </a:cubicBezTo>
                <a:cubicBezTo>
                  <a:pt x="29" y="0"/>
                  <a:pt x="32" y="2"/>
                  <a:pt x="32" y="2"/>
                </a:cubicBezTo>
                <a:cubicBezTo>
                  <a:pt x="32" y="2"/>
                  <a:pt x="31" y="3"/>
                  <a:pt x="30" y="3"/>
                </a:cubicBezTo>
                <a:cubicBezTo>
                  <a:pt x="30" y="3"/>
                  <a:pt x="30" y="4"/>
                  <a:pt x="29" y="4"/>
                </a:cubicBezTo>
                <a:cubicBezTo>
                  <a:pt x="29" y="4"/>
                  <a:pt x="29" y="4"/>
                  <a:pt x="28" y="4"/>
                </a:cubicBezTo>
                <a:cubicBezTo>
                  <a:pt x="28" y="5"/>
                  <a:pt x="27" y="6"/>
                  <a:pt x="27" y="7"/>
                </a:cubicBezTo>
                <a:cubicBezTo>
                  <a:pt x="27" y="7"/>
                  <a:pt x="26" y="7"/>
                  <a:pt x="26" y="7"/>
                </a:cubicBezTo>
                <a:cubicBezTo>
                  <a:pt x="25" y="7"/>
                  <a:pt x="25" y="7"/>
                  <a:pt x="25" y="7"/>
                </a:cubicBezTo>
                <a:cubicBezTo>
                  <a:pt x="24" y="7"/>
                  <a:pt x="24" y="7"/>
                  <a:pt x="24" y="7"/>
                </a:cubicBezTo>
                <a:cubicBezTo>
                  <a:pt x="24" y="8"/>
                  <a:pt x="25" y="9"/>
                  <a:pt x="25" y="8"/>
                </a:cubicBezTo>
                <a:cubicBezTo>
                  <a:pt x="26" y="9"/>
                  <a:pt x="24" y="9"/>
                  <a:pt x="24" y="9"/>
                </a:cubicBezTo>
                <a:cubicBezTo>
                  <a:pt x="23" y="9"/>
                  <a:pt x="22" y="10"/>
                  <a:pt x="22" y="10"/>
                </a:cubicBezTo>
                <a:cubicBezTo>
                  <a:pt x="22" y="10"/>
                  <a:pt x="22" y="11"/>
                  <a:pt x="23" y="11"/>
                </a:cubicBezTo>
                <a:cubicBezTo>
                  <a:pt x="23" y="12"/>
                  <a:pt x="23" y="12"/>
                  <a:pt x="23" y="12"/>
                </a:cubicBezTo>
                <a:cubicBezTo>
                  <a:pt x="24" y="12"/>
                  <a:pt x="24" y="12"/>
                  <a:pt x="24" y="13"/>
                </a:cubicBezTo>
                <a:cubicBezTo>
                  <a:pt x="25" y="13"/>
                  <a:pt x="25" y="13"/>
                  <a:pt x="25" y="13"/>
                </a:cubicBezTo>
                <a:cubicBezTo>
                  <a:pt x="26" y="13"/>
                  <a:pt x="26" y="13"/>
                  <a:pt x="26" y="13"/>
                </a:cubicBezTo>
                <a:cubicBezTo>
                  <a:pt x="27" y="13"/>
                  <a:pt x="27" y="13"/>
                  <a:pt x="27" y="13"/>
                </a:cubicBezTo>
                <a:cubicBezTo>
                  <a:pt x="28" y="13"/>
                  <a:pt x="28" y="14"/>
                  <a:pt x="28" y="14"/>
                </a:cubicBezTo>
                <a:cubicBezTo>
                  <a:pt x="28" y="13"/>
                  <a:pt x="28" y="13"/>
                  <a:pt x="28" y="13"/>
                </a:cubicBezTo>
                <a:cubicBezTo>
                  <a:pt x="28" y="13"/>
                  <a:pt x="28" y="13"/>
                  <a:pt x="28" y="13"/>
                </a:cubicBezTo>
                <a:cubicBezTo>
                  <a:pt x="29" y="13"/>
                  <a:pt x="29" y="13"/>
                  <a:pt x="29" y="13"/>
                </a:cubicBezTo>
                <a:cubicBezTo>
                  <a:pt x="29" y="13"/>
                  <a:pt x="29" y="13"/>
                  <a:pt x="29" y="12"/>
                </a:cubicBezTo>
                <a:cubicBezTo>
                  <a:pt x="30" y="12"/>
                  <a:pt x="29" y="12"/>
                  <a:pt x="29" y="12"/>
                </a:cubicBezTo>
                <a:cubicBezTo>
                  <a:pt x="29" y="11"/>
                  <a:pt x="30" y="11"/>
                  <a:pt x="30" y="11"/>
                </a:cubicBezTo>
                <a:cubicBezTo>
                  <a:pt x="31" y="10"/>
                  <a:pt x="31" y="10"/>
                  <a:pt x="32" y="11"/>
                </a:cubicBezTo>
                <a:cubicBezTo>
                  <a:pt x="32" y="11"/>
                  <a:pt x="32" y="11"/>
                  <a:pt x="32" y="12"/>
                </a:cubicBezTo>
                <a:cubicBezTo>
                  <a:pt x="32" y="12"/>
                  <a:pt x="32" y="12"/>
                  <a:pt x="32" y="12"/>
                </a:cubicBezTo>
                <a:cubicBezTo>
                  <a:pt x="33" y="13"/>
                  <a:pt x="33" y="12"/>
                  <a:pt x="34" y="13"/>
                </a:cubicBezTo>
                <a:cubicBezTo>
                  <a:pt x="34" y="13"/>
                  <a:pt x="33" y="14"/>
                  <a:pt x="33" y="14"/>
                </a:cubicBezTo>
                <a:cubicBezTo>
                  <a:pt x="33" y="15"/>
                  <a:pt x="35" y="14"/>
                  <a:pt x="35" y="14"/>
                </a:cubicBezTo>
                <a:cubicBezTo>
                  <a:pt x="35" y="14"/>
                  <a:pt x="35" y="14"/>
                  <a:pt x="36" y="14"/>
                </a:cubicBezTo>
                <a:cubicBezTo>
                  <a:pt x="36" y="14"/>
                  <a:pt x="36" y="14"/>
                  <a:pt x="36" y="14"/>
                </a:cubicBezTo>
                <a:cubicBezTo>
                  <a:pt x="36" y="13"/>
                  <a:pt x="37" y="14"/>
                  <a:pt x="37" y="14"/>
                </a:cubicBezTo>
                <a:cubicBezTo>
                  <a:pt x="37" y="14"/>
                  <a:pt x="38" y="15"/>
                  <a:pt x="37" y="15"/>
                </a:cubicBezTo>
                <a:cubicBezTo>
                  <a:pt x="37" y="15"/>
                  <a:pt x="36" y="14"/>
                  <a:pt x="36" y="15"/>
                </a:cubicBezTo>
                <a:cubicBezTo>
                  <a:pt x="35" y="15"/>
                  <a:pt x="36" y="16"/>
                  <a:pt x="36" y="16"/>
                </a:cubicBezTo>
                <a:cubicBezTo>
                  <a:pt x="37" y="16"/>
                  <a:pt x="36" y="17"/>
                  <a:pt x="36" y="18"/>
                </a:cubicBezTo>
                <a:cubicBezTo>
                  <a:pt x="36" y="19"/>
                  <a:pt x="37" y="19"/>
                  <a:pt x="37" y="19"/>
                </a:cubicBezTo>
                <a:cubicBezTo>
                  <a:pt x="38" y="19"/>
                  <a:pt x="38" y="20"/>
                  <a:pt x="37" y="20"/>
                </a:cubicBezTo>
                <a:cubicBezTo>
                  <a:pt x="37" y="20"/>
                  <a:pt x="37" y="20"/>
                  <a:pt x="37" y="20"/>
                </a:cubicBezTo>
                <a:close/>
                <a:moveTo>
                  <a:pt x="5" y="15"/>
                </a:moveTo>
                <a:cubicBezTo>
                  <a:pt x="5" y="16"/>
                  <a:pt x="6" y="16"/>
                  <a:pt x="6" y="16"/>
                </a:cubicBezTo>
                <a:cubicBezTo>
                  <a:pt x="6" y="16"/>
                  <a:pt x="7" y="15"/>
                  <a:pt x="6" y="15"/>
                </a:cubicBezTo>
                <a:cubicBezTo>
                  <a:pt x="6" y="15"/>
                  <a:pt x="6" y="14"/>
                  <a:pt x="6" y="15"/>
                </a:cubicBezTo>
                <a:cubicBezTo>
                  <a:pt x="5" y="15"/>
                  <a:pt x="5" y="15"/>
                  <a:pt x="5" y="15"/>
                </a:cubicBezTo>
                <a:cubicBezTo>
                  <a:pt x="5" y="15"/>
                  <a:pt x="5" y="15"/>
                  <a:pt x="5" y="15"/>
                </a:cubicBezTo>
                <a:cubicBezTo>
                  <a:pt x="4" y="15"/>
                  <a:pt x="4" y="15"/>
                  <a:pt x="4" y="15"/>
                </a:cubicBezTo>
                <a:cubicBezTo>
                  <a:pt x="4" y="15"/>
                  <a:pt x="5" y="15"/>
                  <a:pt x="5" y="1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2" name="Iraq"/>
          <p:cNvSpPr>
            <a:spLocks/>
          </p:cNvSpPr>
          <p:nvPr/>
        </p:nvSpPr>
        <p:spPr bwMode="auto">
          <a:xfrm>
            <a:off x="7103034" y="3176992"/>
            <a:ext cx="339987" cy="332988"/>
          </a:xfrm>
          <a:custGeom>
            <a:avLst/>
            <a:gdLst/>
            <a:ahLst/>
            <a:cxnLst>
              <a:cxn ang="0">
                <a:pos x="90" y="78"/>
              </a:cxn>
              <a:cxn ang="0">
                <a:pos x="88" y="73"/>
              </a:cxn>
              <a:cxn ang="0">
                <a:pos x="85" y="71"/>
              </a:cxn>
              <a:cxn ang="0">
                <a:pos x="85" y="62"/>
              </a:cxn>
              <a:cxn ang="0">
                <a:pos x="82" y="57"/>
              </a:cxn>
              <a:cxn ang="0">
                <a:pos x="80" y="54"/>
              </a:cxn>
              <a:cxn ang="0">
                <a:pos x="73" y="51"/>
              </a:cxn>
              <a:cxn ang="0">
                <a:pos x="68" y="48"/>
              </a:cxn>
              <a:cxn ang="0">
                <a:pos x="67" y="45"/>
              </a:cxn>
              <a:cxn ang="0">
                <a:pos x="65" y="43"/>
              </a:cxn>
              <a:cxn ang="0">
                <a:pos x="62" y="41"/>
              </a:cxn>
              <a:cxn ang="0">
                <a:pos x="60" y="38"/>
              </a:cxn>
              <a:cxn ang="0">
                <a:pos x="60" y="33"/>
              </a:cxn>
              <a:cxn ang="0">
                <a:pos x="61" y="31"/>
              </a:cxn>
              <a:cxn ang="0">
                <a:pos x="61" y="29"/>
              </a:cxn>
              <a:cxn ang="0">
                <a:pos x="63" y="27"/>
              </a:cxn>
              <a:cxn ang="0">
                <a:pos x="65" y="24"/>
              </a:cxn>
              <a:cxn ang="0">
                <a:pos x="63" y="20"/>
              </a:cxn>
              <a:cxn ang="0">
                <a:pos x="66" y="18"/>
              </a:cxn>
              <a:cxn ang="0">
                <a:pos x="61" y="18"/>
              </a:cxn>
              <a:cxn ang="0">
                <a:pos x="57" y="16"/>
              </a:cxn>
              <a:cxn ang="0">
                <a:pos x="56" y="12"/>
              </a:cxn>
              <a:cxn ang="0">
                <a:pos x="53" y="9"/>
              </a:cxn>
              <a:cxn ang="0">
                <a:pos x="51" y="5"/>
              </a:cxn>
              <a:cxn ang="0">
                <a:pos x="50" y="4"/>
              </a:cxn>
              <a:cxn ang="0">
                <a:pos x="48" y="3"/>
              </a:cxn>
              <a:cxn ang="0">
                <a:pos x="45" y="3"/>
              </a:cxn>
              <a:cxn ang="0">
                <a:pos x="42" y="2"/>
              </a:cxn>
              <a:cxn ang="0">
                <a:pos x="36" y="1"/>
              </a:cxn>
              <a:cxn ang="0">
                <a:pos x="33" y="1"/>
              </a:cxn>
              <a:cxn ang="0">
                <a:pos x="28" y="4"/>
              </a:cxn>
              <a:cxn ang="0">
                <a:pos x="19" y="12"/>
              </a:cxn>
              <a:cxn ang="0">
                <a:pos x="20" y="23"/>
              </a:cxn>
              <a:cxn ang="0">
                <a:pos x="20" y="30"/>
              </a:cxn>
              <a:cxn ang="0">
                <a:pos x="13" y="36"/>
              </a:cxn>
              <a:cxn ang="0">
                <a:pos x="0" y="45"/>
              </a:cxn>
              <a:cxn ang="0">
                <a:pos x="3" y="54"/>
              </a:cxn>
              <a:cxn ang="0">
                <a:pos x="5" y="56"/>
              </a:cxn>
              <a:cxn ang="0">
                <a:pos x="11" y="59"/>
              </a:cxn>
              <a:cxn ang="0">
                <a:pos x="26" y="67"/>
              </a:cxn>
              <a:cxn ang="0">
                <a:pos x="55" y="88"/>
              </a:cxn>
              <a:cxn ang="0">
                <a:pos x="71" y="91"/>
              </a:cxn>
              <a:cxn ang="0">
                <a:pos x="80" y="83"/>
              </a:cxn>
              <a:cxn ang="0">
                <a:pos x="88" y="81"/>
              </a:cxn>
              <a:cxn ang="0">
                <a:pos x="94" y="82"/>
              </a:cxn>
            </a:cxnLst>
            <a:rect l="0" t="0" r="r" b="b"/>
            <a:pathLst>
              <a:path w="94" h="92">
                <a:moveTo>
                  <a:pt x="93" y="81"/>
                </a:moveTo>
                <a:cubicBezTo>
                  <a:pt x="92" y="81"/>
                  <a:pt x="92" y="80"/>
                  <a:pt x="92" y="80"/>
                </a:cubicBezTo>
                <a:cubicBezTo>
                  <a:pt x="92" y="79"/>
                  <a:pt x="91" y="78"/>
                  <a:pt x="90" y="78"/>
                </a:cubicBezTo>
                <a:cubicBezTo>
                  <a:pt x="90" y="78"/>
                  <a:pt x="90" y="77"/>
                  <a:pt x="89" y="77"/>
                </a:cubicBezTo>
                <a:cubicBezTo>
                  <a:pt x="89" y="77"/>
                  <a:pt x="89" y="76"/>
                  <a:pt x="88" y="76"/>
                </a:cubicBezTo>
                <a:cubicBezTo>
                  <a:pt x="88" y="75"/>
                  <a:pt x="88" y="74"/>
                  <a:pt x="88" y="73"/>
                </a:cubicBezTo>
                <a:cubicBezTo>
                  <a:pt x="88" y="72"/>
                  <a:pt x="88" y="71"/>
                  <a:pt x="88" y="71"/>
                </a:cubicBezTo>
                <a:cubicBezTo>
                  <a:pt x="88" y="70"/>
                  <a:pt x="87" y="71"/>
                  <a:pt x="87" y="71"/>
                </a:cubicBezTo>
                <a:cubicBezTo>
                  <a:pt x="86" y="71"/>
                  <a:pt x="85" y="71"/>
                  <a:pt x="85" y="71"/>
                </a:cubicBezTo>
                <a:cubicBezTo>
                  <a:pt x="84" y="71"/>
                  <a:pt x="84" y="70"/>
                  <a:pt x="84" y="69"/>
                </a:cubicBezTo>
                <a:cubicBezTo>
                  <a:pt x="84" y="68"/>
                  <a:pt x="84" y="66"/>
                  <a:pt x="84" y="65"/>
                </a:cubicBezTo>
                <a:cubicBezTo>
                  <a:pt x="85" y="64"/>
                  <a:pt x="85" y="63"/>
                  <a:pt x="85" y="62"/>
                </a:cubicBezTo>
                <a:cubicBezTo>
                  <a:pt x="85" y="61"/>
                  <a:pt x="83" y="60"/>
                  <a:pt x="83" y="59"/>
                </a:cubicBezTo>
                <a:cubicBezTo>
                  <a:pt x="82" y="59"/>
                  <a:pt x="82" y="58"/>
                  <a:pt x="82" y="58"/>
                </a:cubicBezTo>
                <a:cubicBezTo>
                  <a:pt x="81" y="58"/>
                  <a:pt x="82" y="58"/>
                  <a:pt x="82" y="57"/>
                </a:cubicBezTo>
                <a:cubicBezTo>
                  <a:pt x="82" y="57"/>
                  <a:pt x="81" y="57"/>
                  <a:pt x="81" y="57"/>
                </a:cubicBezTo>
                <a:cubicBezTo>
                  <a:pt x="81" y="56"/>
                  <a:pt x="81" y="56"/>
                  <a:pt x="80" y="56"/>
                </a:cubicBezTo>
                <a:cubicBezTo>
                  <a:pt x="80" y="55"/>
                  <a:pt x="80" y="55"/>
                  <a:pt x="80" y="54"/>
                </a:cubicBezTo>
                <a:cubicBezTo>
                  <a:pt x="79" y="54"/>
                  <a:pt x="79" y="54"/>
                  <a:pt x="78" y="54"/>
                </a:cubicBezTo>
                <a:cubicBezTo>
                  <a:pt x="78" y="55"/>
                  <a:pt x="77" y="54"/>
                  <a:pt x="77" y="54"/>
                </a:cubicBezTo>
                <a:cubicBezTo>
                  <a:pt x="76" y="53"/>
                  <a:pt x="74" y="52"/>
                  <a:pt x="73" y="51"/>
                </a:cubicBezTo>
                <a:cubicBezTo>
                  <a:pt x="72" y="50"/>
                  <a:pt x="71" y="49"/>
                  <a:pt x="70" y="49"/>
                </a:cubicBezTo>
                <a:cubicBezTo>
                  <a:pt x="69" y="49"/>
                  <a:pt x="68" y="50"/>
                  <a:pt x="67" y="49"/>
                </a:cubicBezTo>
                <a:cubicBezTo>
                  <a:pt x="67" y="48"/>
                  <a:pt x="68" y="48"/>
                  <a:pt x="68" y="48"/>
                </a:cubicBezTo>
                <a:cubicBezTo>
                  <a:pt x="68" y="48"/>
                  <a:pt x="67" y="48"/>
                  <a:pt x="67" y="48"/>
                </a:cubicBezTo>
                <a:cubicBezTo>
                  <a:pt x="67" y="48"/>
                  <a:pt x="68" y="47"/>
                  <a:pt x="68" y="46"/>
                </a:cubicBezTo>
                <a:cubicBezTo>
                  <a:pt x="68" y="46"/>
                  <a:pt x="67" y="45"/>
                  <a:pt x="67" y="45"/>
                </a:cubicBezTo>
                <a:cubicBezTo>
                  <a:pt x="66" y="44"/>
                  <a:pt x="66" y="43"/>
                  <a:pt x="66" y="43"/>
                </a:cubicBezTo>
                <a:cubicBezTo>
                  <a:pt x="65" y="43"/>
                  <a:pt x="65" y="43"/>
                  <a:pt x="65" y="43"/>
                </a:cubicBezTo>
                <a:cubicBezTo>
                  <a:pt x="65" y="43"/>
                  <a:pt x="65" y="43"/>
                  <a:pt x="65" y="43"/>
                </a:cubicBezTo>
                <a:cubicBezTo>
                  <a:pt x="65" y="42"/>
                  <a:pt x="65" y="42"/>
                  <a:pt x="64" y="42"/>
                </a:cubicBezTo>
                <a:cubicBezTo>
                  <a:pt x="64" y="42"/>
                  <a:pt x="64" y="42"/>
                  <a:pt x="63" y="42"/>
                </a:cubicBezTo>
                <a:cubicBezTo>
                  <a:pt x="63" y="41"/>
                  <a:pt x="63" y="41"/>
                  <a:pt x="62" y="41"/>
                </a:cubicBezTo>
                <a:cubicBezTo>
                  <a:pt x="62" y="40"/>
                  <a:pt x="62" y="40"/>
                  <a:pt x="62" y="39"/>
                </a:cubicBezTo>
                <a:cubicBezTo>
                  <a:pt x="61" y="39"/>
                  <a:pt x="61" y="39"/>
                  <a:pt x="61" y="38"/>
                </a:cubicBezTo>
                <a:cubicBezTo>
                  <a:pt x="60" y="38"/>
                  <a:pt x="60" y="38"/>
                  <a:pt x="60" y="38"/>
                </a:cubicBezTo>
                <a:cubicBezTo>
                  <a:pt x="60" y="38"/>
                  <a:pt x="61" y="36"/>
                  <a:pt x="61" y="36"/>
                </a:cubicBezTo>
                <a:cubicBezTo>
                  <a:pt x="61" y="35"/>
                  <a:pt x="61" y="34"/>
                  <a:pt x="60" y="34"/>
                </a:cubicBezTo>
                <a:cubicBezTo>
                  <a:pt x="60" y="34"/>
                  <a:pt x="60" y="33"/>
                  <a:pt x="60" y="33"/>
                </a:cubicBezTo>
                <a:cubicBezTo>
                  <a:pt x="60" y="32"/>
                  <a:pt x="60" y="32"/>
                  <a:pt x="60" y="32"/>
                </a:cubicBezTo>
                <a:cubicBezTo>
                  <a:pt x="60" y="32"/>
                  <a:pt x="60" y="32"/>
                  <a:pt x="60" y="31"/>
                </a:cubicBezTo>
                <a:cubicBezTo>
                  <a:pt x="60" y="31"/>
                  <a:pt x="61" y="31"/>
                  <a:pt x="61" y="31"/>
                </a:cubicBezTo>
                <a:cubicBezTo>
                  <a:pt x="61" y="31"/>
                  <a:pt x="62" y="32"/>
                  <a:pt x="62" y="31"/>
                </a:cubicBezTo>
                <a:cubicBezTo>
                  <a:pt x="62" y="31"/>
                  <a:pt x="62" y="30"/>
                  <a:pt x="62" y="30"/>
                </a:cubicBezTo>
                <a:cubicBezTo>
                  <a:pt x="61" y="30"/>
                  <a:pt x="61" y="30"/>
                  <a:pt x="61" y="29"/>
                </a:cubicBezTo>
                <a:cubicBezTo>
                  <a:pt x="61" y="29"/>
                  <a:pt x="61" y="28"/>
                  <a:pt x="62" y="28"/>
                </a:cubicBezTo>
                <a:cubicBezTo>
                  <a:pt x="62" y="28"/>
                  <a:pt x="62" y="28"/>
                  <a:pt x="62" y="28"/>
                </a:cubicBezTo>
                <a:cubicBezTo>
                  <a:pt x="63" y="27"/>
                  <a:pt x="63" y="28"/>
                  <a:pt x="63" y="27"/>
                </a:cubicBezTo>
                <a:cubicBezTo>
                  <a:pt x="63" y="27"/>
                  <a:pt x="63" y="26"/>
                  <a:pt x="63" y="26"/>
                </a:cubicBezTo>
                <a:cubicBezTo>
                  <a:pt x="63" y="26"/>
                  <a:pt x="66" y="26"/>
                  <a:pt x="65" y="25"/>
                </a:cubicBezTo>
                <a:cubicBezTo>
                  <a:pt x="65" y="25"/>
                  <a:pt x="66" y="24"/>
                  <a:pt x="65" y="24"/>
                </a:cubicBezTo>
                <a:cubicBezTo>
                  <a:pt x="65" y="24"/>
                  <a:pt x="65" y="23"/>
                  <a:pt x="65" y="23"/>
                </a:cubicBezTo>
                <a:cubicBezTo>
                  <a:pt x="65" y="23"/>
                  <a:pt x="64" y="23"/>
                  <a:pt x="64" y="22"/>
                </a:cubicBezTo>
                <a:cubicBezTo>
                  <a:pt x="63" y="22"/>
                  <a:pt x="63" y="21"/>
                  <a:pt x="63" y="20"/>
                </a:cubicBezTo>
                <a:cubicBezTo>
                  <a:pt x="63" y="20"/>
                  <a:pt x="63" y="20"/>
                  <a:pt x="63" y="19"/>
                </a:cubicBezTo>
                <a:cubicBezTo>
                  <a:pt x="63" y="19"/>
                  <a:pt x="64" y="19"/>
                  <a:pt x="64" y="19"/>
                </a:cubicBezTo>
                <a:cubicBezTo>
                  <a:pt x="65" y="19"/>
                  <a:pt x="66" y="18"/>
                  <a:pt x="66" y="18"/>
                </a:cubicBezTo>
                <a:cubicBezTo>
                  <a:pt x="66" y="17"/>
                  <a:pt x="65" y="18"/>
                  <a:pt x="65" y="18"/>
                </a:cubicBezTo>
                <a:cubicBezTo>
                  <a:pt x="64" y="18"/>
                  <a:pt x="64" y="17"/>
                  <a:pt x="63" y="17"/>
                </a:cubicBezTo>
                <a:cubicBezTo>
                  <a:pt x="63" y="17"/>
                  <a:pt x="62" y="17"/>
                  <a:pt x="61" y="18"/>
                </a:cubicBezTo>
                <a:cubicBezTo>
                  <a:pt x="60" y="18"/>
                  <a:pt x="60" y="17"/>
                  <a:pt x="60" y="17"/>
                </a:cubicBezTo>
                <a:cubicBezTo>
                  <a:pt x="60" y="16"/>
                  <a:pt x="59" y="16"/>
                  <a:pt x="58" y="16"/>
                </a:cubicBezTo>
                <a:cubicBezTo>
                  <a:pt x="58" y="15"/>
                  <a:pt x="57" y="16"/>
                  <a:pt x="57" y="16"/>
                </a:cubicBezTo>
                <a:cubicBezTo>
                  <a:pt x="56" y="15"/>
                  <a:pt x="57" y="15"/>
                  <a:pt x="57" y="15"/>
                </a:cubicBezTo>
                <a:cubicBezTo>
                  <a:pt x="57" y="14"/>
                  <a:pt x="56" y="14"/>
                  <a:pt x="56" y="14"/>
                </a:cubicBezTo>
                <a:cubicBezTo>
                  <a:pt x="56" y="13"/>
                  <a:pt x="56" y="13"/>
                  <a:pt x="56" y="12"/>
                </a:cubicBezTo>
                <a:cubicBezTo>
                  <a:pt x="56" y="12"/>
                  <a:pt x="56" y="11"/>
                  <a:pt x="55" y="11"/>
                </a:cubicBezTo>
                <a:cubicBezTo>
                  <a:pt x="55" y="11"/>
                  <a:pt x="54" y="11"/>
                  <a:pt x="54" y="11"/>
                </a:cubicBezTo>
                <a:cubicBezTo>
                  <a:pt x="53" y="10"/>
                  <a:pt x="53" y="10"/>
                  <a:pt x="53" y="9"/>
                </a:cubicBezTo>
                <a:cubicBezTo>
                  <a:pt x="53" y="9"/>
                  <a:pt x="53" y="8"/>
                  <a:pt x="53" y="8"/>
                </a:cubicBezTo>
                <a:cubicBezTo>
                  <a:pt x="52" y="7"/>
                  <a:pt x="50" y="7"/>
                  <a:pt x="51" y="6"/>
                </a:cubicBezTo>
                <a:cubicBezTo>
                  <a:pt x="51" y="6"/>
                  <a:pt x="51" y="6"/>
                  <a:pt x="51" y="5"/>
                </a:cubicBezTo>
                <a:cubicBezTo>
                  <a:pt x="51" y="5"/>
                  <a:pt x="51" y="5"/>
                  <a:pt x="51" y="4"/>
                </a:cubicBezTo>
                <a:cubicBezTo>
                  <a:pt x="51" y="4"/>
                  <a:pt x="51" y="4"/>
                  <a:pt x="50" y="4"/>
                </a:cubicBezTo>
                <a:cubicBezTo>
                  <a:pt x="50" y="4"/>
                  <a:pt x="50" y="4"/>
                  <a:pt x="50" y="4"/>
                </a:cubicBezTo>
                <a:cubicBezTo>
                  <a:pt x="50" y="3"/>
                  <a:pt x="50" y="3"/>
                  <a:pt x="50" y="3"/>
                </a:cubicBezTo>
                <a:cubicBezTo>
                  <a:pt x="50" y="3"/>
                  <a:pt x="49" y="3"/>
                  <a:pt x="49" y="3"/>
                </a:cubicBezTo>
                <a:cubicBezTo>
                  <a:pt x="48" y="3"/>
                  <a:pt x="48" y="3"/>
                  <a:pt x="48" y="3"/>
                </a:cubicBezTo>
                <a:cubicBezTo>
                  <a:pt x="47" y="4"/>
                  <a:pt x="46" y="4"/>
                  <a:pt x="46" y="4"/>
                </a:cubicBezTo>
                <a:cubicBezTo>
                  <a:pt x="46" y="5"/>
                  <a:pt x="46" y="5"/>
                  <a:pt x="45" y="5"/>
                </a:cubicBezTo>
                <a:cubicBezTo>
                  <a:pt x="45" y="4"/>
                  <a:pt x="45" y="4"/>
                  <a:pt x="45" y="3"/>
                </a:cubicBezTo>
                <a:cubicBezTo>
                  <a:pt x="45" y="3"/>
                  <a:pt x="45" y="3"/>
                  <a:pt x="45" y="2"/>
                </a:cubicBezTo>
                <a:cubicBezTo>
                  <a:pt x="45" y="1"/>
                  <a:pt x="44" y="1"/>
                  <a:pt x="43" y="1"/>
                </a:cubicBezTo>
                <a:cubicBezTo>
                  <a:pt x="42" y="1"/>
                  <a:pt x="42" y="2"/>
                  <a:pt x="42" y="2"/>
                </a:cubicBezTo>
                <a:cubicBezTo>
                  <a:pt x="41" y="3"/>
                  <a:pt x="40" y="2"/>
                  <a:pt x="40" y="2"/>
                </a:cubicBezTo>
                <a:cubicBezTo>
                  <a:pt x="39" y="2"/>
                  <a:pt x="38" y="2"/>
                  <a:pt x="37" y="2"/>
                </a:cubicBezTo>
                <a:cubicBezTo>
                  <a:pt x="37" y="1"/>
                  <a:pt x="37" y="1"/>
                  <a:pt x="36" y="1"/>
                </a:cubicBezTo>
                <a:cubicBezTo>
                  <a:pt x="36" y="1"/>
                  <a:pt x="36" y="1"/>
                  <a:pt x="36" y="1"/>
                </a:cubicBezTo>
                <a:cubicBezTo>
                  <a:pt x="35" y="1"/>
                  <a:pt x="35" y="1"/>
                  <a:pt x="34" y="1"/>
                </a:cubicBezTo>
                <a:cubicBezTo>
                  <a:pt x="33" y="1"/>
                  <a:pt x="33" y="1"/>
                  <a:pt x="33" y="1"/>
                </a:cubicBezTo>
                <a:cubicBezTo>
                  <a:pt x="32" y="1"/>
                  <a:pt x="32" y="0"/>
                  <a:pt x="31" y="1"/>
                </a:cubicBezTo>
                <a:cubicBezTo>
                  <a:pt x="31" y="1"/>
                  <a:pt x="30" y="3"/>
                  <a:pt x="30" y="3"/>
                </a:cubicBezTo>
                <a:cubicBezTo>
                  <a:pt x="29" y="3"/>
                  <a:pt x="28" y="3"/>
                  <a:pt x="28" y="4"/>
                </a:cubicBezTo>
                <a:cubicBezTo>
                  <a:pt x="28" y="4"/>
                  <a:pt x="26" y="7"/>
                  <a:pt x="25" y="7"/>
                </a:cubicBezTo>
                <a:cubicBezTo>
                  <a:pt x="24" y="9"/>
                  <a:pt x="24" y="9"/>
                  <a:pt x="22" y="10"/>
                </a:cubicBezTo>
                <a:cubicBezTo>
                  <a:pt x="20" y="10"/>
                  <a:pt x="20" y="10"/>
                  <a:pt x="19" y="12"/>
                </a:cubicBezTo>
                <a:cubicBezTo>
                  <a:pt x="19" y="13"/>
                  <a:pt x="19" y="15"/>
                  <a:pt x="20" y="16"/>
                </a:cubicBezTo>
                <a:cubicBezTo>
                  <a:pt x="21" y="17"/>
                  <a:pt x="21" y="19"/>
                  <a:pt x="20" y="21"/>
                </a:cubicBezTo>
                <a:cubicBezTo>
                  <a:pt x="20" y="21"/>
                  <a:pt x="20" y="22"/>
                  <a:pt x="20" y="23"/>
                </a:cubicBezTo>
                <a:cubicBezTo>
                  <a:pt x="20" y="24"/>
                  <a:pt x="20" y="24"/>
                  <a:pt x="20" y="25"/>
                </a:cubicBezTo>
                <a:cubicBezTo>
                  <a:pt x="20" y="26"/>
                  <a:pt x="20" y="27"/>
                  <a:pt x="20" y="28"/>
                </a:cubicBezTo>
                <a:cubicBezTo>
                  <a:pt x="21" y="29"/>
                  <a:pt x="20" y="30"/>
                  <a:pt x="20" y="30"/>
                </a:cubicBezTo>
                <a:cubicBezTo>
                  <a:pt x="19" y="32"/>
                  <a:pt x="19" y="33"/>
                  <a:pt x="18" y="34"/>
                </a:cubicBezTo>
                <a:cubicBezTo>
                  <a:pt x="17" y="34"/>
                  <a:pt x="16" y="34"/>
                  <a:pt x="16" y="34"/>
                </a:cubicBezTo>
                <a:cubicBezTo>
                  <a:pt x="15" y="35"/>
                  <a:pt x="14" y="35"/>
                  <a:pt x="13" y="36"/>
                </a:cubicBezTo>
                <a:cubicBezTo>
                  <a:pt x="12" y="37"/>
                  <a:pt x="10" y="38"/>
                  <a:pt x="8" y="39"/>
                </a:cubicBezTo>
                <a:cubicBezTo>
                  <a:pt x="6" y="40"/>
                  <a:pt x="5" y="41"/>
                  <a:pt x="3" y="43"/>
                </a:cubicBezTo>
                <a:cubicBezTo>
                  <a:pt x="2" y="43"/>
                  <a:pt x="0" y="44"/>
                  <a:pt x="0" y="45"/>
                </a:cubicBezTo>
                <a:cubicBezTo>
                  <a:pt x="0" y="46"/>
                  <a:pt x="1" y="48"/>
                  <a:pt x="2" y="50"/>
                </a:cubicBezTo>
                <a:cubicBezTo>
                  <a:pt x="2" y="51"/>
                  <a:pt x="2" y="52"/>
                  <a:pt x="3" y="53"/>
                </a:cubicBezTo>
                <a:cubicBezTo>
                  <a:pt x="3" y="53"/>
                  <a:pt x="3" y="54"/>
                  <a:pt x="3" y="54"/>
                </a:cubicBezTo>
                <a:cubicBezTo>
                  <a:pt x="3" y="54"/>
                  <a:pt x="3" y="54"/>
                  <a:pt x="3" y="54"/>
                </a:cubicBezTo>
                <a:cubicBezTo>
                  <a:pt x="2" y="55"/>
                  <a:pt x="3" y="56"/>
                  <a:pt x="3" y="56"/>
                </a:cubicBezTo>
                <a:cubicBezTo>
                  <a:pt x="4" y="56"/>
                  <a:pt x="4" y="56"/>
                  <a:pt x="5" y="56"/>
                </a:cubicBezTo>
                <a:cubicBezTo>
                  <a:pt x="5" y="56"/>
                  <a:pt x="5" y="56"/>
                  <a:pt x="5" y="57"/>
                </a:cubicBezTo>
                <a:cubicBezTo>
                  <a:pt x="5" y="57"/>
                  <a:pt x="5" y="58"/>
                  <a:pt x="4" y="58"/>
                </a:cubicBezTo>
                <a:cubicBezTo>
                  <a:pt x="6" y="58"/>
                  <a:pt x="9" y="59"/>
                  <a:pt x="11" y="59"/>
                </a:cubicBezTo>
                <a:cubicBezTo>
                  <a:pt x="13" y="60"/>
                  <a:pt x="15" y="60"/>
                  <a:pt x="17" y="61"/>
                </a:cubicBezTo>
                <a:cubicBezTo>
                  <a:pt x="18" y="62"/>
                  <a:pt x="20" y="63"/>
                  <a:pt x="22" y="64"/>
                </a:cubicBezTo>
                <a:cubicBezTo>
                  <a:pt x="23" y="65"/>
                  <a:pt x="25" y="66"/>
                  <a:pt x="26" y="67"/>
                </a:cubicBezTo>
                <a:cubicBezTo>
                  <a:pt x="28" y="68"/>
                  <a:pt x="30" y="68"/>
                  <a:pt x="32" y="69"/>
                </a:cubicBezTo>
                <a:cubicBezTo>
                  <a:pt x="33" y="70"/>
                  <a:pt x="34" y="71"/>
                  <a:pt x="36" y="72"/>
                </a:cubicBezTo>
                <a:cubicBezTo>
                  <a:pt x="42" y="78"/>
                  <a:pt x="49" y="82"/>
                  <a:pt x="55" y="88"/>
                </a:cubicBezTo>
                <a:cubicBezTo>
                  <a:pt x="57" y="89"/>
                  <a:pt x="58" y="90"/>
                  <a:pt x="60" y="90"/>
                </a:cubicBezTo>
                <a:cubicBezTo>
                  <a:pt x="61" y="90"/>
                  <a:pt x="63" y="91"/>
                  <a:pt x="65" y="91"/>
                </a:cubicBezTo>
                <a:cubicBezTo>
                  <a:pt x="67" y="91"/>
                  <a:pt x="69" y="91"/>
                  <a:pt x="71" y="91"/>
                </a:cubicBezTo>
                <a:cubicBezTo>
                  <a:pt x="73" y="92"/>
                  <a:pt x="75" y="92"/>
                  <a:pt x="76" y="91"/>
                </a:cubicBezTo>
                <a:cubicBezTo>
                  <a:pt x="77" y="90"/>
                  <a:pt x="78" y="89"/>
                  <a:pt x="79" y="87"/>
                </a:cubicBezTo>
                <a:cubicBezTo>
                  <a:pt x="79" y="86"/>
                  <a:pt x="80" y="84"/>
                  <a:pt x="80" y="83"/>
                </a:cubicBezTo>
                <a:cubicBezTo>
                  <a:pt x="81" y="79"/>
                  <a:pt x="85" y="80"/>
                  <a:pt x="88" y="81"/>
                </a:cubicBezTo>
                <a:cubicBezTo>
                  <a:pt x="88" y="81"/>
                  <a:pt x="88" y="81"/>
                  <a:pt x="88" y="80"/>
                </a:cubicBezTo>
                <a:cubicBezTo>
                  <a:pt x="88" y="81"/>
                  <a:pt x="88" y="81"/>
                  <a:pt x="88" y="81"/>
                </a:cubicBezTo>
                <a:cubicBezTo>
                  <a:pt x="89" y="82"/>
                  <a:pt x="89" y="81"/>
                  <a:pt x="89" y="81"/>
                </a:cubicBezTo>
                <a:cubicBezTo>
                  <a:pt x="89" y="81"/>
                  <a:pt x="90" y="81"/>
                  <a:pt x="90" y="81"/>
                </a:cubicBezTo>
                <a:cubicBezTo>
                  <a:pt x="91" y="81"/>
                  <a:pt x="93" y="83"/>
                  <a:pt x="94" y="82"/>
                </a:cubicBezTo>
                <a:cubicBezTo>
                  <a:pt x="94" y="82"/>
                  <a:pt x="93" y="82"/>
                  <a:pt x="93" y="8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3" name="Iran"/>
          <p:cNvSpPr>
            <a:spLocks noEditPoints="1"/>
          </p:cNvSpPr>
          <p:nvPr/>
        </p:nvSpPr>
        <p:spPr bwMode="auto">
          <a:xfrm>
            <a:off x="7244028" y="3082996"/>
            <a:ext cx="711973" cy="585978"/>
          </a:xfrm>
          <a:custGeom>
            <a:avLst/>
            <a:gdLst/>
            <a:ahLst/>
            <a:cxnLst>
              <a:cxn ang="0">
                <a:pos x="188" y="146"/>
              </a:cxn>
              <a:cxn ang="0">
                <a:pos x="184" y="153"/>
              </a:cxn>
              <a:cxn ang="0">
                <a:pos x="182" y="160"/>
              </a:cxn>
              <a:cxn ang="0">
                <a:pos x="172" y="158"/>
              </a:cxn>
              <a:cxn ang="0">
                <a:pos x="167" y="158"/>
              </a:cxn>
              <a:cxn ang="0">
                <a:pos x="156" y="156"/>
              </a:cxn>
              <a:cxn ang="0">
                <a:pos x="146" y="155"/>
              </a:cxn>
              <a:cxn ang="0">
                <a:pos x="139" y="149"/>
              </a:cxn>
              <a:cxn ang="0">
                <a:pos x="136" y="140"/>
              </a:cxn>
              <a:cxn ang="0">
                <a:pos x="124" y="142"/>
              </a:cxn>
              <a:cxn ang="0">
                <a:pos x="115" y="145"/>
              </a:cxn>
              <a:cxn ang="0">
                <a:pos x="104" y="142"/>
              </a:cxn>
              <a:cxn ang="0">
                <a:pos x="96" y="136"/>
              </a:cxn>
              <a:cxn ang="0">
                <a:pos x="84" y="130"/>
              </a:cxn>
              <a:cxn ang="0">
                <a:pos x="79" y="121"/>
              </a:cxn>
              <a:cxn ang="0">
                <a:pos x="76" y="116"/>
              </a:cxn>
              <a:cxn ang="0">
                <a:pos x="68" y="105"/>
              </a:cxn>
              <a:cxn ang="0">
                <a:pos x="60" y="103"/>
              </a:cxn>
              <a:cxn ang="0">
                <a:pos x="58" y="106"/>
              </a:cxn>
              <a:cxn ang="0">
                <a:pos x="52" y="104"/>
              </a:cxn>
              <a:cxn ang="0">
                <a:pos x="45" y="96"/>
              </a:cxn>
              <a:cxn ang="0">
                <a:pos x="42" y="82"/>
              </a:cxn>
              <a:cxn ang="0">
                <a:pos x="29" y="75"/>
              </a:cxn>
              <a:cxn ang="0">
                <a:pos x="26" y="69"/>
              </a:cxn>
              <a:cxn ang="0">
                <a:pos x="23" y="66"/>
              </a:cxn>
              <a:cxn ang="0">
                <a:pos x="21" y="58"/>
              </a:cxn>
              <a:cxn ang="0">
                <a:pos x="24" y="53"/>
              </a:cxn>
              <a:cxn ang="0">
                <a:pos x="26" y="50"/>
              </a:cxn>
              <a:cxn ang="0">
                <a:pos x="26" y="44"/>
              </a:cxn>
              <a:cxn ang="0">
                <a:pos x="17" y="41"/>
              </a:cxn>
              <a:cxn ang="0">
                <a:pos x="15" y="37"/>
              </a:cxn>
              <a:cxn ang="0">
                <a:pos x="11" y="29"/>
              </a:cxn>
              <a:cxn ang="0">
                <a:pos x="6" y="21"/>
              </a:cxn>
              <a:cxn ang="0">
                <a:pos x="5" y="15"/>
              </a:cxn>
              <a:cxn ang="0">
                <a:pos x="2" y="6"/>
              </a:cxn>
              <a:cxn ang="0">
                <a:pos x="7" y="1"/>
              </a:cxn>
              <a:cxn ang="0">
                <a:pos x="14" y="9"/>
              </a:cxn>
              <a:cxn ang="0">
                <a:pos x="25" y="9"/>
              </a:cxn>
              <a:cxn ang="0">
                <a:pos x="33" y="2"/>
              </a:cxn>
              <a:cxn ang="0">
                <a:pos x="37" y="10"/>
              </a:cxn>
              <a:cxn ang="0">
                <a:pos x="46" y="15"/>
              </a:cxn>
              <a:cxn ang="0">
                <a:pos x="59" y="26"/>
              </a:cxn>
              <a:cxn ang="0">
                <a:pos x="75" y="35"/>
              </a:cxn>
              <a:cxn ang="0">
                <a:pos x="91" y="32"/>
              </a:cxn>
              <a:cxn ang="0">
                <a:pos x="93" y="27"/>
              </a:cxn>
              <a:cxn ang="0">
                <a:pos x="108" y="18"/>
              </a:cxn>
              <a:cxn ang="0">
                <a:pos x="118" y="17"/>
              </a:cxn>
              <a:cxn ang="0">
                <a:pos x="130" y="22"/>
              </a:cxn>
              <a:cxn ang="0">
                <a:pos x="137" y="23"/>
              </a:cxn>
              <a:cxn ang="0">
                <a:pos x="143" y="27"/>
              </a:cxn>
              <a:cxn ang="0">
                <a:pos x="154" y="35"/>
              </a:cxn>
              <a:cxn ang="0">
                <a:pos x="162" y="42"/>
              </a:cxn>
              <a:cxn ang="0">
                <a:pos x="163" y="54"/>
              </a:cxn>
              <a:cxn ang="0">
                <a:pos x="160" y="65"/>
              </a:cxn>
              <a:cxn ang="0">
                <a:pos x="164" y="70"/>
              </a:cxn>
              <a:cxn ang="0">
                <a:pos x="166" y="86"/>
              </a:cxn>
              <a:cxn ang="0">
                <a:pos x="177" y="97"/>
              </a:cxn>
              <a:cxn ang="0">
                <a:pos x="172" y="112"/>
              </a:cxn>
              <a:cxn ang="0">
                <a:pos x="178" y="121"/>
              </a:cxn>
              <a:cxn ang="0">
                <a:pos x="190" y="130"/>
              </a:cxn>
              <a:cxn ang="0">
                <a:pos x="196" y="141"/>
              </a:cxn>
              <a:cxn ang="0">
                <a:pos x="122" y="144"/>
              </a:cxn>
              <a:cxn ang="0">
                <a:pos x="128" y="144"/>
              </a:cxn>
            </a:cxnLst>
            <a:rect l="0" t="0" r="r" b="b"/>
            <a:pathLst>
              <a:path w="197" h="162">
                <a:moveTo>
                  <a:pt x="196" y="141"/>
                </a:moveTo>
                <a:cubicBezTo>
                  <a:pt x="197" y="142"/>
                  <a:pt x="196" y="142"/>
                  <a:pt x="196" y="143"/>
                </a:cubicBezTo>
                <a:cubicBezTo>
                  <a:pt x="196" y="143"/>
                  <a:pt x="196" y="144"/>
                  <a:pt x="196" y="144"/>
                </a:cubicBezTo>
                <a:cubicBezTo>
                  <a:pt x="195" y="145"/>
                  <a:pt x="194" y="144"/>
                  <a:pt x="193" y="144"/>
                </a:cubicBezTo>
                <a:cubicBezTo>
                  <a:pt x="192" y="144"/>
                  <a:pt x="191" y="145"/>
                  <a:pt x="190" y="145"/>
                </a:cubicBezTo>
                <a:cubicBezTo>
                  <a:pt x="190" y="145"/>
                  <a:pt x="189" y="145"/>
                  <a:pt x="188" y="146"/>
                </a:cubicBezTo>
                <a:cubicBezTo>
                  <a:pt x="188" y="146"/>
                  <a:pt x="188" y="146"/>
                  <a:pt x="188" y="147"/>
                </a:cubicBezTo>
                <a:cubicBezTo>
                  <a:pt x="187" y="147"/>
                  <a:pt x="188" y="147"/>
                  <a:pt x="188" y="147"/>
                </a:cubicBezTo>
                <a:cubicBezTo>
                  <a:pt x="188" y="148"/>
                  <a:pt x="187" y="147"/>
                  <a:pt x="186" y="148"/>
                </a:cubicBezTo>
                <a:cubicBezTo>
                  <a:pt x="186" y="148"/>
                  <a:pt x="186" y="148"/>
                  <a:pt x="186" y="148"/>
                </a:cubicBezTo>
                <a:cubicBezTo>
                  <a:pt x="185" y="148"/>
                  <a:pt x="185" y="148"/>
                  <a:pt x="185" y="149"/>
                </a:cubicBezTo>
                <a:cubicBezTo>
                  <a:pt x="183" y="149"/>
                  <a:pt x="184" y="152"/>
                  <a:pt x="184" y="153"/>
                </a:cubicBezTo>
                <a:cubicBezTo>
                  <a:pt x="184" y="154"/>
                  <a:pt x="183" y="153"/>
                  <a:pt x="183" y="154"/>
                </a:cubicBezTo>
                <a:cubicBezTo>
                  <a:pt x="183" y="155"/>
                  <a:pt x="183" y="155"/>
                  <a:pt x="183" y="155"/>
                </a:cubicBezTo>
                <a:cubicBezTo>
                  <a:pt x="183" y="156"/>
                  <a:pt x="183" y="156"/>
                  <a:pt x="183" y="156"/>
                </a:cubicBezTo>
                <a:cubicBezTo>
                  <a:pt x="183" y="157"/>
                  <a:pt x="183" y="159"/>
                  <a:pt x="183" y="160"/>
                </a:cubicBezTo>
                <a:cubicBezTo>
                  <a:pt x="183" y="160"/>
                  <a:pt x="183" y="160"/>
                  <a:pt x="182" y="160"/>
                </a:cubicBezTo>
                <a:cubicBezTo>
                  <a:pt x="182" y="160"/>
                  <a:pt x="182" y="160"/>
                  <a:pt x="182" y="160"/>
                </a:cubicBezTo>
                <a:cubicBezTo>
                  <a:pt x="181" y="160"/>
                  <a:pt x="182" y="160"/>
                  <a:pt x="182" y="161"/>
                </a:cubicBezTo>
                <a:cubicBezTo>
                  <a:pt x="182" y="161"/>
                  <a:pt x="181" y="161"/>
                  <a:pt x="181" y="162"/>
                </a:cubicBezTo>
                <a:cubicBezTo>
                  <a:pt x="181" y="162"/>
                  <a:pt x="180" y="161"/>
                  <a:pt x="179" y="161"/>
                </a:cubicBezTo>
                <a:cubicBezTo>
                  <a:pt x="179" y="161"/>
                  <a:pt x="179" y="161"/>
                  <a:pt x="178" y="160"/>
                </a:cubicBezTo>
                <a:cubicBezTo>
                  <a:pt x="177" y="160"/>
                  <a:pt x="175" y="160"/>
                  <a:pt x="174" y="160"/>
                </a:cubicBezTo>
                <a:cubicBezTo>
                  <a:pt x="173" y="159"/>
                  <a:pt x="173" y="158"/>
                  <a:pt x="172" y="158"/>
                </a:cubicBezTo>
                <a:cubicBezTo>
                  <a:pt x="172" y="158"/>
                  <a:pt x="171" y="158"/>
                  <a:pt x="171" y="158"/>
                </a:cubicBezTo>
                <a:cubicBezTo>
                  <a:pt x="171" y="159"/>
                  <a:pt x="172" y="159"/>
                  <a:pt x="172" y="159"/>
                </a:cubicBezTo>
                <a:cubicBezTo>
                  <a:pt x="172" y="159"/>
                  <a:pt x="171" y="159"/>
                  <a:pt x="171" y="159"/>
                </a:cubicBezTo>
                <a:cubicBezTo>
                  <a:pt x="170" y="159"/>
                  <a:pt x="170" y="159"/>
                  <a:pt x="170" y="158"/>
                </a:cubicBezTo>
                <a:cubicBezTo>
                  <a:pt x="169" y="158"/>
                  <a:pt x="169" y="159"/>
                  <a:pt x="168" y="159"/>
                </a:cubicBezTo>
                <a:cubicBezTo>
                  <a:pt x="168" y="158"/>
                  <a:pt x="168" y="158"/>
                  <a:pt x="167" y="158"/>
                </a:cubicBezTo>
                <a:cubicBezTo>
                  <a:pt x="167" y="159"/>
                  <a:pt x="166" y="159"/>
                  <a:pt x="166" y="158"/>
                </a:cubicBezTo>
                <a:cubicBezTo>
                  <a:pt x="165" y="157"/>
                  <a:pt x="164" y="159"/>
                  <a:pt x="163" y="158"/>
                </a:cubicBezTo>
                <a:cubicBezTo>
                  <a:pt x="162" y="157"/>
                  <a:pt x="162" y="157"/>
                  <a:pt x="160" y="158"/>
                </a:cubicBezTo>
                <a:cubicBezTo>
                  <a:pt x="160" y="158"/>
                  <a:pt x="159" y="158"/>
                  <a:pt x="158" y="158"/>
                </a:cubicBezTo>
                <a:cubicBezTo>
                  <a:pt x="158" y="158"/>
                  <a:pt x="157" y="157"/>
                  <a:pt x="157" y="157"/>
                </a:cubicBezTo>
                <a:cubicBezTo>
                  <a:pt x="157" y="157"/>
                  <a:pt x="156" y="156"/>
                  <a:pt x="156" y="156"/>
                </a:cubicBezTo>
                <a:cubicBezTo>
                  <a:pt x="155" y="156"/>
                  <a:pt x="154" y="156"/>
                  <a:pt x="154" y="156"/>
                </a:cubicBezTo>
                <a:cubicBezTo>
                  <a:pt x="153" y="156"/>
                  <a:pt x="153" y="156"/>
                  <a:pt x="152" y="156"/>
                </a:cubicBezTo>
                <a:cubicBezTo>
                  <a:pt x="152" y="156"/>
                  <a:pt x="151" y="156"/>
                  <a:pt x="150" y="156"/>
                </a:cubicBezTo>
                <a:cubicBezTo>
                  <a:pt x="149" y="157"/>
                  <a:pt x="149" y="156"/>
                  <a:pt x="148" y="155"/>
                </a:cubicBezTo>
                <a:cubicBezTo>
                  <a:pt x="147" y="154"/>
                  <a:pt x="147" y="156"/>
                  <a:pt x="146" y="155"/>
                </a:cubicBezTo>
                <a:cubicBezTo>
                  <a:pt x="146" y="155"/>
                  <a:pt x="146" y="155"/>
                  <a:pt x="146" y="155"/>
                </a:cubicBezTo>
                <a:cubicBezTo>
                  <a:pt x="146" y="154"/>
                  <a:pt x="145" y="154"/>
                  <a:pt x="145" y="154"/>
                </a:cubicBezTo>
                <a:cubicBezTo>
                  <a:pt x="144" y="154"/>
                  <a:pt x="142" y="154"/>
                  <a:pt x="141" y="153"/>
                </a:cubicBezTo>
                <a:cubicBezTo>
                  <a:pt x="141" y="153"/>
                  <a:pt x="141" y="152"/>
                  <a:pt x="141" y="152"/>
                </a:cubicBezTo>
                <a:cubicBezTo>
                  <a:pt x="140" y="151"/>
                  <a:pt x="140" y="151"/>
                  <a:pt x="140" y="150"/>
                </a:cubicBezTo>
                <a:cubicBezTo>
                  <a:pt x="140" y="150"/>
                  <a:pt x="140" y="150"/>
                  <a:pt x="140" y="149"/>
                </a:cubicBezTo>
                <a:cubicBezTo>
                  <a:pt x="140" y="149"/>
                  <a:pt x="140" y="149"/>
                  <a:pt x="139" y="149"/>
                </a:cubicBezTo>
                <a:cubicBezTo>
                  <a:pt x="139" y="148"/>
                  <a:pt x="139" y="148"/>
                  <a:pt x="139" y="148"/>
                </a:cubicBezTo>
                <a:cubicBezTo>
                  <a:pt x="139" y="147"/>
                  <a:pt x="139" y="145"/>
                  <a:pt x="138" y="144"/>
                </a:cubicBezTo>
                <a:cubicBezTo>
                  <a:pt x="138" y="143"/>
                  <a:pt x="138" y="142"/>
                  <a:pt x="137" y="141"/>
                </a:cubicBezTo>
                <a:cubicBezTo>
                  <a:pt x="137" y="141"/>
                  <a:pt x="137" y="141"/>
                  <a:pt x="137" y="141"/>
                </a:cubicBezTo>
                <a:cubicBezTo>
                  <a:pt x="137" y="141"/>
                  <a:pt x="136" y="140"/>
                  <a:pt x="136" y="140"/>
                </a:cubicBezTo>
                <a:cubicBezTo>
                  <a:pt x="136" y="140"/>
                  <a:pt x="136" y="140"/>
                  <a:pt x="136" y="140"/>
                </a:cubicBezTo>
                <a:cubicBezTo>
                  <a:pt x="136" y="139"/>
                  <a:pt x="135" y="139"/>
                  <a:pt x="135" y="139"/>
                </a:cubicBezTo>
                <a:cubicBezTo>
                  <a:pt x="135" y="139"/>
                  <a:pt x="134" y="139"/>
                  <a:pt x="133" y="139"/>
                </a:cubicBezTo>
                <a:cubicBezTo>
                  <a:pt x="132" y="139"/>
                  <a:pt x="132" y="139"/>
                  <a:pt x="131" y="138"/>
                </a:cubicBezTo>
                <a:cubicBezTo>
                  <a:pt x="130" y="138"/>
                  <a:pt x="130" y="138"/>
                  <a:pt x="129" y="139"/>
                </a:cubicBezTo>
                <a:cubicBezTo>
                  <a:pt x="129" y="139"/>
                  <a:pt x="128" y="140"/>
                  <a:pt x="128" y="140"/>
                </a:cubicBezTo>
                <a:cubicBezTo>
                  <a:pt x="127" y="141"/>
                  <a:pt x="125" y="140"/>
                  <a:pt x="124" y="142"/>
                </a:cubicBezTo>
                <a:cubicBezTo>
                  <a:pt x="124" y="142"/>
                  <a:pt x="124" y="142"/>
                  <a:pt x="124" y="143"/>
                </a:cubicBezTo>
                <a:cubicBezTo>
                  <a:pt x="124" y="143"/>
                  <a:pt x="124" y="143"/>
                  <a:pt x="123" y="143"/>
                </a:cubicBezTo>
                <a:cubicBezTo>
                  <a:pt x="123" y="144"/>
                  <a:pt x="122" y="142"/>
                  <a:pt x="121" y="143"/>
                </a:cubicBezTo>
                <a:cubicBezTo>
                  <a:pt x="120" y="144"/>
                  <a:pt x="119" y="144"/>
                  <a:pt x="119" y="145"/>
                </a:cubicBezTo>
                <a:cubicBezTo>
                  <a:pt x="118" y="146"/>
                  <a:pt x="117" y="146"/>
                  <a:pt x="116" y="146"/>
                </a:cubicBezTo>
                <a:cubicBezTo>
                  <a:pt x="115" y="146"/>
                  <a:pt x="115" y="145"/>
                  <a:pt x="115" y="145"/>
                </a:cubicBezTo>
                <a:cubicBezTo>
                  <a:pt x="114" y="145"/>
                  <a:pt x="114" y="145"/>
                  <a:pt x="113" y="145"/>
                </a:cubicBezTo>
                <a:cubicBezTo>
                  <a:pt x="113" y="145"/>
                  <a:pt x="113" y="144"/>
                  <a:pt x="113" y="144"/>
                </a:cubicBezTo>
                <a:cubicBezTo>
                  <a:pt x="112" y="143"/>
                  <a:pt x="112" y="144"/>
                  <a:pt x="111" y="144"/>
                </a:cubicBezTo>
                <a:cubicBezTo>
                  <a:pt x="110" y="144"/>
                  <a:pt x="110" y="143"/>
                  <a:pt x="109" y="143"/>
                </a:cubicBezTo>
                <a:cubicBezTo>
                  <a:pt x="108" y="144"/>
                  <a:pt x="108" y="144"/>
                  <a:pt x="107" y="144"/>
                </a:cubicBezTo>
                <a:cubicBezTo>
                  <a:pt x="106" y="144"/>
                  <a:pt x="105" y="143"/>
                  <a:pt x="104" y="142"/>
                </a:cubicBezTo>
                <a:cubicBezTo>
                  <a:pt x="104" y="141"/>
                  <a:pt x="104" y="141"/>
                  <a:pt x="104" y="141"/>
                </a:cubicBezTo>
                <a:cubicBezTo>
                  <a:pt x="103" y="141"/>
                  <a:pt x="103" y="140"/>
                  <a:pt x="102" y="140"/>
                </a:cubicBezTo>
                <a:cubicBezTo>
                  <a:pt x="101" y="140"/>
                  <a:pt x="99" y="139"/>
                  <a:pt x="98" y="138"/>
                </a:cubicBezTo>
                <a:cubicBezTo>
                  <a:pt x="97" y="138"/>
                  <a:pt x="97" y="137"/>
                  <a:pt x="96" y="137"/>
                </a:cubicBezTo>
                <a:cubicBezTo>
                  <a:pt x="96" y="137"/>
                  <a:pt x="95" y="136"/>
                  <a:pt x="96" y="136"/>
                </a:cubicBezTo>
                <a:cubicBezTo>
                  <a:pt x="96" y="136"/>
                  <a:pt x="96" y="136"/>
                  <a:pt x="96" y="136"/>
                </a:cubicBezTo>
                <a:cubicBezTo>
                  <a:pt x="96" y="135"/>
                  <a:pt x="95" y="135"/>
                  <a:pt x="95" y="135"/>
                </a:cubicBezTo>
                <a:cubicBezTo>
                  <a:pt x="94" y="133"/>
                  <a:pt x="93" y="133"/>
                  <a:pt x="92" y="133"/>
                </a:cubicBezTo>
                <a:cubicBezTo>
                  <a:pt x="91" y="133"/>
                  <a:pt x="91" y="132"/>
                  <a:pt x="90" y="132"/>
                </a:cubicBezTo>
                <a:cubicBezTo>
                  <a:pt x="90" y="131"/>
                  <a:pt x="89" y="131"/>
                  <a:pt x="88" y="131"/>
                </a:cubicBezTo>
                <a:cubicBezTo>
                  <a:pt x="87" y="131"/>
                  <a:pt x="86" y="132"/>
                  <a:pt x="85" y="130"/>
                </a:cubicBezTo>
                <a:cubicBezTo>
                  <a:pt x="84" y="130"/>
                  <a:pt x="84" y="130"/>
                  <a:pt x="84" y="130"/>
                </a:cubicBezTo>
                <a:cubicBezTo>
                  <a:pt x="83" y="130"/>
                  <a:pt x="83" y="129"/>
                  <a:pt x="83" y="128"/>
                </a:cubicBezTo>
                <a:cubicBezTo>
                  <a:pt x="83" y="129"/>
                  <a:pt x="83" y="129"/>
                  <a:pt x="83" y="129"/>
                </a:cubicBezTo>
                <a:cubicBezTo>
                  <a:pt x="82" y="129"/>
                  <a:pt x="82" y="128"/>
                  <a:pt x="82" y="127"/>
                </a:cubicBezTo>
                <a:cubicBezTo>
                  <a:pt x="82" y="127"/>
                  <a:pt x="82" y="126"/>
                  <a:pt x="82" y="126"/>
                </a:cubicBezTo>
                <a:cubicBezTo>
                  <a:pt x="81" y="125"/>
                  <a:pt x="80" y="124"/>
                  <a:pt x="80" y="123"/>
                </a:cubicBezTo>
                <a:cubicBezTo>
                  <a:pt x="80" y="122"/>
                  <a:pt x="80" y="122"/>
                  <a:pt x="79" y="121"/>
                </a:cubicBezTo>
                <a:cubicBezTo>
                  <a:pt x="79" y="121"/>
                  <a:pt x="78" y="121"/>
                  <a:pt x="78" y="120"/>
                </a:cubicBezTo>
                <a:cubicBezTo>
                  <a:pt x="77" y="120"/>
                  <a:pt x="77" y="119"/>
                  <a:pt x="77" y="119"/>
                </a:cubicBezTo>
                <a:cubicBezTo>
                  <a:pt x="77" y="119"/>
                  <a:pt x="78" y="119"/>
                  <a:pt x="78" y="119"/>
                </a:cubicBezTo>
                <a:cubicBezTo>
                  <a:pt x="78" y="119"/>
                  <a:pt x="78" y="118"/>
                  <a:pt x="78" y="118"/>
                </a:cubicBezTo>
                <a:cubicBezTo>
                  <a:pt x="77" y="117"/>
                  <a:pt x="76" y="117"/>
                  <a:pt x="76" y="117"/>
                </a:cubicBezTo>
                <a:cubicBezTo>
                  <a:pt x="75" y="117"/>
                  <a:pt x="75" y="116"/>
                  <a:pt x="76" y="116"/>
                </a:cubicBezTo>
                <a:cubicBezTo>
                  <a:pt x="76" y="115"/>
                  <a:pt x="75" y="115"/>
                  <a:pt x="75" y="114"/>
                </a:cubicBezTo>
                <a:cubicBezTo>
                  <a:pt x="75" y="114"/>
                  <a:pt x="74" y="113"/>
                  <a:pt x="75" y="113"/>
                </a:cubicBezTo>
                <a:cubicBezTo>
                  <a:pt x="74" y="113"/>
                  <a:pt x="73" y="112"/>
                  <a:pt x="73" y="111"/>
                </a:cubicBezTo>
                <a:cubicBezTo>
                  <a:pt x="72" y="111"/>
                  <a:pt x="71" y="110"/>
                  <a:pt x="70" y="109"/>
                </a:cubicBezTo>
                <a:cubicBezTo>
                  <a:pt x="70" y="108"/>
                  <a:pt x="70" y="108"/>
                  <a:pt x="69" y="107"/>
                </a:cubicBezTo>
                <a:cubicBezTo>
                  <a:pt x="69" y="106"/>
                  <a:pt x="69" y="105"/>
                  <a:pt x="68" y="105"/>
                </a:cubicBezTo>
                <a:cubicBezTo>
                  <a:pt x="67" y="105"/>
                  <a:pt x="64" y="109"/>
                  <a:pt x="64" y="107"/>
                </a:cubicBezTo>
                <a:cubicBezTo>
                  <a:pt x="63" y="105"/>
                  <a:pt x="60" y="107"/>
                  <a:pt x="61" y="105"/>
                </a:cubicBezTo>
                <a:cubicBezTo>
                  <a:pt x="60" y="105"/>
                  <a:pt x="60" y="105"/>
                  <a:pt x="59" y="105"/>
                </a:cubicBezTo>
                <a:cubicBezTo>
                  <a:pt x="59" y="104"/>
                  <a:pt x="59" y="104"/>
                  <a:pt x="59" y="104"/>
                </a:cubicBezTo>
                <a:cubicBezTo>
                  <a:pt x="58" y="104"/>
                  <a:pt x="58" y="104"/>
                  <a:pt x="58" y="103"/>
                </a:cubicBezTo>
                <a:cubicBezTo>
                  <a:pt x="58" y="103"/>
                  <a:pt x="60" y="103"/>
                  <a:pt x="60" y="103"/>
                </a:cubicBezTo>
                <a:cubicBezTo>
                  <a:pt x="61" y="104"/>
                  <a:pt x="61" y="102"/>
                  <a:pt x="60" y="102"/>
                </a:cubicBezTo>
                <a:cubicBezTo>
                  <a:pt x="60" y="102"/>
                  <a:pt x="60" y="102"/>
                  <a:pt x="60" y="102"/>
                </a:cubicBezTo>
                <a:cubicBezTo>
                  <a:pt x="59" y="102"/>
                  <a:pt x="59" y="102"/>
                  <a:pt x="58" y="102"/>
                </a:cubicBezTo>
                <a:cubicBezTo>
                  <a:pt x="57" y="102"/>
                  <a:pt x="60" y="103"/>
                  <a:pt x="58" y="103"/>
                </a:cubicBezTo>
                <a:cubicBezTo>
                  <a:pt x="58" y="103"/>
                  <a:pt x="57" y="103"/>
                  <a:pt x="57" y="104"/>
                </a:cubicBezTo>
                <a:cubicBezTo>
                  <a:pt x="57" y="105"/>
                  <a:pt x="58" y="105"/>
                  <a:pt x="58" y="106"/>
                </a:cubicBezTo>
                <a:cubicBezTo>
                  <a:pt x="58" y="106"/>
                  <a:pt x="58" y="107"/>
                  <a:pt x="58" y="107"/>
                </a:cubicBezTo>
                <a:cubicBezTo>
                  <a:pt x="58" y="108"/>
                  <a:pt x="56" y="107"/>
                  <a:pt x="56" y="107"/>
                </a:cubicBezTo>
                <a:cubicBezTo>
                  <a:pt x="55" y="107"/>
                  <a:pt x="56" y="107"/>
                  <a:pt x="56" y="108"/>
                </a:cubicBezTo>
                <a:cubicBezTo>
                  <a:pt x="56" y="108"/>
                  <a:pt x="55" y="108"/>
                  <a:pt x="55" y="108"/>
                </a:cubicBezTo>
                <a:cubicBezTo>
                  <a:pt x="53" y="108"/>
                  <a:pt x="54" y="106"/>
                  <a:pt x="53" y="105"/>
                </a:cubicBezTo>
                <a:cubicBezTo>
                  <a:pt x="52" y="104"/>
                  <a:pt x="52" y="104"/>
                  <a:pt x="52" y="104"/>
                </a:cubicBezTo>
                <a:cubicBezTo>
                  <a:pt x="52" y="104"/>
                  <a:pt x="51" y="104"/>
                  <a:pt x="51" y="104"/>
                </a:cubicBezTo>
                <a:cubicBezTo>
                  <a:pt x="51" y="104"/>
                  <a:pt x="51" y="103"/>
                  <a:pt x="50" y="103"/>
                </a:cubicBezTo>
                <a:cubicBezTo>
                  <a:pt x="49" y="102"/>
                  <a:pt x="49" y="99"/>
                  <a:pt x="49" y="98"/>
                </a:cubicBezTo>
                <a:cubicBezTo>
                  <a:pt x="49" y="98"/>
                  <a:pt x="49" y="97"/>
                  <a:pt x="49" y="97"/>
                </a:cubicBezTo>
                <a:cubicBezTo>
                  <a:pt x="48" y="96"/>
                  <a:pt x="47" y="97"/>
                  <a:pt x="46" y="97"/>
                </a:cubicBezTo>
                <a:cubicBezTo>
                  <a:pt x="46" y="97"/>
                  <a:pt x="46" y="96"/>
                  <a:pt x="45" y="96"/>
                </a:cubicBezTo>
                <a:cubicBezTo>
                  <a:pt x="45" y="95"/>
                  <a:pt x="45" y="94"/>
                  <a:pt x="45" y="93"/>
                </a:cubicBezTo>
                <a:cubicBezTo>
                  <a:pt x="45" y="91"/>
                  <a:pt x="46" y="90"/>
                  <a:pt x="46" y="88"/>
                </a:cubicBezTo>
                <a:cubicBezTo>
                  <a:pt x="46" y="87"/>
                  <a:pt x="45" y="87"/>
                  <a:pt x="45" y="86"/>
                </a:cubicBezTo>
                <a:cubicBezTo>
                  <a:pt x="44" y="86"/>
                  <a:pt x="44" y="85"/>
                  <a:pt x="43" y="84"/>
                </a:cubicBezTo>
                <a:cubicBezTo>
                  <a:pt x="43" y="84"/>
                  <a:pt x="43" y="84"/>
                  <a:pt x="43" y="83"/>
                </a:cubicBezTo>
                <a:cubicBezTo>
                  <a:pt x="43" y="83"/>
                  <a:pt x="42" y="82"/>
                  <a:pt x="42" y="82"/>
                </a:cubicBezTo>
                <a:cubicBezTo>
                  <a:pt x="41" y="82"/>
                  <a:pt x="42" y="81"/>
                  <a:pt x="41" y="80"/>
                </a:cubicBezTo>
                <a:cubicBezTo>
                  <a:pt x="40" y="80"/>
                  <a:pt x="40" y="80"/>
                  <a:pt x="39" y="80"/>
                </a:cubicBezTo>
                <a:cubicBezTo>
                  <a:pt x="38" y="81"/>
                  <a:pt x="37" y="80"/>
                  <a:pt x="37" y="79"/>
                </a:cubicBezTo>
                <a:cubicBezTo>
                  <a:pt x="36" y="79"/>
                  <a:pt x="35" y="78"/>
                  <a:pt x="34" y="77"/>
                </a:cubicBezTo>
                <a:cubicBezTo>
                  <a:pt x="34" y="77"/>
                  <a:pt x="33" y="76"/>
                  <a:pt x="32" y="76"/>
                </a:cubicBezTo>
                <a:cubicBezTo>
                  <a:pt x="31" y="75"/>
                  <a:pt x="30" y="75"/>
                  <a:pt x="29" y="75"/>
                </a:cubicBezTo>
                <a:cubicBezTo>
                  <a:pt x="28" y="75"/>
                  <a:pt x="29" y="74"/>
                  <a:pt x="28" y="74"/>
                </a:cubicBezTo>
                <a:cubicBezTo>
                  <a:pt x="28" y="74"/>
                  <a:pt x="28" y="73"/>
                  <a:pt x="28" y="73"/>
                </a:cubicBezTo>
                <a:cubicBezTo>
                  <a:pt x="29" y="73"/>
                  <a:pt x="29" y="72"/>
                  <a:pt x="29" y="72"/>
                </a:cubicBezTo>
                <a:cubicBezTo>
                  <a:pt x="29" y="71"/>
                  <a:pt x="28" y="71"/>
                  <a:pt x="28" y="71"/>
                </a:cubicBezTo>
                <a:cubicBezTo>
                  <a:pt x="27" y="70"/>
                  <a:pt x="27" y="70"/>
                  <a:pt x="27" y="69"/>
                </a:cubicBezTo>
                <a:cubicBezTo>
                  <a:pt x="27" y="69"/>
                  <a:pt x="26" y="69"/>
                  <a:pt x="26" y="69"/>
                </a:cubicBezTo>
                <a:cubicBezTo>
                  <a:pt x="25" y="69"/>
                  <a:pt x="26" y="69"/>
                  <a:pt x="26" y="69"/>
                </a:cubicBezTo>
                <a:cubicBezTo>
                  <a:pt x="26" y="68"/>
                  <a:pt x="26" y="68"/>
                  <a:pt x="26" y="68"/>
                </a:cubicBezTo>
                <a:cubicBezTo>
                  <a:pt x="26" y="67"/>
                  <a:pt x="25" y="68"/>
                  <a:pt x="25" y="68"/>
                </a:cubicBezTo>
                <a:cubicBezTo>
                  <a:pt x="24" y="68"/>
                  <a:pt x="24" y="68"/>
                  <a:pt x="24" y="67"/>
                </a:cubicBezTo>
                <a:cubicBezTo>
                  <a:pt x="24" y="67"/>
                  <a:pt x="24" y="67"/>
                  <a:pt x="24" y="67"/>
                </a:cubicBezTo>
                <a:cubicBezTo>
                  <a:pt x="23" y="67"/>
                  <a:pt x="23" y="66"/>
                  <a:pt x="23" y="66"/>
                </a:cubicBezTo>
                <a:cubicBezTo>
                  <a:pt x="23" y="66"/>
                  <a:pt x="22" y="65"/>
                  <a:pt x="22" y="64"/>
                </a:cubicBezTo>
                <a:cubicBezTo>
                  <a:pt x="22" y="64"/>
                  <a:pt x="21" y="64"/>
                  <a:pt x="21" y="64"/>
                </a:cubicBezTo>
                <a:cubicBezTo>
                  <a:pt x="21" y="64"/>
                  <a:pt x="21" y="63"/>
                  <a:pt x="22" y="62"/>
                </a:cubicBezTo>
                <a:cubicBezTo>
                  <a:pt x="22" y="62"/>
                  <a:pt x="22" y="61"/>
                  <a:pt x="22" y="61"/>
                </a:cubicBezTo>
                <a:cubicBezTo>
                  <a:pt x="22" y="60"/>
                  <a:pt x="21" y="60"/>
                  <a:pt x="21" y="59"/>
                </a:cubicBezTo>
                <a:cubicBezTo>
                  <a:pt x="20" y="58"/>
                  <a:pt x="21" y="59"/>
                  <a:pt x="21" y="58"/>
                </a:cubicBezTo>
                <a:cubicBezTo>
                  <a:pt x="21" y="58"/>
                  <a:pt x="21" y="57"/>
                  <a:pt x="21" y="57"/>
                </a:cubicBezTo>
                <a:cubicBezTo>
                  <a:pt x="22" y="57"/>
                  <a:pt x="22" y="57"/>
                  <a:pt x="23" y="57"/>
                </a:cubicBezTo>
                <a:cubicBezTo>
                  <a:pt x="23" y="57"/>
                  <a:pt x="23" y="57"/>
                  <a:pt x="23" y="56"/>
                </a:cubicBezTo>
                <a:cubicBezTo>
                  <a:pt x="22" y="56"/>
                  <a:pt x="22" y="56"/>
                  <a:pt x="22" y="55"/>
                </a:cubicBezTo>
                <a:cubicBezTo>
                  <a:pt x="23" y="54"/>
                  <a:pt x="23" y="54"/>
                  <a:pt x="23" y="54"/>
                </a:cubicBezTo>
                <a:cubicBezTo>
                  <a:pt x="23" y="53"/>
                  <a:pt x="24" y="54"/>
                  <a:pt x="24" y="53"/>
                </a:cubicBezTo>
                <a:cubicBezTo>
                  <a:pt x="24" y="53"/>
                  <a:pt x="24" y="52"/>
                  <a:pt x="24" y="52"/>
                </a:cubicBezTo>
                <a:cubicBezTo>
                  <a:pt x="24" y="51"/>
                  <a:pt x="25" y="52"/>
                  <a:pt x="25" y="52"/>
                </a:cubicBezTo>
                <a:cubicBezTo>
                  <a:pt x="26" y="52"/>
                  <a:pt x="26" y="52"/>
                  <a:pt x="26" y="52"/>
                </a:cubicBezTo>
                <a:cubicBezTo>
                  <a:pt x="26" y="51"/>
                  <a:pt x="26" y="51"/>
                  <a:pt x="26" y="51"/>
                </a:cubicBezTo>
                <a:cubicBezTo>
                  <a:pt x="26" y="51"/>
                  <a:pt x="27" y="50"/>
                  <a:pt x="26" y="50"/>
                </a:cubicBezTo>
                <a:cubicBezTo>
                  <a:pt x="26" y="50"/>
                  <a:pt x="26" y="50"/>
                  <a:pt x="26" y="50"/>
                </a:cubicBezTo>
                <a:cubicBezTo>
                  <a:pt x="26" y="49"/>
                  <a:pt x="26" y="49"/>
                  <a:pt x="25" y="49"/>
                </a:cubicBezTo>
                <a:cubicBezTo>
                  <a:pt x="24" y="48"/>
                  <a:pt x="24" y="47"/>
                  <a:pt x="24" y="46"/>
                </a:cubicBezTo>
                <a:cubicBezTo>
                  <a:pt x="24" y="46"/>
                  <a:pt x="24" y="45"/>
                  <a:pt x="24" y="45"/>
                </a:cubicBezTo>
                <a:cubicBezTo>
                  <a:pt x="24" y="45"/>
                  <a:pt x="26" y="45"/>
                  <a:pt x="26" y="45"/>
                </a:cubicBezTo>
                <a:cubicBezTo>
                  <a:pt x="26" y="45"/>
                  <a:pt x="27" y="44"/>
                  <a:pt x="27" y="44"/>
                </a:cubicBezTo>
                <a:cubicBezTo>
                  <a:pt x="27" y="43"/>
                  <a:pt x="26" y="44"/>
                  <a:pt x="26" y="44"/>
                </a:cubicBezTo>
                <a:cubicBezTo>
                  <a:pt x="25" y="44"/>
                  <a:pt x="25" y="43"/>
                  <a:pt x="25" y="43"/>
                </a:cubicBezTo>
                <a:cubicBezTo>
                  <a:pt x="24" y="43"/>
                  <a:pt x="24" y="43"/>
                  <a:pt x="23" y="43"/>
                </a:cubicBezTo>
                <a:cubicBezTo>
                  <a:pt x="23" y="43"/>
                  <a:pt x="22" y="44"/>
                  <a:pt x="22" y="44"/>
                </a:cubicBezTo>
                <a:cubicBezTo>
                  <a:pt x="22" y="44"/>
                  <a:pt x="21" y="43"/>
                  <a:pt x="21" y="43"/>
                </a:cubicBezTo>
                <a:cubicBezTo>
                  <a:pt x="21" y="42"/>
                  <a:pt x="19" y="41"/>
                  <a:pt x="19" y="42"/>
                </a:cubicBezTo>
                <a:cubicBezTo>
                  <a:pt x="18" y="42"/>
                  <a:pt x="17" y="42"/>
                  <a:pt x="17" y="41"/>
                </a:cubicBezTo>
                <a:cubicBezTo>
                  <a:pt x="17" y="41"/>
                  <a:pt x="18" y="41"/>
                  <a:pt x="18" y="41"/>
                </a:cubicBezTo>
                <a:cubicBezTo>
                  <a:pt x="18" y="40"/>
                  <a:pt x="17" y="40"/>
                  <a:pt x="17" y="39"/>
                </a:cubicBezTo>
                <a:cubicBezTo>
                  <a:pt x="17" y="39"/>
                  <a:pt x="17" y="39"/>
                  <a:pt x="17" y="39"/>
                </a:cubicBezTo>
                <a:cubicBezTo>
                  <a:pt x="17" y="39"/>
                  <a:pt x="17" y="39"/>
                  <a:pt x="17" y="38"/>
                </a:cubicBezTo>
                <a:cubicBezTo>
                  <a:pt x="16" y="38"/>
                  <a:pt x="17" y="37"/>
                  <a:pt x="16" y="37"/>
                </a:cubicBezTo>
                <a:cubicBezTo>
                  <a:pt x="16" y="37"/>
                  <a:pt x="15" y="37"/>
                  <a:pt x="15" y="37"/>
                </a:cubicBezTo>
                <a:cubicBezTo>
                  <a:pt x="15" y="37"/>
                  <a:pt x="14" y="36"/>
                  <a:pt x="14" y="35"/>
                </a:cubicBezTo>
                <a:cubicBezTo>
                  <a:pt x="14" y="35"/>
                  <a:pt x="14" y="34"/>
                  <a:pt x="14" y="34"/>
                </a:cubicBezTo>
                <a:cubicBezTo>
                  <a:pt x="13" y="33"/>
                  <a:pt x="13" y="33"/>
                  <a:pt x="12" y="33"/>
                </a:cubicBezTo>
                <a:cubicBezTo>
                  <a:pt x="12" y="33"/>
                  <a:pt x="12" y="32"/>
                  <a:pt x="12" y="32"/>
                </a:cubicBezTo>
                <a:cubicBezTo>
                  <a:pt x="12" y="31"/>
                  <a:pt x="12" y="30"/>
                  <a:pt x="12" y="30"/>
                </a:cubicBezTo>
                <a:cubicBezTo>
                  <a:pt x="12" y="30"/>
                  <a:pt x="11" y="30"/>
                  <a:pt x="11" y="29"/>
                </a:cubicBezTo>
                <a:cubicBezTo>
                  <a:pt x="11" y="29"/>
                  <a:pt x="11" y="28"/>
                  <a:pt x="11" y="28"/>
                </a:cubicBezTo>
                <a:cubicBezTo>
                  <a:pt x="12" y="27"/>
                  <a:pt x="9" y="26"/>
                  <a:pt x="9" y="26"/>
                </a:cubicBezTo>
                <a:cubicBezTo>
                  <a:pt x="9" y="25"/>
                  <a:pt x="9" y="24"/>
                  <a:pt x="8" y="24"/>
                </a:cubicBezTo>
                <a:cubicBezTo>
                  <a:pt x="8" y="23"/>
                  <a:pt x="9" y="23"/>
                  <a:pt x="8" y="23"/>
                </a:cubicBezTo>
                <a:cubicBezTo>
                  <a:pt x="8" y="22"/>
                  <a:pt x="8" y="22"/>
                  <a:pt x="7" y="22"/>
                </a:cubicBezTo>
                <a:cubicBezTo>
                  <a:pt x="7" y="22"/>
                  <a:pt x="7" y="22"/>
                  <a:pt x="6" y="21"/>
                </a:cubicBezTo>
                <a:cubicBezTo>
                  <a:pt x="6" y="21"/>
                  <a:pt x="6" y="21"/>
                  <a:pt x="5" y="21"/>
                </a:cubicBezTo>
                <a:cubicBezTo>
                  <a:pt x="5" y="21"/>
                  <a:pt x="5" y="20"/>
                  <a:pt x="5" y="20"/>
                </a:cubicBezTo>
                <a:cubicBezTo>
                  <a:pt x="5" y="19"/>
                  <a:pt x="6" y="18"/>
                  <a:pt x="6" y="17"/>
                </a:cubicBezTo>
                <a:cubicBezTo>
                  <a:pt x="6" y="17"/>
                  <a:pt x="6" y="17"/>
                  <a:pt x="6" y="17"/>
                </a:cubicBezTo>
                <a:cubicBezTo>
                  <a:pt x="6" y="16"/>
                  <a:pt x="7" y="16"/>
                  <a:pt x="6" y="16"/>
                </a:cubicBezTo>
                <a:cubicBezTo>
                  <a:pt x="6" y="15"/>
                  <a:pt x="5" y="16"/>
                  <a:pt x="5" y="15"/>
                </a:cubicBezTo>
                <a:cubicBezTo>
                  <a:pt x="5" y="14"/>
                  <a:pt x="5" y="14"/>
                  <a:pt x="5" y="13"/>
                </a:cubicBezTo>
                <a:cubicBezTo>
                  <a:pt x="4" y="13"/>
                  <a:pt x="4" y="13"/>
                  <a:pt x="4" y="12"/>
                </a:cubicBezTo>
                <a:cubicBezTo>
                  <a:pt x="4" y="11"/>
                  <a:pt x="4" y="11"/>
                  <a:pt x="3" y="10"/>
                </a:cubicBezTo>
                <a:cubicBezTo>
                  <a:pt x="2" y="9"/>
                  <a:pt x="3" y="8"/>
                  <a:pt x="3" y="7"/>
                </a:cubicBezTo>
                <a:cubicBezTo>
                  <a:pt x="3" y="7"/>
                  <a:pt x="3" y="7"/>
                  <a:pt x="2" y="7"/>
                </a:cubicBezTo>
                <a:cubicBezTo>
                  <a:pt x="2" y="7"/>
                  <a:pt x="2" y="6"/>
                  <a:pt x="2" y="6"/>
                </a:cubicBezTo>
                <a:cubicBezTo>
                  <a:pt x="1" y="5"/>
                  <a:pt x="0" y="4"/>
                  <a:pt x="2" y="4"/>
                </a:cubicBezTo>
                <a:cubicBezTo>
                  <a:pt x="3" y="4"/>
                  <a:pt x="4" y="5"/>
                  <a:pt x="4" y="4"/>
                </a:cubicBezTo>
                <a:cubicBezTo>
                  <a:pt x="5" y="4"/>
                  <a:pt x="4" y="3"/>
                  <a:pt x="4" y="2"/>
                </a:cubicBezTo>
                <a:cubicBezTo>
                  <a:pt x="4" y="2"/>
                  <a:pt x="5" y="2"/>
                  <a:pt x="4" y="1"/>
                </a:cubicBezTo>
                <a:cubicBezTo>
                  <a:pt x="5" y="1"/>
                  <a:pt x="5" y="0"/>
                  <a:pt x="6" y="0"/>
                </a:cubicBezTo>
                <a:cubicBezTo>
                  <a:pt x="6" y="0"/>
                  <a:pt x="7" y="1"/>
                  <a:pt x="7" y="1"/>
                </a:cubicBezTo>
                <a:cubicBezTo>
                  <a:pt x="7" y="2"/>
                  <a:pt x="8" y="2"/>
                  <a:pt x="8" y="3"/>
                </a:cubicBezTo>
                <a:cubicBezTo>
                  <a:pt x="9" y="3"/>
                  <a:pt x="9" y="4"/>
                  <a:pt x="10" y="4"/>
                </a:cubicBezTo>
                <a:cubicBezTo>
                  <a:pt x="10" y="5"/>
                  <a:pt x="11" y="5"/>
                  <a:pt x="11" y="6"/>
                </a:cubicBezTo>
                <a:cubicBezTo>
                  <a:pt x="11" y="7"/>
                  <a:pt x="12" y="6"/>
                  <a:pt x="13" y="7"/>
                </a:cubicBezTo>
                <a:cubicBezTo>
                  <a:pt x="13" y="7"/>
                  <a:pt x="13" y="8"/>
                  <a:pt x="14" y="8"/>
                </a:cubicBezTo>
                <a:cubicBezTo>
                  <a:pt x="14" y="8"/>
                  <a:pt x="14" y="9"/>
                  <a:pt x="14" y="9"/>
                </a:cubicBezTo>
                <a:cubicBezTo>
                  <a:pt x="15" y="9"/>
                  <a:pt x="16" y="9"/>
                  <a:pt x="17" y="9"/>
                </a:cubicBezTo>
                <a:cubicBezTo>
                  <a:pt x="17" y="10"/>
                  <a:pt x="18" y="10"/>
                  <a:pt x="19" y="10"/>
                </a:cubicBezTo>
                <a:cubicBezTo>
                  <a:pt x="19" y="10"/>
                  <a:pt x="20" y="11"/>
                  <a:pt x="21" y="10"/>
                </a:cubicBezTo>
                <a:cubicBezTo>
                  <a:pt x="22" y="10"/>
                  <a:pt x="22" y="10"/>
                  <a:pt x="23" y="10"/>
                </a:cubicBezTo>
                <a:cubicBezTo>
                  <a:pt x="24" y="10"/>
                  <a:pt x="24" y="10"/>
                  <a:pt x="24" y="10"/>
                </a:cubicBezTo>
                <a:cubicBezTo>
                  <a:pt x="25" y="9"/>
                  <a:pt x="25" y="9"/>
                  <a:pt x="25" y="9"/>
                </a:cubicBezTo>
                <a:cubicBezTo>
                  <a:pt x="26" y="8"/>
                  <a:pt x="26" y="8"/>
                  <a:pt x="26" y="8"/>
                </a:cubicBezTo>
                <a:cubicBezTo>
                  <a:pt x="26" y="7"/>
                  <a:pt x="27" y="7"/>
                  <a:pt x="27" y="7"/>
                </a:cubicBezTo>
                <a:cubicBezTo>
                  <a:pt x="28" y="7"/>
                  <a:pt x="28" y="6"/>
                  <a:pt x="28" y="6"/>
                </a:cubicBezTo>
                <a:cubicBezTo>
                  <a:pt x="29" y="5"/>
                  <a:pt x="29" y="5"/>
                  <a:pt x="30" y="5"/>
                </a:cubicBezTo>
                <a:cubicBezTo>
                  <a:pt x="30" y="4"/>
                  <a:pt x="31" y="4"/>
                  <a:pt x="31" y="4"/>
                </a:cubicBezTo>
                <a:cubicBezTo>
                  <a:pt x="32" y="3"/>
                  <a:pt x="33" y="3"/>
                  <a:pt x="33" y="2"/>
                </a:cubicBezTo>
                <a:cubicBezTo>
                  <a:pt x="34" y="2"/>
                  <a:pt x="34" y="1"/>
                  <a:pt x="35" y="1"/>
                </a:cubicBezTo>
                <a:cubicBezTo>
                  <a:pt x="35" y="1"/>
                  <a:pt x="35" y="1"/>
                  <a:pt x="36" y="1"/>
                </a:cubicBezTo>
                <a:cubicBezTo>
                  <a:pt x="36" y="1"/>
                  <a:pt x="39" y="4"/>
                  <a:pt x="39" y="4"/>
                </a:cubicBezTo>
                <a:cubicBezTo>
                  <a:pt x="41" y="5"/>
                  <a:pt x="38" y="5"/>
                  <a:pt x="38" y="6"/>
                </a:cubicBezTo>
                <a:cubicBezTo>
                  <a:pt x="38" y="7"/>
                  <a:pt x="40" y="7"/>
                  <a:pt x="40" y="8"/>
                </a:cubicBezTo>
                <a:cubicBezTo>
                  <a:pt x="40" y="10"/>
                  <a:pt x="37" y="9"/>
                  <a:pt x="37" y="10"/>
                </a:cubicBezTo>
                <a:cubicBezTo>
                  <a:pt x="37" y="11"/>
                  <a:pt x="39" y="11"/>
                  <a:pt x="40" y="12"/>
                </a:cubicBezTo>
                <a:cubicBezTo>
                  <a:pt x="40" y="12"/>
                  <a:pt x="40" y="12"/>
                  <a:pt x="40" y="12"/>
                </a:cubicBezTo>
                <a:cubicBezTo>
                  <a:pt x="40" y="13"/>
                  <a:pt x="40" y="13"/>
                  <a:pt x="40" y="13"/>
                </a:cubicBezTo>
                <a:cubicBezTo>
                  <a:pt x="41" y="13"/>
                  <a:pt x="42" y="13"/>
                  <a:pt x="42" y="13"/>
                </a:cubicBezTo>
                <a:cubicBezTo>
                  <a:pt x="42" y="14"/>
                  <a:pt x="43" y="15"/>
                  <a:pt x="44" y="15"/>
                </a:cubicBezTo>
                <a:cubicBezTo>
                  <a:pt x="45" y="15"/>
                  <a:pt x="45" y="15"/>
                  <a:pt x="46" y="15"/>
                </a:cubicBezTo>
                <a:cubicBezTo>
                  <a:pt x="46" y="15"/>
                  <a:pt x="46" y="16"/>
                  <a:pt x="46" y="16"/>
                </a:cubicBezTo>
                <a:cubicBezTo>
                  <a:pt x="46" y="18"/>
                  <a:pt x="47" y="20"/>
                  <a:pt x="48" y="21"/>
                </a:cubicBezTo>
                <a:cubicBezTo>
                  <a:pt x="48" y="23"/>
                  <a:pt x="49" y="24"/>
                  <a:pt x="51" y="25"/>
                </a:cubicBezTo>
                <a:cubicBezTo>
                  <a:pt x="52" y="25"/>
                  <a:pt x="54" y="25"/>
                  <a:pt x="56" y="26"/>
                </a:cubicBezTo>
                <a:cubicBezTo>
                  <a:pt x="56" y="26"/>
                  <a:pt x="57" y="25"/>
                  <a:pt x="57" y="26"/>
                </a:cubicBezTo>
                <a:cubicBezTo>
                  <a:pt x="58" y="26"/>
                  <a:pt x="58" y="26"/>
                  <a:pt x="59" y="26"/>
                </a:cubicBezTo>
                <a:cubicBezTo>
                  <a:pt x="59" y="26"/>
                  <a:pt x="60" y="26"/>
                  <a:pt x="60" y="27"/>
                </a:cubicBezTo>
                <a:cubicBezTo>
                  <a:pt x="60" y="28"/>
                  <a:pt x="61" y="28"/>
                  <a:pt x="61" y="29"/>
                </a:cubicBezTo>
                <a:cubicBezTo>
                  <a:pt x="62" y="30"/>
                  <a:pt x="63" y="31"/>
                  <a:pt x="65" y="31"/>
                </a:cubicBezTo>
                <a:cubicBezTo>
                  <a:pt x="65" y="32"/>
                  <a:pt x="66" y="32"/>
                  <a:pt x="67" y="33"/>
                </a:cubicBezTo>
                <a:cubicBezTo>
                  <a:pt x="68" y="33"/>
                  <a:pt x="69" y="34"/>
                  <a:pt x="70" y="34"/>
                </a:cubicBezTo>
                <a:cubicBezTo>
                  <a:pt x="71" y="34"/>
                  <a:pt x="73" y="35"/>
                  <a:pt x="75" y="35"/>
                </a:cubicBezTo>
                <a:cubicBezTo>
                  <a:pt x="77" y="35"/>
                  <a:pt x="78" y="35"/>
                  <a:pt x="80" y="34"/>
                </a:cubicBezTo>
                <a:cubicBezTo>
                  <a:pt x="82" y="34"/>
                  <a:pt x="84" y="34"/>
                  <a:pt x="85" y="33"/>
                </a:cubicBezTo>
                <a:cubicBezTo>
                  <a:pt x="87" y="33"/>
                  <a:pt x="89" y="32"/>
                  <a:pt x="91" y="32"/>
                </a:cubicBezTo>
                <a:cubicBezTo>
                  <a:pt x="92" y="32"/>
                  <a:pt x="93" y="32"/>
                  <a:pt x="94" y="32"/>
                </a:cubicBezTo>
                <a:cubicBezTo>
                  <a:pt x="94" y="32"/>
                  <a:pt x="95" y="31"/>
                  <a:pt x="95" y="32"/>
                </a:cubicBezTo>
                <a:cubicBezTo>
                  <a:pt x="94" y="33"/>
                  <a:pt x="92" y="32"/>
                  <a:pt x="91" y="32"/>
                </a:cubicBezTo>
                <a:cubicBezTo>
                  <a:pt x="92" y="32"/>
                  <a:pt x="92" y="32"/>
                  <a:pt x="92" y="32"/>
                </a:cubicBezTo>
                <a:cubicBezTo>
                  <a:pt x="91" y="33"/>
                  <a:pt x="93" y="33"/>
                  <a:pt x="93" y="33"/>
                </a:cubicBezTo>
                <a:cubicBezTo>
                  <a:pt x="93" y="33"/>
                  <a:pt x="95" y="33"/>
                  <a:pt x="95" y="32"/>
                </a:cubicBezTo>
                <a:cubicBezTo>
                  <a:pt x="95" y="32"/>
                  <a:pt x="95" y="31"/>
                  <a:pt x="95" y="31"/>
                </a:cubicBezTo>
                <a:cubicBezTo>
                  <a:pt x="95" y="31"/>
                  <a:pt x="95" y="31"/>
                  <a:pt x="95" y="30"/>
                </a:cubicBezTo>
                <a:cubicBezTo>
                  <a:pt x="94" y="29"/>
                  <a:pt x="94" y="28"/>
                  <a:pt x="93" y="27"/>
                </a:cubicBezTo>
                <a:cubicBezTo>
                  <a:pt x="95" y="27"/>
                  <a:pt x="96" y="27"/>
                  <a:pt x="97" y="27"/>
                </a:cubicBezTo>
                <a:cubicBezTo>
                  <a:pt x="98" y="26"/>
                  <a:pt x="98" y="26"/>
                  <a:pt x="99" y="26"/>
                </a:cubicBezTo>
                <a:cubicBezTo>
                  <a:pt x="100" y="26"/>
                  <a:pt x="100" y="26"/>
                  <a:pt x="101" y="25"/>
                </a:cubicBezTo>
                <a:cubicBezTo>
                  <a:pt x="102" y="24"/>
                  <a:pt x="100" y="23"/>
                  <a:pt x="101" y="22"/>
                </a:cubicBezTo>
                <a:cubicBezTo>
                  <a:pt x="102" y="22"/>
                  <a:pt x="103" y="20"/>
                  <a:pt x="104" y="20"/>
                </a:cubicBezTo>
                <a:cubicBezTo>
                  <a:pt x="106" y="19"/>
                  <a:pt x="107" y="18"/>
                  <a:pt x="108" y="18"/>
                </a:cubicBezTo>
                <a:cubicBezTo>
                  <a:pt x="109" y="18"/>
                  <a:pt x="109" y="18"/>
                  <a:pt x="110" y="19"/>
                </a:cubicBezTo>
                <a:cubicBezTo>
                  <a:pt x="111" y="19"/>
                  <a:pt x="112" y="19"/>
                  <a:pt x="112" y="19"/>
                </a:cubicBezTo>
                <a:cubicBezTo>
                  <a:pt x="113" y="19"/>
                  <a:pt x="115" y="19"/>
                  <a:pt x="114" y="18"/>
                </a:cubicBezTo>
                <a:cubicBezTo>
                  <a:pt x="113" y="18"/>
                  <a:pt x="114" y="17"/>
                  <a:pt x="114" y="17"/>
                </a:cubicBezTo>
                <a:cubicBezTo>
                  <a:pt x="115" y="17"/>
                  <a:pt x="115" y="17"/>
                  <a:pt x="116" y="17"/>
                </a:cubicBezTo>
                <a:cubicBezTo>
                  <a:pt x="116" y="17"/>
                  <a:pt x="117" y="16"/>
                  <a:pt x="118" y="17"/>
                </a:cubicBezTo>
                <a:cubicBezTo>
                  <a:pt x="118" y="17"/>
                  <a:pt x="119" y="17"/>
                  <a:pt x="119" y="17"/>
                </a:cubicBezTo>
                <a:cubicBezTo>
                  <a:pt x="119" y="17"/>
                  <a:pt x="120" y="18"/>
                  <a:pt x="120" y="17"/>
                </a:cubicBezTo>
                <a:cubicBezTo>
                  <a:pt x="121" y="17"/>
                  <a:pt x="121" y="16"/>
                  <a:pt x="122" y="17"/>
                </a:cubicBezTo>
                <a:cubicBezTo>
                  <a:pt x="122" y="17"/>
                  <a:pt x="123" y="19"/>
                  <a:pt x="123" y="19"/>
                </a:cubicBezTo>
                <a:cubicBezTo>
                  <a:pt x="123" y="21"/>
                  <a:pt x="126" y="21"/>
                  <a:pt x="127" y="21"/>
                </a:cubicBezTo>
                <a:cubicBezTo>
                  <a:pt x="128" y="21"/>
                  <a:pt x="129" y="21"/>
                  <a:pt x="130" y="22"/>
                </a:cubicBezTo>
                <a:cubicBezTo>
                  <a:pt x="131" y="22"/>
                  <a:pt x="131" y="22"/>
                  <a:pt x="131" y="22"/>
                </a:cubicBezTo>
                <a:cubicBezTo>
                  <a:pt x="132" y="23"/>
                  <a:pt x="132" y="23"/>
                  <a:pt x="133" y="23"/>
                </a:cubicBezTo>
                <a:cubicBezTo>
                  <a:pt x="133" y="23"/>
                  <a:pt x="133" y="24"/>
                  <a:pt x="134" y="24"/>
                </a:cubicBezTo>
                <a:cubicBezTo>
                  <a:pt x="134" y="24"/>
                  <a:pt x="134" y="23"/>
                  <a:pt x="135" y="23"/>
                </a:cubicBezTo>
                <a:cubicBezTo>
                  <a:pt x="135" y="23"/>
                  <a:pt x="136" y="24"/>
                  <a:pt x="136" y="24"/>
                </a:cubicBezTo>
                <a:cubicBezTo>
                  <a:pt x="137" y="24"/>
                  <a:pt x="137" y="23"/>
                  <a:pt x="137" y="23"/>
                </a:cubicBezTo>
                <a:cubicBezTo>
                  <a:pt x="137" y="23"/>
                  <a:pt x="137" y="23"/>
                  <a:pt x="137" y="23"/>
                </a:cubicBezTo>
                <a:cubicBezTo>
                  <a:pt x="137" y="23"/>
                  <a:pt x="138" y="23"/>
                  <a:pt x="138" y="23"/>
                </a:cubicBezTo>
                <a:cubicBezTo>
                  <a:pt x="138" y="23"/>
                  <a:pt x="139" y="24"/>
                  <a:pt x="139" y="24"/>
                </a:cubicBezTo>
                <a:cubicBezTo>
                  <a:pt x="140" y="24"/>
                  <a:pt x="140" y="24"/>
                  <a:pt x="141" y="25"/>
                </a:cubicBezTo>
                <a:cubicBezTo>
                  <a:pt x="141" y="25"/>
                  <a:pt x="142" y="25"/>
                  <a:pt x="142" y="25"/>
                </a:cubicBezTo>
                <a:cubicBezTo>
                  <a:pt x="143" y="26"/>
                  <a:pt x="143" y="27"/>
                  <a:pt x="143" y="27"/>
                </a:cubicBezTo>
                <a:cubicBezTo>
                  <a:pt x="144" y="28"/>
                  <a:pt x="144" y="28"/>
                  <a:pt x="145" y="29"/>
                </a:cubicBezTo>
                <a:cubicBezTo>
                  <a:pt x="145" y="29"/>
                  <a:pt x="145" y="29"/>
                  <a:pt x="145" y="29"/>
                </a:cubicBezTo>
                <a:cubicBezTo>
                  <a:pt x="146" y="29"/>
                  <a:pt x="146" y="29"/>
                  <a:pt x="146" y="29"/>
                </a:cubicBezTo>
                <a:cubicBezTo>
                  <a:pt x="148" y="29"/>
                  <a:pt x="150" y="30"/>
                  <a:pt x="151" y="32"/>
                </a:cubicBezTo>
                <a:cubicBezTo>
                  <a:pt x="151" y="32"/>
                  <a:pt x="152" y="33"/>
                  <a:pt x="152" y="33"/>
                </a:cubicBezTo>
                <a:cubicBezTo>
                  <a:pt x="153" y="34"/>
                  <a:pt x="153" y="34"/>
                  <a:pt x="154" y="35"/>
                </a:cubicBezTo>
                <a:cubicBezTo>
                  <a:pt x="156" y="35"/>
                  <a:pt x="157" y="35"/>
                  <a:pt x="159" y="34"/>
                </a:cubicBezTo>
                <a:cubicBezTo>
                  <a:pt x="160" y="34"/>
                  <a:pt x="161" y="34"/>
                  <a:pt x="161" y="35"/>
                </a:cubicBezTo>
                <a:cubicBezTo>
                  <a:pt x="161" y="36"/>
                  <a:pt x="161" y="37"/>
                  <a:pt x="161" y="38"/>
                </a:cubicBezTo>
                <a:cubicBezTo>
                  <a:pt x="161" y="39"/>
                  <a:pt x="162" y="39"/>
                  <a:pt x="162" y="40"/>
                </a:cubicBezTo>
                <a:cubicBezTo>
                  <a:pt x="162" y="41"/>
                  <a:pt x="162" y="42"/>
                  <a:pt x="161" y="42"/>
                </a:cubicBezTo>
                <a:cubicBezTo>
                  <a:pt x="162" y="42"/>
                  <a:pt x="162" y="42"/>
                  <a:pt x="162" y="42"/>
                </a:cubicBezTo>
                <a:cubicBezTo>
                  <a:pt x="163" y="43"/>
                  <a:pt x="163" y="44"/>
                  <a:pt x="163" y="44"/>
                </a:cubicBezTo>
                <a:cubicBezTo>
                  <a:pt x="163" y="45"/>
                  <a:pt x="163" y="45"/>
                  <a:pt x="163" y="46"/>
                </a:cubicBezTo>
                <a:cubicBezTo>
                  <a:pt x="164" y="46"/>
                  <a:pt x="164" y="46"/>
                  <a:pt x="164" y="47"/>
                </a:cubicBezTo>
                <a:cubicBezTo>
                  <a:pt x="163" y="48"/>
                  <a:pt x="163" y="49"/>
                  <a:pt x="163" y="49"/>
                </a:cubicBezTo>
                <a:cubicBezTo>
                  <a:pt x="162" y="50"/>
                  <a:pt x="163" y="50"/>
                  <a:pt x="163" y="51"/>
                </a:cubicBezTo>
                <a:cubicBezTo>
                  <a:pt x="163" y="52"/>
                  <a:pt x="163" y="53"/>
                  <a:pt x="163" y="54"/>
                </a:cubicBezTo>
                <a:cubicBezTo>
                  <a:pt x="163" y="55"/>
                  <a:pt x="163" y="55"/>
                  <a:pt x="163" y="55"/>
                </a:cubicBezTo>
                <a:cubicBezTo>
                  <a:pt x="163" y="56"/>
                  <a:pt x="163" y="56"/>
                  <a:pt x="162" y="57"/>
                </a:cubicBezTo>
                <a:cubicBezTo>
                  <a:pt x="162" y="57"/>
                  <a:pt x="161" y="58"/>
                  <a:pt x="161" y="58"/>
                </a:cubicBezTo>
                <a:cubicBezTo>
                  <a:pt x="161" y="59"/>
                  <a:pt x="162" y="59"/>
                  <a:pt x="163" y="60"/>
                </a:cubicBezTo>
                <a:cubicBezTo>
                  <a:pt x="161" y="60"/>
                  <a:pt x="160" y="60"/>
                  <a:pt x="160" y="61"/>
                </a:cubicBezTo>
                <a:cubicBezTo>
                  <a:pt x="159" y="63"/>
                  <a:pt x="160" y="64"/>
                  <a:pt x="160" y="65"/>
                </a:cubicBezTo>
                <a:cubicBezTo>
                  <a:pt x="160" y="66"/>
                  <a:pt x="160" y="66"/>
                  <a:pt x="160" y="67"/>
                </a:cubicBezTo>
                <a:cubicBezTo>
                  <a:pt x="160" y="67"/>
                  <a:pt x="160" y="68"/>
                  <a:pt x="161" y="68"/>
                </a:cubicBezTo>
                <a:cubicBezTo>
                  <a:pt x="162" y="68"/>
                  <a:pt x="162" y="68"/>
                  <a:pt x="163" y="68"/>
                </a:cubicBezTo>
                <a:cubicBezTo>
                  <a:pt x="163" y="68"/>
                  <a:pt x="164" y="68"/>
                  <a:pt x="164" y="69"/>
                </a:cubicBezTo>
                <a:cubicBezTo>
                  <a:pt x="164" y="69"/>
                  <a:pt x="165" y="69"/>
                  <a:pt x="164" y="69"/>
                </a:cubicBezTo>
                <a:cubicBezTo>
                  <a:pt x="163" y="69"/>
                  <a:pt x="164" y="70"/>
                  <a:pt x="164" y="70"/>
                </a:cubicBezTo>
                <a:cubicBezTo>
                  <a:pt x="163" y="71"/>
                  <a:pt x="163" y="71"/>
                  <a:pt x="162" y="72"/>
                </a:cubicBezTo>
                <a:cubicBezTo>
                  <a:pt x="161" y="73"/>
                  <a:pt x="162" y="75"/>
                  <a:pt x="163" y="76"/>
                </a:cubicBezTo>
                <a:cubicBezTo>
                  <a:pt x="164" y="78"/>
                  <a:pt x="165" y="80"/>
                  <a:pt x="165" y="82"/>
                </a:cubicBezTo>
                <a:cubicBezTo>
                  <a:pt x="166" y="82"/>
                  <a:pt x="166" y="83"/>
                  <a:pt x="166" y="84"/>
                </a:cubicBezTo>
                <a:cubicBezTo>
                  <a:pt x="166" y="84"/>
                  <a:pt x="166" y="85"/>
                  <a:pt x="166" y="85"/>
                </a:cubicBezTo>
                <a:cubicBezTo>
                  <a:pt x="166" y="85"/>
                  <a:pt x="166" y="86"/>
                  <a:pt x="166" y="86"/>
                </a:cubicBezTo>
                <a:cubicBezTo>
                  <a:pt x="166" y="88"/>
                  <a:pt x="166" y="89"/>
                  <a:pt x="167" y="90"/>
                </a:cubicBezTo>
                <a:cubicBezTo>
                  <a:pt x="167" y="91"/>
                  <a:pt x="167" y="91"/>
                  <a:pt x="168" y="91"/>
                </a:cubicBezTo>
                <a:cubicBezTo>
                  <a:pt x="169" y="91"/>
                  <a:pt x="170" y="92"/>
                  <a:pt x="171" y="92"/>
                </a:cubicBezTo>
                <a:cubicBezTo>
                  <a:pt x="172" y="92"/>
                  <a:pt x="175" y="92"/>
                  <a:pt x="176" y="93"/>
                </a:cubicBezTo>
                <a:cubicBezTo>
                  <a:pt x="176" y="94"/>
                  <a:pt x="176" y="95"/>
                  <a:pt x="177" y="95"/>
                </a:cubicBezTo>
                <a:cubicBezTo>
                  <a:pt x="177" y="96"/>
                  <a:pt x="177" y="96"/>
                  <a:pt x="177" y="97"/>
                </a:cubicBezTo>
                <a:cubicBezTo>
                  <a:pt x="177" y="98"/>
                  <a:pt x="177" y="98"/>
                  <a:pt x="177" y="99"/>
                </a:cubicBezTo>
                <a:cubicBezTo>
                  <a:pt x="176" y="100"/>
                  <a:pt x="176" y="100"/>
                  <a:pt x="175" y="101"/>
                </a:cubicBezTo>
                <a:cubicBezTo>
                  <a:pt x="175" y="101"/>
                  <a:pt x="175" y="102"/>
                  <a:pt x="174" y="102"/>
                </a:cubicBezTo>
                <a:cubicBezTo>
                  <a:pt x="173" y="104"/>
                  <a:pt x="173" y="105"/>
                  <a:pt x="172" y="106"/>
                </a:cubicBezTo>
                <a:cubicBezTo>
                  <a:pt x="171" y="107"/>
                  <a:pt x="169" y="109"/>
                  <a:pt x="170" y="109"/>
                </a:cubicBezTo>
                <a:cubicBezTo>
                  <a:pt x="171" y="110"/>
                  <a:pt x="171" y="111"/>
                  <a:pt x="172" y="112"/>
                </a:cubicBezTo>
                <a:cubicBezTo>
                  <a:pt x="173" y="112"/>
                  <a:pt x="173" y="113"/>
                  <a:pt x="174" y="114"/>
                </a:cubicBezTo>
                <a:cubicBezTo>
                  <a:pt x="174" y="114"/>
                  <a:pt x="174" y="114"/>
                  <a:pt x="175" y="114"/>
                </a:cubicBezTo>
                <a:cubicBezTo>
                  <a:pt x="175" y="114"/>
                  <a:pt x="175" y="115"/>
                  <a:pt x="175" y="115"/>
                </a:cubicBezTo>
                <a:cubicBezTo>
                  <a:pt x="175" y="116"/>
                  <a:pt x="176" y="117"/>
                  <a:pt x="176" y="117"/>
                </a:cubicBezTo>
                <a:cubicBezTo>
                  <a:pt x="177" y="117"/>
                  <a:pt x="177" y="118"/>
                  <a:pt x="177" y="118"/>
                </a:cubicBezTo>
                <a:cubicBezTo>
                  <a:pt x="178" y="119"/>
                  <a:pt x="178" y="120"/>
                  <a:pt x="178" y="121"/>
                </a:cubicBezTo>
                <a:cubicBezTo>
                  <a:pt x="180" y="122"/>
                  <a:pt x="181" y="124"/>
                  <a:pt x="183" y="124"/>
                </a:cubicBezTo>
                <a:cubicBezTo>
                  <a:pt x="184" y="124"/>
                  <a:pt x="185" y="125"/>
                  <a:pt x="186" y="125"/>
                </a:cubicBezTo>
                <a:cubicBezTo>
                  <a:pt x="187" y="125"/>
                  <a:pt x="187" y="126"/>
                  <a:pt x="188" y="126"/>
                </a:cubicBezTo>
                <a:cubicBezTo>
                  <a:pt x="188" y="127"/>
                  <a:pt x="189" y="127"/>
                  <a:pt x="189" y="127"/>
                </a:cubicBezTo>
                <a:cubicBezTo>
                  <a:pt x="190" y="126"/>
                  <a:pt x="190" y="127"/>
                  <a:pt x="190" y="128"/>
                </a:cubicBezTo>
                <a:cubicBezTo>
                  <a:pt x="190" y="129"/>
                  <a:pt x="190" y="129"/>
                  <a:pt x="190" y="130"/>
                </a:cubicBezTo>
                <a:cubicBezTo>
                  <a:pt x="190" y="131"/>
                  <a:pt x="191" y="132"/>
                  <a:pt x="191" y="133"/>
                </a:cubicBezTo>
                <a:cubicBezTo>
                  <a:pt x="191" y="134"/>
                  <a:pt x="192" y="135"/>
                  <a:pt x="191" y="136"/>
                </a:cubicBezTo>
                <a:cubicBezTo>
                  <a:pt x="191" y="136"/>
                  <a:pt x="191" y="137"/>
                  <a:pt x="191" y="138"/>
                </a:cubicBezTo>
                <a:cubicBezTo>
                  <a:pt x="192" y="138"/>
                  <a:pt x="193" y="138"/>
                  <a:pt x="194" y="138"/>
                </a:cubicBezTo>
                <a:cubicBezTo>
                  <a:pt x="196" y="138"/>
                  <a:pt x="196" y="138"/>
                  <a:pt x="197" y="139"/>
                </a:cubicBezTo>
                <a:cubicBezTo>
                  <a:pt x="196" y="139"/>
                  <a:pt x="196" y="141"/>
                  <a:pt x="196" y="141"/>
                </a:cubicBezTo>
                <a:close/>
                <a:moveTo>
                  <a:pt x="129" y="141"/>
                </a:moveTo>
                <a:cubicBezTo>
                  <a:pt x="128" y="141"/>
                  <a:pt x="127" y="142"/>
                  <a:pt x="126" y="141"/>
                </a:cubicBezTo>
                <a:cubicBezTo>
                  <a:pt x="125" y="140"/>
                  <a:pt x="126" y="142"/>
                  <a:pt x="126" y="143"/>
                </a:cubicBezTo>
                <a:cubicBezTo>
                  <a:pt x="125" y="143"/>
                  <a:pt x="124" y="144"/>
                  <a:pt x="123" y="144"/>
                </a:cubicBezTo>
                <a:cubicBezTo>
                  <a:pt x="123" y="144"/>
                  <a:pt x="123" y="144"/>
                  <a:pt x="122" y="144"/>
                </a:cubicBezTo>
                <a:cubicBezTo>
                  <a:pt x="122" y="144"/>
                  <a:pt x="122" y="144"/>
                  <a:pt x="122" y="144"/>
                </a:cubicBezTo>
                <a:cubicBezTo>
                  <a:pt x="121" y="145"/>
                  <a:pt x="122" y="145"/>
                  <a:pt x="122" y="146"/>
                </a:cubicBezTo>
                <a:cubicBezTo>
                  <a:pt x="122" y="145"/>
                  <a:pt x="123" y="145"/>
                  <a:pt x="123" y="145"/>
                </a:cubicBezTo>
                <a:cubicBezTo>
                  <a:pt x="124" y="145"/>
                  <a:pt x="124" y="144"/>
                  <a:pt x="125" y="144"/>
                </a:cubicBezTo>
                <a:cubicBezTo>
                  <a:pt x="125" y="144"/>
                  <a:pt x="126" y="144"/>
                  <a:pt x="126" y="144"/>
                </a:cubicBezTo>
                <a:cubicBezTo>
                  <a:pt x="126" y="144"/>
                  <a:pt x="126" y="144"/>
                  <a:pt x="127" y="144"/>
                </a:cubicBezTo>
                <a:cubicBezTo>
                  <a:pt x="127" y="143"/>
                  <a:pt x="127" y="144"/>
                  <a:pt x="128" y="144"/>
                </a:cubicBezTo>
                <a:cubicBezTo>
                  <a:pt x="128" y="144"/>
                  <a:pt x="128" y="143"/>
                  <a:pt x="129" y="143"/>
                </a:cubicBezTo>
                <a:cubicBezTo>
                  <a:pt x="129" y="143"/>
                  <a:pt x="129" y="143"/>
                  <a:pt x="129" y="143"/>
                </a:cubicBezTo>
                <a:cubicBezTo>
                  <a:pt x="130" y="142"/>
                  <a:pt x="129" y="141"/>
                  <a:pt x="130" y="141"/>
                </a:cubicBezTo>
                <a:cubicBezTo>
                  <a:pt x="130" y="141"/>
                  <a:pt x="131" y="141"/>
                  <a:pt x="130" y="141"/>
                </a:cubicBezTo>
                <a:cubicBezTo>
                  <a:pt x="130" y="140"/>
                  <a:pt x="130" y="141"/>
                  <a:pt x="129" y="14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4" name="Indonesia"/>
          <p:cNvSpPr>
            <a:spLocks noEditPoints="1"/>
          </p:cNvSpPr>
          <p:nvPr/>
        </p:nvSpPr>
        <p:spPr bwMode="auto">
          <a:xfrm>
            <a:off x="9118958" y="4428947"/>
            <a:ext cx="1617939" cy="671975"/>
          </a:xfrm>
          <a:custGeom>
            <a:avLst/>
            <a:gdLst/>
            <a:ahLst/>
            <a:cxnLst>
              <a:cxn ang="0">
                <a:pos x="442" y="92"/>
              </a:cxn>
              <a:cxn ang="0">
                <a:pos x="384" y="93"/>
              </a:cxn>
              <a:cxn ang="0">
                <a:pos x="359" y="83"/>
              </a:cxn>
              <a:cxn ang="0">
                <a:pos x="373" y="93"/>
              </a:cxn>
              <a:cxn ang="0">
                <a:pos x="379" y="100"/>
              </a:cxn>
              <a:cxn ang="0">
                <a:pos x="410" y="120"/>
              </a:cxn>
              <a:cxn ang="0">
                <a:pos x="423" y="155"/>
              </a:cxn>
              <a:cxn ang="0">
                <a:pos x="338" y="97"/>
              </a:cxn>
              <a:cxn ang="0">
                <a:pos x="205" y="109"/>
              </a:cxn>
              <a:cxn ang="0">
                <a:pos x="346" y="71"/>
              </a:cxn>
              <a:cxn ang="0">
                <a:pos x="171" y="145"/>
              </a:cxn>
              <a:cxn ang="0">
                <a:pos x="109" y="131"/>
              </a:cxn>
              <a:cxn ang="0">
                <a:pos x="154" y="156"/>
              </a:cxn>
              <a:cxn ang="0">
                <a:pos x="236" y="160"/>
              </a:cxn>
              <a:cxn ang="0">
                <a:pos x="354" y="67"/>
              </a:cxn>
              <a:cxn ang="0">
                <a:pos x="275" y="175"/>
              </a:cxn>
              <a:cxn ang="0">
                <a:pos x="233" y="97"/>
              </a:cxn>
              <a:cxn ang="0">
                <a:pos x="248" y="106"/>
              </a:cxn>
              <a:cxn ang="0">
                <a:pos x="269" y="111"/>
              </a:cxn>
              <a:cxn ang="0">
                <a:pos x="272" y="75"/>
              </a:cxn>
              <a:cxn ang="0">
                <a:pos x="262" y="60"/>
              </a:cxn>
              <a:cxn ang="0">
                <a:pos x="274" y="55"/>
              </a:cxn>
              <a:cxn ang="0">
                <a:pos x="237" y="87"/>
              </a:cxn>
              <a:cxn ang="0">
                <a:pos x="276" y="80"/>
              </a:cxn>
              <a:cxn ang="0">
                <a:pos x="268" y="122"/>
              </a:cxn>
              <a:cxn ang="0">
                <a:pos x="268" y="128"/>
              </a:cxn>
              <a:cxn ang="0">
                <a:pos x="357" y="94"/>
              </a:cxn>
              <a:cxn ang="0">
                <a:pos x="14" y="39"/>
              </a:cxn>
              <a:cxn ang="0">
                <a:pos x="141" y="75"/>
              </a:cxn>
              <a:cxn ang="0">
                <a:pos x="177" y="99"/>
              </a:cxn>
              <a:cxn ang="0">
                <a:pos x="208" y="89"/>
              </a:cxn>
              <a:cxn ang="0">
                <a:pos x="227" y="56"/>
              </a:cxn>
              <a:cxn ang="0">
                <a:pos x="221" y="24"/>
              </a:cxn>
              <a:cxn ang="0">
                <a:pos x="197" y="37"/>
              </a:cxn>
              <a:cxn ang="0">
                <a:pos x="147" y="50"/>
              </a:cxn>
              <a:cxn ang="0">
                <a:pos x="268" y="155"/>
              </a:cxn>
              <a:cxn ang="0">
                <a:pos x="257" y="163"/>
              </a:cxn>
              <a:cxn ang="0">
                <a:pos x="219" y="155"/>
              </a:cxn>
              <a:cxn ang="0">
                <a:pos x="24" y="49"/>
              </a:cxn>
              <a:cxn ang="0">
                <a:pos x="320" y="84"/>
              </a:cxn>
              <a:cxn ang="0">
                <a:pos x="384" y="135"/>
              </a:cxn>
              <a:cxn ang="0">
                <a:pos x="171" y="143"/>
              </a:cxn>
              <a:cxn ang="0">
                <a:pos x="72" y="53"/>
              </a:cxn>
              <a:cxn ang="0">
                <a:pos x="105" y="89"/>
              </a:cxn>
              <a:cxn ang="0">
                <a:pos x="129" y="94"/>
              </a:cxn>
              <a:cxn ang="0">
                <a:pos x="323" y="60"/>
              </a:cxn>
              <a:cxn ang="0">
                <a:pos x="316" y="52"/>
              </a:cxn>
              <a:cxn ang="0">
                <a:pos x="306" y="151"/>
              </a:cxn>
              <a:cxn ang="0">
                <a:pos x="172" y="129"/>
              </a:cxn>
              <a:cxn ang="0">
                <a:pos x="97" y="90"/>
              </a:cxn>
              <a:cxn ang="0">
                <a:pos x="75" y="64"/>
              </a:cxn>
              <a:cxn ang="0">
                <a:pos x="30" y="15"/>
              </a:cxn>
              <a:cxn ang="0">
                <a:pos x="34" y="43"/>
              </a:cxn>
              <a:cxn ang="0">
                <a:pos x="80" y="116"/>
              </a:cxn>
              <a:cxn ang="0">
                <a:pos x="340" y="79"/>
              </a:cxn>
              <a:cxn ang="0">
                <a:pos x="309" y="20"/>
              </a:cxn>
              <a:cxn ang="0">
                <a:pos x="94" y="63"/>
              </a:cxn>
              <a:cxn ang="0">
                <a:pos x="248" y="132"/>
              </a:cxn>
              <a:cxn ang="0">
                <a:pos x="264" y="70"/>
              </a:cxn>
              <a:cxn ang="0">
                <a:pos x="35" y="66"/>
              </a:cxn>
              <a:cxn ang="0">
                <a:pos x="298" y="28"/>
              </a:cxn>
              <a:cxn ang="0">
                <a:pos x="72" y="125"/>
              </a:cxn>
              <a:cxn ang="0">
                <a:pos x="278" y="82"/>
              </a:cxn>
            </a:cxnLst>
            <a:rect l="0" t="0" r="r" b="b"/>
            <a:pathLst>
              <a:path w="448" h="186">
                <a:moveTo>
                  <a:pt x="295" y="155"/>
                </a:moveTo>
                <a:cubicBezTo>
                  <a:pt x="296" y="155"/>
                  <a:pt x="295" y="157"/>
                  <a:pt x="294" y="156"/>
                </a:cubicBezTo>
                <a:cubicBezTo>
                  <a:pt x="294" y="156"/>
                  <a:pt x="295" y="155"/>
                  <a:pt x="295" y="155"/>
                </a:cubicBezTo>
                <a:close/>
                <a:moveTo>
                  <a:pt x="0" y="2"/>
                </a:moveTo>
                <a:cubicBezTo>
                  <a:pt x="0" y="2"/>
                  <a:pt x="1" y="2"/>
                  <a:pt x="1" y="2"/>
                </a:cubicBezTo>
                <a:cubicBezTo>
                  <a:pt x="1" y="2"/>
                  <a:pt x="0" y="3"/>
                  <a:pt x="1" y="3"/>
                </a:cubicBezTo>
                <a:cubicBezTo>
                  <a:pt x="1" y="3"/>
                  <a:pt x="2" y="3"/>
                  <a:pt x="1" y="3"/>
                </a:cubicBezTo>
                <a:cubicBezTo>
                  <a:pt x="1" y="2"/>
                  <a:pt x="1" y="2"/>
                  <a:pt x="0" y="2"/>
                </a:cubicBezTo>
                <a:close/>
                <a:moveTo>
                  <a:pt x="223" y="21"/>
                </a:moveTo>
                <a:cubicBezTo>
                  <a:pt x="223" y="20"/>
                  <a:pt x="223" y="20"/>
                  <a:pt x="223" y="19"/>
                </a:cubicBezTo>
                <a:cubicBezTo>
                  <a:pt x="222" y="19"/>
                  <a:pt x="222" y="19"/>
                  <a:pt x="221" y="19"/>
                </a:cubicBezTo>
                <a:cubicBezTo>
                  <a:pt x="221" y="20"/>
                  <a:pt x="223" y="22"/>
                  <a:pt x="223" y="21"/>
                </a:cubicBezTo>
                <a:close/>
                <a:moveTo>
                  <a:pt x="126" y="14"/>
                </a:moveTo>
                <a:cubicBezTo>
                  <a:pt x="127" y="15"/>
                  <a:pt x="127" y="11"/>
                  <a:pt x="126" y="14"/>
                </a:cubicBezTo>
                <a:close/>
                <a:moveTo>
                  <a:pt x="208" y="104"/>
                </a:moveTo>
                <a:cubicBezTo>
                  <a:pt x="208" y="104"/>
                  <a:pt x="208" y="105"/>
                  <a:pt x="208" y="105"/>
                </a:cubicBezTo>
                <a:cubicBezTo>
                  <a:pt x="209" y="105"/>
                  <a:pt x="209" y="103"/>
                  <a:pt x="209" y="103"/>
                </a:cubicBezTo>
                <a:cubicBezTo>
                  <a:pt x="209" y="102"/>
                  <a:pt x="208" y="104"/>
                  <a:pt x="208" y="104"/>
                </a:cubicBezTo>
                <a:close/>
                <a:moveTo>
                  <a:pt x="328" y="105"/>
                </a:moveTo>
                <a:cubicBezTo>
                  <a:pt x="328" y="105"/>
                  <a:pt x="328" y="106"/>
                  <a:pt x="329" y="106"/>
                </a:cubicBezTo>
                <a:cubicBezTo>
                  <a:pt x="329" y="106"/>
                  <a:pt x="329" y="105"/>
                  <a:pt x="328" y="105"/>
                </a:cubicBezTo>
                <a:close/>
                <a:moveTo>
                  <a:pt x="313" y="102"/>
                </a:moveTo>
                <a:cubicBezTo>
                  <a:pt x="312" y="102"/>
                  <a:pt x="312" y="102"/>
                  <a:pt x="312" y="101"/>
                </a:cubicBezTo>
                <a:cubicBezTo>
                  <a:pt x="312" y="101"/>
                  <a:pt x="312" y="102"/>
                  <a:pt x="313" y="101"/>
                </a:cubicBezTo>
                <a:cubicBezTo>
                  <a:pt x="313" y="101"/>
                  <a:pt x="313" y="101"/>
                  <a:pt x="312" y="100"/>
                </a:cubicBezTo>
                <a:cubicBezTo>
                  <a:pt x="312" y="100"/>
                  <a:pt x="311" y="100"/>
                  <a:pt x="311" y="100"/>
                </a:cubicBezTo>
                <a:cubicBezTo>
                  <a:pt x="310" y="99"/>
                  <a:pt x="309" y="99"/>
                  <a:pt x="308" y="99"/>
                </a:cubicBezTo>
                <a:cubicBezTo>
                  <a:pt x="308" y="99"/>
                  <a:pt x="307" y="99"/>
                  <a:pt x="306" y="99"/>
                </a:cubicBezTo>
                <a:cubicBezTo>
                  <a:pt x="306" y="99"/>
                  <a:pt x="305" y="99"/>
                  <a:pt x="305" y="100"/>
                </a:cubicBezTo>
                <a:cubicBezTo>
                  <a:pt x="304" y="100"/>
                  <a:pt x="304" y="100"/>
                  <a:pt x="304" y="100"/>
                </a:cubicBezTo>
                <a:cubicBezTo>
                  <a:pt x="303" y="100"/>
                  <a:pt x="303" y="99"/>
                  <a:pt x="302" y="100"/>
                </a:cubicBezTo>
                <a:cubicBezTo>
                  <a:pt x="302" y="100"/>
                  <a:pt x="302" y="101"/>
                  <a:pt x="302" y="102"/>
                </a:cubicBezTo>
                <a:cubicBezTo>
                  <a:pt x="302" y="103"/>
                  <a:pt x="303" y="103"/>
                  <a:pt x="303" y="104"/>
                </a:cubicBezTo>
                <a:cubicBezTo>
                  <a:pt x="303" y="105"/>
                  <a:pt x="304" y="105"/>
                  <a:pt x="305" y="106"/>
                </a:cubicBezTo>
                <a:cubicBezTo>
                  <a:pt x="306" y="106"/>
                  <a:pt x="306" y="107"/>
                  <a:pt x="307" y="107"/>
                </a:cubicBezTo>
                <a:cubicBezTo>
                  <a:pt x="309" y="108"/>
                  <a:pt x="311" y="107"/>
                  <a:pt x="312" y="106"/>
                </a:cubicBezTo>
                <a:cubicBezTo>
                  <a:pt x="313" y="105"/>
                  <a:pt x="314" y="106"/>
                  <a:pt x="314" y="104"/>
                </a:cubicBezTo>
                <a:cubicBezTo>
                  <a:pt x="314" y="104"/>
                  <a:pt x="314" y="103"/>
                  <a:pt x="314" y="103"/>
                </a:cubicBezTo>
                <a:cubicBezTo>
                  <a:pt x="314" y="102"/>
                  <a:pt x="313" y="102"/>
                  <a:pt x="313" y="102"/>
                </a:cubicBezTo>
                <a:close/>
                <a:moveTo>
                  <a:pt x="447" y="94"/>
                </a:moveTo>
                <a:cubicBezTo>
                  <a:pt x="446" y="94"/>
                  <a:pt x="446" y="94"/>
                  <a:pt x="445" y="94"/>
                </a:cubicBezTo>
                <a:cubicBezTo>
                  <a:pt x="445" y="94"/>
                  <a:pt x="445" y="94"/>
                  <a:pt x="445" y="94"/>
                </a:cubicBezTo>
                <a:cubicBezTo>
                  <a:pt x="444" y="94"/>
                  <a:pt x="445" y="93"/>
                  <a:pt x="445" y="93"/>
                </a:cubicBezTo>
                <a:cubicBezTo>
                  <a:pt x="445" y="92"/>
                  <a:pt x="443" y="92"/>
                  <a:pt x="442" y="92"/>
                </a:cubicBezTo>
                <a:cubicBezTo>
                  <a:pt x="442" y="92"/>
                  <a:pt x="442" y="92"/>
                  <a:pt x="442" y="92"/>
                </a:cubicBezTo>
                <a:cubicBezTo>
                  <a:pt x="442" y="93"/>
                  <a:pt x="440" y="92"/>
                  <a:pt x="440" y="92"/>
                </a:cubicBezTo>
                <a:cubicBezTo>
                  <a:pt x="440" y="92"/>
                  <a:pt x="440" y="91"/>
                  <a:pt x="439" y="91"/>
                </a:cubicBezTo>
                <a:cubicBezTo>
                  <a:pt x="439" y="91"/>
                  <a:pt x="438" y="91"/>
                  <a:pt x="438" y="91"/>
                </a:cubicBezTo>
                <a:cubicBezTo>
                  <a:pt x="436" y="92"/>
                  <a:pt x="435" y="91"/>
                  <a:pt x="434" y="90"/>
                </a:cubicBezTo>
                <a:cubicBezTo>
                  <a:pt x="434" y="90"/>
                  <a:pt x="433" y="90"/>
                  <a:pt x="433" y="90"/>
                </a:cubicBezTo>
                <a:cubicBezTo>
                  <a:pt x="433" y="89"/>
                  <a:pt x="432" y="89"/>
                  <a:pt x="432" y="89"/>
                </a:cubicBezTo>
                <a:cubicBezTo>
                  <a:pt x="431" y="89"/>
                  <a:pt x="431" y="88"/>
                  <a:pt x="430" y="88"/>
                </a:cubicBezTo>
                <a:cubicBezTo>
                  <a:pt x="429" y="87"/>
                  <a:pt x="428" y="87"/>
                  <a:pt x="427" y="87"/>
                </a:cubicBezTo>
                <a:cubicBezTo>
                  <a:pt x="427" y="87"/>
                  <a:pt x="426" y="86"/>
                  <a:pt x="426" y="85"/>
                </a:cubicBezTo>
                <a:cubicBezTo>
                  <a:pt x="425" y="84"/>
                  <a:pt x="423" y="84"/>
                  <a:pt x="422" y="84"/>
                </a:cubicBezTo>
                <a:cubicBezTo>
                  <a:pt x="421" y="83"/>
                  <a:pt x="420" y="83"/>
                  <a:pt x="419" y="83"/>
                </a:cubicBezTo>
                <a:cubicBezTo>
                  <a:pt x="419" y="82"/>
                  <a:pt x="419" y="82"/>
                  <a:pt x="418" y="82"/>
                </a:cubicBezTo>
                <a:cubicBezTo>
                  <a:pt x="417" y="81"/>
                  <a:pt x="415" y="82"/>
                  <a:pt x="414" y="83"/>
                </a:cubicBezTo>
                <a:cubicBezTo>
                  <a:pt x="413" y="84"/>
                  <a:pt x="412" y="84"/>
                  <a:pt x="411" y="85"/>
                </a:cubicBezTo>
                <a:cubicBezTo>
                  <a:pt x="411" y="85"/>
                  <a:pt x="410" y="85"/>
                  <a:pt x="410" y="86"/>
                </a:cubicBezTo>
                <a:cubicBezTo>
                  <a:pt x="410" y="86"/>
                  <a:pt x="411" y="87"/>
                  <a:pt x="411" y="87"/>
                </a:cubicBezTo>
                <a:cubicBezTo>
                  <a:pt x="411" y="87"/>
                  <a:pt x="411" y="88"/>
                  <a:pt x="411" y="88"/>
                </a:cubicBezTo>
                <a:cubicBezTo>
                  <a:pt x="411" y="89"/>
                  <a:pt x="410" y="89"/>
                  <a:pt x="409" y="89"/>
                </a:cubicBezTo>
                <a:cubicBezTo>
                  <a:pt x="409" y="89"/>
                  <a:pt x="408" y="89"/>
                  <a:pt x="408" y="90"/>
                </a:cubicBezTo>
                <a:cubicBezTo>
                  <a:pt x="407" y="90"/>
                  <a:pt x="406" y="90"/>
                  <a:pt x="405" y="90"/>
                </a:cubicBezTo>
                <a:cubicBezTo>
                  <a:pt x="405" y="90"/>
                  <a:pt x="405" y="90"/>
                  <a:pt x="405" y="90"/>
                </a:cubicBezTo>
                <a:cubicBezTo>
                  <a:pt x="404" y="90"/>
                  <a:pt x="405" y="89"/>
                  <a:pt x="404" y="89"/>
                </a:cubicBezTo>
                <a:cubicBezTo>
                  <a:pt x="404" y="89"/>
                  <a:pt x="403" y="90"/>
                  <a:pt x="403" y="90"/>
                </a:cubicBezTo>
                <a:cubicBezTo>
                  <a:pt x="402" y="91"/>
                  <a:pt x="402" y="93"/>
                  <a:pt x="401" y="94"/>
                </a:cubicBezTo>
                <a:cubicBezTo>
                  <a:pt x="401" y="94"/>
                  <a:pt x="400" y="95"/>
                  <a:pt x="400" y="95"/>
                </a:cubicBezTo>
                <a:cubicBezTo>
                  <a:pt x="399" y="95"/>
                  <a:pt x="399" y="95"/>
                  <a:pt x="399" y="95"/>
                </a:cubicBezTo>
                <a:cubicBezTo>
                  <a:pt x="399" y="96"/>
                  <a:pt x="399" y="96"/>
                  <a:pt x="399" y="96"/>
                </a:cubicBezTo>
                <a:cubicBezTo>
                  <a:pt x="399" y="96"/>
                  <a:pt x="398" y="97"/>
                  <a:pt x="398" y="97"/>
                </a:cubicBezTo>
                <a:cubicBezTo>
                  <a:pt x="398" y="97"/>
                  <a:pt x="399" y="98"/>
                  <a:pt x="398" y="98"/>
                </a:cubicBezTo>
                <a:cubicBezTo>
                  <a:pt x="397" y="98"/>
                  <a:pt x="397" y="99"/>
                  <a:pt x="397" y="99"/>
                </a:cubicBezTo>
                <a:cubicBezTo>
                  <a:pt x="396" y="99"/>
                  <a:pt x="397" y="99"/>
                  <a:pt x="396" y="100"/>
                </a:cubicBezTo>
                <a:cubicBezTo>
                  <a:pt x="396" y="100"/>
                  <a:pt x="395" y="100"/>
                  <a:pt x="395" y="101"/>
                </a:cubicBezTo>
                <a:cubicBezTo>
                  <a:pt x="395" y="101"/>
                  <a:pt x="395" y="101"/>
                  <a:pt x="394" y="102"/>
                </a:cubicBezTo>
                <a:cubicBezTo>
                  <a:pt x="394" y="103"/>
                  <a:pt x="392" y="102"/>
                  <a:pt x="391" y="102"/>
                </a:cubicBezTo>
                <a:cubicBezTo>
                  <a:pt x="390" y="102"/>
                  <a:pt x="390" y="102"/>
                  <a:pt x="389" y="102"/>
                </a:cubicBezTo>
                <a:cubicBezTo>
                  <a:pt x="389" y="102"/>
                  <a:pt x="389" y="101"/>
                  <a:pt x="389" y="101"/>
                </a:cubicBezTo>
                <a:cubicBezTo>
                  <a:pt x="389" y="101"/>
                  <a:pt x="388" y="101"/>
                  <a:pt x="388" y="101"/>
                </a:cubicBezTo>
                <a:cubicBezTo>
                  <a:pt x="388" y="101"/>
                  <a:pt x="388" y="100"/>
                  <a:pt x="388" y="100"/>
                </a:cubicBezTo>
                <a:cubicBezTo>
                  <a:pt x="388" y="99"/>
                  <a:pt x="387" y="99"/>
                  <a:pt x="388" y="98"/>
                </a:cubicBezTo>
                <a:cubicBezTo>
                  <a:pt x="388" y="98"/>
                  <a:pt x="388" y="97"/>
                  <a:pt x="387" y="98"/>
                </a:cubicBezTo>
                <a:cubicBezTo>
                  <a:pt x="387" y="98"/>
                  <a:pt x="387" y="98"/>
                  <a:pt x="386" y="98"/>
                </a:cubicBezTo>
                <a:cubicBezTo>
                  <a:pt x="386" y="97"/>
                  <a:pt x="387" y="92"/>
                  <a:pt x="385" y="92"/>
                </a:cubicBezTo>
                <a:cubicBezTo>
                  <a:pt x="385" y="92"/>
                  <a:pt x="384" y="93"/>
                  <a:pt x="384" y="93"/>
                </a:cubicBezTo>
                <a:cubicBezTo>
                  <a:pt x="384" y="94"/>
                  <a:pt x="384" y="95"/>
                  <a:pt x="385" y="95"/>
                </a:cubicBezTo>
                <a:cubicBezTo>
                  <a:pt x="385" y="95"/>
                  <a:pt x="385" y="97"/>
                  <a:pt x="384" y="97"/>
                </a:cubicBezTo>
                <a:cubicBezTo>
                  <a:pt x="384" y="97"/>
                  <a:pt x="384" y="96"/>
                  <a:pt x="384" y="95"/>
                </a:cubicBezTo>
                <a:cubicBezTo>
                  <a:pt x="383" y="94"/>
                  <a:pt x="383" y="93"/>
                  <a:pt x="383" y="93"/>
                </a:cubicBezTo>
                <a:cubicBezTo>
                  <a:pt x="382" y="92"/>
                  <a:pt x="382" y="92"/>
                  <a:pt x="382" y="91"/>
                </a:cubicBezTo>
                <a:cubicBezTo>
                  <a:pt x="381" y="90"/>
                  <a:pt x="382" y="90"/>
                  <a:pt x="381" y="89"/>
                </a:cubicBezTo>
                <a:cubicBezTo>
                  <a:pt x="381" y="88"/>
                  <a:pt x="381" y="88"/>
                  <a:pt x="381" y="87"/>
                </a:cubicBezTo>
                <a:cubicBezTo>
                  <a:pt x="381" y="86"/>
                  <a:pt x="380" y="84"/>
                  <a:pt x="381" y="83"/>
                </a:cubicBezTo>
                <a:cubicBezTo>
                  <a:pt x="382" y="83"/>
                  <a:pt x="382" y="83"/>
                  <a:pt x="382" y="82"/>
                </a:cubicBezTo>
                <a:cubicBezTo>
                  <a:pt x="382" y="82"/>
                  <a:pt x="382" y="81"/>
                  <a:pt x="382" y="81"/>
                </a:cubicBezTo>
                <a:cubicBezTo>
                  <a:pt x="382" y="81"/>
                  <a:pt x="383" y="81"/>
                  <a:pt x="383" y="80"/>
                </a:cubicBezTo>
                <a:cubicBezTo>
                  <a:pt x="383" y="80"/>
                  <a:pt x="382" y="79"/>
                  <a:pt x="382" y="78"/>
                </a:cubicBezTo>
                <a:cubicBezTo>
                  <a:pt x="381" y="78"/>
                  <a:pt x="381" y="77"/>
                  <a:pt x="381" y="77"/>
                </a:cubicBezTo>
                <a:cubicBezTo>
                  <a:pt x="381" y="76"/>
                  <a:pt x="380" y="76"/>
                  <a:pt x="381" y="75"/>
                </a:cubicBezTo>
                <a:cubicBezTo>
                  <a:pt x="381" y="75"/>
                  <a:pt x="382" y="75"/>
                  <a:pt x="382" y="75"/>
                </a:cubicBezTo>
                <a:cubicBezTo>
                  <a:pt x="382" y="75"/>
                  <a:pt x="380" y="74"/>
                  <a:pt x="380" y="74"/>
                </a:cubicBezTo>
                <a:cubicBezTo>
                  <a:pt x="380" y="73"/>
                  <a:pt x="379" y="73"/>
                  <a:pt x="379" y="73"/>
                </a:cubicBezTo>
                <a:cubicBezTo>
                  <a:pt x="379" y="73"/>
                  <a:pt x="378" y="73"/>
                  <a:pt x="378" y="73"/>
                </a:cubicBezTo>
                <a:cubicBezTo>
                  <a:pt x="378" y="73"/>
                  <a:pt x="378" y="74"/>
                  <a:pt x="378" y="74"/>
                </a:cubicBezTo>
                <a:cubicBezTo>
                  <a:pt x="377" y="74"/>
                  <a:pt x="377" y="73"/>
                  <a:pt x="376" y="73"/>
                </a:cubicBezTo>
                <a:cubicBezTo>
                  <a:pt x="374" y="73"/>
                  <a:pt x="374" y="73"/>
                  <a:pt x="373" y="72"/>
                </a:cubicBezTo>
                <a:cubicBezTo>
                  <a:pt x="372" y="71"/>
                  <a:pt x="372" y="71"/>
                  <a:pt x="371" y="71"/>
                </a:cubicBezTo>
                <a:cubicBezTo>
                  <a:pt x="371" y="71"/>
                  <a:pt x="370" y="70"/>
                  <a:pt x="370" y="70"/>
                </a:cubicBezTo>
                <a:cubicBezTo>
                  <a:pt x="367" y="69"/>
                  <a:pt x="364" y="68"/>
                  <a:pt x="362" y="71"/>
                </a:cubicBezTo>
                <a:cubicBezTo>
                  <a:pt x="361" y="71"/>
                  <a:pt x="361" y="71"/>
                  <a:pt x="360" y="72"/>
                </a:cubicBezTo>
                <a:cubicBezTo>
                  <a:pt x="360" y="72"/>
                  <a:pt x="360" y="73"/>
                  <a:pt x="359" y="73"/>
                </a:cubicBezTo>
                <a:cubicBezTo>
                  <a:pt x="359" y="73"/>
                  <a:pt x="356" y="74"/>
                  <a:pt x="356" y="74"/>
                </a:cubicBezTo>
                <a:cubicBezTo>
                  <a:pt x="356" y="74"/>
                  <a:pt x="357" y="74"/>
                  <a:pt x="356" y="73"/>
                </a:cubicBezTo>
                <a:cubicBezTo>
                  <a:pt x="356" y="73"/>
                  <a:pt x="356" y="74"/>
                  <a:pt x="355" y="74"/>
                </a:cubicBezTo>
                <a:cubicBezTo>
                  <a:pt x="355" y="74"/>
                  <a:pt x="354" y="74"/>
                  <a:pt x="353" y="74"/>
                </a:cubicBezTo>
                <a:cubicBezTo>
                  <a:pt x="353" y="74"/>
                  <a:pt x="354" y="76"/>
                  <a:pt x="354" y="76"/>
                </a:cubicBezTo>
                <a:cubicBezTo>
                  <a:pt x="353" y="77"/>
                  <a:pt x="353" y="78"/>
                  <a:pt x="353" y="79"/>
                </a:cubicBezTo>
                <a:cubicBezTo>
                  <a:pt x="352" y="79"/>
                  <a:pt x="352" y="79"/>
                  <a:pt x="351" y="80"/>
                </a:cubicBezTo>
                <a:cubicBezTo>
                  <a:pt x="351" y="80"/>
                  <a:pt x="350" y="81"/>
                  <a:pt x="351" y="81"/>
                </a:cubicBezTo>
                <a:cubicBezTo>
                  <a:pt x="351" y="81"/>
                  <a:pt x="352" y="81"/>
                  <a:pt x="352" y="81"/>
                </a:cubicBezTo>
                <a:cubicBezTo>
                  <a:pt x="353" y="82"/>
                  <a:pt x="353" y="82"/>
                  <a:pt x="354" y="82"/>
                </a:cubicBezTo>
                <a:cubicBezTo>
                  <a:pt x="355" y="81"/>
                  <a:pt x="354" y="81"/>
                  <a:pt x="354" y="81"/>
                </a:cubicBezTo>
                <a:cubicBezTo>
                  <a:pt x="354" y="81"/>
                  <a:pt x="355" y="81"/>
                  <a:pt x="355" y="81"/>
                </a:cubicBezTo>
                <a:cubicBezTo>
                  <a:pt x="355" y="81"/>
                  <a:pt x="355" y="82"/>
                  <a:pt x="355" y="82"/>
                </a:cubicBezTo>
                <a:cubicBezTo>
                  <a:pt x="355" y="82"/>
                  <a:pt x="355" y="82"/>
                  <a:pt x="356" y="81"/>
                </a:cubicBezTo>
                <a:cubicBezTo>
                  <a:pt x="356" y="81"/>
                  <a:pt x="356" y="82"/>
                  <a:pt x="356" y="82"/>
                </a:cubicBezTo>
                <a:cubicBezTo>
                  <a:pt x="357" y="82"/>
                  <a:pt x="357" y="82"/>
                  <a:pt x="358" y="82"/>
                </a:cubicBezTo>
                <a:cubicBezTo>
                  <a:pt x="358" y="83"/>
                  <a:pt x="359" y="83"/>
                  <a:pt x="359" y="82"/>
                </a:cubicBezTo>
                <a:cubicBezTo>
                  <a:pt x="359" y="82"/>
                  <a:pt x="358" y="83"/>
                  <a:pt x="359" y="83"/>
                </a:cubicBezTo>
                <a:cubicBezTo>
                  <a:pt x="359" y="83"/>
                  <a:pt x="359" y="82"/>
                  <a:pt x="359" y="82"/>
                </a:cubicBezTo>
                <a:cubicBezTo>
                  <a:pt x="359" y="82"/>
                  <a:pt x="360" y="82"/>
                  <a:pt x="360" y="82"/>
                </a:cubicBezTo>
                <a:cubicBezTo>
                  <a:pt x="360" y="82"/>
                  <a:pt x="360" y="82"/>
                  <a:pt x="360" y="82"/>
                </a:cubicBezTo>
                <a:cubicBezTo>
                  <a:pt x="360" y="83"/>
                  <a:pt x="359" y="83"/>
                  <a:pt x="360" y="84"/>
                </a:cubicBezTo>
                <a:cubicBezTo>
                  <a:pt x="360" y="84"/>
                  <a:pt x="361" y="83"/>
                  <a:pt x="361" y="84"/>
                </a:cubicBezTo>
                <a:cubicBezTo>
                  <a:pt x="361" y="84"/>
                  <a:pt x="360" y="85"/>
                  <a:pt x="360" y="85"/>
                </a:cubicBezTo>
                <a:cubicBezTo>
                  <a:pt x="360" y="85"/>
                  <a:pt x="360" y="86"/>
                  <a:pt x="360" y="86"/>
                </a:cubicBezTo>
                <a:cubicBezTo>
                  <a:pt x="360" y="87"/>
                  <a:pt x="360" y="87"/>
                  <a:pt x="361" y="87"/>
                </a:cubicBezTo>
                <a:cubicBezTo>
                  <a:pt x="361" y="88"/>
                  <a:pt x="361" y="87"/>
                  <a:pt x="362" y="87"/>
                </a:cubicBezTo>
                <a:cubicBezTo>
                  <a:pt x="361" y="88"/>
                  <a:pt x="361" y="88"/>
                  <a:pt x="362" y="89"/>
                </a:cubicBezTo>
                <a:cubicBezTo>
                  <a:pt x="362" y="89"/>
                  <a:pt x="363" y="89"/>
                  <a:pt x="363" y="90"/>
                </a:cubicBezTo>
                <a:cubicBezTo>
                  <a:pt x="364" y="91"/>
                  <a:pt x="365" y="90"/>
                  <a:pt x="365" y="89"/>
                </a:cubicBezTo>
                <a:cubicBezTo>
                  <a:pt x="366" y="89"/>
                  <a:pt x="366" y="90"/>
                  <a:pt x="367" y="90"/>
                </a:cubicBezTo>
                <a:cubicBezTo>
                  <a:pt x="367" y="91"/>
                  <a:pt x="368" y="90"/>
                  <a:pt x="368" y="90"/>
                </a:cubicBezTo>
                <a:cubicBezTo>
                  <a:pt x="368" y="90"/>
                  <a:pt x="369" y="90"/>
                  <a:pt x="369" y="90"/>
                </a:cubicBezTo>
                <a:cubicBezTo>
                  <a:pt x="370" y="91"/>
                  <a:pt x="371" y="90"/>
                  <a:pt x="371" y="90"/>
                </a:cubicBezTo>
                <a:cubicBezTo>
                  <a:pt x="372" y="90"/>
                  <a:pt x="372" y="90"/>
                  <a:pt x="373" y="90"/>
                </a:cubicBezTo>
                <a:cubicBezTo>
                  <a:pt x="373" y="89"/>
                  <a:pt x="373" y="90"/>
                  <a:pt x="374" y="90"/>
                </a:cubicBezTo>
                <a:cubicBezTo>
                  <a:pt x="374" y="90"/>
                  <a:pt x="375" y="90"/>
                  <a:pt x="375" y="90"/>
                </a:cubicBezTo>
                <a:cubicBezTo>
                  <a:pt x="375" y="90"/>
                  <a:pt x="376" y="90"/>
                  <a:pt x="376" y="89"/>
                </a:cubicBezTo>
                <a:cubicBezTo>
                  <a:pt x="376" y="90"/>
                  <a:pt x="378" y="89"/>
                  <a:pt x="378" y="89"/>
                </a:cubicBezTo>
                <a:cubicBezTo>
                  <a:pt x="378" y="89"/>
                  <a:pt x="379" y="88"/>
                  <a:pt x="379" y="89"/>
                </a:cubicBezTo>
                <a:cubicBezTo>
                  <a:pt x="379" y="89"/>
                  <a:pt x="378" y="90"/>
                  <a:pt x="379" y="89"/>
                </a:cubicBezTo>
                <a:cubicBezTo>
                  <a:pt x="379" y="89"/>
                  <a:pt x="378" y="90"/>
                  <a:pt x="378" y="90"/>
                </a:cubicBezTo>
                <a:cubicBezTo>
                  <a:pt x="378" y="91"/>
                  <a:pt x="379" y="90"/>
                  <a:pt x="379" y="90"/>
                </a:cubicBezTo>
                <a:cubicBezTo>
                  <a:pt x="379" y="90"/>
                  <a:pt x="379" y="90"/>
                  <a:pt x="379" y="90"/>
                </a:cubicBezTo>
                <a:cubicBezTo>
                  <a:pt x="380" y="90"/>
                  <a:pt x="379" y="91"/>
                  <a:pt x="379" y="91"/>
                </a:cubicBezTo>
                <a:cubicBezTo>
                  <a:pt x="379" y="91"/>
                  <a:pt x="379" y="91"/>
                  <a:pt x="379" y="91"/>
                </a:cubicBezTo>
                <a:cubicBezTo>
                  <a:pt x="379" y="91"/>
                  <a:pt x="379" y="91"/>
                  <a:pt x="379" y="91"/>
                </a:cubicBezTo>
                <a:cubicBezTo>
                  <a:pt x="379" y="91"/>
                  <a:pt x="380" y="92"/>
                  <a:pt x="380" y="92"/>
                </a:cubicBezTo>
                <a:cubicBezTo>
                  <a:pt x="380" y="92"/>
                  <a:pt x="379" y="92"/>
                  <a:pt x="379" y="92"/>
                </a:cubicBezTo>
                <a:cubicBezTo>
                  <a:pt x="378" y="92"/>
                  <a:pt x="379" y="92"/>
                  <a:pt x="379" y="92"/>
                </a:cubicBezTo>
                <a:cubicBezTo>
                  <a:pt x="378" y="92"/>
                  <a:pt x="378" y="92"/>
                  <a:pt x="378" y="92"/>
                </a:cubicBezTo>
                <a:cubicBezTo>
                  <a:pt x="377" y="92"/>
                  <a:pt x="378" y="93"/>
                  <a:pt x="378" y="93"/>
                </a:cubicBezTo>
                <a:cubicBezTo>
                  <a:pt x="378" y="93"/>
                  <a:pt x="378" y="94"/>
                  <a:pt x="378" y="94"/>
                </a:cubicBezTo>
                <a:cubicBezTo>
                  <a:pt x="378" y="94"/>
                  <a:pt x="377" y="93"/>
                  <a:pt x="377" y="93"/>
                </a:cubicBezTo>
                <a:cubicBezTo>
                  <a:pt x="376" y="93"/>
                  <a:pt x="377" y="95"/>
                  <a:pt x="377" y="95"/>
                </a:cubicBezTo>
                <a:cubicBezTo>
                  <a:pt x="376" y="95"/>
                  <a:pt x="377" y="93"/>
                  <a:pt x="376" y="93"/>
                </a:cubicBezTo>
                <a:cubicBezTo>
                  <a:pt x="376" y="93"/>
                  <a:pt x="375" y="94"/>
                  <a:pt x="375" y="94"/>
                </a:cubicBezTo>
                <a:cubicBezTo>
                  <a:pt x="375" y="94"/>
                  <a:pt x="375" y="93"/>
                  <a:pt x="375" y="93"/>
                </a:cubicBezTo>
                <a:cubicBezTo>
                  <a:pt x="375" y="93"/>
                  <a:pt x="375" y="94"/>
                  <a:pt x="374" y="94"/>
                </a:cubicBezTo>
                <a:cubicBezTo>
                  <a:pt x="374" y="94"/>
                  <a:pt x="375" y="93"/>
                  <a:pt x="374" y="93"/>
                </a:cubicBezTo>
                <a:cubicBezTo>
                  <a:pt x="374" y="93"/>
                  <a:pt x="374" y="95"/>
                  <a:pt x="374" y="95"/>
                </a:cubicBezTo>
                <a:cubicBezTo>
                  <a:pt x="374" y="94"/>
                  <a:pt x="374" y="92"/>
                  <a:pt x="373" y="93"/>
                </a:cubicBezTo>
                <a:cubicBezTo>
                  <a:pt x="373" y="92"/>
                  <a:pt x="372" y="92"/>
                  <a:pt x="371" y="92"/>
                </a:cubicBezTo>
                <a:cubicBezTo>
                  <a:pt x="370" y="93"/>
                  <a:pt x="370" y="94"/>
                  <a:pt x="369" y="95"/>
                </a:cubicBezTo>
                <a:cubicBezTo>
                  <a:pt x="368" y="95"/>
                  <a:pt x="367" y="97"/>
                  <a:pt x="367" y="96"/>
                </a:cubicBezTo>
                <a:cubicBezTo>
                  <a:pt x="366" y="95"/>
                  <a:pt x="366" y="95"/>
                  <a:pt x="365" y="95"/>
                </a:cubicBezTo>
                <a:cubicBezTo>
                  <a:pt x="365" y="95"/>
                  <a:pt x="365" y="96"/>
                  <a:pt x="364" y="95"/>
                </a:cubicBezTo>
                <a:cubicBezTo>
                  <a:pt x="364" y="95"/>
                  <a:pt x="364" y="95"/>
                  <a:pt x="364" y="95"/>
                </a:cubicBezTo>
                <a:cubicBezTo>
                  <a:pt x="364" y="95"/>
                  <a:pt x="364" y="95"/>
                  <a:pt x="363" y="95"/>
                </a:cubicBezTo>
                <a:cubicBezTo>
                  <a:pt x="363" y="95"/>
                  <a:pt x="362" y="95"/>
                  <a:pt x="361" y="95"/>
                </a:cubicBezTo>
                <a:cubicBezTo>
                  <a:pt x="361" y="95"/>
                  <a:pt x="362" y="95"/>
                  <a:pt x="362" y="95"/>
                </a:cubicBezTo>
                <a:cubicBezTo>
                  <a:pt x="362" y="95"/>
                  <a:pt x="361" y="96"/>
                  <a:pt x="360" y="96"/>
                </a:cubicBezTo>
                <a:cubicBezTo>
                  <a:pt x="359" y="96"/>
                  <a:pt x="362" y="96"/>
                  <a:pt x="360" y="97"/>
                </a:cubicBezTo>
                <a:cubicBezTo>
                  <a:pt x="361" y="97"/>
                  <a:pt x="360" y="97"/>
                  <a:pt x="360" y="97"/>
                </a:cubicBezTo>
                <a:cubicBezTo>
                  <a:pt x="360" y="97"/>
                  <a:pt x="361" y="98"/>
                  <a:pt x="361" y="98"/>
                </a:cubicBezTo>
                <a:cubicBezTo>
                  <a:pt x="361" y="98"/>
                  <a:pt x="362" y="98"/>
                  <a:pt x="362" y="97"/>
                </a:cubicBezTo>
                <a:cubicBezTo>
                  <a:pt x="362" y="98"/>
                  <a:pt x="363" y="97"/>
                  <a:pt x="363" y="98"/>
                </a:cubicBezTo>
                <a:cubicBezTo>
                  <a:pt x="364" y="98"/>
                  <a:pt x="364" y="98"/>
                  <a:pt x="364" y="99"/>
                </a:cubicBezTo>
                <a:cubicBezTo>
                  <a:pt x="365" y="99"/>
                  <a:pt x="366" y="100"/>
                  <a:pt x="366" y="101"/>
                </a:cubicBezTo>
                <a:cubicBezTo>
                  <a:pt x="366" y="101"/>
                  <a:pt x="367" y="103"/>
                  <a:pt x="367" y="102"/>
                </a:cubicBezTo>
                <a:cubicBezTo>
                  <a:pt x="367" y="102"/>
                  <a:pt x="367" y="101"/>
                  <a:pt x="367" y="101"/>
                </a:cubicBezTo>
                <a:cubicBezTo>
                  <a:pt x="368" y="101"/>
                  <a:pt x="368" y="102"/>
                  <a:pt x="368" y="102"/>
                </a:cubicBezTo>
                <a:cubicBezTo>
                  <a:pt x="368" y="102"/>
                  <a:pt x="368" y="103"/>
                  <a:pt x="368" y="103"/>
                </a:cubicBezTo>
                <a:cubicBezTo>
                  <a:pt x="368" y="104"/>
                  <a:pt x="368" y="103"/>
                  <a:pt x="369" y="104"/>
                </a:cubicBezTo>
                <a:cubicBezTo>
                  <a:pt x="369" y="104"/>
                  <a:pt x="369" y="105"/>
                  <a:pt x="368" y="105"/>
                </a:cubicBezTo>
                <a:cubicBezTo>
                  <a:pt x="368" y="106"/>
                  <a:pt x="367" y="105"/>
                  <a:pt x="367" y="106"/>
                </a:cubicBezTo>
                <a:cubicBezTo>
                  <a:pt x="367" y="107"/>
                  <a:pt x="368" y="108"/>
                  <a:pt x="368" y="108"/>
                </a:cubicBezTo>
                <a:cubicBezTo>
                  <a:pt x="368" y="109"/>
                  <a:pt x="367" y="108"/>
                  <a:pt x="367" y="109"/>
                </a:cubicBezTo>
                <a:cubicBezTo>
                  <a:pt x="368" y="109"/>
                  <a:pt x="368" y="109"/>
                  <a:pt x="368" y="109"/>
                </a:cubicBezTo>
                <a:cubicBezTo>
                  <a:pt x="368" y="110"/>
                  <a:pt x="368" y="110"/>
                  <a:pt x="369" y="110"/>
                </a:cubicBezTo>
                <a:cubicBezTo>
                  <a:pt x="369" y="111"/>
                  <a:pt x="369" y="110"/>
                  <a:pt x="370" y="110"/>
                </a:cubicBezTo>
                <a:cubicBezTo>
                  <a:pt x="370" y="110"/>
                  <a:pt x="370" y="110"/>
                  <a:pt x="371" y="110"/>
                </a:cubicBezTo>
                <a:cubicBezTo>
                  <a:pt x="372" y="110"/>
                  <a:pt x="372" y="110"/>
                  <a:pt x="373" y="109"/>
                </a:cubicBezTo>
                <a:cubicBezTo>
                  <a:pt x="373" y="109"/>
                  <a:pt x="374" y="108"/>
                  <a:pt x="374" y="108"/>
                </a:cubicBezTo>
                <a:cubicBezTo>
                  <a:pt x="374" y="107"/>
                  <a:pt x="374" y="107"/>
                  <a:pt x="373" y="107"/>
                </a:cubicBezTo>
                <a:cubicBezTo>
                  <a:pt x="373" y="107"/>
                  <a:pt x="374" y="106"/>
                  <a:pt x="374" y="106"/>
                </a:cubicBezTo>
                <a:cubicBezTo>
                  <a:pt x="374" y="105"/>
                  <a:pt x="375" y="105"/>
                  <a:pt x="375" y="104"/>
                </a:cubicBezTo>
                <a:cubicBezTo>
                  <a:pt x="376" y="104"/>
                  <a:pt x="375" y="103"/>
                  <a:pt x="374" y="103"/>
                </a:cubicBezTo>
                <a:cubicBezTo>
                  <a:pt x="375" y="103"/>
                  <a:pt x="375" y="103"/>
                  <a:pt x="375" y="102"/>
                </a:cubicBezTo>
                <a:cubicBezTo>
                  <a:pt x="375" y="103"/>
                  <a:pt x="375" y="103"/>
                  <a:pt x="375" y="103"/>
                </a:cubicBezTo>
                <a:cubicBezTo>
                  <a:pt x="376" y="103"/>
                  <a:pt x="376" y="102"/>
                  <a:pt x="376" y="102"/>
                </a:cubicBezTo>
                <a:cubicBezTo>
                  <a:pt x="376" y="101"/>
                  <a:pt x="376" y="99"/>
                  <a:pt x="377" y="99"/>
                </a:cubicBezTo>
                <a:cubicBezTo>
                  <a:pt x="378" y="98"/>
                  <a:pt x="378" y="98"/>
                  <a:pt x="378" y="98"/>
                </a:cubicBezTo>
                <a:cubicBezTo>
                  <a:pt x="378" y="97"/>
                  <a:pt x="378" y="97"/>
                  <a:pt x="378" y="98"/>
                </a:cubicBezTo>
                <a:cubicBezTo>
                  <a:pt x="378" y="98"/>
                  <a:pt x="378" y="98"/>
                  <a:pt x="378" y="99"/>
                </a:cubicBezTo>
                <a:cubicBezTo>
                  <a:pt x="378" y="99"/>
                  <a:pt x="379" y="99"/>
                  <a:pt x="379" y="100"/>
                </a:cubicBezTo>
                <a:cubicBezTo>
                  <a:pt x="378" y="99"/>
                  <a:pt x="377" y="100"/>
                  <a:pt x="377" y="100"/>
                </a:cubicBezTo>
                <a:cubicBezTo>
                  <a:pt x="377" y="100"/>
                  <a:pt x="376" y="101"/>
                  <a:pt x="376" y="101"/>
                </a:cubicBezTo>
                <a:cubicBezTo>
                  <a:pt x="376" y="101"/>
                  <a:pt x="376" y="102"/>
                  <a:pt x="376" y="102"/>
                </a:cubicBezTo>
                <a:cubicBezTo>
                  <a:pt x="377" y="103"/>
                  <a:pt x="376" y="103"/>
                  <a:pt x="376" y="104"/>
                </a:cubicBezTo>
                <a:cubicBezTo>
                  <a:pt x="376" y="104"/>
                  <a:pt x="376" y="105"/>
                  <a:pt x="376" y="105"/>
                </a:cubicBezTo>
                <a:cubicBezTo>
                  <a:pt x="376" y="106"/>
                  <a:pt x="377" y="105"/>
                  <a:pt x="377" y="105"/>
                </a:cubicBezTo>
                <a:cubicBezTo>
                  <a:pt x="377" y="106"/>
                  <a:pt x="377" y="106"/>
                  <a:pt x="377" y="106"/>
                </a:cubicBezTo>
                <a:cubicBezTo>
                  <a:pt x="378" y="106"/>
                  <a:pt x="377" y="105"/>
                  <a:pt x="378" y="105"/>
                </a:cubicBezTo>
                <a:cubicBezTo>
                  <a:pt x="378" y="105"/>
                  <a:pt x="378" y="107"/>
                  <a:pt x="379" y="107"/>
                </a:cubicBezTo>
                <a:cubicBezTo>
                  <a:pt x="379" y="108"/>
                  <a:pt x="379" y="107"/>
                  <a:pt x="380" y="107"/>
                </a:cubicBezTo>
                <a:cubicBezTo>
                  <a:pt x="380" y="107"/>
                  <a:pt x="380" y="107"/>
                  <a:pt x="380" y="107"/>
                </a:cubicBezTo>
                <a:cubicBezTo>
                  <a:pt x="380" y="106"/>
                  <a:pt x="381" y="107"/>
                  <a:pt x="381" y="107"/>
                </a:cubicBezTo>
                <a:cubicBezTo>
                  <a:pt x="381" y="108"/>
                  <a:pt x="381" y="108"/>
                  <a:pt x="381" y="108"/>
                </a:cubicBezTo>
                <a:cubicBezTo>
                  <a:pt x="381" y="108"/>
                  <a:pt x="382" y="109"/>
                  <a:pt x="382" y="109"/>
                </a:cubicBezTo>
                <a:cubicBezTo>
                  <a:pt x="382" y="110"/>
                  <a:pt x="383" y="109"/>
                  <a:pt x="382" y="109"/>
                </a:cubicBezTo>
                <a:cubicBezTo>
                  <a:pt x="383" y="109"/>
                  <a:pt x="383" y="108"/>
                  <a:pt x="382" y="108"/>
                </a:cubicBezTo>
                <a:cubicBezTo>
                  <a:pt x="383" y="108"/>
                  <a:pt x="383" y="109"/>
                  <a:pt x="384" y="109"/>
                </a:cubicBezTo>
                <a:cubicBezTo>
                  <a:pt x="384" y="110"/>
                  <a:pt x="385" y="110"/>
                  <a:pt x="385" y="109"/>
                </a:cubicBezTo>
                <a:cubicBezTo>
                  <a:pt x="385" y="108"/>
                  <a:pt x="386" y="108"/>
                  <a:pt x="387" y="108"/>
                </a:cubicBezTo>
                <a:cubicBezTo>
                  <a:pt x="387" y="108"/>
                  <a:pt x="388" y="109"/>
                  <a:pt x="388" y="109"/>
                </a:cubicBezTo>
                <a:cubicBezTo>
                  <a:pt x="388" y="110"/>
                  <a:pt x="386" y="108"/>
                  <a:pt x="386" y="109"/>
                </a:cubicBezTo>
                <a:cubicBezTo>
                  <a:pt x="386" y="110"/>
                  <a:pt x="386" y="110"/>
                  <a:pt x="385" y="110"/>
                </a:cubicBezTo>
                <a:cubicBezTo>
                  <a:pt x="385" y="111"/>
                  <a:pt x="386" y="111"/>
                  <a:pt x="386" y="111"/>
                </a:cubicBezTo>
                <a:cubicBezTo>
                  <a:pt x="386" y="112"/>
                  <a:pt x="387" y="112"/>
                  <a:pt x="388" y="112"/>
                </a:cubicBezTo>
                <a:cubicBezTo>
                  <a:pt x="388" y="112"/>
                  <a:pt x="389" y="113"/>
                  <a:pt x="389" y="113"/>
                </a:cubicBezTo>
                <a:cubicBezTo>
                  <a:pt x="390" y="114"/>
                  <a:pt x="390" y="114"/>
                  <a:pt x="391" y="114"/>
                </a:cubicBezTo>
                <a:cubicBezTo>
                  <a:pt x="392" y="114"/>
                  <a:pt x="393" y="114"/>
                  <a:pt x="394" y="114"/>
                </a:cubicBezTo>
                <a:cubicBezTo>
                  <a:pt x="394" y="114"/>
                  <a:pt x="395" y="114"/>
                  <a:pt x="395" y="115"/>
                </a:cubicBezTo>
                <a:cubicBezTo>
                  <a:pt x="396" y="115"/>
                  <a:pt x="396" y="115"/>
                  <a:pt x="397" y="115"/>
                </a:cubicBezTo>
                <a:cubicBezTo>
                  <a:pt x="398" y="115"/>
                  <a:pt x="398" y="115"/>
                  <a:pt x="398" y="116"/>
                </a:cubicBezTo>
                <a:cubicBezTo>
                  <a:pt x="399" y="116"/>
                  <a:pt x="400" y="116"/>
                  <a:pt x="400" y="117"/>
                </a:cubicBezTo>
                <a:cubicBezTo>
                  <a:pt x="401" y="117"/>
                  <a:pt x="401" y="116"/>
                  <a:pt x="402" y="117"/>
                </a:cubicBezTo>
                <a:cubicBezTo>
                  <a:pt x="402" y="117"/>
                  <a:pt x="403" y="118"/>
                  <a:pt x="404" y="118"/>
                </a:cubicBezTo>
                <a:cubicBezTo>
                  <a:pt x="404" y="118"/>
                  <a:pt x="404" y="118"/>
                  <a:pt x="405" y="118"/>
                </a:cubicBezTo>
                <a:cubicBezTo>
                  <a:pt x="405" y="119"/>
                  <a:pt x="405" y="119"/>
                  <a:pt x="405" y="119"/>
                </a:cubicBezTo>
                <a:cubicBezTo>
                  <a:pt x="405" y="119"/>
                  <a:pt x="406" y="119"/>
                  <a:pt x="406" y="119"/>
                </a:cubicBezTo>
                <a:cubicBezTo>
                  <a:pt x="406" y="119"/>
                  <a:pt x="406" y="119"/>
                  <a:pt x="406" y="119"/>
                </a:cubicBezTo>
                <a:cubicBezTo>
                  <a:pt x="406" y="119"/>
                  <a:pt x="407" y="119"/>
                  <a:pt x="407" y="119"/>
                </a:cubicBezTo>
                <a:cubicBezTo>
                  <a:pt x="407" y="119"/>
                  <a:pt x="407" y="119"/>
                  <a:pt x="407" y="120"/>
                </a:cubicBezTo>
                <a:cubicBezTo>
                  <a:pt x="408" y="120"/>
                  <a:pt x="408" y="119"/>
                  <a:pt x="409" y="119"/>
                </a:cubicBezTo>
                <a:cubicBezTo>
                  <a:pt x="409" y="119"/>
                  <a:pt x="408" y="120"/>
                  <a:pt x="408" y="120"/>
                </a:cubicBezTo>
                <a:cubicBezTo>
                  <a:pt x="409" y="120"/>
                  <a:pt x="409" y="120"/>
                  <a:pt x="409" y="120"/>
                </a:cubicBezTo>
                <a:cubicBezTo>
                  <a:pt x="409" y="121"/>
                  <a:pt x="410" y="120"/>
                  <a:pt x="410" y="120"/>
                </a:cubicBezTo>
                <a:cubicBezTo>
                  <a:pt x="410" y="120"/>
                  <a:pt x="410" y="120"/>
                  <a:pt x="410" y="120"/>
                </a:cubicBezTo>
                <a:cubicBezTo>
                  <a:pt x="410" y="121"/>
                  <a:pt x="411" y="120"/>
                  <a:pt x="411" y="120"/>
                </a:cubicBezTo>
                <a:cubicBezTo>
                  <a:pt x="411" y="121"/>
                  <a:pt x="411" y="120"/>
                  <a:pt x="411" y="121"/>
                </a:cubicBezTo>
                <a:cubicBezTo>
                  <a:pt x="411" y="121"/>
                  <a:pt x="411" y="121"/>
                  <a:pt x="412" y="121"/>
                </a:cubicBezTo>
                <a:cubicBezTo>
                  <a:pt x="412" y="122"/>
                  <a:pt x="413" y="122"/>
                  <a:pt x="413" y="121"/>
                </a:cubicBezTo>
                <a:cubicBezTo>
                  <a:pt x="413" y="122"/>
                  <a:pt x="413" y="122"/>
                  <a:pt x="413" y="122"/>
                </a:cubicBezTo>
                <a:cubicBezTo>
                  <a:pt x="414" y="123"/>
                  <a:pt x="414" y="123"/>
                  <a:pt x="414" y="123"/>
                </a:cubicBezTo>
                <a:cubicBezTo>
                  <a:pt x="415" y="122"/>
                  <a:pt x="414" y="124"/>
                  <a:pt x="415" y="123"/>
                </a:cubicBezTo>
                <a:cubicBezTo>
                  <a:pt x="415" y="124"/>
                  <a:pt x="415" y="125"/>
                  <a:pt x="416" y="124"/>
                </a:cubicBezTo>
                <a:cubicBezTo>
                  <a:pt x="416" y="124"/>
                  <a:pt x="417" y="125"/>
                  <a:pt x="417" y="125"/>
                </a:cubicBezTo>
                <a:cubicBezTo>
                  <a:pt x="417" y="125"/>
                  <a:pt x="418" y="126"/>
                  <a:pt x="417" y="125"/>
                </a:cubicBezTo>
                <a:cubicBezTo>
                  <a:pt x="418" y="125"/>
                  <a:pt x="418" y="125"/>
                  <a:pt x="418" y="125"/>
                </a:cubicBezTo>
                <a:cubicBezTo>
                  <a:pt x="418" y="125"/>
                  <a:pt x="417" y="125"/>
                  <a:pt x="418" y="126"/>
                </a:cubicBezTo>
                <a:cubicBezTo>
                  <a:pt x="418" y="126"/>
                  <a:pt x="418" y="126"/>
                  <a:pt x="418" y="126"/>
                </a:cubicBezTo>
                <a:cubicBezTo>
                  <a:pt x="417" y="127"/>
                  <a:pt x="417" y="128"/>
                  <a:pt x="418" y="128"/>
                </a:cubicBezTo>
                <a:cubicBezTo>
                  <a:pt x="418" y="129"/>
                  <a:pt x="419" y="127"/>
                  <a:pt x="420" y="128"/>
                </a:cubicBezTo>
                <a:cubicBezTo>
                  <a:pt x="420" y="128"/>
                  <a:pt x="419" y="128"/>
                  <a:pt x="419" y="129"/>
                </a:cubicBezTo>
                <a:cubicBezTo>
                  <a:pt x="419" y="130"/>
                  <a:pt x="421" y="130"/>
                  <a:pt x="421" y="129"/>
                </a:cubicBezTo>
                <a:cubicBezTo>
                  <a:pt x="421" y="130"/>
                  <a:pt x="419" y="130"/>
                  <a:pt x="419" y="130"/>
                </a:cubicBezTo>
                <a:cubicBezTo>
                  <a:pt x="420" y="132"/>
                  <a:pt x="420" y="132"/>
                  <a:pt x="420" y="134"/>
                </a:cubicBezTo>
                <a:cubicBezTo>
                  <a:pt x="421" y="136"/>
                  <a:pt x="422" y="137"/>
                  <a:pt x="424" y="139"/>
                </a:cubicBezTo>
                <a:cubicBezTo>
                  <a:pt x="424" y="139"/>
                  <a:pt x="423" y="138"/>
                  <a:pt x="423" y="138"/>
                </a:cubicBezTo>
                <a:cubicBezTo>
                  <a:pt x="422" y="139"/>
                  <a:pt x="423" y="139"/>
                  <a:pt x="424" y="140"/>
                </a:cubicBezTo>
                <a:cubicBezTo>
                  <a:pt x="424" y="140"/>
                  <a:pt x="425" y="140"/>
                  <a:pt x="426" y="141"/>
                </a:cubicBezTo>
                <a:cubicBezTo>
                  <a:pt x="426" y="141"/>
                  <a:pt x="427" y="142"/>
                  <a:pt x="427" y="142"/>
                </a:cubicBezTo>
                <a:cubicBezTo>
                  <a:pt x="427" y="142"/>
                  <a:pt x="426" y="141"/>
                  <a:pt x="426" y="141"/>
                </a:cubicBezTo>
                <a:cubicBezTo>
                  <a:pt x="425" y="140"/>
                  <a:pt x="425" y="141"/>
                  <a:pt x="424" y="141"/>
                </a:cubicBezTo>
                <a:cubicBezTo>
                  <a:pt x="424" y="141"/>
                  <a:pt x="423" y="141"/>
                  <a:pt x="423" y="141"/>
                </a:cubicBezTo>
                <a:cubicBezTo>
                  <a:pt x="423" y="141"/>
                  <a:pt x="422" y="141"/>
                  <a:pt x="422" y="141"/>
                </a:cubicBezTo>
                <a:cubicBezTo>
                  <a:pt x="421" y="141"/>
                  <a:pt x="422" y="142"/>
                  <a:pt x="422" y="142"/>
                </a:cubicBezTo>
                <a:cubicBezTo>
                  <a:pt x="422" y="142"/>
                  <a:pt x="423" y="143"/>
                  <a:pt x="423" y="143"/>
                </a:cubicBezTo>
                <a:cubicBezTo>
                  <a:pt x="424" y="144"/>
                  <a:pt x="424" y="144"/>
                  <a:pt x="425" y="144"/>
                </a:cubicBezTo>
                <a:cubicBezTo>
                  <a:pt x="426" y="144"/>
                  <a:pt x="426" y="144"/>
                  <a:pt x="427" y="144"/>
                </a:cubicBezTo>
                <a:cubicBezTo>
                  <a:pt x="427" y="144"/>
                  <a:pt x="427" y="144"/>
                  <a:pt x="428" y="144"/>
                </a:cubicBezTo>
                <a:cubicBezTo>
                  <a:pt x="427" y="144"/>
                  <a:pt x="427" y="145"/>
                  <a:pt x="426" y="145"/>
                </a:cubicBezTo>
                <a:cubicBezTo>
                  <a:pt x="426" y="145"/>
                  <a:pt x="425" y="144"/>
                  <a:pt x="425" y="144"/>
                </a:cubicBezTo>
                <a:cubicBezTo>
                  <a:pt x="424" y="144"/>
                  <a:pt x="421" y="144"/>
                  <a:pt x="423" y="145"/>
                </a:cubicBezTo>
                <a:cubicBezTo>
                  <a:pt x="423" y="145"/>
                  <a:pt x="424" y="146"/>
                  <a:pt x="424" y="146"/>
                </a:cubicBezTo>
                <a:cubicBezTo>
                  <a:pt x="425" y="147"/>
                  <a:pt x="424" y="147"/>
                  <a:pt x="425" y="148"/>
                </a:cubicBezTo>
                <a:cubicBezTo>
                  <a:pt x="425" y="148"/>
                  <a:pt x="426" y="148"/>
                  <a:pt x="426" y="148"/>
                </a:cubicBezTo>
                <a:cubicBezTo>
                  <a:pt x="426" y="149"/>
                  <a:pt x="425" y="150"/>
                  <a:pt x="425" y="150"/>
                </a:cubicBezTo>
                <a:cubicBezTo>
                  <a:pt x="425" y="151"/>
                  <a:pt x="425" y="151"/>
                  <a:pt x="425" y="152"/>
                </a:cubicBezTo>
                <a:cubicBezTo>
                  <a:pt x="424" y="152"/>
                  <a:pt x="424" y="153"/>
                  <a:pt x="424" y="153"/>
                </a:cubicBezTo>
                <a:cubicBezTo>
                  <a:pt x="424" y="154"/>
                  <a:pt x="424" y="154"/>
                  <a:pt x="424" y="154"/>
                </a:cubicBezTo>
                <a:cubicBezTo>
                  <a:pt x="424" y="154"/>
                  <a:pt x="423" y="154"/>
                  <a:pt x="423" y="155"/>
                </a:cubicBezTo>
                <a:cubicBezTo>
                  <a:pt x="423" y="155"/>
                  <a:pt x="424" y="156"/>
                  <a:pt x="424" y="156"/>
                </a:cubicBezTo>
                <a:cubicBezTo>
                  <a:pt x="424" y="157"/>
                  <a:pt x="424" y="156"/>
                  <a:pt x="425" y="156"/>
                </a:cubicBezTo>
                <a:cubicBezTo>
                  <a:pt x="425" y="155"/>
                  <a:pt x="426" y="155"/>
                  <a:pt x="426" y="154"/>
                </a:cubicBezTo>
                <a:cubicBezTo>
                  <a:pt x="427" y="154"/>
                  <a:pt x="427" y="154"/>
                  <a:pt x="427" y="153"/>
                </a:cubicBezTo>
                <a:cubicBezTo>
                  <a:pt x="427" y="152"/>
                  <a:pt x="428" y="153"/>
                  <a:pt x="428" y="153"/>
                </a:cubicBezTo>
                <a:cubicBezTo>
                  <a:pt x="427" y="153"/>
                  <a:pt x="427" y="153"/>
                  <a:pt x="427" y="153"/>
                </a:cubicBezTo>
                <a:cubicBezTo>
                  <a:pt x="427" y="153"/>
                  <a:pt x="427" y="154"/>
                  <a:pt x="427" y="154"/>
                </a:cubicBezTo>
                <a:cubicBezTo>
                  <a:pt x="427" y="155"/>
                  <a:pt x="428" y="155"/>
                  <a:pt x="428" y="155"/>
                </a:cubicBezTo>
                <a:cubicBezTo>
                  <a:pt x="429" y="156"/>
                  <a:pt x="430" y="155"/>
                  <a:pt x="431" y="154"/>
                </a:cubicBezTo>
                <a:cubicBezTo>
                  <a:pt x="432" y="154"/>
                  <a:pt x="434" y="155"/>
                  <a:pt x="435" y="154"/>
                </a:cubicBezTo>
                <a:cubicBezTo>
                  <a:pt x="435" y="154"/>
                  <a:pt x="435" y="153"/>
                  <a:pt x="435" y="153"/>
                </a:cubicBezTo>
                <a:cubicBezTo>
                  <a:pt x="435" y="152"/>
                  <a:pt x="435" y="152"/>
                  <a:pt x="436" y="152"/>
                </a:cubicBezTo>
                <a:cubicBezTo>
                  <a:pt x="436" y="152"/>
                  <a:pt x="436" y="152"/>
                  <a:pt x="436" y="152"/>
                </a:cubicBezTo>
                <a:cubicBezTo>
                  <a:pt x="436" y="153"/>
                  <a:pt x="435" y="152"/>
                  <a:pt x="435" y="153"/>
                </a:cubicBezTo>
                <a:cubicBezTo>
                  <a:pt x="435" y="154"/>
                  <a:pt x="435" y="154"/>
                  <a:pt x="434" y="154"/>
                </a:cubicBezTo>
                <a:cubicBezTo>
                  <a:pt x="433" y="155"/>
                  <a:pt x="436" y="158"/>
                  <a:pt x="437" y="158"/>
                </a:cubicBezTo>
                <a:cubicBezTo>
                  <a:pt x="438" y="159"/>
                  <a:pt x="439" y="161"/>
                  <a:pt x="440" y="162"/>
                </a:cubicBezTo>
                <a:cubicBezTo>
                  <a:pt x="441" y="163"/>
                  <a:pt x="441" y="164"/>
                  <a:pt x="442" y="164"/>
                </a:cubicBezTo>
                <a:cubicBezTo>
                  <a:pt x="442" y="165"/>
                  <a:pt x="443" y="165"/>
                  <a:pt x="443" y="166"/>
                </a:cubicBezTo>
                <a:cubicBezTo>
                  <a:pt x="444" y="157"/>
                  <a:pt x="445" y="149"/>
                  <a:pt x="445" y="141"/>
                </a:cubicBezTo>
                <a:cubicBezTo>
                  <a:pt x="444" y="142"/>
                  <a:pt x="444" y="139"/>
                  <a:pt x="444" y="139"/>
                </a:cubicBezTo>
                <a:cubicBezTo>
                  <a:pt x="444" y="138"/>
                  <a:pt x="444" y="138"/>
                  <a:pt x="444" y="137"/>
                </a:cubicBezTo>
                <a:cubicBezTo>
                  <a:pt x="445" y="137"/>
                  <a:pt x="445" y="137"/>
                  <a:pt x="445" y="137"/>
                </a:cubicBezTo>
                <a:cubicBezTo>
                  <a:pt x="445" y="136"/>
                  <a:pt x="445" y="136"/>
                  <a:pt x="445" y="136"/>
                </a:cubicBezTo>
                <a:cubicBezTo>
                  <a:pt x="445" y="136"/>
                  <a:pt x="445" y="135"/>
                  <a:pt x="445" y="135"/>
                </a:cubicBezTo>
                <a:cubicBezTo>
                  <a:pt x="446" y="135"/>
                  <a:pt x="446" y="134"/>
                  <a:pt x="446" y="134"/>
                </a:cubicBezTo>
                <a:cubicBezTo>
                  <a:pt x="446" y="132"/>
                  <a:pt x="446" y="130"/>
                  <a:pt x="446" y="128"/>
                </a:cubicBezTo>
                <a:cubicBezTo>
                  <a:pt x="446" y="120"/>
                  <a:pt x="447" y="112"/>
                  <a:pt x="447" y="104"/>
                </a:cubicBezTo>
                <a:cubicBezTo>
                  <a:pt x="447" y="102"/>
                  <a:pt x="447" y="99"/>
                  <a:pt x="448" y="97"/>
                </a:cubicBezTo>
                <a:cubicBezTo>
                  <a:pt x="448" y="96"/>
                  <a:pt x="448" y="96"/>
                  <a:pt x="448" y="95"/>
                </a:cubicBezTo>
                <a:cubicBezTo>
                  <a:pt x="448" y="94"/>
                  <a:pt x="447" y="94"/>
                  <a:pt x="447" y="94"/>
                </a:cubicBezTo>
                <a:close/>
                <a:moveTo>
                  <a:pt x="347" y="107"/>
                </a:moveTo>
                <a:cubicBezTo>
                  <a:pt x="347" y="107"/>
                  <a:pt x="348" y="108"/>
                  <a:pt x="348" y="108"/>
                </a:cubicBezTo>
                <a:cubicBezTo>
                  <a:pt x="349" y="108"/>
                  <a:pt x="348" y="106"/>
                  <a:pt x="349" y="106"/>
                </a:cubicBezTo>
                <a:cubicBezTo>
                  <a:pt x="349" y="105"/>
                  <a:pt x="349" y="105"/>
                  <a:pt x="349" y="104"/>
                </a:cubicBezTo>
                <a:cubicBezTo>
                  <a:pt x="348" y="104"/>
                  <a:pt x="349" y="104"/>
                  <a:pt x="349" y="103"/>
                </a:cubicBezTo>
                <a:cubicBezTo>
                  <a:pt x="348" y="102"/>
                  <a:pt x="347" y="103"/>
                  <a:pt x="347" y="102"/>
                </a:cubicBezTo>
                <a:cubicBezTo>
                  <a:pt x="347" y="102"/>
                  <a:pt x="347" y="101"/>
                  <a:pt x="347" y="100"/>
                </a:cubicBezTo>
                <a:cubicBezTo>
                  <a:pt x="346" y="100"/>
                  <a:pt x="346" y="100"/>
                  <a:pt x="346" y="99"/>
                </a:cubicBezTo>
                <a:cubicBezTo>
                  <a:pt x="345" y="99"/>
                  <a:pt x="345" y="99"/>
                  <a:pt x="345" y="98"/>
                </a:cubicBezTo>
                <a:cubicBezTo>
                  <a:pt x="344" y="98"/>
                  <a:pt x="343" y="98"/>
                  <a:pt x="342" y="98"/>
                </a:cubicBezTo>
                <a:cubicBezTo>
                  <a:pt x="342" y="98"/>
                  <a:pt x="341" y="98"/>
                  <a:pt x="340" y="98"/>
                </a:cubicBezTo>
                <a:cubicBezTo>
                  <a:pt x="340" y="98"/>
                  <a:pt x="339" y="98"/>
                  <a:pt x="339" y="97"/>
                </a:cubicBezTo>
                <a:cubicBezTo>
                  <a:pt x="339" y="97"/>
                  <a:pt x="338" y="97"/>
                  <a:pt x="338" y="97"/>
                </a:cubicBezTo>
                <a:cubicBezTo>
                  <a:pt x="338" y="96"/>
                  <a:pt x="337" y="96"/>
                  <a:pt x="337" y="96"/>
                </a:cubicBezTo>
                <a:cubicBezTo>
                  <a:pt x="337" y="96"/>
                  <a:pt x="336" y="96"/>
                  <a:pt x="335" y="96"/>
                </a:cubicBezTo>
                <a:cubicBezTo>
                  <a:pt x="335" y="96"/>
                  <a:pt x="335" y="96"/>
                  <a:pt x="334" y="97"/>
                </a:cubicBezTo>
                <a:cubicBezTo>
                  <a:pt x="334" y="97"/>
                  <a:pt x="334" y="97"/>
                  <a:pt x="333" y="97"/>
                </a:cubicBezTo>
                <a:cubicBezTo>
                  <a:pt x="333" y="97"/>
                  <a:pt x="332" y="98"/>
                  <a:pt x="332" y="98"/>
                </a:cubicBezTo>
                <a:cubicBezTo>
                  <a:pt x="332" y="98"/>
                  <a:pt x="332" y="97"/>
                  <a:pt x="332" y="96"/>
                </a:cubicBezTo>
                <a:cubicBezTo>
                  <a:pt x="332" y="96"/>
                  <a:pt x="329" y="97"/>
                  <a:pt x="329" y="97"/>
                </a:cubicBezTo>
                <a:cubicBezTo>
                  <a:pt x="328" y="97"/>
                  <a:pt x="327" y="96"/>
                  <a:pt x="326" y="97"/>
                </a:cubicBezTo>
                <a:cubicBezTo>
                  <a:pt x="325" y="97"/>
                  <a:pt x="324" y="96"/>
                  <a:pt x="323" y="97"/>
                </a:cubicBezTo>
                <a:cubicBezTo>
                  <a:pt x="323" y="97"/>
                  <a:pt x="323" y="97"/>
                  <a:pt x="322" y="98"/>
                </a:cubicBezTo>
                <a:cubicBezTo>
                  <a:pt x="322" y="98"/>
                  <a:pt x="322" y="98"/>
                  <a:pt x="322" y="98"/>
                </a:cubicBezTo>
                <a:cubicBezTo>
                  <a:pt x="322" y="98"/>
                  <a:pt x="322" y="98"/>
                  <a:pt x="322" y="98"/>
                </a:cubicBezTo>
                <a:cubicBezTo>
                  <a:pt x="322" y="99"/>
                  <a:pt x="322" y="99"/>
                  <a:pt x="321" y="99"/>
                </a:cubicBezTo>
                <a:cubicBezTo>
                  <a:pt x="321" y="99"/>
                  <a:pt x="320" y="100"/>
                  <a:pt x="320" y="100"/>
                </a:cubicBezTo>
                <a:cubicBezTo>
                  <a:pt x="320" y="100"/>
                  <a:pt x="320" y="102"/>
                  <a:pt x="320" y="102"/>
                </a:cubicBezTo>
                <a:cubicBezTo>
                  <a:pt x="320" y="103"/>
                  <a:pt x="320" y="104"/>
                  <a:pt x="320" y="104"/>
                </a:cubicBezTo>
                <a:cubicBezTo>
                  <a:pt x="321" y="104"/>
                  <a:pt x="321" y="103"/>
                  <a:pt x="321" y="103"/>
                </a:cubicBezTo>
                <a:cubicBezTo>
                  <a:pt x="321" y="102"/>
                  <a:pt x="322" y="102"/>
                  <a:pt x="322" y="102"/>
                </a:cubicBezTo>
                <a:cubicBezTo>
                  <a:pt x="322" y="101"/>
                  <a:pt x="322" y="100"/>
                  <a:pt x="322" y="100"/>
                </a:cubicBezTo>
                <a:cubicBezTo>
                  <a:pt x="322" y="99"/>
                  <a:pt x="323" y="99"/>
                  <a:pt x="323" y="99"/>
                </a:cubicBezTo>
                <a:cubicBezTo>
                  <a:pt x="323" y="100"/>
                  <a:pt x="323" y="100"/>
                  <a:pt x="323" y="100"/>
                </a:cubicBezTo>
                <a:cubicBezTo>
                  <a:pt x="323" y="101"/>
                  <a:pt x="324" y="100"/>
                  <a:pt x="324" y="101"/>
                </a:cubicBezTo>
                <a:cubicBezTo>
                  <a:pt x="325" y="101"/>
                  <a:pt x="325" y="103"/>
                  <a:pt x="325" y="103"/>
                </a:cubicBezTo>
                <a:cubicBezTo>
                  <a:pt x="326" y="103"/>
                  <a:pt x="328" y="103"/>
                  <a:pt x="328" y="103"/>
                </a:cubicBezTo>
                <a:cubicBezTo>
                  <a:pt x="327" y="102"/>
                  <a:pt x="329" y="101"/>
                  <a:pt x="330" y="101"/>
                </a:cubicBezTo>
                <a:cubicBezTo>
                  <a:pt x="330" y="100"/>
                  <a:pt x="331" y="101"/>
                  <a:pt x="330" y="102"/>
                </a:cubicBezTo>
                <a:cubicBezTo>
                  <a:pt x="330" y="102"/>
                  <a:pt x="331" y="102"/>
                  <a:pt x="331" y="102"/>
                </a:cubicBezTo>
                <a:cubicBezTo>
                  <a:pt x="332" y="102"/>
                  <a:pt x="332" y="102"/>
                  <a:pt x="333" y="103"/>
                </a:cubicBezTo>
                <a:cubicBezTo>
                  <a:pt x="333" y="103"/>
                  <a:pt x="334" y="103"/>
                  <a:pt x="335" y="103"/>
                </a:cubicBezTo>
                <a:cubicBezTo>
                  <a:pt x="335" y="103"/>
                  <a:pt x="335" y="103"/>
                  <a:pt x="336" y="103"/>
                </a:cubicBezTo>
                <a:cubicBezTo>
                  <a:pt x="337" y="104"/>
                  <a:pt x="336" y="102"/>
                  <a:pt x="336" y="102"/>
                </a:cubicBezTo>
                <a:cubicBezTo>
                  <a:pt x="336" y="101"/>
                  <a:pt x="337" y="102"/>
                  <a:pt x="337" y="102"/>
                </a:cubicBezTo>
                <a:cubicBezTo>
                  <a:pt x="338" y="102"/>
                  <a:pt x="340" y="102"/>
                  <a:pt x="340" y="103"/>
                </a:cubicBezTo>
                <a:cubicBezTo>
                  <a:pt x="340" y="104"/>
                  <a:pt x="341" y="104"/>
                  <a:pt x="342" y="104"/>
                </a:cubicBezTo>
                <a:cubicBezTo>
                  <a:pt x="343" y="105"/>
                  <a:pt x="344" y="105"/>
                  <a:pt x="344" y="105"/>
                </a:cubicBezTo>
                <a:cubicBezTo>
                  <a:pt x="345" y="106"/>
                  <a:pt x="345" y="106"/>
                  <a:pt x="346" y="106"/>
                </a:cubicBezTo>
                <a:cubicBezTo>
                  <a:pt x="346" y="106"/>
                  <a:pt x="346" y="107"/>
                  <a:pt x="347" y="107"/>
                </a:cubicBezTo>
                <a:close/>
                <a:moveTo>
                  <a:pt x="207" y="103"/>
                </a:moveTo>
                <a:cubicBezTo>
                  <a:pt x="207" y="102"/>
                  <a:pt x="207" y="102"/>
                  <a:pt x="207" y="101"/>
                </a:cubicBezTo>
                <a:cubicBezTo>
                  <a:pt x="208" y="100"/>
                  <a:pt x="206" y="102"/>
                  <a:pt x="206" y="102"/>
                </a:cubicBezTo>
                <a:cubicBezTo>
                  <a:pt x="205" y="103"/>
                  <a:pt x="205" y="104"/>
                  <a:pt x="205" y="105"/>
                </a:cubicBezTo>
                <a:cubicBezTo>
                  <a:pt x="205" y="106"/>
                  <a:pt x="205" y="106"/>
                  <a:pt x="205" y="107"/>
                </a:cubicBezTo>
                <a:cubicBezTo>
                  <a:pt x="205" y="107"/>
                  <a:pt x="205" y="108"/>
                  <a:pt x="205" y="108"/>
                </a:cubicBezTo>
                <a:cubicBezTo>
                  <a:pt x="206" y="109"/>
                  <a:pt x="205" y="109"/>
                  <a:pt x="205" y="109"/>
                </a:cubicBezTo>
                <a:cubicBezTo>
                  <a:pt x="205" y="110"/>
                  <a:pt x="205" y="110"/>
                  <a:pt x="205" y="110"/>
                </a:cubicBezTo>
                <a:cubicBezTo>
                  <a:pt x="206" y="109"/>
                  <a:pt x="207" y="109"/>
                  <a:pt x="207" y="108"/>
                </a:cubicBezTo>
                <a:cubicBezTo>
                  <a:pt x="208" y="108"/>
                  <a:pt x="207" y="107"/>
                  <a:pt x="208" y="107"/>
                </a:cubicBezTo>
                <a:cubicBezTo>
                  <a:pt x="208" y="106"/>
                  <a:pt x="208" y="107"/>
                  <a:pt x="208" y="106"/>
                </a:cubicBezTo>
                <a:cubicBezTo>
                  <a:pt x="207" y="106"/>
                  <a:pt x="207" y="105"/>
                  <a:pt x="207" y="104"/>
                </a:cubicBezTo>
                <a:cubicBezTo>
                  <a:pt x="207" y="104"/>
                  <a:pt x="208" y="104"/>
                  <a:pt x="208" y="104"/>
                </a:cubicBezTo>
                <a:cubicBezTo>
                  <a:pt x="208" y="103"/>
                  <a:pt x="207" y="103"/>
                  <a:pt x="207" y="103"/>
                </a:cubicBezTo>
                <a:close/>
                <a:moveTo>
                  <a:pt x="197" y="161"/>
                </a:moveTo>
                <a:cubicBezTo>
                  <a:pt x="196" y="161"/>
                  <a:pt x="197" y="162"/>
                  <a:pt x="198" y="162"/>
                </a:cubicBezTo>
                <a:cubicBezTo>
                  <a:pt x="198" y="161"/>
                  <a:pt x="198" y="160"/>
                  <a:pt x="197" y="161"/>
                </a:cubicBezTo>
                <a:close/>
                <a:moveTo>
                  <a:pt x="222" y="26"/>
                </a:moveTo>
                <a:cubicBezTo>
                  <a:pt x="222" y="27"/>
                  <a:pt x="223" y="28"/>
                  <a:pt x="223" y="27"/>
                </a:cubicBezTo>
                <a:cubicBezTo>
                  <a:pt x="223" y="27"/>
                  <a:pt x="223" y="25"/>
                  <a:pt x="222" y="26"/>
                </a:cubicBezTo>
                <a:close/>
                <a:moveTo>
                  <a:pt x="422" y="155"/>
                </a:moveTo>
                <a:cubicBezTo>
                  <a:pt x="422" y="155"/>
                  <a:pt x="424" y="154"/>
                  <a:pt x="424" y="154"/>
                </a:cubicBezTo>
                <a:cubicBezTo>
                  <a:pt x="424" y="154"/>
                  <a:pt x="424" y="152"/>
                  <a:pt x="424" y="152"/>
                </a:cubicBezTo>
                <a:cubicBezTo>
                  <a:pt x="424" y="152"/>
                  <a:pt x="424" y="152"/>
                  <a:pt x="425" y="151"/>
                </a:cubicBezTo>
                <a:cubicBezTo>
                  <a:pt x="425" y="151"/>
                  <a:pt x="425" y="151"/>
                  <a:pt x="425" y="150"/>
                </a:cubicBezTo>
                <a:cubicBezTo>
                  <a:pt x="425" y="150"/>
                  <a:pt x="426" y="149"/>
                  <a:pt x="426" y="149"/>
                </a:cubicBezTo>
                <a:cubicBezTo>
                  <a:pt x="425" y="148"/>
                  <a:pt x="424" y="148"/>
                  <a:pt x="424" y="147"/>
                </a:cubicBezTo>
                <a:cubicBezTo>
                  <a:pt x="423" y="145"/>
                  <a:pt x="420" y="146"/>
                  <a:pt x="419" y="147"/>
                </a:cubicBezTo>
                <a:cubicBezTo>
                  <a:pt x="418" y="147"/>
                  <a:pt x="417" y="148"/>
                  <a:pt x="416" y="149"/>
                </a:cubicBezTo>
                <a:cubicBezTo>
                  <a:pt x="415" y="150"/>
                  <a:pt x="415" y="150"/>
                  <a:pt x="414" y="151"/>
                </a:cubicBezTo>
                <a:cubicBezTo>
                  <a:pt x="414" y="152"/>
                  <a:pt x="414" y="152"/>
                  <a:pt x="413" y="153"/>
                </a:cubicBezTo>
                <a:cubicBezTo>
                  <a:pt x="413" y="153"/>
                  <a:pt x="413" y="154"/>
                  <a:pt x="413" y="154"/>
                </a:cubicBezTo>
                <a:cubicBezTo>
                  <a:pt x="412" y="154"/>
                  <a:pt x="412" y="156"/>
                  <a:pt x="412" y="156"/>
                </a:cubicBezTo>
                <a:cubicBezTo>
                  <a:pt x="412" y="157"/>
                  <a:pt x="411" y="158"/>
                  <a:pt x="412" y="158"/>
                </a:cubicBezTo>
                <a:cubicBezTo>
                  <a:pt x="413" y="158"/>
                  <a:pt x="413" y="157"/>
                  <a:pt x="414" y="157"/>
                </a:cubicBezTo>
                <a:cubicBezTo>
                  <a:pt x="415" y="157"/>
                  <a:pt x="416" y="157"/>
                  <a:pt x="418" y="158"/>
                </a:cubicBezTo>
                <a:cubicBezTo>
                  <a:pt x="418" y="158"/>
                  <a:pt x="419" y="157"/>
                  <a:pt x="420" y="157"/>
                </a:cubicBezTo>
                <a:cubicBezTo>
                  <a:pt x="420" y="156"/>
                  <a:pt x="421" y="155"/>
                  <a:pt x="422" y="155"/>
                </a:cubicBezTo>
                <a:close/>
                <a:moveTo>
                  <a:pt x="280" y="158"/>
                </a:moveTo>
                <a:cubicBezTo>
                  <a:pt x="280" y="159"/>
                  <a:pt x="280" y="160"/>
                  <a:pt x="280" y="159"/>
                </a:cubicBezTo>
                <a:cubicBezTo>
                  <a:pt x="281" y="159"/>
                  <a:pt x="281" y="159"/>
                  <a:pt x="281" y="158"/>
                </a:cubicBezTo>
                <a:cubicBezTo>
                  <a:pt x="282" y="158"/>
                  <a:pt x="283" y="156"/>
                  <a:pt x="282" y="155"/>
                </a:cubicBezTo>
                <a:cubicBezTo>
                  <a:pt x="282" y="155"/>
                  <a:pt x="281" y="157"/>
                  <a:pt x="280" y="157"/>
                </a:cubicBezTo>
                <a:cubicBezTo>
                  <a:pt x="280" y="157"/>
                  <a:pt x="280" y="157"/>
                  <a:pt x="280" y="157"/>
                </a:cubicBezTo>
                <a:cubicBezTo>
                  <a:pt x="280" y="156"/>
                  <a:pt x="280" y="157"/>
                  <a:pt x="279" y="157"/>
                </a:cubicBezTo>
                <a:cubicBezTo>
                  <a:pt x="279" y="157"/>
                  <a:pt x="278" y="158"/>
                  <a:pt x="279" y="158"/>
                </a:cubicBezTo>
                <a:cubicBezTo>
                  <a:pt x="279" y="159"/>
                  <a:pt x="280" y="157"/>
                  <a:pt x="280" y="158"/>
                </a:cubicBezTo>
                <a:close/>
                <a:moveTo>
                  <a:pt x="347" y="71"/>
                </a:moveTo>
                <a:cubicBezTo>
                  <a:pt x="348" y="72"/>
                  <a:pt x="349" y="70"/>
                  <a:pt x="348" y="70"/>
                </a:cubicBezTo>
                <a:cubicBezTo>
                  <a:pt x="347" y="70"/>
                  <a:pt x="347" y="71"/>
                  <a:pt x="346" y="70"/>
                </a:cubicBezTo>
                <a:cubicBezTo>
                  <a:pt x="346" y="70"/>
                  <a:pt x="345" y="71"/>
                  <a:pt x="346" y="71"/>
                </a:cubicBezTo>
                <a:cubicBezTo>
                  <a:pt x="346" y="71"/>
                  <a:pt x="346" y="71"/>
                  <a:pt x="346" y="71"/>
                </a:cubicBezTo>
                <a:cubicBezTo>
                  <a:pt x="346" y="71"/>
                  <a:pt x="347" y="71"/>
                  <a:pt x="347" y="71"/>
                </a:cubicBezTo>
                <a:cubicBezTo>
                  <a:pt x="347" y="71"/>
                  <a:pt x="347" y="71"/>
                  <a:pt x="347" y="71"/>
                </a:cubicBezTo>
                <a:close/>
                <a:moveTo>
                  <a:pt x="276" y="158"/>
                </a:moveTo>
                <a:cubicBezTo>
                  <a:pt x="276" y="157"/>
                  <a:pt x="276" y="158"/>
                  <a:pt x="276" y="158"/>
                </a:cubicBezTo>
                <a:cubicBezTo>
                  <a:pt x="277" y="158"/>
                  <a:pt x="277" y="157"/>
                  <a:pt x="277" y="157"/>
                </a:cubicBezTo>
                <a:cubicBezTo>
                  <a:pt x="277" y="156"/>
                  <a:pt x="278" y="157"/>
                  <a:pt x="279" y="156"/>
                </a:cubicBezTo>
                <a:cubicBezTo>
                  <a:pt x="279" y="156"/>
                  <a:pt x="279" y="156"/>
                  <a:pt x="278" y="156"/>
                </a:cubicBezTo>
                <a:cubicBezTo>
                  <a:pt x="278" y="155"/>
                  <a:pt x="278" y="155"/>
                  <a:pt x="277" y="156"/>
                </a:cubicBezTo>
                <a:cubicBezTo>
                  <a:pt x="276" y="156"/>
                  <a:pt x="277" y="156"/>
                  <a:pt x="276" y="156"/>
                </a:cubicBezTo>
                <a:cubicBezTo>
                  <a:pt x="276" y="156"/>
                  <a:pt x="276" y="156"/>
                  <a:pt x="276" y="156"/>
                </a:cubicBezTo>
                <a:cubicBezTo>
                  <a:pt x="276" y="157"/>
                  <a:pt x="276" y="156"/>
                  <a:pt x="276" y="157"/>
                </a:cubicBezTo>
                <a:cubicBezTo>
                  <a:pt x="275" y="157"/>
                  <a:pt x="276" y="158"/>
                  <a:pt x="275" y="157"/>
                </a:cubicBezTo>
                <a:cubicBezTo>
                  <a:pt x="275" y="157"/>
                  <a:pt x="275" y="156"/>
                  <a:pt x="275" y="156"/>
                </a:cubicBezTo>
                <a:cubicBezTo>
                  <a:pt x="275" y="156"/>
                  <a:pt x="274" y="156"/>
                  <a:pt x="274" y="156"/>
                </a:cubicBezTo>
                <a:cubicBezTo>
                  <a:pt x="274" y="156"/>
                  <a:pt x="273" y="156"/>
                  <a:pt x="273" y="157"/>
                </a:cubicBezTo>
                <a:cubicBezTo>
                  <a:pt x="274" y="157"/>
                  <a:pt x="275" y="157"/>
                  <a:pt x="274" y="157"/>
                </a:cubicBezTo>
                <a:cubicBezTo>
                  <a:pt x="274" y="158"/>
                  <a:pt x="273" y="158"/>
                  <a:pt x="273" y="158"/>
                </a:cubicBezTo>
                <a:cubicBezTo>
                  <a:pt x="273" y="158"/>
                  <a:pt x="272" y="159"/>
                  <a:pt x="272" y="159"/>
                </a:cubicBezTo>
                <a:cubicBezTo>
                  <a:pt x="272" y="160"/>
                  <a:pt x="273" y="159"/>
                  <a:pt x="273" y="159"/>
                </a:cubicBezTo>
                <a:cubicBezTo>
                  <a:pt x="274" y="160"/>
                  <a:pt x="274" y="159"/>
                  <a:pt x="275" y="159"/>
                </a:cubicBezTo>
                <a:cubicBezTo>
                  <a:pt x="275" y="159"/>
                  <a:pt x="275" y="160"/>
                  <a:pt x="275" y="159"/>
                </a:cubicBezTo>
                <a:cubicBezTo>
                  <a:pt x="275" y="159"/>
                  <a:pt x="275" y="158"/>
                  <a:pt x="275" y="158"/>
                </a:cubicBezTo>
                <a:cubicBezTo>
                  <a:pt x="276" y="158"/>
                  <a:pt x="276" y="158"/>
                  <a:pt x="276" y="158"/>
                </a:cubicBezTo>
                <a:close/>
                <a:moveTo>
                  <a:pt x="187" y="160"/>
                </a:moveTo>
                <a:cubicBezTo>
                  <a:pt x="186" y="160"/>
                  <a:pt x="187" y="159"/>
                  <a:pt x="187" y="158"/>
                </a:cubicBezTo>
                <a:cubicBezTo>
                  <a:pt x="187" y="158"/>
                  <a:pt x="186" y="159"/>
                  <a:pt x="186" y="159"/>
                </a:cubicBezTo>
                <a:cubicBezTo>
                  <a:pt x="186" y="159"/>
                  <a:pt x="187" y="155"/>
                  <a:pt x="187" y="154"/>
                </a:cubicBezTo>
                <a:cubicBezTo>
                  <a:pt x="187" y="153"/>
                  <a:pt x="187" y="153"/>
                  <a:pt x="187" y="152"/>
                </a:cubicBezTo>
                <a:cubicBezTo>
                  <a:pt x="188" y="151"/>
                  <a:pt x="187" y="151"/>
                  <a:pt x="186" y="150"/>
                </a:cubicBezTo>
                <a:cubicBezTo>
                  <a:pt x="186" y="150"/>
                  <a:pt x="186" y="150"/>
                  <a:pt x="185" y="150"/>
                </a:cubicBezTo>
                <a:cubicBezTo>
                  <a:pt x="185" y="150"/>
                  <a:pt x="184" y="150"/>
                  <a:pt x="184" y="150"/>
                </a:cubicBezTo>
                <a:cubicBezTo>
                  <a:pt x="184" y="149"/>
                  <a:pt x="184" y="149"/>
                  <a:pt x="183" y="149"/>
                </a:cubicBezTo>
                <a:cubicBezTo>
                  <a:pt x="183" y="149"/>
                  <a:pt x="183" y="150"/>
                  <a:pt x="183" y="150"/>
                </a:cubicBezTo>
                <a:cubicBezTo>
                  <a:pt x="182" y="150"/>
                  <a:pt x="182" y="150"/>
                  <a:pt x="182" y="150"/>
                </a:cubicBezTo>
                <a:cubicBezTo>
                  <a:pt x="181" y="150"/>
                  <a:pt x="181" y="150"/>
                  <a:pt x="181" y="150"/>
                </a:cubicBezTo>
                <a:cubicBezTo>
                  <a:pt x="180" y="150"/>
                  <a:pt x="180" y="150"/>
                  <a:pt x="180" y="150"/>
                </a:cubicBezTo>
                <a:cubicBezTo>
                  <a:pt x="179" y="150"/>
                  <a:pt x="178" y="150"/>
                  <a:pt x="177" y="150"/>
                </a:cubicBezTo>
                <a:cubicBezTo>
                  <a:pt x="177" y="151"/>
                  <a:pt x="176" y="151"/>
                  <a:pt x="176" y="151"/>
                </a:cubicBezTo>
                <a:cubicBezTo>
                  <a:pt x="176" y="150"/>
                  <a:pt x="175" y="150"/>
                  <a:pt x="175" y="150"/>
                </a:cubicBezTo>
                <a:cubicBezTo>
                  <a:pt x="175" y="150"/>
                  <a:pt x="174" y="150"/>
                  <a:pt x="174" y="150"/>
                </a:cubicBezTo>
                <a:cubicBezTo>
                  <a:pt x="174" y="149"/>
                  <a:pt x="173" y="149"/>
                  <a:pt x="172" y="149"/>
                </a:cubicBezTo>
                <a:cubicBezTo>
                  <a:pt x="170" y="148"/>
                  <a:pt x="172" y="147"/>
                  <a:pt x="172" y="146"/>
                </a:cubicBezTo>
                <a:cubicBezTo>
                  <a:pt x="172" y="145"/>
                  <a:pt x="171" y="144"/>
                  <a:pt x="171" y="145"/>
                </a:cubicBezTo>
                <a:cubicBezTo>
                  <a:pt x="171" y="145"/>
                  <a:pt x="170" y="145"/>
                  <a:pt x="170" y="144"/>
                </a:cubicBezTo>
                <a:cubicBezTo>
                  <a:pt x="170" y="144"/>
                  <a:pt x="171" y="144"/>
                  <a:pt x="170" y="144"/>
                </a:cubicBezTo>
                <a:cubicBezTo>
                  <a:pt x="170" y="144"/>
                  <a:pt x="170" y="143"/>
                  <a:pt x="170" y="143"/>
                </a:cubicBezTo>
                <a:cubicBezTo>
                  <a:pt x="170" y="143"/>
                  <a:pt x="170" y="143"/>
                  <a:pt x="171" y="143"/>
                </a:cubicBezTo>
                <a:cubicBezTo>
                  <a:pt x="169" y="143"/>
                  <a:pt x="171" y="141"/>
                  <a:pt x="170" y="141"/>
                </a:cubicBezTo>
                <a:cubicBezTo>
                  <a:pt x="170" y="141"/>
                  <a:pt x="170" y="142"/>
                  <a:pt x="169" y="141"/>
                </a:cubicBezTo>
                <a:cubicBezTo>
                  <a:pt x="169" y="141"/>
                  <a:pt x="169" y="141"/>
                  <a:pt x="168" y="141"/>
                </a:cubicBezTo>
                <a:cubicBezTo>
                  <a:pt x="167" y="141"/>
                  <a:pt x="165" y="142"/>
                  <a:pt x="165" y="141"/>
                </a:cubicBezTo>
                <a:cubicBezTo>
                  <a:pt x="164" y="140"/>
                  <a:pt x="164" y="140"/>
                  <a:pt x="163" y="140"/>
                </a:cubicBezTo>
                <a:cubicBezTo>
                  <a:pt x="163" y="140"/>
                  <a:pt x="162" y="140"/>
                  <a:pt x="162" y="140"/>
                </a:cubicBezTo>
                <a:cubicBezTo>
                  <a:pt x="161" y="139"/>
                  <a:pt x="161" y="139"/>
                  <a:pt x="160" y="138"/>
                </a:cubicBezTo>
                <a:cubicBezTo>
                  <a:pt x="160" y="138"/>
                  <a:pt x="160" y="138"/>
                  <a:pt x="159" y="139"/>
                </a:cubicBezTo>
                <a:cubicBezTo>
                  <a:pt x="158" y="139"/>
                  <a:pt x="156" y="139"/>
                  <a:pt x="156" y="138"/>
                </a:cubicBezTo>
                <a:cubicBezTo>
                  <a:pt x="155" y="137"/>
                  <a:pt x="156" y="136"/>
                  <a:pt x="153" y="136"/>
                </a:cubicBezTo>
                <a:cubicBezTo>
                  <a:pt x="152" y="136"/>
                  <a:pt x="152" y="137"/>
                  <a:pt x="151" y="138"/>
                </a:cubicBezTo>
                <a:cubicBezTo>
                  <a:pt x="151" y="138"/>
                  <a:pt x="151" y="139"/>
                  <a:pt x="151" y="139"/>
                </a:cubicBezTo>
                <a:cubicBezTo>
                  <a:pt x="151" y="140"/>
                  <a:pt x="150" y="142"/>
                  <a:pt x="148" y="142"/>
                </a:cubicBezTo>
                <a:cubicBezTo>
                  <a:pt x="148" y="142"/>
                  <a:pt x="147" y="141"/>
                  <a:pt x="147" y="141"/>
                </a:cubicBezTo>
                <a:cubicBezTo>
                  <a:pt x="146" y="141"/>
                  <a:pt x="146" y="141"/>
                  <a:pt x="145" y="141"/>
                </a:cubicBezTo>
                <a:cubicBezTo>
                  <a:pt x="144" y="142"/>
                  <a:pt x="142" y="141"/>
                  <a:pt x="141" y="140"/>
                </a:cubicBezTo>
                <a:cubicBezTo>
                  <a:pt x="140" y="140"/>
                  <a:pt x="140" y="141"/>
                  <a:pt x="139" y="141"/>
                </a:cubicBezTo>
                <a:cubicBezTo>
                  <a:pt x="138" y="141"/>
                  <a:pt x="137" y="141"/>
                  <a:pt x="137" y="141"/>
                </a:cubicBezTo>
                <a:cubicBezTo>
                  <a:pt x="136" y="141"/>
                  <a:pt x="136" y="140"/>
                  <a:pt x="135" y="140"/>
                </a:cubicBezTo>
                <a:cubicBezTo>
                  <a:pt x="135" y="140"/>
                  <a:pt x="135" y="141"/>
                  <a:pt x="134" y="140"/>
                </a:cubicBezTo>
                <a:cubicBezTo>
                  <a:pt x="134" y="140"/>
                  <a:pt x="133" y="140"/>
                  <a:pt x="133" y="140"/>
                </a:cubicBezTo>
                <a:cubicBezTo>
                  <a:pt x="133" y="140"/>
                  <a:pt x="132" y="140"/>
                  <a:pt x="132" y="139"/>
                </a:cubicBezTo>
                <a:cubicBezTo>
                  <a:pt x="131" y="139"/>
                  <a:pt x="131" y="137"/>
                  <a:pt x="130" y="136"/>
                </a:cubicBezTo>
                <a:cubicBezTo>
                  <a:pt x="130" y="136"/>
                  <a:pt x="128" y="133"/>
                  <a:pt x="128" y="135"/>
                </a:cubicBezTo>
                <a:cubicBezTo>
                  <a:pt x="127" y="136"/>
                  <a:pt x="125" y="134"/>
                  <a:pt x="125" y="134"/>
                </a:cubicBezTo>
                <a:cubicBezTo>
                  <a:pt x="124" y="133"/>
                  <a:pt x="124" y="133"/>
                  <a:pt x="123" y="134"/>
                </a:cubicBezTo>
                <a:cubicBezTo>
                  <a:pt x="123" y="134"/>
                  <a:pt x="122" y="134"/>
                  <a:pt x="122" y="133"/>
                </a:cubicBezTo>
                <a:cubicBezTo>
                  <a:pt x="121" y="133"/>
                  <a:pt x="121" y="133"/>
                  <a:pt x="120" y="132"/>
                </a:cubicBezTo>
                <a:cubicBezTo>
                  <a:pt x="120" y="132"/>
                  <a:pt x="120" y="131"/>
                  <a:pt x="120" y="131"/>
                </a:cubicBezTo>
                <a:cubicBezTo>
                  <a:pt x="119" y="130"/>
                  <a:pt x="119" y="131"/>
                  <a:pt x="118" y="131"/>
                </a:cubicBezTo>
                <a:cubicBezTo>
                  <a:pt x="118" y="131"/>
                  <a:pt x="117" y="130"/>
                  <a:pt x="117" y="130"/>
                </a:cubicBezTo>
                <a:cubicBezTo>
                  <a:pt x="116" y="131"/>
                  <a:pt x="116" y="131"/>
                  <a:pt x="116" y="132"/>
                </a:cubicBezTo>
                <a:cubicBezTo>
                  <a:pt x="116" y="132"/>
                  <a:pt x="116" y="132"/>
                  <a:pt x="115" y="132"/>
                </a:cubicBezTo>
                <a:cubicBezTo>
                  <a:pt x="115" y="132"/>
                  <a:pt x="114" y="133"/>
                  <a:pt x="114" y="132"/>
                </a:cubicBezTo>
                <a:cubicBezTo>
                  <a:pt x="114" y="132"/>
                  <a:pt x="114" y="132"/>
                  <a:pt x="113" y="131"/>
                </a:cubicBezTo>
                <a:cubicBezTo>
                  <a:pt x="113" y="131"/>
                  <a:pt x="113" y="131"/>
                  <a:pt x="113" y="131"/>
                </a:cubicBezTo>
                <a:cubicBezTo>
                  <a:pt x="112" y="131"/>
                  <a:pt x="112" y="131"/>
                  <a:pt x="112" y="131"/>
                </a:cubicBezTo>
                <a:cubicBezTo>
                  <a:pt x="112" y="131"/>
                  <a:pt x="112" y="132"/>
                  <a:pt x="111" y="132"/>
                </a:cubicBezTo>
                <a:cubicBezTo>
                  <a:pt x="111" y="132"/>
                  <a:pt x="110" y="131"/>
                  <a:pt x="110" y="131"/>
                </a:cubicBezTo>
                <a:cubicBezTo>
                  <a:pt x="109" y="131"/>
                  <a:pt x="109" y="131"/>
                  <a:pt x="109" y="131"/>
                </a:cubicBezTo>
                <a:cubicBezTo>
                  <a:pt x="108" y="131"/>
                  <a:pt x="108" y="131"/>
                  <a:pt x="108" y="131"/>
                </a:cubicBezTo>
                <a:cubicBezTo>
                  <a:pt x="108" y="131"/>
                  <a:pt x="108" y="130"/>
                  <a:pt x="107" y="130"/>
                </a:cubicBezTo>
                <a:cubicBezTo>
                  <a:pt x="106" y="130"/>
                  <a:pt x="106" y="132"/>
                  <a:pt x="105" y="133"/>
                </a:cubicBezTo>
                <a:cubicBezTo>
                  <a:pt x="105" y="133"/>
                  <a:pt x="105" y="134"/>
                  <a:pt x="105" y="135"/>
                </a:cubicBezTo>
                <a:cubicBezTo>
                  <a:pt x="105" y="135"/>
                  <a:pt x="105" y="136"/>
                  <a:pt x="104" y="136"/>
                </a:cubicBezTo>
                <a:cubicBezTo>
                  <a:pt x="104" y="137"/>
                  <a:pt x="103" y="137"/>
                  <a:pt x="103" y="136"/>
                </a:cubicBezTo>
                <a:cubicBezTo>
                  <a:pt x="103" y="136"/>
                  <a:pt x="103" y="136"/>
                  <a:pt x="103" y="137"/>
                </a:cubicBezTo>
                <a:cubicBezTo>
                  <a:pt x="103" y="137"/>
                  <a:pt x="103" y="138"/>
                  <a:pt x="103" y="138"/>
                </a:cubicBezTo>
                <a:cubicBezTo>
                  <a:pt x="102" y="138"/>
                  <a:pt x="101" y="140"/>
                  <a:pt x="101" y="140"/>
                </a:cubicBezTo>
                <a:cubicBezTo>
                  <a:pt x="100" y="140"/>
                  <a:pt x="101" y="139"/>
                  <a:pt x="100" y="139"/>
                </a:cubicBezTo>
                <a:cubicBezTo>
                  <a:pt x="99" y="139"/>
                  <a:pt x="99" y="140"/>
                  <a:pt x="99" y="140"/>
                </a:cubicBezTo>
                <a:cubicBezTo>
                  <a:pt x="99" y="140"/>
                  <a:pt x="99" y="141"/>
                  <a:pt x="99" y="140"/>
                </a:cubicBezTo>
                <a:cubicBezTo>
                  <a:pt x="99" y="140"/>
                  <a:pt x="100" y="140"/>
                  <a:pt x="100" y="140"/>
                </a:cubicBezTo>
                <a:cubicBezTo>
                  <a:pt x="101" y="140"/>
                  <a:pt x="102" y="141"/>
                  <a:pt x="103" y="141"/>
                </a:cubicBezTo>
                <a:cubicBezTo>
                  <a:pt x="103" y="140"/>
                  <a:pt x="104" y="141"/>
                  <a:pt x="105" y="141"/>
                </a:cubicBezTo>
                <a:cubicBezTo>
                  <a:pt x="105" y="140"/>
                  <a:pt x="105" y="140"/>
                  <a:pt x="106" y="140"/>
                </a:cubicBezTo>
                <a:cubicBezTo>
                  <a:pt x="107" y="140"/>
                  <a:pt x="107" y="141"/>
                  <a:pt x="108" y="141"/>
                </a:cubicBezTo>
                <a:cubicBezTo>
                  <a:pt x="109" y="142"/>
                  <a:pt x="109" y="142"/>
                  <a:pt x="109" y="142"/>
                </a:cubicBezTo>
                <a:cubicBezTo>
                  <a:pt x="110" y="142"/>
                  <a:pt x="110" y="142"/>
                  <a:pt x="110" y="142"/>
                </a:cubicBezTo>
                <a:cubicBezTo>
                  <a:pt x="111" y="142"/>
                  <a:pt x="112" y="142"/>
                  <a:pt x="111" y="143"/>
                </a:cubicBezTo>
                <a:cubicBezTo>
                  <a:pt x="110" y="144"/>
                  <a:pt x="109" y="145"/>
                  <a:pt x="110" y="146"/>
                </a:cubicBezTo>
                <a:cubicBezTo>
                  <a:pt x="110" y="146"/>
                  <a:pt x="111" y="146"/>
                  <a:pt x="111" y="146"/>
                </a:cubicBezTo>
                <a:cubicBezTo>
                  <a:pt x="111" y="147"/>
                  <a:pt x="112" y="147"/>
                  <a:pt x="112" y="147"/>
                </a:cubicBezTo>
                <a:cubicBezTo>
                  <a:pt x="114" y="147"/>
                  <a:pt x="115" y="147"/>
                  <a:pt x="116" y="147"/>
                </a:cubicBezTo>
                <a:cubicBezTo>
                  <a:pt x="117" y="147"/>
                  <a:pt x="118" y="148"/>
                  <a:pt x="119" y="148"/>
                </a:cubicBezTo>
                <a:cubicBezTo>
                  <a:pt x="120" y="148"/>
                  <a:pt x="121" y="148"/>
                  <a:pt x="122" y="149"/>
                </a:cubicBezTo>
                <a:cubicBezTo>
                  <a:pt x="122" y="149"/>
                  <a:pt x="122" y="149"/>
                  <a:pt x="122" y="149"/>
                </a:cubicBezTo>
                <a:cubicBezTo>
                  <a:pt x="123" y="150"/>
                  <a:pt x="123" y="150"/>
                  <a:pt x="123" y="150"/>
                </a:cubicBezTo>
                <a:cubicBezTo>
                  <a:pt x="124" y="150"/>
                  <a:pt x="125" y="150"/>
                  <a:pt x="126" y="151"/>
                </a:cubicBezTo>
                <a:cubicBezTo>
                  <a:pt x="127" y="151"/>
                  <a:pt x="128" y="151"/>
                  <a:pt x="129" y="151"/>
                </a:cubicBezTo>
                <a:cubicBezTo>
                  <a:pt x="130" y="151"/>
                  <a:pt x="130" y="150"/>
                  <a:pt x="130" y="150"/>
                </a:cubicBezTo>
                <a:cubicBezTo>
                  <a:pt x="131" y="150"/>
                  <a:pt x="132" y="150"/>
                  <a:pt x="132" y="150"/>
                </a:cubicBezTo>
                <a:cubicBezTo>
                  <a:pt x="132" y="150"/>
                  <a:pt x="132" y="150"/>
                  <a:pt x="133" y="150"/>
                </a:cubicBezTo>
                <a:cubicBezTo>
                  <a:pt x="133" y="150"/>
                  <a:pt x="133" y="149"/>
                  <a:pt x="133" y="149"/>
                </a:cubicBezTo>
                <a:cubicBezTo>
                  <a:pt x="134" y="149"/>
                  <a:pt x="134" y="150"/>
                  <a:pt x="134" y="150"/>
                </a:cubicBezTo>
                <a:cubicBezTo>
                  <a:pt x="134" y="150"/>
                  <a:pt x="135" y="150"/>
                  <a:pt x="135" y="150"/>
                </a:cubicBezTo>
                <a:cubicBezTo>
                  <a:pt x="135" y="150"/>
                  <a:pt x="135" y="150"/>
                  <a:pt x="136" y="150"/>
                </a:cubicBezTo>
                <a:cubicBezTo>
                  <a:pt x="136" y="150"/>
                  <a:pt x="137" y="150"/>
                  <a:pt x="138" y="150"/>
                </a:cubicBezTo>
                <a:cubicBezTo>
                  <a:pt x="138" y="150"/>
                  <a:pt x="138" y="150"/>
                  <a:pt x="139" y="151"/>
                </a:cubicBezTo>
                <a:cubicBezTo>
                  <a:pt x="139" y="151"/>
                  <a:pt x="139" y="151"/>
                  <a:pt x="140" y="151"/>
                </a:cubicBezTo>
                <a:cubicBezTo>
                  <a:pt x="142" y="151"/>
                  <a:pt x="144" y="151"/>
                  <a:pt x="146" y="152"/>
                </a:cubicBezTo>
                <a:cubicBezTo>
                  <a:pt x="147" y="153"/>
                  <a:pt x="148" y="154"/>
                  <a:pt x="150" y="155"/>
                </a:cubicBezTo>
                <a:cubicBezTo>
                  <a:pt x="151" y="155"/>
                  <a:pt x="152" y="155"/>
                  <a:pt x="153" y="156"/>
                </a:cubicBezTo>
                <a:cubicBezTo>
                  <a:pt x="153" y="156"/>
                  <a:pt x="154" y="156"/>
                  <a:pt x="154" y="156"/>
                </a:cubicBezTo>
                <a:cubicBezTo>
                  <a:pt x="155" y="155"/>
                  <a:pt x="155" y="156"/>
                  <a:pt x="155" y="156"/>
                </a:cubicBezTo>
                <a:cubicBezTo>
                  <a:pt x="156" y="156"/>
                  <a:pt x="156" y="156"/>
                  <a:pt x="157" y="156"/>
                </a:cubicBezTo>
                <a:cubicBezTo>
                  <a:pt x="157" y="156"/>
                  <a:pt x="158" y="156"/>
                  <a:pt x="158" y="157"/>
                </a:cubicBezTo>
                <a:cubicBezTo>
                  <a:pt x="159" y="157"/>
                  <a:pt x="160" y="156"/>
                  <a:pt x="160" y="157"/>
                </a:cubicBezTo>
                <a:cubicBezTo>
                  <a:pt x="161" y="158"/>
                  <a:pt x="160" y="157"/>
                  <a:pt x="161" y="157"/>
                </a:cubicBezTo>
                <a:cubicBezTo>
                  <a:pt x="161" y="157"/>
                  <a:pt x="161" y="157"/>
                  <a:pt x="161" y="156"/>
                </a:cubicBezTo>
                <a:cubicBezTo>
                  <a:pt x="161" y="156"/>
                  <a:pt x="162" y="156"/>
                  <a:pt x="162" y="156"/>
                </a:cubicBezTo>
                <a:cubicBezTo>
                  <a:pt x="163" y="157"/>
                  <a:pt x="163" y="156"/>
                  <a:pt x="164" y="156"/>
                </a:cubicBezTo>
                <a:cubicBezTo>
                  <a:pt x="165" y="157"/>
                  <a:pt x="166" y="156"/>
                  <a:pt x="167" y="157"/>
                </a:cubicBezTo>
                <a:cubicBezTo>
                  <a:pt x="168" y="158"/>
                  <a:pt x="168" y="158"/>
                  <a:pt x="169" y="158"/>
                </a:cubicBezTo>
                <a:cubicBezTo>
                  <a:pt x="170" y="158"/>
                  <a:pt x="170" y="158"/>
                  <a:pt x="171" y="157"/>
                </a:cubicBezTo>
                <a:cubicBezTo>
                  <a:pt x="171" y="157"/>
                  <a:pt x="172" y="157"/>
                  <a:pt x="172" y="157"/>
                </a:cubicBezTo>
                <a:cubicBezTo>
                  <a:pt x="172" y="158"/>
                  <a:pt x="173" y="157"/>
                  <a:pt x="173" y="157"/>
                </a:cubicBezTo>
                <a:cubicBezTo>
                  <a:pt x="174" y="156"/>
                  <a:pt x="175" y="156"/>
                  <a:pt x="175" y="156"/>
                </a:cubicBezTo>
                <a:cubicBezTo>
                  <a:pt x="176" y="156"/>
                  <a:pt x="176" y="157"/>
                  <a:pt x="177" y="157"/>
                </a:cubicBezTo>
                <a:cubicBezTo>
                  <a:pt x="177" y="157"/>
                  <a:pt x="177" y="157"/>
                  <a:pt x="178" y="157"/>
                </a:cubicBezTo>
                <a:cubicBezTo>
                  <a:pt x="178" y="157"/>
                  <a:pt x="178" y="158"/>
                  <a:pt x="178" y="158"/>
                </a:cubicBezTo>
                <a:cubicBezTo>
                  <a:pt x="179" y="158"/>
                  <a:pt x="179" y="158"/>
                  <a:pt x="179" y="158"/>
                </a:cubicBezTo>
                <a:cubicBezTo>
                  <a:pt x="180" y="159"/>
                  <a:pt x="180" y="159"/>
                  <a:pt x="180" y="159"/>
                </a:cubicBezTo>
                <a:cubicBezTo>
                  <a:pt x="180" y="159"/>
                  <a:pt x="180" y="159"/>
                  <a:pt x="181" y="159"/>
                </a:cubicBezTo>
                <a:cubicBezTo>
                  <a:pt x="181" y="159"/>
                  <a:pt x="181" y="159"/>
                  <a:pt x="181" y="159"/>
                </a:cubicBezTo>
                <a:cubicBezTo>
                  <a:pt x="181" y="159"/>
                  <a:pt x="181" y="159"/>
                  <a:pt x="182" y="159"/>
                </a:cubicBezTo>
                <a:cubicBezTo>
                  <a:pt x="182" y="160"/>
                  <a:pt x="182" y="159"/>
                  <a:pt x="182" y="160"/>
                </a:cubicBezTo>
                <a:cubicBezTo>
                  <a:pt x="182" y="160"/>
                  <a:pt x="182" y="160"/>
                  <a:pt x="183" y="160"/>
                </a:cubicBezTo>
                <a:cubicBezTo>
                  <a:pt x="183" y="160"/>
                  <a:pt x="183" y="160"/>
                  <a:pt x="183" y="160"/>
                </a:cubicBezTo>
                <a:cubicBezTo>
                  <a:pt x="183" y="160"/>
                  <a:pt x="184" y="160"/>
                  <a:pt x="184" y="160"/>
                </a:cubicBezTo>
                <a:cubicBezTo>
                  <a:pt x="184" y="160"/>
                  <a:pt x="185" y="160"/>
                  <a:pt x="185" y="160"/>
                </a:cubicBezTo>
                <a:cubicBezTo>
                  <a:pt x="186" y="160"/>
                  <a:pt x="187" y="161"/>
                  <a:pt x="186" y="161"/>
                </a:cubicBezTo>
                <a:cubicBezTo>
                  <a:pt x="186" y="161"/>
                  <a:pt x="187" y="161"/>
                  <a:pt x="187" y="161"/>
                </a:cubicBezTo>
                <a:cubicBezTo>
                  <a:pt x="187" y="162"/>
                  <a:pt x="189" y="162"/>
                  <a:pt x="188" y="161"/>
                </a:cubicBezTo>
                <a:cubicBezTo>
                  <a:pt x="188" y="160"/>
                  <a:pt x="188" y="160"/>
                  <a:pt x="187" y="160"/>
                </a:cubicBezTo>
                <a:close/>
                <a:moveTo>
                  <a:pt x="236" y="160"/>
                </a:moveTo>
                <a:cubicBezTo>
                  <a:pt x="237" y="160"/>
                  <a:pt x="236" y="159"/>
                  <a:pt x="236" y="159"/>
                </a:cubicBezTo>
                <a:cubicBezTo>
                  <a:pt x="236" y="159"/>
                  <a:pt x="236" y="158"/>
                  <a:pt x="236" y="158"/>
                </a:cubicBezTo>
                <a:cubicBezTo>
                  <a:pt x="235" y="158"/>
                  <a:pt x="235" y="158"/>
                  <a:pt x="235" y="158"/>
                </a:cubicBezTo>
                <a:cubicBezTo>
                  <a:pt x="235" y="158"/>
                  <a:pt x="235" y="158"/>
                  <a:pt x="235" y="159"/>
                </a:cubicBezTo>
                <a:cubicBezTo>
                  <a:pt x="235" y="159"/>
                  <a:pt x="235" y="159"/>
                  <a:pt x="235" y="159"/>
                </a:cubicBezTo>
                <a:cubicBezTo>
                  <a:pt x="234" y="160"/>
                  <a:pt x="235" y="160"/>
                  <a:pt x="235" y="160"/>
                </a:cubicBezTo>
                <a:cubicBezTo>
                  <a:pt x="235" y="161"/>
                  <a:pt x="234" y="161"/>
                  <a:pt x="234" y="161"/>
                </a:cubicBezTo>
                <a:cubicBezTo>
                  <a:pt x="234" y="161"/>
                  <a:pt x="235" y="161"/>
                  <a:pt x="235" y="161"/>
                </a:cubicBezTo>
                <a:cubicBezTo>
                  <a:pt x="235" y="161"/>
                  <a:pt x="235" y="161"/>
                  <a:pt x="235" y="160"/>
                </a:cubicBezTo>
                <a:cubicBezTo>
                  <a:pt x="235" y="160"/>
                  <a:pt x="235" y="160"/>
                  <a:pt x="235" y="160"/>
                </a:cubicBezTo>
                <a:cubicBezTo>
                  <a:pt x="236" y="160"/>
                  <a:pt x="236" y="160"/>
                  <a:pt x="235" y="160"/>
                </a:cubicBezTo>
                <a:cubicBezTo>
                  <a:pt x="235" y="159"/>
                  <a:pt x="236" y="160"/>
                  <a:pt x="236" y="160"/>
                </a:cubicBezTo>
                <a:close/>
                <a:moveTo>
                  <a:pt x="221" y="21"/>
                </a:moveTo>
                <a:cubicBezTo>
                  <a:pt x="222" y="20"/>
                  <a:pt x="221" y="19"/>
                  <a:pt x="220" y="20"/>
                </a:cubicBezTo>
                <a:cubicBezTo>
                  <a:pt x="219" y="21"/>
                  <a:pt x="221" y="22"/>
                  <a:pt x="221" y="21"/>
                </a:cubicBezTo>
                <a:close/>
                <a:moveTo>
                  <a:pt x="130" y="24"/>
                </a:moveTo>
                <a:cubicBezTo>
                  <a:pt x="130" y="24"/>
                  <a:pt x="129" y="24"/>
                  <a:pt x="129" y="24"/>
                </a:cubicBezTo>
                <a:cubicBezTo>
                  <a:pt x="129" y="24"/>
                  <a:pt x="128" y="24"/>
                  <a:pt x="128" y="24"/>
                </a:cubicBezTo>
                <a:cubicBezTo>
                  <a:pt x="128" y="25"/>
                  <a:pt x="129" y="25"/>
                  <a:pt x="130" y="25"/>
                </a:cubicBezTo>
                <a:cubicBezTo>
                  <a:pt x="130" y="25"/>
                  <a:pt x="130" y="24"/>
                  <a:pt x="131" y="23"/>
                </a:cubicBezTo>
                <a:cubicBezTo>
                  <a:pt x="131" y="23"/>
                  <a:pt x="131" y="23"/>
                  <a:pt x="131" y="22"/>
                </a:cubicBezTo>
                <a:cubicBezTo>
                  <a:pt x="130" y="22"/>
                  <a:pt x="131" y="22"/>
                  <a:pt x="131" y="22"/>
                </a:cubicBezTo>
                <a:cubicBezTo>
                  <a:pt x="131" y="21"/>
                  <a:pt x="129" y="20"/>
                  <a:pt x="129" y="19"/>
                </a:cubicBezTo>
                <a:cubicBezTo>
                  <a:pt x="129" y="18"/>
                  <a:pt x="129" y="19"/>
                  <a:pt x="128" y="20"/>
                </a:cubicBezTo>
                <a:cubicBezTo>
                  <a:pt x="128" y="20"/>
                  <a:pt x="128" y="20"/>
                  <a:pt x="127" y="21"/>
                </a:cubicBezTo>
                <a:cubicBezTo>
                  <a:pt x="127" y="21"/>
                  <a:pt x="127" y="22"/>
                  <a:pt x="128" y="23"/>
                </a:cubicBezTo>
                <a:cubicBezTo>
                  <a:pt x="128" y="23"/>
                  <a:pt x="129" y="23"/>
                  <a:pt x="130" y="24"/>
                </a:cubicBezTo>
                <a:close/>
                <a:moveTo>
                  <a:pt x="264" y="70"/>
                </a:moveTo>
                <a:cubicBezTo>
                  <a:pt x="265" y="70"/>
                  <a:pt x="265" y="69"/>
                  <a:pt x="265" y="69"/>
                </a:cubicBezTo>
                <a:cubicBezTo>
                  <a:pt x="265" y="69"/>
                  <a:pt x="265" y="69"/>
                  <a:pt x="265" y="68"/>
                </a:cubicBezTo>
                <a:cubicBezTo>
                  <a:pt x="264" y="68"/>
                  <a:pt x="264" y="69"/>
                  <a:pt x="264" y="70"/>
                </a:cubicBezTo>
                <a:close/>
                <a:moveTo>
                  <a:pt x="94" y="65"/>
                </a:moveTo>
                <a:cubicBezTo>
                  <a:pt x="94" y="64"/>
                  <a:pt x="94" y="64"/>
                  <a:pt x="93" y="63"/>
                </a:cubicBezTo>
                <a:cubicBezTo>
                  <a:pt x="93" y="63"/>
                  <a:pt x="94" y="64"/>
                  <a:pt x="93" y="64"/>
                </a:cubicBezTo>
                <a:cubicBezTo>
                  <a:pt x="93" y="64"/>
                  <a:pt x="93" y="65"/>
                  <a:pt x="94" y="65"/>
                </a:cubicBezTo>
                <a:close/>
                <a:moveTo>
                  <a:pt x="260" y="67"/>
                </a:moveTo>
                <a:cubicBezTo>
                  <a:pt x="260" y="68"/>
                  <a:pt x="260" y="67"/>
                  <a:pt x="260" y="67"/>
                </a:cubicBezTo>
                <a:cubicBezTo>
                  <a:pt x="260" y="66"/>
                  <a:pt x="259" y="67"/>
                  <a:pt x="260" y="67"/>
                </a:cubicBezTo>
                <a:close/>
                <a:moveTo>
                  <a:pt x="346" y="68"/>
                </a:moveTo>
                <a:cubicBezTo>
                  <a:pt x="346" y="68"/>
                  <a:pt x="346" y="68"/>
                  <a:pt x="347" y="69"/>
                </a:cubicBezTo>
                <a:cubicBezTo>
                  <a:pt x="347" y="69"/>
                  <a:pt x="347" y="70"/>
                  <a:pt x="347" y="70"/>
                </a:cubicBezTo>
                <a:cubicBezTo>
                  <a:pt x="347" y="70"/>
                  <a:pt x="347" y="69"/>
                  <a:pt x="347" y="69"/>
                </a:cubicBezTo>
                <a:cubicBezTo>
                  <a:pt x="348" y="69"/>
                  <a:pt x="348" y="69"/>
                  <a:pt x="348" y="69"/>
                </a:cubicBezTo>
                <a:cubicBezTo>
                  <a:pt x="348" y="70"/>
                  <a:pt x="349" y="70"/>
                  <a:pt x="350" y="70"/>
                </a:cubicBezTo>
                <a:cubicBezTo>
                  <a:pt x="351" y="70"/>
                  <a:pt x="350" y="68"/>
                  <a:pt x="349" y="69"/>
                </a:cubicBezTo>
                <a:cubicBezTo>
                  <a:pt x="348" y="69"/>
                  <a:pt x="348" y="68"/>
                  <a:pt x="348" y="67"/>
                </a:cubicBezTo>
                <a:cubicBezTo>
                  <a:pt x="348" y="67"/>
                  <a:pt x="347" y="67"/>
                  <a:pt x="348" y="66"/>
                </a:cubicBezTo>
                <a:cubicBezTo>
                  <a:pt x="347" y="66"/>
                  <a:pt x="348" y="66"/>
                  <a:pt x="348" y="66"/>
                </a:cubicBezTo>
                <a:cubicBezTo>
                  <a:pt x="348" y="66"/>
                  <a:pt x="349" y="67"/>
                  <a:pt x="349" y="67"/>
                </a:cubicBezTo>
                <a:cubicBezTo>
                  <a:pt x="349" y="67"/>
                  <a:pt x="349" y="68"/>
                  <a:pt x="349" y="68"/>
                </a:cubicBezTo>
                <a:cubicBezTo>
                  <a:pt x="350" y="68"/>
                  <a:pt x="350" y="68"/>
                  <a:pt x="350" y="68"/>
                </a:cubicBezTo>
                <a:cubicBezTo>
                  <a:pt x="350" y="68"/>
                  <a:pt x="350" y="68"/>
                  <a:pt x="350" y="69"/>
                </a:cubicBezTo>
                <a:cubicBezTo>
                  <a:pt x="351" y="70"/>
                  <a:pt x="351" y="69"/>
                  <a:pt x="352" y="69"/>
                </a:cubicBezTo>
                <a:cubicBezTo>
                  <a:pt x="353" y="69"/>
                  <a:pt x="353" y="70"/>
                  <a:pt x="354" y="69"/>
                </a:cubicBezTo>
                <a:cubicBezTo>
                  <a:pt x="354" y="69"/>
                  <a:pt x="355" y="69"/>
                  <a:pt x="354" y="68"/>
                </a:cubicBezTo>
                <a:cubicBezTo>
                  <a:pt x="354" y="68"/>
                  <a:pt x="354" y="67"/>
                  <a:pt x="354" y="67"/>
                </a:cubicBezTo>
                <a:cubicBezTo>
                  <a:pt x="354" y="67"/>
                  <a:pt x="353" y="67"/>
                  <a:pt x="353" y="67"/>
                </a:cubicBezTo>
                <a:cubicBezTo>
                  <a:pt x="353" y="67"/>
                  <a:pt x="353" y="66"/>
                  <a:pt x="352" y="66"/>
                </a:cubicBezTo>
                <a:cubicBezTo>
                  <a:pt x="351" y="66"/>
                  <a:pt x="352" y="66"/>
                  <a:pt x="352" y="66"/>
                </a:cubicBezTo>
                <a:cubicBezTo>
                  <a:pt x="351" y="66"/>
                  <a:pt x="351" y="66"/>
                  <a:pt x="351" y="66"/>
                </a:cubicBezTo>
                <a:cubicBezTo>
                  <a:pt x="350" y="66"/>
                  <a:pt x="350" y="65"/>
                  <a:pt x="349" y="65"/>
                </a:cubicBezTo>
                <a:cubicBezTo>
                  <a:pt x="349" y="65"/>
                  <a:pt x="348" y="66"/>
                  <a:pt x="349" y="66"/>
                </a:cubicBezTo>
                <a:cubicBezTo>
                  <a:pt x="349" y="66"/>
                  <a:pt x="348" y="66"/>
                  <a:pt x="348" y="66"/>
                </a:cubicBezTo>
                <a:cubicBezTo>
                  <a:pt x="347" y="66"/>
                  <a:pt x="347" y="66"/>
                  <a:pt x="347" y="66"/>
                </a:cubicBezTo>
                <a:cubicBezTo>
                  <a:pt x="346" y="66"/>
                  <a:pt x="346" y="66"/>
                  <a:pt x="346" y="66"/>
                </a:cubicBezTo>
                <a:cubicBezTo>
                  <a:pt x="346" y="66"/>
                  <a:pt x="345" y="66"/>
                  <a:pt x="346" y="66"/>
                </a:cubicBezTo>
                <a:cubicBezTo>
                  <a:pt x="345" y="66"/>
                  <a:pt x="345" y="66"/>
                  <a:pt x="345" y="66"/>
                </a:cubicBezTo>
                <a:cubicBezTo>
                  <a:pt x="345" y="66"/>
                  <a:pt x="345" y="67"/>
                  <a:pt x="345" y="67"/>
                </a:cubicBezTo>
                <a:cubicBezTo>
                  <a:pt x="345" y="66"/>
                  <a:pt x="345" y="66"/>
                  <a:pt x="344" y="66"/>
                </a:cubicBezTo>
                <a:cubicBezTo>
                  <a:pt x="344" y="67"/>
                  <a:pt x="344" y="67"/>
                  <a:pt x="345" y="67"/>
                </a:cubicBezTo>
                <a:cubicBezTo>
                  <a:pt x="345" y="67"/>
                  <a:pt x="345" y="67"/>
                  <a:pt x="345" y="67"/>
                </a:cubicBezTo>
                <a:cubicBezTo>
                  <a:pt x="345" y="67"/>
                  <a:pt x="345" y="67"/>
                  <a:pt x="345" y="67"/>
                </a:cubicBezTo>
                <a:cubicBezTo>
                  <a:pt x="346" y="67"/>
                  <a:pt x="345" y="68"/>
                  <a:pt x="345" y="68"/>
                </a:cubicBezTo>
                <a:cubicBezTo>
                  <a:pt x="344" y="68"/>
                  <a:pt x="344" y="67"/>
                  <a:pt x="344" y="68"/>
                </a:cubicBezTo>
                <a:cubicBezTo>
                  <a:pt x="343" y="68"/>
                  <a:pt x="345" y="68"/>
                  <a:pt x="346" y="68"/>
                </a:cubicBezTo>
                <a:close/>
                <a:moveTo>
                  <a:pt x="339" y="115"/>
                </a:moveTo>
                <a:cubicBezTo>
                  <a:pt x="339" y="115"/>
                  <a:pt x="339" y="115"/>
                  <a:pt x="339" y="115"/>
                </a:cubicBezTo>
                <a:cubicBezTo>
                  <a:pt x="339" y="115"/>
                  <a:pt x="339" y="115"/>
                  <a:pt x="339" y="115"/>
                </a:cubicBezTo>
                <a:close/>
                <a:moveTo>
                  <a:pt x="356" y="115"/>
                </a:moveTo>
                <a:cubicBezTo>
                  <a:pt x="356" y="115"/>
                  <a:pt x="356" y="114"/>
                  <a:pt x="356" y="114"/>
                </a:cubicBezTo>
                <a:cubicBezTo>
                  <a:pt x="355" y="114"/>
                  <a:pt x="356" y="115"/>
                  <a:pt x="356" y="115"/>
                </a:cubicBezTo>
                <a:close/>
                <a:moveTo>
                  <a:pt x="290" y="164"/>
                </a:moveTo>
                <a:cubicBezTo>
                  <a:pt x="289" y="164"/>
                  <a:pt x="289" y="165"/>
                  <a:pt x="288" y="165"/>
                </a:cubicBezTo>
                <a:cubicBezTo>
                  <a:pt x="288" y="165"/>
                  <a:pt x="288" y="164"/>
                  <a:pt x="288" y="164"/>
                </a:cubicBezTo>
                <a:cubicBezTo>
                  <a:pt x="287" y="164"/>
                  <a:pt x="286" y="164"/>
                  <a:pt x="286" y="165"/>
                </a:cubicBezTo>
                <a:cubicBezTo>
                  <a:pt x="285" y="166"/>
                  <a:pt x="285" y="166"/>
                  <a:pt x="284" y="166"/>
                </a:cubicBezTo>
                <a:cubicBezTo>
                  <a:pt x="283" y="166"/>
                  <a:pt x="283" y="167"/>
                  <a:pt x="283" y="168"/>
                </a:cubicBezTo>
                <a:cubicBezTo>
                  <a:pt x="283" y="168"/>
                  <a:pt x="282" y="168"/>
                  <a:pt x="282" y="169"/>
                </a:cubicBezTo>
                <a:cubicBezTo>
                  <a:pt x="282" y="169"/>
                  <a:pt x="282" y="170"/>
                  <a:pt x="281" y="170"/>
                </a:cubicBezTo>
                <a:cubicBezTo>
                  <a:pt x="281" y="170"/>
                  <a:pt x="281" y="169"/>
                  <a:pt x="281" y="169"/>
                </a:cubicBezTo>
                <a:cubicBezTo>
                  <a:pt x="281" y="169"/>
                  <a:pt x="281" y="168"/>
                  <a:pt x="280" y="168"/>
                </a:cubicBezTo>
                <a:cubicBezTo>
                  <a:pt x="280" y="169"/>
                  <a:pt x="280" y="169"/>
                  <a:pt x="280" y="169"/>
                </a:cubicBezTo>
                <a:cubicBezTo>
                  <a:pt x="279" y="168"/>
                  <a:pt x="279" y="168"/>
                  <a:pt x="278" y="168"/>
                </a:cubicBezTo>
                <a:cubicBezTo>
                  <a:pt x="278" y="169"/>
                  <a:pt x="277" y="169"/>
                  <a:pt x="277" y="170"/>
                </a:cubicBezTo>
                <a:cubicBezTo>
                  <a:pt x="276" y="170"/>
                  <a:pt x="275" y="171"/>
                  <a:pt x="275" y="171"/>
                </a:cubicBezTo>
                <a:cubicBezTo>
                  <a:pt x="275" y="172"/>
                  <a:pt x="275" y="172"/>
                  <a:pt x="275" y="172"/>
                </a:cubicBezTo>
                <a:cubicBezTo>
                  <a:pt x="275" y="173"/>
                  <a:pt x="275" y="173"/>
                  <a:pt x="275" y="173"/>
                </a:cubicBezTo>
                <a:cubicBezTo>
                  <a:pt x="275" y="174"/>
                  <a:pt x="274" y="174"/>
                  <a:pt x="274" y="175"/>
                </a:cubicBezTo>
                <a:cubicBezTo>
                  <a:pt x="274" y="175"/>
                  <a:pt x="274" y="175"/>
                  <a:pt x="274" y="176"/>
                </a:cubicBezTo>
                <a:cubicBezTo>
                  <a:pt x="274" y="176"/>
                  <a:pt x="275" y="175"/>
                  <a:pt x="275" y="175"/>
                </a:cubicBezTo>
                <a:cubicBezTo>
                  <a:pt x="275" y="175"/>
                  <a:pt x="276" y="176"/>
                  <a:pt x="275" y="176"/>
                </a:cubicBezTo>
                <a:cubicBezTo>
                  <a:pt x="275" y="177"/>
                  <a:pt x="274" y="177"/>
                  <a:pt x="274" y="177"/>
                </a:cubicBezTo>
                <a:cubicBezTo>
                  <a:pt x="273" y="177"/>
                  <a:pt x="273" y="179"/>
                  <a:pt x="273" y="179"/>
                </a:cubicBezTo>
                <a:cubicBezTo>
                  <a:pt x="273" y="179"/>
                  <a:pt x="274" y="179"/>
                  <a:pt x="274" y="179"/>
                </a:cubicBezTo>
                <a:cubicBezTo>
                  <a:pt x="275" y="179"/>
                  <a:pt x="276" y="179"/>
                  <a:pt x="276" y="179"/>
                </a:cubicBezTo>
                <a:cubicBezTo>
                  <a:pt x="277" y="179"/>
                  <a:pt x="277" y="178"/>
                  <a:pt x="277" y="178"/>
                </a:cubicBezTo>
                <a:cubicBezTo>
                  <a:pt x="278" y="178"/>
                  <a:pt x="278" y="178"/>
                  <a:pt x="278" y="178"/>
                </a:cubicBezTo>
                <a:cubicBezTo>
                  <a:pt x="279" y="177"/>
                  <a:pt x="279" y="177"/>
                  <a:pt x="280" y="177"/>
                </a:cubicBezTo>
                <a:cubicBezTo>
                  <a:pt x="281" y="177"/>
                  <a:pt x="282" y="177"/>
                  <a:pt x="282" y="177"/>
                </a:cubicBezTo>
                <a:cubicBezTo>
                  <a:pt x="283" y="177"/>
                  <a:pt x="283" y="176"/>
                  <a:pt x="283" y="176"/>
                </a:cubicBezTo>
                <a:cubicBezTo>
                  <a:pt x="284" y="175"/>
                  <a:pt x="285" y="175"/>
                  <a:pt x="285" y="174"/>
                </a:cubicBezTo>
                <a:cubicBezTo>
                  <a:pt x="286" y="174"/>
                  <a:pt x="286" y="173"/>
                  <a:pt x="286" y="173"/>
                </a:cubicBezTo>
                <a:cubicBezTo>
                  <a:pt x="286" y="173"/>
                  <a:pt x="287" y="172"/>
                  <a:pt x="287" y="172"/>
                </a:cubicBezTo>
                <a:cubicBezTo>
                  <a:pt x="288" y="171"/>
                  <a:pt x="288" y="171"/>
                  <a:pt x="288" y="170"/>
                </a:cubicBezTo>
                <a:cubicBezTo>
                  <a:pt x="288" y="170"/>
                  <a:pt x="289" y="170"/>
                  <a:pt x="289" y="169"/>
                </a:cubicBezTo>
                <a:cubicBezTo>
                  <a:pt x="289" y="168"/>
                  <a:pt x="288" y="168"/>
                  <a:pt x="288" y="167"/>
                </a:cubicBezTo>
                <a:cubicBezTo>
                  <a:pt x="288" y="166"/>
                  <a:pt x="289" y="166"/>
                  <a:pt x="289" y="166"/>
                </a:cubicBezTo>
                <a:cubicBezTo>
                  <a:pt x="289" y="166"/>
                  <a:pt x="290" y="166"/>
                  <a:pt x="290" y="166"/>
                </a:cubicBezTo>
                <a:cubicBezTo>
                  <a:pt x="290" y="165"/>
                  <a:pt x="291" y="164"/>
                  <a:pt x="290" y="164"/>
                </a:cubicBezTo>
                <a:close/>
                <a:moveTo>
                  <a:pt x="125" y="32"/>
                </a:moveTo>
                <a:cubicBezTo>
                  <a:pt x="126" y="33"/>
                  <a:pt x="125" y="31"/>
                  <a:pt x="125" y="32"/>
                </a:cubicBezTo>
                <a:close/>
                <a:moveTo>
                  <a:pt x="54" y="98"/>
                </a:moveTo>
                <a:cubicBezTo>
                  <a:pt x="54" y="98"/>
                  <a:pt x="53" y="97"/>
                  <a:pt x="53" y="97"/>
                </a:cubicBezTo>
                <a:cubicBezTo>
                  <a:pt x="52" y="96"/>
                  <a:pt x="52" y="95"/>
                  <a:pt x="51" y="96"/>
                </a:cubicBezTo>
                <a:cubicBezTo>
                  <a:pt x="51" y="96"/>
                  <a:pt x="51" y="97"/>
                  <a:pt x="52" y="97"/>
                </a:cubicBezTo>
                <a:cubicBezTo>
                  <a:pt x="52" y="98"/>
                  <a:pt x="52" y="99"/>
                  <a:pt x="52" y="99"/>
                </a:cubicBezTo>
                <a:cubicBezTo>
                  <a:pt x="53" y="99"/>
                  <a:pt x="53" y="100"/>
                  <a:pt x="53" y="101"/>
                </a:cubicBezTo>
                <a:cubicBezTo>
                  <a:pt x="53" y="101"/>
                  <a:pt x="53" y="101"/>
                  <a:pt x="53" y="101"/>
                </a:cubicBezTo>
                <a:cubicBezTo>
                  <a:pt x="54" y="101"/>
                  <a:pt x="54" y="102"/>
                  <a:pt x="54" y="102"/>
                </a:cubicBezTo>
                <a:cubicBezTo>
                  <a:pt x="55" y="102"/>
                  <a:pt x="53" y="100"/>
                  <a:pt x="54" y="100"/>
                </a:cubicBezTo>
                <a:cubicBezTo>
                  <a:pt x="54" y="99"/>
                  <a:pt x="54" y="99"/>
                  <a:pt x="54" y="98"/>
                </a:cubicBezTo>
                <a:close/>
                <a:moveTo>
                  <a:pt x="260" y="123"/>
                </a:moveTo>
                <a:cubicBezTo>
                  <a:pt x="260" y="123"/>
                  <a:pt x="261" y="124"/>
                  <a:pt x="261" y="124"/>
                </a:cubicBezTo>
                <a:cubicBezTo>
                  <a:pt x="261" y="125"/>
                  <a:pt x="261" y="125"/>
                  <a:pt x="262" y="125"/>
                </a:cubicBezTo>
                <a:cubicBezTo>
                  <a:pt x="262" y="126"/>
                  <a:pt x="263" y="124"/>
                  <a:pt x="263" y="123"/>
                </a:cubicBezTo>
                <a:cubicBezTo>
                  <a:pt x="263" y="123"/>
                  <a:pt x="263" y="122"/>
                  <a:pt x="263" y="122"/>
                </a:cubicBezTo>
                <a:cubicBezTo>
                  <a:pt x="262" y="122"/>
                  <a:pt x="262" y="121"/>
                  <a:pt x="262" y="121"/>
                </a:cubicBezTo>
                <a:cubicBezTo>
                  <a:pt x="262" y="121"/>
                  <a:pt x="261" y="122"/>
                  <a:pt x="261" y="121"/>
                </a:cubicBezTo>
                <a:cubicBezTo>
                  <a:pt x="261" y="121"/>
                  <a:pt x="261" y="121"/>
                  <a:pt x="261" y="122"/>
                </a:cubicBezTo>
                <a:cubicBezTo>
                  <a:pt x="261" y="122"/>
                  <a:pt x="260" y="122"/>
                  <a:pt x="260" y="123"/>
                </a:cubicBezTo>
                <a:close/>
                <a:moveTo>
                  <a:pt x="233" y="95"/>
                </a:moveTo>
                <a:cubicBezTo>
                  <a:pt x="233" y="94"/>
                  <a:pt x="233" y="94"/>
                  <a:pt x="232" y="94"/>
                </a:cubicBezTo>
                <a:cubicBezTo>
                  <a:pt x="232" y="94"/>
                  <a:pt x="231" y="96"/>
                  <a:pt x="232" y="97"/>
                </a:cubicBezTo>
                <a:cubicBezTo>
                  <a:pt x="232" y="97"/>
                  <a:pt x="233" y="96"/>
                  <a:pt x="233" y="97"/>
                </a:cubicBezTo>
                <a:cubicBezTo>
                  <a:pt x="233" y="98"/>
                  <a:pt x="233" y="99"/>
                  <a:pt x="232" y="99"/>
                </a:cubicBezTo>
                <a:cubicBezTo>
                  <a:pt x="231" y="99"/>
                  <a:pt x="232" y="101"/>
                  <a:pt x="232" y="101"/>
                </a:cubicBezTo>
                <a:cubicBezTo>
                  <a:pt x="232" y="102"/>
                  <a:pt x="233" y="105"/>
                  <a:pt x="234" y="104"/>
                </a:cubicBezTo>
                <a:cubicBezTo>
                  <a:pt x="234" y="104"/>
                  <a:pt x="234" y="104"/>
                  <a:pt x="234" y="104"/>
                </a:cubicBezTo>
                <a:cubicBezTo>
                  <a:pt x="234" y="104"/>
                  <a:pt x="234" y="104"/>
                  <a:pt x="235" y="104"/>
                </a:cubicBezTo>
                <a:cubicBezTo>
                  <a:pt x="235" y="104"/>
                  <a:pt x="236" y="104"/>
                  <a:pt x="236" y="103"/>
                </a:cubicBezTo>
                <a:cubicBezTo>
                  <a:pt x="237" y="103"/>
                  <a:pt x="237" y="103"/>
                  <a:pt x="237" y="103"/>
                </a:cubicBezTo>
                <a:cubicBezTo>
                  <a:pt x="238" y="103"/>
                  <a:pt x="238" y="103"/>
                  <a:pt x="239" y="104"/>
                </a:cubicBezTo>
                <a:cubicBezTo>
                  <a:pt x="239" y="104"/>
                  <a:pt x="238" y="105"/>
                  <a:pt x="238" y="106"/>
                </a:cubicBezTo>
                <a:cubicBezTo>
                  <a:pt x="238" y="107"/>
                  <a:pt x="239" y="108"/>
                  <a:pt x="239" y="109"/>
                </a:cubicBezTo>
                <a:cubicBezTo>
                  <a:pt x="239" y="109"/>
                  <a:pt x="240" y="109"/>
                  <a:pt x="240" y="109"/>
                </a:cubicBezTo>
                <a:cubicBezTo>
                  <a:pt x="240" y="109"/>
                  <a:pt x="240" y="110"/>
                  <a:pt x="240" y="110"/>
                </a:cubicBezTo>
                <a:cubicBezTo>
                  <a:pt x="240" y="110"/>
                  <a:pt x="240" y="110"/>
                  <a:pt x="240" y="111"/>
                </a:cubicBezTo>
                <a:cubicBezTo>
                  <a:pt x="240" y="111"/>
                  <a:pt x="239" y="112"/>
                  <a:pt x="239" y="112"/>
                </a:cubicBezTo>
                <a:cubicBezTo>
                  <a:pt x="240" y="113"/>
                  <a:pt x="239" y="114"/>
                  <a:pt x="239" y="115"/>
                </a:cubicBezTo>
                <a:cubicBezTo>
                  <a:pt x="239" y="116"/>
                  <a:pt x="238" y="116"/>
                  <a:pt x="238" y="117"/>
                </a:cubicBezTo>
                <a:cubicBezTo>
                  <a:pt x="238" y="118"/>
                  <a:pt x="238" y="119"/>
                  <a:pt x="238" y="120"/>
                </a:cubicBezTo>
                <a:cubicBezTo>
                  <a:pt x="238" y="120"/>
                  <a:pt x="238" y="121"/>
                  <a:pt x="237" y="121"/>
                </a:cubicBezTo>
                <a:cubicBezTo>
                  <a:pt x="237" y="122"/>
                  <a:pt x="237" y="122"/>
                  <a:pt x="237" y="122"/>
                </a:cubicBezTo>
                <a:cubicBezTo>
                  <a:pt x="236" y="123"/>
                  <a:pt x="236" y="124"/>
                  <a:pt x="237" y="125"/>
                </a:cubicBezTo>
                <a:cubicBezTo>
                  <a:pt x="237" y="125"/>
                  <a:pt x="237" y="127"/>
                  <a:pt x="237" y="127"/>
                </a:cubicBezTo>
                <a:cubicBezTo>
                  <a:pt x="237" y="126"/>
                  <a:pt x="238" y="126"/>
                  <a:pt x="238" y="126"/>
                </a:cubicBezTo>
                <a:cubicBezTo>
                  <a:pt x="238" y="127"/>
                  <a:pt x="238" y="127"/>
                  <a:pt x="238" y="127"/>
                </a:cubicBezTo>
                <a:cubicBezTo>
                  <a:pt x="238" y="128"/>
                  <a:pt x="239" y="127"/>
                  <a:pt x="239" y="127"/>
                </a:cubicBezTo>
                <a:cubicBezTo>
                  <a:pt x="239" y="127"/>
                  <a:pt x="239" y="127"/>
                  <a:pt x="239" y="128"/>
                </a:cubicBezTo>
                <a:cubicBezTo>
                  <a:pt x="239" y="128"/>
                  <a:pt x="239" y="128"/>
                  <a:pt x="240" y="128"/>
                </a:cubicBezTo>
                <a:cubicBezTo>
                  <a:pt x="241" y="128"/>
                  <a:pt x="241" y="127"/>
                  <a:pt x="241" y="127"/>
                </a:cubicBezTo>
                <a:cubicBezTo>
                  <a:pt x="242" y="126"/>
                  <a:pt x="242" y="126"/>
                  <a:pt x="243" y="127"/>
                </a:cubicBezTo>
                <a:cubicBezTo>
                  <a:pt x="244" y="127"/>
                  <a:pt x="244" y="126"/>
                  <a:pt x="245" y="126"/>
                </a:cubicBezTo>
                <a:cubicBezTo>
                  <a:pt x="245" y="126"/>
                  <a:pt x="246" y="126"/>
                  <a:pt x="246" y="126"/>
                </a:cubicBezTo>
                <a:cubicBezTo>
                  <a:pt x="246" y="126"/>
                  <a:pt x="246" y="127"/>
                  <a:pt x="247" y="127"/>
                </a:cubicBezTo>
                <a:cubicBezTo>
                  <a:pt x="247" y="127"/>
                  <a:pt x="247" y="126"/>
                  <a:pt x="247" y="125"/>
                </a:cubicBezTo>
                <a:cubicBezTo>
                  <a:pt x="247" y="125"/>
                  <a:pt x="246" y="124"/>
                  <a:pt x="246" y="124"/>
                </a:cubicBezTo>
                <a:cubicBezTo>
                  <a:pt x="246" y="123"/>
                  <a:pt x="245" y="122"/>
                  <a:pt x="246" y="121"/>
                </a:cubicBezTo>
                <a:cubicBezTo>
                  <a:pt x="246" y="120"/>
                  <a:pt x="246" y="119"/>
                  <a:pt x="246" y="118"/>
                </a:cubicBezTo>
                <a:cubicBezTo>
                  <a:pt x="247" y="118"/>
                  <a:pt x="247" y="116"/>
                  <a:pt x="247" y="116"/>
                </a:cubicBezTo>
                <a:cubicBezTo>
                  <a:pt x="247" y="116"/>
                  <a:pt x="247" y="115"/>
                  <a:pt x="247" y="115"/>
                </a:cubicBezTo>
                <a:cubicBezTo>
                  <a:pt x="247" y="114"/>
                  <a:pt x="247" y="114"/>
                  <a:pt x="247" y="114"/>
                </a:cubicBezTo>
                <a:cubicBezTo>
                  <a:pt x="247" y="113"/>
                  <a:pt x="247" y="113"/>
                  <a:pt x="247" y="112"/>
                </a:cubicBezTo>
                <a:cubicBezTo>
                  <a:pt x="247" y="112"/>
                  <a:pt x="247" y="111"/>
                  <a:pt x="247" y="111"/>
                </a:cubicBezTo>
                <a:cubicBezTo>
                  <a:pt x="247" y="111"/>
                  <a:pt x="247" y="110"/>
                  <a:pt x="247" y="110"/>
                </a:cubicBezTo>
                <a:cubicBezTo>
                  <a:pt x="247" y="110"/>
                  <a:pt x="247" y="110"/>
                  <a:pt x="247" y="109"/>
                </a:cubicBezTo>
                <a:cubicBezTo>
                  <a:pt x="247" y="109"/>
                  <a:pt x="247" y="108"/>
                  <a:pt x="247" y="108"/>
                </a:cubicBezTo>
                <a:cubicBezTo>
                  <a:pt x="247" y="107"/>
                  <a:pt x="248" y="107"/>
                  <a:pt x="248" y="106"/>
                </a:cubicBezTo>
                <a:cubicBezTo>
                  <a:pt x="247" y="105"/>
                  <a:pt x="247" y="103"/>
                  <a:pt x="247" y="102"/>
                </a:cubicBezTo>
                <a:cubicBezTo>
                  <a:pt x="247" y="102"/>
                  <a:pt x="248" y="101"/>
                  <a:pt x="248" y="101"/>
                </a:cubicBezTo>
                <a:cubicBezTo>
                  <a:pt x="247" y="101"/>
                  <a:pt x="247" y="100"/>
                  <a:pt x="247" y="100"/>
                </a:cubicBezTo>
                <a:cubicBezTo>
                  <a:pt x="246" y="100"/>
                  <a:pt x="246" y="100"/>
                  <a:pt x="246" y="99"/>
                </a:cubicBezTo>
                <a:cubicBezTo>
                  <a:pt x="246" y="99"/>
                  <a:pt x="246" y="99"/>
                  <a:pt x="246" y="98"/>
                </a:cubicBezTo>
                <a:cubicBezTo>
                  <a:pt x="246" y="98"/>
                  <a:pt x="246" y="98"/>
                  <a:pt x="247" y="97"/>
                </a:cubicBezTo>
                <a:cubicBezTo>
                  <a:pt x="248" y="96"/>
                  <a:pt x="248" y="96"/>
                  <a:pt x="249" y="95"/>
                </a:cubicBezTo>
                <a:cubicBezTo>
                  <a:pt x="250" y="95"/>
                  <a:pt x="251" y="94"/>
                  <a:pt x="252" y="94"/>
                </a:cubicBezTo>
                <a:cubicBezTo>
                  <a:pt x="253" y="94"/>
                  <a:pt x="254" y="94"/>
                  <a:pt x="254" y="95"/>
                </a:cubicBezTo>
                <a:cubicBezTo>
                  <a:pt x="254" y="96"/>
                  <a:pt x="254" y="96"/>
                  <a:pt x="254" y="96"/>
                </a:cubicBezTo>
                <a:cubicBezTo>
                  <a:pt x="254" y="96"/>
                  <a:pt x="253" y="96"/>
                  <a:pt x="253" y="96"/>
                </a:cubicBezTo>
                <a:cubicBezTo>
                  <a:pt x="253" y="97"/>
                  <a:pt x="254" y="97"/>
                  <a:pt x="254" y="96"/>
                </a:cubicBezTo>
                <a:cubicBezTo>
                  <a:pt x="254" y="97"/>
                  <a:pt x="254" y="96"/>
                  <a:pt x="254" y="97"/>
                </a:cubicBezTo>
                <a:cubicBezTo>
                  <a:pt x="254" y="97"/>
                  <a:pt x="254" y="97"/>
                  <a:pt x="254" y="98"/>
                </a:cubicBezTo>
                <a:cubicBezTo>
                  <a:pt x="254" y="99"/>
                  <a:pt x="254" y="99"/>
                  <a:pt x="254" y="100"/>
                </a:cubicBezTo>
                <a:cubicBezTo>
                  <a:pt x="254" y="101"/>
                  <a:pt x="253" y="101"/>
                  <a:pt x="253" y="102"/>
                </a:cubicBezTo>
                <a:cubicBezTo>
                  <a:pt x="253" y="102"/>
                  <a:pt x="252" y="103"/>
                  <a:pt x="252" y="103"/>
                </a:cubicBezTo>
                <a:cubicBezTo>
                  <a:pt x="252" y="105"/>
                  <a:pt x="253" y="105"/>
                  <a:pt x="254" y="106"/>
                </a:cubicBezTo>
                <a:cubicBezTo>
                  <a:pt x="254" y="107"/>
                  <a:pt x="255" y="107"/>
                  <a:pt x="255" y="107"/>
                </a:cubicBezTo>
                <a:cubicBezTo>
                  <a:pt x="256" y="107"/>
                  <a:pt x="256" y="108"/>
                  <a:pt x="256" y="108"/>
                </a:cubicBezTo>
                <a:cubicBezTo>
                  <a:pt x="256" y="108"/>
                  <a:pt x="256" y="108"/>
                  <a:pt x="256" y="109"/>
                </a:cubicBezTo>
                <a:cubicBezTo>
                  <a:pt x="257" y="109"/>
                  <a:pt x="257" y="109"/>
                  <a:pt x="258" y="109"/>
                </a:cubicBezTo>
                <a:cubicBezTo>
                  <a:pt x="258" y="110"/>
                  <a:pt x="259" y="110"/>
                  <a:pt x="259" y="110"/>
                </a:cubicBezTo>
                <a:cubicBezTo>
                  <a:pt x="259" y="111"/>
                  <a:pt x="259" y="112"/>
                  <a:pt x="258" y="112"/>
                </a:cubicBezTo>
                <a:cubicBezTo>
                  <a:pt x="258" y="112"/>
                  <a:pt x="258" y="111"/>
                  <a:pt x="258" y="112"/>
                </a:cubicBezTo>
                <a:cubicBezTo>
                  <a:pt x="258" y="113"/>
                  <a:pt x="258" y="113"/>
                  <a:pt x="258" y="114"/>
                </a:cubicBezTo>
                <a:cubicBezTo>
                  <a:pt x="258" y="115"/>
                  <a:pt x="257" y="116"/>
                  <a:pt x="258" y="117"/>
                </a:cubicBezTo>
                <a:cubicBezTo>
                  <a:pt x="258" y="117"/>
                  <a:pt x="259" y="118"/>
                  <a:pt x="260" y="118"/>
                </a:cubicBezTo>
                <a:cubicBezTo>
                  <a:pt x="261" y="118"/>
                  <a:pt x="261" y="119"/>
                  <a:pt x="262" y="119"/>
                </a:cubicBezTo>
                <a:cubicBezTo>
                  <a:pt x="263" y="119"/>
                  <a:pt x="264" y="118"/>
                  <a:pt x="263" y="117"/>
                </a:cubicBezTo>
                <a:cubicBezTo>
                  <a:pt x="262" y="116"/>
                  <a:pt x="263" y="115"/>
                  <a:pt x="264" y="115"/>
                </a:cubicBezTo>
                <a:cubicBezTo>
                  <a:pt x="265" y="114"/>
                  <a:pt x="265" y="114"/>
                  <a:pt x="266" y="114"/>
                </a:cubicBezTo>
                <a:cubicBezTo>
                  <a:pt x="266" y="114"/>
                  <a:pt x="266" y="114"/>
                  <a:pt x="267" y="114"/>
                </a:cubicBezTo>
                <a:cubicBezTo>
                  <a:pt x="267" y="114"/>
                  <a:pt x="267" y="114"/>
                  <a:pt x="267" y="114"/>
                </a:cubicBezTo>
                <a:cubicBezTo>
                  <a:pt x="268" y="114"/>
                  <a:pt x="268" y="113"/>
                  <a:pt x="269" y="114"/>
                </a:cubicBezTo>
                <a:cubicBezTo>
                  <a:pt x="269" y="114"/>
                  <a:pt x="269" y="114"/>
                  <a:pt x="269" y="114"/>
                </a:cubicBezTo>
                <a:cubicBezTo>
                  <a:pt x="269" y="114"/>
                  <a:pt x="270" y="115"/>
                  <a:pt x="270" y="114"/>
                </a:cubicBezTo>
                <a:cubicBezTo>
                  <a:pt x="270" y="114"/>
                  <a:pt x="269" y="113"/>
                  <a:pt x="269" y="113"/>
                </a:cubicBezTo>
                <a:cubicBezTo>
                  <a:pt x="270" y="113"/>
                  <a:pt x="270" y="114"/>
                  <a:pt x="270" y="114"/>
                </a:cubicBezTo>
                <a:cubicBezTo>
                  <a:pt x="271" y="114"/>
                  <a:pt x="271" y="114"/>
                  <a:pt x="271" y="113"/>
                </a:cubicBezTo>
                <a:cubicBezTo>
                  <a:pt x="271" y="112"/>
                  <a:pt x="272" y="110"/>
                  <a:pt x="271" y="110"/>
                </a:cubicBezTo>
                <a:cubicBezTo>
                  <a:pt x="270" y="109"/>
                  <a:pt x="270" y="110"/>
                  <a:pt x="271" y="110"/>
                </a:cubicBezTo>
                <a:cubicBezTo>
                  <a:pt x="271" y="111"/>
                  <a:pt x="270" y="111"/>
                  <a:pt x="270" y="111"/>
                </a:cubicBezTo>
                <a:cubicBezTo>
                  <a:pt x="269" y="110"/>
                  <a:pt x="270" y="111"/>
                  <a:pt x="269" y="111"/>
                </a:cubicBezTo>
                <a:cubicBezTo>
                  <a:pt x="269" y="110"/>
                  <a:pt x="269" y="110"/>
                  <a:pt x="269" y="110"/>
                </a:cubicBezTo>
                <a:cubicBezTo>
                  <a:pt x="269" y="109"/>
                  <a:pt x="269" y="109"/>
                  <a:pt x="268" y="109"/>
                </a:cubicBezTo>
                <a:cubicBezTo>
                  <a:pt x="268" y="109"/>
                  <a:pt x="270" y="109"/>
                  <a:pt x="269" y="108"/>
                </a:cubicBezTo>
                <a:cubicBezTo>
                  <a:pt x="269" y="108"/>
                  <a:pt x="268" y="108"/>
                  <a:pt x="268" y="108"/>
                </a:cubicBezTo>
                <a:cubicBezTo>
                  <a:pt x="268" y="107"/>
                  <a:pt x="267" y="107"/>
                  <a:pt x="267" y="106"/>
                </a:cubicBezTo>
                <a:cubicBezTo>
                  <a:pt x="266" y="106"/>
                  <a:pt x="266" y="106"/>
                  <a:pt x="266" y="106"/>
                </a:cubicBezTo>
                <a:cubicBezTo>
                  <a:pt x="265" y="105"/>
                  <a:pt x="264" y="105"/>
                  <a:pt x="265" y="104"/>
                </a:cubicBezTo>
                <a:cubicBezTo>
                  <a:pt x="265" y="104"/>
                  <a:pt x="265" y="104"/>
                  <a:pt x="265" y="104"/>
                </a:cubicBezTo>
                <a:cubicBezTo>
                  <a:pt x="266" y="104"/>
                  <a:pt x="266" y="104"/>
                  <a:pt x="266" y="103"/>
                </a:cubicBezTo>
                <a:cubicBezTo>
                  <a:pt x="266" y="103"/>
                  <a:pt x="265" y="102"/>
                  <a:pt x="266" y="102"/>
                </a:cubicBezTo>
                <a:cubicBezTo>
                  <a:pt x="266" y="102"/>
                  <a:pt x="267" y="103"/>
                  <a:pt x="267" y="103"/>
                </a:cubicBezTo>
                <a:cubicBezTo>
                  <a:pt x="267" y="102"/>
                  <a:pt x="266" y="102"/>
                  <a:pt x="266" y="102"/>
                </a:cubicBezTo>
                <a:cubicBezTo>
                  <a:pt x="266" y="101"/>
                  <a:pt x="266" y="101"/>
                  <a:pt x="267" y="101"/>
                </a:cubicBezTo>
                <a:cubicBezTo>
                  <a:pt x="267" y="101"/>
                  <a:pt x="267" y="101"/>
                  <a:pt x="267" y="101"/>
                </a:cubicBezTo>
                <a:cubicBezTo>
                  <a:pt x="267" y="101"/>
                  <a:pt x="267" y="100"/>
                  <a:pt x="267" y="100"/>
                </a:cubicBezTo>
                <a:cubicBezTo>
                  <a:pt x="268" y="100"/>
                  <a:pt x="267" y="100"/>
                  <a:pt x="267" y="100"/>
                </a:cubicBezTo>
                <a:cubicBezTo>
                  <a:pt x="267" y="99"/>
                  <a:pt x="267" y="100"/>
                  <a:pt x="266" y="99"/>
                </a:cubicBezTo>
                <a:cubicBezTo>
                  <a:pt x="266" y="99"/>
                  <a:pt x="266" y="99"/>
                  <a:pt x="266" y="98"/>
                </a:cubicBezTo>
                <a:cubicBezTo>
                  <a:pt x="266" y="98"/>
                  <a:pt x="266" y="97"/>
                  <a:pt x="266" y="97"/>
                </a:cubicBezTo>
                <a:cubicBezTo>
                  <a:pt x="266" y="97"/>
                  <a:pt x="265" y="97"/>
                  <a:pt x="265" y="97"/>
                </a:cubicBezTo>
                <a:cubicBezTo>
                  <a:pt x="265" y="96"/>
                  <a:pt x="265" y="96"/>
                  <a:pt x="264" y="96"/>
                </a:cubicBezTo>
                <a:cubicBezTo>
                  <a:pt x="264" y="95"/>
                  <a:pt x="263" y="95"/>
                  <a:pt x="263" y="95"/>
                </a:cubicBezTo>
                <a:cubicBezTo>
                  <a:pt x="263" y="94"/>
                  <a:pt x="263" y="93"/>
                  <a:pt x="262" y="92"/>
                </a:cubicBezTo>
                <a:cubicBezTo>
                  <a:pt x="262" y="92"/>
                  <a:pt x="262" y="91"/>
                  <a:pt x="262" y="91"/>
                </a:cubicBezTo>
                <a:cubicBezTo>
                  <a:pt x="262" y="90"/>
                  <a:pt x="261" y="89"/>
                  <a:pt x="260" y="89"/>
                </a:cubicBezTo>
                <a:cubicBezTo>
                  <a:pt x="260" y="89"/>
                  <a:pt x="259" y="89"/>
                  <a:pt x="259" y="89"/>
                </a:cubicBezTo>
                <a:cubicBezTo>
                  <a:pt x="259" y="88"/>
                  <a:pt x="259" y="88"/>
                  <a:pt x="259" y="88"/>
                </a:cubicBezTo>
                <a:cubicBezTo>
                  <a:pt x="258" y="88"/>
                  <a:pt x="258" y="87"/>
                  <a:pt x="258" y="87"/>
                </a:cubicBezTo>
                <a:cubicBezTo>
                  <a:pt x="258" y="87"/>
                  <a:pt x="258" y="86"/>
                  <a:pt x="258" y="86"/>
                </a:cubicBezTo>
                <a:cubicBezTo>
                  <a:pt x="257" y="87"/>
                  <a:pt x="257" y="87"/>
                  <a:pt x="257" y="87"/>
                </a:cubicBezTo>
                <a:cubicBezTo>
                  <a:pt x="257" y="87"/>
                  <a:pt x="257" y="86"/>
                  <a:pt x="257" y="86"/>
                </a:cubicBezTo>
                <a:cubicBezTo>
                  <a:pt x="257" y="85"/>
                  <a:pt x="257" y="86"/>
                  <a:pt x="257" y="86"/>
                </a:cubicBezTo>
                <a:cubicBezTo>
                  <a:pt x="256" y="85"/>
                  <a:pt x="257" y="85"/>
                  <a:pt x="258" y="85"/>
                </a:cubicBezTo>
                <a:cubicBezTo>
                  <a:pt x="258" y="85"/>
                  <a:pt x="258" y="85"/>
                  <a:pt x="258" y="85"/>
                </a:cubicBezTo>
                <a:cubicBezTo>
                  <a:pt x="258" y="85"/>
                  <a:pt x="258" y="86"/>
                  <a:pt x="258" y="86"/>
                </a:cubicBezTo>
                <a:cubicBezTo>
                  <a:pt x="259" y="86"/>
                  <a:pt x="259" y="86"/>
                  <a:pt x="259" y="86"/>
                </a:cubicBezTo>
                <a:cubicBezTo>
                  <a:pt x="260" y="87"/>
                  <a:pt x="261" y="86"/>
                  <a:pt x="261" y="85"/>
                </a:cubicBezTo>
                <a:cubicBezTo>
                  <a:pt x="261" y="84"/>
                  <a:pt x="262" y="84"/>
                  <a:pt x="262" y="84"/>
                </a:cubicBezTo>
                <a:cubicBezTo>
                  <a:pt x="263" y="84"/>
                  <a:pt x="263" y="83"/>
                  <a:pt x="264" y="83"/>
                </a:cubicBezTo>
                <a:cubicBezTo>
                  <a:pt x="264" y="83"/>
                  <a:pt x="265" y="83"/>
                  <a:pt x="265" y="83"/>
                </a:cubicBezTo>
                <a:cubicBezTo>
                  <a:pt x="266" y="83"/>
                  <a:pt x="266" y="82"/>
                  <a:pt x="266" y="82"/>
                </a:cubicBezTo>
                <a:cubicBezTo>
                  <a:pt x="267" y="81"/>
                  <a:pt x="268" y="81"/>
                  <a:pt x="269" y="80"/>
                </a:cubicBezTo>
                <a:cubicBezTo>
                  <a:pt x="270" y="79"/>
                  <a:pt x="270" y="78"/>
                  <a:pt x="271" y="77"/>
                </a:cubicBezTo>
                <a:cubicBezTo>
                  <a:pt x="271" y="76"/>
                  <a:pt x="271" y="75"/>
                  <a:pt x="272" y="75"/>
                </a:cubicBezTo>
                <a:cubicBezTo>
                  <a:pt x="273" y="75"/>
                  <a:pt x="273" y="75"/>
                  <a:pt x="274" y="75"/>
                </a:cubicBezTo>
                <a:cubicBezTo>
                  <a:pt x="274" y="75"/>
                  <a:pt x="274" y="74"/>
                  <a:pt x="274" y="75"/>
                </a:cubicBezTo>
                <a:cubicBezTo>
                  <a:pt x="275" y="75"/>
                  <a:pt x="275" y="76"/>
                  <a:pt x="275" y="76"/>
                </a:cubicBezTo>
                <a:cubicBezTo>
                  <a:pt x="275" y="76"/>
                  <a:pt x="276" y="76"/>
                  <a:pt x="276" y="77"/>
                </a:cubicBezTo>
                <a:cubicBezTo>
                  <a:pt x="277" y="77"/>
                  <a:pt x="277" y="76"/>
                  <a:pt x="277" y="75"/>
                </a:cubicBezTo>
                <a:cubicBezTo>
                  <a:pt x="277" y="74"/>
                  <a:pt x="278" y="73"/>
                  <a:pt x="277" y="72"/>
                </a:cubicBezTo>
                <a:cubicBezTo>
                  <a:pt x="276" y="72"/>
                  <a:pt x="275" y="71"/>
                  <a:pt x="274" y="71"/>
                </a:cubicBezTo>
                <a:cubicBezTo>
                  <a:pt x="274" y="71"/>
                  <a:pt x="274" y="72"/>
                  <a:pt x="273" y="72"/>
                </a:cubicBezTo>
                <a:cubicBezTo>
                  <a:pt x="273" y="72"/>
                  <a:pt x="272" y="72"/>
                  <a:pt x="272" y="72"/>
                </a:cubicBezTo>
                <a:cubicBezTo>
                  <a:pt x="272" y="72"/>
                  <a:pt x="270" y="73"/>
                  <a:pt x="271" y="73"/>
                </a:cubicBezTo>
                <a:cubicBezTo>
                  <a:pt x="272" y="73"/>
                  <a:pt x="272" y="73"/>
                  <a:pt x="273" y="73"/>
                </a:cubicBezTo>
                <a:cubicBezTo>
                  <a:pt x="273" y="73"/>
                  <a:pt x="272" y="74"/>
                  <a:pt x="272" y="74"/>
                </a:cubicBezTo>
                <a:cubicBezTo>
                  <a:pt x="271" y="74"/>
                  <a:pt x="271" y="74"/>
                  <a:pt x="270" y="74"/>
                </a:cubicBezTo>
                <a:cubicBezTo>
                  <a:pt x="270" y="73"/>
                  <a:pt x="269" y="74"/>
                  <a:pt x="268" y="74"/>
                </a:cubicBezTo>
                <a:cubicBezTo>
                  <a:pt x="268" y="73"/>
                  <a:pt x="266" y="73"/>
                  <a:pt x="265" y="74"/>
                </a:cubicBezTo>
                <a:cubicBezTo>
                  <a:pt x="265" y="75"/>
                  <a:pt x="265" y="76"/>
                  <a:pt x="264" y="75"/>
                </a:cubicBezTo>
                <a:cubicBezTo>
                  <a:pt x="264" y="75"/>
                  <a:pt x="263" y="76"/>
                  <a:pt x="263" y="76"/>
                </a:cubicBezTo>
                <a:cubicBezTo>
                  <a:pt x="262" y="76"/>
                  <a:pt x="260" y="76"/>
                  <a:pt x="260" y="74"/>
                </a:cubicBezTo>
                <a:cubicBezTo>
                  <a:pt x="260" y="74"/>
                  <a:pt x="260" y="74"/>
                  <a:pt x="259" y="75"/>
                </a:cubicBezTo>
                <a:cubicBezTo>
                  <a:pt x="259" y="75"/>
                  <a:pt x="258" y="75"/>
                  <a:pt x="258" y="76"/>
                </a:cubicBezTo>
                <a:cubicBezTo>
                  <a:pt x="258" y="77"/>
                  <a:pt x="257" y="77"/>
                  <a:pt x="256" y="78"/>
                </a:cubicBezTo>
                <a:cubicBezTo>
                  <a:pt x="256" y="79"/>
                  <a:pt x="256" y="79"/>
                  <a:pt x="255" y="80"/>
                </a:cubicBezTo>
                <a:cubicBezTo>
                  <a:pt x="255" y="80"/>
                  <a:pt x="255" y="81"/>
                  <a:pt x="254" y="81"/>
                </a:cubicBezTo>
                <a:cubicBezTo>
                  <a:pt x="254" y="80"/>
                  <a:pt x="253" y="81"/>
                  <a:pt x="253" y="81"/>
                </a:cubicBezTo>
                <a:cubicBezTo>
                  <a:pt x="252" y="81"/>
                  <a:pt x="252" y="80"/>
                  <a:pt x="251" y="80"/>
                </a:cubicBezTo>
                <a:cubicBezTo>
                  <a:pt x="251" y="81"/>
                  <a:pt x="251" y="81"/>
                  <a:pt x="250" y="80"/>
                </a:cubicBezTo>
                <a:cubicBezTo>
                  <a:pt x="250" y="79"/>
                  <a:pt x="250" y="79"/>
                  <a:pt x="250" y="78"/>
                </a:cubicBezTo>
                <a:cubicBezTo>
                  <a:pt x="250" y="78"/>
                  <a:pt x="250" y="77"/>
                  <a:pt x="249" y="77"/>
                </a:cubicBezTo>
                <a:cubicBezTo>
                  <a:pt x="249" y="76"/>
                  <a:pt x="249" y="76"/>
                  <a:pt x="248" y="75"/>
                </a:cubicBezTo>
                <a:cubicBezTo>
                  <a:pt x="248" y="75"/>
                  <a:pt x="248" y="76"/>
                  <a:pt x="247" y="76"/>
                </a:cubicBezTo>
                <a:cubicBezTo>
                  <a:pt x="246" y="75"/>
                  <a:pt x="245" y="73"/>
                  <a:pt x="245" y="72"/>
                </a:cubicBezTo>
                <a:cubicBezTo>
                  <a:pt x="245" y="71"/>
                  <a:pt x="245" y="71"/>
                  <a:pt x="245" y="70"/>
                </a:cubicBezTo>
                <a:cubicBezTo>
                  <a:pt x="244" y="69"/>
                  <a:pt x="244" y="68"/>
                  <a:pt x="244" y="68"/>
                </a:cubicBezTo>
                <a:cubicBezTo>
                  <a:pt x="244" y="67"/>
                  <a:pt x="244" y="66"/>
                  <a:pt x="245" y="66"/>
                </a:cubicBezTo>
                <a:cubicBezTo>
                  <a:pt x="245" y="65"/>
                  <a:pt x="245" y="64"/>
                  <a:pt x="246" y="63"/>
                </a:cubicBezTo>
                <a:cubicBezTo>
                  <a:pt x="246" y="62"/>
                  <a:pt x="247" y="60"/>
                  <a:pt x="249" y="60"/>
                </a:cubicBezTo>
                <a:cubicBezTo>
                  <a:pt x="250" y="59"/>
                  <a:pt x="250" y="59"/>
                  <a:pt x="251" y="60"/>
                </a:cubicBezTo>
                <a:cubicBezTo>
                  <a:pt x="252" y="60"/>
                  <a:pt x="252" y="60"/>
                  <a:pt x="253" y="61"/>
                </a:cubicBezTo>
                <a:cubicBezTo>
                  <a:pt x="254" y="61"/>
                  <a:pt x="254" y="60"/>
                  <a:pt x="255" y="61"/>
                </a:cubicBezTo>
                <a:cubicBezTo>
                  <a:pt x="255" y="61"/>
                  <a:pt x="256" y="60"/>
                  <a:pt x="256" y="60"/>
                </a:cubicBezTo>
                <a:cubicBezTo>
                  <a:pt x="257" y="60"/>
                  <a:pt x="257" y="60"/>
                  <a:pt x="258" y="60"/>
                </a:cubicBezTo>
                <a:cubicBezTo>
                  <a:pt x="258" y="60"/>
                  <a:pt x="259" y="60"/>
                  <a:pt x="259" y="60"/>
                </a:cubicBezTo>
                <a:cubicBezTo>
                  <a:pt x="259" y="59"/>
                  <a:pt x="260" y="59"/>
                  <a:pt x="260" y="59"/>
                </a:cubicBezTo>
                <a:cubicBezTo>
                  <a:pt x="261" y="60"/>
                  <a:pt x="261" y="60"/>
                  <a:pt x="262" y="60"/>
                </a:cubicBezTo>
                <a:cubicBezTo>
                  <a:pt x="262" y="61"/>
                  <a:pt x="263" y="61"/>
                  <a:pt x="263" y="60"/>
                </a:cubicBezTo>
                <a:cubicBezTo>
                  <a:pt x="264" y="60"/>
                  <a:pt x="264" y="60"/>
                  <a:pt x="264" y="60"/>
                </a:cubicBezTo>
                <a:cubicBezTo>
                  <a:pt x="265" y="60"/>
                  <a:pt x="265" y="60"/>
                  <a:pt x="265" y="60"/>
                </a:cubicBezTo>
                <a:cubicBezTo>
                  <a:pt x="266" y="60"/>
                  <a:pt x="267" y="60"/>
                  <a:pt x="268" y="60"/>
                </a:cubicBezTo>
                <a:cubicBezTo>
                  <a:pt x="269" y="60"/>
                  <a:pt x="270" y="60"/>
                  <a:pt x="270" y="60"/>
                </a:cubicBezTo>
                <a:cubicBezTo>
                  <a:pt x="270" y="60"/>
                  <a:pt x="270" y="60"/>
                  <a:pt x="270" y="60"/>
                </a:cubicBezTo>
                <a:cubicBezTo>
                  <a:pt x="270" y="59"/>
                  <a:pt x="270" y="60"/>
                  <a:pt x="270" y="60"/>
                </a:cubicBezTo>
                <a:cubicBezTo>
                  <a:pt x="271" y="60"/>
                  <a:pt x="272" y="60"/>
                  <a:pt x="273" y="60"/>
                </a:cubicBezTo>
                <a:cubicBezTo>
                  <a:pt x="274" y="60"/>
                  <a:pt x="274" y="59"/>
                  <a:pt x="275" y="60"/>
                </a:cubicBezTo>
                <a:cubicBezTo>
                  <a:pt x="275" y="61"/>
                  <a:pt x="275" y="61"/>
                  <a:pt x="276" y="62"/>
                </a:cubicBezTo>
                <a:cubicBezTo>
                  <a:pt x="276" y="62"/>
                  <a:pt x="277" y="62"/>
                  <a:pt x="278" y="62"/>
                </a:cubicBezTo>
                <a:cubicBezTo>
                  <a:pt x="278" y="62"/>
                  <a:pt x="279" y="62"/>
                  <a:pt x="279" y="62"/>
                </a:cubicBezTo>
                <a:cubicBezTo>
                  <a:pt x="280" y="62"/>
                  <a:pt x="280" y="62"/>
                  <a:pt x="281" y="62"/>
                </a:cubicBezTo>
                <a:cubicBezTo>
                  <a:pt x="282" y="62"/>
                  <a:pt x="282" y="62"/>
                  <a:pt x="283" y="62"/>
                </a:cubicBezTo>
                <a:cubicBezTo>
                  <a:pt x="284" y="61"/>
                  <a:pt x="284" y="61"/>
                  <a:pt x="285" y="61"/>
                </a:cubicBezTo>
                <a:cubicBezTo>
                  <a:pt x="285" y="61"/>
                  <a:pt x="286" y="61"/>
                  <a:pt x="286" y="61"/>
                </a:cubicBezTo>
                <a:cubicBezTo>
                  <a:pt x="287" y="60"/>
                  <a:pt x="288" y="60"/>
                  <a:pt x="288" y="60"/>
                </a:cubicBezTo>
                <a:cubicBezTo>
                  <a:pt x="288" y="59"/>
                  <a:pt x="289" y="59"/>
                  <a:pt x="289" y="58"/>
                </a:cubicBezTo>
                <a:cubicBezTo>
                  <a:pt x="289" y="58"/>
                  <a:pt x="289" y="58"/>
                  <a:pt x="289" y="58"/>
                </a:cubicBezTo>
                <a:cubicBezTo>
                  <a:pt x="289" y="58"/>
                  <a:pt x="289" y="57"/>
                  <a:pt x="289" y="57"/>
                </a:cubicBezTo>
                <a:cubicBezTo>
                  <a:pt x="290" y="56"/>
                  <a:pt x="290" y="56"/>
                  <a:pt x="291" y="55"/>
                </a:cubicBezTo>
                <a:cubicBezTo>
                  <a:pt x="292" y="54"/>
                  <a:pt x="293" y="53"/>
                  <a:pt x="293" y="51"/>
                </a:cubicBezTo>
                <a:cubicBezTo>
                  <a:pt x="294" y="51"/>
                  <a:pt x="294" y="49"/>
                  <a:pt x="295" y="49"/>
                </a:cubicBezTo>
                <a:cubicBezTo>
                  <a:pt x="295" y="49"/>
                  <a:pt x="295" y="49"/>
                  <a:pt x="295" y="48"/>
                </a:cubicBezTo>
                <a:cubicBezTo>
                  <a:pt x="294" y="48"/>
                  <a:pt x="294" y="48"/>
                  <a:pt x="294" y="48"/>
                </a:cubicBezTo>
                <a:cubicBezTo>
                  <a:pt x="294" y="47"/>
                  <a:pt x="295" y="47"/>
                  <a:pt x="294" y="47"/>
                </a:cubicBezTo>
                <a:cubicBezTo>
                  <a:pt x="294" y="47"/>
                  <a:pt x="293" y="47"/>
                  <a:pt x="293" y="47"/>
                </a:cubicBezTo>
                <a:cubicBezTo>
                  <a:pt x="293" y="46"/>
                  <a:pt x="293" y="46"/>
                  <a:pt x="292" y="46"/>
                </a:cubicBezTo>
                <a:cubicBezTo>
                  <a:pt x="292" y="47"/>
                  <a:pt x="292" y="47"/>
                  <a:pt x="291" y="48"/>
                </a:cubicBezTo>
                <a:cubicBezTo>
                  <a:pt x="291" y="48"/>
                  <a:pt x="291" y="49"/>
                  <a:pt x="291" y="49"/>
                </a:cubicBezTo>
                <a:cubicBezTo>
                  <a:pt x="291" y="49"/>
                  <a:pt x="290" y="49"/>
                  <a:pt x="290" y="50"/>
                </a:cubicBezTo>
                <a:cubicBezTo>
                  <a:pt x="290" y="50"/>
                  <a:pt x="289" y="50"/>
                  <a:pt x="289" y="50"/>
                </a:cubicBezTo>
                <a:cubicBezTo>
                  <a:pt x="288" y="50"/>
                  <a:pt x="288" y="51"/>
                  <a:pt x="288" y="51"/>
                </a:cubicBezTo>
                <a:cubicBezTo>
                  <a:pt x="288" y="51"/>
                  <a:pt x="289" y="51"/>
                  <a:pt x="289" y="52"/>
                </a:cubicBezTo>
                <a:cubicBezTo>
                  <a:pt x="289" y="52"/>
                  <a:pt x="289" y="52"/>
                  <a:pt x="289" y="52"/>
                </a:cubicBezTo>
                <a:cubicBezTo>
                  <a:pt x="288" y="52"/>
                  <a:pt x="287" y="52"/>
                  <a:pt x="286" y="53"/>
                </a:cubicBezTo>
                <a:cubicBezTo>
                  <a:pt x="286" y="54"/>
                  <a:pt x="285" y="55"/>
                  <a:pt x="284" y="55"/>
                </a:cubicBezTo>
                <a:cubicBezTo>
                  <a:pt x="283" y="55"/>
                  <a:pt x="283" y="56"/>
                  <a:pt x="282" y="56"/>
                </a:cubicBezTo>
                <a:cubicBezTo>
                  <a:pt x="281" y="56"/>
                  <a:pt x="280" y="56"/>
                  <a:pt x="280" y="56"/>
                </a:cubicBezTo>
                <a:cubicBezTo>
                  <a:pt x="279" y="56"/>
                  <a:pt x="279" y="56"/>
                  <a:pt x="278" y="56"/>
                </a:cubicBezTo>
                <a:cubicBezTo>
                  <a:pt x="278" y="55"/>
                  <a:pt x="277" y="55"/>
                  <a:pt x="276" y="55"/>
                </a:cubicBezTo>
                <a:cubicBezTo>
                  <a:pt x="276" y="55"/>
                  <a:pt x="276" y="54"/>
                  <a:pt x="275" y="55"/>
                </a:cubicBezTo>
                <a:cubicBezTo>
                  <a:pt x="275" y="55"/>
                  <a:pt x="275" y="55"/>
                  <a:pt x="275" y="55"/>
                </a:cubicBezTo>
                <a:cubicBezTo>
                  <a:pt x="275" y="55"/>
                  <a:pt x="274" y="55"/>
                  <a:pt x="274" y="55"/>
                </a:cubicBezTo>
                <a:cubicBezTo>
                  <a:pt x="273" y="54"/>
                  <a:pt x="273" y="55"/>
                  <a:pt x="273" y="55"/>
                </a:cubicBezTo>
                <a:cubicBezTo>
                  <a:pt x="272" y="57"/>
                  <a:pt x="271" y="55"/>
                  <a:pt x="270" y="55"/>
                </a:cubicBezTo>
                <a:cubicBezTo>
                  <a:pt x="269" y="54"/>
                  <a:pt x="268" y="54"/>
                  <a:pt x="268" y="54"/>
                </a:cubicBezTo>
                <a:cubicBezTo>
                  <a:pt x="267" y="54"/>
                  <a:pt x="267" y="54"/>
                  <a:pt x="266" y="54"/>
                </a:cubicBezTo>
                <a:cubicBezTo>
                  <a:pt x="265" y="54"/>
                  <a:pt x="265" y="54"/>
                  <a:pt x="264" y="54"/>
                </a:cubicBezTo>
                <a:cubicBezTo>
                  <a:pt x="264" y="54"/>
                  <a:pt x="264" y="54"/>
                  <a:pt x="263" y="54"/>
                </a:cubicBezTo>
                <a:cubicBezTo>
                  <a:pt x="263" y="53"/>
                  <a:pt x="261" y="54"/>
                  <a:pt x="260" y="54"/>
                </a:cubicBezTo>
                <a:cubicBezTo>
                  <a:pt x="259" y="54"/>
                  <a:pt x="259" y="53"/>
                  <a:pt x="258" y="53"/>
                </a:cubicBezTo>
                <a:cubicBezTo>
                  <a:pt x="258" y="52"/>
                  <a:pt x="258" y="52"/>
                  <a:pt x="259" y="51"/>
                </a:cubicBezTo>
                <a:cubicBezTo>
                  <a:pt x="259" y="51"/>
                  <a:pt x="257" y="52"/>
                  <a:pt x="257" y="52"/>
                </a:cubicBezTo>
                <a:cubicBezTo>
                  <a:pt x="257" y="52"/>
                  <a:pt x="256" y="52"/>
                  <a:pt x="255" y="51"/>
                </a:cubicBezTo>
                <a:cubicBezTo>
                  <a:pt x="255" y="51"/>
                  <a:pt x="254" y="50"/>
                  <a:pt x="253" y="51"/>
                </a:cubicBezTo>
                <a:cubicBezTo>
                  <a:pt x="253" y="51"/>
                  <a:pt x="253" y="51"/>
                  <a:pt x="253" y="50"/>
                </a:cubicBezTo>
                <a:cubicBezTo>
                  <a:pt x="253" y="51"/>
                  <a:pt x="252" y="51"/>
                  <a:pt x="252" y="51"/>
                </a:cubicBezTo>
                <a:cubicBezTo>
                  <a:pt x="252" y="52"/>
                  <a:pt x="252" y="52"/>
                  <a:pt x="252" y="53"/>
                </a:cubicBezTo>
                <a:cubicBezTo>
                  <a:pt x="252" y="53"/>
                  <a:pt x="252" y="54"/>
                  <a:pt x="251" y="54"/>
                </a:cubicBezTo>
                <a:cubicBezTo>
                  <a:pt x="251" y="54"/>
                  <a:pt x="251" y="55"/>
                  <a:pt x="251" y="54"/>
                </a:cubicBezTo>
                <a:cubicBezTo>
                  <a:pt x="251" y="54"/>
                  <a:pt x="251" y="54"/>
                  <a:pt x="251" y="54"/>
                </a:cubicBezTo>
                <a:cubicBezTo>
                  <a:pt x="250" y="55"/>
                  <a:pt x="250" y="57"/>
                  <a:pt x="250" y="57"/>
                </a:cubicBezTo>
                <a:cubicBezTo>
                  <a:pt x="249" y="56"/>
                  <a:pt x="248" y="57"/>
                  <a:pt x="248" y="56"/>
                </a:cubicBezTo>
                <a:cubicBezTo>
                  <a:pt x="247" y="55"/>
                  <a:pt x="248" y="54"/>
                  <a:pt x="247" y="54"/>
                </a:cubicBezTo>
                <a:cubicBezTo>
                  <a:pt x="247" y="54"/>
                  <a:pt x="247" y="55"/>
                  <a:pt x="247" y="56"/>
                </a:cubicBezTo>
                <a:cubicBezTo>
                  <a:pt x="247" y="57"/>
                  <a:pt x="245" y="57"/>
                  <a:pt x="245" y="58"/>
                </a:cubicBezTo>
                <a:cubicBezTo>
                  <a:pt x="244" y="58"/>
                  <a:pt x="245" y="59"/>
                  <a:pt x="245" y="59"/>
                </a:cubicBezTo>
                <a:cubicBezTo>
                  <a:pt x="244" y="60"/>
                  <a:pt x="244" y="60"/>
                  <a:pt x="244" y="60"/>
                </a:cubicBezTo>
                <a:cubicBezTo>
                  <a:pt x="243" y="60"/>
                  <a:pt x="243" y="61"/>
                  <a:pt x="243" y="61"/>
                </a:cubicBezTo>
                <a:cubicBezTo>
                  <a:pt x="243" y="62"/>
                  <a:pt x="243" y="62"/>
                  <a:pt x="243" y="62"/>
                </a:cubicBezTo>
                <a:cubicBezTo>
                  <a:pt x="243" y="63"/>
                  <a:pt x="242" y="62"/>
                  <a:pt x="242" y="63"/>
                </a:cubicBezTo>
                <a:cubicBezTo>
                  <a:pt x="242" y="63"/>
                  <a:pt x="243" y="64"/>
                  <a:pt x="243" y="64"/>
                </a:cubicBezTo>
                <a:cubicBezTo>
                  <a:pt x="243" y="65"/>
                  <a:pt x="243" y="67"/>
                  <a:pt x="242" y="66"/>
                </a:cubicBezTo>
                <a:cubicBezTo>
                  <a:pt x="242" y="66"/>
                  <a:pt x="242" y="65"/>
                  <a:pt x="241" y="65"/>
                </a:cubicBezTo>
                <a:cubicBezTo>
                  <a:pt x="241" y="65"/>
                  <a:pt x="241" y="65"/>
                  <a:pt x="241" y="66"/>
                </a:cubicBezTo>
                <a:cubicBezTo>
                  <a:pt x="241" y="66"/>
                  <a:pt x="241" y="67"/>
                  <a:pt x="242" y="67"/>
                </a:cubicBezTo>
                <a:cubicBezTo>
                  <a:pt x="242" y="66"/>
                  <a:pt x="243" y="67"/>
                  <a:pt x="242" y="67"/>
                </a:cubicBezTo>
                <a:cubicBezTo>
                  <a:pt x="242" y="69"/>
                  <a:pt x="242" y="70"/>
                  <a:pt x="242" y="71"/>
                </a:cubicBezTo>
                <a:cubicBezTo>
                  <a:pt x="242" y="72"/>
                  <a:pt x="243" y="73"/>
                  <a:pt x="243" y="74"/>
                </a:cubicBezTo>
                <a:cubicBezTo>
                  <a:pt x="243" y="74"/>
                  <a:pt x="243" y="75"/>
                  <a:pt x="242" y="74"/>
                </a:cubicBezTo>
                <a:cubicBezTo>
                  <a:pt x="242" y="74"/>
                  <a:pt x="242" y="73"/>
                  <a:pt x="242" y="72"/>
                </a:cubicBezTo>
                <a:cubicBezTo>
                  <a:pt x="241" y="73"/>
                  <a:pt x="241" y="74"/>
                  <a:pt x="240" y="74"/>
                </a:cubicBezTo>
                <a:cubicBezTo>
                  <a:pt x="239" y="75"/>
                  <a:pt x="239" y="76"/>
                  <a:pt x="239" y="77"/>
                </a:cubicBezTo>
                <a:cubicBezTo>
                  <a:pt x="239" y="78"/>
                  <a:pt x="238" y="78"/>
                  <a:pt x="238" y="79"/>
                </a:cubicBezTo>
                <a:cubicBezTo>
                  <a:pt x="238" y="80"/>
                  <a:pt x="237" y="81"/>
                  <a:pt x="237" y="82"/>
                </a:cubicBezTo>
                <a:cubicBezTo>
                  <a:pt x="238" y="83"/>
                  <a:pt x="237" y="84"/>
                  <a:pt x="238" y="85"/>
                </a:cubicBezTo>
                <a:cubicBezTo>
                  <a:pt x="238" y="85"/>
                  <a:pt x="238" y="87"/>
                  <a:pt x="237" y="87"/>
                </a:cubicBezTo>
                <a:cubicBezTo>
                  <a:pt x="236" y="87"/>
                  <a:pt x="236" y="88"/>
                  <a:pt x="236" y="89"/>
                </a:cubicBezTo>
                <a:cubicBezTo>
                  <a:pt x="235" y="90"/>
                  <a:pt x="236" y="91"/>
                  <a:pt x="236" y="92"/>
                </a:cubicBezTo>
                <a:cubicBezTo>
                  <a:pt x="236" y="92"/>
                  <a:pt x="235" y="93"/>
                  <a:pt x="235" y="93"/>
                </a:cubicBezTo>
                <a:cubicBezTo>
                  <a:pt x="234" y="93"/>
                  <a:pt x="234" y="94"/>
                  <a:pt x="234" y="94"/>
                </a:cubicBezTo>
                <a:cubicBezTo>
                  <a:pt x="234" y="94"/>
                  <a:pt x="233" y="95"/>
                  <a:pt x="233" y="95"/>
                </a:cubicBezTo>
                <a:close/>
                <a:moveTo>
                  <a:pt x="95" y="129"/>
                </a:moveTo>
                <a:cubicBezTo>
                  <a:pt x="96" y="129"/>
                  <a:pt x="95" y="128"/>
                  <a:pt x="95" y="128"/>
                </a:cubicBezTo>
                <a:cubicBezTo>
                  <a:pt x="95" y="128"/>
                  <a:pt x="95" y="129"/>
                  <a:pt x="95" y="129"/>
                </a:cubicBezTo>
                <a:close/>
                <a:moveTo>
                  <a:pt x="133" y="150"/>
                </a:moveTo>
                <a:cubicBezTo>
                  <a:pt x="133" y="150"/>
                  <a:pt x="133" y="150"/>
                  <a:pt x="133" y="150"/>
                </a:cubicBezTo>
                <a:cubicBezTo>
                  <a:pt x="133" y="150"/>
                  <a:pt x="134" y="150"/>
                  <a:pt x="134" y="150"/>
                </a:cubicBezTo>
                <a:cubicBezTo>
                  <a:pt x="134" y="150"/>
                  <a:pt x="135" y="151"/>
                  <a:pt x="135" y="151"/>
                </a:cubicBezTo>
                <a:cubicBezTo>
                  <a:pt x="135" y="150"/>
                  <a:pt x="133" y="150"/>
                  <a:pt x="133" y="150"/>
                </a:cubicBezTo>
                <a:close/>
                <a:moveTo>
                  <a:pt x="36" y="47"/>
                </a:moveTo>
                <a:cubicBezTo>
                  <a:pt x="36" y="47"/>
                  <a:pt x="35" y="47"/>
                  <a:pt x="35" y="47"/>
                </a:cubicBezTo>
                <a:cubicBezTo>
                  <a:pt x="35" y="46"/>
                  <a:pt x="35" y="47"/>
                  <a:pt x="35" y="47"/>
                </a:cubicBezTo>
                <a:cubicBezTo>
                  <a:pt x="35" y="47"/>
                  <a:pt x="36" y="47"/>
                  <a:pt x="36" y="47"/>
                </a:cubicBezTo>
                <a:cubicBezTo>
                  <a:pt x="37" y="47"/>
                  <a:pt x="36" y="47"/>
                  <a:pt x="36" y="47"/>
                </a:cubicBezTo>
                <a:close/>
                <a:moveTo>
                  <a:pt x="47" y="89"/>
                </a:moveTo>
                <a:cubicBezTo>
                  <a:pt x="47" y="88"/>
                  <a:pt x="46" y="87"/>
                  <a:pt x="45" y="88"/>
                </a:cubicBezTo>
                <a:cubicBezTo>
                  <a:pt x="45" y="88"/>
                  <a:pt x="46" y="89"/>
                  <a:pt x="46" y="89"/>
                </a:cubicBezTo>
                <a:cubicBezTo>
                  <a:pt x="46" y="89"/>
                  <a:pt x="45" y="89"/>
                  <a:pt x="45" y="89"/>
                </a:cubicBezTo>
                <a:cubicBezTo>
                  <a:pt x="45" y="89"/>
                  <a:pt x="46" y="90"/>
                  <a:pt x="46" y="90"/>
                </a:cubicBezTo>
                <a:cubicBezTo>
                  <a:pt x="46" y="90"/>
                  <a:pt x="48" y="91"/>
                  <a:pt x="48" y="91"/>
                </a:cubicBezTo>
                <a:cubicBezTo>
                  <a:pt x="49" y="91"/>
                  <a:pt x="48" y="90"/>
                  <a:pt x="48" y="90"/>
                </a:cubicBezTo>
                <a:cubicBezTo>
                  <a:pt x="47" y="89"/>
                  <a:pt x="47" y="89"/>
                  <a:pt x="47" y="89"/>
                </a:cubicBezTo>
                <a:close/>
                <a:moveTo>
                  <a:pt x="275" y="78"/>
                </a:moveTo>
                <a:cubicBezTo>
                  <a:pt x="275" y="78"/>
                  <a:pt x="275" y="78"/>
                  <a:pt x="274" y="78"/>
                </a:cubicBezTo>
                <a:cubicBezTo>
                  <a:pt x="274" y="78"/>
                  <a:pt x="274" y="78"/>
                  <a:pt x="273" y="78"/>
                </a:cubicBezTo>
                <a:cubicBezTo>
                  <a:pt x="273" y="78"/>
                  <a:pt x="272" y="78"/>
                  <a:pt x="272" y="79"/>
                </a:cubicBezTo>
                <a:cubicBezTo>
                  <a:pt x="272" y="79"/>
                  <a:pt x="271" y="80"/>
                  <a:pt x="272" y="81"/>
                </a:cubicBezTo>
                <a:cubicBezTo>
                  <a:pt x="272" y="82"/>
                  <a:pt x="272" y="83"/>
                  <a:pt x="273" y="83"/>
                </a:cubicBezTo>
                <a:cubicBezTo>
                  <a:pt x="273" y="82"/>
                  <a:pt x="273" y="81"/>
                  <a:pt x="274" y="81"/>
                </a:cubicBezTo>
                <a:cubicBezTo>
                  <a:pt x="274" y="80"/>
                  <a:pt x="274" y="80"/>
                  <a:pt x="274" y="80"/>
                </a:cubicBezTo>
                <a:cubicBezTo>
                  <a:pt x="274" y="80"/>
                  <a:pt x="275" y="80"/>
                  <a:pt x="275" y="80"/>
                </a:cubicBezTo>
                <a:cubicBezTo>
                  <a:pt x="275" y="80"/>
                  <a:pt x="275" y="81"/>
                  <a:pt x="275" y="81"/>
                </a:cubicBezTo>
                <a:cubicBezTo>
                  <a:pt x="275" y="82"/>
                  <a:pt x="275" y="82"/>
                  <a:pt x="275" y="82"/>
                </a:cubicBezTo>
                <a:cubicBezTo>
                  <a:pt x="274" y="83"/>
                  <a:pt x="276" y="83"/>
                  <a:pt x="276" y="83"/>
                </a:cubicBezTo>
                <a:cubicBezTo>
                  <a:pt x="276" y="83"/>
                  <a:pt x="276" y="82"/>
                  <a:pt x="276" y="81"/>
                </a:cubicBezTo>
                <a:cubicBezTo>
                  <a:pt x="276" y="81"/>
                  <a:pt x="277" y="83"/>
                  <a:pt x="278" y="81"/>
                </a:cubicBezTo>
                <a:cubicBezTo>
                  <a:pt x="278" y="81"/>
                  <a:pt x="279" y="80"/>
                  <a:pt x="279" y="79"/>
                </a:cubicBezTo>
                <a:cubicBezTo>
                  <a:pt x="278" y="79"/>
                  <a:pt x="278" y="79"/>
                  <a:pt x="278" y="79"/>
                </a:cubicBezTo>
                <a:cubicBezTo>
                  <a:pt x="277" y="79"/>
                  <a:pt x="277" y="78"/>
                  <a:pt x="277" y="79"/>
                </a:cubicBezTo>
                <a:cubicBezTo>
                  <a:pt x="277" y="79"/>
                  <a:pt x="276" y="81"/>
                  <a:pt x="276" y="80"/>
                </a:cubicBezTo>
                <a:cubicBezTo>
                  <a:pt x="275" y="80"/>
                  <a:pt x="275" y="79"/>
                  <a:pt x="275" y="79"/>
                </a:cubicBezTo>
                <a:cubicBezTo>
                  <a:pt x="276" y="79"/>
                  <a:pt x="275" y="78"/>
                  <a:pt x="275" y="78"/>
                </a:cubicBezTo>
                <a:close/>
                <a:moveTo>
                  <a:pt x="289" y="155"/>
                </a:moveTo>
                <a:cubicBezTo>
                  <a:pt x="288" y="155"/>
                  <a:pt x="287" y="155"/>
                  <a:pt x="287" y="155"/>
                </a:cubicBezTo>
                <a:cubicBezTo>
                  <a:pt x="286" y="155"/>
                  <a:pt x="286" y="155"/>
                  <a:pt x="286" y="155"/>
                </a:cubicBezTo>
                <a:cubicBezTo>
                  <a:pt x="285" y="155"/>
                  <a:pt x="286" y="155"/>
                  <a:pt x="285" y="155"/>
                </a:cubicBezTo>
                <a:cubicBezTo>
                  <a:pt x="285" y="155"/>
                  <a:pt x="285" y="155"/>
                  <a:pt x="284" y="155"/>
                </a:cubicBezTo>
                <a:cubicBezTo>
                  <a:pt x="284" y="155"/>
                  <a:pt x="283" y="156"/>
                  <a:pt x="283" y="156"/>
                </a:cubicBezTo>
                <a:cubicBezTo>
                  <a:pt x="284" y="156"/>
                  <a:pt x="285" y="155"/>
                  <a:pt x="285" y="156"/>
                </a:cubicBezTo>
                <a:cubicBezTo>
                  <a:pt x="285" y="156"/>
                  <a:pt x="283" y="157"/>
                  <a:pt x="283" y="157"/>
                </a:cubicBezTo>
                <a:cubicBezTo>
                  <a:pt x="282" y="158"/>
                  <a:pt x="283" y="159"/>
                  <a:pt x="284" y="158"/>
                </a:cubicBezTo>
                <a:cubicBezTo>
                  <a:pt x="284" y="158"/>
                  <a:pt x="284" y="158"/>
                  <a:pt x="285" y="158"/>
                </a:cubicBezTo>
                <a:cubicBezTo>
                  <a:pt x="285" y="158"/>
                  <a:pt x="286" y="158"/>
                  <a:pt x="286" y="158"/>
                </a:cubicBezTo>
                <a:cubicBezTo>
                  <a:pt x="287" y="158"/>
                  <a:pt x="288" y="157"/>
                  <a:pt x="289" y="157"/>
                </a:cubicBezTo>
                <a:cubicBezTo>
                  <a:pt x="290" y="157"/>
                  <a:pt x="291" y="157"/>
                  <a:pt x="291" y="156"/>
                </a:cubicBezTo>
                <a:cubicBezTo>
                  <a:pt x="290" y="155"/>
                  <a:pt x="289" y="155"/>
                  <a:pt x="289" y="155"/>
                </a:cubicBezTo>
                <a:close/>
                <a:moveTo>
                  <a:pt x="92" y="61"/>
                </a:moveTo>
                <a:cubicBezTo>
                  <a:pt x="92" y="61"/>
                  <a:pt x="92" y="61"/>
                  <a:pt x="92" y="61"/>
                </a:cubicBezTo>
                <a:cubicBezTo>
                  <a:pt x="92" y="62"/>
                  <a:pt x="94" y="62"/>
                  <a:pt x="92" y="61"/>
                </a:cubicBezTo>
                <a:close/>
                <a:moveTo>
                  <a:pt x="357" y="118"/>
                </a:moveTo>
                <a:cubicBezTo>
                  <a:pt x="357" y="117"/>
                  <a:pt x="357" y="117"/>
                  <a:pt x="357" y="117"/>
                </a:cubicBezTo>
                <a:cubicBezTo>
                  <a:pt x="357" y="117"/>
                  <a:pt x="357" y="117"/>
                  <a:pt x="357" y="118"/>
                </a:cubicBezTo>
                <a:close/>
                <a:moveTo>
                  <a:pt x="115" y="98"/>
                </a:moveTo>
                <a:cubicBezTo>
                  <a:pt x="115" y="98"/>
                  <a:pt x="116" y="99"/>
                  <a:pt x="116" y="99"/>
                </a:cubicBezTo>
                <a:cubicBezTo>
                  <a:pt x="116" y="99"/>
                  <a:pt x="117" y="98"/>
                  <a:pt x="117" y="98"/>
                </a:cubicBezTo>
                <a:cubicBezTo>
                  <a:pt x="117" y="97"/>
                  <a:pt x="116" y="97"/>
                  <a:pt x="116" y="97"/>
                </a:cubicBezTo>
                <a:cubicBezTo>
                  <a:pt x="116" y="97"/>
                  <a:pt x="115" y="97"/>
                  <a:pt x="115" y="98"/>
                </a:cubicBezTo>
                <a:close/>
                <a:moveTo>
                  <a:pt x="354" y="109"/>
                </a:moveTo>
                <a:cubicBezTo>
                  <a:pt x="354" y="108"/>
                  <a:pt x="354" y="110"/>
                  <a:pt x="354" y="110"/>
                </a:cubicBezTo>
                <a:cubicBezTo>
                  <a:pt x="354" y="110"/>
                  <a:pt x="354" y="109"/>
                  <a:pt x="354" y="109"/>
                </a:cubicBezTo>
                <a:close/>
                <a:moveTo>
                  <a:pt x="83" y="54"/>
                </a:moveTo>
                <a:cubicBezTo>
                  <a:pt x="83" y="54"/>
                  <a:pt x="83" y="54"/>
                  <a:pt x="83" y="53"/>
                </a:cubicBezTo>
                <a:cubicBezTo>
                  <a:pt x="83" y="53"/>
                  <a:pt x="83" y="53"/>
                  <a:pt x="83" y="53"/>
                </a:cubicBezTo>
                <a:cubicBezTo>
                  <a:pt x="83" y="53"/>
                  <a:pt x="82" y="53"/>
                  <a:pt x="82" y="54"/>
                </a:cubicBezTo>
                <a:cubicBezTo>
                  <a:pt x="82" y="54"/>
                  <a:pt x="84" y="55"/>
                  <a:pt x="83" y="54"/>
                </a:cubicBezTo>
                <a:close/>
                <a:moveTo>
                  <a:pt x="201" y="119"/>
                </a:moveTo>
                <a:cubicBezTo>
                  <a:pt x="201" y="118"/>
                  <a:pt x="200" y="121"/>
                  <a:pt x="201" y="119"/>
                </a:cubicBezTo>
                <a:close/>
                <a:moveTo>
                  <a:pt x="266" y="125"/>
                </a:moveTo>
                <a:cubicBezTo>
                  <a:pt x="267" y="125"/>
                  <a:pt x="267" y="124"/>
                  <a:pt x="267" y="123"/>
                </a:cubicBezTo>
                <a:cubicBezTo>
                  <a:pt x="267" y="123"/>
                  <a:pt x="267" y="125"/>
                  <a:pt x="267" y="125"/>
                </a:cubicBezTo>
                <a:cubicBezTo>
                  <a:pt x="268" y="125"/>
                  <a:pt x="268" y="125"/>
                  <a:pt x="268" y="125"/>
                </a:cubicBezTo>
                <a:cubicBezTo>
                  <a:pt x="268" y="124"/>
                  <a:pt x="268" y="124"/>
                  <a:pt x="268" y="124"/>
                </a:cubicBezTo>
                <a:cubicBezTo>
                  <a:pt x="268" y="123"/>
                  <a:pt x="268" y="123"/>
                  <a:pt x="268" y="123"/>
                </a:cubicBezTo>
                <a:cubicBezTo>
                  <a:pt x="268" y="123"/>
                  <a:pt x="268" y="123"/>
                  <a:pt x="268" y="122"/>
                </a:cubicBezTo>
                <a:cubicBezTo>
                  <a:pt x="268" y="122"/>
                  <a:pt x="268" y="122"/>
                  <a:pt x="268" y="122"/>
                </a:cubicBezTo>
                <a:cubicBezTo>
                  <a:pt x="268" y="122"/>
                  <a:pt x="268" y="122"/>
                  <a:pt x="268" y="121"/>
                </a:cubicBezTo>
                <a:cubicBezTo>
                  <a:pt x="268" y="121"/>
                  <a:pt x="269" y="121"/>
                  <a:pt x="269" y="120"/>
                </a:cubicBezTo>
                <a:cubicBezTo>
                  <a:pt x="270" y="119"/>
                  <a:pt x="270" y="119"/>
                  <a:pt x="270" y="117"/>
                </a:cubicBezTo>
                <a:cubicBezTo>
                  <a:pt x="270" y="117"/>
                  <a:pt x="270" y="116"/>
                  <a:pt x="269" y="116"/>
                </a:cubicBezTo>
                <a:cubicBezTo>
                  <a:pt x="268" y="117"/>
                  <a:pt x="268" y="117"/>
                  <a:pt x="267" y="117"/>
                </a:cubicBezTo>
                <a:cubicBezTo>
                  <a:pt x="266" y="117"/>
                  <a:pt x="265" y="119"/>
                  <a:pt x="266" y="119"/>
                </a:cubicBezTo>
                <a:cubicBezTo>
                  <a:pt x="266" y="120"/>
                  <a:pt x="266" y="120"/>
                  <a:pt x="266" y="121"/>
                </a:cubicBezTo>
                <a:cubicBezTo>
                  <a:pt x="266" y="121"/>
                  <a:pt x="265" y="122"/>
                  <a:pt x="265" y="122"/>
                </a:cubicBezTo>
                <a:cubicBezTo>
                  <a:pt x="265" y="123"/>
                  <a:pt x="264" y="125"/>
                  <a:pt x="265" y="125"/>
                </a:cubicBezTo>
                <a:cubicBezTo>
                  <a:pt x="266" y="125"/>
                  <a:pt x="266" y="123"/>
                  <a:pt x="266" y="124"/>
                </a:cubicBezTo>
                <a:cubicBezTo>
                  <a:pt x="266" y="124"/>
                  <a:pt x="266" y="125"/>
                  <a:pt x="266" y="125"/>
                </a:cubicBezTo>
                <a:close/>
                <a:moveTo>
                  <a:pt x="269" y="127"/>
                </a:moveTo>
                <a:cubicBezTo>
                  <a:pt x="269" y="127"/>
                  <a:pt x="269" y="128"/>
                  <a:pt x="269" y="128"/>
                </a:cubicBezTo>
                <a:cubicBezTo>
                  <a:pt x="269" y="127"/>
                  <a:pt x="270" y="128"/>
                  <a:pt x="270" y="127"/>
                </a:cubicBezTo>
                <a:cubicBezTo>
                  <a:pt x="270" y="127"/>
                  <a:pt x="271" y="127"/>
                  <a:pt x="271" y="126"/>
                </a:cubicBezTo>
                <a:cubicBezTo>
                  <a:pt x="271" y="126"/>
                  <a:pt x="271" y="126"/>
                  <a:pt x="270" y="126"/>
                </a:cubicBezTo>
                <a:cubicBezTo>
                  <a:pt x="270" y="125"/>
                  <a:pt x="271" y="124"/>
                  <a:pt x="272" y="125"/>
                </a:cubicBezTo>
                <a:cubicBezTo>
                  <a:pt x="272" y="125"/>
                  <a:pt x="274" y="124"/>
                  <a:pt x="274" y="123"/>
                </a:cubicBezTo>
                <a:cubicBezTo>
                  <a:pt x="274" y="123"/>
                  <a:pt x="272" y="122"/>
                  <a:pt x="272" y="122"/>
                </a:cubicBezTo>
                <a:cubicBezTo>
                  <a:pt x="272" y="122"/>
                  <a:pt x="272" y="123"/>
                  <a:pt x="271" y="122"/>
                </a:cubicBezTo>
                <a:cubicBezTo>
                  <a:pt x="271" y="122"/>
                  <a:pt x="272" y="121"/>
                  <a:pt x="272" y="121"/>
                </a:cubicBezTo>
                <a:cubicBezTo>
                  <a:pt x="272" y="121"/>
                  <a:pt x="271" y="120"/>
                  <a:pt x="272" y="120"/>
                </a:cubicBezTo>
                <a:cubicBezTo>
                  <a:pt x="272" y="119"/>
                  <a:pt x="272" y="120"/>
                  <a:pt x="272" y="119"/>
                </a:cubicBezTo>
                <a:cubicBezTo>
                  <a:pt x="272" y="119"/>
                  <a:pt x="272" y="119"/>
                  <a:pt x="272" y="119"/>
                </a:cubicBezTo>
                <a:cubicBezTo>
                  <a:pt x="272" y="118"/>
                  <a:pt x="272" y="118"/>
                  <a:pt x="273" y="117"/>
                </a:cubicBezTo>
                <a:cubicBezTo>
                  <a:pt x="273" y="117"/>
                  <a:pt x="273" y="118"/>
                  <a:pt x="273" y="118"/>
                </a:cubicBezTo>
                <a:cubicBezTo>
                  <a:pt x="273" y="118"/>
                  <a:pt x="273" y="117"/>
                  <a:pt x="273" y="117"/>
                </a:cubicBezTo>
                <a:cubicBezTo>
                  <a:pt x="274" y="117"/>
                  <a:pt x="274" y="118"/>
                  <a:pt x="274" y="118"/>
                </a:cubicBezTo>
                <a:cubicBezTo>
                  <a:pt x="274" y="119"/>
                  <a:pt x="274" y="118"/>
                  <a:pt x="274" y="118"/>
                </a:cubicBezTo>
                <a:cubicBezTo>
                  <a:pt x="274" y="117"/>
                  <a:pt x="274" y="117"/>
                  <a:pt x="274" y="116"/>
                </a:cubicBezTo>
                <a:cubicBezTo>
                  <a:pt x="274" y="116"/>
                  <a:pt x="274" y="116"/>
                  <a:pt x="274" y="115"/>
                </a:cubicBezTo>
                <a:cubicBezTo>
                  <a:pt x="274" y="115"/>
                  <a:pt x="273" y="114"/>
                  <a:pt x="273" y="114"/>
                </a:cubicBezTo>
                <a:cubicBezTo>
                  <a:pt x="273" y="113"/>
                  <a:pt x="272" y="114"/>
                  <a:pt x="272" y="114"/>
                </a:cubicBezTo>
                <a:cubicBezTo>
                  <a:pt x="271" y="114"/>
                  <a:pt x="271" y="115"/>
                  <a:pt x="271" y="116"/>
                </a:cubicBezTo>
                <a:cubicBezTo>
                  <a:pt x="270" y="117"/>
                  <a:pt x="271" y="118"/>
                  <a:pt x="270" y="119"/>
                </a:cubicBezTo>
                <a:cubicBezTo>
                  <a:pt x="270" y="119"/>
                  <a:pt x="270" y="120"/>
                  <a:pt x="270" y="120"/>
                </a:cubicBezTo>
                <a:cubicBezTo>
                  <a:pt x="270" y="120"/>
                  <a:pt x="270" y="120"/>
                  <a:pt x="270" y="121"/>
                </a:cubicBezTo>
                <a:cubicBezTo>
                  <a:pt x="270" y="120"/>
                  <a:pt x="269" y="122"/>
                  <a:pt x="269" y="123"/>
                </a:cubicBezTo>
                <a:cubicBezTo>
                  <a:pt x="270" y="122"/>
                  <a:pt x="270" y="122"/>
                  <a:pt x="270" y="122"/>
                </a:cubicBezTo>
                <a:cubicBezTo>
                  <a:pt x="270" y="123"/>
                  <a:pt x="269" y="123"/>
                  <a:pt x="269" y="123"/>
                </a:cubicBezTo>
                <a:cubicBezTo>
                  <a:pt x="269" y="123"/>
                  <a:pt x="269" y="124"/>
                  <a:pt x="269" y="124"/>
                </a:cubicBezTo>
                <a:cubicBezTo>
                  <a:pt x="268" y="124"/>
                  <a:pt x="268" y="125"/>
                  <a:pt x="268" y="125"/>
                </a:cubicBezTo>
                <a:cubicBezTo>
                  <a:pt x="267" y="126"/>
                  <a:pt x="268" y="127"/>
                  <a:pt x="268" y="128"/>
                </a:cubicBezTo>
                <a:cubicBezTo>
                  <a:pt x="268" y="128"/>
                  <a:pt x="269" y="127"/>
                  <a:pt x="269" y="127"/>
                </a:cubicBezTo>
                <a:close/>
                <a:moveTo>
                  <a:pt x="123" y="54"/>
                </a:moveTo>
                <a:cubicBezTo>
                  <a:pt x="123" y="54"/>
                  <a:pt x="124" y="55"/>
                  <a:pt x="123" y="55"/>
                </a:cubicBezTo>
                <a:cubicBezTo>
                  <a:pt x="124" y="54"/>
                  <a:pt x="123" y="53"/>
                  <a:pt x="123" y="54"/>
                </a:cubicBezTo>
                <a:close/>
                <a:moveTo>
                  <a:pt x="87" y="57"/>
                </a:moveTo>
                <a:cubicBezTo>
                  <a:pt x="87" y="56"/>
                  <a:pt x="86" y="55"/>
                  <a:pt x="86" y="56"/>
                </a:cubicBezTo>
                <a:cubicBezTo>
                  <a:pt x="86" y="56"/>
                  <a:pt x="87" y="57"/>
                  <a:pt x="87" y="57"/>
                </a:cubicBezTo>
                <a:close/>
                <a:moveTo>
                  <a:pt x="398" y="76"/>
                </a:moveTo>
                <a:cubicBezTo>
                  <a:pt x="398" y="77"/>
                  <a:pt x="398" y="78"/>
                  <a:pt x="398" y="78"/>
                </a:cubicBezTo>
                <a:cubicBezTo>
                  <a:pt x="399" y="79"/>
                  <a:pt x="399" y="78"/>
                  <a:pt x="400" y="78"/>
                </a:cubicBezTo>
                <a:cubicBezTo>
                  <a:pt x="400" y="79"/>
                  <a:pt x="401" y="79"/>
                  <a:pt x="401" y="79"/>
                </a:cubicBezTo>
                <a:cubicBezTo>
                  <a:pt x="401" y="79"/>
                  <a:pt x="403" y="78"/>
                  <a:pt x="403" y="78"/>
                </a:cubicBezTo>
                <a:cubicBezTo>
                  <a:pt x="403" y="77"/>
                  <a:pt x="403" y="78"/>
                  <a:pt x="403" y="77"/>
                </a:cubicBezTo>
                <a:cubicBezTo>
                  <a:pt x="403" y="77"/>
                  <a:pt x="402" y="77"/>
                  <a:pt x="402" y="77"/>
                </a:cubicBezTo>
                <a:cubicBezTo>
                  <a:pt x="402" y="77"/>
                  <a:pt x="402" y="77"/>
                  <a:pt x="401" y="77"/>
                </a:cubicBezTo>
                <a:cubicBezTo>
                  <a:pt x="401" y="77"/>
                  <a:pt x="401" y="75"/>
                  <a:pt x="400" y="75"/>
                </a:cubicBezTo>
                <a:cubicBezTo>
                  <a:pt x="401" y="75"/>
                  <a:pt x="399" y="74"/>
                  <a:pt x="399" y="74"/>
                </a:cubicBezTo>
                <a:cubicBezTo>
                  <a:pt x="399" y="74"/>
                  <a:pt x="399" y="73"/>
                  <a:pt x="398" y="73"/>
                </a:cubicBezTo>
                <a:cubicBezTo>
                  <a:pt x="398" y="73"/>
                  <a:pt x="398" y="73"/>
                  <a:pt x="397" y="74"/>
                </a:cubicBezTo>
                <a:cubicBezTo>
                  <a:pt x="397" y="74"/>
                  <a:pt x="398" y="75"/>
                  <a:pt x="398" y="76"/>
                </a:cubicBezTo>
                <a:close/>
                <a:moveTo>
                  <a:pt x="370" y="124"/>
                </a:moveTo>
                <a:cubicBezTo>
                  <a:pt x="369" y="124"/>
                  <a:pt x="369" y="125"/>
                  <a:pt x="369" y="126"/>
                </a:cubicBezTo>
                <a:cubicBezTo>
                  <a:pt x="369" y="126"/>
                  <a:pt x="369" y="127"/>
                  <a:pt x="368" y="127"/>
                </a:cubicBezTo>
                <a:cubicBezTo>
                  <a:pt x="368" y="127"/>
                  <a:pt x="368" y="128"/>
                  <a:pt x="368" y="129"/>
                </a:cubicBezTo>
                <a:cubicBezTo>
                  <a:pt x="367" y="130"/>
                  <a:pt x="367" y="130"/>
                  <a:pt x="367" y="131"/>
                </a:cubicBezTo>
                <a:cubicBezTo>
                  <a:pt x="367" y="131"/>
                  <a:pt x="368" y="130"/>
                  <a:pt x="368" y="129"/>
                </a:cubicBezTo>
                <a:cubicBezTo>
                  <a:pt x="368" y="128"/>
                  <a:pt x="368" y="128"/>
                  <a:pt x="369" y="127"/>
                </a:cubicBezTo>
                <a:cubicBezTo>
                  <a:pt x="370" y="127"/>
                  <a:pt x="370" y="126"/>
                  <a:pt x="370" y="125"/>
                </a:cubicBezTo>
                <a:cubicBezTo>
                  <a:pt x="370" y="125"/>
                  <a:pt x="371" y="123"/>
                  <a:pt x="370" y="124"/>
                </a:cubicBezTo>
                <a:close/>
                <a:moveTo>
                  <a:pt x="316" y="56"/>
                </a:moveTo>
                <a:cubicBezTo>
                  <a:pt x="315" y="55"/>
                  <a:pt x="315" y="57"/>
                  <a:pt x="315" y="57"/>
                </a:cubicBezTo>
                <a:cubicBezTo>
                  <a:pt x="316" y="57"/>
                  <a:pt x="316" y="56"/>
                  <a:pt x="316" y="56"/>
                </a:cubicBezTo>
                <a:close/>
                <a:moveTo>
                  <a:pt x="74" y="55"/>
                </a:moveTo>
                <a:cubicBezTo>
                  <a:pt x="74" y="55"/>
                  <a:pt x="73" y="55"/>
                  <a:pt x="74" y="56"/>
                </a:cubicBezTo>
                <a:cubicBezTo>
                  <a:pt x="75" y="57"/>
                  <a:pt x="75" y="57"/>
                  <a:pt x="77" y="57"/>
                </a:cubicBezTo>
                <a:cubicBezTo>
                  <a:pt x="77" y="57"/>
                  <a:pt x="78" y="56"/>
                  <a:pt x="79" y="57"/>
                </a:cubicBezTo>
                <a:cubicBezTo>
                  <a:pt x="80" y="58"/>
                  <a:pt x="80" y="57"/>
                  <a:pt x="80" y="57"/>
                </a:cubicBezTo>
                <a:cubicBezTo>
                  <a:pt x="80" y="56"/>
                  <a:pt x="78" y="55"/>
                  <a:pt x="78" y="55"/>
                </a:cubicBezTo>
                <a:cubicBezTo>
                  <a:pt x="77" y="54"/>
                  <a:pt x="77" y="54"/>
                  <a:pt x="77" y="54"/>
                </a:cubicBezTo>
                <a:cubicBezTo>
                  <a:pt x="76" y="54"/>
                  <a:pt x="76" y="55"/>
                  <a:pt x="76" y="54"/>
                </a:cubicBezTo>
                <a:cubicBezTo>
                  <a:pt x="75" y="54"/>
                  <a:pt x="75" y="52"/>
                  <a:pt x="74" y="53"/>
                </a:cubicBezTo>
                <a:cubicBezTo>
                  <a:pt x="74" y="53"/>
                  <a:pt x="74" y="54"/>
                  <a:pt x="74" y="55"/>
                </a:cubicBezTo>
                <a:close/>
                <a:moveTo>
                  <a:pt x="356" y="94"/>
                </a:moveTo>
                <a:cubicBezTo>
                  <a:pt x="356" y="94"/>
                  <a:pt x="357" y="94"/>
                  <a:pt x="357" y="94"/>
                </a:cubicBezTo>
                <a:cubicBezTo>
                  <a:pt x="357" y="94"/>
                  <a:pt x="356" y="94"/>
                  <a:pt x="356" y="94"/>
                </a:cubicBezTo>
                <a:close/>
                <a:moveTo>
                  <a:pt x="246" y="174"/>
                </a:moveTo>
                <a:cubicBezTo>
                  <a:pt x="246" y="174"/>
                  <a:pt x="246" y="173"/>
                  <a:pt x="246" y="173"/>
                </a:cubicBezTo>
                <a:cubicBezTo>
                  <a:pt x="245" y="172"/>
                  <a:pt x="245" y="172"/>
                  <a:pt x="245" y="172"/>
                </a:cubicBezTo>
                <a:cubicBezTo>
                  <a:pt x="244" y="172"/>
                  <a:pt x="244" y="171"/>
                  <a:pt x="244" y="171"/>
                </a:cubicBezTo>
                <a:cubicBezTo>
                  <a:pt x="243" y="171"/>
                  <a:pt x="243" y="172"/>
                  <a:pt x="243" y="172"/>
                </a:cubicBezTo>
                <a:cubicBezTo>
                  <a:pt x="242" y="172"/>
                  <a:pt x="242" y="171"/>
                  <a:pt x="242" y="170"/>
                </a:cubicBezTo>
                <a:cubicBezTo>
                  <a:pt x="242" y="169"/>
                  <a:pt x="241" y="170"/>
                  <a:pt x="241" y="169"/>
                </a:cubicBezTo>
                <a:cubicBezTo>
                  <a:pt x="240" y="169"/>
                  <a:pt x="240" y="168"/>
                  <a:pt x="239" y="167"/>
                </a:cubicBezTo>
                <a:cubicBezTo>
                  <a:pt x="239" y="168"/>
                  <a:pt x="238" y="169"/>
                  <a:pt x="237" y="168"/>
                </a:cubicBezTo>
                <a:cubicBezTo>
                  <a:pt x="237" y="168"/>
                  <a:pt x="236" y="168"/>
                  <a:pt x="236" y="168"/>
                </a:cubicBezTo>
                <a:cubicBezTo>
                  <a:pt x="235" y="168"/>
                  <a:pt x="235" y="168"/>
                  <a:pt x="235" y="168"/>
                </a:cubicBezTo>
                <a:cubicBezTo>
                  <a:pt x="234" y="168"/>
                  <a:pt x="234" y="168"/>
                  <a:pt x="233" y="168"/>
                </a:cubicBezTo>
                <a:cubicBezTo>
                  <a:pt x="233" y="168"/>
                  <a:pt x="232" y="168"/>
                  <a:pt x="232" y="169"/>
                </a:cubicBezTo>
                <a:cubicBezTo>
                  <a:pt x="231" y="169"/>
                  <a:pt x="229" y="170"/>
                  <a:pt x="230" y="171"/>
                </a:cubicBezTo>
                <a:cubicBezTo>
                  <a:pt x="230" y="171"/>
                  <a:pt x="230" y="172"/>
                  <a:pt x="231" y="172"/>
                </a:cubicBezTo>
                <a:cubicBezTo>
                  <a:pt x="231" y="172"/>
                  <a:pt x="232" y="172"/>
                  <a:pt x="233" y="172"/>
                </a:cubicBezTo>
                <a:cubicBezTo>
                  <a:pt x="233" y="172"/>
                  <a:pt x="234" y="173"/>
                  <a:pt x="234" y="173"/>
                </a:cubicBezTo>
                <a:cubicBezTo>
                  <a:pt x="234" y="172"/>
                  <a:pt x="235" y="172"/>
                  <a:pt x="236" y="173"/>
                </a:cubicBezTo>
                <a:cubicBezTo>
                  <a:pt x="236" y="173"/>
                  <a:pt x="237" y="173"/>
                  <a:pt x="237" y="173"/>
                </a:cubicBezTo>
                <a:cubicBezTo>
                  <a:pt x="237" y="174"/>
                  <a:pt x="238" y="174"/>
                  <a:pt x="238" y="174"/>
                </a:cubicBezTo>
                <a:cubicBezTo>
                  <a:pt x="239" y="175"/>
                  <a:pt x="239" y="176"/>
                  <a:pt x="240" y="177"/>
                </a:cubicBezTo>
                <a:cubicBezTo>
                  <a:pt x="241" y="178"/>
                  <a:pt x="241" y="178"/>
                  <a:pt x="242" y="178"/>
                </a:cubicBezTo>
                <a:cubicBezTo>
                  <a:pt x="243" y="178"/>
                  <a:pt x="243" y="178"/>
                  <a:pt x="244" y="179"/>
                </a:cubicBezTo>
                <a:cubicBezTo>
                  <a:pt x="244" y="178"/>
                  <a:pt x="244" y="178"/>
                  <a:pt x="245" y="178"/>
                </a:cubicBezTo>
                <a:cubicBezTo>
                  <a:pt x="245" y="178"/>
                  <a:pt x="246" y="178"/>
                  <a:pt x="246" y="177"/>
                </a:cubicBezTo>
                <a:cubicBezTo>
                  <a:pt x="247" y="177"/>
                  <a:pt x="248" y="176"/>
                  <a:pt x="247" y="175"/>
                </a:cubicBezTo>
                <a:cubicBezTo>
                  <a:pt x="247" y="175"/>
                  <a:pt x="246" y="174"/>
                  <a:pt x="246" y="174"/>
                </a:cubicBezTo>
                <a:close/>
                <a:moveTo>
                  <a:pt x="15" y="38"/>
                </a:moveTo>
                <a:cubicBezTo>
                  <a:pt x="14" y="38"/>
                  <a:pt x="14" y="37"/>
                  <a:pt x="13" y="37"/>
                </a:cubicBezTo>
                <a:cubicBezTo>
                  <a:pt x="13" y="36"/>
                  <a:pt x="12" y="36"/>
                  <a:pt x="12" y="36"/>
                </a:cubicBezTo>
                <a:cubicBezTo>
                  <a:pt x="12" y="36"/>
                  <a:pt x="12" y="36"/>
                  <a:pt x="13" y="36"/>
                </a:cubicBezTo>
                <a:cubicBezTo>
                  <a:pt x="12" y="36"/>
                  <a:pt x="12" y="36"/>
                  <a:pt x="12" y="36"/>
                </a:cubicBezTo>
                <a:cubicBezTo>
                  <a:pt x="12" y="36"/>
                  <a:pt x="12" y="35"/>
                  <a:pt x="12" y="35"/>
                </a:cubicBezTo>
                <a:cubicBezTo>
                  <a:pt x="11" y="35"/>
                  <a:pt x="10" y="34"/>
                  <a:pt x="10" y="34"/>
                </a:cubicBezTo>
                <a:cubicBezTo>
                  <a:pt x="10" y="34"/>
                  <a:pt x="10" y="34"/>
                  <a:pt x="10" y="34"/>
                </a:cubicBezTo>
                <a:cubicBezTo>
                  <a:pt x="10" y="33"/>
                  <a:pt x="9" y="33"/>
                  <a:pt x="9" y="33"/>
                </a:cubicBezTo>
                <a:cubicBezTo>
                  <a:pt x="9" y="33"/>
                  <a:pt x="9" y="33"/>
                  <a:pt x="9" y="34"/>
                </a:cubicBezTo>
                <a:cubicBezTo>
                  <a:pt x="9" y="34"/>
                  <a:pt x="9" y="34"/>
                  <a:pt x="8" y="34"/>
                </a:cubicBezTo>
                <a:cubicBezTo>
                  <a:pt x="8" y="34"/>
                  <a:pt x="8" y="35"/>
                  <a:pt x="8" y="35"/>
                </a:cubicBezTo>
                <a:cubicBezTo>
                  <a:pt x="8" y="35"/>
                  <a:pt x="9" y="35"/>
                  <a:pt x="9" y="36"/>
                </a:cubicBezTo>
                <a:cubicBezTo>
                  <a:pt x="9" y="36"/>
                  <a:pt x="9" y="36"/>
                  <a:pt x="10" y="36"/>
                </a:cubicBezTo>
                <a:cubicBezTo>
                  <a:pt x="10" y="36"/>
                  <a:pt x="11" y="37"/>
                  <a:pt x="11" y="37"/>
                </a:cubicBezTo>
                <a:cubicBezTo>
                  <a:pt x="12" y="37"/>
                  <a:pt x="13" y="38"/>
                  <a:pt x="14" y="39"/>
                </a:cubicBezTo>
                <a:cubicBezTo>
                  <a:pt x="14" y="39"/>
                  <a:pt x="14" y="39"/>
                  <a:pt x="14" y="39"/>
                </a:cubicBezTo>
                <a:cubicBezTo>
                  <a:pt x="14" y="39"/>
                  <a:pt x="15" y="39"/>
                  <a:pt x="15" y="40"/>
                </a:cubicBezTo>
                <a:cubicBezTo>
                  <a:pt x="16" y="39"/>
                  <a:pt x="16" y="39"/>
                  <a:pt x="15" y="38"/>
                </a:cubicBezTo>
                <a:cubicBezTo>
                  <a:pt x="15" y="38"/>
                  <a:pt x="15" y="38"/>
                  <a:pt x="15" y="38"/>
                </a:cubicBezTo>
                <a:close/>
                <a:moveTo>
                  <a:pt x="349" y="79"/>
                </a:moveTo>
                <a:cubicBezTo>
                  <a:pt x="349" y="79"/>
                  <a:pt x="349" y="80"/>
                  <a:pt x="350" y="80"/>
                </a:cubicBezTo>
                <a:cubicBezTo>
                  <a:pt x="351" y="81"/>
                  <a:pt x="352" y="78"/>
                  <a:pt x="352" y="77"/>
                </a:cubicBezTo>
                <a:cubicBezTo>
                  <a:pt x="352" y="77"/>
                  <a:pt x="352" y="76"/>
                  <a:pt x="351" y="75"/>
                </a:cubicBezTo>
                <a:cubicBezTo>
                  <a:pt x="351" y="75"/>
                  <a:pt x="351" y="76"/>
                  <a:pt x="351" y="75"/>
                </a:cubicBezTo>
                <a:cubicBezTo>
                  <a:pt x="350" y="75"/>
                  <a:pt x="350" y="75"/>
                  <a:pt x="350" y="75"/>
                </a:cubicBezTo>
                <a:cubicBezTo>
                  <a:pt x="350" y="75"/>
                  <a:pt x="349" y="75"/>
                  <a:pt x="349" y="76"/>
                </a:cubicBezTo>
                <a:cubicBezTo>
                  <a:pt x="349" y="76"/>
                  <a:pt x="348" y="76"/>
                  <a:pt x="348" y="76"/>
                </a:cubicBezTo>
                <a:cubicBezTo>
                  <a:pt x="347" y="76"/>
                  <a:pt x="348" y="77"/>
                  <a:pt x="348" y="77"/>
                </a:cubicBezTo>
                <a:cubicBezTo>
                  <a:pt x="348" y="78"/>
                  <a:pt x="348" y="79"/>
                  <a:pt x="349" y="79"/>
                </a:cubicBezTo>
                <a:close/>
                <a:moveTo>
                  <a:pt x="97" y="55"/>
                </a:moveTo>
                <a:cubicBezTo>
                  <a:pt x="97" y="54"/>
                  <a:pt x="97" y="54"/>
                  <a:pt x="97" y="54"/>
                </a:cubicBezTo>
                <a:cubicBezTo>
                  <a:pt x="97" y="54"/>
                  <a:pt x="97" y="55"/>
                  <a:pt x="97" y="55"/>
                </a:cubicBezTo>
                <a:close/>
                <a:moveTo>
                  <a:pt x="35" y="69"/>
                </a:moveTo>
                <a:cubicBezTo>
                  <a:pt x="34" y="69"/>
                  <a:pt x="34" y="70"/>
                  <a:pt x="34" y="70"/>
                </a:cubicBezTo>
                <a:cubicBezTo>
                  <a:pt x="34" y="71"/>
                  <a:pt x="34" y="71"/>
                  <a:pt x="33" y="71"/>
                </a:cubicBezTo>
                <a:cubicBezTo>
                  <a:pt x="34" y="71"/>
                  <a:pt x="34" y="71"/>
                  <a:pt x="35" y="72"/>
                </a:cubicBezTo>
                <a:cubicBezTo>
                  <a:pt x="35" y="72"/>
                  <a:pt x="35" y="71"/>
                  <a:pt x="35" y="71"/>
                </a:cubicBezTo>
                <a:cubicBezTo>
                  <a:pt x="35" y="71"/>
                  <a:pt x="35" y="71"/>
                  <a:pt x="36" y="71"/>
                </a:cubicBezTo>
                <a:cubicBezTo>
                  <a:pt x="36" y="71"/>
                  <a:pt x="36" y="71"/>
                  <a:pt x="36" y="70"/>
                </a:cubicBezTo>
                <a:cubicBezTo>
                  <a:pt x="36" y="70"/>
                  <a:pt x="36" y="69"/>
                  <a:pt x="35" y="68"/>
                </a:cubicBezTo>
                <a:cubicBezTo>
                  <a:pt x="35" y="68"/>
                  <a:pt x="35" y="69"/>
                  <a:pt x="35" y="69"/>
                </a:cubicBezTo>
                <a:close/>
                <a:moveTo>
                  <a:pt x="137" y="59"/>
                </a:moveTo>
                <a:cubicBezTo>
                  <a:pt x="137" y="59"/>
                  <a:pt x="137" y="60"/>
                  <a:pt x="137" y="60"/>
                </a:cubicBezTo>
                <a:cubicBezTo>
                  <a:pt x="137" y="61"/>
                  <a:pt x="137" y="61"/>
                  <a:pt x="137" y="62"/>
                </a:cubicBezTo>
                <a:cubicBezTo>
                  <a:pt x="137" y="62"/>
                  <a:pt x="137" y="62"/>
                  <a:pt x="138" y="62"/>
                </a:cubicBezTo>
                <a:cubicBezTo>
                  <a:pt x="138" y="62"/>
                  <a:pt x="138" y="62"/>
                  <a:pt x="139" y="63"/>
                </a:cubicBezTo>
                <a:cubicBezTo>
                  <a:pt x="139" y="63"/>
                  <a:pt x="139" y="64"/>
                  <a:pt x="139" y="64"/>
                </a:cubicBezTo>
                <a:cubicBezTo>
                  <a:pt x="140" y="65"/>
                  <a:pt x="140" y="65"/>
                  <a:pt x="140" y="65"/>
                </a:cubicBezTo>
                <a:cubicBezTo>
                  <a:pt x="140" y="65"/>
                  <a:pt x="139" y="65"/>
                  <a:pt x="139" y="65"/>
                </a:cubicBezTo>
                <a:cubicBezTo>
                  <a:pt x="139" y="66"/>
                  <a:pt x="139" y="67"/>
                  <a:pt x="140" y="68"/>
                </a:cubicBezTo>
                <a:cubicBezTo>
                  <a:pt x="139" y="67"/>
                  <a:pt x="138" y="67"/>
                  <a:pt x="138" y="68"/>
                </a:cubicBezTo>
                <a:cubicBezTo>
                  <a:pt x="138" y="68"/>
                  <a:pt x="138" y="68"/>
                  <a:pt x="138" y="68"/>
                </a:cubicBezTo>
                <a:cubicBezTo>
                  <a:pt x="138" y="69"/>
                  <a:pt x="139" y="69"/>
                  <a:pt x="139" y="69"/>
                </a:cubicBezTo>
                <a:cubicBezTo>
                  <a:pt x="139" y="69"/>
                  <a:pt x="138" y="69"/>
                  <a:pt x="138" y="70"/>
                </a:cubicBezTo>
                <a:cubicBezTo>
                  <a:pt x="139" y="70"/>
                  <a:pt x="139" y="71"/>
                  <a:pt x="139" y="71"/>
                </a:cubicBezTo>
                <a:cubicBezTo>
                  <a:pt x="140" y="72"/>
                  <a:pt x="141" y="71"/>
                  <a:pt x="142" y="72"/>
                </a:cubicBezTo>
                <a:cubicBezTo>
                  <a:pt x="141" y="72"/>
                  <a:pt x="142" y="73"/>
                  <a:pt x="142" y="73"/>
                </a:cubicBezTo>
                <a:cubicBezTo>
                  <a:pt x="142" y="74"/>
                  <a:pt x="141" y="72"/>
                  <a:pt x="140" y="73"/>
                </a:cubicBezTo>
                <a:cubicBezTo>
                  <a:pt x="139" y="73"/>
                  <a:pt x="140" y="75"/>
                  <a:pt x="141" y="75"/>
                </a:cubicBezTo>
                <a:cubicBezTo>
                  <a:pt x="142" y="76"/>
                  <a:pt x="141" y="75"/>
                  <a:pt x="142" y="75"/>
                </a:cubicBezTo>
                <a:cubicBezTo>
                  <a:pt x="142" y="75"/>
                  <a:pt x="143" y="75"/>
                  <a:pt x="143" y="75"/>
                </a:cubicBezTo>
                <a:cubicBezTo>
                  <a:pt x="143" y="76"/>
                  <a:pt x="144" y="76"/>
                  <a:pt x="144" y="76"/>
                </a:cubicBezTo>
                <a:cubicBezTo>
                  <a:pt x="145" y="76"/>
                  <a:pt x="144" y="75"/>
                  <a:pt x="145" y="75"/>
                </a:cubicBezTo>
                <a:cubicBezTo>
                  <a:pt x="144" y="75"/>
                  <a:pt x="145" y="77"/>
                  <a:pt x="146" y="77"/>
                </a:cubicBezTo>
                <a:cubicBezTo>
                  <a:pt x="146" y="77"/>
                  <a:pt x="147" y="77"/>
                  <a:pt x="147" y="78"/>
                </a:cubicBezTo>
                <a:cubicBezTo>
                  <a:pt x="146" y="78"/>
                  <a:pt x="146" y="79"/>
                  <a:pt x="147" y="79"/>
                </a:cubicBezTo>
                <a:cubicBezTo>
                  <a:pt x="148" y="80"/>
                  <a:pt x="148" y="81"/>
                  <a:pt x="148" y="82"/>
                </a:cubicBezTo>
                <a:cubicBezTo>
                  <a:pt x="148" y="83"/>
                  <a:pt x="147" y="83"/>
                  <a:pt x="147" y="84"/>
                </a:cubicBezTo>
                <a:cubicBezTo>
                  <a:pt x="147" y="84"/>
                  <a:pt x="147" y="84"/>
                  <a:pt x="146" y="85"/>
                </a:cubicBezTo>
                <a:cubicBezTo>
                  <a:pt x="145" y="86"/>
                  <a:pt x="148" y="86"/>
                  <a:pt x="148" y="87"/>
                </a:cubicBezTo>
                <a:cubicBezTo>
                  <a:pt x="148" y="88"/>
                  <a:pt x="148" y="88"/>
                  <a:pt x="148" y="89"/>
                </a:cubicBezTo>
                <a:cubicBezTo>
                  <a:pt x="148" y="90"/>
                  <a:pt x="148" y="90"/>
                  <a:pt x="148" y="91"/>
                </a:cubicBezTo>
                <a:cubicBezTo>
                  <a:pt x="148" y="91"/>
                  <a:pt x="149" y="94"/>
                  <a:pt x="150" y="93"/>
                </a:cubicBezTo>
                <a:cubicBezTo>
                  <a:pt x="150" y="94"/>
                  <a:pt x="149" y="93"/>
                  <a:pt x="149" y="94"/>
                </a:cubicBezTo>
                <a:cubicBezTo>
                  <a:pt x="148" y="94"/>
                  <a:pt x="149" y="95"/>
                  <a:pt x="149" y="95"/>
                </a:cubicBezTo>
                <a:cubicBezTo>
                  <a:pt x="149" y="96"/>
                  <a:pt x="149" y="96"/>
                  <a:pt x="149" y="96"/>
                </a:cubicBezTo>
                <a:cubicBezTo>
                  <a:pt x="149" y="97"/>
                  <a:pt x="149" y="97"/>
                  <a:pt x="149" y="98"/>
                </a:cubicBezTo>
                <a:cubicBezTo>
                  <a:pt x="149" y="99"/>
                  <a:pt x="150" y="98"/>
                  <a:pt x="151" y="97"/>
                </a:cubicBezTo>
                <a:cubicBezTo>
                  <a:pt x="151" y="97"/>
                  <a:pt x="152" y="96"/>
                  <a:pt x="153" y="98"/>
                </a:cubicBezTo>
                <a:cubicBezTo>
                  <a:pt x="153" y="98"/>
                  <a:pt x="153" y="99"/>
                  <a:pt x="153" y="99"/>
                </a:cubicBezTo>
                <a:cubicBezTo>
                  <a:pt x="154" y="99"/>
                  <a:pt x="154" y="98"/>
                  <a:pt x="155" y="98"/>
                </a:cubicBezTo>
                <a:cubicBezTo>
                  <a:pt x="155" y="98"/>
                  <a:pt x="156" y="97"/>
                  <a:pt x="156" y="97"/>
                </a:cubicBezTo>
                <a:cubicBezTo>
                  <a:pt x="156" y="97"/>
                  <a:pt x="154" y="98"/>
                  <a:pt x="154" y="98"/>
                </a:cubicBezTo>
                <a:cubicBezTo>
                  <a:pt x="154" y="99"/>
                  <a:pt x="155" y="99"/>
                  <a:pt x="155" y="99"/>
                </a:cubicBezTo>
                <a:cubicBezTo>
                  <a:pt x="156" y="100"/>
                  <a:pt x="158" y="98"/>
                  <a:pt x="159" y="98"/>
                </a:cubicBezTo>
                <a:cubicBezTo>
                  <a:pt x="160" y="97"/>
                  <a:pt x="161" y="97"/>
                  <a:pt x="161" y="98"/>
                </a:cubicBezTo>
                <a:cubicBezTo>
                  <a:pt x="162" y="99"/>
                  <a:pt x="162" y="98"/>
                  <a:pt x="163" y="98"/>
                </a:cubicBezTo>
                <a:cubicBezTo>
                  <a:pt x="163" y="98"/>
                  <a:pt x="163" y="98"/>
                  <a:pt x="163" y="97"/>
                </a:cubicBezTo>
                <a:cubicBezTo>
                  <a:pt x="163" y="97"/>
                  <a:pt x="163" y="97"/>
                  <a:pt x="163" y="97"/>
                </a:cubicBezTo>
                <a:cubicBezTo>
                  <a:pt x="163" y="96"/>
                  <a:pt x="163" y="96"/>
                  <a:pt x="164" y="96"/>
                </a:cubicBezTo>
                <a:cubicBezTo>
                  <a:pt x="163" y="96"/>
                  <a:pt x="164" y="98"/>
                  <a:pt x="164" y="99"/>
                </a:cubicBezTo>
                <a:cubicBezTo>
                  <a:pt x="164" y="99"/>
                  <a:pt x="164" y="100"/>
                  <a:pt x="164" y="101"/>
                </a:cubicBezTo>
                <a:cubicBezTo>
                  <a:pt x="164" y="101"/>
                  <a:pt x="165" y="102"/>
                  <a:pt x="164" y="103"/>
                </a:cubicBezTo>
                <a:cubicBezTo>
                  <a:pt x="164" y="103"/>
                  <a:pt x="164" y="104"/>
                  <a:pt x="164" y="104"/>
                </a:cubicBezTo>
                <a:cubicBezTo>
                  <a:pt x="165" y="105"/>
                  <a:pt x="165" y="104"/>
                  <a:pt x="166" y="104"/>
                </a:cubicBezTo>
                <a:cubicBezTo>
                  <a:pt x="166" y="103"/>
                  <a:pt x="167" y="102"/>
                  <a:pt x="168" y="102"/>
                </a:cubicBezTo>
                <a:cubicBezTo>
                  <a:pt x="169" y="101"/>
                  <a:pt x="170" y="102"/>
                  <a:pt x="171" y="103"/>
                </a:cubicBezTo>
                <a:cubicBezTo>
                  <a:pt x="172" y="104"/>
                  <a:pt x="173" y="102"/>
                  <a:pt x="174" y="101"/>
                </a:cubicBezTo>
                <a:cubicBezTo>
                  <a:pt x="175" y="101"/>
                  <a:pt x="175" y="101"/>
                  <a:pt x="175" y="100"/>
                </a:cubicBezTo>
                <a:cubicBezTo>
                  <a:pt x="176" y="100"/>
                  <a:pt x="176" y="100"/>
                  <a:pt x="175" y="100"/>
                </a:cubicBezTo>
                <a:cubicBezTo>
                  <a:pt x="175" y="99"/>
                  <a:pt x="175" y="99"/>
                  <a:pt x="176" y="99"/>
                </a:cubicBezTo>
                <a:cubicBezTo>
                  <a:pt x="176" y="98"/>
                  <a:pt x="176" y="98"/>
                  <a:pt x="176" y="97"/>
                </a:cubicBezTo>
                <a:cubicBezTo>
                  <a:pt x="176" y="98"/>
                  <a:pt x="177" y="98"/>
                  <a:pt x="177" y="99"/>
                </a:cubicBezTo>
                <a:cubicBezTo>
                  <a:pt x="177" y="99"/>
                  <a:pt x="177" y="99"/>
                  <a:pt x="178" y="99"/>
                </a:cubicBezTo>
                <a:cubicBezTo>
                  <a:pt x="178" y="100"/>
                  <a:pt x="178" y="101"/>
                  <a:pt x="179" y="101"/>
                </a:cubicBezTo>
                <a:cubicBezTo>
                  <a:pt x="179" y="101"/>
                  <a:pt x="179" y="100"/>
                  <a:pt x="179" y="100"/>
                </a:cubicBezTo>
                <a:cubicBezTo>
                  <a:pt x="179" y="100"/>
                  <a:pt x="179" y="101"/>
                  <a:pt x="180" y="101"/>
                </a:cubicBezTo>
                <a:cubicBezTo>
                  <a:pt x="180" y="101"/>
                  <a:pt x="180" y="101"/>
                  <a:pt x="180" y="100"/>
                </a:cubicBezTo>
                <a:cubicBezTo>
                  <a:pt x="182" y="99"/>
                  <a:pt x="182" y="101"/>
                  <a:pt x="182" y="102"/>
                </a:cubicBezTo>
                <a:cubicBezTo>
                  <a:pt x="182" y="104"/>
                  <a:pt x="183" y="104"/>
                  <a:pt x="184" y="103"/>
                </a:cubicBezTo>
                <a:cubicBezTo>
                  <a:pt x="184" y="103"/>
                  <a:pt x="185" y="103"/>
                  <a:pt x="186" y="102"/>
                </a:cubicBezTo>
                <a:cubicBezTo>
                  <a:pt x="186" y="102"/>
                  <a:pt x="186" y="101"/>
                  <a:pt x="187" y="100"/>
                </a:cubicBezTo>
                <a:cubicBezTo>
                  <a:pt x="187" y="101"/>
                  <a:pt x="186" y="103"/>
                  <a:pt x="187" y="102"/>
                </a:cubicBezTo>
                <a:cubicBezTo>
                  <a:pt x="188" y="102"/>
                  <a:pt x="188" y="101"/>
                  <a:pt x="189" y="101"/>
                </a:cubicBezTo>
                <a:cubicBezTo>
                  <a:pt x="189" y="101"/>
                  <a:pt x="188" y="102"/>
                  <a:pt x="188" y="102"/>
                </a:cubicBezTo>
                <a:cubicBezTo>
                  <a:pt x="188" y="103"/>
                  <a:pt x="189" y="103"/>
                  <a:pt x="189" y="103"/>
                </a:cubicBezTo>
                <a:cubicBezTo>
                  <a:pt x="189" y="103"/>
                  <a:pt x="190" y="104"/>
                  <a:pt x="190" y="103"/>
                </a:cubicBezTo>
                <a:cubicBezTo>
                  <a:pt x="190" y="103"/>
                  <a:pt x="190" y="102"/>
                  <a:pt x="190" y="102"/>
                </a:cubicBezTo>
                <a:cubicBezTo>
                  <a:pt x="191" y="102"/>
                  <a:pt x="190" y="104"/>
                  <a:pt x="190" y="104"/>
                </a:cubicBezTo>
                <a:cubicBezTo>
                  <a:pt x="190" y="105"/>
                  <a:pt x="191" y="105"/>
                  <a:pt x="191" y="106"/>
                </a:cubicBezTo>
                <a:cubicBezTo>
                  <a:pt x="191" y="107"/>
                  <a:pt x="191" y="108"/>
                  <a:pt x="191" y="109"/>
                </a:cubicBezTo>
                <a:cubicBezTo>
                  <a:pt x="191" y="110"/>
                  <a:pt x="191" y="111"/>
                  <a:pt x="191" y="111"/>
                </a:cubicBezTo>
                <a:cubicBezTo>
                  <a:pt x="192" y="112"/>
                  <a:pt x="194" y="110"/>
                  <a:pt x="195" y="109"/>
                </a:cubicBezTo>
                <a:cubicBezTo>
                  <a:pt x="197" y="108"/>
                  <a:pt x="199" y="108"/>
                  <a:pt x="200" y="107"/>
                </a:cubicBezTo>
                <a:cubicBezTo>
                  <a:pt x="201" y="106"/>
                  <a:pt x="202" y="106"/>
                  <a:pt x="203" y="105"/>
                </a:cubicBezTo>
                <a:cubicBezTo>
                  <a:pt x="203" y="105"/>
                  <a:pt x="204" y="105"/>
                  <a:pt x="204" y="105"/>
                </a:cubicBezTo>
                <a:cubicBezTo>
                  <a:pt x="205" y="104"/>
                  <a:pt x="206" y="100"/>
                  <a:pt x="206" y="101"/>
                </a:cubicBezTo>
                <a:cubicBezTo>
                  <a:pt x="206" y="101"/>
                  <a:pt x="206" y="101"/>
                  <a:pt x="206" y="101"/>
                </a:cubicBezTo>
                <a:cubicBezTo>
                  <a:pt x="206" y="101"/>
                  <a:pt x="206" y="101"/>
                  <a:pt x="206" y="101"/>
                </a:cubicBezTo>
                <a:cubicBezTo>
                  <a:pt x="207" y="101"/>
                  <a:pt x="206" y="100"/>
                  <a:pt x="206" y="100"/>
                </a:cubicBezTo>
                <a:cubicBezTo>
                  <a:pt x="207" y="100"/>
                  <a:pt x="207" y="100"/>
                  <a:pt x="207" y="100"/>
                </a:cubicBezTo>
                <a:cubicBezTo>
                  <a:pt x="208" y="100"/>
                  <a:pt x="207" y="99"/>
                  <a:pt x="207" y="99"/>
                </a:cubicBezTo>
                <a:cubicBezTo>
                  <a:pt x="207" y="98"/>
                  <a:pt x="206" y="98"/>
                  <a:pt x="206" y="98"/>
                </a:cubicBezTo>
                <a:cubicBezTo>
                  <a:pt x="206" y="98"/>
                  <a:pt x="206" y="97"/>
                  <a:pt x="206" y="96"/>
                </a:cubicBezTo>
                <a:cubicBezTo>
                  <a:pt x="207" y="96"/>
                  <a:pt x="207" y="98"/>
                  <a:pt x="207" y="98"/>
                </a:cubicBezTo>
                <a:cubicBezTo>
                  <a:pt x="208" y="98"/>
                  <a:pt x="209" y="97"/>
                  <a:pt x="209" y="96"/>
                </a:cubicBezTo>
                <a:cubicBezTo>
                  <a:pt x="209" y="95"/>
                  <a:pt x="209" y="95"/>
                  <a:pt x="209" y="94"/>
                </a:cubicBezTo>
                <a:cubicBezTo>
                  <a:pt x="209" y="93"/>
                  <a:pt x="208" y="94"/>
                  <a:pt x="208" y="94"/>
                </a:cubicBezTo>
                <a:cubicBezTo>
                  <a:pt x="208" y="94"/>
                  <a:pt x="208" y="93"/>
                  <a:pt x="208" y="93"/>
                </a:cubicBezTo>
                <a:cubicBezTo>
                  <a:pt x="208" y="93"/>
                  <a:pt x="209" y="93"/>
                  <a:pt x="210" y="93"/>
                </a:cubicBezTo>
                <a:cubicBezTo>
                  <a:pt x="210" y="93"/>
                  <a:pt x="210" y="94"/>
                  <a:pt x="210" y="93"/>
                </a:cubicBezTo>
                <a:cubicBezTo>
                  <a:pt x="210" y="93"/>
                  <a:pt x="210" y="93"/>
                  <a:pt x="210" y="93"/>
                </a:cubicBezTo>
                <a:cubicBezTo>
                  <a:pt x="210" y="92"/>
                  <a:pt x="211" y="92"/>
                  <a:pt x="211" y="91"/>
                </a:cubicBezTo>
                <a:cubicBezTo>
                  <a:pt x="211" y="91"/>
                  <a:pt x="211" y="89"/>
                  <a:pt x="211" y="89"/>
                </a:cubicBezTo>
                <a:cubicBezTo>
                  <a:pt x="210" y="90"/>
                  <a:pt x="210" y="89"/>
                  <a:pt x="210" y="89"/>
                </a:cubicBezTo>
                <a:cubicBezTo>
                  <a:pt x="210" y="89"/>
                  <a:pt x="209" y="90"/>
                  <a:pt x="209" y="89"/>
                </a:cubicBezTo>
                <a:cubicBezTo>
                  <a:pt x="209" y="89"/>
                  <a:pt x="208" y="89"/>
                  <a:pt x="208" y="89"/>
                </a:cubicBezTo>
                <a:cubicBezTo>
                  <a:pt x="208" y="88"/>
                  <a:pt x="210" y="88"/>
                  <a:pt x="210" y="87"/>
                </a:cubicBezTo>
                <a:cubicBezTo>
                  <a:pt x="210" y="87"/>
                  <a:pt x="210" y="86"/>
                  <a:pt x="210" y="86"/>
                </a:cubicBezTo>
                <a:cubicBezTo>
                  <a:pt x="209" y="85"/>
                  <a:pt x="210" y="85"/>
                  <a:pt x="209" y="85"/>
                </a:cubicBezTo>
                <a:cubicBezTo>
                  <a:pt x="209" y="84"/>
                  <a:pt x="208" y="85"/>
                  <a:pt x="208" y="85"/>
                </a:cubicBezTo>
                <a:cubicBezTo>
                  <a:pt x="207" y="85"/>
                  <a:pt x="208" y="84"/>
                  <a:pt x="209" y="84"/>
                </a:cubicBezTo>
                <a:cubicBezTo>
                  <a:pt x="209" y="84"/>
                  <a:pt x="211" y="83"/>
                  <a:pt x="211" y="82"/>
                </a:cubicBezTo>
                <a:cubicBezTo>
                  <a:pt x="210" y="81"/>
                  <a:pt x="212" y="81"/>
                  <a:pt x="212" y="80"/>
                </a:cubicBezTo>
                <a:cubicBezTo>
                  <a:pt x="213" y="80"/>
                  <a:pt x="213" y="79"/>
                  <a:pt x="213" y="79"/>
                </a:cubicBezTo>
                <a:cubicBezTo>
                  <a:pt x="213" y="79"/>
                  <a:pt x="213" y="79"/>
                  <a:pt x="213" y="79"/>
                </a:cubicBezTo>
                <a:cubicBezTo>
                  <a:pt x="213" y="79"/>
                  <a:pt x="213" y="78"/>
                  <a:pt x="213" y="78"/>
                </a:cubicBezTo>
                <a:cubicBezTo>
                  <a:pt x="213" y="78"/>
                  <a:pt x="212" y="77"/>
                  <a:pt x="213" y="76"/>
                </a:cubicBezTo>
                <a:cubicBezTo>
                  <a:pt x="213" y="77"/>
                  <a:pt x="212" y="77"/>
                  <a:pt x="213" y="78"/>
                </a:cubicBezTo>
                <a:cubicBezTo>
                  <a:pt x="213" y="78"/>
                  <a:pt x="213" y="78"/>
                  <a:pt x="213" y="79"/>
                </a:cubicBezTo>
                <a:cubicBezTo>
                  <a:pt x="213" y="78"/>
                  <a:pt x="213" y="79"/>
                  <a:pt x="214" y="79"/>
                </a:cubicBezTo>
                <a:cubicBezTo>
                  <a:pt x="215" y="79"/>
                  <a:pt x="215" y="78"/>
                  <a:pt x="216" y="77"/>
                </a:cubicBezTo>
                <a:cubicBezTo>
                  <a:pt x="216" y="77"/>
                  <a:pt x="216" y="76"/>
                  <a:pt x="217" y="76"/>
                </a:cubicBezTo>
                <a:cubicBezTo>
                  <a:pt x="217" y="75"/>
                  <a:pt x="218" y="75"/>
                  <a:pt x="218" y="75"/>
                </a:cubicBezTo>
                <a:cubicBezTo>
                  <a:pt x="218" y="73"/>
                  <a:pt x="218" y="75"/>
                  <a:pt x="219" y="75"/>
                </a:cubicBezTo>
                <a:cubicBezTo>
                  <a:pt x="218" y="75"/>
                  <a:pt x="219" y="75"/>
                  <a:pt x="219" y="75"/>
                </a:cubicBezTo>
                <a:cubicBezTo>
                  <a:pt x="219" y="75"/>
                  <a:pt x="220" y="75"/>
                  <a:pt x="220" y="75"/>
                </a:cubicBezTo>
                <a:cubicBezTo>
                  <a:pt x="220" y="74"/>
                  <a:pt x="220" y="74"/>
                  <a:pt x="220" y="74"/>
                </a:cubicBezTo>
                <a:cubicBezTo>
                  <a:pt x="220" y="74"/>
                  <a:pt x="221" y="74"/>
                  <a:pt x="221" y="74"/>
                </a:cubicBezTo>
                <a:cubicBezTo>
                  <a:pt x="221" y="73"/>
                  <a:pt x="220" y="73"/>
                  <a:pt x="220" y="73"/>
                </a:cubicBezTo>
                <a:cubicBezTo>
                  <a:pt x="220" y="73"/>
                  <a:pt x="221" y="73"/>
                  <a:pt x="221" y="72"/>
                </a:cubicBezTo>
                <a:cubicBezTo>
                  <a:pt x="221" y="72"/>
                  <a:pt x="220" y="72"/>
                  <a:pt x="220" y="72"/>
                </a:cubicBezTo>
                <a:cubicBezTo>
                  <a:pt x="220" y="72"/>
                  <a:pt x="221" y="72"/>
                  <a:pt x="221" y="71"/>
                </a:cubicBezTo>
                <a:cubicBezTo>
                  <a:pt x="221" y="71"/>
                  <a:pt x="221" y="70"/>
                  <a:pt x="221" y="71"/>
                </a:cubicBezTo>
                <a:cubicBezTo>
                  <a:pt x="221" y="71"/>
                  <a:pt x="222" y="70"/>
                  <a:pt x="221" y="70"/>
                </a:cubicBezTo>
                <a:cubicBezTo>
                  <a:pt x="220" y="70"/>
                  <a:pt x="220" y="71"/>
                  <a:pt x="220" y="71"/>
                </a:cubicBezTo>
                <a:cubicBezTo>
                  <a:pt x="220" y="70"/>
                  <a:pt x="220" y="70"/>
                  <a:pt x="220" y="69"/>
                </a:cubicBezTo>
                <a:cubicBezTo>
                  <a:pt x="220" y="69"/>
                  <a:pt x="220" y="69"/>
                  <a:pt x="220" y="69"/>
                </a:cubicBezTo>
                <a:cubicBezTo>
                  <a:pt x="219" y="68"/>
                  <a:pt x="220" y="67"/>
                  <a:pt x="220" y="66"/>
                </a:cubicBezTo>
                <a:cubicBezTo>
                  <a:pt x="220" y="66"/>
                  <a:pt x="220" y="66"/>
                  <a:pt x="220" y="65"/>
                </a:cubicBezTo>
                <a:cubicBezTo>
                  <a:pt x="220" y="65"/>
                  <a:pt x="220" y="64"/>
                  <a:pt x="220" y="64"/>
                </a:cubicBezTo>
                <a:cubicBezTo>
                  <a:pt x="220" y="63"/>
                  <a:pt x="220" y="62"/>
                  <a:pt x="221" y="61"/>
                </a:cubicBezTo>
                <a:cubicBezTo>
                  <a:pt x="221" y="60"/>
                  <a:pt x="221" y="60"/>
                  <a:pt x="221" y="60"/>
                </a:cubicBezTo>
                <a:cubicBezTo>
                  <a:pt x="222" y="59"/>
                  <a:pt x="222" y="58"/>
                  <a:pt x="222" y="58"/>
                </a:cubicBezTo>
                <a:cubicBezTo>
                  <a:pt x="222" y="57"/>
                  <a:pt x="223" y="56"/>
                  <a:pt x="224" y="56"/>
                </a:cubicBezTo>
                <a:cubicBezTo>
                  <a:pt x="224" y="56"/>
                  <a:pt x="224" y="57"/>
                  <a:pt x="225" y="57"/>
                </a:cubicBezTo>
                <a:cubicBezTo>
                  <a:pt x="226" y="57"/>
                  <a:pt x="225" y="55"/>
                  <a:pt x="225" y="55"/>
                </a:cubicBezTo>
                <a:cubicBezTo>
                  <a:pt x="224" y="54"/>
                  <a:pt x="224" y="54"/>
                  <a:pt x="224" y="53"/>
                </a:cubicBezTo>
                <a:cubicBezTo>
                  <a:pt x="224" y="53"/>
                  <a:pt x="224" y="53"/>
                  <a:pt x="225" y="53"/>
                </a:cubicBezTo>
                <a:cubicBezTo>
                  <a:pt x="225" y="54"/>
                  <a:pt x="225" y="54"/>
                  <a:pt x="225" y="55"/>
                </a:cubicBezTo>
                <a:cubicBezTo>
                  <a:pt x="226" y="55"/>
                  <a:pt x="226" y="56"/>
                  <a:pt x="227" y="56"/>
                </a:cubicBezTo>
                <a:cubicBezTo>
                  <a:pt x="227" y="56"/>
                  <a:pt x="228" y="56"/>
                  <a:pt x="228" y="56"/>
                </a:cubicBezTo>
                <a:cubicBezTo>
                  <a:pt x="228" y="56"/>
                  <a:pt x="229" y="56"/>
                  <a:pt x="229" y="56"/>
                </a:cubicBezTo>
                <a:cubicBezTo>
                  <a:pt x="229" y="56"/>
                  <a:pt x="230" y="56"/>
                  <a:pt x="230" y="56"/>
                </a:cubicBezTo>
                <a:cubicBezTo>
                  <a:pt x="231" y="56"/>
                  <a:pt x="231" y="56"/>
                  <a:pt x="232" y="56"/>
                </a:cubicBezTo>
                <a:cubicBezTo>
                  <a:pt x="233" y="57"/>
                  <a:pt x="233" y="56"/>
                  <a:pt x="233" y="56"/>
                </a:cubicBezTo>
                <a:cubicBezTo>
                  <a:pt x="234" y="55"/>
                  <a:pt x="234" y="55"/>
                  <a:pt x="235" y="54"/>
                </a:cubicBezTo>
                <a:cubicBezTo>
                  <a:pt x="235" y="54"/>
                  <a:pt x="234" y="53"/>
                  <a:pt x="234" y="54"/>
                </a:cubicBezTo>
                <a:cubicBezTo>
                  <a:pt x="233" y="54"/>
                  <a:pt x="232" y="52"/>
                  <a:pt x="232" y="51"/>
                </a:cubicBezTo>
                <a:cubicBezTo>
                  <a:pt x="231" y="51"/>
                  <a:pt x="230" y="50"/>
                  <a:pt x="230" y="50"/>
                </a:cubicBezTo>
                <a:cubicBezTo>
                  <a:pt x="229" y="50"/>
                  <a:pt x="229" y="50"/>
                  <a:pt x="229" y="49"/>
                </a:cubicBezTo>
                <a:cubicBezTo>
                  <a:pt x="228" y="49"/>
                  <a:pt x="229" y="49"/>
                  <a:pt x="229" y="49"/>
                </a:cubicBezTo>
                <a:cubicBezTo>
                  <a:pt x="229" y="49"/>
                  <a:pt x="228" y="48"/>
                  <a:pt x="227" y="48"/>
                </a:cubicBezTo>
                <a:cubicBezTo>
                  <a:pt x="227" y="48"/>
                  <a:pt x="226" y="47"/>
                  <a:pt x="226" y="47"/>
                </a:cubicBezTo>
                <a:cubicBezTo>
                  <a:pt x="225" y="46"/>
                  <a:pt x="225" y="46"/>
                  <a:pt x="225" y="45"/>
                </a:cubicBezTo>
                <a:cubicBezTo>
                  <a:pt x="224" y="45"/>
                  <a:pt x="223" y="45"/>
                  <a:pt x="223" y="45"/>
                </a:cubicBezTo>
                <a:cubicBezTo>
                  <a:pt x="223" y="45"/>
                  <a:pt x="223" y="44"/>
                  <a:pt x="223" y="43"/>
                </a:cubicBezTo>
                <a:cubicBezTo>
                  <a:pt x="223" y="43"/>
                  <a:pt x="222" y="43"/>
                  <a:pt x="222" y="43"/>
                </a:cubicBezTo>
                <a:cubicBezTo>
                  <a:pt x="222" y="43"/>
                  <a:pt x="223" y="43"/>
                  <a:pt x="224" y="43"/>
                </a:cubicBezTo>
                <a:cubicBezTo>
                  <a:pt x="224" y="43"/>
                  <a:pt x="223" y="42"/>
                  <a:pt x="223" y="42"/>
                </a:cubicBezTo>
                <a:cubicBezTo>
                  <a:pt x="223" y="42"/>
                  <a:pt x="224" y="43"/>
                  <a:pt x="224" y="42"/>
                </a:cubicBezTo>
                <a:cubicBezTo>
                  <a:pt x="224" y="41"/>
                  <a:pt x="225" y="41"/>
                  <a:pt x="225" y="41"/>
                </a:cubicBezTo>
                <a:cubicBezTo>
                  <a:pt x="226" y="40"/>
                  <a:pt x="224" y="38"/>
                  <a:pt x="224" y="38"/>
                </a:cubicBezTo>
                <a:cubicBezTo>
                  <a:pt x="223" y="37"/>
                  <a:pt x="223" y="37"/>
                  <a:pt x="223" y="36"/>
                </a:cubicBezTo>
                <a:cubicBezTo>
                  <a:pt x="222" y="35"/>
                  <a:pt x="222" y="35"/>
                  <a:pt x="222" y="35"/>
                </a:cubicBezTo>
                <a:cubicBezTo>
                  <a:pt x="221" y="34"/>
                  <a:pt x="220" y="34"/>
                  <a:pt x="221" y="34"/>
                </a:cubicBezTo>
                <a:cubicBezTo>
                  <a:pt x="221" y="34"/>
                  <a:pt x="222" y="34"/>
                  <a:pt x="222" y="33"/>
                </a:cubicBezTo>
                <a:cubicBezTo>
                  <a:pt x="222" y="33"/>
                  <a:pt x="220" y="33"/>
                  <a:pt x="220" y="33"/>
                </a:cubicBezTo>
                <a:cubicBezTo>
                  <a:pt x="220" y="33"/>
                  <a:pt x="221" y="33"/>
                  <a:pt x="221" y="33"/>
                </a:cubicBezTo>
                <a:cubicBezTo>
                  <a:pt x="221" y="33"/>
                  <a:pt x="221" y="32"/>
                  <a:pt x="221" y="32"/>
                </a:cubicBezTo>
                <a:cubicBezTo>
                  <a:pt x="220" y="32"/>
                  <a:pt x="220" y="33"/>
                  <a:pt x="221" y="32"/>
                </a:cubicBezTo>
                <a:cubicBezTo>
                  <a:pt x="221" y="31"/>
                  <a:pt x="219" y="31"/>
                  <a:pt x="219" y="31"/>
                </a:cubicBezTo>
                <a:cubicBezTo>
                  <a:pt x="219" y="31"/>
                  <a:pt x="217" y="30"/>
                  <a:pt x="217" y="29"/>
                </a:cubicBezTo>
                <a:cubicBezTo>
                  <a:pt x="218" y="29"/>
                  <a:pt x="218" y="30"/>
                  <a:pt x="218" y="29"/>
                </a:cubicBezTo>
                <a:cubicBezTo>
                  <a:pt x="218" y="29"/>
                  <a:pt x="219" y="28"/>
                  <a:pt x="218" y="27"/>
                </a:cubicBezTo>
                <a:cubicBezTo>
                  <a:pt x="218" y="27"/>
                  <a:pt x="217" y="27"/>
                  <a:pt x="216" y="26"/>
                </a:cubicBezTo>
                <a:cubicBezTo>
                  <a:pt x="216" y="26"/>
                  <a:pt x="217" y="26"/>
                  <a:pt x="216" y="26"/>
                </a:cubicBezTo>
                <a:cubicBezTo>
                  <a:pt x="216" y="25"/>
                  <a:pt x="215" y="26"/>
                  <a:pt x="215" y="26"/>
                </a:cubicBezTo>
                <a:cubicBezTo>
                  <a:pt x="215" y="25"/>
                  <a:pt x="218" y="25"/>
                  <a:pt x="218" y="25"/>
                </a:cubicBezTo>
                <a:cubicBezTo>
                  <a:pt x="219" y="25"/>
                  <a:pt x="219" y="26"/>
                  <a:pt x="219" y="25"/>
                </a:cubicBezTo>
                <a:cubicBezTo>
                  <a:pt x="219" y="25"/>
                  <a:pt x="219" y="24"/>
                  <a:pt x="219" y="24"/>
                </a:cubicBezTo>
                <a:cubicBezTo>
                  <a:pt x="219" y="24"/>
                  <a:pt x="219" y="24"/>
                  <a:pt x="220" y="25"/>
                </a:cubicBezTo>
                <a:cubicBezTo>
                  <a:pt x="220" y="25"/>
                  <a:pt x="221" y="25"/>
                  <a:pt x="221" y="25"/>
                </a:cubicBezTo>
                <a:cubicBezTo>
                  <a:pt x="221" y="25"/>
                  <a:pt x="222" y="25"/>
                  <a:pt x="222" y="24"/>
                </a:cubicBezTo>
                <a:cubicBezTo>
                  <a:pt x="222" y="24"/>
                  <a:pt x="221" y="24"/>
                  <a:pt x="221" y="24"/>
                </a:cubicBezTo>
                <a:cubicBezTo>
                  <a:pt x="221" y="24"/>
                  <a:pt x="222" y="24"/>
                  <a:pt x="222" y="24"/>
                </a:cubicBezTo>
                <a:cubicBezTo>
                  <a:pt x="222" y="23"/>
                  <a:pt x="221" y="23"/>
                  <a:pt x="221" y="23"/>
                </a:cubicBezTo>
                <a:cubicBezTo>
                  <a:pt x="220" y="23"/>
                  <a:pt x="220" y="22"/>
                  <a:pt x="219" y="22"/>
                </a:cubicBezTo>
                <a:cubicBezTo>
                  <a:pt x="220" y="22"/>
                  <a:pt x="221" y="23"/>
                  <a:pt x="221" y="22"/>
                </a:cubicBezTo>
                <a:cubicBezTo>
                  <a:pt x="221" y="22"/>
                  <a:pt x="220" y="22"/>
                  <a:pt x="220" y="21"/>
                </a:cubicBezTo>
                <a:cubicBezTo>
                  <a:pt x="220" y="21"/>
                  <a:pt x="220" y="21"/>
                  <a:pt x="219" y="21"/>
                </a:cubicBezTo>
                <a:cubicBezTo>
                  <a:pt x="219" y="21"/>
                  <a:pt x="219" y="21"/>
                  <a:pt x="219" y="21"/>
                </a:cubicBezTo>
                <a:cubicBezTo>
                  <a:pt x="219" y="21"/>
                  <a:pt x="219" y="21"/>
                  <a:pt x="219" y="21"/>
                </a:cubicBezTo>
                <a:cubicBezTo>
                  <a:pt x="218" y="20"/>
                  <a:pt x="218" y="20"/>
                  <a:pt x="218" y="20"/>
                </a:cubicBezTo>
                <a:cubicBezTo>
                  <a:pt x="218" y="20"/>
                  <a:pt x="218" y="20"/>
                  <a:pt x="218" y="19"/>
                </a:cubicBezTo>
                <a:cubicBezTo>
                  <a:pt x="219" y="20"/>
                  <a:pt x="219" y="20"/>
                  <a:pt x="220" y="19"/>
                </a:cubicBezTo>
                <a:cubicBezTo>
                  <a:pt x="219" y="19"/>
                  <a:pt x="219" y="20"/>
                  <a:pt x="218" y="19"/>
                </a:cubicBezTo>
                <a:cubicBezTo>
                  <a:pt x="218" y="18"/>
                  <a:pt x="217" y="18"/>
                  <a:pt x="217" y="18"/>
                </a:cubicBezTo>
                <a:cubicBezTo>
                  <a:pt x="217" y="18"/>
                  <a:pt x="217" y="17"/>
                  <a:pt x="216" y="17"/>
                </a:cubicBezTo>
                <a:cubicBezTo>
                  <a:pt x="216" y="17"/>
                  <a:pt x="216" y="18"/>
                  <a:pt x="215" y="18"/>
                </a:cubicBezTo>
                <a:cubicBezTo>
                  <a:pt x="215" y="18"/>
                  <a:pt x="214" y="18"/>
                  <a:pt x="213" y="18"/>
                </a:cubicBezTo>
                <a:cubicBezTo>
                  <a:pt x="213" y="17"/>
                  <a:pt x="212" y="18"/>
                  <a:pt x="212" y="17"/>
                </a:cubicBezTo>
                <a:cubicBezTo>
                  <a:pt x="211" y="17"/>
                  <a:pt x="211" y="18"/>
                  <a:pt x="211" y="18"/>
                </a:cubicBezTo>
                <a:cubicBezTo>
                  <a:pt x="210" y="17"/>
                  <a:pt x="210" y="17"/>
                  <a:pt x="210" y="17"/>
                </a:cubicBezTo>
                <a:cubicBezTo>
                  <a:pt x="209" y="17"/>
                  <a:pt x="210" y="18"/>
                  <a:pt x="209" y="18"/>
                </a:cubicBezTo>
                <a:cubicBezTo>
                  <a:pt x="209" y="18"/>
                  <a:pt x="209" y="18"/>
                  <a:pt x="208" y="18"/>
                </a:cubicBezTo>
                <a:cubicBezTo>
                  <a:pt x="208" y="17"/>
                  <a:pt x="208" y="17"/>
                  <a:pt x="207" y="17"/>
                </a:cubicBezTo>
                <a:cubicBezTo>
                  <a:pt x="206" y="17"/>
                  <a:pt x="206" y="17"/>
                  <a:pt x="205" y="18"/>
                </a:cubicBezTo>
                <a:cubicBezTo>
                  <a:pt x="205" y="18"/>
                  <a:pt x="205" y="18"/>
                  <a:pt x="204" y="18"/>
                </a:cubicBezTo>
                <a:cubicBezTo>
                  <a:pt x="204" y="17"/>
                  <a:pt x="204" y="17"/>
                  <a:pt x="204" y="17"/>
                </a:cubicBezTo>
                <a:cubicBezTo>
                  <a:pt x="203" y="17"/>
                  <a:pt x="203" y="17"/>
                  <a:pt x="203" y="17"/>
                </a:cubicBezTo>
                <a:cubicBezTo>
                  <a:pt x="203" y="17"/>
                  <a:pt x="203" y="18"/>
                  <a:pt x="203" y="18"/>
                </a:cubicBezTo>
                <a:cubicBezTo>
                  <a:pt x="203" y="19"/>
                  <a:pt x="202" y="19"/>
                  <a:pt x="202" y="19"/>
                </a:cubicBezTo>
                <a:cubicBezTo>
                  <a:pt x="201" y="19"/>
                  <a:pt x="201" y="20"/>
                  <a:pt x="201" y="20"/>
                </a:cubicBezTo>
                <a:cubicBezTo>
                  <a:pt x="201" y="21"/>
                  <a:pt x="201" y="21"/>
                  <a:pt x="201" y="22"/>
                </a:cubicBezTo>
                <a:cubicBezTo>
                  <a:pt x="201" y="22"/>
                  <a:pt x="200" y="22"/>
                  <a:pt x="200" y="22"/>
                </a:cubicBezTo>
                <a:cubicBezTo>
                  <a:pt x="201" y="23"/>
                  <a:pt x="201" y="23"/>
                  <a:pt x="201" y="23"/>
                </a:cubicBezTo>
                <a:cubicBezTo>
                  <a:pt x="201" y="24"/>
                  <a:pt x="201" y="24"/>
                  <a:pt x="201" y="25"/>
                </a:cubicBezTo>
                <a:cubicBezTo>
                  <a:pt x="200" y="25"/>
                  <a:pt x="201" y="26"/>
                  <a:pt x="201" y="27"/>
                </a:cubicBezTo>
                <a:cubicBezTo>
                  <a:pt x="201" y="27"/>
                  <a:pt x="201" y="27"/>
                  <a:pt x="201" y="28"/>
                </a:cubicBezTo>
                <a:cubicBezTo>
                  <a:pt x="201" y="28"/>
                  <a:pt x="200" y="29"/>
                  <a:pt x="200" y="30"/>
                </a:cubicBezTo>
                <a:cubicBezTo>
                  <a:pt x="200" y="30"/>
                  <a:pt x="200" y="30"/>
                  <a:pt x="200" y="31"/>
                </a:cubicBezTo>
                <a:cubicBezTo>
                  <a:pt x="200" y="31"/>
                  <a:pt x="200" y="31"/>
                  <a:pt x="200" y="31"/>
                </a:cubicBezTo>
                <a:cubicBezTo>
                  <a:pt x="200" y="32"/>
                  <a:pt x="199" y="33"/>
                  <a:pt x="198" y="32"/>
                </a:cubicBezTo>
                <a:cubicBezTo>
                  <a:pt x="198" y="32"/>
                  <a:pt x="198" y="32"/>
                  <a:pt x="197" y="32"/>
                </a:cubicBezTo>
                <a:cubicBezTo>
                  <a:pt x="197" y="33"/>
                  <a:pt x="197" y="34"/>
                  <a:pt x="196" y="34"/>
                </a:cubicBezTo>
                <a:cubicBezTo>
                  <a:pt x="197" y="34"/>
                  <a:pt x="197" y="35"/>
                  <a:pt x="196" y="35"/>
                </a:cubicBezTo>
                <a:cubicBezTo>
                  <a:pt x="196" y="35"/>
                  <a:pt x="196" y="37"/>
                  <a:pt x="196" y="37"/>
                </a:cubicBezTo>
                <a:cubicBezTo>
                  <a:pt x="197" y="37"/>
                  <a:pt x="197" y="37"/>
                  <a:pt x="197" y="37"/>
                </a:cubicBezTo>
                <a:cubicBezTo>
                  <a:pt x="198" y="37"/>
                  <a:pt x="198" y="38"/>
                  <a:pt x="197" y="38"/>
                </a:cubicBezTo>
                <a:cubicBezTo>
                  <a:pt x="197" y="38"/>
                  <a:pt x="196" y="38"/>
                  <a:pt x="196" y="39"/>
                </a:cubicBezTo>
                <a:cubicBezTo>
                  <a:pt x="196" y="39"/>
                  <a:pt x="195" y="39"/>
                  <a:pt x="195" y="40"/>
                </a:cubicBezTo>
                <a:cubicBezTo>
                  <a:pt x="195" y="40"/>
                  <a:pt x="194" y="40"/>
                  <a:pt x="194" y="40"/>
                </a:cubicBezTo>
                <a:cubicBezTo>
                  <a:pt x="193" y="40"/>
                  <a:pt x="193" y="41"/>
                  <a:pt x="193" y="42"/>
                </a:cubicBezTo>
                <a:cubicBezTo>
                  <a:pt x="193" y="42"/>
                  <a:pt x="193" y="43"/>
                  <a:pt x="194" y="43"/>
                </a:cubicBezTo>
                <a:cubicBezTo>
                  <a:pt x="194" y="43"/>
                  <a:pt x="194" y="44"/>
                  <a:pt x="194" y="44"/>
                </a:cubicBezTo>
                <a:cubicBezTo>
                  <a:pt x="194" y="45"/>
                  <a:pt x="194" y="45"/>
                  <a:pt x="193" y="45"/>
                </a:cubicBezTo>
                <a:cubicBezTo>
                  <a:pt x="192" y="45"/>
                  <a:pt x="193" y="46"/>
                  <a:pt x="193" y="46"/>
                </a:cubicBezTo>
                <a:cubicBezTo>
                  <a:pt x="192" y="47"/>
                  <a:pt x="192" y="48"/>
                  <a:pt x="192" y="49"/>
                </a:cubicBezTo>
                <a:cubicBezTo>
                  <a:pt x="192" y="49"/>
                  <a:pt x="191" y="50"/>
                  <a:pt x="191" y="49"/>
                </a:cubicBezTo>
                <a:cubicBezTo>
                  <a:pt x="190" y="49"/>
                  <a:pt x="190" y="49"/>
                  <a:pt x="189" y="49"/>
                </a:cubicBezTo>
                <a:cubicBezTo>
                  <a:pt x="189" y="49"/>
                  <a:pt x="188" y="49"/>
                  <a:pt x="188" y="49"/>
                </a:cubicBezTo>
                <a:cubicBezTo>
                  <a:pt x="187" y="50"/>
                  <a:pt x="187" y="49"/>
                  <a:pt x="187" y="49"/>
                </a:cubicBezTo>
                <a:cubicBezTo>
                  <a:pt x="187" y="49"/>
                  <a:pt x="186" y="49"/>
                  <a:pt x="186" y="49"/>
                </a:cubicBezTo>
                <a:cubicBezTo>
                  <a:pt x="185" y="49"/>
                  <a:pt x="185" y="50"/>
                  <a:pt x="184" y="51"/>
                </a:cubicBezTo>
                <a:cubicBezTo>
                  <a:pt x="184" y="51"/>
                  <a:pt x="183" y="52"/>
                  <a:pt x="183" y="52"/>
                </a:cubicBezTo>
                <a:cubicBezTo>
                  <a:pt x="182" y="52"/>
                  <a:pt x="182" y="51"/>
                  <a:pt x="181" y="51"/>
                </a:cubicBezTo>
                <a:cubicBezTo>
                  <a:pt x="180" y="51"/>
                  <a:pt x="181" y="51"/>
                  <a:pt x="180" y="50"/>
                </a:cubicBezTo>
                <a:cubicBezTo>
                  <a:pt x="179" y="50"/>
                  <a:pt x="178" y="50"/>
                  <a:pt x="178" y="50"/>
                </a:cubicBezTo>
                <a:cubicBezTo>
                  <a:pt x="177" y="50"/>
                  <a:pt x="177" y="49"/>
                  <a:pt x="177" y="50"/>
                </a:cubicBezTo>
                <a:cubicBezTo>
                  <a:pt x="176" y="50"/>
                  <a:pt x="176" y="49"/>
                  <a:pt x="177" y="49"/>
                </a:cubicBezTo>
                <a:cubicBezTo>
                  <a:pt x="178" y="48"/>
                  <a:pt x="174" y="48"/>
                  <a:pt x="174" y="48"/>
                </a:cubicBezTo>
                <a:cubicBezTo>
                  <a:pt x="173" y="48"/>
                  <a:pt x="172" y="48"/>
                  <a:pt x="172" y="48"/>
                </a:cubicBezTo>
                <a:cubicBezTo>
                  <a:pt x="171" y="48"/>
                  <a:pt x="171" y="48"/>
                  <a:pt x="170" y="49"/>
                </a:cubicBezTo>
                <a:cubicBezTo>
                  <a:pt x="170" y="49"/>
                  <a:pt x="169" y="49"/>
                  <a:pt x="168" y="49"/>
                </a:cubicBezTo>
                <a:cubicBezTo>
                  <a:pt x="168" y="50"/>
                  <a:pt x="169" y="50"/>
                  <a:pt x="169" y="50"/>
                </a:cubicBezTo>
                <a:cubicBezTo>
                  <a:pt x="168" y="51"/>
                  <a:pt x="168" y="51"/>
                  <a:pt x="168" y="52"/>
                </a:cubicBezTo>
                <a:cubicBezTo>
                  <a:pt x="168" y="53"/>
                  <a:pt x="168" y="53"/>
                  <a:pt x="167" y="53"/>
                </a:cubicBezTo>
                <a:cubicBezTo>
                  <a:pt x="166" y="53"/>
                  <a:pt x="166" y="53"/>
                  <a:pt x="165" y="54"/>
                </a:cubicBezTo>
                <a:cubicBezTo>
                  <a:pt x="165" y="54"/>
                  <a:pt x="165" y="54"/>
                  <a:pt x="165" y="54"/>
                </a:cubicBezTo>
                <a:cubicBezTo>
                  <a:pt x="164" y="54"/>
                  <a:pt x="164" y="54"/>
                  <a:pt x="163" y="54"/>
                </a:cubicBezTo>
                <a:cubicBezTo>
                  <a:pt x="163" y="54"/>
                  <a:pt x="162" y="55"/>
                  <a:pt x="162" y="55"/>
                </a:cubicBezTo>
                <a:cubicBezTo>
                  <a:pt x="162" y="55"/>
                  <a:pt x="162" y="54"/>
                  <a:pt x="162" y="54"/>
                </a:cubicBezTo>
                <a:cubicBezTo>
                  <a:pt x="162" y="54"/>
                  <a:pt x="161" y="54"/>
                  <a:pt x="161" y="54"/>
                </a:cubicBezTo>
                <a:cubicBezTo>
                  <a:pt x="160" y="54"/>
                  <a:pt x="160" y="53"/>
                  <a:pt x="159" y="54"/>
                </a:cubicBezTo>
                <a:cubicBezTo>
                  <a:pt x="158" y="54"/>
                  <a:pt x="156" y="54"/>
                  <a:pt x="155" y="55"/>
                </a:cubicBezTo>
                <a:cubicBezTo>
                  <a:pt x="155" y="56"/>
                  <a:pt x="153" y="55"/>
                  <a:pt x="153" y="56"/>
                </a:cubicBezTo>
                <a:cubicBezTo>
                  <a:pt x="153" y="56"/>
                  <a:pt x="152" y="56"/>
                  <a:pt x="152" y="55"/>
                </a:cubicBezTo>
                <a:cubicBezTo>
                  <a:pt x="151" y="55"/>
                  <a:pt x="151" y="55"/>
                  <a:pt x="151" y="55"/>
                </a:cubicBezTo>
                <a:cubicBezTo>
                  <a:pt x="151" y="54"/>
                  <a:pt x="150" y="55"/>
                  <a:pt x="150" y="54"/>
                </a:cubicBezTo>
                <a:cubicBezTo>
                  <a:pt x="150" y="54"/>
                  <a:pt x="149" y="53"/>
                  <a:pt x="149" y="52"/>
                </a:cubicBezTo>
                <a:cubicBezTo>
                  <a:pt x="149" y="52"/>
                  <a:pt x="148" y="52"/>
                  <a:pt x="148" y="52"/>
                </a:cubicBezTo>
                <a:cubicBezTo>
                  <a:pt x="147" y="51"/>
                  <a:pt x="147" y="50"/>
                  <a:pt x="147" y="50"/>
                </a:cubicBezTo>
                <a:cubicBezTo>
                  <a:pt x="146" y="50"/>
                  <a:pt x="146" y="49"/>
                  <a:pt x="145" y="49"/>
                </a:cubicBezTo>
                <a:cubicBezTo>
                  <a:pt x="145" y="48"/>
                  <a:pt x="144" y="48"/>
                  <a:pt x="144" y="47"/>
                </a:cubicBezTo>
                <a:cubicBezTo>
                  <a:pt x="144" y="47"/>
                  <a:pt x="144" y="46"/>
                  <a:pt x="144" y="46"/>
                </a:cubicBezTo>
                <a:cubicBezTo>
                  <a:pt x="143" y="45"/>
                  <a:pt x="142" y="45"/>
                  <a:pt x="143" y="44"/>
                </a:cubicBezTo>
                <a:cubicBezTo>
                  <a:pt x="143" y="44"/>
                  <a:pt x="144" y="43"/>
                  <a:pt x="144" y="42"/>
                </a:cubicBezTo>
                <a:cubicBezTo>
                  <a:pt x="143" y="43"/>
                  <a:pt x="143" y="43"/>
                  <a:pt x="143" y="43"/>
                </a:cubicBezTo>
                <a:cubicBezTo>
                  <a:pt x="142" y="43"/>
                  <a:pt x="142" y="44"/>
                  <a:pt x="141" y="44"/>
                </a:cubicBezTo>
                <a:cubicBezTo>
                  <a:pt x="140" y="44"/>
                  <a:pt x="141" y="45"/>
                  <a:pt x="140" y="46"/>
                </a:cubicBezTo>
                <a:cubicBezTo>
                  <a:pt x="140" y="45"/>
                  <a:pt x="140" y="45"/>
                  <a:pt x="141" y="45"/>
                </a:cubicBezTo>
                <a:cubicBezTo>
                  <a:pt x="140" y="47"/>
                  <a:pt x="139" y="47"/>
                  <a:pt x="138" y="48"/>
                </a:cubicBezTo>
                <a:cubicBezTo>
                  <a:pt x="138" y="49"/>
                  <a:pt x="138" y="50"/>
                  <a:pt x="138" y="51"/>
                </a:cubicBezTo>
                <a:cubicBezTo>
                  <a:pt x="137" y="52"/>
                  <a:pt x="138" y="52"/>
                  <a:pt x="138" y="52"/>
                </a:cubicBezTo>
                <a:cubicBezTo>
                  <a:pt x="139" y="51"/>
                  <a:pt x="140" y="50"/>
                  <a:pt x="140" y="50"/>
                </a:cubicBezTo>
                <a:cubicBezTo>
                  <a:pt x="140" y="50"/>
                  <a:pt x="139" y="51"/>
                  <a:pt x="139" y="51"/>
                </a:cubicBezTo>
                <a:cubicBezTo>
                  <a:pt x="138" y="52"/>
                  <a:pt x="138" y="52"/>
                  <a:pt x="138" y="52"/>
                </a:cubicBezTo>
                <a:cubicBezTo>
                  <a:pt x="137" y="52"/>
                  <a:pt x="137" y="52"/>
                  <a:pt x="137" y="52"/>
                </a:cubicBezTo>
                <a:cubicBezTo>
                  <a:pt x="136" y="53"/>
                  <a:pt x="137" y="54"/>
                  <a:pt x="137" y="55"/>
                </a:cubicBezTo>
                <a:cubicBezTo>
                  <a:pt x="137" y="55"/>
                  <a:pt x="136" y="56"/>
                  <a:pt x="136" y="56"/>
                </a:cubicBezTo>
                <a:cubicBezTo>
                  <a:pt x="136" y="57"/>
                  <a:pt x="136" y="57"/>
                  <a:pt x="136" y="57"/>
                </a:cubicBezTo>
                <a:cubicBezTo>
                  <a:pt x="136" y="58"/>
                  <a:pt x="137" y="58"/>
                  <a:pt x="137" y="59"/>
                </a:cubicBezTo>
                <a:close/>
                <a:moveTo>
                  <a:pt x="197" y="155"/>
                </a:moveTo>
                <a:cubicBezTo>
                  <a:pt x="196" y="154"/>
                  <a:pt x="195" y="154"/>
                  <a:pt x="194" y="154"/>
                </a:cubicBezTo>
                <a:cubicBezTo>
                  <a:pt x="194" y="154"/>
                  <a:pt x="193" y="155"/>
                  <a:pt x="192" y="155"/>
                </a:cubicBezTo>
                <a:cubicBezTo>
                  <a:pt x="191" y="156"/>
                  <a:pt x="190" y="155"/>
                  <a:pt x="189" y="155"/>
                </a:cubicBezTo>
                <a:cubicBezTo>
                  <a:pt x="189" y="155"/>
                  <a:pt x="188" y="155"/>
                  <a:pt x="188" y="155"/>
                </a:cubicBezTo>
                <a:cubicBezTo>
                  <a:pt x="188" y="154"/>
                  <a:pt x="188" y="154"/>
                  <a:pt x="188" y="154"/>
                </a:cubicBezTo>
                <a:cubicBezTo>
                  <a:pt x="187" y="154"/>
                  <a:pt x="188" y="156"/>
                  <a:pt x="188" y="157"/>
                </a:cubicBezTo>
                <a:cubicBezTo>
                  <a:pt x="188" y="157"/>
                  <a:pt x="189" y="158"/>
                  <a:pt x="190" y="158"/>
                </a:cubicBezTo>
                <a:cubicBezTo>
                  <a:pt x="191" y="158"/>
                  <a:pt x="191" y="158"/>
                  <a:pt x="192" y="159"/>
                </a:cubicBezTo>
                <a:cubicBezTo>
                  <a:pt x="193" y="159"/>
                  <a:pt x="193" y="160"/>
                  <a:pt x="194" y="161"/>
                </a:cubicBezTo>
                <a:cubicBezTo>
                  <a:pt x="194" y="162"/>
                  <a:pt x="193" y="162"/>
                  <a:pt x="193" y="162"/>
                </a:cubicBezTo>
                <a:cubicBezTo>
                  <a:pt x="193" y="163"/>
                  <a:pt x="194" y="163"/>
                  <a:pt x="194" y="162"/>
                </a:cubicBezTo>
                <a:cubicBezTo>
                  <a:pt x="195" y="162"/>
                  <a:pt x="194" y="161"/>
                  <a:pt x="194" y="162"/>
                </a:cubicBezTo>
                <a:cubicBezTo>
                  <a:pt x="194" y="162"/>
                  <a:pt x="195" y="161"/>
                  <a:pt x="195" y="160"/>
                </a:cubicBezTo>
                <a:cubicBezTo>
                  <a:pt x="196" y="160"/>
                  <a:pt x="196" y="160"/>
                  <a:pt x="197" y="159"/>
                </a:cubicBezTo>
                <a:cubicBezTo>
                  <a:pt x="197" y="159"/>
                  <a:pt x="197" y="159"/>
                  <a:pt x="198" y="159"/>
                </a:cubicBezTo>
                <a:cubicBezTo>
                  <a:pt x="198" y="159"/>
                  <a:pt x="200" y="158"/>
                  <a:pt x="199" y="157"/>
                </a:cubicBezTo>
                <a:cubicBezTo>
                  <a:pt x="198" y="156"/>
                  <a:pt x="198" y="155"/>
                  <a:pt x="197" y="155"/>
                </a:cubicBezTo>
                <a:close/>
                <a:moveTo>
                  <a:pt x="268" y="160"/>
                </a:moveTo>
                <a:cubicBezTo>
                  <a:pt x="268" y="159"/>
                  <a:pt x="267" y="158"/>
                  <a:pt x="268" y="158"/>
                </a:cubicBezTo>
                <a:cubicBezTo>
                  <a:pt x="268" y="158"/>
                  <a:pt x="269" y="159"/>
                  <a:pt x="269" y="158"/>
                </a:cubicBezTo>
                <a:cubicBezTo>
                  <a:pt x="269" y="157"/>
                  <a:pt x="269" y="157"/>
                  <a:pt x="270" y="157"/>
                </a:cubicBezTo>
                <a:cubicBezTo>
                  <a:pt x="270" y="157"/>
                  <a:pt x="270" y="156"/>
                  <a:pt x="270" y="156"/>
                </a:cubicBezTo>
                <a:cubicBezTo>
                  <a:pt x="270" y="154"/>
                  <a:pt x="268" y="153"/>
                  <a:pt x="268" y="155"/>
                </a:cubicBezTo>
                <a:cubicBezTo>
                  <a:pt x="267" y="156"/>
                  <a:pt x="268" y="156"/>
                  <a:pt x="268" y="156"/>
                </a:cubicBezTo>
                <a:cubicBezTo>
                  <a:pt x="268" y="155"/>
                  <a:pt x="269" y="155"/>
                  <a:pt x="269" y="156"/>
                </a:cubicBezTo>
                <a:cubicBezTo>
                  <a:pt x="269" y="157"/>
                  <a:pt x="267" y="157"/>
                  <a:pt x="266" y="157"/>
                </a:cubicBezTo>
                <a:cubicBezTo>
                  <a:pt x="266" y="158"/>
                  <a:pt x="265" y="158"/>
                  <a:pt x="265" y="159"/>
                </a:cubicBezTo>
                <a:cubicBezTo>
                  <a:pt x="265" y="159"/>
                  <a:pt x="265" y="160"/>
                  <a:pt x="264" y="160"/>
                </a:cubicBezTo>
                <a:cubicBezTo>
                  <a:pt x="264" y="160"/>
                  <a:pt x="263" y="160"/>
                  <a:pt x="262" y="160"/>
                </a:cubicBezTo>
                <a:cubicBezTo>
                  <a:pt x="262" y="160"/>
                  <a:pt x="262" y="159"/>
                  <a:pt x="261" y="159"/>
                </a:cubicBezTo>
                <a:cubicBezTo>
                  <a:pt x="260" y="159"/>
                  <a:pt x="260" y="159"/>
                  <a:pt x="260" y="158"/>
                </a:cubicBezTo>
                <a:cubicBezTo>
                  <a:pt x="261" y="158"/>
                  <a:pt x="260" y="158"/>
                  <a:pt x="260" y="158"/>
                </a:cubicBezTo>
                <a:cubicBezTo>
                  <a:pt x="259" y="159"/>
                  <a:pt x="257" y="159"/>
                  <a:pt x="256" y="158"/>
                </a:cubicBezTo>
                <a:cubicBezTo>
                  <a:pt x="256" y="159"/>
                  <a:pt x="256" y="159"/>
                  <a:pt x="256" y="159"/>
                </a:cubicBezTo>
                <a:cubicBezTo>
                  <a:pt x="256" y="159"/>
                  <a:pt x="255" y="160"/>
                  <a:pt x="255" y="160"/>
                </a:cubicBezTo>
                <a:cubicBezTo>
                  <a:pt x="255" y="159"/>
                  <a:pt x="255" y="160"/>
                  <a:pt x="254" y="160"/>
                </a:cubicBezTo>
                <a:cubicBezTo>
                  <a:pt x="254" y="160"/>
                  <a:pt x="254" y="159"/>
                  <a:pt x="253" y="159"/>
                </a:cubicBezTo>
                <a:cubicBezTo>
                  <a:pt x="253" y="158"/>
                  <a:pt x="252" y="158"/>
                  <a:pt x="251" y="157"/>
                </a:cubicBezTo>
                <a:cubicBezTo>
                  <a:pt x="250" y="157"/>
                  <a:pt x="249" y="157"/>
                  <a:pt x="248" y="157"/>
                </a:cubicBezTo>
                <a:cubicBezTo>
                  <a:pt x="248" y="157"/>
                  <a:pt x="247" y="156"/>
                  <a:pt x="247" y="156"/>
                </a:cubicBezTo>
                <a:cubicBezTo>
                  <a:pt x="247" y="156"/>
                  <a:pt x="246" y="156"/>
                  <a:pt x="246" y="156"/>
                </a:cubicBezTo>
                <a:cubicBezTo>
                  <a:pt x="246" y="156"/>
                  <a:pt x="246" y="156"/>
                  <a:pt x="246" y="156"/>
                </a:cubicBezTo>
                <a:cubicBezTo>
                  <a:pt x="245" y="156"/>
                  <a:pt x="245" y="156"/>
                  <a:pt x="245" y="156"/>
                </a:cubicBezTo>
                <a:cubicBezTo>
                  <a:pt x="245" y="156"/>
                  <a:pt x="245" y="156"/>
                  <a:pt x="245" y="156"/>
                </a:cubicBezTo>
                <a:cubicBezTo>
                  <a:pt x="244" y="156"/>
                  <a:pt x="243" y="156"/>
                  <a:pt x="243" y="156"/>
                </a:cubicBezTo>
                <a:cubicBezTo>
                  <a:pt x="243" y="157"/>
                  <a:pt x="242" y="157"/>
                  <a:pt x="242" y="157"/>
                </a:cubicBezTo>
                <a:cubicBezTo>
                  <a:pt x="242" y="158"/>
                  <a:pt x="241" y="157"/>
                  <a:pt x="241" y="158"/>
                </a:cubicBezTo>
                <a:cubicBezTo>
                  <a:pt x="241" y="158"/>
                  <a:pt x="241" y="158"/>
                  <a:pt x="240" y="158"/>
                </a:cubicBezTo>
                <a:cubicBezTo>
                  <a:pt x="240" y="158"/>
                  <a:pt x="240" y="158"/>
                  <a:pt x="239" y="158"/>
                </a:cubicBezTo>
                <a:cubicBezTo>
                  <a:pt x="239" y="158"/>
                  <a:pt x="240" y="158"/>
                  <a:pt x="239" y="159"/>
                </a:cubicBezTo>
                <a:cubicBezTo>
                  <a:pt x="239" y="159"/>
                  <a:pt x="239" y="159"/>
                  <a:pt x="239" y="159"/>
                </a:cubicBezTo>
                <a:cubicBezTo>
                  <a:pt x="238" y="160"/>
                  <a:pt x="238" y="160"/>
                  <a:pt x="238" y="161"/>
                </a:cubicBezTo>
                <a:cubicBezTo>
                  <a:pt x="239" y="161"/>
                  <a:pt x="239" y="162"/>
                  <a:pt x="239" y="162"/>
                </a:cubicBezTo>
                <a:cubicBezTo>
                  <a:pt x="240" y="162"/>
                  <a:pt x="239" y="163"/>
                  <a:pt x="240" y="163"/>
                </a:cubicBezTo>
                <a:cubicBezTo>
                  <a:pt x="240" y="163"/>
                  <a:pt x="240" y="162"/>
                  <a:pt x="240" y="162"/>
                </a:cubicBezTo>
                <a:cubicBezTo>
                  <a:pt x="240" y="162"/>
                  <a:pt x="241" y="162"/>
                  <a:pt x="241" y="162"/>
                </a:cubicBezTo>
                <a:cubicBezTo>
                  <a:pt x="242" y="162"/>
                  <a:pt x="242" y="162"/>
                  <a:pt x="242" y="162"/>
                </a:cubicBezTo>
                <a:cubicBezTo>
                  <a:pt x="243" y="163"/>
                  <a:pt x="244" y="162"/>
                  <a:pt x="244" y="162"/>
                </a:cubicBezTo>
                <a:cubicBezTo>
                  <a:pt x="245" y="162"/>
                  <a:pt x="246" y="162"/>
                  <a:pt x="246" y="162"/>
                </a:cubicBezTo>
                <a:cubicBezTo>
                  <a:pt x="246" y="162"/>
                  <a:pt x="247" y="163"/>
                  <a:pt x="248" y="163"/>
                </a:cubicBezTo>
                <a:cubicBezTo>
                  <a:pt x="248" y="162"/>
                  <a:pt x="249" y="162"/>
                  <a:pt x="249" y="163"/>
                </a:cubicBezTo>
                <a:cubicBezTo>
                  <a:pt x="249" y="164"/>
                  <a:pt x="251" y="163"/>
                  <a:pt x="252" y="163"/>
                </a:cubicBezTo>
                <a:cubicBezTo>
                  <a:pt x="252" y="163"/>
                  <a:pt x="253" y="164"/>
                  <a:pt x="254" y="163"/>
                </a:cubicBezTo>
                <a:cubicBezTo>
                  <a:pt x="254" y="163"/>
                  <a:pt x="254" y="162"/>
                  <a:pt x="254" y="162"/>
                </a:cubicBezTo>
                <a:cubicBezTo>
                  <a:pt x="254" y="162"/>
                  <a:pt x="256" y="162"/>
                  <a:pt x="256" y="162"/>
                </a:cubicBezTo>
                <a:cubicBezTo>
                  <a:pt x="256" y="162"/>
                  <a:pt x="256" y="163"/>
                  <a:pt x="256" y="163"/>
                </a:cubicBezTo>
                <a:cubicBezTo>
                  <a:pt x="256" y="163"/>
                  <a:pt x="257" y="163"/>
                  <a:pt x="257" y="163"/>
                </a:cubicBezTo>
                <a:cubicBezTo>
                  <a:pt x="257" y="163"/>
                  <a:pt x="257" y="163"/>
                  <a:pt x="257" y="163"/>
                </a:cubicBezTo>
                <a:cubicBezTo>
                  <a:pt x="258" y="163"/>
                  <a:pt x="259" y="162"/>
                  <a:pt x="259" y="162"/>
                </a:cubicBezTo>
                <a:cubicBezTo>
                  <a:pt x="260" y="162"/>
                  <a:pt x="261" y="161"/>
                  <a:pt x="262" y="161"/>
                </a:cubicBezTo>
                <a:cubicBezTo>
                  <a:pt x="262" y="161"/>
                  <a:pt x="263" y="162"/>
                  <a:pt x="264" y="161"/>
                </a:cubicBezTo>
                <a:cubicBezTo>
                  <a:pt x="265" y="161"/>
                  <a:pt x="266" y="160"/>
                  <a:pt x="266" y="160"/>
                </a:cubicBezTo>
                <a:cubicBezTo>
                  <a:pt x="267" y="160"/>
                  <a:pt x="268" y="160"/>
                  <a:pt x="268" y="160"/>
                </a:cubicBezTo>
                <a:close/>
                <a:moveTo>
                  <a:pt x="208" y="160"/>
                </a:moveTo>
                <a:cubicBezTo>
                  <a:pt x="208" y="159"/>
                  <a:pt x="209" y="158"/>
                  <a:pt x="209" y="157"/>
                </a:cubicBezTo>
                <a:cubicBezTo>
                  <a:pt x="209" y="156"/>
                  <a:pt x="206" y="155"/>
                  <a:pt x="205" y="156"/>
                </a:cubicBezTo>
                <a:cubicBezTo>
                  <a:pt x="205" y="156"/>
                  <a:pt x="204" y="156"/>
                  <a:pt x="204" y="157"/>
                </a:cubicBezTo>
                <a:cubicBezTo>
                  <a:pt x="203" y="157"/>
                  <a:pt x="203" y="158"/>
                  <a:pt x="202" y="158"/>
                </a:cubicBezTo>
                <a:cubicBezTo>
                  <a:pt x="202" y="159"/>
                  <a:pt x="203" y="161"/>
                  <a:pt x="202" y="162"/>
                </a:cubicBezTo>
                <a:cubicBezTo>
                  <a:pt x="202" y="161"/>
                  <a:pt x="201" y="162"/>
                  <a:pt x="201" y="161"/>
                </a:cubicBezTo>
                <a:cubicBezTo>
                  <a:pt x="200" y="161"/>
                  <a:pt x="200" y="162"/>
                  <a:pt x="201" y="162"/>
                </a:cubicBezTo>
                <a:cubicBezTo>
                  <a:pt x="201" y="163"/>
                  <a:pt x="201" y="162"/>
                  <a:pt x="201" y="163"/>
                </a:cubicBezTo>
                <a:cubicBezTo>
                  <a:pt x="202" y="163"/>
                  <a:pt x="202" y="163"/>
                  <a:pt x="202" y="163"/>
                </a:cubicBezTo>
                <a:cubicBezTo>
                  <a:pt x="202" y="163"/>
                  <a:pt x="202" y="163"/>
                  <a:pt x="202" y="163"/>
                </a:cubicBezTo>
                <a:cubicBezTo>
                  <a:pt x="203" y="163"/>
                  <a:pt x="202" y="163"/>
                  <a:pt x="202" y="163"/>
                </a:cubicBezTo>
                <a:cubicBezTo>
                  <a:pt x="203" y="163"/>
                  <a:pt x="203" y="163"/>
                  <a:pt x="203" y="163"/>
                </a:cubicBezTo>
                <a:cubicBezTo>
                  <a:pt x="203" y="163"/>
                  <a:pt x="203" y="163"/>
                  <a:pt x="204" y="163"/>
                </a:cubicBezTo>
                <a:cubicBezTo>
                  <a:pt x="204" y="163"/>
                  <a:pt x="204" y="163"/>
                  <a:pt x="204" y="163"/>
                </a:cubicBezTo>
                <a:cubicBezTo>
                  <a:pt x="204" y="163"/>
                  <a:pt x="206" y="163"/>
                  <a:pt x="205" y="164"/>
                </a:cubicBezTo>
                <a:cubicBezTo>
                  <a:pt x="206" y="163"/>
                  <a:pt x="205" y="162"/>
                  <a:pt x="206" y="162"/>
                </a:cubicBezTo>
                <a:cubicBezTo>
                  <a:pt x="207" y="162"/>
                  <a:pt x="206" y="163"/>
                  <a:pt x="206" y="163"/>
                </a:cubicBezTo>
                <a:cubicBezTo>
                  <a:pt x="206" y="163"/>
                  <a:pt x="208" y="163"/>
                  <a:pt x="207" y="163"/>
                </a:cubicBezTo>
                <a:cubicBezTo>
                  <a:pt x="207" y="162"/>
                  <a:pt x="207" y="163"/>
                  <a:pt x="207" y="163"/>
                </a:cubicBezTo>
                <a:cubicBezTo>
                  <a:pt x="206" y="163"/>
                  <a:pt x="207" y="161"/>
                  <a:pt x="207" y="161"/>
                </a:cubicBezTo>
                <a:cubicBezTo>
                  <a:pt x="208" y="161"/>
                  <a:pt x="208" y="160"/>
                  <a:pt x="208" y="160"/>
                </a:cubicBezTo>
                <a:close/>
                <a:moveTo>
                  <a:pt x="229" y="162"/>
                </a:moveTo>
                <a:cubicBezTo>
                  <a:pt x="229" y="162"/>
                  <a:pt x="228" y="162"/>
                  <a:pt x="228" y="162"/>
                </a:cubicBezTo>
                <a:cubicBezTo>
                  <a:pt x="228" y="162"/>
                  <a:pt x="228" y="161"/>
                  <a:pt x="228" y="161"/>
                </a:cubicBezTo>
                <a:cubicBezTo>
                  <a:pt x="229" y="161"/>
                  <a:pt x="229" y="161"/>
                  <a:pt x="229" y="161"/>
                </a:cubicBezTo>
                <a:cubicBezTo>
                  <a:pt x="229" y="161"/>
                  <a:pt x="230" y="161"/>
                  <a:pt x="230" y="161"/>
                </a:cubicBezTo>
                <a:cubicBezTo>
                  <a:pt x="231" y="161"/>
                  <a:pt x="231" y="162"/>
                  <a:pt x="232" y="161"/>
                </a:cubicBezTo>
                <a:cubicBezTo>
                  <a:pt x="233" y="161"/>
                  <a:pt x="233" y="160"/>
                  <a:pt x="233" y="159"/>
                </a:cubicBezTo>
                <a:cubicBezTo>
                  <a:pt x="232" y="160"/>
                  <a:pt x="231" y="161"/>
                  <a:pt x="231" y="159"/>
                </a:cubicBezTo>
                <a:cubicBezTo>
                  <a:pt x="231" y="159"/>
                  <a:pt x="232" y="158"/>
                  <a:pt x="231" y="158"/>
                </a:cubicBezTo>
                <a:cubicBezTo>
                  <a:pt x="231" y="157"/>
                  <a:pt x="231" y="157"/>
                  <a:pt x="231" y="157"/>
                </a:cubicBezTo>
                <a:cubicBezTo>
                  <a:pt x="231" y="156"/>
                  <a:pt x="229" y="156"/>
                  <a:pt x="229" y="157"/>
                </a:cubicBezTo>
                <a:cubicBezTo>
                  <a:pt x="228" y="158"/>
                  <a:pt x="228" y="159"/>
                  <a:pt x="228" y="159"/>
                </a:cubicBezTo>
                <a:cubicBezTo>
                  <a:pt x="228" y="158"/>
                  <a:pt x="229" y="157"/>
                  <a:pt x="227" y="156"/>
                </a:cubicBezTo>
                <a:cubicBezTo>
                  <a:pt x="225" y="156"/>
                  <a:pt x="226" y="157"/>
                  <a:pt x="225" y="157"/>
                </a:cubicBezTo>
                <a:cubicBezTo>
                  <a:pt x="223" y="157"/>
                  <a:pt x="224" y="155"/>
                  <a:pt x="223" y="154"/>
                </a:cubicBezTo>
                <a:cubicBezTo>
                  <a:pt x="222" y="154"/>
                  <a:pt x="220" y="154"/>
                  <a:pt x="219" y="155"/>
                </a:cubicBezTo>
                <a:cubicBezTo>
                  <a:pt x="218" y="155"/>
                  <a:pt x="219" y="156"/>
                  <a:pt x="219" y="156"/>
                </a:cubicBezTo>
                <a:cubicBezTo>
                  <a:pt x="219" y="157"/>
                  <a:pt x="220" y="157"/>
                  <a:pt x="220" y="158"/>
                </a:cubicBezTo>
                <a:cubicBezTo>
                  <a:pt x="220" y="158"/>
                  <a:pt x="221" y="158"/>
                  <a:pt x="221" y="158"/>
                </a:cubicBezTo>
                <a:cubicBezTo>
                  <a:pt x="221" y="158"/>
                  <a:pt x="222" y="158"/>
                  <a:pt x="222" y="158"/>
                </a:cubicBezTo>
                <a:cubicBezTo>
                  <a:pt x="222" y="159"/>
                  <a:pt x="223" y="159"/>
                  <a:pt x="223" y="159"/>
                </a:cubicBezTo>
                <a:cubicBezTo>
                  <a:pt x="224" y="159"/>
                  <a:pt x="224" y="161"/>
                  <a:pt x="223" y="160"/>
                </a:cubicBezTo>
                <a:cubicBezTo>
                  <a:pt x="222" y="160"/>
                  <a:pt x="222" y="161"/>
                  <a:pt x="221" y="161"/>
                </a:cubicBezTo>
                <a:cubicBezTo>
                  <a:pt x="221" y="162"/>
                  <a:pt x="220" y="161"/>
                  <a:pt x="220" y="161"/>
                </a:cubicBezTo>
                <a:cubicBezTo>
                  <a:pt x="219" y="161"/>
                  <a:pt x="219" y="160"/>
                  <a:pt x="219" y="160"/>
                </a:cubicBezTo>
                <a:cubicBezTo>
                  <a:pt x="219" y="160"/>
                  <a:pt x="219" y="160"/>
                  <a:pt x="218" y="159"/>
                </a:cubicBezTo>
                <a:cubicBezTo>
                  <a:pt x="218" y="159"/>
                  <a:pt x="218" y="159"/>
                  <a:pt x="218" y="159"/>
                </a:cubicBezTo>
                <a:cubicBezTo>
                  <a:pt x="218" y="158"/>
                  <a:pt x="218" y="158"/>
                  <a:pt x="217" y="159"/>
                </a:cubicBezTo>
                <a:cubicBezTo>
                  <a:pt x="217" y="159"/>
                  <a:pt x="217" y="158"/>
                  <a:pt x="217" y="158"/>
                </a:cubicBezTo>
                <a:cubicBezTo>
                  <a:pt x="217" y="158"/>
                  <a:pt x="217" y="158"/>
                  <a:pt x="217" y="158"/>
                </a:cubicBezTo>
                <a:cubicBezTo>
                  <a:pt x="216" y="158"/>
                  <a:pt x="216" y="158"/>
                  <a:pt x="216" y="158"/>
                </a:cubicBezTo>
                <a:cubicBezTo>
                  <a:pt x="214" y="158"/>
                  <a:pt x="214" y="157"/>
                  <a:pt x="212" y="158"/>
                </a:cubicBezTo>
                <a:cubicBezTo>
                  <a:pt x="212" y="158"/>
                  <a:pt x="211" y="160"/>
                  <a:pt x="210" y="159"/>
                </a:cubicBezTo>
                <a:cubicBezTo>
                  <a:pt x="210" y="159"/>
                  <a:pt x="209" y="160"/>
                  <a:pt x="209" y="160"/>
                </a:cubicBezTo>
                <a:cubicBezTo>
                  <a:pt x="209" y="161"/>
                  <a:pt x="209" y="161"/>
                  <a:pt x="210" y="162"/>
                </a:cubicBezTo>
                <a:cubicBezTo>
                  <a:pt x="210" y="162"/>
                  <a:pt x="209" y="162"/>
                  <a:pt x="209" y="163"/>
                </a:cubicBezTo>
                <a:cubicBezTo>
                  <a:pt x="209" y="163"/>
                  <a:pt x="209" y="164"/>
                  <a:pt x="209" y="164"/>
                </a:cubicBezTo>
                <a:cubicBezTo>
                  <a:pt x="209" y="164"/>
                  <a:pt x="210" y="165"/>
                  <a:pt x="210" y="165"/>
                </a:cubicBezTo>
                <a:cubicBezTo>
                  <a:pt x="211" y="165"/>
                  <a:pt x="211" y="165"/>
                  <a:pt x="212" y="165"/>
                </a:cubicBezTo>
                <a:cubicBezTo>
                  <a:pt x="213" y="166"/>
                  <a:pt x="213" y="164"/>
                  <a:pt x="214" y="165"/>
                </a:cubicBezTo>
                <a:cubicBezTo>
                  <a:pt x="215" y="165"/>
                  <a:pt x="216" y="165"/>
                  <a:pt x="216" y="164"/>
                </a:cubicBezTo>
                <a:cubicBezTo>
                  <a:pt x="217" y="164"/>
                  <a:pt x="218" y="163"/>
                  <a:pt x="218" y="163"/>
                </a:cubicBezTo>
                <a:cubicBezTo>
                  <a:pt x="218" y="163"/>
                  <a:pt x="219" y="164"/>
                  <a:pt x="219" y="163"/>
                </a:cubicBezTo>
                <a:cubicBezTo>
                  <a:pt x="219" y="163"/>
                  <a:pt x="219" y="163"/>
                  <a:pt x="220" y="163"/>
                </a:cubicBezTo>
                <a:cubicBezTo>
                  <a:pt x="220" y="164"/>
                  <a:pt x="220" y="163"/>
                  <a:pt x="221" y="163"/>
                </a:cubicBezTo>
                <a:cubicBezTo>
                  <a:pt x="222" y="162"/>
                  <a:pt x="223" y="163"/>
                  <a:pt x="224" y="162"/>
                </a:cubicBezTo>
                <a:cubicBezTo>
                  <a:pt x="224" y="161"/>
                  <a:pt x="224" y="161"/>
                  <a:pt x="225" y="161"/>
                </a:cubicBezTo>
                <a:cubicBezTo>
                  <a:pt x="225" y="160"/>
                  <a:pt x="225" y="160"/>
                  <a:pt x="225" y="160"/>
                </a:cubicBezTo>
                <a:cubicBezTo>
                  <a:pt x="225" y="160"/>
                  <a:pt x="226" y="161"/>
                  <a:pt x="225" y="161"/>
                </a:cubicBezTo>
                <a:cubicBezTo>
                  <a:pt x="225" y="162"/>
                  <a:pt x="225" y="162"/>
                  <a:pt x="225" y="162"/>
                </a:cubicBezTo>
                <a:cubicBezTo>
                  <a:pt x="225" y="163"/>
                  <a:pt x="227" y="162"/>
                  <a:pt x="227" y="162"/>
                </a:cubicBezTo>
                <a:cubicBezTo>
                  <a:pt x="228" y="162"/>
                  <a:pt x="229" y="162"/>
                  <a:pt x="230" y="163"/>
                </a:cubicBezTo>
                <a:cubicBezTo>
                  <a:pt x="231" y="163"/>
                  <a:pt x="230" y="162"/>
                  <a:pt x="229" y="162"/>
                </a:cubicBezTo>
                <a:close/>
                <a:moveTo>
                  <a:pt x="29" y="54"/>
                </a:moveTo>
                <a:cubicBezTo>
                  <a:pt x="29" y="53"/>
                  <a:pt x="29" y="53"/>
                  <a:pt x="28" y="53"/>
                </a:cubicBezTo>
                <a:cubicBezTo>
                  <a:pt x="28" y="52"/>
                  <a:pt x="28" y="52"/>
                  <a:pt x="27" y="52"/>
                </a:cubicBezTo>
                <a:cubicBezTo>
                  <a:pt x="27" y="51"/>
                  <a:pt x="26" y="50"/>
                  <a:pt x="26" y="49"/>
                </a:cubicBezTo>
                <a:cubicBezTo>
                  <a:pt x="26" y="49"/>
                  <a:pt x="25" y="49"/>
                  <a:pt x="25" y="49"/>
                </a:cubicBezTo>
                <a:cubicBezTo>
                  <a:pt x="25" y="49"/>
                  <a:pt x="25" y="49"/>
                  <a:pt x="25" y="49"/>
                </a:cubicBezTo>
                <a:cubicBezTo>
                  <a:pt x="24" y="48"/>
                  <a:pt x="24" y="48"/>
                  <a:pt x="24" y="49"/>
                </a:cubicBezTo>
                <a:cubicBezTo>
                  <a:pt x="24" y="49"/>
                  <a:pt x="24" y="49"/>
                  <a:pt x="23" y="50"/>
                </a:cubicBezTo>
                <a:cubicBezTo>
                  <a:pt x="23" y="50"/>
                  <a:pt x="23" y="50"/>
                  <a:pt x="22" y="50"/>
                </a:cubicBezTo>
                <a:cubicBezTo>
                  <a:pt x="22" y="50"/>
                  <a:pt x="21" y="50"/>
                  <a:pt x="22" y="50"/>
                </a:cubicBezTo>
                <a:cubicBezTo>
                  <a:pt x="22" y="50"/>
                  <a:pt x="22" y="50"/>
                  <a:pt x="23" y="51"/>
                </a:cubicBezTo>
                <a:cubicBezTo>
                  <a:pt x="23" y="51"/>
                  <a:pt x="23" y="51"/>
                  <a:pt x="23" y="52"/>
                </a:cubicBezTo>
                <a:cubicBezTo>
                  <a:pt x="24" y="52"/>
                  <a:pt x="25" y="53"/>
                  <a:pt x="25" y="54"/>
                </a:cubicBezTo>
                <a:cubicBezTo>
                  <a:pt x="25" y="55"/>
                  <a:pt x="25" y="55"/>
                  <a:pt x="25" y="55"/>
                </a:cubicBezTo>
                <a:cubicBezTo>
                  <a:pt x="26" y="55"/>
                  <a:pt x="26" y="55"/>
                  <a:pt x="26" y="55"/>
                </a:cubicBezTo>
                <a:cubicBezTo>
                  <a:pt x="27" y="56"/>
                  <a:pt x="27" y="56"/>
                  <a:pt x="27" y="57"/>
                </a:cubicBezTo>
                <a:cubicBezTo>
                  <a:pt x="27" y="57"/>
                  <a:pt x="27" y="58"/>
                  <a:pt x="28" y="58"/>
                </a:cubicBezTo>
                <a:cubicBezTo>
                  <a:pt x="28" y="58"/>
                  <a:pt x="27" y="59"/>
                  <a:pt x="28" y="59"/>
                </a:cubicBezTo>
                <a:cubicBezTo>
                  <a:pt x="29" y="59"/>
                  <a:pt x="29" y="59"/>
                  <a:pt x="29" y="59"/>
                </a:cubicBezTo>
                <a:cubicBezTo>
                  <a:pt x="30" y="58"/>
                  <a:pt x="30" y="57"/>
                  <a:pt x="30" y="56"/>
                </a:cubicBezTo>
                <a:cubicBezTo>
                  <a:pt x="30" y="55"/>
                  <a:pt x="30" y="54"/>
                  <a:pt x="29" y="54"/>
                </a:cubicBezTo>
                <a:close/>
                <a:moveTo>
                  <a:pt x="93" y="73"/>
                </a:moveTo>
                <a:cubicBezTo>
                  <a:pt x="93" y="73"/>
                  <a:pt x="93" y="72"/>
                  <a:pt x="93" y="72"/>
                </a:cubicBezTo>
                <a:cubicBezTo>
                  <a:pt x="93" y="72"/>
                  <a:pt x="93" y="72"/>
                  <a:pt x="94" y="72"/>
                </a:cubicBezTo>
                <a:cubicBezTo>
                  <a:pt x="94" y="72"/>
                  <a:pt x="94" y="71"/>
                  <a:pt x="94" y="71"/>
                </a:cubicBezTo>
                <a:cubicBezTo>
                  <a:pt x="94" y="71"/>
                  <a:pt x="95" y="71"/>
                  <a:pt x="95" y="70"/>
                </a:cubicBezTo>
                <a:cubicBezTo>
                  <a:pt x="95" y="70"/>
                  <a:pt x="94" y="69"/>
                  <a:pt x="94" y="69"/>
                </a:cubicBezTo>
                <a:cubicBezTo>
                  <a:pt x="93" y="69"/>
                  <a:pt x="93" y="69"/>
                  <a:pt x="93" y="70"/>
                </a:cubicBezTo>
                <a:cubicBezTo>
                  <a:pt x="93" y="70"/>
                  <a:pt x="92" y="69"/>
                  <a:pt x="92" y="70"/>
                </a:cubicBezTo>
                <a:cubicBezTo>
                  <a:pt x="92" y="70"/>
                  <a:pt x="92" y="69"/>
                  <a:pt x="92" y="69"/>
                </a:cubicBezTo>
                <a:cubicBezTo>
                  <a:pt x="92" y="70"/>
                  <a:pt x="91" y="70"/>
                  <a:pt x="92" y="71"/>
                </a:cubicBezTo>
                <a:cubicBezTo>
                  <a:pt x="92" y="71"/>
                  <a:pt x="93" y="73"/>
                  <a:pt x="93" y="73"/>
                </a:cubicBezTo>
                <a:close/>
                <a:moveTo>
                  <a:pt x="198" y="142"/>
                </a:moveTo>
                <a:cubicBezTo>
                  <a:pt x="199" y="142"/>
                  <a:pt x="199" y="141"/>
                  <a:pt x="198" y="141"/>
                </a:cubicBezTo>
                <a:cubicBezTo>
                  <a:pt x="198" y="140"/>
                  <a:pt x="197" y="140"/>
                  <a:pt x="196" y="140"/>
                </a:cubicBezTo>
                <a:cubicBezTo>
                  <a:pt x="196" y="140"/>
                  <a:pt x="196" y="141"/>
                  <a:pt x="195" y="141"/>
                </a:cubicBezTo>
                <a:cubicBezTo>
                  <a:pt x="195" y="141"/>
                  <a:pt x="196" y="141"/>
                  <a:pt x="196" y="142"/>
                </a:cubicBezTo>
                <a:cubicBezTo>
                  <a:pt x="196" y="143"/>
                  <a:pt x="196" y="142"/>
                  <a:pt x="196" y="142"/>
                </a:cubicBezTo>
                <a:cubicBezTo>
                  <a:pt x="196" y="142"/>
                  <a:pt x="197" y="142"/>
                  <a:pt x="197" y="142"/>
                </a:cubicBezTo>
                <a:cubicBezTo>
                  <a:pt x="197" y="142"/>
                  <a:pt x="197" y="141"/>
                  <a:pt x="197" y="141"/>
                </a:cubicBezTo>
                <a:cubicBezTo>
                  <a:pt x="197" y="141"/>
                  <a:pt x="198" y="141"/>
                  <a:pt x="198" y="142"/>
                </a:cubicBezTo>
                <a:close/>
                <a:moveTo>
                  <a:pt x="321" y="84"/>
                </a:moveTo>
                <a:cubicBezTo>
                  <a:pt x="322" y="84"/>
                  <a:pt x="322" y="84"/>
                  <a:pt x="322" y="84"/>
                </a:cubicBezTo>
                <a:cubicBezTo>
                  <a:pt x="324" y="84"/>
                  <a:pt x="324" y="83"/>
                  <a:pt x="322" y="82"/>
                </a:cubicBezTo>
                <a:cubicBezTo>
                  <a:pt x="322" y="82"/>
                  <a:pt x="322" y="82"/>
                  <a:pt x="321" y="81"/>
                </a:cubicBezTo>
                <a:cubicBezTo>
                  <a:pt x="321" y="81"/>
                  <a:pt x="321" y="81"/>
                  <a:pt x="320" y="81"/>
                </a:cubicBezTo>
                <a:cubicBezTo>
                  <a:pt x="320" y="81"/>
                  <a:pt x="319" y="79"/>
                  <a:pt x="318" y="80"/>
                </a:cubicBezTo>
                <a:cubicBezTo>
                  <a:pt x="318" y="80"/>
                  <a:pt x="317" y="81"/>
                  <a:pt x="317" y="81"/>
                </a:cubicBezTo>
                <a:cubicBezTo>
                  <a:pt x="316" y="80"/>
                  <a:pt x="316" y="82"/>
                  <a:pt x="316" y="82"/>
                </a:cubicBezTo>
                <a:cubicBezTo>
                  <a:pt x="316" y="83"/>
                  <a:pt x="316" y="84"/>
                  <a:pt x="317" y="84"/>
                </a:cubicBezTo>
                <a:cubicBezTo>
                  <a:pt x="318" y="85"/>
                  <a:pt x="319" y="84"/>
                  <a:pt x="320" y="84"/>
                </a:cubicBezTo>
                <a:cubicBezTo>
                  <a:pt x="320" y="84"/>
                  <a:pt x="321" y="84"/>
                  <a:pt x="321" y="84"/>
                </a:cubicBezTo>
                <a:close/>
                <a:moveTo>
                  <a:pt x="43" y="83"/>
                </a:moveTo>
                <a:cubicBezTo>
                  <a:pt x="42" y="83"/>
                  <a:pt x="42" y="82"/>
                  <a:pt x="42" y="82"/>
                </a:cubicBezTo>
                <a:cubicBezTo>
                  <a:pt x="42" y="82"/>
                  <a:pt x="42" y="81"/>
                  <a:pt x="42" y="81"/>
                </a:cubicBezTo>
                <a:cubicBezTo>
                  <a:pt x="42" y="81"/>
                  <a:pt x="42" y="81"/>
                  <a:pt x="42" y="80"/>
                </a:cubicBezTo>
                <a:cubicBezTo>
                  <a:pt x="41" y="80"/>
                  <a:pt x="41" y="80"/>
                  <a:pt x="41" y="79"/>
                </a:cubicBezTo>
                <a:cubicBezTo>
                  <a:pt x="41" y="78"/>
                  <a:pt x="40" y="78"/>
                  <a:pt x="40" y="77"/>
                </a:cubicBezTo>
                <a:cubicBezTo>
                  <a:pt x="40" y="77"/>
                  <a:pt x="39" y="76"/>
                  <a:pt x="40" y="76"/>
                </a:cubicBezTo>
                <a:cubicBezTo>
                  <a:pt x="40" y="76"/>
                  <a:pt x="40" y="76"/>
                  <a:pt x="40" y="76"/>
                </a:cubicBezTo>
                <a:cubicBezTo>
                  <a:pt x="39" y="75"/>
                  <a:pt x="38" y="76"/>
                  <a:pt x="38" y="76"/>
                </a:cubicBezTo>
                <a:cubicBezTo>
                  <a:pt x="37" y="76"/>
                  <a:pt x="37" y="77"/>
                  <a:pt x="37" y="78"/>
                </a:cubicBezTo>
                <a:cubicBezTo>
                  <a:pt x="36" y="79"/>
                  <a:pt x="37" y="80"/>
                  <a:pt x="38" y="81"/>
                </a:cubicBezTo>
                <a:cubicBezTo>
                  <a:pt x="38" y="82"/>
                  <a:pt x="39" y="83"/>
                  <a:pt x="39" y="84"/>
                </a:cubicBezTo>
                <a:cubicBezTo>
                  <a:pt x="40" y="84"/>
                  <a:pt x="41" y="85"/>
                  <a:pt x="41" y="85"/>
                </a:cubicBezTo>
                <a:cubicBezTo>
                  <a:pt x="42" y="85"/>
                  <a:pt x="43" y="85"/>
                  <a:pt x="43" y="84"/>
                </a:cubicBezTo>
                <a:cubicBezTo>
                  <a:pt x="42" y="83"/>
                  <a:pt x="43" y="83"/>
                  <a:pt x="43" y="84"/>
                </a:cubicBezTo>
                <a:cubicBezTo>
                  <a:pt x="43" y="84"/>
                  <a:pt x="43" y="84"/>
                  <a:pt x="43" y="84"/>
                </a:cubicBezTo>
                <a:cubicBezTo>
                  <a:pt x="43" y="84"/>
                  <a:pt x="43" y="83"/>
                  <a:pt x="43" y="83"/>
                </a:cubicBezTo>
                <a:cubicBezTo>
                  <a:pt x="43" y="83"/>
                  <a:pt x="43" y="83"/>
                  <a:pt x="43" y="83"/>
                </a:cubicBezTo>
                <a:close/>
                <a:moveTo>
                  <a:pt x="385" y="131"/>
                </a:moveTo>
                <a:cubicBezTo>
                  <a:pt x="384" y="131"/>
                  <a:pt x="384" y="131"/>
                  <a:pt x="384" y="131"/>
                </a:cubicBezTo>
                <a:cubicBezTo>
                  <a:pt x="384" y="130"/>
                  <a:pt x="385" y="131"/>
                  <a:pt x="385" y="131"/>
                </a:cubicBezTo>
                <a:cubicBezTo>
                  <a:pt x="385" y="131"/>
                  <a:pt x="385" y="130"/>
                  <a:pt x="385" y="130"/>
                </a:cubicBezTo>
                <a:cubicBezTo>
                  <a:pt x="385" y="130"/>
                  <a:pt x="385" y="130"/>
                  <a:pt x="385" y="130"/>
                </a:cubicBezTo>
                <a:cubicBezTo>
                  <a:pt x="385" y="129"/>
                  <a:pt x="385" y="129"/>
                  <a:pt x="385" y="129"/>
                </a:cubicBezTo>
                <a:cubicBezTo>
                  <a:pt x="385" y="128"/>
                  <a:pt x="385" y="128"/>
                  <a:pt x="385" y="128"/>
                </a:cubicBezTo>
                <a:cubicBezTo>
                  <a:pt x="385" y="127"/>
                  <a:pt x="385" y="127"/>
                  <a:pt x="384" y="127"/>
                </a:cubicBezTo>
                <a:cubicBezTo>
                  <a:pt x="385" y="127"/>
                  <a:pt x="385" y="126"/>
                  <a:pt x="385" y="126"/>
                </a:cubicBezTo>
                <a:cubicBezTo>
                  <a:pt x="384" y="125"/>
                  <a:pt x="384" y="125"/>
                  <a:pt x="383" y="125"/>
                </a:cubicBezTo>
                <a:cubicBezTo>
                  <a:pt x="383" y="125"/>
                  <a:pt x="383" y="126"/>
                  <a:pt x="383" y="126"/>
                </a:cubicBezTo>
                <a:cubicBezTo>
                  <a:pt x="383" y="126"/>
                  <a:pt x="383" y="126"/>
                  <a:pt x="382" y="127"/>
                </a:cubicBezTo>
                <a:cubicBezTo>
                  <a:pt x="382" y="127"/>
                  <a:pt x="382" y="127"/>
                  <a:pt x="382" y="128"/>
                </a:cubicBezTo>
                <a:cubicBezTo>
                  <a:pt x="382" y="128"/>
                  <a:pt x="382" y="128"/>
                  <a:pt x="382" y="128"/>
                </a:cubicBezTo>
                <a:cubicBezTo>
                  <a:pt x="381" y="128"/>
                  <a:pt x="381" y="128"/>
                  <a:pt x="380" y="128"/>
                </a:cubicBezTo>
                <a:cubicBezTo>
                  <a:pt x="380" y="128"/>
                  <a:pt x="380" y="128"/>
                  <a:pt x="381" y="129"/>
                </a:cubicBezTo>
                <a:cubicBezTo>
                  <a:pt x="381" y="129"/>
                  <a:pt x="381" y="129"/>
                  <a:pt x="381" y="129"/>
                </a:cubicBezTo>
                <a:cubicBezTo>
                  <a:pt x="381" y="129"/>
                  <a:pt x="381" y="129"/>
                  <a:pt x="381" y="129"/>
                </a:cubicBezTo>
                <a:cubicBezTo>
                  <a:pt x="381" y="129"/>
                  <a:pt x="382" y="129"/>
                  <a:pt x="382" y="129"/>
                </a:cubicBezTo>
                <a:cubicBezTo>
                  <a:pt x="382" y="130"/>
                  <a:pt x="380" y="130"/>
                  <a:pt x="381" y="131"/>
                </a:cubicBezTo>
                <a:cubicBezTo>
                  <a:pt x="381" y="131"/>
                  <a:pt x="381" y="132"/>
                  <a:pt x="382" y="131"/>
                </a:cubicBezTo>
                <a:cubicBezTo>
                  <a:pt x="381" y="132"/>
                  <a:pt x="381" y="132"/>
                  <a:pt x="381" y="132"/>
                </a:cubicBezTo>
                <a:cubicBezTo>
                  <a:pt x="380" y="132"/>
                  <a:pt x="381" y="133"/>
                  <a:pt x="381" y="133"/>
                </a:cubicBezTo>
                <a:cubicBezTo>
                  <a:pt x="381" y="134"/>
                  <a:pt x="382" y="134"/>
                  <a:pt x="383" y="135"/>
                </a:cubicBezTo>
                <a:cubicBezTo>
                  <a:pt x="383" y="135"/>
                  <a:pt x="384" y="135"/>
                  <a:pt x="384" y="135"/>
                </a:cubicBezTo>
                <a:cubicBezTo>
                  <a:pt x="385" y="134"/>
                  <a:pt x="385" y="134"/>
                  <a:pt x="385" y="133"/>
                </a:cubicBezTo>
                <a:cubicBezTo>
                  <a:pt x="385" y="133"/>
                  <a:pt x="385" y="133"/>
                  <a:pt x="384" y="133"/>
                </a:cubicBezTo>
                <a:cubicBezTo>
                  <a:pt x="385" y="133"/>
                  <a:pt x="385" y="133"/>
                  <a:pt x="385" y="132"/>
                </a:cubicBezTo>
                <a:cubicBezTo>
                  <a:pt x="385" y="132"/>
                  <a:pt x="385" y="131"/>
                  <a:pt x="385" y="131"/>
                </a:cubicBezTo>
                <a:close/>
                <a:moveTo>
                  <a:pt x="274" y="86"/>
                </a:moveTo>
                <a:cubicBezTo>
                  <a:pt x="274" y="86"/>
                  <a:pt x="274" y="86"/>
                  <a:pt x="275" y="85"/>
                </a:cubicBezTo>
                <a:cubicBezTo>
                  <a:pt x="275" y="85"/>
                  <a:pt x="274" y="84"/>
                  <a:pt x="274" y="85"/>
                </a:cubicBezTo>
                <a:cubicBezTo>
                  <a:pt x="274" y="85"/>
                  <a:pt x="274" y="86"/>
                  <a:pt x="274" y="86"/>
                </a:cubicBezTo>
                <a:close/>
                <a:moveTo>
                  <a:pt x="400" y="83"/>
                </a:moveTo>
                <a:cubicBezTo>
                  <a:pt x="399" y="83"/>
                  <a:pt x="398" y="83"/>
                  <a:pt x="397" y="83"/>
                </a:cubicBezTo>
                <a:cubicBezTo>
                  <a:pt x="396" y="83"/>
                  <a:pt x="395" y="83"/>
                  <a:pt x="395" y="83"/>
                </a:cubicBezTo>
                <a:cubicBezTo>
                  <a:pt x="394" y="83"/>
                  <a:pt x="394" y="83"/>
                  <a:pt x="394" y="83"/>
                </a:cubicBezTo>
                <a:cubicBezTo>
                  <a:pt x="395" y="84"/>
                  <a:pt x="395" y="84"/>
                  <a:pt x="395" y="84"/>
                </a:cubicBezTo>
                <a:cubicBezTo>
                  <a:pt x="396" y="84"/>
                  <a:pt x="398" y="84"/>
                  <a:pt x="399" y="85"/>
                </a:cubicBezTo>
                <a:cubicBezTo>
                  <a:pt x="400" y="85"/>
                  <a:pt x="401" y="85"/>
                  <a:pt x="402" y="86"/>
                </a:cubicBezTo>
                <a:cubicBezTo>
                  <a:pt x="402" y="86"/>
                  <a:pt x="402" y="86"/>
                  <a:pt x="403" y="86"/>
                </a:cubicBezTo>
                <a:cubicBezTo>
                  <a:pt x="403" y="86"/>
                  <a:pt x="404" y="86"/>
                  <a:pt x="405" y="86"/>
                </a:cubicBezTo>
                <a:cubicBezTo>
                  <a:pt x="405" y="86"/>
                  <a:pt x="404" y="86"/>
                  <a:pt x="405" y="86"/>
                </a:cubicBezTo>
                <a:cubicBezTo>
                  <a:pt x="406" y="86"/>
                  <a:pt x="406" y="86"/>
                  <a:pt x="406" y="85"/>
                </a:cubicBezTo>
                <a:cubicBezTo>
                  <a:pt x="407" y="85"/>
                  <a:pt x="408" y="86"/>
                  <a:pt x="408" y="85"/>
                </a:cubicBezTo>
                <a:cubicBezTo>
                  <a:pt x="408" y="84"/>
                  <a:pt x="406" y="84"/>
                  <a:pt x="405" y="84"/>
                </a:cubicBezTo>
                <a:cubicBezTo>
                  <a:pt x="404" y="84"/>
                  <a:pt x="403" y="84"/>
                  <a:pt x="402" y="84"/>
                </a:cubicBezTo>
                <a:cubicBezTo>
                  <a:pt x="402" y="84"/>
                  <a:pt x="401" y="83"/>
                  <a:pt x="400" y="83"/>
                </a:cubicBezTo>
                <a:close/>
                <a:moveTo>
                  <a:pt x="300" y="86"/>
                </a:moveTo>
                <a:cubicBezTo>
                  <a:pt x="301" y="86"/>
                  <a:pt x="301" y="86"/>
                  <a:pt x="301" y="86"/>
                </a:cubicBezTo>
                <a:cubicBezTo>
                  <a:pt x="301" y="86"/>
                  <a:pt x="302" y="86"/>
                  <a:pt x="302" y="86"/>
                </a:cubicBezTo>
                <a:cubicBezTo>
                  <a:pt x="303" y="86"/>
                  <a:pt x="304" y="86"/>
                  <a:pt x="305" y="86"/>
                </a:cubicBezTo>
                <a:cubicBezTo>
                  <a:pt x="305" y="86"/>
                  <a:pt x="306" y="85"/>
                  <a:pt x="305" y="85"/>
                </a:cubicBezTo>
                <a:cubicBezTo>
                  <a:pt x="304" y="85"/>
                  <a:pt x="302" y="85"/>
                  <a:pt x="301" y="85"/>
                </a:cubicBezTo>
                <a:cubicBezTo>
                  <a:pt x="300" y="85"/>
                  <a:pt x="300" y="85"/>
                  <a:pt x="299" y="85"/>
                </a:cubicBezTo>
                <a:cubicBezTo>
                  <a:pt x="299" y="85"/>
                  <a:pt x="298" y="85"/>
                  <a:pt x="298" y="85"/>
                </a:cubicBezTo>
                <a:cubicBezTo>
                  <a:pt x="298" y="85"/>
                  <a:pt x="297" y="85"/>
                  <a:pt x="297" y="85"/>
                </a:cubicBezTo>
                <a:cubicBezTo>
                  <a:pt x="296" y="85"/>
                  <a:pt x="296" y="85"/>
                  <a:pt x="296" y="86"/>
                </a:cubicBezTo>
                <a:cubicBezTo>
                  <a:pt x="296" y="86"/>
                  <a:pt x="297" y="86"/>
                  <a:pt x="297" y="87"/>
                </a:cubicBezTo>
                <a:cubicBezTo>
                  <a:pt x="298" y="86"/>
                  <a:pt x="299" y="87"/>
                  <a:pt x="300" y="86"/>
                </a:cubicBezTo>
                <a:close/>
                <a:moveTo>
                  <a:pt x="325" y="144"/>
                </a:moveTo>
                <a:cubicBezTo>
                  <a:pt x="325" y="144"/>
                  <a:pt x="326" y="143"/>
                  <a:pt x="326" y="143"/>
                </a:cubicBezTo>
                <a:cubicBezTo>
                  <a:pt x="326" y="143"/>
                  <a:pt x="325" y="143"/>
                  <a:pt x="325" y="143"/>
                </a:cubicBezTo>
                <a:cubicBezTo>
                  <a:pt x="324" y="143"/>
                  <a:pt x="325" y="145"/>
                  <a:pt x="325" y="144"/>
                </a:cubicBezTo>
                <a:close/>
                <a:moveTo>
                  <a:pt x="185" y="142"/>
                </a:moveTo>
                <a:cubicBezTo>
                  <a:pt x="184" y="140"/>
                  <a:pt x="181" y="141"/>
                  <a:pt x="180" y="141"/>
                </a:cubicBezTo>
                <a:cubicBezTo>
                  <a:pt x="178" y="141"/>
                  <a:pt x="175" y="141"/>
                  <a:pt x="173" y="141"/>
                </a:cubicBezTo>
                <a:cubicBezTo>
                  <a:pt x="173" y="141"/>
                  <a:pt x="172" y="142"/>
                  <a:pt x="172" y="142"/>
                </a:cubicBezTo>
                <a:cubicBezTo>
                  <a:pt x="172" y="142"/>
                  <a:pt x="171" y="142"/>
                  <a:pt x="171" y="143"/>
                </a:cubicBezTo>
                <a:cubicBezTo>
                  <a:pt x="171" y="143"/>
                  <a:pt x="171" y="143"/>
                  <a:pt x="171" y="143"/>
                </a:cubicBezTo>
                <a:cubicBezTo>
                  <a:pt x="171" y="144"/>
                  <a:pt x="173" y="144"/>
                  <a:pt x="174" y="144"/>
                </a:cubicBezTo>
                <a:cubicBezTo>
                  <a:pt x="174" y="144"/>
                  <a:pt x="175" y="145"/>
                  <a:pt x="175" y="145"/>
                </a:cubicBezTo>
                <a:cubicBezTo>
                  <a:pt x="175" y="144"/>
                  <a:pt x="174" y="144"/>
                  <a:pt x="175" y="144"/>
                </a:cubicBezTo>
                <a:cubicBezTo>
                  <a:pt x="175" y="144"/>
                  <a:pt x="175" y="144"/>
                  <a:pt x="176" y="145"/>
                </a:cubicBezTo>
                <a:cubicBezTo>
                  <a:pt x="176" y="145"/>
                  <a:pt x="177" y="145"/>
                  <a:pt x="178" y="145"/>
                </a:cubicBezTo>
                <a:cubicBezTo>
                  <a:pt x="178" y="145"/>
                  <a:pt x="179" y="145"/>
                  <a:pt x="179" y="144"/>
                </a:cubicBezTo>
                <a:cubicBezTo>
                  <a:pt x="179" y="144"/>
                  <a:pt x="180" y="144"/>
                  <a:pt x="180" y="143"/>
                </a:cubicBezTo>
                <a:cubicBezTo>
                  <a:pt x="181" y="143"/>
                  <a:pt x="181" y="144"/>
                  <a:pt x="182" y="144"/>
                </a:cubicBezTo>
                <a:cubicBezTo>
                  <a:pt x="183" y="144"/>
                  <a:pt x="182" y="143"/>
                  <a:pt x="182" y="143"/>
                </a:cubicBezTo>
                <a:cubicBezTo>
                  <a:pt x="182" y="143"/>
                  <a:pt x="185" y="142"/>
                  <a:pt x="185" y="142"/>
                </a:cubicBezTo>
                <a:close/>
                <a:moveTo>
                  <a:pt x="122" y="96"/>
                </a:moveTo>
                <a:cubicBezTo>
                  <a:pt x="122" y="96"/>
                  <a:pt x="121" y="97"/>
                  <a:pt x="122" y="97"/>
                </a:cubicBezTo>
                <a:cubicBezTo>
                  <a:pt x="122" y="98"/>
                  <a:pt x="123" y="97"/>
                  <a:pt x="122" y="96"/>
                </a:cubicBezTo>
                <a:close/>
                <a:moveTo>
                  <a:pt x="95" y="66"/>
                </a:moveTo>
                <a:cubicBezTo>
                  <a:pt x="96" y="66"/>
                  <a:pt x="94" y="64"/>
                  <a:pt x="94" y="65"/>
                </a:cubicBezTo>
                <a:cubicBezTo>
                  <a:pt x="94" y="66"/>
                  <a:pt x="94" y="66"/>
                  <a:pt x="94" y="67"/>
                </a:cubicBezTo>
                <a:cubicBezTo>
                  <a:pt x="94" y="67"/>
                  <a:pt x="93" y="68"/>
                  <a:pt x="93" y="68"/>
                </a:cubicBezTo>
                <a:cubicBezTo>
                  <a:pt x="94" y="68"/>
                  <a:pt x="94" y="68"/>
                  <a:pt x="94" y="68"/>
                </a:cubicBezTo>
                <a:cubicBezTo>
                  <a:pt x="94" y="68"/>
                  <a:pt x="95" y="68"/>
                  <a:pt x="95" y="68"/>
                </a:cubicBezTo>
                <a:cubicBezTo>
                  <a:pt x="96" y="67"/>
                  <a:pt x="97" y="69"/>
                  <a:pt x="98" y="69"/>
                </a:cubicBezTo>
                <a:cubicBezTo>
                  <a:pt x="98" y="68"/>
                  <a:pt x="99" y="69"/>
                  <a:pt x="99" y="68"/>
                </a:cubicBezTo>
                <a:cubicBezTo>
                  <a:pt x="98" y="68"/>
                  <a:pt x="98" y="68"/>
                  <a:pt x="98" y="68"/>
                </a:cubicBezTo>
                <a:cubicBezTo>
                  <a:pt x="98" y="67"/>
                  <a:pt x="97" y="67"/>
                  <a:pt x="97" y="67"/>
                </a:cubicBezTo>
                <a:cubicBezTo>
                  <a:pt x="97" y="67"/>
                  <a:pt x="97" y="68"/>
                  <a:pt x="96" y="67"/>
                </a:cubicBezTo>
                <a:cubicBezTo>
                  <a:pt x="96" y="67"/>
                  <a:pt x="96" y="66"/>
                  <a:pt x="95" y="66"/>
                </a:cubicBezTo>
                <a:close/>
                <a:moveTo>
                  <a:pt x="274" y="112"/>
                </a:moveTo>
                <a:cubicBezTo>
                  <a:pt x="274" y="111"/>
                  <a:pt x="275" y="110"/>
                  <a:pt x="275" y="110"/>
                </a:cubicBezTo>
                <a:cubicBezTo>
                  <a:pt x="274" y="109"/>
                  <a:pt x="273" y="110"/>
                  <a:pt x="273" y="109"/>
                </a:cubicBezTo>
                <a:cubicBezTo>
                  <a:pt x="271" y="109"/>
                  <a:pt x="272" y="113"/>
                  <a:pt x="274" y="112"/>
                </a:cubicBezTo>
                <a:close/>
                <a:moveTo>
                  <a:pt x="296" y="39"/>
                </a:moveTo>
                <a:cubicBezTo>
                  <a:pt x="296" y="40"/>
                  <a:pt x="297" y="40"/>
                  <a:pt x="297" y="40"/>
                </a:cubicBezTo>
                <a:cubicBezTo>
                  <a:pt x="297" y="39"/>
                  <a:pt x="296" y="39"/>
                  <a:pt x="296" y="39"/>
                </a:cubicBezTo>
                <a:close/>
                <a:moveTo>
                  <a:pt x="221" y="29"/>
                </a:moveTo>
                <a:cubicBezTo>
                  <a:pt x="221" y="29"/>
                  <a:pt x="221" y="28"/>
                  <a:pt x="221" y="28"/>
                </a:cubicBezTo>
                <a:cubicBezTo>
                  <a:pt x="221" y="27"/>
                  <a:pt x="220" y="28"/>
                  <a:pt x="220" y="28"/>
                </a:cubicBezTo>
                <a:cubicBezTo>
                  <a:pt x="219" y="28"/>
                  <a:pt x="221" y="30"/>
                  <a:pt x="221" y="29"/>
                </a:cubicBezTo>
                <a:close/>
                <a:moveTo>
                  <a:pt x="313" y="149"/>
                </a:moveTo>
                <a:cubicBezTo>
                  <a:pt x="313" y="149"/>
                  <a:pt x="313" y="149"/>
                  <a:pt x="313" y="149"/>
                </a:cubicBezTo>
                <a:cubicBezTo>
                  <a:pt x="313" y="149"/>
                  <a:pt x="314" y="149"/>
                  <a:pt x="314" y="148"/>
                </a:cubicBezTo>
                <a:cubicBezTo>
                  <a:pt x="314" y="148"/>
                  <a:pt x="313" y="148"/>
                  <a:pt x="313" y="148"/>
                </a:cubicBezTo>
                <a:cubicBezTo>
                  <a:pt x="313" y="147"/>
                  <a:pt x="312" y="149"/>
                  <a:pt x="313" y="149"/>
                </a:cubicBezTo>
                <a:close/>
                <a:moveTo>
                  <a:pt x="72" y="50"/>
                </a:moveTo>
                <a:cubicBezTo>
                  <a:pt x="71" y="49"/>
                  <a:pt x="72" y="52"/>
                  <a:pt x="72" y="53"/>
                </a:cubicBezTo>
                <a:cubicBezTo>
                  <a:pt x="72" y="53"/>
                  <a:pt x="72" y="55"/>
                  <a:pt x="73" y="55"/>
                </a:cubicBezTo>
                <a:cubicBezTo>
                  <a:pt x="74" y="55"/>
                  <a:pt x="74" y="54"/>
                  <a:pt x="74" y="54"/>
                </a:cubicBezTo>
                <a:cubicBezTo>
                  <a:pt x="74" y="53"/>
                  <a:pt x="74" y="53"/>
                  <a:pt x="74" y="52"/>
                </a:cubicBezTo>
                <a:cubicBezTo>
                  <a:pt x="74" y="51"/>
                  <a:pt x="73" y="50"/>
                  <a:pt x="72" y="50"/>
                </a:cubicBezTo>
                <a:close/>
                <a:moveTo>
                  <a:pt x="295" y="85"/>
                </a:moveTo>
                <a:cubicBezTo>
                  <a:pt x="295" y="85"/>
                  <a:pt x="295" y="84"/>
                  <a:pt x="295" y="84"/>
                </a:cubicBezTo>
                <a:cubicBezTo>
                  <a:pt x="295" y="85"/>
                  <a:pt x="295" y="85"/>
                  <a:pt x="294" y="85"/>
                </a:cubicBezTo>
                <a:cubicBezTo>
                  <a:pt x="294" y="85"/>
                  <a:pt x="295" y="84"/>
                  <a:pt x="294" y="84"/>
                </a:cubicBezTo>
                <a:cubicBezTo>
                  <a:pt x="294" y="84"/>
                  <a:pt x="294" y="84"/>
                  <a:pt x="294" y="84"/>
                </a:cubicBezTo>
                <a:cubicBezTo>
                  <a:pt x="294" y="85"/>
                  <a:pt x="293" y="85"/>
                  <a:pt x="293" y="84"/>
                </a:cubicBezTo>
                <a:cubicBezTo>
                  <a:pt x="292" y="84"/>
                  <a:pt x="292" y="84"/>
                  <a:pt x="291" y="84"/>
                </a:cubicBezTo>
                <a:cubicBezTo>
                  <a:pt x="290" y="84"/>
                  <a:pt x="289" y="83"/>
                  <a:pt x="288" y="83"/>
                </a:cubicBezTo>
                <a:cubicBezTo>
                  <a:pt x="288" y="83"/>
                  <a:pt x="287" y="83"/>
                  <a:pt x="287" y="83"/>
                </a:cubicBezTo>
                <a:cubicBezTo>
                  <a:pt x="286" y="83"/>
                  <a:pt x="287" y="84"/>
                  <a:pt x="286" y="85"/>
                </a:cubicBezTo>
                <a:cubicBezTo>
                  <a:pt x="286" y="86"/>
                  <a:pt x="286" y="86"/>
                  <a:pt x="286" y="87"/>
                </a:cubicBezTo>
                <a:cubicBezTo>
                  <a:pt x="287" y="88"/>
                  <a:pt x="289" y="87"/>
                  <a:pt x="290" y="86"/>
                </a:cubicBezTo>
                <a:cubicBezTo>
                  <a:pt x="291" y="86"/>
                  <a:pt x="292" y="87"/>
                  <a:pt x="293" y="87"/>
                </a:cubicBezTo>
                <a:cubicBezTo>
                  <a:pt x="293" y="86"/>
                  <a:pt x="293" y="86"/>
                  <a:pt x="293" y="86"/>
                </a:cubicBezTo>
                <a:cubicBezTo>
                  <a:pt x="293" y="86"/>
                  <a:pt x="294" y="86"/>
                  <a:pt x="294" y="86"/>
                </a:cubicBezTo>
                <a:cubicBezTo>
                  <a:pt x="294" y="86"/>
                  <a:pt x="296" y="86"/>
                  <a:pt x="296" y="86"/>
                </a:cubicBezTo>
                <a:cubicBezTo>
                  <a:pt x="296" y="85"/>
                  <a:pt x="296" y="85"/>
                  <a:pt x="296" y="85"/>
                </a:cubicBezTo>
                <a:cubicBezTo>
                  <a:pt x="296" y="85"/>
                  <a:pt x="295" y="85"/>
                  <a:pt x="295" y="85"/>
                </a:cubicBezTo>
                <a:close/>
                <a:moveTo>
                  <a:pt x="341" y="87"/>
                </a:moveTo>
                <a:cubicBezTo>
                  <a:pt x="341" y="87"/>
                  <a:pt x="342" y="87"/>
                  <a:pt x="342" y="88"/>
                </a:cubicBezTo>
                <a:cubicBezTo>
                  <a:pt x="343" y="88"/>
                  <a:pt x="343" y="88"/>
                  <a:pt x="344" y="87"/>
                </a:cubicBezTo>
                <a:cubicBezTo>
                  <a:pt x="344" y="87"/>
                  <a:pt x="344" y="87"/>
                  <a:pt x="344" y="87"/>
                </a:cubicBezTo>
                <a:cubicBezTo>
                  <a:pt x="345" y="87"/>
                  <a:pt x="344" y="87"/>
                  <a:pt x="345" y="87"/>
                </a:cubicBezTo>
                <a:cubicBezTo>
                  <a:pt x="345" y="87"/>
                  <a:pt x="345" y="87"/>
                  <a:pt x="345" y="87"/>
                </a:cubicBezTo>
                <a:cubicBezTo>
                  <a:pt x="345" y="87"/>
                  <a:pt x="344" y="87"/>
                  <a:pt x="345" y="86"/>
                </a:cubicBezTo>
                <a:cubicBezTo>
                  <a:pt x="345" y="86"/>
                  <a:pt x="345" y="86"/>
                  <a:pt x="345" y="86"/>
                </a:cubicBezTo>
                <a:cubicBezTo>
                  <a:pt x="346" y="85"/>
                  <a:pt x="345" y="85"/>
                  <a:pt x="345" y="84"/>
                </a:cubicBezTo>
                <a:cubicBezTo>
                  <a:pt x="344" y="83"/>
                  <a:pt x="344" y="84"/>
                  <a:pt x="344" y="84"/>
                </a:cubicBezTo>
                <a:cubicBezTo>
                  <a:pt x="343" y="84"/>
                  <a:pt x="343" y="84"/>
                  <a:pt x="342" y="84"/>
                </a:cubicBezTo>
                <a:cubicBezTo>
                  <a:pt x="342" y="84"/>
                  <a:pt x="341" y="85"/>
                  <a:pt x="341" y="85"/>
                </a:cubicBezTo>
                <a:cubicBezTo>
                  <a:pt x="340" y="85"/>
                  <a:pt x="339" y="85"/>
                  <a:pt x="339" y="86"/>
                </a:cubicBezTo>
                <a:cubicBezTo>
                  <a:pt x="338" y="86"/>
                  <a:pt x="340" y="87"/>
                  <a:pt x="341" y="87"/>
                </a:cubicBezTo>
                <a:close/>
                <a:moveTo>
                  <a:pt x="384" y="87"/>
                </a:moveTo>
                <a:cubicBezTo>
                  <a:pt x="383" y="87"/>
                  <a:pt x="383" y="88"/>
                  <a:pt x="383" y="89"/>
                </a:cubicBezTo>
                <a:cubicBezTo>
                  <a:pt x="384" y="89"/>
                  <a:pt x="384" y="88"/>
                  <a:pt x="384" y="87"/>
                </a:cubicBezTo>
                <a:close/>
                <a:moveTo>
                  <a:pt x="100" y="88"/>
                </a:moveTo>
                <a:cubicBezTo>
                  <a:pt x="101" y="88"/>
                  <a:pt x="101" y="88"/>
                  <a:pt x="101" y="88"/>
                </a:cubicBezTo>
                <a:cubicBezTo>
                  <a:pt x="102" y="89"/>
                  <a:pt x="103" y="88"/>
                  <a:pt x="104" y="88"/>
                </a:cubicBezTo>
                <a:cubicBezTo>
                  <a:pt x="104" y="88"/>
                  <a:pt x="104" y="89"/>
                  <a:pt x="104" y="89"/>
                </a:cubicBezTo>
                <a:cubicBezTo>
                  <a:pt x="105" y="89"/>
                  <a:pt x="105" y="89"/>
                  <a:pt x="105" y="89"/>
                </a:cubicBezTo>
                <a:cubicBezTo>
                  <a:pt x="105" y="89"/>
                  <a:pt x="106" y="89"/>
                  <a:pt x="106" y="89"/>
                </a:cubicBezTo>
                <a:cubicBezTo>
                  <a:pt x="107" y="90"/>
                  <a:pt x="106" y="91"/>
                  <a:pt x="107" y="92"/>
                </a:cubicBezTo>
                <a:cubicBezTo>
                  <a:pt x="108" y="93"/>
                  <a:pt x="107" y="94"/>
                  <a:pt x="107" y="95"/>
                </a:cubicBezTo>
                <a:cubicBezTo>
                  <a:pt x="108" y="96"/>
                  <a:pt x="109" y="96"/>
                  <a:pt x="110" y="97"/>
                </a:cubicBezTo>
                <a:cubicBezTo>
                  <a:pt x="110" y="97"/>
                  <a:pt x="111" y="97"/>
                  <a:pt x="111" y="98"/>
                </a:cubicBezTo>
                <a:cubicBezTo>
                  <a:pt x="112" y="98"/>
                  <a:pt x="112" y="98"/>
                  <a:pt x="112" y="98"/>
                </a:cubicBezTo>
                <a:cubicBezTo>
                  <a:pt x="112" y="98"/>
                  <a:pt x="113" y="99"/>
                  <a:pt x="113" y="99"/>
                </a:cubicBezTo>
                <a:cubicBezTo>
                  <a:pt x="113" y="99"/>
                  <a:pt x="114" y="99"/>
                  <a:pt x="114" y="99"/>
                </a:cubicBezTo>
                <a:cubicBezTo>
                  <a:pt x="115" y="100"/>
                  <a:pt x="115" y="98"/>
                  <a:pt x="115" y="98"/>
                </a:cubicBezTo>
                <a:cubicBezTo>
                  <a:pt x="114" y="98"/>
                  <a:pt x="114" y="98"/>
                  <a:pt x="114" y="98"/>
                </a:cubicBezTo>
                <a:cubicBezTo>
                  <a:pt x="114" y="97"/>
                  <a:pt x="114" y="97"/>
                  <a:pt x="114" y="96"/>
                </a:cubicBezTo>
                <a:cubicBezTo>
                  <a:pt x="115" y="95"/>
                  <a:pt x="115" y="94"/>
                  <a:pt x="116" y="94"/>
                </a:cubicBezTo>
                <a:cubicBezTo>
                  <a:pt x="115" y="92"/>
                  <a:pt x="112" y="93"/>
                  <a:pt x="111" y="92"/>
                </a:cubicBezTo>
                <a:cubicBezTo>
                  <a:pt x="110" y="91"/>
                  <a:pt x="110" y="89"/>
                  <a:pt x="110" y="88"/>
                </a:cubicBezTo>
                <a:cubicBezTo>
                  <a:pt x="110" y="87"/>
                  <a:pt x="110" y="86"/>
                  <a:pt x="109" y="85"/>
                </a:cubicBezTo>
                <a:cubicBezTo>
                  <a:pt x="109" y="84"/>
                  <a:pt x="108" y="84"/>
                  <a:pt x="109" y="83"/>
                </a:cubicBezTo>
                <a:cubicBezTo>
                  <a:pt x="109" y="83"/>
                  <a:pt x="109" y="83"/>
                  <a:pt x="108" y="82"/>
                </a:cubicBezTo>
                <a:cubicBezTo>
                  <a:pt x="108" y="82"/>
                  <a:pt x="108" y="82"/>
                  <a:pt x="108" y="82"/>
                </a:cubicBezTo>
                <a:cubicBezTo>
                  <a:pt x="108" y="82"/>
                  <a:pt x="107" y="82"/>
                  <a:pt x="107" y="82"/>
                </a:cubicBezTo>
                <a:cubicBezTo>
                  <a:pt x="107" y="82"/>
                  <a:pt x="106" y="82"/>
                  <a:pt x="106" y="82"/>
                </a:cubicBezTo>
                <a:cubicBezTo>
                  <a:pt x="105" y="82"/>
                  <a:pt x="106" y="83"/>
                  <a:pt x="106" y="84"/>
                </a:cubicBezTo>
                <a:cubicBezTo>
                  <a:pt x="106" y="84"/>
                  <a:pt x="107" y="85"/>
                  <a:pt x="106" y="85"/>
                </a:cubicBezTo>
                <a:cubicBezTo>
                  <a:pt x="106" y="84"/>
                  <a:pt x="105" y="85"/>
                  <a:pt x="105" y="84"/>
                </a:cubicBezTo>
                <a:cubicBezTo>
                  <a:pt x="105" y="84"/>
                  <a:pt x="105" y="84"/>
                  <a:pt x="105" y="83"/>
                </a:cubicBezTo>
                <a:cubicBezTo>
                  <a:pt x="105" y="83"/>
                  <a:pt x="105" y="83"/>
                  <a:pt x="104" y="82"/>
                </a:cubicBezTo>
                <a:cubicBezTo>
                  <a:pt x="104" y="82"/>
                  <a:pt x="104" y="82"/>
                  <a:pt x="104" y="82"/>
                </a:cubicBezTo>
                <a:cubicBezTo>
                  <a:pt x="103" y="83"/>
                  <a:pt x="103" y="82"/>
                  <a:pt x="102" y="83"/>
                </a:cubicBezTo>
                <a:cubicBezTo>
                  <a:pt x="102" y="83"/>
                  <a:pt x="102" y="84"/>
                  <a:pt x="102" y="84"/>
                </a:cubicBezTo>
                <a:cubicBezTo>
                  <a:pt x="102" y="84"/>
                  <a:pt x="102" y="84"/>
                  <a:pt x="102" y="85"/>
                </a:cubicBezTo>
                <a:cubicBezTo>
                  <a:pt x="102" y="85"/>
                  <a:pt x="102" y="86"/>
                  <a:pt x="102" y="86"/>
                </a:cubicBezTo>
                <a:cubicBezTo>
                  <a:pt x="101" y="86"/>
                  <a:pt x="99" y="86"/>
                  <a:pt x="100" y="88"/>
                </a:cubicBezTo>
                <a:cubicBezTo>
                  <a:pt x="100" y="88"/>
                  <a:pt x="100" y="88"/>
                  <a:pt x="100" y="88"/>
                </a:cubicBezTo>
                <a:close/>
                <a:moveTo>
                  <a:pt x="124" y="98"/>
                </a:moveTo>
                <a:cubicBezTo>
                  <a:pt x="123" y="98"/>
                  <a:pt x="123" y="98"/>
                  <a:pt x="123" y="99"/>
                </a:cubicBezTo>
                <a:cubicBezTo>
                  <a:pt x="123" y="99"/>
                  <a:pt x="124" y="99"/>
                  <a:pt x="124" y="100"/>
                </a:cubicBezTo>
                <a:cubicBezTo>
                  <a:pt x="124" y="100"/>
                  <a:pt x="123" y="101"/>
                  <a:pt x="124" y="101"/>
                </a:cubicBezTo>
                <a:cubicBezTo>
                  <a:pt x="124" y="101"/>
                  <a:pt x="125" y="100"/>
                  <a:pt x="125" y="100"/>
                </a:cubicBezTo>
                <a:cubicBezTo>
                  <a:pt x="126" y="100"/>
                  <a:pt x="125" y="99"/>
                  <a:pt x="126" y="99"/>
                </a:cubicBezTo>
                <a:cubicBezTo>
                  <a:pt x="126" y="98"/>
                  <a:pt x="127" y="101"/>
                  <a:pt x="127" y="101"/>
                </a:cubicBezTo>
                <a:cubicBezTo>
                  <a:pt x="128" y="101"/>
                  <a:pt x="128" y="100"/>
                  <a:pt x="128" y="100"/>
                </a:cubicBezTo>
                <a:cubicBezTo>
                  <a:pt x="129" y="100"/>
                  <a:pt x="129" y="100"/>
                  <a:pt x="129" y="100"/>
                </a:cubicBezTo>
                <a:cubicBezTo>
                  <a:pt x="129" y="99"/>
                  <a:pt x="129" y="100"/>
                  <a:pt x="129" y="99"/>
                </a:cubicBezTo>
                <a:cubicBezTo>
                  <a:pt x="129" y="98"/>
                  <a:pt x="131" y="96"/>
                  <a:pt x="130" y="95"/>
                </a:cubicBezTo>
                <a:cubicBezTo>
                  <a:pt x="129" y="95"/>
                  <a:pt x="129" y="95"/>
                  <a:pt x="129" y="94"/>
                </a:cubicBezTo>
                <a:cubicBezTo>
                  <a:pt x="128" y="94"/>
                  <a:pt x="128" y="94"/>
                  <a:pt x="128" y="94"/>
                </a:cubicBezTo>
                <a:cubicBezTo>
                  <a:pt x="127" y="94"/>
                  <a:pt x="128" y="94"/>
                  <a:pt x="127" y="94"/>
                </a:cubicBezTo>
                <a:cubicBezTo>
                  <a:pt x="127" y="93"/>
                  <a:pt x="126" y="94"/>
                  <a:pt x="126" y="93"/>
                </a:cubicBezTo>
                <a:cubicBezTo>
                  <a:pt x="126" y="93"/>
                  <a:pt x="125" y="93"/>
                  <a:pt x="125" y="93"/>
                </a:cubicBezTo>
                <a:cubicBezTo>
                  <a:pt x="124" y="93"/>
                  <a:pt x="124" y="94"/>
                  <a:pt x="124" y="94"/>
                </a:cubicBezTo>
                <a:cubicBezTo>
                  <a:pt x="124" y="95"/>
                  <a:pt x="124" y="95"/>
                  <a:pt x="124" y="95"/>
                </a:cubicBezTo>
                <a:cubicBezTo>
                  <a:pt x="124" y="96"/>
                  <a:pt x="124" y="96"/>
                  <a:pt x="123" y="96"/>
                </a:cubicBezTo>
                <a:cubicBezTo>
                  <a:pt x="123" y="96"/>
                  <a:pt x="124" y="97"/>
                  <a:pt x="123" y="97"/>
                </a:cubicBezTo>
                <a:cubicBezTo>
                  <a:pt x="123" y="97"/>
                  <a:pt x="123" y="97"/>
                  <a:pt x="123" y="97"/>
                </a:cubicBezTo>
                <a:cubicBezTo>
                  <a:pt x="123" y="98"/>
                  <a:pt x="124" y="97"/>
                  <a:pt x="124" y="98"/>
                </a:cubicBezTo>
                <a:close/>
                <a:moveTo>
                  <a:pt x="84" y="68"/>
                </a:moveTo>
                <a:cubicBezTo>
                  <a:pt x="84" y="69"/>
                  <a:pt x="84" y="69"/>
                  <a:pt x="84" y="69"/>
                </a:cubicBezTo>
                <a:cubicBezTo>
                  <a:pt x="85" y="69"/>
                  <a:pt x="88" y="69"/>
                  <a:pt x="86" y="68"/>
                </a:cubicBezTo>
                <a:cubicBezTo>
                  <a:pt x="86" y="68"/>
                  <a:pt x="85" y="67"/>
                  <a:pt x="84" y="68"/>
                </a:cubicBezTo>
                <a:close/>
                <a:moveTo>
                  <a:pt x="395" y="74"/>
                </a:moveTo>
                <a:cubicBezTo>
                  <a:pt x="395" y="74"/>
                  <a:pt x="395" y="74"/>
                  <a:pt x="395" y="74"/>
                </a:cubicBezTo>
                <a:cubicBezTo>
                  <a:pt x="395" y="73"/>
                  <a:pt x="396" y="76"/>
                  <a:pt x="397" y="74"/>
                </a:cubicBezTo>
                <a:cubicBezTo>
                  <a:pt x="397" y="74"/>
                  <a:pt x="397" y="74"/>
                  <a:pt x="397" y="74"/>
                </a:cubicBezTo>
                <a:cubicBezTo>
                  <a:pt x="397" y="73"/>
                  <a:pt x="397" y="73"/>
                  <a:pt x="397" y="73"/>
                </a:cubicBezTo>
                <a:cubicBezTo>
                  <a:pt x="397" y="73"/>
                  <a:pt x="396" y="73"/>
                  <a:pt x="396" y="73"/>
                </a:cubicBezTo>
                <a:cubicBezTo>
                  <a:pt x="396" y="73"/>
                  <a:pt x="396" y="73"/>
                  <a:pt x="396" y="73"/>
                </a:cubicBezTo>
                <a:cubicBezTo>
                  <a:pt x="396" y="73"/>
                  <a:pt x="395" y="73"/>
                  <a:pt x="395" y="73"/>
                </a:cubicBezTo>
                <a:cubicBezTo>
                  <a:pt x="395" y="73"/>
                  <a:pt x="393" y="72"/>
                  <a:pt x="393" y="73"/>
                </a:cubicBezTo>
                <a:cubicBezTo>
                  <a:pt x="393" y="73"/>
                  <a:pt x="394" y="74"/>
                  <a:pt x="395" y="74"/>
                </a:cubicBezTo>
                <a:close/>
                <a:moveTo>
                  <a:pt x="317" y="54"/>
                </a:moveTo>
                <a:cubicBezTo>
                  <a:pt x="317" y="54"/>
                  <a:pt x="317" y="55"/>
                  <a:pt x="317" y="55"/>
                </a:cubicBezTo>
                <a:cubicBezTo>
                  <a:pt x="317" y="56"/>
                  <a:pt x="318" y="56"/>
                  <a:pt x="318" y="56"/>
                </a:cubicBezTo>
                <a:cubicBezTo>
                  <a:pt x="318" y="56"/>
                  <a:pt x="318" y="57"/>
                  <a:pt x="318" y="57"/>
                </a:cubicBezTo>
                <a:cubicBezTo>
                  <a:pt x="317" y="58"/>
                  <a:pt x="317" y="59"/>
                  <a:pt x="317" y="59"/>
                </a:cubicBezTo>
                <a:cubicBezTo>
                  <a:pt x="318" y="60"/>
                  <a:pt x="318" y="61"/>
                  <a:pt x="318" y="61"/>
                </a:cubicBezTo>
                <a:cubicBezTo>
                  <a:pt x="319" y="62"/>
                  <a:pt x="319" y="62"/>
                  <a:pt x="319" y="63"/>
                </a:cubicBezTo>
                <a:cubicBezTo>
                  <a:pt x="319" y="64"/>
                  <a:pt x="319" y="64"/>
                  <a:pt x="319" y="65"/>
                </a:cubicBezTo>
                <a:cubicBezTo>
                  <a:pt x="319" y="66"/>
                  <a:pt x="318" y="68"/>
                  <a:pt x="320" y="69"/>
                </a:cubicBezTo>
                <a:cubicBezTo>
                  <a:pt x="321" y="70"/>
                  <a:pt x="321" y="71"/>
                  <a:pt x="322" y="72"/>
                </a:cubicBezTo>
                <a:cubicBezTo>
                  <a:pt x="322" y="73"/>
                  <a:pt x="322" y="73"/>
                  <a:pt x="323" y="73"/>
                </a:cubicBezTo>
                <a:cubicBezTo>
                  <a:pt x="323" y="74"/>
                  <a:pt x="325" y="74"/>
                  <a:pt x="325" y="74"/>
                </a:cubicBezTo>
                <a:cubicBezTo>
                  <a:pt x="325" y="74"/>
                  <a:pt x="324" y="74"/>
                  <a:pt x="324" y="74"/>
                </a:cubicBezTo>
                <a:cubicBezTo>
                  <a:pt x="324" y="75"/>
                  <a:pt x="326" y="75"/>
                  <a:pt x="326" y="75"/>
                </a:cubicBezTo>
                <a:cubicBezTo>
                  <a:pt x="326" y="75"/>
                  <a:pt x="325" y="74"/>
                  <a:pt x="324" y="73"/>
                </a:cubicBezTo>
                <a:cubicBezTo>
                  <a:pt x="323" y="72"/>
                  <a:pt x="323" y="71"/>
                  <a:pt x="322" y="69"/>
                </a:cubicBezTo>
                <a:cubicBezTo>
                  <a:pt x="322" y="68"/>
                  <a:pt x="321" y="67"/>
                  <a:pt x="321" y="66"/>
                </a:cubicBezTo>
                <a:cubicBezTo>
                  <a:pt x="321" y="65"/>
                  <a:pt x="321" y="63"/>
                  <a:pt x="321" y="62"/>
                </a:cubicBezTo>
                <a:cubicBezTo>
                  <a:pt x="321" y="62"/>
                  <a:pt x="321" y="60"/>
                  <a:pt x="322" y="60"/>
                </a:cubicBezTo>
                <a:cubicBezTo>
                  <a:pt x="322" y="60"/>
                  <a:pt x="323" y="60"/>
                  <a:pt x="323" y="60"/>
                </a:cubicBezTo>
                <a:cubicBezTo>
                  <a:pt x="324" y="60"/>
                  <a:pt x="324" y="61"/>
                  <a:pt x="324" y="61"/>
                </a:cubicBezTo>
                <a:cubicBezTo>
                  <a:pt x="325" y="61"/>
                  <a:pt x="326" y="61"/>
                  <a:pt x="326" y="61"/>
                </a:cubicBezTo>
                <a:cubicBezTo>
                  <a:pt x="327" y="61"/>
                  <a:pt x="327" y="62"/>
                  <a:pt x="327" y="62"/>
                </a:cubicBezTo>
                <a:cubicBezTo>
                  <a:pt x="328" y="62"/>
                  <a:pt x="329" y="62"/>
                  <a:pt x="329" y="62"/>
                </a:cubicBezTo>
                <a:cubicBezTo>
                  <a:pt x="330" y="62"/>
                  <a:pt x="330" y="63"/>
                  <a:pt x="331" y="63"/>
                </a:cubicBezTo>
                <a:cubicBezTo>
                  <a:pt x="331" y="63"/>
                  <a:pt x="330" y="62"/>
                  <a:pt x="330" y="62"/>
                </a:cubicBezTo>
                <a:cubicBezTo>
                  <a:pt x="329" y="62"/>
                  <a:pt x="329" y="62"/>
                  <a:pt x="329" y="61"/>
                </a:cubicBezTo>
                <a:cubicBezTo>
                  <a:pt x="329" y="61"/>
                  <a:pt x="329" y="59"/>
                  <a:pt x="328" y="59"/>
                </a:cubicBezTo>
                <a:cubicBezTo>
                  <a:pt x="328" y="59"/>
                  <a:pt x="327" y="59"/>
                  <a:pt x="326" y="58"/>
                </a:cubicBezTo>
                <a:cubicBezTo>
                  <a:pt x="325" y="58"/>
                  <a:pt x="324" y="58"/>
                  <a:pt x="324" y="57"/>
                </a:cubicBezTo>
                <a:cubicBezTo>
                  <a:pt x="324" y="56"/>
                  <a:pt x="325" y="56"/>
                  <a:pt x="325" y="56"/>
                </a:cubicBezTo>
                <a:cubicBezTo>
                  <a:pt x="325" y="56"/>
                  <a:pt x="325" y="56"/>
                  <a:pt x="325" y="56"/>
                </a:cubicBezTo>
                <a:cubicBezTo>
                  <a:pt x="325" y="55"/>
                  <a:pt x="326" y="55"/>
                  <a:pt x="326" y="55"/>
                </a:cubicBezTo>
                <a:cubicBezTo>
                  <a:pt x="327" y="55"/>
                  <a:pt x="327" y="54"/>
                  <a:pt x="328" y="54"/>
                </a:cubicBezTo>
                <a:cubicBezTo>
                  <a:pt x="328" y="54"/>
                  <a:pt x="329" y="54"/>
                  <a:pt x="329" y="53"/>
                </a:cubicBezTo>
                <a:cubicBezTo>
                  <a:pt x="329" y="52"/>
                  <a:pt x="329" y="52"/>
                  <a:pt x="329" y="51"/>
                </a:cubicBezTo>
                <a:cubicBezTo>
                  <a:pt x="329" y="51"/>
                  <a:pt x="329" y="50"/>
                  <a:pt x="329" y="50"/>
                </a:cubicBezTo>
                <a:cubicBezTo>
                  <a:pt x="329" y="50"/>
                  <a:pt x="328" y="49"/>
                  <a:pt x="329" y="49"/>
                </a:cubicBezTo>
                <a:cubicBezTo>
                  <a:pt x="329" y="49"/>
                  <a:pt x="329" y="48"/>
                  <a:pt x="329" y="48"/>
                </a:cubicBezTo>
                <a:cubicBezTo>
                  <a:pt x="328" y="48"/>
                  <a:pt x="328" y="48"/>
                  <a:pt x="327" y="48"/>
                </a:cubicBezTo>
                <a:cubicBezTo>
                  <a:pt x="327" y="48"/>
                  <a:pt x="327" y="48"/>
                  <a:pt x="327" y="48"/>
                </a:cubicBezTo>
                <a:cubicBezTo>
                  <a:pt x="327" y="48"/>
                  <a:pt x="326" y="48"/>
                  <a:pt x="326" y="48"/>
                </a:cubicBezTo>
                <a:cubicBezTo>
                  <a:pt x="326" y="48"/>
                  <a:pt x="325" y="49"/>
                  <a:pt x="325" y="49"/>
                </a:cubicBezTo>
                <a:cubicBezTo>
                  <a:pt x="325" y="50"/>
                  <a:pt x="324" y="50"/>
                  <a:pt x="323" y="51"/>
                </a:cubicBezTo>
                <a:cubicBezTo>
                  <a:pt x="323" y="51"/>
                  <a:pt x="323" y="51"/>
                  <a:pt x="323" y="52"/>
                </a:cubicBezTo>
                <a:cubicBezTo>
                  <a:pt x="324" y="52"/>
                  <a:pt x="323" y="53"/>
                  <a:pt x="323" y="53"/>
                </a:cubicBezTo>
                <a:cubicBezTo>
                  <a:pt x="322" y="53"/>
                  <a:pt x="321" y="54"/>
                  <a:pt x="321" y="55"/>
                </a:cubicBezTo>
                <a:cubicBezTo>
                  <a:pt x="321" y="55"/>
                  <a:pt x="321" y="56"/>
                  <a:pt x="320" y="56"/>
                </a:cubicBezTo>
                <a:cubicBezTo>
                  <a:pt x="320" y="56"/>
                  <a:pt x="319" y="56"/>
                  <a:pt x="319" y="56"/>
                </a:cubicBezTo>
                <a:cubicBezTo>
                  <a:pt x="318" y="54"/>
                  <a:pt x="319" y="54"/>
                  <a:pt x="320" y="53"/>
                </a:cubicBezTo>
                <a:cubicBezTo>
                  <a:pt x="320" y="53"/>
                  <a:pt x="321" y="53"/>
                  <a:pt x="321" y="53"/>
                </a:cubicBezTo>
                <a:cubicBezTo>
                  <a:pt x="321" y="52"/>
                  <a:pt x="321" y="52"/>
                  <a:pt x="321" y="52"/>
                </a:cubicBezTo>
                <a:cubicBezTo>
                  <a:pt x="321" y="52"/>
                  <a:pt x="322" y="51"/>
                  <a:pt x="322" y="51"/>
                </a:cubicBezTo>
                <a:cubicBezTo>
                  <a:pt x="322" y="50"/>
                  <a:pt x="322" y="49"/>
                  <a:pt x="322" y="49"/>
                </a:cubicBezTo>
                <a:cubicBezTo>
                  <a:pt x="322" y="48"/>
                  <a:pt x="322" y="48"/>
                  <a:pt x="322" y="47"/>
                </a:cubicBezTo>
                <a:cubicBezTo>
                  <a:pt x="322" y="46"/>
                  <a:pt x="322" y="46"/>
                  <a:pt x="321" y="46"/>
                </a:cubicBezTo>
                <a:cubicBezTo>
                  <a:pt x="320" y="45"/>
                  <a:pt x="320" y="45"/>
                  <a:pt x="320" y="44"/>
                </a:cubicBezTo>
                <a:cubicBezTo>
                  <a:pt x="320" y="44"/>
                  <a:pt x="323" y="42"/>
                  <a:pt x="322" y="41"/>
                </a:cubicBezTo>
                <a:cubicBezTo>
                  <a:pt x="322" y="41"/>
                  <a:pt x="322" y="41"/>
                  <a:pt x="321" y="41"/>
                </a:cubicBezTo>
                <a:cubicBezTo>
                  <a:pt x="321" y="41"/>
                  <a:pt x="320" y="42"/>
                  <a:pt x="320" y="42"/>
                </a:cubicBezTo>
                <a:cubicBezTo>
                  <a:pt x="319" y="43"/>
                  <a:pt x="318" y="45"/>
                  <a:pt x="318" y="46"/>
                </a:cubicBezTo>
                <a:cubicBezTo>
                  <a:pt x="317" y="47"/>
                  <a:pt x="318" y="47"/>
                  <a:pt x="317" y="48"/>
                </a:cubicBezTo>
                <a:cubicBezTo>
                  <a:pt x="317" y="48"/>
                  <a:pt x="317" y="49"/>
                  <a:pt x="317" y="50"/>
                </a:cubicBezTo>
                <a:cubicBezTo>
                  <a:pt x="317" y="50"/>
                  <a:pt x="316" y="51"/>
                  <a:pt x="316" y="52"/>
                </a:cubicBezTo>
                <a:cubicBezTo>
                  <a:pt x="316" y="52"/>
                  <a:pt x="316" y="53"/>
                  <a:pt x="316" y="53"/>
                </a:cubicBezTo>
                <a:cubicBezTo>
                  <a:pt x="316" y="53"/>
                  <a:pt x="316" y="53"/>
                  <a:pt x="316" y="54"/>
                </a:cubicBezTo>
                <a:cubicBezTo>
                  <a:pt x="316" y="54"/>
                  <a:pt x="317" y="53"/>
                  <a:pt x="317" y="54"/>
                </a:cubicBezTo>
                <a:close/>
                <a:moveTo>
                  <a:pt x="136" y="82"/>
                </a:moveTo>
                <a:cubicBezTo>
                  <a:pt x="135" y="82"/>
                  <a:pt x="136" y="83"/>
                  <a:pt x="136" y="83"/>
                </a:cubicBezTo>
                <a:cubicBezTo>
                  <a:pt x="136" y="83"/>
                  <a:pt x="136" y="84"/>
                  <a:pt x="136" y="83"/>
                </a:cubicBezTo>
                <a:cubicBezTo>
                  <a:pt x="137" y="83"/>
                  <a:pt x="137" y="83"/>
                  <a:pt x="137" y="83"/>
                </a:cubicBezTo>
                <a:cubicBezTo>
                  <a:pt x="137" y="82"/>
                  <a:pt x="136" y="82"/>
                  <a:pt x="136" y="82"/>
                </a:cubicBezTo>
                <a:close/>
                <a:moveTo>
                  <a:pt x="366" y="127"/>
                </a:moveTo>
                <a:cubicBezTo>
                  <a:pt x="366" y="127"/>
                  <a:pt x="365" y="127"/>
                  <a:pt x="365" y="127"/>
                </a:cubicBezTo>
                <a:cubicBezTo>
                  <a:pt x="365" y="128"/>
                  <a:pt x="365" y="128"/>
                  <a:pt x="365" y="129"/>
                </a:cubicBezTo>
                <a:cubicBezTo>
                  <a:pt x="365" y="129"/>
                  <a:pt x="365" y="131"/>
                  <a:pt x="366" y="130"/>
                </a:cubicBezTo>
                <a:cubicBezTo>
                  <a:pt x="366" y="131"/>
                  <a:pt x="366" y="131"/>
                  <a:pt x="366" y="130"/>
                </a:cubicBezTo>
                <a:cubicBezTo>
                  <a:pt x="366" y="130"/>
                  <a:pt x="366" y="130"/>
                  <a:pt x="366" y="130"/>
                </a:cubicBezTo>
                <a:cubicBezTo>
                  <a:pt x="367" y="129"/>
                  <a:pt x="366" y="128"/>
                  <a:pt x="366" y="128"/>
                </a:cubicBezTo>
                <a:cubicBezTo>
                  <a:pt x="366" y="127"/>
                  <a:pt x="366" y="128"/>
                  <a:pt x="366" y="127"/>
                </a:cubicBezTo>
                <a:close/>
                <a:moveTo>
                  <a:pt x="381" y="135"/>
                </a:moveTo>
                <a:cubicBezTo>
                  <a:pt x="380" y="134"/>
                  <a:pt x="379" y="134"/>
                  <a:pt x="379" y="133"/>
                </a:cubicBezTo>
                <a:cubicBezTo>
                  <a:pt x="378" y="133"/>
                  <a:pt x="379" y="135"/>
                  <a:pt x="379" y="135"/>
                </a:cubicBezTo>
                <a:cubicBezTo>
                  <a:pt x="379" y="136"/>
                  <a:pt x="379" y="136"/>
                  <a:pt x="379" y="136"/>
                </a:cubicBezTo>
                <a:cubicBezTo>
                  <a:pt x="379" y="137"/>
                  <a:pt x="379" y="136"/>
                  <a:pt x="380" y="137"/>
                </a:cubicBezTo>
                <a:cubicBezTo>
                  <a:pt x="379" y="136"/>
                  <a:pt x="378" y="137"/>
                  <a:pt x="378" y="138"/>
                </a:cubicBezTo>
                <a:cubicBezTo>
                  <a:pt x="378" y="138"/>
                  <a:pt x="377" y="140"/>
                  <a:pt x="378" y="140"/>
                </a:cubicBezTo>
                <a:cubicBezTo>
                  <a:pt x="379" y="141"/>
                  <a:pt x="379" y="141"/>
                  <a:pt x="379" y="141"/>
                </a:cubicBezTo>
                <a:cubicBezTo>
                  <a:pt x="379" y="141"/>
                  <a:pt x="380" y="141"/>
                  <a:pt x="380" y="141"/>
                </a:cubicBezTo>
                <a:cubicBezTo>
                  <a:pt x="381" y="140"/>
                  <a:pt x="382" y="139"/>
                  <a:pt x="381" y="138"/>
                </a:cubicBezTo>
                <a:cubicBezTo>
                  <a:pt x="382" y="138"/>
                  <a:pt x="382" y="139"/>
                  <a:pt x="382" y="138"/>
                </a:cubicBezTo>
                <a:cubicBezTo>
                  <a:pt x="383" y="138"/>
                  <a:pt x="382" y="136"/>
                  <a:pt x="382" y="136"/>
                </a:cubicBezTo>
                <a:cubicBezTo>
                  <a:pt x="382" y="136"/>
                  <a:pt x="381" y="136"/>
                  <a:pt x="381" y="135"/>
                </a:cubicBezTo>
                <a:close/>
                <a:moveTo>
                  <a:pt x="307" y="150"/>
                </a:moveTo>
                <a:cubicBezTo>
                  <a:pt x="306" y="150"/>
                  <a:pt x="306" y="149"/>
                  <a:pt x="305" y="149"/>
                </a:cubicBezTo>
                <a:cubicBezTo>
                  <a:pt x="305" y="148"/>
                  <a:pt x="304" y="149"/>
                  <a:pt x="304" y="149"/>
                </a:cubicBezTo>
                <a:cubicBezTo>
                  <a:pt x="303" y="149"/>
                  <a:pt x="303" y="150"/>
                  <a:pt x="302" y="150"/>
                </a:cubicBezTo>
                <a:cubicBezTo>
                  <a:pt x="301" y="150"/>
                  <a:pt x="301" y="150"/>
                  <a:pt x="300" y="150"/>
                </a:cubicBezTo>
                <a:cubicBezTo>
                  <a:pt x="300" y="150"/>
                  <a:pt x="299" y="149"/>
                  <a:pt x="299" y="150"/>
                </a:cubicBezTo>
                <a:cubicBezTo>
                  <a:pt x="298" y="150"/>
                  <a:pt x="298" y="150"/>
                  <a:pt x="298" y="151"/>
                </a:cubicBezTo>
                <a:cubicBezTo>
                  <a:pt x="298" y="151"/>
                  <a:pt x="297" y="153"/>
                  <a:pt x="297" y="153"/>
                </a:cubicBezTo>
                <a:cubicBezTo>
                  <a:pt x="298" y="153"/>
                  <a:pt x="298" y="152"/>
                  <a:pt x="299" y="152"/>
                </a:cubicBezTo>
                <a:cubicBezTo>
                  <a:pt x="299" y="152"/>
                  <a:pt x="300" y="152"/>
                  <a:pt x="300" y="152"/>
                </a:cubicBezTo>
                <a:cubicBezTo>
                  <a:pt x="300" y="152"/>
                  <a:pt x="300" y="152"/>
                  <a:pt x="301" y="152"/>
                </a:cubicBezTo>
                <a:cubicBezTo>
                  <a:pt x="301" y="152"/>
                  <a:pt x="302" y="152"/>
                  <a:pt x="303" y="152"/>
                </a:cubicBezTo>
                <a:cubicBezTo>
                  <a:pt x="303" y="152"/>
                  <a:pt x="304" y="153"/>
                  <a:pt x="304" y="153"/>
                </a:cubicBezTo>
                <a:cubicBezTo>
                  <a:pt x="304" y="152"/>
                  <a:pt x="304" y="152"/>
                  <a:pt x="304" y="151"/>
                </a:cubicBezTo>
                <a:cubicBezTo>
                  <a:pt x="305" y="151"/>
                  <a:pt x="305" y="151"/>
                  <a:pt x="306" y="151"/>
                </a:cubicBezTo>
                <a:cubicBezTo>
                  <a:pt x="307" y="151"/>
                  <a:pt x="307" y="151"/>
                  <a:pt x="307" y="150"/>
                </a:cubicBezTo>
                <a:cubicBezTo>
                  <a:pt x="307" y="150"/>
                  <a:pt x="307" y="150"/>
                  <a:pt x="307" y="150"/>
                </a:cubicBezTo>
                <a:close/>
                <a:moveTo>
                  <a:pt x="354" y="144"/>
                </a:moveTo>
                <a:cubicBezTo>
                  <a:pt x="354" y="144"/>
                  <a:pt x="355" y="144"/>
                  <a:pt x="354" y="143"/>
                </a:cubicBezTo>
                <a:cubicBezTo>
                  <a:pt x="354" y="144"/>
                  <a:pt x="353" y="144"/>
                  <a:pt x="353" y="144"/>
                </a:cubicBezTo>
                <a:cubicBezTo>
                  <a:pt x="353" y="145"/>
                  <a:pt x="353" y="145"/>
                  <a:pt x="353" y="145"/>
                </a:cubicBezTo>
                <a:cubicBezTo>
                  <a:pt x="352" y="145"/>
                  <a:pt x="353" y="146"/>
                  <a:pt x="352" y="146"/>
                </a:cubicBezTo>
                <a:cubicBezTo>
                  <a:pt x="352" y="146"/>
                  <a:pt x="351" y="147"/>
                  <a:pt x="351" y="147"/>
                </a:cubicBezTo>
                <a:cubicBezTo>
                  <a:pt x="351" y="146"/>
                  <a:pt x="350" y="148"/>
                  <a:pt x="350" y="148"/>
                </a:cubicBezTo>
                <a:cubicBezTo>
                  <a:pt x="350" y="149"/>
                  <a:pt x="349" y="150"/>
                  <a:pt x="350" y="150"/>
                </a:cubicBezTo>
                <a:cubicBezTo>
                  <a:pt x="350" y="150"/>
                  <a:pt x="349" y="149"/>
                  <a:pt x="349" y="150"/>
                </a:cubicBezTo>
                <a:cubicBezTo>
                  <a:pt x="349" y="150"/>
                  <a:pt x="349" y="150"/>
                  <a:pt x="349" y="150"/>
                </a:cubicBezTo>
                <a:cubicBezTo>
                  <a:pt x="349" y="151"/>
                  <a:pt x="349" y="151"/>
                  <a:pt x="349" y="151"/>
                </a:cubicBezTo>
                <a:cubicBezTo>
                  <a:pt x="349" y="151"/>
                  <a:pt x="348" y="151"/>
                  <a:pt x="349" y="152"/>
                </a:cubicBezTo>
                <a:cubicBezTo>
                  <a:pt x="349" y="152"/>
                  <a:pt x="348" y="153"/>
                  <a:pt x="349" y="153"/>
                </a:cubicBezTo>
                <a:cubicBezTo>
                  <a:pt x="349" y="153"/>
                  <a:pt x="350" y="153"/>
                  <a:pt x="350" y="153"/>
                </a:cubicBezTo>
                <a:cubicBezTo>
                  <a:pt x="350" y="153"/>
                  <a:pt x="350" y="152"/>
                  <a:pt x="350" y="153"/>
                </a:cubicBezTo>
                <a:cubicBezTo>
                  <a:pt x="350" y="153"/>
                  <a:pt x="350" y="153"/>
                  <a:pt x="350" y="153"/>
                </a:cubicBezTo>
                <a:cubicBezTo>
                  <a:pt x="351" y="154"/>
                  <a:pt x="351" y="152"/>
                  <a:pt x="351" y="152"/>
                </a:cubicBezTo>
                <a:cubicBezTo>
                  <a:pt x="351" y="152"/>
                  <a:pt x="351" y="152"/>
                  <a:pt x="351" y="152"/>
                </a:cubicBezTo>
                <a:cubicBezTo>
                  <a:pt x="351" y="152"/>
                  <a:pt x="351" y="152"/>
                  <a:pt x="351" y="152"/>
                </a:cubicBezTo>
                <a:cubicBezTo>
                  <a:pt x="351" y="152"/>
                  <a:pt x="351" y="151"/>
                  <a:pt x="352" y="151"/>
                </a:cubicBezTo>
                <a:cubicBezTo>
                  <a:pt x="352" y="151"/>
                  <a:pt x="352" y="150"/>
                  <a:pt x="353" y="150"/>
                </a:cubicBezTo>
                <a:cubicBezTo>
                  <a:pt x="354" y="150"/>
                  <a:pt x="354" y="148"/>
                  <a:pt x="355" y="147"/>
                </a:cubicBezTo>
                <a:cubicBezTo>
                  <a:pt x="355" y="147"/>
                  <a:pt x="354" y="147"/>
                  <a:pt x="354" y="146"/>
                </a:cubicBezTo>
                <a:cubicBezTo>
                  <a:pt x="354" y="146"/>
                  <a:pt x="354" y="145"/>
                  <a:pt x="355" y="145"/>
                </a:cubicBezTo>
                <a:cubicBezTo>
                  <a:pt x="355" y="145"/>
                  <a:pt x="355" y="145"/>
                  <a:pt x="355" y="144"/>
                </a:cubicBezTo>
                <a:cubicBezTo>
                  <a:pt x="355" y="143"/>
                  <a:pt x="355" y="144"/>
                  <a:pt x="354" y="144"/>
                </a:cubicBezTo>
                <a:close/>
                <a:moveTo>
                  <a:pt x="110" y="35"/>
                </a:moveTo>
                <a:cubicBezTo>
                  <a:pt x="110" y="35"/>
                  <a:pt x="110" y="34"/>
                  <a:pt x="110" y="34"/>
                </a:cubicBezTo>
                <a:cubicBezTo>
                  <a:pt x="110" y="34"/>
                  <a:pt x="110" y="35"/>
                  <a:pt x="110" y="35"/>
                </a:cubicBezTo>
                <a:close/>
                <a:moveTo>
                  <a:pt x="317" y="73"/>
                </a:moveTo>
                <a:cubicBezTo>
                  <a:pt x="316" y="73"/>
                  <a:pt x="316" y="74"/>
                  <a:pt x="317" y="74"/>
                </a:cubicBezTo>
                <a:cubicBezTo>
                  <a:pt x="317" y="74"/>
                  <a:pt x="318" y="74"/>
                  <a:pt x="318" y="74"/>
                </a:cubicBezTo>
                <a:cubicBezTo>
                  <a:pt x="319" y="74"/>
                  <a:pt x="319" y="74"/>
                  <a:pt x="319" y="75"/>
                </a:cubicBezTo>
                <a:cubicBezTo>
                  <a:pt x="319" y="75"/>
                  <a:pt x="320" y="75"/>
                  <a:pt x="320" y="75"/>
                </a:cubicBezTo>
                <a:cubicBezTo>
                  <a:pt x="322" y="73"/>
                  <a:pt x="320" y="72"/>
                  <a:pt x="319" y="73"/>
                </a:cubicBezTo>
                <a:cubicBezTo>
                  <a:pt x="319" y="73"/>
                  <a:pt x="318" y="72"/>
                  <a:pt x="318" y="72"/>
                </a:cubicBezTo>
                <a:cubicBezTo>
                  <a:pt x="318" y="72"/>
                  <a:pt x="318" y="72"/>
                  <a:pt x="319" y="71"/>
                </a:cubicBezTo>
                <a:cubicBezTo>
                  <a:pt x="319" y="70"/>
                  <a:pt x="318" y="69"/>
                  <a:pt x="317" y="69"/>
                </a:cubicBezTo>
                <a:cubicBezTo>
                  <a:pt x="317" y="69"/>
                  <a:pt x="317" y="71"/>
                  <a:pt x="316" y="69"/>
                </a:cubicBezTo>
                <a:cubicBezTo>
                  <a:pt x="316" y="68"/>
                  <a:pt x="315" y="70"/>
                  <a:pt x="315" y="70"/>
                </a:cubicBezTo>
                <a:cubicBezTo>
                  <a:pt x="315" y="71"/>
                  <a:pt x="317" y="72"/>
                  <a:pt x="317" y="73"/>
                </a:cubicBezTo>
                <a:close/>
                <a:moveTo>
                  <a:pt x="172" y="129"/>
                </a:moveTo>
                <a:cubicBezTo>
                  <a:pt x="172" y="129"/>
                  <a:pt x="172" y="128"/>
                  <a:pt x="172" y="128"/>
                </a:cubicBezTo>
                <a:cubicBezTo>
                  <a:pt x="171" y="128"/>
                  <a:pt x="170" y="130"/>
                  <a:pt x="171" y="130"/>
                </a:cubicBezTo>
                <a:cubicBezTo>
                  <a:pt x="171" y="130"/>
                  <a:pt x="172" y="130"/>
                  <a:pt x="172" y="129"/>
                </a:cubicBezTo>
                <a:close/>
                <a:moveTo>
                  <a:pt x="99" y="129"/>
                </a:moveTo>
                <a:cubicBezTo>
                  <a:pt x="99" y="129"/>
                  <a:pt x="99" y="128"/>
                  <a:pt x="99" y="128"/>
                </a:cubicBezTo>
                <a:cubicBezTo>
                  <a:pt x="98" y="128"/>
                  <a:pt x="99" y="128"/>
                  <a:pt x="99" y="128"/>
                </a:cubicBezTo>
                <a:cubicBezTo>
                  <a:pt x="98" y="127"/>
                  <a:pt x="99" y="127"/>
                  <a:pt x="100" y="126"/>
                </a:cubicBezTo>
                <a:cubicBezTo>
                  <a:pt x="100" y="126"/>
                  <a:pt x="100" y="125"/>
                  <a:pt x="100" y="125"/>
                </a:cubicBezTo>
                <a:cubicBezTo>
                  <a:pt x="101" y="126"/>
                  <a:pt x="101" y="127"/>
                  <a:pt x="101" y="127"/>
                </a:cubicBezTo>
                <a:cubicBezTo>
                  <a:pt x="102" y="128"/>
                  <a:pt x="103" y="127"/>
                  <a:pt x="103" y="129"/>
                </a:cubicBezTo>
                <a:cubicBezTo>
                  <a:pt x="103" y="129"/>
                  <a:pt x="103" y="129"/>
                  <a:pt x="104" y="129"/>
                </a:cubicBezTo>
                <a:cubicBezTo>
                  <a:pt x="104" y="129"/>
                  <a:pt x="104" y="130"/>
                  <a:pt x="104" y="130"/>
                </a:cubicBezTo>
                <a:cubicBezTo>
                  <a:pt x="105" y="130"/>
                  <a:pt x="105" y="124"/>
                  <a:pt x="106" y="123"/>
                </a:cubicBezTo>
                <a:cubicBezTo>
                  <a:pt x="106" y="123"/>
                  <a:pt x="106" y="122"/>
                  <a:pt x="106" y="121"/>
                </a:cubicBezTo>
                <a:cubicBezTo>
                  <a:pt x="106" y="121"/>
                  <a:pt x="106" y="120"/>
                  <a:pt x="106" y="120"/>
                </a:cubicBezTo>
                <a:cubicBezTo>
                  <a:pt x="106" y="119"/>
                  <a:pt x="106" y="118"/>
                  <a:pt x="106" y="118"/>
                </a:cubicBezTo>
                <a:cubicBezTo>
                  <a:pt x="106" y="117"/>
                  <a:pt x="106" y="117"/>
                  <a:pt x="106" y="116"/>
                </a:cubicBezTo>
                <a:cubicBezTo>
                  <a:pt x="106" y="116"/>
                  <a:pt x="106" y="115"/>
                  <a:pt x="106" y="114"/>
                </a:cubicBezTo>
                <a:cubicBezTo>
                  <a:pt x="106" y="114"/>
                  <a:pt x="106" y="113"/>
                  <a:pt x="106" y="113"/>
                </a:cubicBezTo>
                <a:cubicBezTo>
                  <a:pt x="105" y="111"/>
                  <a:pt x="106" y="110"/>
                  <a:pt x="106" y="109"/>
                </a:cubicBezTo>
                <a:cubicBezTo>
                  <a:pt x="107" y="108"/>
                  <a:pt x="108" y="107"/>
                  <a:pt x="106" y="107"/>
                </a:cubicBezTo>
                <a:cubicBezTo>
                  <a:pt x="105" y="106"/>
                  <a:pt x="106" y="105"/>
                  <a:pt x="106" y="104"/>
                </a:cubicBezTo>
                <a:cubicBezTo>
                  <a:pt x="107" y="103"/>
                  <a:pt x="107" y="102"/>
                  <a:pt x="108" y="101"/>
                </a:cubicBezTo>
                <a:cubicBezTo>
                  <a:pt x="109" y="101"/>
                  <a:pt x="108" y="100"/>
                  <a:pt x="108" y="100"/>
                </a:cubicBezTo>
                <a:cubicBezTo>
                  <a:pt x="108" y="99"/>
                  <a:pt x="109" y="99"/>
                  <a:pt x="108" y="98"/>
                </a:cubicBezTo>
                <a:cubicBezTo>
                  <a:pt x="108" y="97"/>
                  <a:pt x="107" y="98"/>
                  <a:pt x="106" y="97"/>
                </a:cubicBezTo>
                <a:cubicBezTo>
                  <a:pt x="106" y="97"/>
                  <a:pt x="106" y="95"/>
                  <a:pt x="106" y="95"/>
                </a:cubicBezTo>
                <a:cubicBezTo>
                  <a:pt x="105" y="94"/>
                  <a:pt x="104" y="94"/>
                  <a:pt x="104" y="93"/>
                </a:cubicBezTo>
                <a:cubicBezTo>
                  <a:pt x="104" y="92"/>
                  <a:pt x="105" y="92"/>
                  <a:pt x="104" y="92"/>
                </a:cubicBezTo>
                <a:cubicBezTo>
                  <a:pt x="104" y="92"/>
                  <a:pt x="103" y="92"/>
                  <a:pt x="103" y="92"/>
                </a:cubicBezTo>
                <a:cubicBezTo>
                  <a:pt x="102" y="91"/>
                  <a:pt x="102" y="91"/>
                  <a:pt x="101" y="91"/>
                </a:cubicBezTo>
                <a:cubicBezTo>
                  <a:pt x="100" y="91"/>
                  <a:pt x="100" y="91"/>
                  <a:pt x="99" y="91"/>
                </a:cubicBezTo>
                <a:cubicBezTo>
                  <a:pt x="99" y="91"/>
                  <a:pt x="98" y="90"/>
                  <a:pt x="98" y="91"/>
                </a:cubicBezTo>
                <a:cubicBezTo>
                  <a:pt x="97" y="91"/>
                  <a:pt x="98" y="91"/>
                  <a:pt x="97" y="90"/>
                </a:cubicBezTo>
                <a:cubicBezTo>
                  <a:pt x="97" y="90"/>
                  <a:pt x="97" y="91"/>
                  <a:pt x="97" y="91"/>
                </a:cubicBezTo>
                <a:cubicBezTo>
                  <a:pt x="96" y="92"/>
                  <a:pt x="96" y="92"/>
                  <a:pt x="96" y="93"/>
                </a:cubicBezTo>
                <a:cubicBezTo>
                  <a:pt x="96" y="94"/>
                  <a:pt x="96" y="94"/>
                  <a:pt x="95" y="94"/>
                </a:cubicBezTo>
                <a:cubicBezTo>
                  <a:pt x="94" y="95"/>
                  <a:pt x="94" y="95"/>
                  <a:pt x="94" y="96"/>
                </a:cubicBezTo>
                <a:cubicBezTo>
                  <a:pt x="94" y="95"/>
                  <a:pt x="94" y="94"/>
                  <a:pt x="95" y="94"/>
                </a:cubicBezTo>
                <a:cubicBezTo>
                  <a:pt x="95" y="94"/>
                  <a:pt x="96" y="94"/>
                  <a:pt x="96" y="93"/>
                </a:cubicBezTo>
                <a:cubicBezTo>
                  <a:pt x="96" y="93"/>
                  <a:pt x="96" y="92"/>
                  <a:pt x="96" y="92"/>
                </a:cubicBezTo>
                <a:cubicBezTo>
                  <a:pt x="95" y="91"/>
                  <a:pt x="95" y="92"/>
                  <a:pt x="95" y="92"/>
                </a:cubicBezTo>
                <a:cubicBezTo>
                  <a:pt x="95" y="91"/>
                  <a:pt x="95" y="91"/>
                  <a:pt x="96" y="91"/>
                </a:cubicBezTo>
                <a:cubicBezTo>
                  <a:pt x="96" y="91"/>
                  <a:pt x="97" y="90"/>
                  <a:pt x="97" y="90"/>
                </a:cubicBezTo>
                <a:cubicBezTo>
                  <a:pt x="97" y="89"/>
                  <a:pt x="97" y="88"/>
                  <a:pt x="97" y="88"/>
                </a:cubicBezTo>
                <a:cubicBezTo>
                  <a:pt x="97" y="87"/>
                  <a:pt x="96" y="87"/>
                  <a:pt x="96" y="87"/>
                </a:cubicBezTo>
                <a:cubicBezTo>
                  <a:pt x="96" y="87"/>
                  <a:pt x="95" y="88"/>
                  <a:pt x="95" y="88"/>
                </a:cubicBezTo>
                <a:cubicBezTo>
                  <a:pt x="95" y="87"/>
                  <a:pt x="95" y="87"/>
                  <a:pt x="95" y="87"/>
                </a:cubicBezTo>
                <a:cubicBezTo>
                  <a:pt x="95" y="87"/>
                  <a:pt x="94" y="88"/>
                  <a:pt x="94" y="87"/>
                </a:cubicBezTo>
                <a:cubicBezTo>
                  <a:pt x="95" y="87"/>
                  <a:pt x="95" y="86"/>
                  <a:pt x="94" y="86"/>
                </a:cubicBezTo>
                <a:cubicBezTo>
                  <a:pt x="94" y="86"/>
                  <a:pt x="94" y="87"/>
                  <a:pt x="93" y="86"/>
                </a:cubicBezTo>
                <a:cubicBezTo>
                  <a:pt x="93" y="86"/>
                  <a:pt x="94" y="85"/>
                  <a:pt x="94" y="84"/>
                </a:cubicBezTo>
                <a:cubicBezTo>
                  <a:pt x="94" y="83"/>
                  <a:pt x="93" y="83"/>
                  <a:pt x="93" y="82"/>
                </a:cubicBezTo>
                <a:cubicBezTo>
                  <a:pt x="93" y="81"/>
                  <a:pt x="93" y="80"/>
                  <a:pt x="93" y="80"/>
                </a:cubicBezTo>
                <a:cubicBezTo>
                  <a:pt x="93" y="79"/>
                  <a:pt x="93" y="79"/>
                  <a:pt x="93" y="78"/>
                </a:cubicBezTo>
                <a:cubicBezTo>
                  <a:pt x="93" y="78"/>
                  <a:pt x="93" y="76"/>
                  <a:pt x="92" y="77"/>
                </a:cubicBezTo>
                <a:cubicBezTo>
                  <a:pt x="91" y="77"/>
                  <a:pt x="90" y="77"/>
                  <a:pt x="89" y="76"/>
                </a:cubicBezTo>
                <a:cubicBezTo>
                  <a:pt x="89" y="76"/>
                  <a:pt x="88" y="76"/>
                  <a:pt x="88" y="76"/>
                </a:cubicBezTo>
                <a:cubicBezTo>
                  <a:pt x="88" y="76"/>
                  <a:pt x="87" y="77"/>
                  <a:pt x="87" y="77"/>
                </a:cubicBezTo>
                <a:cubicBezTo>
                  <a:pt x="87" y="77"/>
                  <a:pt x="87" y="76"/>
                  <a:pt x="86" y="76"/>
                </a:cubicBezTo>
                <a:cubicBezTo>
                  <a:pt x="86" y="76"/>
                  <a:pt x="86" y="76"/>
                  <a:pt x="85" y="75"/>
                </a:cubicBezTo>
                <a:cubicBezTo>
                  <a:pt x="85" y="75"/>
                  <a:pt x="85" y="75"/>
                  <a:pt x="84" y="74"/>
                </a:cubicBezTo>
                <a:cubicBezTo>
                  <a:pt x="84" y="74"/>
                  <a:pt x="84" y="74"/>
                  <a:pt x="84" y="74"/>
                </a:cubicBezTo>
                <a:cubicBezTo>
                  <a:pt x="83" y="74"/>
                  <a:pt x="84" y="74"/>
                  <a:pt x="84" y="74"/>
                </a:cubicBezTo>
                <a:cubicBezTo>
                  <a:pt x="83" y="73"/>
                  <a:pt x="83" y="73"/>
                  <a:pt x="83" y="73"/>
                </a:cubicBezTo>
                <a:cubicBezTo>
                  <a:pt x="83" y="73"/>
                  <a:pt x="83" y="72"/>
                  <a:pt x="83" y="72"/>
                </a:cubicBezTo>
                <a:cubicBezTo>
                  <a:pt x="84" y="71"/>
                  <a:pt x="83" y="71"/>
                  <a:pt x="83" y="70"/>
                </a:cubicBezTo>
                <a:cubicBezTo>
                  <a:pt x="83" y="71"/>
                  <a:pt x="83" y="71"/>
                  <a:pt x="84" y="71"/>
                </a:cubicBezTo>
                <a:cubicBezTo>
                  <a:pt x="85" y="71"/>
                  <a:pt x="85" y="70"/>
                  <a:pt x="85" y="70"/>
                </a:cubicBezTo>
                <a:cubicBezTo>
                  <a:pt x="85" y="69"/>
                  <a:pt x="83" y="70"/>
                  <a:pt x="83" y="69"/>
                </a:cubicBezTo>
                <a:cubicBezTo>
                  <a:pt x="83" y="69"/>
                  <a:pt x="84" y="69"/>
                  <a:pt x="84" y="69"/>
                </a:cubicBezTo>
                <a:cubicBezTo>
                  <a:pt x="84" y="68"/>
                  <a:pt x="84" y="68"/>
                  <a:pt x="84" y="68"/>
                </a:cubicBezTo>
                <a:cubicBezTo>
                  <a:pt x="83" y="68"/>
                  <a:pt x="83" y="68"/>
                  <a:pt x="82" y="68"/>
                </a:cubicBezTo>
                <a:cubicBezTo>
                  <a:pt x="82" y="68"/>
                  <a:pt x="83" y="68"/>
                  <a:pt x="84" y="68"/>
                </a:cubicBezTo>
                <a:cubicBezTo>
                  <a:pt x="84" y="67"/>
                  <a:pt x="84" y="67"/>
                  <a:pt x="84" y="66"/>
                </a:cubicBezTo>
                <a:cubicBezTo>
                  <a:pt x="85" y="66"/>
                  <a:pt x="85" y="66"/>
                  <a:pt x="85" y="66"/>
                </a:cubicBezTo>
                <a:cubicBezTo>
                  <a:pt x="85" y="66"/>
                  <a:pt x="85" y="65"/>
                  <a:pt x="85" y="65"/>
                </a:cubicBezTo>
                <a:cubicBezTo>
                  <a:pt x="85" y="65"/>
                  <a:pt x="85" y="66"/>
                  <a:pt x="85" y="66"/>
                </a:cubicBezTo>
                <a:cubicBezTo>
                  <a:pt x="86" y="66"/>
                  <a:pt x="86" y="66"/>
                  <a:pt x="86" y="66"/>
                </a:cubicBezTo>
                <a:cubicBezTo>
                  <a:pt x="87" y="65"/>
                  <a:pt x="87" y="66"/>
                  <a:pt x="87" y="65"/>
                </a:cubicBezTo>
                <a:cubicBezTo>
                  <a:pt x="87" y="64"/>
                  <a:pt x="87" y="63"/>
                  <a:pt x="87" y="62"/>
                </a:cubicBezTo>
                <a:cubicBezTo>
                  <a:pt x="86" y="62"/>
                  <a:pt x="85" y="61"/>
                  <a:pt x="85" y="62"/>
                </a:cubicBezTo>
                <a:cubicBezTo>
                  <a:pt x="85" y="61"/>
                  <a:pt x="84" y="59"/>
                  <a:pt x="83" y="59"/>
                </a:cubicBezTo>
                <a:cubicBezTo>
                  <a:pt x="82" y="60"/>
                  <a:pt x="81" y="60"/>
                  <a:pt x="81" y="61"/>
                </a:cubicBezTo>
                <a:cubicBezTo>
                  <a:pt x="81" y="61"/>
                  <a:pt x="80" y="61"/>
                  <a:pt x="80" y="61"/>
                </a:cubicBezTo>
                <a:cubicBezTo>
                  <a:pt x="79" y="62"/>
                  <a:pt x="79" y="62"/>
                  <a:pt x="78" y="62"/>
                </a:cubicBezTo>
                <a:cubicBezTo>
                  <a:pt x="77" y="63"/>
                  <a:pt x="76" y="63"/>
                  <a:pt x="76" y="63"/>
                </a:cubicBezTo>
                <a:cubicBezTo>
                  <a:pt x="76" y="63"/>
                  <a:pt x="75" y="64"/>
                  <a:pt x="75" y="64"/>
                </a:cubicBezTo>
                <a:cubicBezTo>
                  <a:pt x="75" y="63"/>
                  <a:pt x="75" y="63"/>
                  <a:pt x="74" y="63"/>
                </a:cubicBezTo>
                <a:cubicBezTo>
                  <a:pt x="74" y="63"/>
                  <a:pt x="74" y="63"/>
                  <a:pt x="74" y="63"/>
                </a:cubicBezTo>
                <a:cubicBezTo>
                  <a:pt x="75" y="64"/>
                  <a:pt x="76" y="62"/>
                  <a:pt x="77" y="62"/>
                </a:cubicBezTo>
                <a:cubicBezTo>
                  <a:pt x="78" y="62"/>
                  <a:pt x="79" y="61"/>
                  <a:pt x="80" y="61"/>
                </a:cubicBezTo>
                <a:cubicBezTo>
                  <a:pt x="81" y="60"/>
                  <a:pt x="79" y="58"/>
                  <a:pt x="79" y="58"/>
                </a:cubicBezTo>
                <a:cubicBezTo>
                  <a:pt x="78" y="57"/>
                  <a:pt x="76" y="57"/>
                  <a:pt x="75" y="57"/>
                </a:cubicBezTo>
                <a:cubicBezTo>
                  <a:pt x="74" y="57"/>
                  <a:pt x="73" y="56"/>
                  <a:pt x="73" y="55"/>
                </a:cubicBezTo>
                <a:cubicBezTo>
                  <a:pt x="72" y="55"/>
                  <a:pt x="72" y="55"/>
                  <a:pt x="72" y="54"/>
                </a:cubicBezTo>
                <a:cubicBezTo>
                  <a:pt x="71" y="53"/>
                  <a:pt x="72" y="53"/>
                  <a:pt x="71" y="52"/>
                </a:cubicBezTo>
                <a:cubicBezTo>
                  <a:pt x="71" y="51"/>
                  <a:pt x="71" y="51"/>
                  <a:pt x="71" y="50"/>
                </a:cubicBezTo>
                <a:cubicBezTo>
                  <a:pt x="70" y="50"/>
                  <a:pt x="69" y="49"/>
                  <a:pt x="69" y="48"/>
                </a:cubicBezTo>
                <a:cubicBezTo>
                  <a:pt x="68" y="48"/>
                  <a:pt x="68" y="47"/>
                  <a:pt x="67" y="47"/>
                </a:cubicBezTo>
                <a:cubicBezTo>
                  <a:pt x="66" y="47"/>
                  <a:pt x="66" y="47"/>
                  <a:pt x="65" y="47"/>
                </a:cubicBezTo>
                <a:cubicBezTo>
                  <a:pt x="65" y="47"/>
                  <a:pt x="64" y="47"/>
                  <a:pt x="64" y="46"/>
                </a:cubicBezTo>
                <a:cubicBezTo>
                  <a:pt x="63" y="45"/>
                  <a:pt x="63" y="44"/>
                  <a:pt x="62" y="43"/>
                </a:cubicBezTo>
                <a:cubicBezTo>
                  <a:pt x="62" y="42"/>
                  <a:pt x="61" y="42"/>
                  <a:pt x="60" y="41"/>
                </a:cubicBezTo>
                <a:cubicBezTo>
                  <a:pt x="60" y="41"/>
                  <a:pt x="60" y="40"/>
                  <a:pt x="60" y="40"/>
                </a:cubicBezTo>
                <a:cubicBezTo>
                  <a:pt x="59" y="40"/>
                  <a:pt x="57" y="40"/>
                  <a:pt x="58" y="42"/>
                </a:cubicBezTo>
                <a:cubicBezTo>
                  <a:pt x="58" y="43"/>
                  <a:pt x="59" y="44"/>
                  <a:pt x="59" y="45"/>
                </a:cubicBezTo>
                <a:cubicBezTo>
                  <a:pt x="59" y="46"/>
                  <a:pt x="59" y="45"/>
                  <a:pt x="59" y="44"/>
                </a:cubicBezTo>
                <a:cubicBezTo>
                  <a:pt x="59" y="44"/>
                  <a:pt x="58" y="44"/>
                  <a:pt x="58" y="43"/>
                </a:cubicBezTo>
                <a:cubicBezTo>
                  <a:pt x="57" y="42"/>
                  <a:pt x="56" y="42"/>
                  <a:pt x="55" y="41"/>
                </a:cubicBezTo>
                <a:cubicBezTo>
                  <a:pt x="53" y="40"/>
                  <a:pt x="54" y="38"/>
                  <a:pt x="53" y="37"/>
                </a:cubicBezTo>
                <a:cubicBezTo>
                  <a:pt x="52" y="36"/>
                  <a:pt x="52" y="35"/>
                  <a:pt x="51" y="36"/>
                </a:cubicBezTo>
                <a:cubicBezTo>
                  <a:pt x="51" y="36"/>
                  <a:pt x="51" y="37"/>
                  <a:pt x="51" y="37"/>
                </a:cubicBezTo>
                <a:cubicBezTo>
                  <a:pt x="50" y="37"/>
                  <a:pt x="51" y="36"/>
                  <a:pt x="50" y="35"/>
                </a:cubicBezTo>
                <a:cubicBezTo>
                  <a:pt x="49" y="35"/>
                  <a:pt x="50" y="36"/>
                  <a:pt x="50" y="36"/>
                </a:cubicBezTo>
                <a:cubicBezTo>
                  <a:pt x="50" y="36"/>
                  <a:pt x="50" y="37"/>
                  <a:pt x="50" y="37"/>
                </a:cubicBezTo>
                <a:cubicBezTo>
                  <a:pt x="49" y="36"/>
                  <a:pt x="50" y="35"/>
                  <a:pt x="50" y="34"/>
                </a:cubicBezTo>
                <a:cubicBezTo>
                  <a:pt x="50" y="33"/>
                  <a:pt x="49" y="32"/>
                  <a:pt x="48" y="32"/>
                </a:cubicBezTo>
                <a:cubicBezTo>
                  <a:pt x="48" y="32"/>
                  <a:pt x="47" y="30"/>
                  <a:pt x="47" y="30"/>
                </a:cubicBezTo>
                <a:cubicBezTo>
                  <a:pt x="47" y="30"/>
                  <a:pt x="46" y="30"/>
                  <a:pt x="46" y="30"/>
                </a:cubicBezTo>
                <a:cubicBezTo>
                  <a:pt x="45" y="30"/>
                  <a:pt x="45" y="29"/>
                  <a:pt x="45" y="29"/>
                </a:cubicBezTo>
                <a:cubicBezTo>
                  <a:pt x="44" y="28"/>
                  <a:pt x="43" y="27"/>
                  <a:pt x="42" y="27"/>
                </a:cubicBezTo>
                <a:cubicBezTo>
                  <a:pt x="41" y="26"/>
                  <a:pt x="40" y="25"/>
                  <a:pt x="39" y="25"/>
                </a:cubicBezTo>
                <a:cubicBezTo>
                  <a:pt x="39" y="25"/>
                  <a:pt x="37" y="24"/>
                  <a:pt x="37" y="23"/>
                </a:cubicBezTo>
                <a:cubicBezTo>
                  <a:pt x="37" y="22"/>
                  <a:pt x="36" y="22"/>
                  <a:pt x="35" y="22"/>
                </a:cubicBezTo>
                <a:cubicBezTo>
                  <a:pt x="35" y="21"/>
                  <a:pt x="34" y="21"/>
                  <a:pt x="33" y="20"/>
                </a:cubicBezTo>
                <a:cubicBezTo>
                  <a:pt x="33" y="20"/>
                  <a:pt x="33" y="20"/>
                  <a:pt x="33" y="20"/>
                </a:cubicBezTo>
                <a:cubicBezTo>
                  <a:pt x="32" y="19"/>
                  <a:pt x="32" y="20"/>
                  <a:pt x="32" y="20"/>
                </a:cubicBezTo>
                <a:cubicBezTo>
                  <a:pt x="32" y="20"/>
                  <a:pt x="32" y="20"/>
                  <a:pt x="32" y="19"/>
                </a:cubicBezTo>
                <a:cubicBezTo>
                  <a:pt x="32" y="19"/>
                  <a:pt x="32" y="19"/>
                  <a:pt x="32" y="18"/>
                </a:cubicBezTo>
                <a:cubicBezTo>
                  <a:pt x="32" y="18"/>
                  <a:pt x="33" y="17"/>
                  <a:pt x="32" y="16"/>
                </a:cubicBezTo>
                <a:cubicBezTo>
                  <a:pt x="31" y="16"/>
                  <a:pt x="31" y="15"/>
                  <a:pt x="30" y="15"/>
                </a:cubicBezTo>
                <a:cubicBezTo>
                  <a:pt x="30" y="15"/>
                  <a:pt x="30" y="14"/>
                  <a:pt x="30" y="14"/>
                </a:cubicBezTo>
                <a:cubicBezTo>
                  <a:pt x="29" y="13"/>
                  <a:pt x="29" y="12"/>
                  <a:pt x="29" y="12"/>
                </a:cubicBezTo>
                <a:cubicBezTo>
                  <a:pt x="28" y="11"/>
                  <a:pt x="27" y="10"/>
                  <a:pt x="26" y="9"/>
                </a:cubicBezTo>
                <a:cubicBezTo>
                  <a:pt x="26" y="9"/>
                  <a:pt x="25" y="7"/>
                  <a:pt x="24" y="8"/>
                </a:cubicBezTo>
                <a:cubicBezTo>
                  <a:pt x="24" y="8"/>
                  <a:pt x="23" y="9"/>
                  <a:pt x="22" y="9"/>
                </a:cubicBezTo>
                <a:cubicBezTo>
                  <a:pt x="22" y="9"/>
                  <a:pt x="21" y="8"/>
                  <a:pt x="21" y="8"/>
                </a:cubicBezTo>
                <a:cubicBezTo>
                  <a:pt x="21" y="8"/>
                  <a:pt x="21" y="7"/>
                  <a:pt x="20" y="7"/>
                </a:cubicBezTo>
                <a:cubicBezTo>
                  <a:pt x="19" y="7"/>
                  <a:pt x="18" y="7"/>
                  <a:pt x="17" y="8"/>
                </a:cubicBezTo>
                <a:cubicBezTo>
                  <a:pt x="16" y="8"/>
                  <a:pt x="15" y="8"/>
                  <a:pt x="14" y="8"/>
                </a:cubicBezTo>
                <a:cubicBezTo>
                  <a:pt x="13" y="8"/>
                  <a:pt x="13" y="8"/>
                  <a:pt x="12" y="7"/>
                </a:cubicBezTo>
                <a:cubicBezTo>
                  <a:pt x="11" y="7"/>
                  <a:pt x="10" y="6"/>
                  <a:pt x="9" y="6"/>
                </a:cubicBezTo>
                <a:cubicBezTo>
                  <a:pt x="9" y="5"/>
                  <a:pt x="8" y="5"/>
                  <a:pt x="8" y="4"/>
                </a:cubicBezTo>
                <a:cubicBezTo>
                  <a:pt x="7" y="4"/>
                  <a:pt x="7" y="4"/>
                  <a:pt x="6" y="4"/>
                </a:cubicBezTo>
                <a:cubicBezTo>
                  <a:pt x="6" y="3"/>
                  <a:pt x="6" y="4"/>
                  <a:pt x="5" y="4"/>
                </a:cubicBezTo>
                <a:cubicBezTo>
                  <a:pt x="5" y="4"/>
                  <a:pt x="4" y="3"/>
                  <a:pt x="4" y="3"/>
                </a:cubicBezTo>
                <a:cubicBezTo>
                  <a:pt x="4" y="4"/>
                  <a:pt x="3" y="4"/>
                  <a:pt x="3" y="4"/>
                </a:cubicBezTo>
                <a:cubicBezTo>
                  <a:pt x="3" y="4"/>
                  <a:pt x="3" y="4"/>
                  <a:pt x="3" y="4"/>
                </a:cubicBezTo>
                <a:cubicBezTo>
                  <a:pt x="2" y="4"/>
                  <a:pt x="2" y="4"/>
                  <a:pt x="2" y="5"/>
                </a:cubicBezTo>
                <a:cubicBezTo>
                  <a:pt x="3" y="6"/>
                  <a:pt x="3" y="6"/>
                  <a:pt x="2" y="7"/>
                </a:cubicBezTo>
                <a:cubicBezTo>
                  <a:pt x="2" y="7"/>
                  <a:pt x="3" y="8"/>
                  <a:pt x="3" y="8"/>
                </a:cubicBezTo>
                <a:cubicBezTo>
                  <a:pt x="3" y="8"/>
                  <a:pt x="3" y="9"/>
                  <a:pt x="3" y="9"/>
                </a:cubicBezTo>
                <a:cubicBezTo>
                  <a:pt x="4" y="10"/>
                  <a:pt x="4" y="10"/>
                  <a:pt x="4" y="10"/>
                </a:cubicBezTo>
                <a:cubicBezTo>
                  <a:pt x="4" y="11"/>
                  <a:pt x="4" y="12"/>
                  <a:pt x="5" y="12"/>
                </a:cubicBezTo>
                <a:cubicBezTo>
                  <a:pt x="5" y="13"/>
                  <a:pt x="6" y="14"/>
                  <a:pt x="6" y="14"/>
                </a:cubicBezTo>
                <a:cubicBezTo>
                  <a:pt x="6" y="14"/>
                  <a:pt x="6" y="14"/>
                  <a:pt x="6" y="14"/>
                </a:cubicBezTo>
                <a:cubicBezTo>
                  <a:pt x="6" y="14"/>
                  <a:pt x="7" y="14"/>
                  <a:pt x="7" y="15"/>
                </a:cubicBezTo>
                <a:cubicBezTo>
                  <a:pt x="7" y="15"/>
                  <a:pt x="8" y="16"/>
                  <a:pt x="9" y="17"/>
                </a:cubicBezTo>
                <a:cubicBezTo>
                  <a:pt x="9" y="17"/>
                  <a:pt x="10" y="18"/>
                  <a:pt x="10" y="19"/>
                </a:cubicBezTo>
                <a:cubicBezTo>
                  <a:pt x="11" y="19"/>
                  <a:pt x="11" y="20"/>
                  <a:pt x="12" y="20"/>
                </a:cubicBezTo>
                <a:cubicBezTo>
                  <a:pt x="12" y="20"/>
                  <a:pt x="13" y="20"/>
                  <a:pt x="13" y="21"/>
                </a:cubicBezTo>
                <a:cubicBezTo>
                  <a:pt x="14" y="22"/>
                  <a:pt x="15" y="24"/>
                  <a:pt x="17" y="24"/>
                </a:cubicBezTo>
                <a:cubicBezTo>
                  <a:pt x="17" y="24"/>
                  <a:pt x="18" y="24"/>
                  <a:pt x="19" y="24"/>
                </a:cubicBezTo>
                <a:cubicBezTo>
                  <a:pt x="19" y="25"/>
                  <a:pt x="20" y="26"/>
                  <a:pt x="20" y="26"/>
                </a:cubicBezTo>
                <a:cubicBezTo>
                  <a:pt x="21" y="27"/>
                  <a:pt x="21" y="29"/>
                  <a:pt x="22" y="30"/>
                </a:cubicBezTo>
                <a:cubicBezTo>
                  <a:pt x="23" y="30"/>
                  <a:pt x="23" y="30"/>
                  <a:pt x="23" y="30"/>
                </a:cubicBezTo>
                <a:cubicBezTo>
                  <a:pt x="24" y="31"/>
                  <a:pt x="24" y="32"/>
                  <a:pt x="24" y="33"/>
                </a:cubicBezTo>
                <a:cubicBezTo>
                  <a:pt x="25" y="33"/>
                  <a:pt x="25" y="33"/>
                  <a:pt x="26" y="34"/>
                </a:cubicBezTo>
                <a:cubicBezTo>
                  <a:pt x="27" y="34"/>
                  <a:pt x="27" y="34"/>
                  <a:pt x="27" y="35"/>
                </a:cubicBezTo>
                <a:cubicBezTo>
                  <a:pt x="27" y="36"/>
                  <a:pt x="27" y="38"/>
                  <a:pt x="27" y="39"/>
                </a:cubicBezTo>
                <a:cubicBezTo>
                  <a:pt x="28" y="40"/>
                  <a:pt x="28" y="40"/>
                  <a:pt x="29" y="40"/>
                </a:cubicBezTo>
                <a:cubicBezTo>
                  <a:pt x="29" y="41"/>
                  <a:pt x="30" y="40"/>
                  <a:pt x="30" y="40"/>
                </a:cubicBezTo>
                <a:cubicBezTo>
                  <a:pt x="31" y="41"/>
                  <a:pt x="33" y="42"/>
                  <a:pt x="33" y="43"/>
                </a:cubicBezTo>
                <a:cubicBezTo>
                  <a:pt x="33" y="43"/>
                  <a:pt x="34" y="43"/>
                  <a:pt x="34" y="43"/>
                </a:cubicBezTo>
                <a:cubicBezTo>
                  <a:pt x="34" y="43"/>
                  <a:pt x="34" y="43"/>
                  <a:pt x="34" y="43"/>
                </a:cubicBezTo>
                <a:cubicBezTo>
                  <a:pt x="35" y="43"/>
                  <a:pt x="36" y="44"/>
                  <a:pt x="36" y="44"/>
                </a:cubicBezTo>
                <a:cubicBezTo>
                  <a:pt x="36" y="45"/>
                  <a:pt x="36" y="45"/>
                  <a:pt x="37" y="46"/>
                </a:cubicBezTo>
                <a:cubicBezTo>
                  <a:pt x="37" y="46"/>
                  <a:pt x="38" y="47"/>
                  <a:pt x="38" y="46"/>
                </a:cubicBezTo>
                <a:cubicBezTo>
                  <a:pt x="38" y="45"/>
                  <a:pt x="39" y="47"/>
                  <a:pt x="39" y="47"/>
                </a:cubicBezTo>
                <a:cubicBezTo>
                  <a:pt x="39" y="47"/>
                  <a:pt x="38" y="48"/>
                  <a:pt x="38" y="48"/>
                </a:cubicBezTo>
                <a:cubicBezTo>
                  <a:pt x="38" y="48"/>
                  <a:pt x="38" y="48"/>
                  <a:pt x="37" y="48"/>
                </a:cubicBezTo>
                <a:cubicBezTo>
                  <a:pt x="37" y="48"/>
                  <a:pt x="38" y="49"/>
                  <a:pt x="38" y="49"/>
                </a:cubicBezTo>
                <a:cubicBezTo>
                  <a:pt x="39" y="50"/>
                  <a:pt x="39" y="51"/>
                  <a:pt x="39" y="52"/>
                </a:cubicBezTo>
                <a:cubicBezTo>
                  <a:pt x="39" y="53"/>
                  <a:pt x="40" y="55"/>
                  <a:pt x="41" y="56"/>
                </a:cubicBezTo>
                <a:cubicBezTo>
                  <a:pt x="41" y="57"/>
                  <a:pt x="41" y="58"/>
                  <a:pt x="41" y="58"/>
                </a:cubicBezTo>
                <a:cubicBezTo>
                  <a:pt x="42" y="59"/>
                  <a:pt x="41" y="59"/>
                  <a:pt x="42" y="60"/>
                </a:cubicBezTo>
                <a:cubicBezTo>
                  <a:pt x="42" y="61"/>
                  <a:pt x="42" y="61"/>
                  <a:pt x="42" y="62"/>
                </a:cubicBezTo>
                <a:cubicBezTo>
                  <a:pt x="42" y="62"/>
                  <a:pt x="42" y="62"/>
                  <a:pt x="42" y="63"/>
                </a:cubicBezTo>
                <a:cubicBezTo>
                  <a:pt x="43" y="63"/>
                  <a:pt x="43" y="63"/>
                  <a:pt x="44" y="63"/>
                </a:cubicBezTo>
                <a:cubicBezTo>
                  <a:pt x="44" y="63"/>
                  <a:pt x="44" y="63"/>
                  <a:pt x="44" y="63"/>
                </a:cubicBezTo>
                <a:cubicBezTo>
                  <a:pt x="46" y="64"/>
                  <a:pt x="46" y="64"/>
                  <a:pt x="47" y="65"/>
                </a:cubicBezTo>
                <a:cubicBezTo>
                  <a:pt x="48" y="66"/>
                  <a:pt x="47" y="67"/>
                  <a:pt x="48" y="67"/>
                </a:cubicBezTo>
                <a:cubicBezTo>
                  <a:pt x="48" y="68"/>
                  <a:pt x="48" y="68"/>
                  <a:pt x="49" y="69"/>
                </a:cubicBezTo>
                <a:cubicBezTo>
                  <a:pt x="49" y="69"/>
                  <a:pt x="50" y="70"/>
                  <a:pt x="50" y="70"/>
                </a:cubicBezTo>
                <a:cubicBezTo>
                  <a:pt x="51" y="71"/>
                  <a:pt x="51" y="71"/>
                  <a:pt x="51" y="72"/>
                </a:cubicBezTo>
                <a:cubicBezTo>
                  <a:pt x="52" y="73"/>
                  <a:pt x="53" y="75"/>
                  <a:pt x="54" y="76"/>
                </a:cubicBezTo>
                <a:cubicBezTo>
                  <a:pt x="54" y="76"/>
                  <a:pt x="54" y="77"/>
                  <a:pt x="54" y="77"/>
                </a:cubicBezTo>
                <a:cubicBezTo>
                  <a:pt x="54" y="77"/>
                  <a:pt x="54" y="78"/>
                  <a:pt x="54" y="78"/>
                </a:cubicBezTo>
                <a:cubicBezTo>
                  <a:pt x="54" y="78"/>
                  <a:pt x="54" y="79"/>
                  <a:pt x="54" y="79"/>
                </a:cubicBezTo>
                <a:cubicBezTo>
                  <a:pt x="54" y="79"/>
                  <a:pt x="55" y="79"/>
                  <a:pt x="55" y="80"/>
                </a:cubicBezTo>
                <a:cubicBezTo>
                  <a:pt x="56" y="80"/>
                  <a:pt x="56" y="81"/>
                  <a:pt x="56" y="82"/>
                </a:cubicBezTo>
                <a:cubicBezTo>
                  <a:pt x="56" y="82"/>
                  <a:pt x="56" y="82"/>
                  <a:pt x="56" y="82"/>
                </a:cubicBezTo>
                <a:cubicBezTo>
                  <a:pt x="56" y="82"/>
                  <a:pt x="56" y="82"/>
                  <a:pt x="56" y="82"/>
                </a:cubicBezTo>
                <a:cubicBezTo>
                  <a:pt x="56" y="84"/>
                  <a:pt x="58" y="85"/>
                  <a:pt x="58" y="86"/>
                </a:cubicBezTo>
                <a:cubicBezTo>
                  <a:pt x="58" y="87"/>
                  <a:pt x="59" y="87"/>
                  <a:pt x="58" y="88"/>
                </a:cubicBezTo>
                <a:cubicBezTo>
                  <a:pt x="58" y="88"/>
                  <a:pt x="58" y="89"/>
                  <a:pt x="58" y="89"/>
                </a:cubicBezTo>
                <a:cubicBezTo>
                  <a:pt x="59" y="91"/>
                  <a:pt x="59" y="93"/>
                  <a:pt x="60" y="94"/>
                </a:cubicBezTo>
                <a:cubicBezTo>
                  <a:pt x="61" y="94"/>
                  <a:pt x="62" y="94"/>
                  <a:pt x="62" y="95"/>
                </a:cubicBezTo>
                <a:cubicBezTo>
                  <a:pt x="63" y="95"/>
                  <a:pt x="63" y="96"/>
                  <a:pt x="63" y="96"/>
                </a:cubicBezTo>
                <a:cubicBezTo>
                  <a:pt x="64" y="98"/>
                  <a:pt x="64" y="100"/>
                  <a:pt x="65" y="101"/>
                </a:cubicBezTo>
                <a:cubicBezTo>
                  <a:pt x="66" y="102"/>
                  <a:pt x="68" y="103"/>
                  <a:pt x="69" y="104"/>
                </a:cubicBezTo>
                <a:cubicBezTo>
                  <a:pt x="70" y="104"/>
                  <a:pt x="71" y="105"/>
                  <a:pt x="71" y="105"/>
                </a:cubicBezTo>
                <a:cubicBezTo>
                  <a:pt x="71" y="106"/>
                  <a:pt x="71" y="107"/>
                  <a:pt x="72" y="107"/>
                </a:cubicBezTo>
                <a:cubicBezTo>
                  <a:pt x="72" y="108"/>
                  <a:pt x="71" y="108"/>
                  <a:pt x="72" y="109"/>
                </a:cubicBezTo>
                <a:cubicBezTo>
                  <a:pt x="72" y="109"/>
                  <a:pt x="72" y="110"/>
                  <a:pt x="73" y="110"/>
                </a:cubicBezTo>
                <a:cubicBezTo>
                  <a:pt x="74" y="111"/>
                  <a:pt x="76" y="112"/>
                  <a:pt x="77" y="114"/>
                </a:cubicBezTo>
                <a:cubicBezTo>
                  <a:pt x="77" y="114"/>
                  <a:pt x="77" y="115"/>
                  <a:pt x="78" y="115"/>
                </a:cubicBezTo>
                <a:cubicBezTo>
                  <a:pt x="78" y="115"/>
                  <a:pt x="78" y="115"/>
                  <a:pt x="78" y="115"/>
                </a:cubicBezTo>
                <a:cubicBezTo>
                  <a:pt x="79" y="115"/>
                  <a:pt x="80" y="116"/>
                  <a:pt x="80" y="116"/>
                </a:cubicBezTo>
                <a:cubicBezTo>
                  <a:pt x="81" y="117"/>
                  <a:pt x="81" y="118"/>
                  <a:pt x="82" y="118"/>
                </a:cubicBezTo>
                <a:cubicBezTo>
                  <a:pt x="82" y="118"/>
                  <a:pt x="82" y="118"/>
                  <a:pt x="82" y="119"/>
                </a:cubicBezTo>
                <a:cubicBezTo>
                  <a:pt x="82" y="119"/>
                  <a:pt x="82" y="119"/>
                  <a:pt x="83" y="119"/>
                </a:cubicBezTo>
                <a:cubicBezTo>
                  <a:pt x="83" y="119"/>
                  <a:pt x="84" y="119"/>
                  <a:pt x="84" y="120"/>
                </a:cubicBezTo>
                <a:cubicBezTo>
                  <a:pt x="84" y="120"/>
                  <a:pt x="85" y="120"/>
                  <a:pt x="85" y="120"/>
                </a:cubicBezTo>
                <a:cubicBezTo>
                  <a:pt x="85" y="120"/>
                  <a:pt x="86" y="121"/>
                  <a:pt x="87" y="121"/>
                </a:cubicBezTo>
                <a:cubicBezTo>
                  <a:pt x="87" y="122"/>
                  <a:pt x="86" y="123"/>
                  <a:pt x="87" y="123"/>
                </a:cubicBezTo>
                <a:cubicBezTo>
                  <a:pt x="87" y="123"/>
                  <a:pt x="88" y="123"/>
                  <a:pt x="88" y="123"/>
                </a:cubicBezTo>
                <a:cubicBezTo>
                  <a:pt x="87" y="124"/>
                  <a:pt x="88" y="125"/>
                  <a:pt x="89" y="125"/>
                </a:cubicBezTo>
                <a:cubicBezTo>
                  <a:pt x="89" y="126"/>
                  <a:pt x="89" y="126"/>
                  <a:pt x="90" y="126"/>
                </a:cubicBezTo>
                <a:cubicBezTo>
                  <a:pt x="90" y="126"/>
                  <a:pt x="90" y="126"/>
                  <a:pt x="90" y="127"/>
                </a:cubicBezTo>
                <a:cubicBezTo>
                  <a:pt x="90" y="127"/>
                  <a:pt x="90" y="127"/>
                  <a:pt x="90" y="127"/>
                </a:cubicBezTo>
                <a:cubicBezTo>
                  <a:pt x="90" y="127"/>
                  <a:pt x="91" y="127"/>
                  <a:pt x="91" y="128"/>
                </a:cubicBezTo>
                <a:cubicBezTo>
                  <a:pt x="91" y="128"/>
                  <a:pt x="91" y="128"/>
                  <a:pt x="92" y="128"/>
                </a:cubicBezTo>
                <a:cubicBezTo>
                  <a:pt x="92" y="129"/>
                  <a:pt x="92" y="129"/>
                  <a:pt x="93" y="130"/>
                </a:cubicBezTo>
                <a:cubicBezTo>
                  <a:pt x="93" y="131"/>
                  <a:pt x="93" y="130"/>
                  <a:pt x="94" y="130"/>
                </a:cubicBezTo>
                <a:cubicBezTo>
                  <a:pt x="94" y="130"/>
                  <a:pt x="94" y="130"/>
                  <a:pt x="94" y="129"/>
                </a:cubicBezTo>
                <a:cubicBezTo>
                  <a:pt x="94" y="128"/>
                  <a:pt x="93" y="127"/>
                  <a:pt x="93" y="126"/>
                </a:cubicBezTo>
                <a:cubicBezTo>
                  <a:pt x="93" y="126"/>
                  <a:pt x="93" y="126"/>
                  <a:pt x="94" y="126"/>
                </a:cubicBezTo>
                <a:cubicBezTo>
                  <a:pt x="94" y="126"/>
                  <a:pt x="95" y="127"/>
                  <a:pt x="95" y="127"/>
                </a:cubicBezTo>
                <a:cubicBezTo>
                  <a:pt x="96" y="127"/>
                  <a:pt x="97" y="128"/>
                  <a:pt x="98" y="128"/>
                </a:cubicBezTo>
                <a:cubicBezTo>
                  <a:pt x="98" y="129"/>
                  <a:pt x="98" y="129"/>
                  <a:pt x="98" y="129"/>
                </a:cubicBezTo>
                <a:cubicBezTo>
                  <a:pt x="98" y="129"/>
                  <a:pt x="99" y="129"/>
                  <a:pt x="99" y="129"/>
                </a:cubicBezTo>
                <a:close/>
                <a:moveTo>
                  <a:pt x="21" y="43"/>
                </a:moveTo>
                <a:cubicBezTo>
                  <a:pt x="22" y="43"/>
                  <a:pt x="22" y="43"/>
                  <a:pt x="22" y="43"/>
                </a:cubicBezTo>
                <a:cubicBezTo>
                  <a:pt x="22" y="42"/>
                  <a:pt x="21" y="42"/>
                  <a:pt x="21" y="43"/>
                </a:cubicBezTo>
                <a:close/>
                <a:moveTo>
                  <a:pt x="324" y="43"/>
                </a:moveTo>
                <a:cubicBezTo>
                  <a:pt x="325" y="43"/>
                  <a:pt x="324" y="43"/>
                  <a:pt x="324" y="43"/>
                </a:cubicBezTo>
                <a:cubicBezTo>
                  <a:pt x="325" y="43"/>
                  <a:pt x="326" y="43"/>
                  <a:pt x="326" y="43"/>
                </a:cubicBezTo>
                <a:cubicBezTo>
                  <a:pt x="327" y="43"/>
                  <a:pt x="328" y="41"/>
                  <a:pt x="328" y="40"/>
                </a:cubicBezTo>
                <a:cubicBezTo>
                  <a:pt x="328" y="39"/>
                  <a:pt x="329" y="39"/>
                  <a:pt x="328" y="38"/>
                </a:cubicBezTo>
                <a:cubicBezTo>
                  <a:pt x="328" y="37"/>
                  <a:pt x="327" y="37"/>
                  <a:pt x="327" y="36"/>
                </a:cubicBezTo>
                <a:cubicBezTo>
                  <a:pt x="327" y="36"/>
                  <a:pt x="327" y="37"/>
                  <a:pt x="326" y="37"/>
                </a:cubicBezTo>
                <a:cubicBezTo>
                  <a:pt x="326" y="37"/>
                  <a:pt x="326" y="37"/>
                  <a:pt x="326" y="37"/>
                </a:cubicBezTo>
                <a:cubicBezTo>
                  <a:pt x="325" y="38"/>
                  <a:pt x="325" y="38"/>
                  <a:pt x="324" y="39"/>
                </a:cubicBezTo>
                <a:cubicBezTo>
                  <a:pt x="324" y="39"/>
                  <a:pt x="324" y="40"/>
                  <a:pt x="324" y="40"/>
                </a:cubicBezTo>
                <a:cubicBezTo>
                  <a:pt x="324" y="41"/>
                  <a:pt x="324" y="41"/>
                  <a:pt x="324" y="41"/>
                </a:cubicBezTo>
                <a:cubicBezTo>
                  <a:pt x="324" y="42"/>
                  <a:pt x="324" y="42"/>
                  <a:pt x="324" y="43"/>
                </a:cubicBezTo>
                <a:close/>
                <a:moveTo>
                  <a:pt x="340" y="79"/>
                </a:moveTo>
                <a:cubicBezTo>
                  <a:pt x="340" y="79"/>
                  <a:pt x="340" y="79"/>
                  <a:pt x="340" y="79"/>
                </a:cubicBezTo>
                <a:cubicBezTo>
                  <a:pt x="340" y="79"/>
                  <a:pt x="340" y="79"/>
                  <a:pt x="341" y="78"/>
                </a:cubicBezTo>
                <a:cubicBezTo>
                  <a:pt x="341" y="78"/>
                  <a:pt x="340" y="78"/>
                  <a:pt x="340" y="78"/>
                </a:cubicBezTo>
                <a:cubicBezTo>
                  <a:pt x="340" y="78"/>
                  <a:pt x="339" y="78"/>
                  <a:pt x="339" y="78"/>
                </a:cubicBezTo>
                <a:cubicBezTo>
                  <a:pt x="339" y="79"/>
                  <a:pt x="340" y="79"/>
                  <a:pt x="340" y="79"/>
                </a:cubicBezTo>
                <a:close/>
                <a:moveTo>
                  <a:pt x="231" y="156"/>
                </a:moveTo>
                <a:cubicBezTo>
                  <a:pt x="232" y="157"/>
                  <a:pt x="233" y="155"/>
                  <a:pt x="232" y="155"/>
                </a:cubicBezTo>
                <a:cubicBezTo>
                  <a:pt x="231" y="155"/>
                  <a:pt x="231" y="155"/>
                  <a:pt x="231" y="156"/>
                </a:cubicBezTo>
                <a:close/>
                <a:moveTo>
                  <a:pt x="93" y="54"/>
                </a:moveTo>
                <a:cubicBezTo>
                  <a:pt x="94" y="54"/>
                  <a:pt x="93" y="54"/>
                  <a:pt x="93" y="55"/>
                </a:cubicBezTo>
                <a:cubicBezTo>
                  <a:pt x="93" y="55"/>
                  <a:pt x="94" y="55"/>
                  <a:pt x="94" y="55"/>
                </a:cubicBezTo>
                <a:cubicBezTo>
                  <a:pt x="94" y="55"/>
                  <a:pt x="93" y="55"/>
                  <a:pt x="93" y="55"/>
                </a:cubicBezTo>
                <a:cubicBezTo>
                  <a:pt x="93" y="55"/>
                  <a:pt x="95" y="57"/>
                  <a:pt x="95" y="56"/>
                </a:cubicBezTo>
                <a:cubicBezTo>
                  <a:pt x="95" y="56"/>
                  <a:pt x="95" y="55"/>
                  <a:pt x="95" y="55"/>
                </a:cubicBezTo>
                <a:cubicBezTo>
                  <a:pt x="95" y="55"/>
                  <a:pt x="95" y="55"/>
                  <a:pt x="95" y="55"/>
                </a:cubicBezTo>
                <a:cubicBezTo>
                  <a:pt x="95" y="55"/>
                  <a:pt x="95" y="54"/>
                  <a:pt x="95" y="54"/>
                </a:cubicBezTo>
                <a:cubicBezTo>
                  <a:pt x="95" y="53"/>
                  <a:pt x="95" y="53"/>
                  <a:pt x="95" y="53"/>
                </a:cubicBezTo>
                <a:cubicBezTo>
                  <a:pt x="95" y="53"/>
                  <a:pt x="95" y="52"/>
                  <a:pt x="95" y="52"/>
                </a:cubicBezTo>
                <a:cubicBezTo>
                  <a:pt x="94" y="52"/>
                  <a:pt x="94" y="52"/>
                  <a:pt x="94" y="52"/>
                </a:cubicBezTo>
                <a:cubicBezTo>
                  <a:pt x="94" y="52"/>
                  <a:pt x="93" y="52"/>
                  <a:pt x="93" y="52"/>
                </a:cubicBezTo>
                <a:cubicBezTo>
                  <a:pt x="93" y="52"/>
                  <a:pt x="92" y="52"/>
                  <a:pt x="92" y="52"/>
                </a:cubicBezTo>
                <a:cubicBezTo>
                  <a:pt x="92" y="53"/>
                  <a:pt x="92" y="53"/>
                  <a:pt x="92" y="53"/>
                </a:cubicBezTo>
                <a:cubicBezTo>
                  <a:pt x="92" y="53"/>
                  <a:pt x="91" y="53"/>
                  <a:pt x="91" y="53"/>
                </a:cubicBezTo>
                <a:cubicBezTo>
                  <a:pt x="91" y="54"/>
                  <a:pt x="91" y="54"/>
                  <a:pt x="92" y="54"/>
                </a:cubicBezTo>
                <a:cubicBezTo>
                  <a:pt x="92" y="54"/>
                  <a:pt x="93" y="53"/>
                  <a:pt x="93" y="54"/>
                </a:cubicBezTo>
                <a:close/>
                <a:moveTo>
                  <a:pt x="324" y="104"/>
                </a:moveTo>
                <a:cubicBezTo>
                  <a:pt x="323" y="104"/>
                  <a:pt x="323" y="104"/>
                  <a:pt x="323" y="104"/>
                </a:cubicBezTo>
                <a:cubicBezTo>
                  <a:pt x="322" y="105"/>
                  <a:pt x="322" y="105"/>
                  <a:pt x="321" y="105"/>
                </a:cubicBezTo>
                <a:cubicBezTo>
                  <a:pt x="321" y="105"/>
                  <a:pt x="320" y="105"/>
                  <a:pt x="320" y="106"/>
                </a:cubicBezTo>
                <a:cubicBezTo>
                  <a:pt x="320" y="107"/>
                  <a:pt x="321" y="107"/>
                  <a:pt x="321" y="106"/>
                </a:cubicBezTo>
                <a:cubicBezTo>
                  <a:pt x="321" y="106"/>
                  <a:pt x="323" y="105"/>
                  <a:pt x="323" y="105"/>
                </a:cubicBezTo>
                <a:cubicBezTo>
                  <a:pt x="323" y="106"/>
                  <a:pt x="322" y="107"/>
                  <a:pt x="322" y="107"/>
                </a:cubicBezTo>
                <a:cubicBezTo>
                  <a:pt x="322" y="107"/>
                  <a:pt x="324" y="106"/>
                  <a:pt x="324" y="106"/>
                </a:cubicBezTo>
                <a:cubicBezTo>
                  <a:pt x="323" y="104"/>
                  <a:pt x="324" y="106"/>
                  <a:pt x="324" y="105"/>
                </a:cubicBezTo>
                <a:cubicBezTo>
                  <a:pt x="324" y="105"/>
                  <a:pt x="325" y="104"/>
                  <a:pt x="324" y="104"/>
                </a:cubicBezTo>
                <a:close/>
                <a:moveTo>
                  <a:pt x="349" y="75"/>
                </a:moveTo>
                <a:cubicBezTo>
                  <a:pt x="349" y="75"/>
                  <a:pt x="350" y="74"/>
                  <a:pt x="350" y="74"/>
                </a:cubicBezTo>
                <a:cubicBezTo>
                  <a:pt x="350" y="74"/>
                  <a:pt x="350" y="74"/>
                  <a:pt x="350" y="74"/>
                </a:cubicBezTo>
                <a:cubicBezTo>
                  <a:pt x="350" y="74"/>
                  <a:pt x="350" y="74"/>
                  <a:pt x="350" y="74"/>
                </a:cubicBezTo>
                <a:cubicBezTo>
                  <a:pt x="349" y="74"/>
                  <a:pt x="349" y="74"/>
                  <a:pt x="349" y="74"/>
                </a:cubicBezTo>
                <a:cubicBezTo>
                  <a:pt x="349" y="74"/>
                  <a:pt x="348" y="74"/>
                  <a:pt x="348" y="74"/>
                </a:cubicBezTo>
                <a:cubicBezTo>
                  <a:pt x="348" y="74"/>
                  <a:pt x="348" y="74"/>
                  <a:pt x="347" y="74"/>
                </a:cubicBezTo>
                <a:cubicBezTo>
                  <a:pt x="347" y="74"/>
                  <a:pt x="347" y="74"/>
                  <a:pt x="347" y="74"/>
                </a:cubicBezTo>
                <a:cubicBezTo>
                  <a:pt x="347" y="74"/>
                  <a:pt x="347" y="74"/>
                  <a:pt x="347" y="74"/>
                </a:cubicBezTo>
                <a:cubicBezTo>
                  <a:pt x="346" y="75"/>
                  <a:pt x="346" y="74"/>
                  <a:pt x="346" y="74"/>
                </a:cubicBezTo>
                <a:cubicBezTo>
                  <a:pt x="346" y="74"/>
                  <a:pt x="345" y="75"/>
                  <a:pt x="345" y="75"/>
                </a:cubicBezTo>
                <a:cubicBezTo>
                  <a:pt x="346" y="75"/>
                  <a:pt x="348" y="75"/>
                  <a:pt x="349" y="75"/>
                </a:cubicBezTo>
                <a:close/>
                <a:moveTo>
                  <a:pt x="309" y="21"/>
                </a:moveTo>
                <a:cubicBezTo>
                  <a:pt x="310" y="21"/>
                  <a:pt x="309" y="20"/>
                  <a:pt x="309" y="20"/>
                </a:cubicBezTo>
                <a:cubicBezTo>
                  <a:pt x="309" y="19"/>
                  <a:pt x="310" y="19"/>
                  <a:pt x="310" y="19"/>
                </a:cubicBezTo>
                <a:cubicBezTo>
                  <a:pt x="310" y="19"/>
                  <a:pt x="310" y="19"/>
                  <a:pt x="310" y="19"/>
                </a:cubicBezTo>
                <a:cubicBezTo>
                  <a:pt x="310" y="18"/>
                  <a:pt x="310" y="18"/>
                  <a:pt x="310" y="18"/>
                </a:cubicBezTo>
                <a:cubicBezTo>
                  <a:pt x="310" y="18"/>
                  <a:pt x="310" y="17"/>
                  <a:pt x="310" y="17"/>
                </a:cubicBezTo>
                <a:cubicBezTo>
                  <a:pt x="310" y="17"/>
                  <a:pt x="310" y="16"/>
                  <a:pt x="310" y="16"/>
                </a:cubicBezTo>
                <a:cubicBezTo>
                  <a:pt x="309" y="16"/>
                  <a:pt x="308" y="15"/>
                  <a:pt x="308" y="16"/>
                </a:cubicBezTo>
                <a:cubicBezTo>
                  <a:pt x="308" y="16"/>
                  <a:pt x="308" y="16"/>
                  <a:pt x="308" y="17"/>
                </a:cubicBezTo>
                <a:cubicBezTo>
                  <a:pt x="308" y="17"/>
                  <a:pt x="308" y="18"/>
                  <a:pt x="308" y="18"/>
                </a:cubicBezTo>
                <a:cubicBezTo>
                  <a:pt x="308" y="18"/>
                  <a:pt x="308" y="18"/>
                  <a:pt x="308" y="18"/>
                </a:cubicBezTo>
                <a:cubicBezTo>
                  <a:pt x="309" y="18"/>
                  <a:pt x="309" y="19"/>
                  <a:pt x="309" y="19"/>
                </a:cubicBezTo>
                <a:cubicBezTo>
                  <a:pt x="309" y="19"/>
                  <a:pt x="308" y="20"/>
                  <a:pt x="308" y="20"/>
                </a:cubicBezTo>
                <a:cubicBezTo>
                  <a:pt x="307" y="21"/>
                  <a:pt x="308" y="21"/>
                  <a:pt x="309" y="21"/>
                </a:cubicBezTo>
                <a:close/>
                <a:moveTo>
                  <a:pt x="316" y="58"/>
                </a:moveTo>
                <a:cubicBezTo>
                  <a:pt x="316" y="59"/>
                  <a:pt x="317" y="57"/>
                  <a:pt x="317" y="57"/>
                </a:cubicBezTo>
                <a:cubicBezTo>
                  <a:pt x="316" y="57"/>
                  <a:pt x="315" y="58"/>
                  <a:pt x="316" y="58"/>
                </a:cubicBezTo>
                <a:close/>
                <a:moveTo>
                  <a:pt x="348" y="155"/>
                </a:moveTo>
                <a:cubicBezTo>
                  <a:pt x="348" y="154"/>
                  <a:pt x="348" y="154"/>
                  <a:pt x="348" y="154"/>
                </a:cubicBezTo>
                <a:cubicBezTo>
                  <a:pt x="347" y="154"/>
                  <a:pt x="347" y="155"/>
                  <a:pt x="347" y="155"/>
                </a:cubicBezTo>
                <a:cubicBezTo>
                  <a:pt x="347" y="155"/>
                  <a:pt x="347" y="155"/>
                  <a:pt x="347" y="155"/>
                </a:cubicBezTo>
                <a:cubicBezTo>
                  <a:pt x="346" y="155"/>
                  <a:pt x="347" y="155"/>
                  <a:pt x="347" y="155"/>
                </a:cubicBezTo>
                <a:cubicBezTo>
                  <a:pt x="347" y="156"/>
                  <a:pt x="346" y="156"/>
                  <a:pt x="346" y="156"/>
                </a:cubicBezTo>
                <a:cubicBezTo>
                  <a:pt x="346" y="156"/>
                  <a:pt x="345" y="157"/>
                  <a:pt x="345" y="157"/>
                </a:cubicBezTo>
                <a:cubicBezTo>
                  <a:pt x="345" y="157"/>
                  <a:pt x="346" y="157"/>
                  <a:pt x="346" y="157"/>
                </a:cubicBezTo>
                <a:cubicBezTo>
                  <a:pt x="346" y="156"/>
                  <a:pt x="346" y="156"/>
                  <a:pt x="347" y="156"/>
                </a:cubicBezTo>
                <a:cubicBezTo>
                  <a:pt x="347" y="156"/>
                  <a:pt x="347" y="156"/>
                  <a:pt x="348" y="156"/>
                </a:cubicBezTo>
                <a:cubicBezTo>
                  <a:pt x="348" y="155"/>
                  <a:pt x="349" y="155"/>
                  <a:pt x="349" y="155"/>
                </a:cubicBezTo>
                <a:cubicBezTo>
                  <a:pt x="349" y="154"/>
                  <a:pt x="348" y="155"/>
                  <a:pt x="348" y="155"/>
                </a:cubicBezTo>
                <a:close/>
                <a:moveTo>
                  <a:pt x="318" y="155"/>
                </a:moveTo>
                <a:cubicBezTo>
                  <a:pt x="317" y="155"/>
                  <a:pt x="317" y="154"/>
                  <a:pt x="316" y="154"/>
                </a:cubicBezTo>
                <a:cubicBezTo>
                  <a:pt x="316" y="154"/>
                  <a:pt x="317" y="155"/>
                  <a:pt x="317" y="155"/>
                </a:cubicBezTo>
                <a:cubicBezTo>
                  <a:pt x="317" y="156"/>
                  <a:pt x="318" y="156"/>
                  <a:pt x="319" y="156"/>
                </a:cubicBezTo>
                <a:cubicBezTo>
                  <a:pt x="319" y="156"/>
                  <a:pt x="320" y="155"/>
                  <a:pt x="319" y="155"/>
                </a:cubicBezTo>
                <a:cubicBezTo>
                  <a:pt x="319" y="155"/>
                  <a:pt x="318" y="155"/>
                  <a:pt x="318" y="155"/>
                </a:cubicBezTo>
                <a:close/>
                <a:moveTo>
                  <a:pt x="77" y="54"/>
                </a:moveTo>
                <a:cubicBezTo>
                  <a:pt x="77" y="54"/>
                  <a:pt x="78" y="54"/>
                  <a:pt x="78" y="55"/>
                </a:cubicBezTo>
                <a:cubicBezTo>
                  <a:pt x="79" y="55"/>
                  <a:pt x="80" y="57"/>
                  <a:pt x="81" y="56"/>
                </a:cubicBezTo>
                <a:cubicBezTo>
                  <a:pt x="81" y="55"/>
                  <a:pt x="79" y="54"/>
                  <a:pt x="79" y="53"/>
                </a:cubicBezTo>
                <a:cubicBezTo>
                  <a:pt x="78" y="53"/>
                  <a:pt x="77" y="52"/>
                  <a:pt x="77" y="52"/>
                </a:cubicBezTo>
                <a:cubicBezTo>
                  <a:pt x="76" y="53"/>
                  <a:pt x="76" y="53"/>
                  <a:pt x="76" y="53"/>
                </a:cubicBezTo>
                <a:cubicBezTo>
                  <a:pt x="75" y="54"/>
                  <a:pt x="76" y="54"/>
                  <a:pt x="77" y="54"/>
                </a:cubicBezTo>
                <a:close/>
                <a:moveTo>
                  <a:pt x="94" y="63"/>
                </a:moveTo>
                <a:cubicBezTo>
                  <a:pt x="94" y="63"/>
                  <a:pt x="95" y="65"/>
                  <a:pt x="96" y="65"/>
                </a:cubicBezTo>
                <a:cubicBezTo>
                  <a:pt x="96" y="65"/>
                  <a:pt x="95" y="63"/>
                  <a:pt x="94" y="63"/>
                </a:cubicBezTo>
                <a:cubicBezTo>
                  <a:pt x="94" y="63"/>
                  <a:pt x="94" y="63"/>
                  <a:pt x="94" y="63"/>
                </a:cubicBezTo>
                <a:close/>
                <a:moveTo>
                  <a:pt x="83" y="56"/>
                </a:moveTo>
                <a:cubicBezTo>
                  <a:pt x="82" y="57"/>
                  <a:pt x="83" y="58"/>
                  <a:pt x="83" y="58"/>
                </a:cubicBezTo>
                <a:cubicBezTo>
                  <a:pt x="84" y="58"/>
                  <a:pt x="84" y="57"/>
                  <a:pt x="84" y="57"/>
                </a:cubicBezTo>
                <a:cubicBezTo>
                  <a:pt x="84" y="57"/>
                  <a:pt x="83" y="55"/>
                  <a:pt x="83" y="56"/>
                </a:cubicBezTo>
                <a:close/>
                <a:moveTo>
                  <a:pt x="82" y="59"/>
                </a:moveTo>
                <a:cubicBezTo>
                  <a:pt x="82" y="58"/>
                  <a:pt x="81" y="57"/>
                  <a:pt x="81" y="59"/>
                </a:cubicBezTo>
                <a:cubicBezTo>
                  <a:pt x="80" y="60"/>
                  <a:pt x="82" y="60"/>
                  <a:pt x="82" y="59"/>
                </a:cubicBezTo>
                <a:close/>
                <a:moveTo>
                  <a:pt x="272" y="180"/>
                </a:moveTo>
                <a:cubicBezTo>
                  <a:pt x="272" y="180"/>
                  <a:pt x="271" y="180"/>
                  <a:pt x="271" y="181"/>
                </a:cubicBezTo>
                <a:cubicBezTo>
                  <a:pt x="271" y="181"/>
                  <a:pt x="270" y="181"/>
                  <a:pt x="270" y="181"/>
                </a:cubicBezTo>
                <a:cubicBezTo>
                  <a:pt x="270" y="181"/>
                  <a:pt x="270" y="182"/>
                  <a:pt x="269" y="182"/>
                </a:cubicBezTo>
                <a:cubicBezTo>
                  <a:pt x="269" y="182"/>
                  <a:pt x="269" y="182"/>
                  <a:pt x="269" y="182"/>
                </a:cubicBezTo>
                <a:cubicBezTo>
                  <a:pt x="268" y="183"/>
                  <a:pt x="267" y="183"/>
                  <a:pt x="266" y="184"/>
                </a:cubicBezTo>
                <a:cubicBezTo>
                  <a:pt x="266" y="184"/>
                  <a:pt x="266" y="185"/>
                  <a:pt x="266" y="185"/>
                </a:cubicBezTo>
                <a:cubicBezTo>
                  <a:pt x="266" y="186"/>
                  <a:pt x="268" y="185"/>
                  <a:pt x="268" y="184"/>
                </a:cubicBezTo>
                <a:cubicBezTo>
                  <a:pt x="269" y="184"/>
                  <a:pt x="269" y="184"/>
                  <a:pt x="270" y="184"/>
                </a:cubicBezTo>
                <a:cubicBezTo>
                  <a:pt x="270" y="184"/>
                  <a:pt x="270" y="183"/>
                  <a:pt x="270" y="183"/>
                </a:cubicBezTo>
                <a:cubicBezTo>
                  <a:pt x="271" y="183"/>
                  <a:pt x="271" y="183"/>
                  <a:pt x="271" y="183"/>
                </a:cubicBezTo>
                <a:cubicBezTo>
                  <a:pt x="271" y="182"/>
                  <a:pt x="271" y="183"/>
                  <a:pt x="271" y="183"/>
                </a:cubicBezTo>
                <a:cubicBezTo>
                  <a:pt x="272" y="183"/>
                  <a:pt x="272" y="182"/>
                  <a:pt x="272" y="182"/>
                </a:cubicBezTo>
                <a:cubicBezTo>
                  <a:pt x="271" y="182"/>
                  <a:pt x="272" y="180"/>
                  <a:pt x="272" y="180"/>
                </a:cubicBezTo>
                <a:close/>
                <a:moveTo>
                  <a:pt x="88" y="57"/>
                </a:moveTo>
                <a:cubicBezTo>
                  <a:pt x="88" y="56"/>
                  <a:pt x="88" y="56"/>
                  <a:pt x="88" y="56"/>
                </a:cubicBezTo>
                <a:cubicBezTo>
                  <a:pt x="88" y="56"/>
                  <a:pt x="87" y="55"/>
                  <a:pt x="87" y="56"/>
                </a:cubicBezTo>
                <a:cubicBezTo>
                  <a:pt x="87" y="56"/>
                  <a:pt x="88" y="57"/>
                  <a:pt x="88" y="57"/>
                </a:cubicBezTo>
                <a:close/>
                <a:moveTo>
                  <a:pt x="91" y="57"/>
                </a:moveTo>
                <a:cubicBezTo>
                  <a:pt x="91" y="57"/>
                  <a:pt x="91" y="58"/>
                  <a:pt x="92" y="57"/>
                </a:cubicBezTo>
                <a:cubicBezTo>
                  <a:pt x="92" y="57"/>
                  <a:pt x="92" y="56"/>
                  <a:pt x="91" y="57"/>
                </a:cubicBezTo>
                <a:close/>
                <a:moveTo>
                  <a:pt x="271" y="158"/>
                </a:moveTo>
                <a:cubicBezTo>
                  <a:pt x="271" y="158"/>
                  <a:pt x="271" y="157"/>
                  <a:pt x="272" y="158"/>
                </a:cubicBezTo>
                <a:cubicBezTo>
                  <a:pt x="272" y="158"/>
                  <a:pt x="273" y="158"/>
                  <a:pt x="273" y="157"/>
                </a:cubicBezTo>
                <a:cubicBezTo>
                  <a:pt x="273" y="157"/>
                  <a:pt x="273" y="156"/>
                  <a:pt x="273" y="156"/>
                </a:cubicBezTo>
                <a:cubicBezTo>
                  <a:pt x="272" y="156"/>
                  <a:pt x="271" y="156"/>
                  <a:pt x="271" y="156"/>
                </a:cubicBezTo>
                <a:cubicBezTo>
                  <a:pt x="270" y="157"/>
                  <a:pt x="269" y="158"/>
                  <a:pt x="271" y="158"/>
                </a:cubicBezTo>
                <a:close/>
                <a:moveTo>
                  <a:pt x="281" y="87"/>
                </a:moveTo>
                <a:cubicBezTo>
                  <a:pt x="281" y="87"/>
                  <a:pt x="282" y="87"/>
                  <a:pt x="281" y="87"/>
                </a:cubicBezTo>
                <a:cubicBezTo>
                  <a:pt x="281" y="86"/>
                  <a:pt x="280" y="86"/>
                  <a:pt x="281" y="87"/>
                </a:cubicBezTo>
                <a:cubicBezTo>
                  <a:pt x="281" y="87"/>
                  <a:pt x="281" y="88"/>
                  <a:pt x="281" y="87"/>
                </a:cubicBezTo>
                <a:close/>
                <a:moveTo>
                  <a:pt x="4" y="1"/>
                </a:moveTo>
                <a:cubicBezTo>
                  <a:pt x="4" y="1"/>
                  <a:pt x="3" y="0"/>
                  <a:pt x="3" y="1"/>
                </a:cubicBezTo>
                <a:cubicBezTo>
                  <a:pt x="3" y="1"/>
                  <a:pt x="2" y="0"/>
                  <a:pt x="2" y="0"/>
                </a:cubicBezTo>
                <a:cubicBezTo>
                  <a:pt x="2" y="1"/>
                  <a:pt x="4" y="3"/>
                  <a:pt x="4" y="1"/>
                </a:cubicBezTo>
                <a:close/>
                <a:moveTo>
                  <a:pt x="247" y="136"/>
                </a:moveTo>
                <a:cubicBezTo>
                  <a:pt x="247" y="135"/>
                  <a:pt x="247" y="134"/>
                  <a:pt x="248" y="132"/>
                </a:cubicBezTo>
                <a:cubicBezTo>
                  <a:pt x="248" y="131"/>
                  <a:pt x="247" y="130"/>
                  <a:pt x="247" y="129"/>
                </a:cubicBezTo>
                <a:cubicBezTo>
                  <a:pt x="247" y="128"/>
                  <a:pt x="247" y="129"/>
                  <a:pt x="247" y="130"/>
                </a:cubicBezTo>
                <a:cubicBezTo>
                  <a:pt x="247" y="130"/>
                  <a:pt x="247" y="131"/>
                  <a:pt x="247" y="132"/>
                </a:cubicBezTo>
                <a:cubicBezTo>
                  <a:pt x="247" y="132"/>
                  <a:pt x="246" y="133"/>
                  <a:pt x="247" y="134"/>
                </a:cubicBezTo>
                <a:cubicBezTo>
                  <a:pt x="247" y="135"/>
                  <a:pt x="247" y="136"/>
                  <a:pt x="247" y="136"/>
                </a:cubicBezTo>
                <a:close/>
                <a:moveTo>
                  <a:pt x="138" y="38"/>
                </a:moveTo>
                <a:cubicBezTo>
                  <a:pt x="138" y="37"/>
                  <a:pt x="137" y="37"/>
                  <a:pt x="137" y="37"/>
                </a:cubicBezTo>
                <a:cubicBezTo>
                  <a:pt x="137" y="38"/>
                  <a:pt x="138" y="38"/>
                  <a:pt x="138" y="38"/>
                </a:cubicBezTo>
                <a:close/>
                <a:moveTo>
                  <a:pt x="296" y="36"/>
                </a:moveTo>
                <a:cubicBezTo>
                  <a:pt x="296" y="36"/>
                  <a:pt x="296" y="35"/>
                  <a:pt x="297" y="35"/>
                </a:cubicBezTo>
                <a:cubicBezTo>
                  <a:pt x="297" y="34"/>
                  <a:pt x="296" y="34"/>
                  <a:pt x="296" y="35"/>
                </a:cubicBezTo>
                <a:cubicBezTo>
                  <a:pt x="296" y="35"/>
                  <a:pt x="296" y="36"/>
                  <a:pt x="296" y="36"/>
                </a:cubicBezTo>
                <a:cubicBezTo>
                  <a:pt x="296" y="36"/>
                  <a:pt x="297" y="36"/>
                  <a:pt x="296" y="36"/>
                </a:cubicBezTo>
                <a:close/>
                <a:moveTo>
                  <a:pt x="257" y="180"/>
                </a:moveTo>
                <a:cubicBezTo>
                  <a:pt x="257" y="180"/>
                  <a:pt x="256" y="181"/>
                  <a:pt x="256" y="181"/>
                </a:cubicBezTo>
                <a:cubicBezTo>
                  <a:pt x="255" y="181"/>
                  <a:pt x="256" y="182"/>
                  <a:pt x="256" y="182"/>
                </a:cubicBezTo>
                <a:cubicBezTo>
                  <a:pt x="257" y="182"/>
                  <a:pt x="258" y="182"/>
                  <a:pt x="258" y="181"/>
                </a:cubicBezTo>
                <a:cubicBezTo>
                  <a:pt x="259" y="180"/>
                  <a:pt x="258" y="180"/>
                  <a:pt x="257" y="180"/>
                </a:cubicBezTo>
                <a:close/>
                <a:moveTo>
                  <a:pt x="355" y="143"/>
                </a:moveTo>
                <a:cubicBezTo>
                  <a:pt x="355" y="144"/>
                  <a:pt x="355" y="144"/>
                  <a:pt x="355" y="144"/>
                </a:cubicBezTo>
                <a:cubicBezTo>
                  <a:pt x="356" y="144"/>
                  <a:pt x="356" y="144"/>
                  <a:pt x="356" y="144"/>
                </a:cubicBezTo>
                <a:cubicBezTo>
                  <a:pt x="357" y="144"/>
                  <a:pt x="357" y="145"/>
                  <a:pt x="357" y="145"/>
                </a:cubicBezTo>
                <a:cubicBezTo>
                  <a:pt x="358" y="145"/>
                  <a:pt x="357" y="144"/>
                  <a:pt x="357" y="144"/>
                </a:cubicBezTo>
                <a:cubicBezTo>
                  <a:pt x="357" y="143"/>
                  <a:pt x="356" y="143"/>
                  <a:pt x="355" y="143"/>
                </a:cubicBezTo>
                <a:close/>
                <a:moveTo>
                  <a:pt x="90" y="54"/>
                </a:moveTo>
                <a:cubicBezTo>
                  <a:pt x="90" y="54"/>
                  <a:pt x="90" y="53"/>
                  <a:pt x="90" y="53"/>
                </a:cubicBezTo>
                <a:cubicBezTo>
                  <a:pt x="90" y="52"/>
                  <a:pt x="90" y="52"/>
                  <a:pt x="90" y="52"/>
                </a:cubicBezTo>
                <a:cubicBezTo>
                  <a:pt x="90" y="53"/>
                  <a:pt x="90" y="53"/>
                  <a:pt x="89" y="53"/>
                </a:cubicBezTo>
                <a:cubicBezTo>
                  <a:pt x="89" y="52"/>
                  <a:pt x="89" y="52"/>
                  <a:pt x="89" y="52"/>
                </a:cubicBezTo>
                <a:cubicBezTo>
                  <a:pt x="89" y="53"/>
                  <a:pt x="89" y="53"/>
                  <a:pt x="89" y="53"/>
                </a:cubicBezTo>
                <a:cubicBezTo>
                  <a:pt x="88" y="53"/>
                  <a:pt x="89" y="53"/>
                  <a:pt x="88" y="53"/>
                </a:cubicBezTo>
                <a:cubicBezTo>
                  <a:pt x="88" y="53"/>
                  <a:pt x="88" y="53"/>
                  <a:pt x="88" y="54"/>
                </a:cubicBezTo>
                <a:cubicBezTo>
                  <a:pt x="89" y="55"/>
                  <a:pt x="90" y="55"/>
                  <a:pt x="90" y="54"/>
                </a:cubicBezTo>
                <a:close/>
                <a:moveTo>
                  <a:pt x="374" y="112"/>
                </a:moveTo>
                <a:cubicBezTo>
                  <a:pt x="373" y="111"/>
                  <a:pt x="373" y="111"/>
                  <a:pt x="373" y="110"/>
                </a:cubicBezTo>
                <a:cubicBezTo>
                  <a:pt x="372" y="111"/>
                  <a:pt x="373" y="112"/>
                  <a:pt x="373" y="112"/>
                </a:cubicBezTo>
                <a:cubicBezTo>
                  <a:pt x="374" y="112"/>
                  <a:pt x="374" y="112"/>
                  <a:pt x="375" y="112"/>
                </a:cubicBezTo>
                <a:cubicBezTo>
                  <a:pt x="375" y="112"/>
                  <a:pt x="375" y="112"/>
                  <a:pt x="375" y="113"/>
                </a:cubicBezTo>
                <a:cubicBezTo>
                  <a:pt x="375" y="112"/>
                  <a:pt x="374" y="112"/>
                  <a:pt x="374" y="112"/>
                </a:cubicBezTo>
                <a:close/>
                <a:moveTo>
                  <a:pt x="336" y="66"/>
                </a:moveTo>
                <a:cubicBezTo>
                  <a:pt x="336" y="67"/>
                  <a:pt x="336" y="67"/>
                  <a:pt x="337" y="68"/>
                </a:cubicBezTo>
                <a:cubicBezTo>
                  <a:pt x="338" y="67"/>
                  <a:pt x="335" y="65"/>
                  <a:pt x="335" y="65"/>
                </a:cubicBezTo>
                <a:cubicBezTo>
                  <a:pt x="335" y="65"/>
                  <a:pt x="335" y="66"/>
                  <a:pt x="336" y="66"/>
                </a:cubicBezTo>
                <a:close/>
                <a:moveTo>
                  <a:pt x="264" y="70"/>
                </a:moveTo>
                <a:cubicBezTo>
                  <a:pt x="264" y="69"/>
                  <a:pt x="264" y="69"/>
                  <a:pt x="264" y="69"/>
                </a:cubicBezTo>
                <a:cubicBezTo>
                  <a:pt x="264" y="69"/>
                  <a:pt x="263" y="69"/>
                  <a:pt x="263" y="69"/>
                </a:cubicBezTo>
                <a:cubicBezTo>
                  <a:pt x="263" y="69"/>
                  <a:pt x="262" y="69"/>
                  <a:pt x="263" y="69"/>
                </a:cubicBezTo>
                <a:cubicBezTo>
                  <a:pt x="262" y="70"/>
                  <a:pt x="263" y="70"/>
                  <a:pt x="263" y="70"/>
                </a:cubicBezTo>
                <a:cubicBezTo>
                  <a:pt x="264" y="70"/>
                  <a:pt x="264" y="70"/>
                  <a:pt x="264" y="70"/>
                </a:cubicBezTo>
                <a:close/>
                <a:moveTo>
                  <a:pt x="316" y="62"/>
                </a:moveTo>
                <a:cubicBezTo>
                  <a:pt x="316" y="62"/>
                  <a:pt x="316" y="61"/>
                  <a:pt x="316" y="61"/>
                </a:cubicBezTo>
                <a:cubicBezTo>
                  <a:pt x="315" y="61"/>
                  <a:pt x="315" y="62"/>
                  <a:pt x="316" y="62"/>
                </a:cubicBezTo>
                <a:close/>
                <a:moveTo>
                  <a:pt x="52" y="96"/>
                </a:moveTo>
                <a:cubicBezTo>
                  <a:pt x="52" y="95"/>
                  <a:pt x="51" y="94"/>
                  <a:pt x="50" y="94"/>
                </a:cubicBezTo>
                <a:cubicBezTo>
                  <a:pt x="50" y="93"/>
                  <a:pt x="49" y="92"/>
                  <a:pt x="49" y="93"/>
                </a:cubicBezTo>
                <a:cubicBezTo>
                  <a:pt x="50" y="94"/>
                  <a:pt x="50" y="94"/>
                  <a:pt x="50" y="94"/>
                </a:cubicBezTo>
                <a:cubicBezTo>
                  <a:pt x="50" y="95"/>
                  <a:pt x="49" y="95"/>
                  <a:pt x="50" y="96"/>
                </a:cubicBezTo>
                <a:cubicBezTo>
                  <a:pt x="50" y="96"/>
                  <a:pt x="50" y="96"/>
                  <a:pt x="50" y="96"/>
                </a:cubicBezTo>
                <a:cubicBezTo>
                  <a:pt x="50" y="96"/>
                  <a:pt x="50" y="96"/>
                  <a:pt x="50" y="96"/>
                </a:cubicBezTo>
                <a:cubicBezTo>
                  <a:pt x="50" y="96"/>
                  <a:pt x="51" y="96"/>
                  <a:pt x="51" y="96"/>
                </a:cubicBezTo>
                <a:cubicBezTo>
                  <a:pt x="51" y="96"/>
                  <a:pt x="51" y="96"/>
                  <a:pt x="51" y="96"/>
                </a:cubicBezTo>
                <a:cubicBezTo>
                  <a:pt x="52" y="96"/>
                  <a:pt x="52" y="96"/>
                  <a:pt x="52" y="96"/>
                </a:cubicBezTo>
                <a:close/>
                <a:moveTo>
                  <a:pt x="84" y="57"/>
                </a:moveTo>
                <a:cubicBezTo>
                  <a:pt x="84" y="57"/>
                  <a:pt x="84" y="57"/>
                  <a:pt x="84" y="57"/>
                </a:cubicBezTo>
                <a:cubicBezTo>
                  <a:pt x="84" y="56"/>
                  <a:pt x="84" y="56"/>
                  <a:pt x="83" y="56"/>
                </a:cubicBezTo>
                <a:cubicBezTo>
                  <a:pt x="83" y="56"/>
                  <a:pt x="84" y="56"/>
                  <a:pt x="84" y="57"/>
                </a:cubicBezTo>
                <a:close/>
                <a:moveTo>
                  <a:pt x="136" y="34"/>
                </a:moveTo>
                <a:cubicBezTo>
                  <a:pt x="136" y="33"/>
                  <a:pt x="136" y="33"/>
                  <a:pt x="136" y="33"/>
                </a:cubicBezTo>
                <a:cubicBezTo>
                  <a:pt x="136" y="32"/>
                  <a:pt x="135" y="33"/>
                  <a:pt x="135" y="33"/>
                </a:cubicBezTo>
                <a:cubicBezTo>
                  <a:pt x="135" y="34"/>
                  <a:pt x="136" y="34"/>
                  <a:pt x="136" y="34"/>
                </a:cubicBezTo>
                <a:close/>
                <a:moveTo>
                  <a:pt x="144" y="76"/>
                </a:moveTo>
                <a:cubicBezTo>
                  <a:pt x="143" y="76"/>
                  <a:pt x="143" y="76"/>
                  <a:pt x="142" y="76"/>
                </a:cubicBezTo>
                <a:cubicBezTo>
                  <a:pt x="141" y="76"/>
                  <a:pt x="142" y="78"/>
                  <a:pt x="142" y="79"/>
                </a:cubicBezTo>
                <a:cubicBezTo>
                  <a:pt x="141" y="80"/>
                  <a:pt x="143" y="79"/>
                  <a:pt x="144" y="79"/>
                </a:cubicBezTo>
                <a:cubicBezTo>
                  <a:pt x="145" y="78"/>
                  <a:pt x="145" y="78"/>
                  <a:pt x="145" y="77"/>
                </a:cubicBezTo>
                <a:cubicBezTo>
                  <a:pt x="145" y="76"/>
                  <a:pt x="144" y="77"/>
                  <a:pt x="144" y="76"/>
                </a:cubicBezTo>
                <a:close/>
                <a:moveTo>
                  <a:pt x="66" y="46"/>
                </a:moveTo>
                <a:cubicBezTo>
                  <a:pt x="67" y="46"/>
                  <a:pt x="67" y="45"/>
                  <a:pt x="67" y="44"/>
                </a:cubicBezTo>
                <a:cubicBezTo>
                  <a:pt x="67" y="43"/>
                  <a:pt x="67" y="43"/>
                  <a:pt x="66" y="42"/>
                </a:cubicBezTo>
                <a:cubicBezTo>
                  <a:pt x="66" y="42"/>
                  <a:pt x="65" y="42"/>
                  <a:pt x="65" y="43"/>
                </a:cubicBezTo>
                <a:cubicBezTo>
                  <a:pt x="64" y="43"/>
                  <a:pt x="64" y="42"/>
                  <a:pt x="64" y="43"/>
                </a:cubicBezTo>
                <a:cubicBezTo>
                  <a:pt x="63" y="43"/>
                  <a:pt x="64" y="44"/>
                  <a:pt x="64" y="44"/>
                </a:cubicBezTo>
                <a:cubicBezTo>
                  <a:pt x="64" y="45"/>
                  <a:pt x="64" y="47"/>
                  <a:pt x="66" y="46"/>
                </a:cubicBezTo>
                <a:close/>
                <a:moveTo>
                  <a:pt x="385" y="91"/>
                </a:moveTo>
                <a:cubicBezTo>
                  <a:pt x="385" y="91"/>
                  <a:pt x="385" y="91"/>
                  <a:pt x="385" y="90"/>
                </a:cubicBezTo>
                <a:cubicBezTo>
                  <a:pt x="385" y="91"/>
                  <a:pt x="384" y="92"/>
                  <a:pt x="385" y="92"/>
                </a:cubicBezTo>
                <a:cubicBezTo>
                  <a:pt x="386" y="92"/>
                  <a:pt x="385" y="91"/>
                  <a:pt x="385" y="91"/>
                </a:cubicBezTo>
                <a:close/>
                <a:moveTo>
                  <a:pt x="35" y="66"/>
                </a:moveTo>
                <a:cubicBezTo>
                  <a:pt x="35" y="66"/>
                  <a:pt x="35" y="65"/>
                  <a:pt x="34" y="65"/>
                </a:cubicBezTo>
                <a:cubicBezTo>
                  <a:pt x="34" y="65"/>
                  <a:pt x="34" y="65"/>
                  <a:pt x="34" y="65"/>
                </a:cubicBezTo>
                <a:cubicBezTo>
                  <a:pt x="34" y="66"/>
                  <a:pt x="34" y="66"/>
                  <a:pt x="34" y="66"/>
                </a:cubicBezTo>
                <a:cubicBezTo>
                  <a:pt x="34" y="66"/>
                  <a:pt x="34" y="67"/>
                  <a:pt x="35" y="67"/>
                </a:cubicBezTo>
                <a:cubicBezTo>
                  <a:pt x="35" y="68"/>
                  <a:pt x="36" y="69"/>
                  <a:pt x="36" y="69"/>
                </a:cubicBezTo>
                <a:cubicBezTo>
                  <a:pt x="36" y="69"/>
                  <a:pt x="36" y="68"/>
                  <a:pt x="36" y="68"/>
                </a:cubicBezTo>
                <a:cubicBezTo>
                  <a:pt x="36" y="67"/>
                  <a:pt x="35" y="67"/>
                  <a:pt x="35" y="66"/>
                </a:cubicBezTo>
                <a:close/>
                <a:moveTo>
                  <a:pt x="73" y="50"/>
                </a:moveTo>
                <a:cubicBezTo>
                  <a:pt x="73" y="51"/>
                  <a:pt x="74" y="51"/>
                  <a:pt x="74" y="51"/>
                </a:cubicBezTo>
                <a:cubicBezTo>
                  <a:pt x="74" y="52"/>
                  <a:pt x="74" y="50"/>
                  <a:pt x="74" y="49"/>
                </a:cubicBezTo>
                <a:cubicBezTo>
                  <a:pt x="74" y="48"/>
                  <a:pt x="72" y="48"/>
                  <a:pt x="71" y="48"/>
                </a:cubicBezTo>
                <a:cubicBezTo>
                  <a:pt x="71" y="48"/>
                  <a:pt x="70" y="47"/>
                  <a:pt x="70" y="48"/>
                </a:cubicBezTo>
                <a:cubicBezTo>
                  <a:pt x="69" y="48"/>
                  <a:pt x="70" y="48"/>
                  <a:pt x="70" y="49"/>
                </a:cubicBezTo>
                <a:cubicBezTo>
                  <a:pt x="71" y="50"/>
                  <a:pt x="72" y="49"/>
                  <a:pt x="73" y="50"/>
                </a:cubicBezTo>
                <a:close/>
                <a:moveTo>
                  <a:pt x="325" y="104"/>
                </a:moveTo>
                <a:cubicBezTo>
                  <a:pt x="325" y="104"/>
                  <a:pt x="325" y="105"/>
                  <a:pt x="325" y="105"/>
                </a:cubicBezTo>
                <a:cubicBezTo>
                  <a:pt x="325" y="105"/>
                  <a:pt x="326" y="105"/>
                  <a:pt x="326" y="105"/>
                </a:cubicBezTo>
                <a:cubicBezTo>
                  <a:pt x="327" y="105"/>
                  <a:pt x="326" y="104"/>
                  <a:pt x="325" y="104"/>
                </a:cubicBezTo>
                <a:close/>
                <a:moveTo>
                  <a:pt x="261" y="71"/>
                </a:moveTo>
                <a:cubicBezTo>
                  <a:pt x="261" y="71"/>
                  <a:pt x="262" y="71"/>
                  <a:pt x="262" y="71"/>
                </a:cubicBezTo>
                <a:cubicBezTo>
                  <a:pt x="262" y="71"/>
                  <a:pt x="263" y="71"/>
                  <a:pt x="263" y="71"/>
                </a:cubicBezTo>
                <a:cubicBezTo>
                  <a:pt x="263" y="70"/>
                  <a:pt x="263" y="70"/>
                  <a:pt x="262" y="70"/>
                </a:cubicBezTo>
                <a:cubicBezTo>
                  <a:pt x="262" y="70"/>
                  <a:pt x="261" y="70"/>
                  <a:pt x="261" y="70"/>
                </a:cubicBezTo>
                <a:cubicBezTo>
                  <a:pt x="261" y="70"/>
                  <a:pt x="260" y="71"/>
                  <a:pt x="260" y="71"/>
                </a:cubicBezTo>
                <a:cubicBezTo>
                  <a:pt x="260" y="72"/>
                  <a:pt x="261" y="71"/>
                  <a:pt x="261" y="71"/>
                </a:cubicBezTo>
                <a:close/>
                <a:moveTo>
                  <a:pt x="267" y="68"/>
                </a:moveTo>
                <a:cubicBezTo>
                  <a:pt x="267" y="68"/>
                  <a:pt x="267" y="69"/>
                  <a:pt x="267" y="69"/>
                </a:cubicBezTo>
                <a:cubicBezTo>
                  <a:pt x="267" y="69"/>
                  <a:pt x="267" y="68"/>
                  <a:pt x="267" y="68"/>
                </a:cubicBezTo>
                <a:cubicBezTo>
                  <a:pt x="267" y="68"/>
                  <a:pt x="266" y="68"/>
                  <a:pt x="266" y="67"/>
                </a:cubicBezTo>
                <a:cubicBezTo>
                  <a:pt x="266" y="68"/>
                  <a:pt x="267" y="68"/>
                  <a:pt x="267" y="68"/>
                </a:cubicBezTo>
                <a:close/>
                <a:moveTo>
                  <a:pt x="111" y="30"/>
                </a:moveTo>
                <a:cubicBezTo>
                  <a:pt x="110" y="30"/>
                  <a:pt x="110" y="29"/>
                  <a:pt x="110" y="29"/>
                </a:cubicBezTo>
                <a:cubicBezTo>
                  <a:pt x="110" y="29"/>
                  <a:pt x="111" y="29"/>
                  <a:pt x="111" y="29"/>
                </a:cubicBezTo>
                <a:cubicBezTo>
                  <a:pt x="111" y="29"/>
                  <a:pt x="111" y="28"/>
                  <a:pt x="110" y="28"/>
                </a:cubicBezTo>
                <a:cubicBezTo>
                  <a:pt x="110" y="28"/>
                  <a:pt x="110" y="29"/>
                  <a:pt x="110" y="29"/>
                </a:cubicBezTo>
                <a:cubicBezTo>
                  <a:pt x="110" y="29"/>
                  <a:pt x="110" y="30"/>
                  <a:pt x="111" y="30"/>
                </a:cubicBezTo>
                <a:close/>
                <a:moveTo>
                  <a:pt x="217" y="26"/>
                </a:moveTo>
                <a:cubicBezTo>
                  <a:pt x="216" y="26"/>
                  <a:pt x="217" y="27"/>
                  <a:pt x="217" y="27"/>
                </a:cubicBezTo>
                <a:cubicBezTo>
                  <a:pt x="218" y="27"/>
                  <a:pt x="219" y="27"/>
                  <a:pt x="219" y="27"/>
                </a:cubicBezTo>
                <a:cubicBezTo>
                  <a:pt x="220" y="27"/>
                  <a:pt x="217" y="26"/>
                  <a:pt x="217" y="26"/>
                </a:cubicBezTo>
                <a:close/>
                <a:moveTo>
                  <a:pt x="297" y="26"/>
                </a:moveTo>
                <a:cubicBezTo>
                  <a:pt x="297" y="26"/>
                  <a:pt x="297" y="28"/>
                  <a:pt x="298" y="28"/>
                </a:cubicBezTo>
                <a:cubicBezTo>
                  <a:pt x="298" y="28"/>
                  <a:pt x="298" y="28"/>
                  <a:pt x="298" y="28"/>
                </a:cubicBezTo>
                <a:cubicBezTo>
                  <a:pt x="298" y="28"/>
                  <a:pt x="298" y="28"/>
                  <a:pt x="298" y="28"/>
                </a:cubicBezTo>
                <a:cubicBezTo>
                  <a:pt x="298" y="28"/>
                  <a:pt x="298" y="28"/>
                  <a:pt x="299" y="28"/>
                </a:cubicBezTo>
                <a:cubicBezTo>
                  <a:pt x="299" y="28"/>
                  <a:pt x="299" y="27"/>
                  <a:pt x="298" y="26"/>
                </a:cubicBezTo>
                <a:cubicBezTo>
                  <a:pt x="298" y="26"/>
                  <a:pt x="297" y="24"/>
                  <a:pt x="296" y="25"/>
                </a:cubicBezTo>
                <a:cubicBezTo>
                  <a:pt x="296" y="25"/>
                  <a:pt x="296" y="26"/>
                  <a:pt x="297" y="26"/>
                </a:cubicBezTo>
                <a:close/>
                <a:moveTo>
                  <a:pt x="111" y="31"/>
                </a:moveTo>
                <a:cubicBezTo>
                  <a:pt x="111" y="30"/>
                  <a:pt x="110" y="29"/>
                  <a:pt x="110" y="31"/>
                </a:cubicBezTo>
                <a:cubicBezTo>
                  <a:pt x="110" y="31"/>
                  <a:pt x="110" y="31"/>
                  <a:pt x="111" y="31"/>
                </a:cubicBezTo>
                <a:close/>
                <a:moveTo>
                  <a:pt x="88" y="55"/>
                </a:moveTo>
                <a:cubicBezTo>
                  <a:pt x="89" y="55"/>
                  <a:pt x="88" y="54"/>
                  <a:pt x="88" y="54"/>
                </a:cubicBezTo>
                <a:cubicBezTo>
                  <a:pt x="88" y="54"/>
                  <a:pt x="87" y="54"/>
                  <a:pt x="87" y="54"/>
                </a:cubicBezTo>
                <a:cubicBezTo>
                  <a:pt x="88" y="55"/>
                  <a:pt x="88" y="55"/>
                  <a:pt x="88" y="55"/>
                </a:cubicBezTo>
                <a:close/>
                <a:moveTo>
                  <a:pt x="390" y="76"/>
                </a:moveTo>
                <a:cubicBezTo>
                  <a:pt x="390" y="77"/>
                  <a:pt x="390" y="77"/>
                  <a:pt x="389" y="77"/>
                </a:cubicBezTo>
                <a:cubicBezTo>
                  <a:pt x="389" y="77"/>
                  <a:pt x="389" y="76"/>
                  <a:pt x="389" y="76"/>
                </a:cubicBezTo>
                <a:cubicBezTo>
                  <a:pt x="389" y="76"/>
                  <a:pt x="389" y="76"/>
                  <a:pt x="389" y="76"/>
                </a:cubicBezTo>
                <a:cubicBezTo>
                  <a:pt x="388" y="75"/>
                  <a:pt x="388" y="77"/>
                  <a:pt x="388" y="77"/>
                </a:cubicBezTo>
                <a:cubicBezTo>
                  <a:pt x="389" y="78"/>
                  <a:pt x="390" y="77"/>
                  <a:pt x="390" y="76"/>
                </a:cubicBezTo>
                <a:close/>
                <a:moveTo>
                  <a:pt x="314" y="74"/>
                </a:moveTo>
                <a:cubicBezTo>
                  <a:pt x="316" y="75"/>
                  <a:pt x="315" y="73"/>
                  <a:pt x="315" y="72"/>
                </a:cubicBezTo>
                <a:cubicBezTo>
                  <a:pt x="314" y="72"/>
                  <a:pt x="313" y="74"/>
                  <a:pt x="314" y="74"/>
                </a:cubicBezTo>
                <a:close/>
                <a:moveTo>
                  <a:pt x="231" y="41"/>
                </a:moveTo>
                <a:cubicBezTo>
                  <a:pt x="231" y="41"/>
                  <a:pt x="230" y="41"/>
                  <a:pt x="230" y="40"/>
                </a:cubicBezTo>
                <a:cubicBezTo>
                  <a:pt x="230" y="40"/>
                  <a:pt x="231" y="40"/>
                  <a:pt x="231" y="40"/>
                </a:cubicBezTo>
                <a:cubicBezTo>
                  <a:pt x="231" y="40"/>
                  <a:pt x="230" y="40"/>
                  <a:pt x="230" y="40"/>
                </a:cubicBezTo>
                <a:cubicBezTo>
                  <a:pt x="230" y="41"/>
                  <a:pt x="231" y="41"/>
                  <a:pt x="231" y="41"/>
                </a:cubicBezTo>
                <a:close/>
                <a:moveTo>
                  <a:pt x="272" y="177"/>
                </a:moveTo>
                <a:cubicBezTo>
                  <a:pt x="272" y="177"/>
                  <a:pt x="271" y="178"/>
                  <a:pt x="271" y="178"/>
                </a:cubicBezTo>
                <a:cubicBezTo>
                  <a:pt x="271" y="179"/>
                  <a:pt x="271" y="179"/>
                  <a:pt x="272" y="179"/>
                </a:cubicBezTo>
                <a:cubicBezTo>
                  <a:pt x="272" y="178"/>
                  <a:pt x="272" y="179"/>
                  <a:pt x="272" y="179"/>
                </a:cubicBezTo>
                <a:cubicBezTo>
                  <a:pt x="272" y="179"/>
                  <a:pt x="272" y="178"/>
                  <a:pt x="272" y="178"/>
                </a:cubicBezTo>
                <a:cubicBezTo>
                  <a:pt x="273" y="178"/>
                  <a:pt x="274" y="176"/>
                  <a:pt x="272" y="177"/>
                </a:cubicBezTo>
                <a:close/>
                <a:moveTo>
                  <a:pt x="391" y="82"/>
                </a:moveTo>
                <a:cubicBezTo>
                  <a:pt x="391" y="82"/>
                  <a:pt x="392" y="82"/>
                  <a:pt x="392" y="82"/>
                </a:cubicBezTo>
                <a:cubicBezTo>
                  <a:pt x="393" y="82"/>
                  <a:pt x="393" y="82"/>
                  <a:pt x="393" y="82"/>
                </a:cubicBezTo>
                <a:cubicBezTo>
                  <a:pt x="392" y="81"/>
                  <a:pt x="392" y="82"/>
                  <a:pt x="391" y="82"/>
                </a:cubicBezTo>
                <a:cubicBezTo>
                  <a:pt x="391" y="81"/>
                  <a:pt x="391" y="82"/>
                  <a:pt x="391" y="82"/>
                </a:cubicBezTo>
                <a:close/>
                <a:moveTo>
                  <a:pt x="382" y="86"/>
                </a:moveTo>
                <a:cubicBezTo>
                  <a:pt x="382" y="87"/>
                  <a:pt x="382" y="85"/>
                  <a:pt x="382" y="84"/>
                </a:cubicBezTo>
                <a:cubicBezTo>
                  <a:pt x="382" y="84"/>
                  <a:pt x="381" y="86"/>
                  <a:pt x="382" y="86"/>
                </a:cubicBezTo>
                <a:close/>
                <a:moveTo>
                  <a:pt x="71" y="124"/>
                </a:moveTo>
                <a:cubicBezTo>
                  <a:pt x="71" y="124"/>
                  <a:pt x="70" y="123"/>
                  <a:pt x="70" y="123"/>
                </a:cubicBezTo>
                <a:cubicBezTo>
                  <a:pt x="69" y="124"/>
                  <a:pt x="70" y="124"/>
                  <a:pt x="70" y="125"/>
                </a:cubicBezTo>
                <a:cubicBezTo>
                  <a:pt x="71" y="126"/>
                  <a:pt x="71" y="125"/>
                  <a:pt x="72" y="126"/>
                </a:cubicBezTo>
                <a:cubicBezTo>
                  <a:pt x="72" y="125"/>
                  <a:pt x="71" y="125"/>
                  <a:pt x="72" y="125"/>
                </a:cubicBezTo>
                <a:cubicBezTo>
                  <a:pt x="72" y="125"/>
                  <a:pt x="72" y="125"/>
                  <a:pt x="72" y="125"/>
                </a:cubicBezTo>
                <a:cubicBezTo>
                  <a:pt x="72" y="124"/>
                  <a:pt x="72" y="124"/>
                  <a:pt x="71" y="124"/>
                </a:cubicBezTo>
                <a:close/>
                <a:moveTo>
                  <a:pt x="334" y="151"/>
                </a:moveTo>
                <a:cubicBezTo>
                  <a:pt x="333" y="151"/>
                  <a:pt x="334" y="154"/>
                  <a:pt x="335" y="154"/>
                </a:cubicBezTo>
                <a:cubicBezTo>
                  <a:pt x="336" y="154"/>
                  <a:pt x="336" y="152"/>
                  <a:pt x="336" y="152"/>
                </a:cubicBezTo>
                <a:cubicBezTo>
                  <a:pt x="337" y="151"/>
                  <a:pt x="335" y="151"/>
                  <a:pt x="334" y="151"/>
                </a:cubicBezTo>
                <a:close/>
                <a:moveTo>
                  <a:pt x="314" y="71"/>
                </a:moveTo>
                <a:cubicBezTo>
                  <a:pt x="314" y="71"/>
                  <a:pt x="315" y="70"/>
                  <a:pt x="315" y="69"/>
                </a:cubicBezTo>
                <a:cubicBezTo>
                  <a:pt x="315" y="69"/>
                  <a:pt x="315" y="69"/>
                  <a:pt x="315" y="69"/>
                </a:cubicBezTo>
                <a:cubicBezTo>
                  <a:pt x="315" y="68"/>
                  <a:pt x="315" y="68"/>
                  <a:pt x="315" y="68"/>
                </a:cubicBezTo>
                <a:cubicBezTo>
                  <a:pt x="314" y="68"/>
                  <a:pt x="314" y="68"/>
                  <a:pt x="313" y="68"/>
                </a:cubicBezTo>
                <a:cubicBezTo>
                  <a:pt x="313" y="69"/>
                  <a:pt x="313" y="69"/>
                  <a:pt x="313" y="69"/>
                </a:cubicBezTo>
                <a:cubicBezTo>
                  <a:pt x="313" y="70"/>
                  <a:pt x="313" y="71"/>
                  <a:pt x="314" y="71"/>
                </a:cubicBezTo>
                <a:close/>
                <a:moveTo>
                  <a:pt x="91" y="57"/>
                </a:moveTo>
                <a:cubicBezTo>
                  <a:pt x="91" y="56"/>
                  <a:pt x="92" y="56"/>
                  <a:pt x="91" y="56"/>
                </a:cubicBezTo>
                <a:cubicBezTo>
                  <a:pt x="91" y="55"/>
                  <a:pt x="90" y="55"/>
                  <a:pt x="90" y="55"/>
                </a:cubicBezTo>
                <a:cubicBezTo>
                  <a:pt x="90" y="55"/>
                  <a:pt x="91" y="56"/>
                  <a:pt x="91" y="57"/>
                </a:cubicBezTo>
                <a:close/>
                <a:moveTo>
                  <a:pt x="274" y="105"/>
                </a:moveTo>
                <a:cubicBezTo>
                  <a:pt x="274" y="105"/>
                  <a:pt x="274" y="105"/>
                  <a:pt x="274" y="105"/>
                </a:cubicBezTo>
                <a:cubicBezTo>
                  <a:pt x="274" y="105"/>
                  <a:pt x="274" y="104"/>
                  <a:pt x="274" y="104"/>
                </a:cubicBezTo>
                <a:cubicBezTo>
                  <a:pt x="273" y="104"/>
                  <a:pt x="273" y="105"/>
                  <a:pt x="274" y="105"/>
                </a:cubicBezTo>
                <a:close/>
                <a:moveTo>
                  <a:pt x="99" y="137"/>
                </a:moveTo>
                <a:cubicBezTo>
                  <a:pt x="99" y="137"/>
                  <a:pt x="97" y="138"/>
                  <a:pt x="98" y="138"/>
                </a:cubicBezTo>
                <a:cubicBezTo>
                  <a:pt x="98" y="138"/>
                  <a:pt x="98" y="138"/>
                  <a:pt x="98" y="138"/>
                </a:cubicBezTo>
                <a:cubicBezTo>
                  <a:pt x="99" y="138"/>
                  <a:pt x="98" y="139"/>
                  <a:pt x="98" y="139"/>
                </a:cubicBezTo>
                <a:cubicBezTo>
                  <a:pt x="98" y="139"/>
                  <a:pt x="99" y="138"/>
                  <a:pt x="99" y="138"/>
                </a:cubicBezTo>
                <a:cubicBezTo>
                  <a:pt x="99" y="138"/>
                  <a:pt x="99" y="137"/>
                  <a:pt x="99" y="137"/>
                </a:cubicBezTo>
                <a:close/>
                <a:moveTo>
                  <a:pt x="302" y="87"/>
                </a:moveTo>
                <a:cubicBezTo>
                  <a:pt x="301" y="87"/>
                  <a:pt x="301" y="88"/>
                  <a:pt x="301" y="88"/>
                </a:cubicBezTo>
                <a:cubicBezTo>
                  <a:pt x="301" y="89"/>
                  <a:pt x="302" y="90"/>
                  <a:pt x="302" y="90"/>
                </a:cubicBezTo>
                <a:cubicBezTo>
                  <a:pt x="302" y="91"/>
                  <a:pt x="302" y="93"/>
                  <a:pt x="303" y="93"/>
                </a:cubicBezTo>
                <a:cubicBezTo>
                  <a:pt x="303" y="92"/>
                  <a:pt x="303" y="90"/>
                  <a:pt x="302" y="90"/>
                </a:cubicBezTo>
                <a:cubicBezTo>
                  <a:pt x="302" y="90"/>
                  <a:pt x="302" y="89"/>
                  <a:pt x="302" y="88"/>
                </a:cubicBezTo>
                <a:cubicBezTo>
                  <a:pt x="302" y="88"/>
                  <a:pt x="302" y="87"/>
                  <a:pt x="302" y="87"/>
                </a:cubicBezTo>
                <a:close/>
                <a:moveTo>
                  <a:pt x="420" y="157"/>
                </a:moveTo>
                <a:cubicBezTo>
                  <a:pt x="421" y="157"/>
                  <a:pt x="423" y="158"/>
                  <a:pt x="424" y="158"/>
                </a:cubicBezTo>
                <a:cubicBezTo>
                  <a:pt x="424" y="157"/>
                  <a:pt x="423" y="156"/>
                  <a:pt x="423" y="155"/>
                </a:cubicBezTo>
                <a:cubicBezTo>
                  <a:pt x="423" y="154"/>
                  <a:pt x="420" y="157"/>
                  <a:pt x="420" y="157"/>
                </a:cubicBezTo>
                <a:close/>
                <a:moveTo>
                  <a:pt x="278" y="84"/>
                </a:moveTo>
                <a:cubicBezTo>
                  <a:pt x="278" y="84"/>
                  <a:pt x="279" y="84"/>
                  <a:pt x="279" y="84"/>
                </a:cubicBezTo>
                <a:cubicBezTo>
                  <a:pt x="279" y="84"/>
                  <a:pt x="279" y="84"/>
                  <a:pt x="279" y="84"/>
                </a:cubicBezTo>
                <a:cubicBezTo>
                  <a:pt x="279" y="83"/>
                  <a:pt x="279" y="83"/>
                  <a:pt x="279" y="83"/>
                </a:cubicBezTo>
                <a:cubicBezTo>
                  <a:pt x="279" y="83"/>
                  <a:pt x="279" y="82"/>
                  <a:pt x="278" y="82"/>
                </a:cubicBezTo>
                <a:cubicBezTo>
                  <a:pt x="278" y="82"/>
                  <a:pt x="278" y="82"/>
                  <a:pt x="278" y="82"/>
                </a:cubicBezTo>
                <a:cubicBezTo>
                  <a:pt x="278" y="83"/>
                  <a:pt x="278" y="83"/>
                  <a:pt x="278" y="83"/>
                </a:cubicBezTo>
                <a:cubicBezTo>
                  <a:pt x="278" y="83"/>
                  <a:pt x="278" y="84"/>
                  <a:pt x="278" y="84"/>
                </a:cubicBezTo>
                <a:close/>
                <a:moveTo>
                  <a:pt x="105" y="34"/>
                </a:moveTo>
                <a:cubicBezTo>
                  <a:pt x="105" y="34"/>
                  <a:pt x="106" y="34"/>
                  <a:pt x="106" y="34"/>
                </a:cubicBezTo>
                <a:cubicBezTo>
                  <a:pt x="106" y="34"/>
                  <a:pt x="105" y="34"/>
                  <a:pt x="106" y="34"/>
                </a:cubicBezTo>
                <a:cubicBezTo>
                  <a:pt x="106" y="33"/>
                  <a:pt x="106" y="33"/>
                  <a:pt x="106" y="33"/>
                </a:cubicBezTo>
                <a:cubicBezTo>
                  <a:pt x="106" y="33"/>
                  <a:pt x="106" y="32"/>
                  <a:pt x="106" y="33"/>
                </a:cubicBezTo>
                <a:cubicBezTo>
                  <a:pt x="106" y="32"/>
                  <a:pt x="106" y="33"/>
                  <a:pt x="105" y="32"/>
                </a:cubicBezTo>
                <a:cubicBezTo>
                  <a:pt x="105" y="32"/>
                  <a:pt x="105" y="32"/>
                  <a:pt x="105" y="32"/>
                </a:cubicBezTo>
                <a:cubicBezTo>
                  <a:pt x="105" y="32"/>
                  <a:pt x="105" y="32"/>
                  <a:pt x="105" y="33"/>
                </a:cubicBezTo>
                <a:cubicBezTo>
                  <a:pt x="105" y="33"/>
                  <a:pt x="105" y="34"/>
                  <a:pt x="105" y="34"/>
                </a:cubicBezTo>
                <a:close/>
                <a:moveTo>
                  <a:pt x="317" y="79"/>
                </a:moveTo>
                <a:cubicBezTo>
                  <a:pt x="317" y="79"/>
                  <a:pt x="317" y="79"/>
                  <a:pt x="318" y="79"/>
                </a:cubicBezTo>
                <a:cubicBezTo>
                  <a:pt x="318" y="79"/>
                  <a:pt x="319" y="79"/>
                  <a:pt x="319" y="79"/>
                </a:cubicBezTo>
                <a:cubicBezTo>
                  <a:pt x="319" y="79"/>
                  <a:pt x="319" y="79"/>
                  <a:pt x="319" y="79"/>
                </a:cubicBezTo>
                <a:cubicBezTo>
                  <a:pt x="318" y="78"/>
                  <a:pt x="318" y="78"/>
                  <a:pt x="318" y="78"/>
                </a:cubicBezTo>
                <a:cubicBezTo>
                  <a:pt x="317" y="78"/>
                  <a:pt x="316" y="79"/>
                  <a:pt x="317" y="79"/>
                </a:cubicBezTo>
                <a:close/>
                <a:moveTo>
                  <a:pt x="327" y="104"/>
                </a:moveTo>
                <a:cubicBezTo>
                  <a:pt x="326" y="104"/>
                  <a:pt x="327" y="105"/>
                  <a:pt x="327" y="105"/>
                </a:cubicBezTo>
                <a:cubicBezTo>
                  <a:pt x="327" y="105"/>
                  <a:pt x="327" y="105"/>
                  <a:pt x="327" y="105"/>
                </a:cubicBezTo>
                <a:cubicBezTo>
                  <a:pt x="328" y="104"/>
                  <a:pt x="328" y="105"/>
                  <a:pt x="328" y="105"/>
                </a:cubicBezTo>
                <a:cubicBezTo>
                  <a:pt x="328" y="105"/>
                  <a:pt x="328" y="104"/>
                  <a:pt x="328" y="104"/>
                </a:cubicBezTo>
                <a:cubicBezTo>
                  <a:pt x="328" y="104"/>
                  <a:pt x="327" y="104"/>
                  <a:pt x="327" y="104"/>
                </a:cubicBezTo>
                <a:close/>
                <a:moveTo>
                  <a:pt x="24" y="43"/>
                </a:moveTo>
                <a:cubicBezTo>
                  <a:pt x="24" y="42"/>
                  <a:pt x="24" y="41"/>
                  <a:pt x="23" y="41"/>
                </a:cubicBezTo>
                <a:cubicBezTo>
                  <a:pt x="23" y="41"/>
                  <a:pt x="23" y="41"/>
                  <a:pt x="23" y="41"/>
                </a:cubicBezTo>
                <a:cubicBezTo>
                  <a:pt x="22" y="41"/>
                  <a:pt x="23" y="41"/>
                  <a:pt x="22" y="41"/>
                </a:cubicBezTo>
                <a:cubicBezTo>
                  <a:pt x="21" y="41"/>
                  <a:pt x="23" y="41"/>
                  <a:pt x="23" y="42"/>
                </a:cubicBezTo>
                <a:cubicBezTo>
                  <a:pt x="23" y="42"/>
                  <a:pt x="24" y="43"/>
                  <a:pt x="24" y="4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5" name="Indian Claim"/>
          <p:cNvSpPr>
            <a:spLocks noEditPoints="1"/>
          </p:cNvSpPr>
          <p:nvPr/>
        </p:nvSpPr>
        <p:spPr bwMode="auto">
          <a:xfrm>
            <a:off x="8381985" y="3234991"/>
            <a:ext cx="86997" cy="100996"/>
          </a:xfrm>
          <a:custGeom>
            <a:avLst/>
            <a:gdLst/>
            <a:ahLst/>
            <a:cxnLst>
              <a:cxn ang="0">
                <a:pos x="23" y="9"/>
              </a:cxn>
              <a:cxn ang="0">
                <a:pos x="23" y="13"/>
              </a:cxn>
              <a:cxn ang="0">
                <a:pos x="22" y="14"/>
              </a:cxn>
              <a:cxn ang="0">
                <a:pos x="21" y="15"/>
              </a:cxn>
              <a:cxn ang="0">
                <a:pos x="18" y="17"/>
              </a:cxn>
              <a:cxn ang="0">
                <a:pos x="19" y="20"/>
              </a:cxn>
              <a:cxn ang="0">
                <a:pos x="19" y="21"/>
              </a:cxn>
              <a:cxn ang="0">
                <a:pos x="16" y="21"/>
              </a:cxn>
              <a:cxn ang="0">
                <a:pos x="15" y="24"/>
              </a:cxn>
              <a:cxn ang="0">
                <a:pos x="15" y="25"/>
              </a:cxn>
              <a:cxn ang="0">
                <a:pos x="16" y="26"/>
              </a:cxn>
              <a:cxn ang="0">
                <a:pos x="15" y="26"/>
              </a:cxn>
              <a:cxn ang="0">
                <a:pos x="15" y="28"/>
              </a:cxn>
              <a:cxn ang="0">
                <a:pos x="12" y="20"/>
              </a:cxn>
              <a:cxn ang="0">
                <a:pos x="14" y="19"/>
              </a:cxn>
              <a:cxn ang="0">
                <a:pos x="14" y="18"/>
              </a:cxn>
              <a:cxn ang="0">
                <a:pos x="6" y="13"/>
              </a:cxn>
              <a:cxn ang="0">
                <a:pos x="4" y="11"/>
              </a:cxn>
              <a:cxn ang="0">
                <a:pos x="3" y="9"/>
              </a:cxn>
              <a:cxn ang="0">
                <a:pos x="2" y="5"/>
              </a:cxn>
              <a:cxn ang="0">
                <a:pos x="0" y="5"/>
              </a:cxn>
              <a:cxn ang="0">
                <a:pos x="1" y="5"/>
              </a:cxn>
              <a:cxn ang="0">
                <a:pos x="1" y="5"/>
              </a:cxn>
              <a:cxn ang="0">
                <a:pos x="3" y="4"/>
              </a:cxn>
              <a:cxn ang="0">
                <a:pos x="5" y="2"/>
              </a:cxn>
              <a:cxn ang="0">
                <a:pos x="13" y="0"/>
              </a:cxn>
              <a:cxn ang="0">
                <a:pos x="14" y="1"/>
              </a:cxn>
              <a:cxn ang="0">
                <a:pos x="16" y="2"/>
              </a:cxn>
              <a:cxn ang="0">
                <a:pos x="16" y="2"/>
              </a:cxn>
              <a:cxn ang="0">
                <a:pos x="19" y="4"/>
              </a:cxn>
              <a:cxn ang="0">
                <a:pos x="20" y="6"/>
              </a:cxn>
              <a:cxn ang="0">
                <a:pos x="21" y="6"/>
              </a:cxn>
              <a:cxn ang="0">
                <a:pos x="21" y="5"/>
              </a:cxn>
              <a:cxn ang="0">
                <a:pos x="22" y="5"/>
              </a:cxn>
              <a:cxn ang="0">
                <a:pos x="23" y="5"/>
              </a:cxn>
              <a:cxn ang="0">
                <a:pos x="15" y="27"/>
              </a:cxn>
              <a:cxn ang="0">
                <a:pos x="15" y="26"/>
              </a:cxn>
              <a:cxn ang="0">
                <a:pos x="16" y="25"/>
              </a:cxn>
              <a:cxn ang="0">
                <a:pos x="15" y="24"/>
              </a:cxn>
              <a:cxn ang="0">
                <a:pos x="14" y="27"/>
              </a:cxn>
              <a:cxn ang="0">
                <a:pos x="23" y="11"/>
              </a:cxn>
              <a:cxn ang="0">
                <a:pos x="23" y="9"/>
              </a:cxn>
              <a:cxn ang="0">
                <a:pos x="12" y="17"/>
              </a:cxn>
              <a:cxn ang="0">
                <a:pos x="14" y="18"/>
              </a:cxn>
              <a:cxn ang="0">
                <a:pos x="14" y="19"/>
              </a:cxn>
              <a:cxn ang="0">
                <a:pos x="23" y="11"/>
              </a:cxn>
              <a:cxn ang="0">
                <a:pos x="19" y="21"/>
              </a:cxn>
              <a:cxn ang="0">
                <a:pos x="18" y="21"/>
              </a:cxn>
              <a:cxn ang="0">
                <a:pos x="19" y="4"/>
              </a:cxn>
              <a:cxn ang="0">
                <a:pos x="9" y="15"/>
              </a:cxn>
              <a:cxn ang="0">
                <a:pos x="1" y="5"/>
              </a:cxn>
              <a:cxn ang="0">
                <a:pos x="1" y="5"/>
              </a:cxn>
              <a:cxn ang="0">
                <a:pos x="2" y="5"/>
              </a:cxn>
              <a:cxn ang="0">
                <a:pos x="14" y="1"/>
              </a:cxn>
              <a:cxn ang="0">
                <a:pos x="13" y="0"/>
              </a:cxn>
              <a:cxn ang="0">
                <a:pos x="4" y="10"/>
              </a:cxn>
              <a:cxn ang="0">
                <a:pos x="4" y="11"/>
              </a:cxn>
            </a:cxnLst>
            <a:rect l="0" t="0" r="r" b="b"/>
            <a:pathLst>
              <a:path w="24" h="28">
                <a:moveTo>
                  <a:pt x="23" y="7"/>
                </a:moveTo>
                <a:cubicBezTo>
                  <a:pt x="23" y="7"/>
                  <a:pt x="23" y="7"/>
                  <a:pt x="23" y="7"/>
                </a:cubicBezTo>
                <a:cubicBezTo>
                  <a:pt x="23" y="7"/>
                  <a:pt x="23" y="8"/>
                  <a:pt x="23" y="8"/>
                </a:cubicBezTo>
                <a:cubicBezTo>
                  <a:pt x="23" y="8"/>
                  <a:pt x="23" y="8"/>
                  <a:pt x="23" y="9"/>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10"/>
                  <a:pt x="23" y="10"/>
                  <a:pt x="23" y="10"/>
                </a:cubicBezTo>
                <a:cubicBezTo>
                  <a:pt x="23" y="10"/>
                  <a:pt x="23" y="10"/>
                  <a:pt x="23" y="10"/>
                </a:cubicBezTo>
                <a:cubicBezTo>
                  <a:pt x="23" y="11"/>
                  <a:pt x="23" y="11"/>
                  <a:pt x="23" y="11"/>
                </a:cubicBezTo>
                <a:cubicBezTo>
                  <a:pt x="23" y="11"/>
                  <a:pt x="23" y="11"/>
                  <a:pt x="23" y="11"/>
                </a:cubicBezTo>
                <a:cubicBezTo>
                  <a:pt x="23" y="12"/>
                  <a:pt x="23" y="12"/>
                  <a:pt x="23" y="13"/>
                </a:cubicBezTo>
                <a:cubicBezTo>
                  <a:pt x="23" y="14"/>
                  <a:pt x="23" y="14"/>
                  <a:pt x="23" y="14"/>
                </a:cubicBezTo>
                <a:cubicBezTo>
                  <a:pt x="23" y="14"/>
                  <a:pt x="23" y="14"/>
                  <a:pt x="23" y="14"/>
                </a:cubicBezTo>
                <a:cubicBezTo>
                  <a:pt x="23" y="14"/>
                  <a:pt x="23" y="14"/>
                  <a:pt x="23" y="14"/>
                </a:cubicBezTo>
                <a:cubicBezTo>
                  <a:pt x="23" y="14"/>
                  <a:pt x="23" y="14"/>
                  <a:pt x="23" y="14"/>
                </a:cubicBezTo>
                <a:cubicBezTo>
                  <a:pt x="23" y="14"/>
                  <a:pt x="23" y="14"/>
                  <a:pt x="23" y="14"/>
                </a:cubicBezTo>
                <a:cubicBezTo>
                  <a:pt x="22" y="14"/>
                  <a:pt x="22" y="14"/>
                  <a:pt x="22" y="14"/>
                </a:cubicBezTo>
                <a:cubicBezTo>
                  <a:pt x="22" y="14"/>
                  <a:pt x="22" y="14"/>
                  <a:pt x="22" y="14"/>
                </a:cubicBezTo>
                <a:cubicBezTo>
                  <a:pt x="22" y="14"/>
                  <a:pt x="22" y="14"/>
                  <a:pt x="22" y="14"/>
                </a:cubicBezTo>
                <a:cubicBezTo>
                  <a:pt x="22" y="14"/>
                  <a:pt x="22" y="14"/>
                  <a:pt x="22" y="14"/>
                </a:cubicBezTo>
                <a:cubicBezTo>
                  <a:pt x="22" y="14"/>
                  <a:pt x="22" y="14"/>
                  <a:pt x="22" y="14"/>
                </a:cubicBezTo>
                <a:cubicBezTo>
                  <a:pt x="21" y="14"/>
                  <a:pt x="21" y="14"/>
                  <a:pt x="21" y="14"/>
                </a:cubicBezTo>
                <a:cubicBezTo>
                  <a:pt x="21" y="14"/>
                  <a:pt x="21" y="14"/>
                  <a:pt x="21" y="14"/>
                </a:cubicBezTo>
                <a:cubicBezTo>
                  <a:pt x="21" y="14"/>
                  <a:pt x="21" y="14"/>
                  <a:pt x="21" y="14"/>
                </a:cubicBezTo>
                <a:cubicBezTo>
                  <a:pt x="21" y="14"/>
                  <a:pt x="21" y="15"/>
                  <a:pt x="21" y="15"/>
                </a:cubicBezTo>
                <a:cubicBezTo>
                  <a:pt x="21" y="16"/>
                  <a:pt x="20" y="15"/>
                  <a:pt x="20" y="16"/>
                </a:cubicBezTo>
                <a:cubicBezTo>
                  <a:pt x="20" y="16"/>
                  <a:pt x="20" y="16"/>
                  <a:pt x="20" y="16"/>
                </a:cubicBezTo>
                <a:cubicBezTo>
                  <a:pt x="20" y="16"/>
                  <a:pt x="20" y="16"/>
                  <a:pt x="20" y="16"/>
                </a:cubicBezTo>
                <a:cubicBezTo>
                  <a:pt x="20" y="17"/>
                  <a:pt x="20" y="17"/>
                  <a:pt x="20" y="17"/>
                </a:cubicBezTo>
                <a:cubicBezTo>
                  <a:pt x="20" y="17"/>
                  <a:pt x="19" y="17"/>
                  <a:pt x="19" y="17"/>
                </a:cubicBezTo>
                <a:cubicBezTo>
                  <a:pt x="19" y="17"/>
                  <a:pt x="19" y="17"/>
                  <a:pt x="19" y="17"/>
                </a:cubicBezTo>
                <a:cubicBezTo>
                  <a:pt x="18" y="17"/>
                  <a:pt x="18" y="17"/>
                  <a:pt x="18" y="17"/>
                </a:cubicBezTo>
                <a:cubicBezTo>
                  <a:pt x="18" y="17"/>
                  <a:pt x="19" y="18"/>
                  <a:pt x="19" y="18"/>
                </a:cubicBezTo>
                <a:cubicBezTo>
                  <a:pt x="19" y="18"/>
                  <a:pt x="19" y="19"/>
                  <a:pt x="19" y="19"/>
                </a:cubicBezTo>
                <a:cubicBezTo>
                  <a:pt x="19" y="19"/>
                  <a:pt x="19" y="19"/>
                  <a:pt x="19" y="19"/>
                </a:cubicBezTo>
                <a:cubicBezTo>
                  <a:pt x="19" y="20"/>
                  <a:pt x="19" y="19"/>
                  <a:pt x="19" y="19"/>
                </a:cubicBezTo>
                <a:cubicBezTo>
                  <a:pt x="19" y="19"/>
                  <a:pt x="19" y="19"/>
                  <a:pt x="19" y="19"/>
                </a:cubicBezTo>
                <a:cubicBezTo>
                  <a:pt x="19" y="19"/>
                  <a:pt x="19" y="19"/>
                  <a:pt x="19" y="19"/>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0"/>
                  <a:pt x="19" y="20"/>
                  <a:pt x="19" y="20"/>
                </a:cubicBezTo>
                <a:cubicBezTo>
                  <a:pt x="19" y="21"/>
                  <a:pt x="19" y="21"/>
                  <a:pt x="19" y="21"/>
                </a:cubicBezTo>
                <a:cubicBezTo>
                  <a:pt x="19" y="21"/>
                  <a:pt x="19" y="21"/>
                  <a:pt x="19" y="21"/>
                </a:cubicBezTo>
                <a:cubicBezTo>
                  <a:pt x="19" y="21"/>
                  <a:pt x="19" y="21"/>
                  <a:pt x="19" y="21"/>
                </a:cubicBezTo>
                <a:cubicBezTo>
                  <a:pt x="19" y="21"/>
                  <a:pt x="19" y="21"/>
                  <a:pt x="19" y="21"/>
                </a:cubicBezTo>
                <a:cubicBezTo>
                  <a:pt x="19" y="21"/>
                  <a:pt x="19" y="21"/>
                  <a:pt x="18" y="21"/>
                </a:cubicBezTo>
                <a:cubicBezTo>
                  <a:pt x="18" y="21"/>
                  <a:pt x="18" y="21"/>
                  <a:pt x="18" y="21"/>
                </a:cubicBezTo>
                <a:cubicBezTo>
                  <a:pt x="18" y="21"/>
                  <a:pt x="18" y="21"/>
                  <a:pt x="18" y="21"/>
                </a:cubicBezTo>
                <a:cubicBezTo>
                  <a:pt x="17" y="21"/>
                  <a:pt x="17" y="21"/>
                  <a:pt x="16" y="21"/>
                </a:cubicBezTo>
                <a:cubicBezTo>
                  <a:pt x="16" y="21"/>
                  <a:pt x="16" y="21"/>
                  <a:pt x="15" y="22"/>
                </a:cubicBezTo>
                <a:cubicBezTo>
                  <a:pt x="15" y="22"/>
                  <a:pt x="15" y="21"/>
                  <a:pt x="15" y="21"/>
                </a:cubicBezTo>
                <a:cubicBezTo>
                  <a:pt x="14" y="21"/>
                  <a:pt x="14" y="21"/>
                  <a:pt x="14" y="21"/>
                </a:cubicBezTo>
                <a:cubicBezTo>
                  <a:pt x="14" y="22"/>
                  <a:pt x="14" y="22"/>
                  <a:pt x="14" y="22"/>
                </a:cubicBezTo>
                <a:cubicBezTo>
                  <a:pt x="14" y="22"/>
                  <a:pt x="14" y="22"/>
                  <a:pt x="14" y="22"/>
                </a:cubicBezTo>
                <a:cubicBezTo>
                  <a:pt x="14" y="23"/>
                  <a:pt x="14" y="23"/>
                  <a:pt x="14" y="23"/>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5"/>
                  <a:pt x="15" y="25"/>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6" y="26"/>
                  <a:pt x="16" y="26"/>
                  <a:pt x="16" y="26"/>
                </a:cubicBezTo>
                <a:cubicBezTo>
                  <a:pt x="16"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7"/>
                  <a:pt x="15" y="27"/>
                  <a:pt x="15" y="27"/>
                </a:cubicBezTo>
                <a:cubicBezTo>
                  <a:pt x="15" y="27"/>
                  <a:pt x="15" y="27"/>
                  <a:pt x="15" y="27"/>
                </a:cubicBezTo>
                <a:cubicBezTo>
                  <a:pt x="15" y="27"/>
                  <a:pt x="15" y="27"/>
                  <a:pt x="15" y="27"/>
                </a:cubicBezTo>
                <a:cubicBezTo>
                  <a:pt x="15" y="27"/>
                  <a:pt x="15" y="27"/>
                  <a:pt x="15" y="27"/>
                </a:cubicBezTo>
                <a:cubicBezTo>
                  <a:pt x="15" y="27"/>
                  <a:pt x="15" y="27"/>
                  <a:pt x="15" y="27"/>
                </a:cubicBezTo>
                <a:cubicBezTo>
                  <a:pt x="15" y="27"/>
                  <a:pt x="15" y="27"/>
                  <a:pt x="15" y="27"/>
                </a:cubicBezTo>
                <a:cubicBezTo>
                  <a:pt x="15" y="28"/>
                  <a:pt x="15" y="28"/>
                  <a:pt x="15" y="28"/>
                </a:cubicBezTo>
                <a:cubicBezTo>
                  <a:pt x="15" y="28"/>
                  <a:pt x="14" y="28"/>
                  <a:pt x="14" y="27"/>
                </a:cubicBezTo>
                <a:cubicBezTo>
                  <a:pt x="14" y="27"/>
                  <a:pt x="14" y="27"/>
                  <a:pt x="14" y="27"/>
                </a:cubicBezTo>
                <a:cubicBezTo>
                  <a:pt x="14" y="27"/>
                  <a:pt x="14" y="27"/>
                  <a:pt x="14" y="27"/>
                </a:cubicBezTo>
                <a:cubicBezTo>
                  <a:pt x="14" y="27"/>
                  <a:pt x="14" y="27"/>
                  <a:pt x="14" y="27"/>
                </a:cubicBezTo>
                <a:cubicBezTo>
                  <a:pt x="14" y="26"/>
                  <a:pt x="14" y="26"/>
                  <a:pt x="14" y="26"/>
                </a:cubicBezTo>
                <a:cubicBezTo>
                  <a:pt x="13" y="24"/>
                  <a:pt x="13" y="23"/>
                  <a:pt x="12" y="21"/>
                </a:cubicBezTo>
                <a:cubicBezTo>
                  <a:pt x="12" y="21"/>
                  <a:pt x="12" y="20"/>
                  <a:pt x="12" y="20"/>
                </a:cubicBezTo>
                <a:cubicBezTo>
                  <a:pt x="13" y="20"/>
                  <a:pt x="13" y="20"/>
                  <a:pt x="13" y="20"/>
                </a:cubicBezTo>
                <a:cubicBezTo>
                  <a:pt x="13" y="20"/>
                  <a:pt x="14" y="20"/>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3" y="18"/>
                  <a:pt x="13" y="17"/>
                  <a:pt x="12" y="17"/>
                </a:cubicBezTo>
                <a:cubicBezTo>
                  <a:pt x="11" y="17"/>
                  <a:pt x="12" y="17"/>
                  <a:pt x="11" y="16"/>
                </a:cubicBezTo>
                <a:cubicBezTo>
                  <a:pt x="10" y="15"/>
                  <a:pt x="9" y="16"/>
                  <a:pt x="8" y="15"/>
                </a:cubicBezTo>
                <a:cubicBezTo>
                  <a:pt x="6" y="15"/>
                  <a:pt x="6" y="14"/>
                  <a:pt x="6" y="13"/>
                </a:cubicBezTo>
                <a:cubicBezTo>
                  <a:pt x="5" y="13"/>
                  <a:pt x="5" y="12"/>
                  <a:pt x="5" y="12"/>
                </a:cubicBezTo>
                <a:cubicBezTo>
                  <a:pt x="5" y="12"/>
                  <a:pt x="5" y="12"/>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4" y="10"/>
                  <a:pt x="4" y="10"/>
                </a:cubicBezTo>
                <a:cubicBezTo>
                  <a:pt x="4" y="10"/>
                  <a:pt x="4" y="10"/>
                  <a:pt x="4" y="10"/>
                </a:cubicBezTo>
                <a:cubicBezTo>
                  <a:pt x="4" y="10"/>
                  <a:pt x="4" y="10"/>
                  <a:pt x="4" y="10"/>
                </a:cubicBezTo>
                <a:cubicBezTo>
                  <a:pt x="4" y="10"/>
                  <a:pt x="4" y="10"/>
                  <a:pt x="3" y="9"/>
                </a:cubicBezTo>
                <a:cubicBezTo>
                  <a:pt x="3" y="9"/>
                  <a:pt x="3" y="8"/>
                  <a:pt x="2" y="8"/>
                </a:cubicBezTo>
                <a:cubicBezTo>
                  <a:pt x="2" y="8"/>
                  <a:pt x="2" y="7"/>
                  <a:pt x="2" y="7"/>
                </a:cubicBezTo>
                <a:cubicBezTo>
                  <a:pt x="2" y="7"/>
                  <a:pt x="2" y="7"/>
                  <a:pt x="2" y="7"/>
                </a:cubicBezTo>
                <a:cubicBezTo>
                  <a:pt x="2" y="7"/>
                  <a:pt x="2" y="7"/>
                  <a:pt x="2" y="7"/>
                </a:cubicBezTo>
                <a:cubicBezTo>
                  <a:pt x="2" y="6"/>
                  <a:pt x="2" y="6"/>
                  <a:pt x="2" y="6"/>
                </a:cubicBezTo>
                <a:cubicBezTo>
                  <a:pt x="2" y="6"/>
                  <a:pt x="2" y="6"/>
                  <a:pt x="2" y="6"/>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1" y="5"/>
                  <a:pt x="1" y="7"/>
                  <a:pt x="0" y="5"/>
                </a:cubicBezTo>
                <a:cubicBezTo>
                  <a:pt x="0" y="5"/>
                  <a:pt x="0" y="5"/>
                  <a:pt x="0" y="5"/>
                </a:cubicBezTo>
                <a:cubicBezTo>
                  <a:pt x="0" y="5"/>
                  <a:pt x="0" y="5"/>
                  <a:pt x="0"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4"/>
                  <a:pt x="1" y="4"/>
                  <a:pt x="1" y="4"/>
                </a:cubicBezTo>
                <a:cubicBezTo>
                  <a:pt x="2" y="4"/>
                  <a:pt x="2" y="5"/>
                  <a:pt x="2" y="5"/>
                </a:cubicBezTo>
                <a:cubicBezTo>
                  <a:pt x="2"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4"/>
                  <a:pt x="4" y="3"/>
                </a:cubicBezTo>
                <a:cubicBezTo>
                  <a:pt x="4" y="3"/>
                  <a:pt x="4" y="3"/>
                  <a:pt x="4" y="3"/>
                </a:cubicBezTo>
                <a:cubicBezTo>
                  <a:pt x="4" y="3"/>
                  <a:pt x="5" y="3"/>
                  <a:pt x="5" y="2"/>
                </a:cubicBezTo>
                <a:cubicBezTo>
                  <a:pt x="5" y="2"/>
                  <a:pt x="5" y="2"/>
                  <a:pt x="6" y="2"/>
                </a:cubicBezTo>
                <a:cubicBezTo>
                  <a:pt x="6" y="2"/>
                  <a:pt x="6" y="2"/>
                  <a:pt x="6" y="2"/>
                </a:cubicBezTo>
                <a:cubicBezTo>
                  <a:pt x="7" y="1"/>
                  <a:pt x="7" y="1"/>
                  <a:pt x="7" y="1"/>
                </a:cubicBezTo>
                <a:cubicBezTo>
                  <a:pt x="7" y="0"/>
                  <a:pt x="8" y="1"/>
                  <a:pt x="9" y="1"/>
                </a:cubicBezTo>
                <a:cubicBezTo>
                  <a:pt x="10" y="1"/>
                  <a:pt x="10" y="0"/>
                  <a:pt x="10" y="0"/>
                </a:cubicBezTo>
                <a:cubicBezTo>
                  <a:pt x="11" y="0"/>
                  <a:pt x="11" y="0"/>
                  <a:pt x="12" y="0"/>
                </a:cubicBezTo>
                <a:cubicBezTo>
                  <a:pt x="12" y="0"/>
                  <a:pt x="13" y="0"/>
                  <a:pt x="13" y="0"/>
                </a:cubicBezTo>
                <a:cubicBezTo>
                  <a:pt x="13" y="0"/>
                  <a:pt x="13" y="0"/>
                  <a:pt x="14" y="0"/>
                </a:cubicBezTo>
                <a:cubicBezTo>
                  <a:pt x="14" y="0"/>
                  <a:pt x="14" y="0"/>
                  <a:pt x="14" y="0"/>
                </a:cubicBezTo>
                <a:cubicBezTo>
                  <a:pt x="14" y="0"/>
                  <a:pt x="14" y="0"/>
                  <a:pt x="14" y="0"/>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4" y="1"/>
                </a:cubicBezTo>
                <a:cubicBezTo>
                  <a:pt x="14" y="1"/>
                  <a:pt x="14" y="1"/>
                  <a:pt x="15" y="1"/>
                </a:cubicBezTo>
                <a:cubicBezTo>
                  <a:pt x="15" y="1"/>
                  <a:pt x="15" y="1"/>
                  <a:pt x="16" y="1"/>
                </a:cubicBezTo>
                <a:cubicBezTo>
                  <a:pt x="16" y="1"/>
                  <a:pt x="16" y="1"/>
                  <a:pt x="16" y="1"/>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2"/>
                  <a:pt x="16" y="2"/>
                </a:cubicBezTo>
                <a:cubicBezTo>
                  <a:pt x="16" y="2"/>
                  <a:pt x="16" y="3"/>
                  <a:pt x="16" y="3"/>
                </a:cubicBezTo>
                <a:cubicBezTo>
                  <a:pt x="16" y="3"/>
                  <a:pt x="17" y="4"/>
                  <a:pt x="17" y="4"/>
                </a:cubicBezTo>
                <a:cubicBezTo>
                  <a:pt x="18" y="4"/>
                  <a:pt x="18" y="4"/>
                  <a:pt x="18"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20" y="5"/>
                  <a:pt x="20" y="5"/>
                </a:cubicBezTo>
                <a:cubicBezTo>
                  <a:pt x="20" y="5"/>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6"/>
                  <a:pt x="21" y="6"/>
                  <a:pt x="21" y="6"/>
                </a:cubicBezTo>
                <a:cubicBezTo>
                  <a:pt x="21" y="5"/>
                  <a:pt x="21" y="5"/>
                  <a:pt x="21" y="5"/>
                </a:cubicBezTo>
                <a:cubicBezTo>
                  <a:pt x="21" y="5"/>
                  <a:pt x="21" y="4"/>
                  <a:pt x="22" y="4"/>
                </a:cubicBezTo>
                <a:cubicBezTo>
                  <a:pt x="22" y="4"/>
                  <a:pt x="22" y="4"/>
                  <a:pt x="22" y="4"/>
                </a:cubicBezTo>
                <a:cubicBezTo>
                  <a:pt x="22" y="4"/>
                  <a:pt x="22" y="4"/>
                  <a:pt x="22" y="4"/>
                </a:cubicBezTo>
                <a:cubicBezTo>
                  <a:pt x="22" y="4"/>
                  <a:pt x="22" y="4"/>
                  <a:pt x="22" y="4"/>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2" y="5"/>
                  <a:pt x="22" y="5"/>
                  <a:pt x="22" y="5"/>
                </a:cubicBezTo>
                <a:cubicBezTo>
                  <a:pt x="23" y="5"/>
                  <a:pt x="23" y="5"/>
                  <a:pt x="23" y="5"/>
                </a:cubicBezTo>
                <a:cubicBezTo>
                  <a:pt x="23" y="5"/>
                  <a:pt x="23" y="5"/>
                  <a:pt x="23" y="5"/>
                </a:cubicBezTo>
                <a:cubicBezTo>
                  <a:pt x="23" y="5"/>
                  <a:pt x="23" y="5"/>
                  <a:pt x="23" y="5"/>
                </a:cubicBezTo>
                <a:cubicBezTo>
                  <a:pt x="23" y="5"/>
                  <a:pt x="23" y="5"/>
                  <a:pt x="23" y="5"/>
                </a:cubicBezTo>
                <a:cubicBezTo>
                  <a:pt x="23" y="5"/>
                  <a:pt x="23" y="5"/>
                  <a:pt x="23" y="6"/>
                </a:cubicBezTo>
                <a:cubicBezTo>
                  <a:pt x="24" y="6"/>
                  <a:pt x="23" y="6"/>
                  <a:pt x="23" y="7"/>
                </a:cubicBezTo>
                <a:close/>
                <a:moveTo>
                  <a:pt x="15" y="27"/>
                </a:moveTo>
                <a:cubicBezTo>
                  <a:pt x="15" y="27"/>
                  <a:pt x="15" y="27"/>
                  <a:pt x="15" y="27"/>
                </a:cubicBezTo>
                <a:cubicBezTo>
                  <a:pt x="15" y="27"/>
                  <a:pt x="15" y="27"/>
                  <a:pt x="15" y="27"/>
                </a:cubicBezTo>
                <a:cubicBezTo>
                  <a:pt x="15" y="27"/>
                  <a:pt x="15" y="27"/>
                  <a:pt x="15" y="27"/>
                </a:cubicBezTo>
                <a:cubicBezTo>
                  <a:pt x="15" y="27"/>
                  <a:pt x="15" y="27"/>
                  <a:pt x="15" y="27"/>
                </a:cubicBezTo>
                <a:cubicBezTo>
                  <a:pt x="15" y="27"/>
                  <a:pt x="15" y="27"/>
                  <a:pt x="15" y="27"/>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6" y="26"/>
                  <a:pt x="16" y="26"/>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6" y="25"/>
                  <a:pt x="16" y="25"/>
                  <a:pt x="16" y="25"/>
                </a:cubicBezTo>
                <a:cubicBezTo>
                  <a:pt x="15" y="25"/>
                  <a:pt x="15" y="25"/>
                  <a:pt x="15" y="25"/>
                </a:cubicBezTo>
                <a:cubicBezTo>
                  <a:pt x="15" y="25"/>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4" y="25"/>
                  <a:pt x="14" y="25"/>
                  <a:pt x="14" y="25"/>
                </a:cubicBezTo>
                <a:cubicBezTo>
                  <a:pt x="14" y="25"/>
                  <a:pt x="14" y="25"/>
                  <a:pt x="14" y="26"/>
                </a:cubicBezTo>
                <a:cubicBezTo>
                  <a:pt x="14" y="26"/>
                  <a:pt x="14" y="26"/>
                  <a:pt x="14" y="27"/>
                </a:cubicBezTo>
                <a:cubicBezTo>
                  <a:pt x="14" y="27"/>
                  <a:pt x="14" y="27"/>
                  <a:pt x="14" y="27"/>
                </a:cubicBezTo>
                <a:cubicBezTo>
                  <a:pt x="14" y="27"/>
                  <a:pt x="14" y="27"/>
                  <a:pt x="14" y="27"/>
                </a:cubicBezTo>
                <a:cubicBezTo>
                  <a:pt x="14" y="27"/>
                  <a:pt x="14" y="27"/>
                  <a:pt x="14" y="27"/>
                </a:cubicBezTo>
                <a:cubicBezTo>
                  <a:pt x="14" y="27"/>
                  <a:pt x="15" y="28"/>
                  <a:pt x="15" y="28"/>
                </a:cubicBezTo>
                <a:cubicBezTo>
                  <a:pt x="15" y="28"/>
                  <a:pt x="15" y="28"/>
                  <a:pt x="15" y="28"/>
                </a:cubicBezTo>
                <a:lnTo>
                  <a:pt x="15" y="27"/>
                </a:lnTo>
                <a:close/>
                <a:moveTo>
                  <a:pt x="23" y="11"/>
                </a:moveTo>
                <a:cubicBezTo>
                  <a:pt x="23" y="10"/>
                  <a:pt x="23" y="10"/>
                  <a:pt x="23" y="10"/>
                </a:cubicBezTo>
                <a:cubicBezTo>
                  <a:pt x="23" y="10"/>
                  <a:pt x="23" y="10"/>
                  <a:pt x="23" y="10"/>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9"/>
                  <a:pt x="23" y="9"/>
                  <a:pt x="23" y="9"/>
                </a:cubicBezTo>
                <a:cubicBezTo>
                  <a:pt x="23" y="8"/>
                  <a:pt x="23" y="8"/>
                  <a:pt x="23" y="8"/>
                </a:cubicBezTo>
                <a:cubicBezTo>
                  <a:pt x="23" y="8"/>
                  <a:pt x="23" y="7"/>
                  <a:pt x="23" y="7"/>
                </a:cubicBezTo>
                <a:cubicBezTo>
                  <a:pt x="23" y="7"/>
                  <a:pt x="23" y="7"/>
                  <a:pt x="23" y="7"/>
                </a:cubicBezTo>
                <a:cubicBezTo>
                  <a:pt x="23" y="6"/>
                  <a:pt x="23" y="6"/>
                  <a:pt x="23" y="6"/>
                </a:cubicBezTo>
                <a:cubicBezTo>
                  <a:pt x="12" y="17"/>
                  <a:pt x="12" y="17"/>
                  <a:pt x="12" y="17"/>
                </a:cubicBezTo>
                <a:cubicBezTo>
                  <a:pt x="12" y="17"/>
                  <a:pt x="12" y="17"/>
                  <a:pt x="12" y="17"/>
                </a:cubicBezTo>
                <a:cubicBezTo>
                  <a:pt x="13" y="17"/>
                  <a:pt x="13"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8"/>
                </a:cubicBezTo>
                <a:cubicBezTo>
                  <a:pt x="14" y="18"/>
                  <a:pt x="14" y="18"/>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20"/>
                  <a:pt x="13" y="20"/>
                  <a:pt x="13" y="20"/>
                </a:cubicBezTo>
                <a:cubicBezTo>
                  <a:pt x="13" y="20"/>
                  <a:pt x="13" y="20"/>
                  <a:pt x="12" y="20"/>
                </a:cubicBezTo>
                <a:cubicBezTo>
                  <a:pt x="12" y="20"/>
                  <a:pt x="12" y="21"/>
                  <a:pt x="12" y="21"/>
                </a:cubicBezTo>
                <a:cubicBezTo>
                  <a:pt x="12" y="21"/>
                  <a:pt x="12" y="22"/>
                  <a:pt x="12" y="22"/>
                </a:cubicBezTo>
                <a:cubicBezTo>
                  <a:pt x="23" y="11"/>
                  <a:pt x="23" y="11"/>
                  <a:pt x="23" y="11"/>
                </a:cubicBezTo>
                <a:cubicBezTo>
                  <a:pt x="23" y="11"/>
                  <a:pt x="23" y="11"/>
                  <a:pt x="23" y="11"/>
                </a:cubicBezTo>
                <a:close/>
                <a:moveTo>
                  <a:pt x="18" y="21"/>
                </a:moveTo>
                <a:cubicBezTo>
                  <a:pt x="18" y="21"/>
                  <a:pt x="18" y="21"/>
                  <a:pt x="18" y="21"/>
                </a:cubicBezTo>
                <a:cubicBezTo>
                  <a:pt x="18" y="21"/>
                  <a:pt x="18" y="21"/>
                  <a:pt x="18" y="21"/>
                </a:cubicBezTo>
                <a:cubicBezTo>
                  <a:pt x="19" y="21"/>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20"/>
                </a:cubicBezTo>
                <a:cubicBezTo>
                  <a:pt x="19" y="20"/>
                  <a:pt x="19" y="20"/>
                  <a:pt x="19" y="20"/>
                </a:cubicBezTo>
                <a:cubicBezTo>
                  <a:pt x="19" y="20"/>
                  <a:pt x="19" y="20"/>
                  <a:pt x="19" y="20"/>
                </a:cubicBezTo>
                <a:cubicBezTo>
                  <a:pt x="17" y="21"/>
                  <a:pt x="17" y="21"/>
                  <a:pt x="17" y="21"/>
                </a:cubicBezTo>
                <a:cubicBezTo>
                  <a:pt x="18" y="21"/>
                  <a:pt x="18" y="21"/>
                  <a:pt x="18" y="21"/>
                </a:cubicBezTo>
                <a:close/>
                <a:moveTo>
                  <a:pt x="20" y="5"/>
                </a:moveTo>
                <a:cubicBezTo>
                  <a:pt x="20" y="5"/>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8" y="4"/>
                </a:cubicBezTo>
                <a:cubicBezTo>
                  <a:pt x="18" y="4"/>
                  <a:pt x="18" y="4"/>
                  <a:pt x="17" y="4"/>
                </a:cubicBezTo>
                <a:cubicBezTo>
                  <a:pt x="17" y="4"/>
                  <a:pt x="17" y="4"/>
                  <a:pt x="17" y="4"/>
                </a:cubicBezTo>
                <a:cubicBezTo>
                  <a:pt x="6" y="14"/>
                  <a:pt x="6" y="14"/>
                  <a:pt x="6" y="14"/>
                </a:cubicBezTo>
                <a:cubicBezTo>
                  <a:pt x="6" y="15"/>
                  <a:pt x="7" y="15"/>
                  <a:pt x="8" y="15"/>
                </a:cubicBezTo>
                <a:cubicBezTo>
                  <a:pt x="8" y="15"/>
                  <a:pt x="9" y="15"/>
                  <a:pt x="9" y="15"/>
                </a:cubicBezTo>
                <a:cubicBezTo>
                  <a:pt x="20" y="5"/>
                  <a:pt x="20" y="5"/>
                  <a:pt x="20" y="5"/>
                </a:cubicBezTo>
                <a:cubicBezTo>
                  <a:pt x="20" y="5"/>
                  <a:pt x="20" y="5"/>
                  <a:pt x="20" y="5"/>
                </a:cubicBezTo>
                <a:close/>
                <a:moveTo>
                  <a:pt x="1" y="4"/>
                </a:moveTo>
                <a:cubicBezTo>
                  <a:pt x="1" y="4"/>
                  <a:pt x="1" y="4"/>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1" y="5"/>
                  <a:pt x="1" y="5"/>
                  <a:pt x="1" y="5"/>
                </a:cubicBezTo>
                <a:cubicBezTo>
                  <a:pt x="0" y="5"/>
                  <a:pt x="0" y="5"/>
                  <a:pt x="0" y="5"/>
                </a:cubicBezTo>
                <a:cubicBezTo>
                  <a:pt x="0" y="5"/>
                  <a:pt x="0" y="5"/>
                  <a:pt x="0" y="5"/>
                </a:cubicBezTo>
                <a:cubicBezTo>
                  <a:pt x="0" y="5"/>
                  <a:pt x="0" y="5"/>
                  <a:pt x="0" y="5"/>
                </a:cubicBezTo>
                <a:cubicBezTo>
                  <a:pt x="0" y="6"/>
                  <a:pt x="1" y="6"/>
                  <a:pt x="1" y="6"/>
                </a:cubicBezTo>
                <a:cubicBezTo>
                  <a:pt x="2" y="5"/>
                  <a:pt x="2" y="5"/>
                  <a:pt x="2" y="5"/>
                </a:cubicBezTo>
                <a:cubicBezTo>
                  <a:pt x="2" y="4"/>
                  <a:pt x="2" y="4"/>
                  <a:pt x="1" y="4"/>
                </a:cubicBezTo>
                <a:close/>
                <a:moveTo>
                  <a:pt x="3" y="4"/>
                </a:moveTo>
                <a:cubicBezTo>
                  <a:pt x="3" y="4"/>
                  <a:pt x="3" y="4"/>
                  <a:pt x="3" y="4"/>
                </a:cubicBezTo>
                <a:cubicBezTo>
                  <a:pt x="3" y="4"/>
                  <a:pt x="3" y="4"/>
                  <a:pt x="3" y="4"/>
                </a:cubicBezTo>
                <a:cubicBezTo>
                  <a:pt x="3" y="4"/>
                  <a:pt x="3" y="4"/>
                  <a:pt x="3" y="4"/>
                </a:cubicBezTo>
                <a:close/>
                <a:moveTo>
                  <a:pt x="14" y="1"/>
                </a:moveTo>
                <a:cubicBezTo>
                  <a:pt x="14" y="1"/>
                  <a:pt x="14" y="1"/>
                  <a:pt x="14" y="1"/>
                </a:cubicBezTo>
                <a:cubicBezTo>
                  <a:pt x="14" y="1"/>
                  <a:pt x="14" y="1"/>
                  <a:pt x="14" y="1"/>
                </a:cubicBezTo>
                <a:cubicBezTo>
                  <a:pt x="14" y="1"/>
                  <a:pt x="14" y="1"/>
                  <a:pt x="14" y="1"/>
                </a:cubicBezTo>
                <a:cubicBezTo>
                  <a:pt x="14" y="1"/>
                  <a:pt x="14" y="1"/>
                  <a:pt x="14" y="1"/>
                </a:cubicBezTo>
                <a:cubicBezTo>
                  <a:pt x="14" y="0"/>
                  <a:pt x="14" y="0"/>
                  <a:pt x="14" y="0"/>
                </a:cubicBezTo>
                <a:cubicBezTo>
                  <a:pt x="14" y="0"/>
                  <a:pt x="14" y="0"/>
                  <a:pt x="14" y="0"/>
                </a:cubicBezTo>
                <a:cubicBezTo>
                  <a:pt x="14" y="0"/>
                  <a:pt x="14" y="0"/>
                  <a:pt x="14" y="0"/>
                </a:cubicBezTo>
                <a:cubicBezTo>
                  <a:pt x="13" y="0"/>
                  <a:pt x="13" y="0"/>
                  <a:pt x="13" y="0"/>
                </a:cubicBezTo>
                <a:cubicBezTo>
                  <a:pt x="13" y="0"/>
                  <a:pt x="12" y="0"/>
                  <a:pt x="12" y="0"/>
                </a:cubicBezTo>
                <a:cubicBezTo>
                  <a:pt x="12" y="0"/>
                  <a:pt x="11" y="0"/>
                  <a:pt x="11" y="0"/>
                </a:cubicBezTo>
                <a:cubicBezTo>
                  <a:pt x="3" y="8"/>
                  <a:pt x="3" y="8"/>
                  <a:pt x="3" y="8"/>
                </a:cubicBezTo>
                <a:cubicBezTo>
                  <a:pt x="3" y="9"/>
                  <a:pt x="3" y="9"/>
                  <a:pt x="3" y="9"/>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5" y="11"/>
                </a:cubicBezTo>
                <a:cubicBezTo>
                  <a:pt x="15" y="1"/>
                  <a:pt x="15" y="1"/>
                  <a:pt x="15" y="1"/>
                </a:cubicBezTo>
                <a:cubicBezTo>
                  <a:pt x="14" y="1"/>
                  <a:pt x="14" y="1"/>
                  <a:pt x="14"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6" name="India"/>
          <p:cNvSpPr>
            <a:spLocks noEditPoints="1"/>
          </p:cNvSpPr>
          <p:nvPr/>
        </p:nvSpPr>
        <p:spPr bwMode="auto">
          <a:xfrm>
            <a:off x="8132995" y="3252990"/>
            <a:ext cx="971964" cy="1142957"/>
          </a:xfrm>
          <a:custGeom>
            <a:avLst/>
            <a:gdLst/>
            <a:ahLst/>
            <a:cxnLst>
              <a:cxn ang="0">
                <a:pos x="258" y="296"/>
              </a:cxn>
              <a:cxn ang="0">
                <a:pos x="253" y="299"/>
              </a:cxn>
              <a:cxn ang="0">
                <a:pos x="247" y="249"/>
              </a:cxn>
              <a:cxn ang="0">
                <a:pos x="256" y="302"/>
              </a:cxn>
              <a:cxn ang="0">
                <a:pos x="248" y="257"/>
              </a:cxn>
              <a:cxn ang="0">
                <a:pos x="249" y="256"/>
              </a:cxn>
              <a:cxn ang="0">
                <a:pos x="192" y="152"/>
              </a:cxn>
              <a:cxn ang="0">
                <a:pos x="64" y="280"/>
              </a:cxn>
              <a:cxn ang="0">
                <a:pos x="64" y="271"/>
              </a:cxn>
              <a:cxn ang="0">
                <a:pos x="256" y="94"/>
              </a:cxn>
              <a:cxn ang="0">
                <a:pos x="249" y="118"/>
              </a:cxn>
              <a:cxn ang="0">
                <a:pos x="238" y="140"/>
              </a:cxn>
              <a:cxn ang="0">
                <a:pos x="231" y="137"/>
              </a:cxn>
              <a:cxn ang="0">
                <a:pos x="218" y="130"/>
              </a:cxn>
              <a:cxn ang="0">
                <a:pos x="225" y="114"/>
              </a:cxn>
              <a:cxn ang="0">
                <a:pos x="200" y="103"/>
              </a:cxn>
              <a:cxn ang="0">
                <a:pos x="187" y="99"/>
              </a:cxn>
              <a:cxn ang="0">
                <a:pos x="192" y="113"/>
              </a:cxn>
              <a:cxn ang="0">
                <a:pos x="197" y="135"/>
              </a:cxn>
              <a:cxn ang="0">
                <a:pos x="198" y="149"/>
              </a:cxn>
              <a:cxn ang="0">
                <a:pos x="195" y="153"/>
              </a:cxn>
              <a:cxn ang="0">
                <a:pos x="182" y="162"/>
              </a:cxn>
              <a:cxn ang="0">
                <a:pos x="170" y="174"/>
              </a:cxn>
              <a:cxn ang="0">
                <a:pos x="164" y="180"/>
              </a:cxn>
              <a:cxn ang="0">
                <a:pos x="143" y="208"/>
              </a:cxn>
              <a:cxn ang="0">
                <a:pos x="124" y="220"/>
              </a:cxn>
              <a:cxn ang="0">
                <a:pos x="124" y="241"/>
              </a:cxn>
              <a:cxn ang="0">
                <a:pos x="122" y="277"/>
              </a:cxn>
              <a:cxn ang="0">
                <a:pos x="98" y="298"/>
              </a:cxn>
              <a:cxn ang="0">
                <a:pos x="91" y="284"/>
              </a:cxn>
              <a:cxn ang="0">
                <a:pos x="80" y="260"/>
              </a:cxn>
              <a:cxn ang="0">
                <a:pos x="72" y="240"/>
              </a:cxn>
              <a:cxn ang="0">
                <a:pos x="63" y="222"/>
              </a:cxn>
              <a:cxn ang="0">
                <a:pos x="57" y="207"/>
              </a:cxn>
              <a:cxn ang="0">
                <a:pos x="51" y="187"/>
              </a:cxn>
              <a:cxn ang="0">
                <a:pos x="49" y="180"/>
              </a:cxn>
              <a:cxn ang="0">
                <a:pos x="48" y="161"/>
              </a:cxn>
              <a:cxn ang="0">
                <a:pos x="46" y="152"/>
              </a:cxn>
              <a:cxn ang="0">
                <a:pos x="40" y="145"/>
              </a:cxn>
              <a:cxn ang="0">
                <a:pos x="36" y="160"/>
              </a:cxn>
              <a:cxn ang="0">
                <a:pos x="16" y="144"/>
              </a:cxn>
              <a:cxn ang="0">
                <a:pos x="3" y="133"/>
              </a:cxn>
              <a:cxn ang="0">
                <a:pos x="5" y="124"/>
              </a:cxn>
              <a:cxn ang="0">
                <a:pos x="26" y="119"/>
              </a:cxn>
              <a:cxn ang="0">
                <a:pos x="20" y="86"/>
              </a:cxn>
              <a:cxn ang="0">
                <a:pos x="46" y="53"/>
              </a:cxn>
              <a:cxn ang="0">
                <a:pos x="52" y="34"/>
              </a:cxn>
              <a:cxn ang="0">
                <a:pos x="35" y="12"/>
              </a:cxn>
              <a:cxn ang="0">
                <a:pos x="70" y="0"/>
              </a:cxn>
              <a:cxn ang="0">
                <a:pos x="91" y="30"/>
              </a:cxn>
              <a:cxn ang="0">
                <a:pos x="87" y="42"/>
              </a:cxn>
              <a:cxn ang="0">
                <a:pos x="102" y="52"/>
              </a:cxn>
              <a:cxn ang="0">
                <a:pos x="106" y="70"/>
              </a:cxn>
              <a:cxn ang="0">
                <a:pos x="123" y="84"/>
              </a:cxn>
              <a:cxn ang="0">
                <a:pos x="149" y="90"/>
              </a:cxn>
              <a:cxn ang="0">
                <a:pos x="172" y="100"/>
              </a:cxn>
              <a:cxn ang="0">
                <a:pos x="186" y="82"/>
              </a:cxn>
              <a:cxn ang="0">
                <a:pos x="200" y="97"/>
              </a:cxn>
              <a:cxn ang="0">
                <a:pos x="216" y="88"/>
              </a:cxn>
              <a:cxn ang="0">
                <a:pos x="234" y="74"/>
              </a:cxn>
              <a:cxn ang="0">
                <a:pos x="254" y="67"/>
              </a:cxn>
              <a:cxn ang="0">
                <a:pos x="266" y="79"/>
              </a:cxn>
            </a:cxnLst>
            <a:rect l="0" t="0" r="r" b="b"/>
            <a:pathLst>
              <a:path w="269" h="316">
                <a:moveTo>
                  <a:pt x="258" y="302"/>
                </a:moveTo>
                <a:cubicBezTo>
                  <a:pt x="258" y="303"/>
                  <a:pt x="258" y="303"/>
                  <a:pt x="258" y="303"/>
                </a:cubicBezTo>
                <a:cubicBezTo>
                  <a:pt x="257" y="303"/>
                  <a:pt x="258" y="302"/>
                  <a:pt x="258" y="302"/>
                </a:cubicBezTo>
                <a:close/>
                <a:moveTo>
                  <a:pt x="260" y="310"/>
                </a:moveTo>
                <a:cubicBezTo>
                  <a:pt x="260" y="309"/>
                  <a:pt x="260" y="309"/>
                  <a:pt x="260" y="309"/>
                </a:cubicBezTo>
                <a:cubicBezTo>
                  <a:pt x="260" y="309"/>
                  <a:pt x="260" y="309"/>
                  <a:pt x="260" y="309"/>
                </a:cubicBezTo>
                <a:cubicBezTo>
                  <a:pt x="260" y="309"/>
                  <a:pt x="258" y="309"/>
                  <a:pt x="259" y="310"/>
                </a:cubicBezTo>
                <a:cubicBezTo>
                  <a:pt x="259" y="311"/>
                  <a:pt x="260" y="310"/>
                  <a:pt x="260" y="310"/>
                </a:cubicBezTo>
                <a:close/>
                <a:moveTo>
                  <a:pt x="257" y="300"/>
                </a:moveTo>
                <a:cubicBezTo>
                  <a:pt x="257" y="301"/>
                  <a:pt x="257" y="301"/>
                  <a:pt x="257" y="301"/>
                </a:cubicBezTo>
                <a:cubicBezTo>
                  <a:pt x="257" y="302"/>
                  <a:pt x="258" y="301"/>
                  <a:pt x="258" y="302"/>
                </a:cubicBezTo>
                <a:cubicBezTo>
                  <a:pt x="257" y="302"/>
                  <a:pt x="257" y="302"/>
                  <a:pt x="257" y="302"/>
                </a:cubicBezTo>
                <a:cubicBezTo>
                  <a:pt x="258" y="303"/>
                  <a:pt x="258" y="300"/>
                  <a:pt x="258" y="300"/>
                </a:cubicBezTo>
                <a:cubicBezTo>
                  <a:pt x="258" y="300"/>
                  <a:pt x="257" y="300"/>
                  <a:pt x="257" y="300"/>
                </a:cubicBezTo>
                <a:close/>
                <a:moveTo>
                  <a:pt x="249" y="240"/>
                </a:moveTo>
                <a:cubicBezTo>
                  <a:pt x="249" y="240"/>
                  <a:pt x="248" y="240"/>
                  <a:pt x="249" y="240"/>
                </a:cubicBezTo>
                <a:cubicBezTo>
                  <a:pt x="249" y="240"/>
                  <a:pt x="249" y="240"/>
                  <a:pt x="249" y="240"/>
                </a:cubicBezTo>
                <a:close/>
                <a:moveTo>
                  <a:pt x="258" y="296"/>
                </a:moveTo>
                <a:cubicBezTo>
                  <a:pt x="258" y="297"/>
                  <a:pt x="258" y="297"/>
                  <a:pt x="258" y="298"/>
                </a:cubicBezTo>
                <a:cubicBezTo>
                  <a:pt x="259" y="297"/>
                  <a:pt x="259" y="297"/>
                  <a:pt x="258" y="296"/>
                </a:cubicBezTo>
                <a:cubicBezTo>
                  <a:pt x="258" y="296"/>
                  <a:pt x="258" y="296"/>
                  <a:pt x="258" y="296"/>
                </a:cubicBezTo>
                <a:close/>
                <a:moveTo>
                  <a:pt x="261" y="243"/>
                </a:moveTo>
                <a:cubicBezTo>
                  <a:pt x="261" y="243"/>
                  <a:pt x="261" y="243"/>
                  <a:pt x="261" y="243"/>
                </a:cubicBezTo>
                <a:close/>
                <a:moveTo>
                  <a:pt x="243" y="263"/>
                </a:moveTo>
                <a:cubicBezTo>
                  <a:pt x="243" y="263"/>
                  <a:pt x="243" y="264"/>
                  <a:pt x="243" y="264"/>
                </a:cubicBezTo>
                <a:cubicBezTo>
                  <a:pt x="244" y="264"/>
                  <a:pt x="243" y="263"/>
                  <a:pt x="243" y="263"/>
                </a:cubicBezTo>
                <a:cubicBezTo>
                  <a:pt x="243" y="263"/>
                  <a:pt x="243" y="263"/>
                  <a:pt x="243" y="263"/>
                </a:cubicBezTo>
                <a:close/>
                <a:moveTo>
                  <a:pt x="247" y="248"/>
                </a:moveTo>
                <a:cubicBezTo>
                  <a:pt x="246" y="247"/>
                  <a:pt x="246" y="248"/>
                  <a:pt x="246" y="248"/>
                </a:cubicBezTo>
                <a:cubicBezTo>
                  <a:pt x="246" y="249"/>
                  <a:pt x="246" y="249"/>
                  <a:pt x="246" y="250"/>
                </a:cubicBezTo>
                <a:cubicBezTo>
                  <a:pt x="247" y="249"/>
                  <a:pt x="247" y="248"/>
                  <a:pt x="247" y="248"/>
                </a:cubicBezTo>
                <a:close/>
                <a:moveTo>
                  <a:pt x="258" y="255"/>
                </a:moveTo>
                <a:cubicBezTo>
                  <a:pt x="258" y="255"/>
                  <a:pt x="258" y="255"/>
                  <a:pt x="258" y="255"/>
                </a:cubicBezTo>
                <a:close/>
                <a:moveTo>
                  <a:pt x="251" y="257"/>
                </a:moveTo>
                <a:cubicBezTo>
                  <a:pt x="251" y="257"/>
                  <a:pt x="251" y="257"/>
                  <a:pt x="251" y="257"/>
                </a:cubicBezTo>
                <a:cubicBezTo>
                  <a:pt x="251" y="257"/>
                  <a:pt x="251" y="257"/>
                  <a:pt x="251" y="257"/>
                </a:cubicBezTo>
                <a:close/>
                <a:moveTo>
                  <a:pt x="250" y="290"/>
                </a:moveTo>
                <a:cubicBezTo>
                  <a:pt x="250" y="290"/>
                  <a:pt x="250" y="289"/>
                  <a:pt x="250" y="289"/>
                </a:cubicBezTo>
                <a:cubicBezTo>
                  <a:pt x="250" y="288"/>
                  <a:pt x="249" y="290"/>
                  <a:pt x="250" y="290"/>
                </a:cubicBezTo>
                <a:close/>
                <a:moveTo>
                  <a:pt x="253" y="299"/>
                </a:moveTo>
                <a:cubicBezTo>
                  <a:pt x="253" y="299"/>
                  <a:pt x="254" y="300"/>
                  <a:pt x="254" y="300"/>
                </a:cubicBezTo>
                <a:cubicBezTo>
                  <a:pt x="254" y="300"/>
                  <a:pt x="253" y="299"/>
                  <a:pt x="253" y="299"/>
                </a:cubicBezTo>
                <a:cubicBezTo>
                  <a:pt x="253" y="298"/>
                  <a:pt x="253" y="299"/>
                  <a:pt x="253" y="299"/>
                </a:cubicBezTo>
                <a:close/>
                <a:moveTo>
                  <a:pt x="262" y="311"/>
                </a:moveTo>
                <a:cubicBezTo>
                  <a:pt x="261" y="310"/>
                  <a:pt x="259" y="312"/>
                  <a:pt x="259" y="313"/>
                </a:cubicBezTo>
                <a:cubicBezTo>
                  <a:pt x="260" y="313"/>
                  <a:pt x="260" y="313"/>
                  <a:pt x="260" y="313"/>
                </a:cubicBezTo>
                <a:cubicBezTo>
                  <a:pt x="260" y="314"/>
                  <a:pt x="261" y="314"/>
                  <a:pt x="261" y="314"/>
                </a:cubicBezTo>
                <a:cubicBezTo>
                  <a:pt x="261" y="315"/>
                  <a:pt x="261" y="316"/>
                  <a:pt x="261" y="316"/>
                </a:cubicBezTo>
                <a:cubicBezTo>
                  <a:pt x="262" y="316"/>
                  <a:pt x="262" y="315"/>
                  <a:pt x="262" y="315"/>
                </a:cubicBezTo>
                <a:cubicBezTo>
                  <a:pt x="262" y="314"/>
                  <a:pt x="262" y="313"/>
                  <a:pt x="262" y="313"/>
                </a:cubicBezTo>
                <a:cubicBezTo>
                  <a:pt x="262" y="312"/>
                  <a:pt x="262" y="312"/>
                  <a:pt x="262" y="311"/>
                </a:cubicBezTo>
                <a:close/>
                <a:moveTo>
                  <a:pt x="246" y="271"/>
                </a:moveTo>
                <a:cubicBezTo>
                  <a:pt x="245" y="271"/>
                  <a:pt x="245" y="271"/>
                  <a:pt x="245" y="272"/>
                </a:cubicBezTo>
                <a:cubicBezTo>
                  <a:pt x="244" y="272"/>
                  <a:pt x="245" y="273"/>
                  <a:pt x="245" y="273"/>
                </a:cubicBezTo>
                <a:cubicBezTo>
                  <a:pt x="245" y="274"/>
                  <a:pt x="245" y="274"/>
                  <a:pt x="245" y="274"/>
                </a:cubicBezTo>
                <a:cubicBezTo>
                  <a:pt x="245" y="274"/>
                  <a:pt x="246" y="275"/>
                  <a:pt x="246" y="274"/>
                </a:cubicBezTo>
                <a:cubicBezTo>
                  <a:pt x="247" y="274"/>
                  <a:pt x="246" y="274"/>
                  <a:pt x="247" y="273"/>
                </a:cubicBezTo>
                <a:cubicBezTo>
                  <a:pt x="247" y="273"/>
                  <a:pt x="247" y="272"/>
                  <a:pt x="247" y="272"/>
                </a:cubicBezTo>
                <a:cubicBezTo>
                  <a:pt x="247" y="272"/>
                  <a:pt x="246" y="270"/>
                  <a:pt x="246" y="271"/>
                </a:cubicBezTo>
                <a:close/>
                <a:moveTo>
                  <a:pt x="247" y="249"/>
                </a:moveTo>
                <a:cubicBezTo>
                  <a:pt x="248" y="248"/>
                  <a:pt x="248" y="249"/>
                  <a:pt x="248" y="248"/>
                </a:cubicBezTo>
                <a:cubicBezTo>
                  <a:pt x="248" y="247"/>
                  <a:pt x="248" y="248"/>
                  <a:pt x="249" y="248"/>
                </a:cubicBezTo>
                <a:cubicBezTo>
                  <a:pt x="249" y="248"/>
                  <a:pt x="248" y="247"/>
                  <a:pt x="249" y="247"/>
                </a:cubicBezTo>
                <a:cubicBezTo>
                  <a:pt x="249" y="247"/>
                  <a:pt x="249" y="247"/>
                  <a:pt x="250" y="247"/>
                </a:cubicBezTo>
                <a:cubicBezTo>
                  <a:pt x="250" y="246"/>
                  <a:pt x="249" y="246"/>
                  <a:pt x="249" y="245"/>
                </a:cubicBezTo>
                <a:cubicBezTo>
                  <a:pt x="250" y="244"/>
                  <a:pt x="250" y="245"/>
                  <a:pt x="249" y="244"/>
                </a:cubicBezTo>
                <a:cubicBezTo>
                  <a:pt x="249" y="244"/>
                  <a:pt x="248" y="244"/>
                  <a:pt x="249" y="244"/>
                </a:cubicBezTo>
                <a:cubicBezTo>
                  <a:pt x="249" y="244"/>
                  <a:pt x="249" y="244"/>
                  <a:pt x="249" y="243"/>
                </a:cubicBezTo>
                <a:cubicBezTo>
                  <a:pt x="250" y="243"/>
                  <a:pt x="249" y="243"/>
                  <a:pt x="249" y="243"/>
                </a:cubicBezTo>
                <a:cubicBezTo>
                  <a:pt x="249" y="242"/>
                  <a:pt x="249" y="241"/>
                  <a:pt x="249" y="241"/>
                </a:cubicBezTo>
                <a:cubicBezTo>
                  <a:pt x="249" y="242"/>
                  <a:pt x="248" y="241"/>
                  <a:pt x="248" y="241"/>
                </a:cubicBezTo>
                <a:cubicBezTo>
                  <a:pt x="248" y="242"/>
                  <a:pt x="248" y="242"/>
                  <a:pt x="248" y="242"/>
                </a:cubicBezTo>
                <a:cubicBezTo>
                  <a:pt x="248" y="242"/>
                  <a:pt x="248" y="243"/>
                  <a:pt x="248" y="243"/>
                </a:cubicBezTo>
                <a:cubicBezTo>
                  <a:pt x="247" y="243"/>
                  <a:pt x="247" y="244"/>
                  <a:pt x="247" y="244"/>
                </a:cubicBezTo>
                <a:cubicBezTo>
                  <a:pt x="247" y="245"/>
                  <a:pt x="248" y="245"/>
                  <a:pt x="247" y="246"/>
                </a:cubicBezTo>
                <a:cubicBezTo>
                  <a:pt x="247" y="247"/>
                  <a:pt x="247" y="248"/>
                  <a:pt x="247" y="249"/>
                </a:cubicBezTo>
                <a:close/>
                <a:moveTo>
                  <a:pt x="256" y="303"/>
                </a:moveTo>
                <a:cubicBezTo>
                  <a:pt x="256" y="303"/>
                  <a:pt x="256" y="303"/>
                  <a:pt x="256" y="303"/>
                </a:cubicBezTo>
                <a:cubicBezTo>
                  <a:pt x="256" y="304"/>
                  <a:pt x="257" y="304"/>
                  <a:pt x="257" y="304"/>
                </a:cubicBezTo>
                <a:cubicBezTo>
                  <a:pt x="258" y="303"/>
                  <a:pt x="257" y="303"/>
                  <a:pt x="256" y="302"/>
                </a:cubicBezTo>
                <a:cubicBezTo>
                  <a:pt x="256" y="302"/>
                  <a:pt x="256" y="303"/>
                  <a:pt x="256" y="303"/>
                </a:cubicBezTo>
                <a:close/>
                <a:moveTo>
                  <a:pt x="247" y="264"/>
                </a:moveTo>
                <a:cubicBezTo>
                  <a:pt x="247" y="264"/>
                  <a:pt x="247" y="265"/>
                  <a:pt x="247" y="265"/>
                </a:cubicBezTo>
                <a:cubicBezTo>
                  <a:pt x="248" y="265"/>
                  <a:pt x="248" y="264"/>
                  <a:pt x="247" y="264"/>
                </a:cubicBezTo>
                <a:close/>
                <a:moveTo>
                  <a:pt x="250" y="258"/>
                </a:moveTo>
                <a:cubicBezTo>
                  <a:pt x="249" y="259"/>
                  <a:pt x="250" y="259"/>
                  <a:pt x="250" y="259"/>
                </a:cubicBezTo>
                <a:cubicBezTo>
                  <a:pt x="250" y="259"/>
                  <a:pt x="251" y="260"/>
                  <a:pt x="251" y="259"/>
                </a:cubicBezTo>
                <a:cubicBezTo>
                  <a:pt x="251" y="259"/>
                  <a:pt x="250" y="259"/>
                  <a:pt x="250" y="258"/>
                </a:cubicBezTo>
                <a:cubicBezTo>
                  <a:pt x="250" y="258"/>
                  <a:pt x="250" y="258"/>
                  <a:pt x="250" y="258"/>
                </a:cubicBezTo>
                <a:close/>
                <a:moveTo>
                  <a:pt x="249" y="251"/>
                </a:moveTo>
                <a:cubicBezTo>
                  <a:pt x="249" y="250"/>
                  <a:pt x="249" y="248"/>
                  <a:pt x="248" y="249"/>
                </a:cubicBezTo>
                <a:cubicBezTo>
                  <a:pt x="248" y="249"/>
                  <a:pt x="247" y="248"/>
                  <a:pt x="247" y="249"/>
                </a:cubicBezTo>
                <a:cubicBezTo>
                  <a:pt x="248" y="249"/>
                  <a:pt x="247" y="249"/>
                  <a:pt x="247" y="250"/>
                </a:cubicBezTo>
                <a:cubicBezTo>
                  <a:pt x="247" y="250"/>
                  <a:pt x="247" y="251"/>
                  <a:pt x="247" y="251"/>
                </a:cubicBezTo>
                <a:cubicBezTo>
                  <a:pt x="247" y="252"/>
                  <a:pt x="247" y="252"/>
                  <a:pt x="247" y="253"/>
                </a:cubicBezTo>
                <a:cubicBezTo>
                  <a:pt x="247" y="254"/>
                  <a:pt x="247" y="255"/>
                  <a:pt x="248" y="255"/>
                </a:cubicBezTo>
                <a:cubicBezTo>
                  <a:pt x="248" y="255"/>
                  <a:pt x="248" y="255"/>
                  <a:pt x="248" y="255"/>
                </a:cubicBezTo>
                <a:cubicBezTo>
                  <a:pt x="248" y="255"/>
                  <a:pt x="248" y="255"/>
                  <a:pt x="247" y="255"/>
                </a:cubicBezTo>
                <a:cubicBezTo>
                  <a:pt x="248" y="256"/>
                  <a:pt x="248" y="256"/>
                  <a:pt x="248" y="256"/>
                </a:cubicBezTo>
                <a:cubicBezTo>
                  <a:pt x="248" y="257"/>
                  <a:pt x="248" y="257"/>
                  <a:pt x="248" y="257"/>
                </a:cubicBezTo>
                <a:cubicBezTo>
                  <a:pt x="248" y="257"/>
                  <a:pt x="248" y="257"/>
                  <a:pt x="247" y="256"/>
                </a:cubicBezTo>
                <a:cubicBezTo>
                  <a:pt x="247" y="256"/>
                  <a:pt x="247" y="256"/>
                  <a:pt x="247" y="256"/>
                </a:cubicBezTo>
                <a:cubicBezTo>
                  <a:pt x="247" y="256"/>
                  <a:pt x="247" y="256"/>
                  <a:pt x="246" y="257"/>
                </a:cubicBezTo>
                <a:cubicBezTo>
                  <a:pt x="246" y="257"/>
                  <a:pt x="246" y="258"/>
                  <a:pt x="246" y="258"/>
                </a:cubicBezTo>
                <a:cubicBezTo>
                  <a:pt x="246" y="258"/>
                  <a:pt x="247" y="259"/>
                  <a:pt x="246" y="260"/>
                </a:cubicBezTo>
                <a:cubicBezTo>
                  <a:pt x="246" y="260"/>
                  <a:pt x="246" y="259"/>
                  <a:pt x="246" y="259"/>
                </a:cubicBezTo>
                <a:cubicBezTo>
                  <a:pt x="245" y="260"/>
                  <a:pt x="246" y="260"/>
                  <a:pt x="246" y="261"/>
                </a:cubicBezTo>
                <a:cubicBezTo>
                  <a:pt x="246" y="261"/>
                  <a:pt x="246" y="262"/>
                  <a:pt x="246" y="262"/>
                </a:cubicBezTo>
                <a:cubicBezTo>
                  <a:pt x="246" y="261"/>
                  <a:pt x="246" y="262"/>
                  <a:pt x="246" y="262"/>
                </a:cubicBezTo>
                <a:cubicBezTo>
                  <a:pt x="247" y="262"/>
                  <a:pt x="247" y="262"/>
                  <a:pt x="247" y="262"/>
                </a:cubicBezTo>
                <a:cubicBezTo>
                  <a:pt x="247" y="263"/>
                  <a:pt x="248" y="265"/>
                  <a:pt x="248" y="263"/>
                </a:cubicBezTo>
                <a:cubicBezTo>
                  <a:pt x="248" y="261"/>
                  <a:pt x="247" y="263"/>
                  <a:pt x="247" y="263"/>
                </a:cubicBezTo>
                <a:cubicBezTo>
                  <a:pt x="247" y="262"/>
                  <a:pt x="248" y="262"/>
                  <a:pt x="248" y="262"/>
                </a:cubicBezTo>
                <a:cubicBezTo>
                  <a:pt x="248" y="261"/>
                  <a:pt x="248" y="261"/>
                  <a:pt x="248" y="260"/>
                </a:cubicBezTo>
                <a:cubicBezTo>
                  <a:pt x="248" y="260"/>
                  <a:pt x="248" y="258"/>
                  <a:pt x="248" y="260"/>
                </a:cubicBezTo>
                <a:cubicBezTo>
                  <a:pt x="247" y="259"/>
                  <a:pt x="247" y="259"/>
                  <a:pt x="248" y="258"/>
                </a:cubicBezTo>
                <a:cubicBezTo>
                  <a:pt x="248" y="258"/>
                  <a:pt x="248" y="258"/>
                  <a:pt x="248" y="258"/>
                </a:cubicBezTo>
                <a:cubicBezTo>
                  <a:pt x="248" y="258"/>
                  <a:pt x="248" y="257"/>
                  <a:pt x="248" y="257"/>
                </a:cubicBezTo>
                <a:cubicBezTo>
                  <a:pt x="248" y="257"/>
                  <a:pt x="248" y="258"/>
                  <a:pt x="248" y="258"/>
                </a:cubicBezTo>
                <a:cubicBezTo>
                  <a:pt x="248" y="257"/>
                  <a:pt x="249" y="256"/>
                  <a:pt x="249" y="256"/>
                </a:cubicBezTo>
                <a:cubicBezTo>
                  <a:pt x="249" y="255"/>
                  <a:pt x="249" y="255"/>
                  <a:pt x="248" y="255"/>
                </a:cubicBezTo>
                <a:cubicBezTo>
                  <a:pt x="249" y="255"/>
                  <a:pt x="249" y="255"/>
                  <a:pt x="248" y="254"/>
                </a:cubicBezTo>
                <a:cubicBezTo>
                  <a:pt x="248" y="254"/>
                  <a:pt x="249" y="253"/>
                  <a:pt x="249" y="254"/>
                </a:cubicBezTo>
                <a:cubicBezTo>
                  <a:pt x="250" y="253"/>
                  <a:pt x="249" y="252"/>
                  <a:pt x="249" y="251"/>
                </a:cubicBezTo>
                <a:close/>
                <a:moveTo>
                  <a:pt x="49" y="182"/>
                </a:moveTo>
                <a:cubicBezTo>
                  <a:pt x="49" y="182"/>
                  <a:pt x="49" y="182"/>
                  <a:pt x="49" y="182"/>
                </a:cubicBezTo>
                <a:cubicBezTo>
                  <a:pt x="49" y="182"/>
                  <a:pt x="49" y="182"/>
                  <a:pt x="49" y="182"/>
                </a:cubicBezTo>
                <a:close/>
                <a:moveTo>
                  <a:pt x="127" y="243"/>
                </a:moveTo>
                <a:cubicBezTo>
                  <a:pt x="127" y="243"/>
                  <a:pt x="127" y="243"/>
                  <a:pt x="127" y="243"/>
                </a:cubicBezTo>
                <a:cubicBezTo>
                  <a:pt x="127" y="243"/>
                  <a:pt x="127" y="243"/>
                  <a:pt x="127" y="243"/>
                </a:cubicBezTo>
                <a:cubicBezTo>
                  <a:pt x="127" y="243"/>
                  <a:pt x="127" y="243"/>
                  <a:pt x="127" y="243"/>
                </a:cubicBezTo>
                <a:close/>
                <a:moveTo>
                  <a:pt x="72" y="243"/>
                </a:moveTo>
                <a:cubicBezTo>
                  <a:pt x="72" y="243"/>
                  <a:pt x="72" y="243"/>
                  <a:pt x="72" y="242"/>
                </a:cubicBezTo>
                <a:cubicBezTo>
                  <a:pt x="72" y="243"/>
                  <a:pt x="72" y="243"/>
                  <a:pt x="72" y="243"/>
                </a:cubicBezTo>
                <a:close/>
                <a:moveTo>
                  <a:pt x="252" y="236"/>
                </a:moveTo>
                <a:cubicBezTo>
                  <a:pt x="252" y="236"/>
                  <a:pt x="252" y="235"/>
                  <a:pt x="252" y="235"/>
                </a:cubicBezTo>
                <a:cubicBezTo>
                  <a:pt x="252" y="235"/>
                  <a:pt x="252" y="236"/>
                  <a:pt x="252" y="236"/>
                </a:cubicBezTo>
                <a:close/>
                <a:moveTo>
                  <a:pt x="192" y="150"/>
                </a:moveTo>
                <a:cubicBezTo>
                  <a:pt x="192" y="150"/>
                  <a:pt x="191" y="152"/>
                  <a:pt x="191" y="152"/>
                </a:cubicBezTo>
                <a:cubicBezTo>
                  <a:pt x="192" y="153"/>
                  <a:pt x="192" y="153"/>
                  <a:pt x="192" y="152"/>
                </a:cubicBezTo>
                <a:cubicBezTo>
                  <a:pt x="192" y="151"/>
                  <a:pt x="193" y="151"/>
                  <a:pt x="192" y="150"/>
                </a:cubicBezTo>
                <a:close/>
                <a:moveTo>
                  <a:pt x="199" y="153"/>
                </a:moveTo>
                <a:cubicBezTo>
                  <a:pt x="199" y="152"/>
                  <a:pt x="199" y="153"/>
                  <a:pt x="199" y="154"/>
                </a:cubicBezTo>
                <a:cubicBezTo>
                  <a:pt x="200" y="154"/>
                  <a:pt x="200" y="153"/>
                  <a:pt x="199" y="153"/>
                </a:cubicBezTo>
                <a:close/>
                <a:moveTo>
                  <a:pt x="192" y="149"/>
                </a:moveTo>
                <a:cubicBezTo>
                  <a:pt x="191" y="149"/>
                  <a:pt x="191" y="150"/>
                  <a:pt x="192" y="150"/>
                </a:cubicBezTo>
                <a:cubicBezTo>
                  <a:pt x="192" y="150"/>
                  <a:pt x="192" y="149"/>
                  <a:pt x="192" y="149"/>
                </a:cubicBezTo>
                <a:close/>
                <a:moveTo>
                  <a:pt x="254" y="227"/>
                </a:moveTo>
                <a:cubicBezTo>
                  <a:pt x="254" y="227"/>
                  <a:pt x="254" y="227"/>
                  <a:pt x="254" y="226"/>
                </a:cubicBezTo>
                <a:cubicBezTo>
                  <a:pt x="254" y="226"/>
                  <a:pt x="254" y="227"/>
                  <a:pt x="254" y="227"/>
                </a:cubicBezTo>
                <a:close/>
                <a:moveTo>
                  <a:pt x="55" y="268"/>
                </a:moveTo>
                <a:cubicBezTo>
                  <a:pt x="55" y="268"/>
                  <a:pt x="55" y="268"/>
                  <a:pt x="55" y="268"/>
                </a:cubicBezTo>
                <a:cubicBezTo>
                  <a:pt x="55" y="268"/>
                  <a:pt x="55" y="268"/>
                  <a:pt x="55" y="268"/>
                </a:cubicBezTo>
                <a:close/>
                <a:moveTo>
                  <a:pt x="51" y="270"/>
                </a:moveTo>
                <a:cubicBezTo>
                  <a:pt x="51" y="270"/>
                  <a:pt x="51" y="270"/>
                  <a:pt x="51" y="270"/>
                </a:cubicBezTo>
                <a:cubicBezTo>
                  <a:pt x="51" y="270"/>
                  <a:pt x="51" y="270"/>
                  <a:pt x="51" y="270"/>
                </a:cubicBezTo>
                <a:close/>
                <a:moveTo>
                  <a:pt x="54" y="262"/>
                </a:moveTo>
                <a:cubicBezTo>
                  <a:pt x="54" y="262"/>
                  <a:pt x="55" y="262"/>
                  <a:pt x="55" y="262"/>
                </a:cubicBezTo>
                <a:cubicBezTo>
                  <a:pt x="55" y="262"/>
                  <a:pt x="54" y="262"/>
                  <a:pt x="54" y="262"/>
                </a:cubicBezTo>
                <a:close/>
                <a:moveTo>
                  <a:pt x="64" y="280"/>
                </a:moveTo>
                <a:cubicBezTo>
                  <a:pt x="64" y="280"/>
                  <a:pt x="64" y="280"/>
                  <a:pt x="64" y="280"/>
                </a:cubicBezTo>
                <a:cubicBezTo>
                  <a:pt x="64" y="280"/>
                  <a:pt x="64" y="280"/>
                  <a:pt x="64" y="279"/>
                </a:cubicBezTo>
                <a:cubicBezTo>
                  <a:pt x="64" y="279"/>
                  <a:pt x="64" y="279"/>
                  <a:pt x="64" y="280"/>
                </a:cubicBezTo>
                <a:close/>
                <a:moveTo>
                  <a:pt x="54" y="262"/>
                </a:moveTo>
                <a:cubicBezTo>
                  <a:pt x="54" y="262"/>
                  <a:pt x="54" y="262"/>
                  <a:pt x="54" y="262"/>
                </a:cubicBezTo>
                <a:cubicBezTo>
                  <a:pt x="54" y="262"/>
                  <a:pt x="54" y="262"/>
                  <a:pt x="54" y="261"/>
                </a:cubicBezTo>
                <a:cubicBezTo>
                  <a:pt x="54" y="261"/>
                  <a:pt x="54" y="261"/>
                  <a:pt x="54" y="262"/>
                </a:cubicBezTo>
                <a:close/>
                <a:moveTo>
                  <a:pt x="50" y="271"/>
                </a:moveTo>
                <a:cubicBezTo>
                  <a:pt x="50" y="271"/>
                  <a:pt x="50" y="271"/>
                  <a:pt x="50" y="271"/>
                </a:cubicBezTo>
                <a:cubicBezTo>
                  <a:pt x="50" y="271"/>
                  <a:pt x="50" y="271"/>
                  <a:pt x="50" y="271"/>
                </a:cubicBezTo>
                <a:close/>
                <a:moveTo>
                  <a:pt x="55" y="274"/>
                </a:moveTo>
                <a:cubicBezTo>
                  <a:pt x="55" y="274"/>
                  <a:pt x="54" y="274"/>
                  <a:pt x="54" y="274"/>
                </a:cubicBezTo>
                <a:cubicBezTo>
                  <a:pt x="54" y="274"/>
                  <a:pt x="54" y="274"/>
                  <a:pt x="55" y="274"/>
                </a:cubicBezTo>
                <a:close/>
                <a:moveTo>
                  <a:pt x="59" y="299"/>
                </a:moveTo>
                <a:cubicBezTo>
                  <a:pt x="59" y="300"/>
                  <a:pt x="60" y="299"/>
                  <a:pt x="60" y="299"/>
                </a:cubicBezTo>
                <a:cubicBezTo>
                  <a:pt x="60" y="299"/>
                  <a:pt x="60" y="300"/>
                  <a:pt x="59" y="299"/>
                </a:cubicBezTo>
                <a:close/>
                <a:moveTo>
                  <a:pt x="56" y="267"/>
                </a:moveTo>
                <a:cubicBezTo>
                  <a:pt x="55" y="267"/>
                  <a:pt x="55" y="267"/>
                  <a:pt x="55" y="267"/>
                </a:cubicBezTo>
                <a:cubicBezTo>
                  <a:pt x="55" y="267"/>
                  <a:pt x="56" y="267"/>
                  <a:pt x="56" y="267"/>
                </a:cubicBezTo>
                <a:close/>
                <a:moveTo>
                  <a:pt x="64" y="271"/>
                </a:moveTo>
                <a:cubicBezTo>
                  <a:pt x="64" y="271"/>
                  <a:pt x="64" y="271"/>
                  <a:pt x="64" y="271"/>
                </a:cubicBezTo>
                <a:cubicBezTo>
                  <a:pt x="64" y="271"/>
                  <a:pt x="64" y="271"/>
                  <a:pt x="64" y="271"/>
                </a:cubicBezTo>
                <a:close/>
                <a:moveTo>
                  <a:pt x="269" y="84"/>
                </a:moveTo>
                <a:cubicBezTo>
                  <a:pt x="268" y="84"/>
                  <a:pt x="268" y="83"/>
                  <a:pt x="268" y="84"/>
                </a:cubicBezTo>
                <a:cubicBezTo>
                  <a:pt x="267" y="84"/>
                  <a:pt x="267" y="85"/>
                  <a:pt x="266" y="85"/>
                </a:cubicBezTo>
                <a:cubicBezTo>
                  <a:pt x="266" y="85"/>
                  <a:pt x="266" y="85"/>
                  <a:pt x="266" y="85"/>
                </a:cubicBezTo>
                <a:cubicBezTo>
                  <a:pt x="266" y="86"/>
                  <a:pt x="266" y="86"/>
                  <a:pt x="266" y="86"/>
                </a:cubicBezTo>
                <a:cubicBezTo>
                  <a:pt x="265" y="87"/>
                  <a:pt x="265" y="87"/>
                  <a:pt x="265" y="87"/>
                </a:cubicBezTo>
                <a:cubicBezTo>
                  <a:pt x="265" y="88"/>
                  <a:pt x="265" y="89"/>
                  <a:pt x="266" y="89"/>
                </a:cubicBezTo>
                <a:cubicBezTo>
                  <a:pt x="266" y="90"/>
                  <a:pt x="267" y="90"/>
                  <a:pt x="267" y="91"/>
                </a:cubicBezTo>
                <a:cubicBezTo>
                  <a:pt x="268" y="91"/>
                  <a:pt x="269" y="93"/>
                  <a:pt x="268" y="92"/>
                </a:cubicBezTo>
                <a:cubicBezTo>
                  <a:pt x="267" y="92"/>
                  <a:pt x="267" y="92"/>
                  <a:pt x="266" y="92"/>
                </a:cubicBezTo>
                <a:cubicBezTo>
                  <a:pt x="266" y="92"/>
                  <a:pt x="266" y="91"/>
                  <a:pt x="266" y="91"/>
                </a:cubicBezTo>
                <a:cubicBezTo>
                  <a:pt x="265" y="90"/>
                  <a:pt x="265" y="90"/>
                  <a:pt x="264" y="90"/>
                </a:cubicBezTo>
                <a:cubicBezTo>
                  <a:pt x="264" y="89"/>
                  <a:pt x="264" y="90"/>
                  <a:pt x="263" y="90"/>
                </a:cubicBezTo>
                <a:cubicBezTo>
                  <a:pt x="263" y="89"/>
                  <a:pt x="262" y="90"/>
                  <a:pt x="262" y="90"/>
                </a:cubicBezTo>
                <a:cubicBezTo>
                  <a:pt x="261" y="90"/>
                  <a:pt x="260" y="90"/>
                  <a:pt x="259" y="91"/>
                </a:cubicBezTo>
                <a:cubicBezTo>
                  <a:pt x="258" y="91"/>
                  <a:pt x="258" y="91"/>
                  <a:pt x="258" y="92"/>
                </a:cubicBezTo>
                <a:cubicBezTo>
                  <a:pt x="257" y="93"/>
                  <a:pt x="257" y="93"/>
                  <a:pt x="257" y="93"/>
                </a:cubicBezTo>
                <a:cubicBezTo>
                  <a:pt x="256" y="94"/>
                  <a:pt x="256" y="93"/>
                  <a:pt x="256" y="94"/>
                </a:cubicBezTo>
                <a:cubicBezTo>
                  <a:pt x="256" y="94"/>
                  <a:pt x="256" y="94"/>
                  <a:pt x="256" y="94"/>
                </a:cubicBezTo>
                <a:cubicBezTo>
                  <a:pt x="255" y="95"/>
                  <a:pt x="255" y="95"/>
                  <a:pt x="255" y="95"/>
                </a:cubicBezTo>
                <a:cubicBezTo>
                  <a:pt x="255" y="95"/>
                  <a:pt x="255" y="95"/>
                  <a:pt x="255" y="95"/>
                </a:cubicBezTo>
                <a:cubicBezTo>
                  <a:pt x="254" y="96"/>
                  <a:pt x="254" y="96"/>
                  <a:pt x="253" y="96"/>
                </a:cubicBezTo>
                <a:cubicBezTo>
                  <a:pt x="253" y="97"/>
                  <a:pt x="253" y="97"/>
                  <a:pt x="252" y="97"/>
                </a:cubicBezTo>
                <a:cubicBezTo>
                  <a:pt x="252" y="97"/>
                  <a:pt x="252" y="97"/>
                  <a:pt x="251" y="97"/>
                </a:cubicBezTo>
                <a:cubicBezTo>
                  <a:pt x="251" y="97"/>
                  <a:pt x="251" y="97"/>
                  <a:pt x="251" y="97"/>
                </a:cubicBezTo>
                <a:cubicBezTo>
                  <a:pt x="251" y="98"/>
                  <a:pt x="251" y="98"/>
                  <a:pt x="251" y="98"/>
                </a:cubicBezTo>
                <a:cubicBezTo>
                  <a:pt x="250" y="99"/>
                  <a:pt x="250" y="99"/>
                  <a:pt x="251" y="100"/>
                </a:cubicBezTo>
                <a:cubicBezTo>
                  <a:pt x="251" y="100"/>
                  <a:pt x="250" y="101"/>
                  <a:pt x="251" y="101"/>
                </a:cubicBezTo>
                <a:cubicBezTo>
                  <a:pt x="251" y="101"/>
                  <a:pt x="251" y="102"/>
                  <a:pt x="251" y="102"/>
                </a:cubicBezTo>
                <a:cubicBezTo>
                  <a:pt x="251" y="102"/>
                  <a:pt x="251" y="103"/>
                  <a:pt x="252" y="103"/>
                </a:cubicBezTo>
                <a:cubicBezTo>
                  <a:pt x="252" y="104"/>
                  <a:pt x="252" y="105"/>
                  <a:pt x="251" y="105"/>
                </a:cubicBezTo>
                <a:cubicBezTo>
                  <a:pt x="250" y="105"/>
                  <a:pt x="251" y="106"/>
                  <a:pt x="251" y="107"/>
                </a:cubicBezTo>
                <a:cubicBezTo>
                  <a:pt x="251" y="107"/>
                  <a:pt x="251" y="108"/>
                  <a:pt x="250" y="109"/>
                </a:cubicBezTo>
                <a:cubicBezTo>
                  <a:pt x="250" y="110"/>
                  <a:pt x="249" y="110"/>
                  <a:pt x="249" y="110"/>
                </a:cubicBezTo>
                <a:cubicBezTo>
                  <a:pt x="248" y="111"/>
                  <a:pt x="248" y="112"/>
                  <a:pt x="248" y="112"/>
                </a:cubicBezTo>
                <a:cubicBezTo>
                  <a:pt x="248" y="114"/>
                  <a:pt x="250" y="114"/>
                  <a:pt x="250" y="115"/>
                </a:cubicBezTo>
                <a:cubicBezTo>
                  <a:pt x="250" y="115"/>
                  <a:pt x="250" y="116"/>
                  <a:pt x="249" y="117"/>
                </a:cubicBezTo>
                <a:cubicBezTo>
                  <a:pt x="249" y="117"/>
                  <a:pt x="249" y="118"/>
                  <a:pt x="249" y="118"/>
                </a:cubicBezTo>
                <a:cubicBezTo>
                  <a:pt x="249" y="119"/>
                  <a:pt x="248" y="119"/>
                  <a:pt x="248" y="119"/>
                </a:cubicBezTo>
                <a:cubicBezTo>
                  <a:pt x="249" y="120"/>
                  <a:pt x="248" y="120"/>
                  <a:pt x="248" y="121"/>
                </a:cubicBezTo>
                <a:cubicBezTo>
                  <a:pt x="248" y="121"/>
                  <a:pt x="248" y="121"/>
                  <a:pt x="248" y="122"/>
                </a:cubicBezTo>
                <a:cubicBezTo>
                  <a:pt x="247" y="122"/>
                  <a:pt x="247" y="122"/>
                  <a:pt x="247" y="123"/>
                </a:cubicBezTo>
                <a:cubicBezTo>
                  <a:pt x="247" y="124"/>
                  <a:pt x="247" y="125"/>
                  <a:pt x="247" y="126"/>
                </a:cubicBezTo>
                <a:cubicBezTo>
                  <a:pt x="247" y="126"/>
                  <a:pt x="247" y="127"/>
                  <a:pt x="246" y="127"/>
                </a:cubicBezTo>
                <a:cubicBezTo>
                  <a:pt x="246" y="127"/>
                  <a:pt x="246" y="128"/>
                  <a:pt x="246" y="128"/>
                </a:cubicBezTo>
                <a:cubicBezTo>
                  <a:pt x="246" y="128"/>
                  <a:pt x="245" y="127"/>
                  <a:pt x="244" y="127"/>
                </a:cubicBezTo>
                <a:cubicBezTo>
                  <a:pt x="244" y="127"/>
                  <a:pt x="243" y="127"/>
                  <a:pt x="243" y="127"/>
                </a:cubicBezTo>
                <a:cubicBezTo>
                  <a:pt x="243" y="127"/>
                  <a:pt x="242" y="127"/>
                  <a:pt x="242" y="127"/>
                </a:cubicBezTo>
                <a:cubicBezTo>
                  <a:pt x="241" y="126"/>
                  <a:pt x="241" y="127"/>
                  <a:pt x="240" y="127"/>
                </a:cubicBezTo>
                <a:cubicBezTo>
                  <a:pt x="239" y="126"/>
                  <a:pt x="239" y="125"/>
                  <a:pt x="238" y="126"/>
                </a:cubicBezTo>
                <a:cubicBezTo>
                  <a:pt x="238" y="126"/>
                  <a:pt x="238" y="127"/>
                  <a:pt x="238" y="127"/>
                </a:cubicBezTo>
                <a:cubicBezTo>
                  <a:pt x="239" y="128"/>
                  <a:pt x="239" y="128"/>
                  <a:pt x="239" y="129"/>
                </a:cubicBezTo>
                <a:cubicBezTo>
                  <a:pt x="240" y="130"/>
                  <a:pt x="240" y="131"/>
                  <a:pt x="240" y="133"/>
                </a:cubicBezTo>
                <a:cubicBezTo>
                  <a:pt x="240" y="133"/>
                  <a:pt x="240" y="134"/>
                  <a:pt x="240" y="135"/>
                </a:cubicBezTo>
                <a:cubicBezTo>
                  <a:pt x="240" y="135"/>
                  <a:pt x="240" y="136"/>
                  <a:pt x="240" y="137"/>
                </a:cubicBezTo>
                <a:cubicBezTo>
                  <a:pt x="240" y="137"/>
                  <a:pt x="239" y="138"/>
                  <a:pt x="239" y="137"/>
                </a:cubicBezTo>
                <a:cubicBezTo>
                  <a:pt x="238" y="136"/>
                  <a:pt x="238" y="137"/>
                  <a:pt x="238" y="138"/>
                </a:cubicBezTo>
                <a:cubicBezTo>
                  <a:pt x="238" y="139"/>
                  <a:pt x="238" y="139"/>
                  <a:pt x="238" y="140"/>
                </a:cubicBezTo>
                <a:cubicBezTo>
                  <a:pt x="238" y="141"/>
                  <a:pt x="238" y="142"/>
                  <a:pt x="238" y="142"/>
                </a:cubicBezTo>
                <a:cubicBezTo>
                  <a:pt x="239" y="143"/>
                  <a:pt x="239" y="144"/>
                  <a:pt x="239" y="145"/>
                </a:cubicBezTo>
                <a:cubicBezTo>
                  <a:pt x="240" y="145"/>
                  <a:pt x="240" y="146"/>
                  <a:pt x="239" y="146"/>
                </a:cubicBezTo>
                <a:cubicBezTo>
                  <a:pt x="239" y="146"/>
                  <a:pt x="239" y="146"/>
                  <a:pt x="239" y="146"/>
                </a:cubicBezTo>
                <a:cubicBezTo>
                  <a:pt x="239" y="147"/>
                  <a:pt x="239" y="146"/>
                  <a:pt x="238" y="146"/>
                </a:cubicBezTo>
                <a:cubicBezTo>
                  <a:pt x="238" y="147"/>
                  <a:pt x="238" y="147"/>
                  <a:pt x="238" y="147"/>
                </a:cubicBezTo>
                <a:cubicBezTo>
                  <a:pt x="238" y="147"/>
                  <a:pt x="238" y="147"/>
                  <a:pt x="238" y="148"/>
                </a:cubicBezTo>
                <a:cubicBezTo>
                  <a:pt x="238" y="148"/>
                  <a:pt x="238" y="149"/>
                  <a:pt x="238" y="148"/>
                </a:cubicBezTo>
                <a:cubicBezTo>
                  <a:pt x="237" y="148"/>
                  <a:pt x="237" y="149"/>
                  <a:pt x="237" y="149"/>
                </a:cubicBezTo>
                <a:cubicBezTo>
                  <a:pt x="237" y="149"/>
                  <a:pt x="237" y="148"/>
                  <a:pt x="237" y="148"/>
                </a:cubicBezTo>
                <a:cubicBezTo>
                  <a:pt x="236" y="148"/>
                  <a:pt x="236" y="147"/>
                  <a:pt x="235" y="147"/>
                </a:cubicBezTo>
                <a:cubicBezTo>
                  <a:pt x="235" y="147"/>
                  <a:pt x="235" y="147"/>
                  <a:pt x="235" y="147"/>
                </a:cubicBezTo>
                <a:cubicBezTo>
                  <a:pt x="235" y="147"/>
                  <a:pt x="235" y="148"/>
                  <a:pt x="235" y="148"/>
                </a:cubicBezTo>
                <a:cubicBezTo>
                  <a:pt x="235" y="148"/>
                  <a:pt x="235" y="148"/>
                  <a:pt x="234" y="149"/>
                </a:cubicBezTo>
                <a:cubicBezTo>
                  <a:pt x="234" y="148"/>
                  <a:pt x="234" y="148"/>
                  <a:pt x="234" y="147"/>
                </a:cubicBezTo>
                <a:cubicBezTo>
                  <a:pt x="234" y="147"/>
                  <a:pt x="234" y="147"/>
                  <a:pt x="234" y="147"/>
                </a:cubicBezTo>
                <a:cubicBezTo>
                  <a:pt x="234" y="145"/>
                  <a:pt x="233" y="144"/>
                  <a:pt x="233" y="142"/>
                </a:cubicBezTo>
                <a:cubicBezTo>
                  <a:pt x="233" y="141"/>
                  <a:pt x="232" y="141"/>
                  <a:pt x="232" y="140"/>
                </a:cubicBezTo>
                <a:cubicBezTo>
                  <a:pt x="232" y="139"/>
                  <a:pt x="232" y="139"/>
                  <a:pt x="231" y="139"/>
                </a:cubicBezTo>
                <a:cubicBezTo>
                  <a:pt x="231" y="138"/>
                  <a:pt x="231" y="138"/>
                  <a:pt x="231" y="137"/>
                </a:cubicBezTo>
                <a:cubicBezTo>
                  <a:pt x="231" y="137"/>
                  <a:pt x="230" y="136"/>
                  <a:pt x="230" y="135"/>
                </a:cubicBezTo>
                <a:cubicBezTo>
                  <a:pt x="230" y="134"/>
                  <a:pt x="230" y="134"/>
                  <a:pt x="230" y="133"/>
                </a:cubicBezTo>
                <a:cubicBezTo>
                  <a:pt x="230" y="133"/>
                  <a:pt x="229" y="132"/>
                  <a:pt x="229" y="131"/>
                </a:cubicBezTo>
                <a:cubicBezTo>
                  <a:pt x="229" y="131"/>
                  <a:pt x="229" y="131"/>
                  <a:pt x="229" y="131"/>
                </a:cubicBezTo>
                <a:cubicBezTo>
                  <a:pt x="229" y="130"/>
                  <a:pt x="229" y="130"/>
                  <a:pt x="229" y="130"/>
                </a:cubicBezTo>
                <a:cubicBezTo>
                  <a:pt x="229" y="130"/>
                  <a:pt x="229" y="130"/>
                  <a:pt x="228" y="130"/>
                </a:cubicBezTo>
                <a:cubicBezTo>
                  <a:pt x="228" y="131"/>
                  <a:pt x="228" y="129"/>
                  <a:pt x="227" y="130"/>
                </a:cubicBezTo>
                <a:cubicBezTo>
                  <a:pt x="226" y="131"/>
                  <a:pt x="227" y="130"/>
                  <a:pt x="226" y="130"/>
                </a:cubicBezTo>
                <a:cubicBezTo>
                  <a:pt x="225" y="130"/>
                  <a:pt x="226" y="132"/>
                  <a:pt x="226" y="132"/>
                </a:cubicBezTo>
                <a:cubicBezTo>
                  <a:pt x="226" y="133"/>
                  <a:pt x="225" y="133"/>
                  <a:pt x="225" y="134"/>
                </a:cubicBezTo>
                <a:cubicBezTo>
                  <a:pt x="225" y="135"/>
                  <a:pt x="226" y="136"/>
                  <a:pt x="225" y="137"/>
                </a:cubicBezTo>
                <a:cubicBezTo>
                  <a:pt x="225" y="137"/>
                  <a:pt x="225" y="137"/>
                  <a:pt x="225" y="137"/>
                </a:cubicBezTo>
                <a:cubicBezTo>
                  <a:pt x="224" y="138"/>
                  <a:pt x="224" y="137"/>
                  <a:pt x="224" y="138"/>
                </a:cubicBezTo>
                <a:cubicBezTo>
                  <a:pt x="223" y="138"/>
                  <a:pt x="223" y="137"/>
                  <a:pt x="223" y="137"/>
                </a:cubicBezTo>
                <a:cubicBezTo>
                  <a:pt x="222" y="136"/>
                  <a:pt x="222" y="135"/>
                  <a:pt x="222" y="135"/>
                </a:cubicBezTo>
                <a:cubicBezTo>
                  <a:pt x="221" y="134"/>
                  <a:pt x="221" y="136"/>
                  <a:pt x="221" y="137"/>
                </a:cubicBezTo>
                <a:cubicBezTo>
                  <a:pt x="221" y="137"/>
                  <a:pt x="221" y="136"/>
                  <a:pt x="221" y="136"/>
                </a:cubicBezTo>
                <a:cubicBezTo>
                  <a:pt x="220" y="135"/>
                  <a:pt x="220" y="135"/>
                  <a:pt x="220" y="135"/>
                </a:cubicBezTo>
                <a:cubicBezTo>
                  <a:pt x="220" y="134"/>
                  <a:pt x="220" y="134"/>
                  <a:pt x="220" y="134"/>
                </a:cubicBezTo>
                <a:cubicBezTo>
                  <a:pt x="220" y="132"/>
                  <a:pt x="218" y="132"/>
                  <a:pt x="218" y="130"/>
                </a:cubicBezTo>
                <a:cubicBezTo>
                  <a:pt x="219" y="130"/>
                  <a:pt x="218" y="130"/>
                  <a:pt x="218" y="130"/>
                </a:cubicBezTo>
                <a:cubicBezTo>
                  <a:pt x="218" y="129"/>
                  <a:pt x="218" y="129"/>
                  <a:pt x="219" y="129"/>
                </a:cubicBezTo>
                <a:cubicBezTo>
                  <a:pt x="219" y="128"/>
                  <a:pt x="218" y="127"/>
                  <a:pt x="219" y="127"/>
                </a:cubicBezTo>
                <a:cubicBezTo>
                  <a:pt x="220" y="127"/>
                  <a:pt x="219" y="125"/>
                  <a:pt x="221" y="125"/>
                </a:cubicBezTo>
                <a:cubicBezTo>
                  <a:pt x="221" y="126"/>
                  <a:pt x="222" y="126"/>
                  <a:pt x="222" y="125"/>
                </a:cubicBezTo>
                <a:cubicBezTo>
                  <a:pt x="222" y="125"/>
                  <a:pt x="222" y="124"/>
                  <a:pt x="222" y="124"/>
                </a:cubicBezTo>
                <a:cubicBezTo>
                  <a:pt x="222" y="124"/>
                  <a:pt x="223" y="126"/>
                  <a:pt x="223" y="124"/>
                </a:cubicBezTo>
                <a:cubicBezTo>
                  <a:pt x="223" y="124"/>
                  <a:pt x="223" y="124"/>
                  <a:pt x="223" y="124"/>
                </a:cubicBezTo>
                <a:cubicBezTo>
                  <a:pt x="223" y="124"/>
                  <a:pt x="224" y="124"/>
                  <a:pt x="224" y="124"/>
                </a:cubicBezTo>
                <a:cubicBezTo>
                  <a:pt x="224" y="125"/>
                  <a:pt x="225" y="125"/>
                  <a:pt x="225" y="124"/>
                </a:cubicBezTo>
                <a:cubicBezTo>
                  <a:pt x="225" y="124"/>
                  <a:pt x="224" y="123"/>
                  <a:pt x="224" y="123"/>
                </a:cubicBezTo>
                <a:cubicBezTo>
                  <a:pt x="225" y="123"/>
                  <a:pt x="225" y="123"/>
                  <a:pt x="225" y="123"/>
                </a:cubicBezTo>
                <a:cubicBezTo>
                  <a:pt x="225" y="123"/>
                  <a:pt x="225" y="123"/>
                  <a:pt x="225" y="122"/>
                </a:cubicBezTo>
                <a:cubicBezTo>
                  <a:pt x="225" y="122"/>
                  <a:pt x="226" y="122"/>
                  <a:pt x="226" y="122"/>
                </a:cubicBezTo>
                <a:cubicBezTo>
                  <a:pt x="226" y="122"/>
                  <a:pt x="226" y="122"/>
                  <a:pt x="226" y="121"/>
                </a:cubicBezTo>
                <a:cubicBezTo>
                  <a:pt x="226" y="121"/>
                  <a:pt x="226" y="121"/>
                  <a:pt x="227" y="120"/>
                </a:cubicBezTo>
                <a:cubicBezTo>
                  <a:pt x="227" y="119"/>
                  <a:pt x="227" y="118"/>
                  <a:pt x="227" y="117"/>
                </a:cubicBezTo>
                <a:cubicBezTo>
                  <a:pt x="226" y="116"/>
                  <a:pt x="228" y="117"/>
                  <a:pt x="229" y="117"/>
                </a:cubicBezTo>
                <a:cubicBezTo>
                  <a:pt x="230" y="117"/>
                  <a:pt x="228" y="116"/>
                  <a:pt x="228" y="116"/>
                </a:cubicBezTo>
                <a:cubicBezTo>
                  <a:pt x="228" y="115"/>
                  <a:pt x="226" y="114"/>
                  <a:pt x="225" y="114"/>
                </a:cubicBezTo>
                <a:cubicBezTo>
                  <a:pt x="224" y="113"/>
                  <a:pt x="223" y="114"/>
                  <a:pt x="222" y="114"/>
                </a:cubicBezTo>
                <a:cubicBezTo>
                  <a:pt x="222" y="114"/>
                  <a:pt x="221" y="114"/>
                  <a:pt x="221" y="114"/>
                </a:cubicBezTo>
                <a:cubicBezTo>
                  <a:pt x="220" y="114"/>
                  <a:pt x="220" y="114"/>
                  <a:pt x="220" y="114"/>
                </a:cubicBezTo>
                <a:cubicBezTo>
                  <a:pt x="219" y="114"/>
                  <a:pt x="218" y="114"/>
                  <a:pt x="217" y="113"/>
                </a:cubicBezTo>
                <a:cubicBezTo>
                  <a:pt x="216" y="113"/>
                  <a:pt x="215" y="114"/>
                  <a:pt x="214" y="114"/>
                </a:cubicBezTo>
                <a:cubicBezTo>
                  <a:pt x="213" y="114"/>
                  <a:pt x="212" y="113"/>
                  <a:pt x="211" y="114"/>
                </a:cubicBezTo>
                <a:cubicBezTo>
                  <a:pt x="210" y="114"/>
                  <a:pt x="209" y="114"/>
                  <a:pt x="209" y="114"/>
                </a:cubicBezTo>
                <a:cubicBezTo>
                  <a:pt x="208" y="114"/>
                  <a:pt x="207" y="113"/>
                  <a:pt x="207" y="113"/>
                </a:cubicBezTo>
                <a:cubicBezTo>
                  <a:pt x="206" y="113"/>
                  <a:pt x="205" y="112"/>
                  <a:pt x="204" y="112"/>
                </a:cubicBezTo>
                <a:cubicBezTo>
                  <a:pt x="203" y="112"/>
                  <a:pt x="203" y="113"/>
                  <a:pt x="203" y="112"/>
                </a:cubicBezTo>
                <a:cubicBezTo>
                  <a:pt x="203" y="111"/>
                  <a:pt x="203" y="111"/>
                  <a:pt x="203" y="110"/>
                </a:cubicBezTo>
                <a:cubicBezTo>
                  <a:pt x="203" y="109"/>
                  <a:pt x="203" y="108"/>
                  <a:pt x="202" y="107"/>
                </a:cubicBezTo>
                <a:cubicBezTo>
                  <a:pt x="202" y="106"/>
                  <a:pt x="202" y="106"/>
                  <a:pt x="202" y="106"/>
                </a:cubicBezTo>
                <a:cubicBezTo>
                  <a:pt x="202" y="105"/>
                  <a:pt x="202" y="105"/>
                  <a:pt x="202" y="105"/>
                </a:cubicBezTo>
                <a:cubicBezTo>
                  <a:pt x="202" y="105"/>
                  <a:pt x="202" y="105"/>
                  <a:pt x="202" y="105"/>
                </a:cubicBezTo>
                <a:cubicBezTo>
                  <a:pt x="202" y="104"/>
                  <a:pt x="201" y="104"/>
                  <a:pt x="201" y="103"/>
                </a:cubicBezTo>
                <a:cubicBezTo>
                  <a:pt x="201" y="103"/>
                  <a:pt x="201" y="103"/>
                  <a:pt x="200" y="103"/>
                </a:cubicBezTo>
                <a:cubicBezTo>
                  <a:pt x="200" y="103"/>
                  <a:pt x="200" y="102"/>
                  <a:pt x="200" y="102"/>
                </a:cubicBezTo>
                <a:cubicBezTo>
                  <a:pt x="200" y="101"/>
                  <a:pt x="200" y="103"/>
                  <a:pt x="200" y="103"/>
                </a:cubicBezTo>
                <a:cubicBezTo>
                  <a:pt x="199" y="103"/>
                  <a:pt x="199" y="103"/>
                  <a:pt x="200" y="103"/>
                </a:cubicBezTo>
                <a:cubicBezTo>
                  <a:pt x="199" y="103"/>
                  <a:pt x="200" y="103"/>
                  <a:pt x="200" y="104"/>
                </a:cubicBezTo>
                <a:cubicBezTo>
                  <a:pt x="200" y="104"/>
                  <a:pt x="199" y="105"/>
                  <a:pt x="199" y="105"/>
                </a:cubicBezTo>
                <a:cubicBezTo>
                  <a:pt x="199" y="105"/>
                  <a:pt x="199" y="104"/>
                  <a:pt x="199" y="104"/>
                </a:cubicBezTo>
                <a:cubicBezTo>
                  <a:pt x="198" y="104"/>
                  <a:pt x="198" y="104"/>
                  <a:pt x="197" y="104"/>
                </a:cubicBezTo>
                <a:cubicBezTo>
                  <a:pt x="197" y="104"/>
                  <a:pt x="196" y="104"/>
                  <a:pt x="196" y="104"/>
                </a:cubicBezTo>
                <a:cubicBezTo>
                  <a:pt x="196" y="103"/>
                  <a:pt x="195" y="103"/>
                  <a:pt x="195" y="103"/>
                </a:cubicBezTo>
                <a:cubicBezTo>
                  <a:pt x="195" y="103"/>
                  <a:pt x="194" y="101"/>
                  <a:pt x="194" y="101"/>
                </a:cubicBezTo>
                <a:cubicBezTo>
                  <a:pt x="194" y="101"/>
                  <a:pt x="194" y="101"/>
                  <a:pt x="195" y="101"/>
                </a:cubicBezTo>
                <a:cubicBezTo>
                  <a:pt x="195" y="101"/>
                  <a:pt x="193" y="99"/>
                  <a:pt x="193" y="100"/>
                </a:cubicBezTo>
                <a:cubicBezTo>
                  <a:pt x="192" y="100"/>
                  <a:pt x="193" y="101"/>
                  <a:pt x="194" y="101"/>
                </a:cubicBezTo>
                <a:cubicBezTo>
                  <a:pt x="194" y="101"/>
                  <a:pt x="194" y="102"/>
                  <a:pt x="194" y="102"/>
                </a:cubicBezTo>
                <a:cubicBezTo>
                  <a:pt x="193" y="102"/>
                  <a:pt x="193" y="101"/>
                  <a:pt x="193" y="101"/>
                </a:cubicBezTo>
                <a:cubicBezTo>
                  <a:pt x="192" y="102"/>
                  <a:pt x="192" y="102"/>
                  <a:pt x="192" y="102"/>
                </a:cubicBezTo>
                <a:cubicBezTo>
                  <a:pt x="191" y="101"/>
                  <a:pt x="190" y="102"/>
                  <a:pt x="190" y="101"/>
                </a:cubicBezTo>
                <a:cubicBezTo>
                  <a:pt x="190" y="101"/>
                  <a:pt x="191" y="101"/>
                  <a:pt x="191" y="101"/>
                </a:cubicBezTo>
                <a:cubicBezTo>
                  <a:pt x="191" y="100"/>
                  <a:pt x="190" y="100"/>
                  <a:pt x="190" y="100"/>
                </a:cubicBezTo>
                <a:cubicBezTo>
                  <a:pt x="189" y="99"/>
                  <a:pt x="189" y="99"/>
                  <a:pt x="188" y="99"/>
                </a:cubicBezTo>
                <a:cubicBezTo>
                  <a:pt x="188" y="98"/>
                  <a:pt x="188" y="98"/>
                  <a:pt x="187" y="98"/>
                </a:cubicBezTo>
                <a:cubicBezTo>
                  <a:pt x="188" y="98"/>
                  <a:pt x="186" y="99"/>
                  <a:pt x="187" y="99"/>
                </a:cubicBezTo>
                <a:cubicBezTo>
                  <a:pt x="187" y="99"/>
                  <a:pt x="187" y="99"/>
                  <a:pt x="187" y="99"/>
                </a:cubicBezTo>
                <a:cubicBezTo>
                  <a:pt x="187" y="99"/>
                  <a:pt x="188" y="99"/>
                  <a:pt x="188" y="99"/>
                </a:cubicBezTo>
                <a:cubicBezTo>
                  <a:pt x="188" y="99"/>
                  <a:pt x="189" y="100"/>
                  <a:pt x="189" y="101"/>
                </a:cubicBezTo>
                <a:cubicBezTo>
                  <a:pt x="189" y="101"/>
                  <a:pt x="189" y="101"/>
                  <a:pt x="188" y="101"/>
                </a:cubicBezTo>
                <a:cubicBezTo>
                  <a:pt x="188" y="100"/>
                  <a:pt x="188" y="101"/>
                  <a:pt x="188" y="101"/>
                </a:cubicBezTo>
                <a:cubicBezTo>
                  <a:pt x="188" y="101"/>
                  <a:pt x="187" y="101"/>
                  <a:pt x="187" y="102"/>
                </a:cubicBezTo>
                <a:cubicBezTo>
                  <a:pt x="187" y="103"/>
                  <a:pt x="186" y="102"/>
                  <a:pt x="186" y="103"/>
                </a:cubicBezTo>
                <a:cubicBezTo>
                  <a:pt x="186" y="104"/>
                  <a:pt x="186" y="104"/>
                  <a:pt x="186" y="104"/>
                </a:cubicBezTo>
                <a:cubicBezTo>
                  <a:pt x="186" y="104"/>
                  <a:pt x="186" y="104"/>
                  <a:pt x="186" y="105"/>
                </a:cubicBezTo>
                <a:cubicBezTo>
                  <a:pt x="186" y="105"/>
                  <a:pt x="186" y="105"/>
                  <a:pt x="186" y="106"/>
                </a:cubicBezTo>
                <a:cubicBezTo>
                  <a:pt x="186" y="107"/>
                  <a:pt x="187" y="106"/>
                  <a:pt x="188" y="107"/>
                </a:cubicBezTo>
                <a:cubicBezTo>
                  <a:pt x="188" y="107"/>
                  <a:pt x="189" y="108"/>
                  <a:pt x="189" y="108"/>
                </a:cubicBezTo>
                <a:cubicBezTo>
                  <a:pt x="189" y="108"/>
                  <a:pt x="189" y="109"/>
                  <a:pt x="190" y="109"/>
                </a:cubicBezTo>
                <a:cubicBezTo>
                  <a:pt x="190" y="110"/>
                  <a:pt x="191" y="111"/>
                  <a:pt x="192" y="110"/>
                </a:cubicBezTo>
                <a:cubicBezTo>
                  <a:pt x="193" y="110"/>
                  <a:pt x="193" y="110"/>
                  <a:pt x="193" y="110"/>
                </a:cubicBezTo>
                <a:cubicBezTo>
                  <a:pt x="193" y="111"/>
                  <a:pt x="193" y="111"/>
                  <a:pt x="194" y="112"/>
                </a:cubicBezTo>
                <a:cubicBezTo>
                  <a:pt x="194" y="112"/>
                  <a:pt x="195" y="112"/>
                  <a:pt x="195" y="112"/>
                </a:cubicBezTo>
                <a:cubicBezTo>
                  <a:pt x="195" y="113"/>
                  <a:pt x="195" y="113"/>
                  <a:pt x="195" y="114"/>
                </a:cubicBezTo>
                <a:cubicBezTo>
                  <a:pt x="195" y="114"/>
                  <a:pt x="194" y="113"/>
                  <a:pt x="194" y="113"/>
                </a:cubicBezTo>
                <a:cubicBezTo>
                  <a:pt x="194" y="114"/>
                  <a:pt x="193" y="114"/>
                  <a:pt x="193" y="114"/>
                </a:cubicBezTo>
                <a:cubicBezTo>
                  <a:pt x="193" y="113"/>
                  <a:pt x="192" y="113"/>
                  <a:pt x="192" y="113"/>
                </a:cubicBezTo>
                <a:cubicBezTo>
                  <a:pt x="191" y="113"/>
                  <a:pt x="191" y="114"/>
                  <a:pt x="191" y="113"/>
                </a:cubicBezTo>
                <a:cubicBezTo>
                  <a:pt x="190" y="113"/>
                  <a:pt x="190" y="115"/>
                  <a:pt x="190" y="115"/>
                </a:cubicBezTo>
                <a:cubicBezTo>
                  <a:pt x="190" y="116"/>
                  <a:pt x="190" y="116"/>
                  <a:pt x="190" y="117"/>
                </a:cubicBezTo>
                <a:cubicBezTo>
                  <a:pt x="189" y="117"/>
                  <a:pt x="189" y="116"/>
                  <a:pt x="189" y="116"/>
                </a:cubicBezTo>
                <a:cubicBezTo>
                  <a:pt x="187" y="116"/>
                  <a:pt x="188" y="117"/>
                  <a:pt x="188" y="117"/>
                </a:cubicBezTo>
                <a:cubicBezTo>
                  <a:pt x="187" y="118"/>
                  <a:pt x="187" y="119"/>
                  <a:pt x="188" y="120"/>
                </a:cubicBezTo>
                <a:cubicBezTo>
                  <a:pt x="188" y="121"/>
                  <a:pt x="189" y="121"/>
                  <a:pt x="190" y="122"/>
                </a:cubicBezTo>
                <a:cubicBezTo>
                  <a:pt x="191" y="122"/>
                  <a:pt x="192" y="123"/>
                  <a:pt x="193" y="123"/>
                </a:cubicBezTo>
                <a:cubicBezTo>
                  <a:pt x="193" y="123"/>
                  <a:pt x="194" y="123"/>
                  <a:pt x="194" y="123"/>
                </a:cubicBezTo>
                <a:cubicBezTo>
                  <a:pt x="195" y="124"/>
                  <a:pt x="194" y="124"/>
                  <a:pt x="194" y="125"/>
                </a:cubicBezTo>
                <a:cubicBezTo>
                  <a:pt x="194" y="125"/>
                  <a:pt x="195" y="126"/>
                  <a:pt x="195" y="126"/>
                </a:cubicBezTo>
                <a:cubicBezTo>
                  <a:pt x="195" y="126"/>
                  <a:pt x="195" y="127"/>
                  <a:pt x="195" y="127"/>
                </a:cubicBezTo>
                <a:cubicBezTo>
                  <a:pt x="195" y="128"/>
                  <a:pt x="195" y="128"/>
                  <a:pt x="194" y="128"/>
                </a:cubicBezTo>
                <a:cubicBezTo>
                  <a:pt x="193" y="128"/>
                  <a:pt x="194" y="129"/>
                  <a:pt x="194" y="130"/>
                </a:cubicBezTo>
                <a:cubicBezTo>
                  <a:pt x="194" y="131"/>
                  <a:pt x="194" y="131"/>
                  <a:pt x="195" y="131"/>
                </a:cubicBezTo>
                <a:cubicBezTo>
                  <a:pt x="195" y="132"/>
                  <a:pt x="195" y="132"/>
                  <a:pt x="195" y="132"/>
                </a:cubicBezTo>
                <a:cubicBezTo>
                  <a:pt x="196" y="132"/>
                  <a:pt x="196" y="132"/>
                  <a:pt x="196" y="132"/>
                </a:cubicBezTo>
                <a:cubicBezTo>
                  <a:pt x="196" y="132"/>
                  <a:pt x="196" y="132"/>
                  <a:pt x="196" y="132"/>
                </a:cubicBezTo>
                <a:cubicBezTo>
                  <a:pt x="197" y="132"/>
                  <a:pt x="196" y="134"/>
                  <a:pt x="196" y="134"/>
                </a:cubicBezTo>
                <a:cubicBezTo>
                  <a:pt x="196" y="135"/>
                  <a:pt x="197" y="135"/>
                  <a:pt x="197" y="135"/>
                </a:cubicBezTo>
                <a:cubicBezTo>
                  <a:pt x="197" y="135"/>
                  <a:pt x="198" y="135"/>
                  <a:pt x="198" y="135"/>
                </a:cubicBezTo>
                <a:cubicBezTo>
                  <a:pt x="198" y="135"/>
                  <a:pt x="198" y="136"/>
                  <a:pt x="197" y="137"/>
                </a:cubicBezTo>
                <a:cubicBezTo>
                  <a:pt x="197" y="138"/>
                  <a:pt x="198" y="138"/>
                  <a:pt x="198" y="139"/>
                </a:cubicBezTo>
                <a:cubicBezTo>
                  <a:pt x="199" y="139"/>
                  <a:pt x="199" y="140"/>
                  <a:pt x="199" y="141"/>
                </a:cubicBezTo>
                <a:cubicBezTo>
                  <a:pt x="199" y="141"/>
                  <a:pt x="199" y="142"/>
                  <a:pt x="199" y="142"/>
                </a:cubicBezTo>
                <a:cubicBezTo>
                  <a:pt x="200" y="143"/>
                  <a:pt x="199" y="144"/>
                  <a:pt x="200" y="145"/>
                </a:cubicBezTo>
                <a:cubicBezTo>
                  <a:pt x="200" y="145"/>
                  <a:pt x="201" y="147"/>
                  <a:pt x="201" y="147"/>
                </a:cubicBezTo>
                <a:cubicBezTo>
                  <a:pt x="201" y="147"/>
                  <a:pt x="200" y="147"/>
                  <a:pt x="200" y="147"/>
                </a:cubicBezTo>
                <a:cubicBezTo>
                  <a:pt x="200" y="148"/>
                  <a:pt x="201" y="149"/>
                  <a:pt x="201" y="149"/>
                </a:cubicBezTo>
                <a:cubicBezTo>
                  <a:pt x="201" y="149"/>
                  <a:pt x="200" y="149"/>
                  <a:pt x="200" y="149"/>
                </a:cubicBezTo>
                <a:cubicBezTo>
                  <a:pt x="200" y="149"/>
                  <a:pt x="200" y="149"/>
                  <a:pt x="199" y="149"/>
                </a:cubicBezTo>
                <a:cubicBezTo>
                  <a:pt x="199" y="149"/>
                  <a:pt x="200" y="150"/>
                  <a:pt x="200" y="150"/>
                </a:cubicBezTo>
                <a:cubicBezTo>
                  <a:pt x="201" y="151"/>
                  <a:pt x="201" y="152"/>
                  <a:pt x="201" y="152"/>
                </a:cubicBezTo>
                <a:cubicBezTo>
                  <a:pt x="201" y="153"/>
                  <a:pt x="201" y="153"/>
                  <a:pt x="200" y="153"/>
                </a:cubicBezTo>
                <a:cubicBezTo>
                  <a:pt x="199" y="152"/>
                  <a:pt x="199" y="152"/>
                  <a:pt x="199" y="151"/>
                </a:cubicBezTo>
                <a:cubicBezTo>
                  <a:pt x="199" y="151"/>
                  <a:pt x="199" y="153"/>
                  <a:pt x="199" y="153"/>
                </a:cubicBezTo>
                <a:cubicBezTo>
                  <a:pt x="199" y="153"/>
                  <a:pt x="199" y="152"/>
                  <a:pt x="199" y="152"/>
                </a:cubicBezTo>
                <a:cubicBezTo>
                  <a:pt x="199" y="152"/>
                  <a:pt x="199" y="154"/>
                  <a:pt x="198" y="153"/>
                </a:cubicBezTo>
                <a:cubicBezTo>
                  <a:pt x="198" y="153"/>
                  <a:pt x="198" y="152"/>
                  <a:pt x="198" y="152"/>
                </a:cubicBezTo>
                <a:cubicBezTo>
                  <a:pt x="198" y="151"/>
                  <a:pt x="197" y="149"/>
                  <a:pt x="198" y="149"/>
                </a:cubicBezTo>
                <a:cubicBezTo>
                  <a:pt x="198" y="148"/>
                  <a:pt x="197" y="148"/>
                  <a:pt x="198" y="147"/>
                </a:cubicBezTo>
                <a:cubicBezTo>
                  <a:pt x="197" y="147"/>
                  <a:pt x="197" y="148"/>
                  <a:pt x="197" y="148"/>
                </a:cubicBezTo>
                <a:cubicBezTo>
                  <a:pt x="197" y="148"/>
                  <a:pt x="198" y="149"/>
                  <a:pt x="197" y="149"/>
                </a:cubicBezTo>
                <a:cubicBezTo>
                  <a:pt x="196" y="149"/>
                  <a:pt x="197" y="148"/>
                  <a:pt x="197" y="148"/>
                </a:cubicBezTo>
                <a:cubicBezTo>
                  <a:pt x="197" y="148"/>
                  <a:pt x="197" y="146"/>
                  <a:pt x="197" y="146"/>
                </a:cubicBezTo>
                <a:cubicBezTo>
                  <a:pt x="196" y="146"/>
                  <a:pt x="196" y="148"/>
                  <a:pt x="196" y="148"/>
                </a:cubicBezTo>
                <a:cubicBezTo>
                  <a:pt x="197" y="148"/>
                  <a:pt x="196" y="149"/>
                  <a:pt x="196" y="150"/>
                </a:cubicBezTo>
                <a:cubicBezTo>
                  <a:pt x="196" y="150"/>
                  <a:pt x="196" y="151"/>
                  <a:pt x="196" y="151"/>
                </a:cubicBezTo>
                <a:cubicBezTo>
                  <a:pt x="196" y="151"/>
                  <a:pt x="197" y="151"/>
                  <a:pt x="197" y="151"/>
                </a:cubicBezTo>
                <a:cubicBezTo>
                  <a:pt x="197" y="151"/>
                  <a:pt x="197" y="152"/>
                  <a:pt x="197" y="152"/>
                </a:cubicBezTo>
                <a:cubicBezTo>
                  <a:pt x="197" y="152"/>
                  <a:pt x="197" y="154"/>
                  <a:pt x="196" y="153"/>
                </a:cubicBezTo>
                <a:cubicBezTo>
                  <a:pt x="196" y="154"/>
                  <a:pt x="196" y="154"/>
                  <a:pt x="196" y="153"/>
                </a:cubicBezTo>
                <a:cubicBezTo>
                  <a:pt x="196" y="153"/>
                  <a:pt x="196" y="152"/>
                  <a:pt x="196" y="152"/>
                </a:cubicBezTo>
                <a:cubicBezTo>
                  <a:pt x="196" y="151"/>
                  <a:pt x="196" y="151"/>
                  <a:pt x="196" y="150"/>
                </a:cubicBezTo>
                <a:cubicBezTo>
                  <a:pt x="196" y="150"/>
                  <a:pt x="196" y="150"/>
                  <a:pt x="196" y="150"/>
                </a:cubicBezTo>
                <a:cubicBezTo>
                  <a:pt x="195" y="149"/>
                  <a:pt x="196" y="149"/>
                  <a:pt x="195" y="149"/>
                </a:cubicBezTo>
                <a:cubicBezTo>
                  <a:pt x="195" y="149"/>
                  <a:pt x="195" y="149"/>
                  <a:pt x="195" y="150"/>
                </a:cubicBezTo>
                <a:cubicBezTo>
                  <a:pt x="195" y="150"/>
                  <a:pt x="196" y="150"/>
                  <a:pt x="195" y="151"/>
                </a:cubicBezTo>
                <a:cubicBezTo>
                  <a:pt x="195" y="151"/>
                  <a:pt x="195" y="151"/>
                  <a:pt x="195" y="152"/>
                </a:cubicBezTo>
                <a:cubicBezTo>
                  <a:pt x="196" y="152"/>
                  <a:pt x="195" y="153"/>
                  <a:pt x="195" y="153"/>
                </a:cubicBezTo>
                <a:cubicBezTo>
                  <a:pt x="195" y="153"/>
                  <a:pt x="195" y="152"/>
                  <a:pt x="195" y="152"/>
                </a:cubicBezTo>
                <a:cubicBezTo>
                  <a:pt x="194" y="152"/>
                  <a:pt x="194" y="152"/>
                  <a:pt x="194" y="152"/>
                </a:cubicBezTo>
                <a:cubicBezTo>
                  <a:pt x="194" y="152"/>
                  <a:pt x="194" y="153"/>
                  <a:pt x="194" y="153"/>
                </a:cubicBezTo>
                <a:cubicBezTo>
                  <a:pt x="194" y="153"/>
                  <a:pt x="194" y="151"/>
                  <a:pt x="193" y="151"/>
                </a:cubicBezTo>
                <a:cubicBezTo>
                  <a:pt x="193" y="151"/>
                  <a:pt x="194" y="153"/>
                  <a:pt x="194" y="153"/>
                </a:cubicBezTo>
                <a:cubicBezTo>
                  <a:pt x="194" y="154"/>
                  <a:pt x="193" y="153"/>
                  <a:pt x="193" y="153"/>
                </a:cubicBezTo>
                <a:cubicBezTo>
                  <a:pt x="193" y="152"/>
                  <a:pt x="193" y="152"/>
                  <a:pt x="193" y="152"/>
                </a:cubicBezTo>
                <a:cubicBezTo>
                  <a:pt x="193" y="150"/>
                  <a:pt x="192" y="150"/>
                  <a:pt x="192" y="148"/>
                </a:cubicBezTo>
                <a:cubicBezTo>
                  <a:pt x="193" y="148"/>
                  <a:pt x="193" y="147"/>
                  <a:pt x="192" y="147"/>
                </a:cubicBezTo>
                <a:cubicBezTo>
                  <a:pt x="192" y="146"/>
                  <a:pt x="191" y="146"/>
                  <a:pt x="191" y="146"/>
                </a:cubicBezTo>
                <a:cubicBezTo>
                  <a:pt x="190" y="147"/>
                  <a:pt x="190" y="144"/>
                  <a:pt x="189" y="144"/>
                </a:cubicBezTo>
                <a:cubicBezTo>
                  <a:pt x="190" y="144"/>
                  <a:pt x="189" y="146"/>
                  <a:pt x="191" y="146"/>
                </a:cubicBezTo>
                <a:cubicBezTo>
                  <a:pt x="191" y="147"/>
                  <a:pt x="193" y="147"/>
                  <a:pt x="192" y="148"/>
                </a:cubicBezTo>
                <a:cubicBezTo>
                  <a:pt x="191" y="149"/>
                  <a:pt x="191" y="150"/>
                  <a:pt x="190" y="150"/>
                </a:cubicBezTo>
                <a:cubicBezTo>
                  <a:pt x="190" y="152"/>
                  <a:pt x="188" y="152"/>
                  <a:pt x="187" y="153"/>
                </a:cubicBezTo>
                <a:cubicBezTo>
                  <a:pt x="186" y="153"/>
                  <a:pt x="186" y="153"/>
                  <a:pt x="185" y="153"/>
                </a:cubicBezTo>
                <a:cubicBezTo>
                  <a:pt x="185" y="153"/>
                  <a:pt x="184" y="153"/>
                  <a:pt x="184" y="154"/>
                </a:cubicBezTo>
                <a:cubicBezTo>
                  <a:pt x="182" y="154"/>
                  <a:pt x="181" y="155"/>
                  <a:pt x="181" y="157"/>
                </a:cubicBezTo>
                <a:cubicBezTo>
                  <a:pt x="180" y="158"/>
                  <a:pt x="181" y="159"/>
                  <a:pt x="182" y="160"/>
                </a:cubicBezTo>
                <a:cubicBezTo>
                  <a:pt x="182" y="161"/>
                  <a:pt x="182" y="161"/>
                  <a:pt x="182" y="162"/>
                </a:cubicBezTo>
                <a:cubicBezTo>
                  <a:pt x="182" y="162"/>
                  <a:pt x="182" y="162"/>
                  <a:pt x="182" y="162"/>
                </a:cubicBezTo>
                <a:cubicBezTo>
                  <a:pt x="182" y="162"/>
                  <a:pt x="183" y="162"/>
                  <a:pt x="183" y="162"/>
                </a:cubicBezTo>
                <a:cubicBezTo>
                  <a:pt x="183" y="162"/>
                  <a:pt x="182" y="163"/>
                  <a:pt x="182" y="163"/>
                </a:cubicBezTo>
                <a:cubicBezTo>
                  <a:pt x="183" y="163"/>
                  <a:pt x="183" y="163"/>
                  <a:pt x="183" y="163"/>
                </a:cubicBezTo>
                <a:cubicBezTo>
                  <a:pt x="182" y="164"/>
                  <a:pt x="182" y="164"/>
                  <a:pt x="181" y="164"/>
                </a:cubicBezTo>
                <a:cubicBezTo>
                  <a:pt x="181" y="165"/>
                  <a:pt x="180" y="166"/>
                  <a:pt x="181" y="166"/>
                </a:cubicBezTo>
                <a:cubicBezTo>
                  <a:pt x="181" y="166"/>
                  <a:pt x="181" y="166"/>
                  <a:pt x="181" y="166"/>
                </a:cubicBezTo>
                <a:cubicBezTo>
                  <a:pt x="181" y="166"/>
                  <a:pt x="181" y="166"/>
                  <a:pt x="181" y="166"/>
                </a:cubicBezTo>
                <a:cubicBezTo>
                  <a:pt x="182" y="166"/>
                  <a:pt x="181" y="167"/>
                  <a:pt x="180" y="167"/>
                </a:cubicBezTo>
                <a:cubicBezTo>
                  <a:pt x="180" y="167"/>
                  <a:pt x="181" y="167"/>
                  <a:pt x="181" y="167"/>
                </a:cubicBezTo>
                <a:cubicBezTo>
                  <a:pt x="180" y="168"/>
                  <a:pt x="180" y="168"/>
                  <a:pt x="179" y="168"/>
                </a:cubicBezTo>
                <a:cubicBezTo>
                  <a:pt x="179" y="169"/>
                  <a:pt x="179" y="169"/>
                  <a:pt x="179" y="169"/>
                </a:cubicBezTo>
                <a:cubicBezTo>
                  <a:pt x="178" y="170"/>
                  <a:pt x="178" y="170"/>
                  <a:pt x="178" y="170"/>
                </a:cubicBezTo>
                <a:cubicBezTo>
                  <a:pt x="178" y="170"/>
                  <a:pt x="178" y="171"/>
                  <a:pt x="178" y="171"/>
                </a:cubicBezTo>
                <a:cubicBezTo>
                  <a:pt x="178" y="171"/>
                  <a:pt x="177" y="170"/>
                  <a:pt x="177" y="170"/>
                </a:cubicBezTo>
                <a:cubicBezTo>
                  <a:pt x="176" y="170"/>
                  <a:pt x="176" y="170"/>
                  <a:pt x="175" y="169"/>
                </a:cubicBezTo>
                <a:cubicBezTo>
                  <a:pt x="175" y="170"/>
                  <a:pt x="177" y="171"/>
                  <a:pt x="178" y="171"/>
                </a:cubicBezTo>
                <a:cubicBezTo>
                  <a:pt x="177" y="171"/>
                  <a:pt x="176" y="172"/>
                  <a:pt x="175" y="172"/>
                </a:cubicBezTo>
                <a:cubicBezTo>
                  <a:pt x="174" y="173"/>
                  <a:pt x="173" y="173"/>
                  <a:pt x="172" y="173"/>
                </a:cubicBezTo>
                <a:cubicBezTo>
                  <a:pt x="171" y="173"/>
                  <a:pt x="170" y="174"/>
                  <a:pt x="170" y="174"/>
                </a:cubicBezTo>
                <a:cubicBezTo>
                  <a:pt x="170" y="174"/>
                  <a:pt x="169" y="174"/>
                  <a:pt x="169" y="174"/>
                </a:cubicBezTo>
                <a:cubicBezTo>
                  <a:pt x="169" y="173"/>
                  <a:pt x="170" y="173"/>
                  <a:pt x="170" y="173"/>
                </a:cubicBezTo>
                <a:cubicBezTo>
                  <a:pt x="170" y="173"/>
                  <a:pt x="170" y="174"/>
                  <a:pt x="170" y="174"/>
                </a:cubicBezTo>
                <a:cubicBezTo>
                  <a:pt x="171" y="173"/>
                  <a:pt x="170" y="170"/>
                  <a:pt x="168" y="172"/>
                </a:cubicBezTo>
                <a:cubicBezTo>
                  <a:pt x="168" y="173"/>
                  <a:pt x="168" y="173"/>
                  <a:pt x="167" y="173"/>
                </a:cubicBezTo>
                <a:cubicBezTo>
                  <a:pt x="167" y="173"/>
                  <a:pt x="167" y="174"/>
                  <a:pt x="167" y="174"/>
                </a:cubicBezTo>
                <a:cubicBezTo>
                  <a:pt x="166" y="175"/>
                  <a:pt x="167" y="175"/>
                  <a:pt x="166" y="175"/>
                </a:cubicBezTo>
                <a:cubicBezTo>
                  <a:pt x="166" y="176"/>
                  <a:pt x="166" y="176"/>
                  <a:pt x="166" y="176"/>
                </a:cubicBezTo>
                <a:cubicBezTo>
                  <a:pt x="167" y="176"/>
                  <a:pt x="167" y="176"/>
                  <a:pt x="167" y="175"/>
                </a:cubicBezTo>
                <a:cubicBezTo>
                  <a:pt x="167" y="175"/>
                  <a:pt x="167" y="175"/>
                  <a:pt x="167" y="175"/>
                </a:cubicBezTo>
                <a:cubicBezTo>
                  <a:pt x="167" y="175"/>
                  <a:pt x="167" y="175"/>
                  <a:pt x="167" y="175"/>
                </a:cubicBezTo>
                <a:cubicBezTo>
                  <a:pt x="167" y="175"/>
                  <a:pt x="167" y="174"/>
                  <a:pt x="167" y="174"/>
                </a:cubicBezTo>
                <a:cubicBezTo>
                  <a:pt x="168" y="174"/>
                  <a:pt x="168" y="174"/>
                  <a:pt x="168" y="174"/>
                </a:cubicBezTo>
                <a:cubicBezTo>
                  <a:pt x="169" y="174"/>
                  <a:pt x="169" y="175"/>
                  <a:pt x="169" y="175"/>
                </a:cubicBezTo>
                <a:cubicBezTo>
                  <a:pt x="168" y="175"/>
                  <a:pt x="168" y="175"/>
                  <a:pt x="168" y="175"/>
                </a:cubicBezTo>
                <a:cubicBezTo>
                  <a:pt x="168" y="175"/>
                  <a:pt x="169" y="175"/>
                  <a:pt x="169" y="175"/>
                </a:cubicBezTo>
                <a:cubicBezTo>
                  <a:pt x="167" y="175"/>
                  <a:pt x="167" y="177"/>
                  <a:pt x="166" y="178"/>
                </a:cubicBezTo>
                <a:cubicBezTo>
                  <a:pt x="165" y="178"/>
                  <a:pt x="165" y="179"/>
                  <a:pt x="164" y="179"/>
                </a:cubicBezTo>
                <a:cubicBezTo>
                  <a:pt x="164" y="179"/>
                  <a:pt x="164" y="181"/>
                  <a:pt x="163" y="180"/>
                </a:cubicBezTo>
                <a:cubicBezTo>
                  <a:pt x="163" y="180"/>
                  <a:pt x="163" y="181"/>
                  <a:pt x="164" y="180"/>
                </a:cubicBezTo>
                <a:cubicBezTo>
                  <a:pt x="163" y="182"/>
                  <a:pt x="162" y="183"/>
                  <a:pt x="161" y="185"/>
                </a:cubicBezTo>
                <a:cubicBezTo>
                  <a:pt x="161" y="185"/>
                  <a:pt x="159" y="187"/>
                  <a:pt x="159" y="187"/>
                </a:cubicBezTo>
                <a:cubicBezTo>
                  <a:pt x="159" y="187"/>
                  <a:pt x="160" y="187"/>
                  <a:pt x="160" y="187"/>
                </a:cubicBezTo>
                <a:cubicBezTo>
                  <a:pt x="159" y="187"/>
                  <a:pt x="159" y="188"/>
                  <a:pt x="158" y="188"/>
                </a:cubicBezTo>
                <a:cubicBezTo>
                  <a:pt x="158" y="189"/>
                  <a:pt x="158" y="189"/>
                  <a:pt x="157" y="190"/>
                </a:cubicBezTo>
                <a:cubicBezTo>
                  <a:pt x="156" y="190"/>
                  <a:pt x="155" y="191"/>
                  <a:pt x="154" y="192"/>
                </a:cubicBezTo>
                <a:cubicBezTo>
                  <a:pt x="154" y="192"/>
                  <a:pt x="153" y="193"/>
                  <a:pt x="153" y="193"/>
                </a:cubicBezTo>
                <a:cubicBezTo>
                  <a:pt x="153" y="193"/>
                  <a:pt x="152" y="193"/>
                  <a:pt x="152" y="194"/>
                </a:cubicBezTo>
                <a:cubicBezTo>
                  <a:pt x="152" y="194"/>
                  <a:pt x="152" y="195"/>
                  <a:pt x="152" y="195"/>
                </a:cubicBezTo>
                <a:cubicBezTo>
                  <a:pt x="151" y="195"/>
                  <a:pt x="151" y="196"/>
                  <a:pt x="151" y="196"/>
                </a:cubicBezTo>
                <a:cubicBezTo>
                  <a:pt x="151" y="196"/>
                  <a:pt x="151" y="196"/>
                  <a:pt x="151" y="196"/>
                </a:cubicBezTo>
                <a:cubicBezTo>
                  <a:pt x="150" y="196"/>
                  <a:pt x="151" y="196"/>
                  <a:pt x="151" y="196"/>
                </a:cubicBezTo>
                <a:cubicBezTo>
                  <a:pt x="151" y="196"/>
                  <a:pt x="150" y="196"/>
                  <a:pt x="150" y="197"/>
                </a:cubicBezTo>
                <a:cubicBezTo>
                  <a:pt x="150" y="197"/>
                  <a:pt x="150" y="197"/>
                  <a:pt x="151" y="197"/>
                </a:cubicBezTo>
                <a:cubicBezTo>
                  <a:pt x="150" y="197"/>
                  <a:pt x="150" y="197"/>
                  <a:pt x="150" y="197"/>
                </a:cubicBezTo>
                <a:cubicBezTo>
                  <a:pt x="149" y="198"/>
                  <a:pt x="149" y="198"/>
                  <a:pt x="148" y="198"/>
                </a:cubicBezTo>
                <a:cubicBezTo>
                  <a:pt x="148" y="199"/>
                  <a:pt x="146" y="199"/>
                  <a:pt x="145" y="200"/>
                </a:cubicBezTo>
                <a:cubicBezTo>
                  <a:pt x="145" y="200"/>
                  <a:pt x="144" y="201"/>
                  <a:pt x="143" y="202"/>
                </a:cubicBezTo>
                <a:cubicBezTo>
                  <a:pt x="142" y="204"/>
                  <a:pt x="141" y="205"/>
                  <a:pt x="143" y="205"/>
                </a:cubicBezTo>
                <a:cubicBezTo>
                  <a:pt x="143" y="205"/>
                  <a:pt x="143" y="207"/>
                  <a:pt x="143" y="208"/>
                </a:cubicBezTo>
                <a:cubicBezTo>
                  <a:pt x="143" y="208"/>
                  <a:pt x="142" y="208"/>
                  <a:pt x="143" y="208"/>
                </a:cubicBezTo>
                <a:cubicBezTo>
                  <a:pt x="143" y="208"/>
                  <a:pt x="142" y="209"/>
                  <a:pt x="142" y="209"/>
                </a:cubicBezTo>
                <a:cubicBezTo>
                  <a:pt x="141" y="209"/>
                  <a:pt x="140" y="210"/>
                  <a:pt x="139" y="210"/>
                </a:cubicBezTo>
                <a:cubicBezTo>
                  <a:pt x="138" y="211"/>
                  <a:pt x="138" y="211"/>
                  <a:pt x="137" y="211"/>
                </a:cubicBezTo>
                <a:cubicBezTo>
                  <a:pt x="137" y="211"/>
                  <a:pt x="136" y="211"/>
                  <a:pt x="136" y="211"/>
                </a:cubicBezTo>
                <a:cubicBezTo>
                  <a:pt x="136" y="211"/>
                  <a:pt x="136" y="210"/>
                  <a:pt x="136" y="210"/>
                </a:cubicBezTo>
                <a:cubicBezTo>
                  <a:pt x="136" y="211"/>
                  <a:pt x="135" y="211"/>
                  <a:pt x="135" y="211"/>
                </a:cubicBezTo>
                <a:cubicBezTo>
                  <a:pt x="135" y="211"/>
                  <a:pt x="134" y="210"/>
                  <a:pt x="134" y="210"/>
                </a:cubicBezTo>
                <a:cubicBezTo>
                  <a:pt x="134" y="210"/>
                  <a:pt x="134" y="210"/>
                  <a:pt x="134" y="210"/>
                </a:cubicBezTo>
                <a:cubicBezTo>
                  <a:pt x="133" y="211"/>
                  <a:pt x="133" y="213"/>
                  <a:pt x="132" y="214"/>
                </a:cubicBezTo>
                <a:cubicBezTo>
                  <a:pt x="132" y="215"/>
                  <a:pt x="132" y="215"/>
                  <a:pt x="131" y="216"/>
                </a:cubicBezTo>
                <a:cubicBezTo>
                  <a:pt x="131" y="216"/>
                  <a:pt x="131" y="217"/>
                  <a:pt x="131" y="217"/>
                </a:cubicBezTo>
                <a:cubicBezTo>
                  <a:pt x="131" y="217"/>
                  <a:pt x="130" y="216"/>
                  <a:pt x="130" y="216"/>
                </a:cubicBezTo>
                <a:cubicBezTo>
                  <a:pt x="130" y="216"/>
                  <a:pt x="130" y="215"/>
                  <a:pt x="130" y="214"/>
                </a:cubicBezTo>
                <a:cubicBezTo>
                  <a:pt x="130" y="214"/>
                  <a:pt x="130" y="214"/>
                  <a:pt x="130" y="214"/>
                </a:cubicBezTo>
                <a:cubicBezTo>
                  <a:pt x="130" y="214"/>
                  <a:pt x="130" y="214"/>
                  <a:pt x="130" y="214"/>
                </a:cubicBezTo>
                <a:cubicBezTo>
                  <a:pt x="130" y="215"/>
                  <a:pt x="130" y="217"/>
                  <a:pt x="129" y="217"/>
                </a:cubicBezTo>
                <a:cubicBezTo>
                  <a:pt x="130" y="217"/>
                  <a:pt x="129" y="216"/>
                  <a:pt x="129" y="216"/>
                </a:cubicBezTo>
                <a:cubicBezTo>
                  <a:pt x="128" y="215"/>
                  <a:pt x="128" y="216"/>
                  <a:pt x="127" y="216"/>
                </a:cubicBezTo>
                <a:cubicBezTo>
                  <a:pt x="125" y="216"/>
                  <a:pt x="124" y="218"/>
                  <a:pt x="124" y="220"/>
                </a:cubicBezTo>
                <a:cubicBezTo>
                  <a:pt x="124" y="221"/>
                  <a:pt x="123" y="221"/>
                  <a:pt x="123" y="222"/>
                </a:cubicBezTo>
                <a:cubicBezTo>
                  <a:pt x="123" y="224"/>
                  <a:pt x="123" y="225"/>
                  <a:pt x="123" y="226"/>
                </a:cubicBezTo>
                <a:cubicBezTo>
                  <a:pt x="123" y="226"/>
                  <a:pt x="123" y="227"/>
                  <a:pt x="123" y="227"/>
                </a:cubicBezTo>
                <a:cubicBezTo>
                  <a:pt x="123" y="228"/>
                  <a:pt x="123" y="229"/>
                  <a:pt x="124" y="229"/>
                </a:cubicBezTo>
                <a:cubicBezTo>
                  <a:pt x="124" y="229"/>
                  <a:pt x="124" y="229"/>
                  <a:pt x="124" y="229"/>
                </a:cubicBezTo>
                <a:cubicBezTo>
                  <a:pt x="124" y="229"/>
                  <a:pt x="124" y="230"/>
                  <a:pt x="124" y="230"/>
                </a:cubicBezTo>
                <a:cubicBezTo>
                  <a:pt x="124" y="230"/>
                  <a:pt x="124" y="230"/>
                  <a:pt x="124" y="230"/>
                </a:cubicBezTo>
                <a:cubicBezTo>
                  <a:pt x="124" y="230"/>
                  <a:pt x="125" y="230"/>
                  <a:pt x="125" y="230"/>
                </a:cubicBezTo>
                <a:cubicBezTo>
                  <a:pt x="125" y="231"/>
                  <a:pt x="124" y="231"/>
                  <a:pt x="124" y="232"/>
                </a:cubicBezTo>
                <a:cubicBezTo>
                  <a:pt x="125" y="233"/>
                  <a:pt x="124" y="233"/>
                  <a:pt x="123" y="234"/>
                </a:cubicBezTo>
                <a:cubicBezTo>
                  <a:pt x="124" y="234"/>
                  <a:pt x="124" y="234"/>
                  <a:pt x="124" y="234"/>
                </a:cubicBezTo>
                <a:cubicBezTo>
                  <a:pt x="124" y="234"/>
                  <a:pt x="124" y="236"/>
                  <a:pt x="124" y="236"/>
                </a:cubicBezTo>
                <a:cubicBezTo>
                  <a:pt x="125" y="237"/>
                  <a:pt x="125" y="237"/>
                  <a:pt x="125" y="238"/>
                </a:cubicBezTo>
                <a:cubicBezTo>
                  <a:pt x="126" y="239"/>
                  <a:pt x="125" y="240"/>
                  <a:pt x="126" y="240"/>
                </a:cubicBezTo>
                <a:cubicBezTo>
                  <a:pt x="126" y="241"/>
                  <a:pt x="127" y="242"/>
                  <a:pt x="127" y="243"/>
                </a:cubicBezTo>
                <a:cubicBezTo>
                  <a:pt x="126" y="243"/>
                  <a:pt x="126" y="242"/>
                  <a:pt x="126" y="242"/>
                </a:cubicBezTo>
                <a:cubicBezTo>
                  <a:pt x="126" y="241"/>
                  <a:pt x="125" y="240"/>
                  <a:pt x="125" y="239"/>
                </a:cubicBezTo>
                <a:cubicBezTo>
                  <a:pt x="125" y="240"/>
                  <a:pt x="125" y="240"/>
                  <a:pt x="125" y="241"/>
                </a:cubicBezTo>
                <a:cubicBezTo>
                  <a:pt x="125" y="241"/>
                  <a:pt x="124" y="240"/>
                  <a:pt x="124" y="240"/>
                </a:cubicBezTo>
                <a:cubicBezTo>
                  <a:pt x="124" y="240"/>
                  <a:pt x="124" y="240"/>
                  <a:pt x="124" y="241"/>
                </a:cubicBezTo>
                <a:cubicBezTo>
                  <a:pt x="124" y="241"/>
                  <a:pt x="124" y="241"/>
                  <a:pt x="125" y="242"/>
                </a:cubicBezTo>
                <a:cubicBezTo>
                  <a:pt x="125" y="242"/>
                  <a:pt x="126" y="242"/>
                  <a:pt x="127" y="243"/>
                </a:cubicBezTo>
                <a:cubicBezTo>
                  <a:pt x="127" y="245"/>
                  <a:pt x="127" y="247"/>
                  <a:pt x="126" y="249"/>
                </a:cubicBezTo>
                <a:cubicBezTo>
                  <a:pt x="126" y="250"/>
                  <a:pt x="126" y="252"/>
                  <a:pt x="126" y="253"/>
                </a:cubicBezTo>
                <a:cubicBezTo>
                  <a:pt x="126" y="254"/>
                  <a:pt x="125" y="254"/>
                  <a:pt x="125" y="255"/>
                </a:cubicBezTo>
                <a:cubicBezTo>
                  <a:pt x="125" y="255"/>
                  <a:pt x="124" y="256"/>
                  <a:pt x="124" y="256"/>
                </a:cubicBezTo>
                <a:cubicBezTo>
                  <a:pt x="124" y="256"/>
                  <a:pt x="124" y="256"/>
                  <a:pt x="124" y="256"/>
                </a:cubicBezTo>
                <a:cubicBezTo>
                  <a:pt x="124" y="256"/>
                  <a:pt x="124" y="257"/>
                  <a:pt x="124" y="258"/>
                </a:cubicBezTo>
                <a:cubicBezTo>
                  <a:pt x="123" y="258"/>
                  <a:pt x="123" y="259"/>
                  <a:pt x="123" y="260"/>
                </a:cubicBezTo>
                <a:cubicBezTo>
                  <a:pt x="123" y="262"/>
                  <a:pt x="122" y="263"/>
                  <a:pt x="123" y="265"/>
                </a:cubicBezTo>
                <a:cubicBezTo>
                  <a:pt x="123" y="264"/>
                  <a:pt x="123" y="266"/>
                  <a:pt x="123" y="265"/>
                </a:cubicBezTo>
                <a:cubicBezTo>
                  <a:pt x="123" y="265"/>
                  <a:pt x="122" y="266"/>
                  <a:pt x="122" y="266"/>
                </a:cubicBezTo>
                <a:cubicBezTo>
                  <a:pt x="122" y="266"/>
                  <a:pt x="123" y="265"/>
                  <a:pt x="123" y="265"/>
                </a:cubicBezTo>
                <a:cubicBezTo>
                  <a:pt x="124" y="266"/>
                  <a:pt x="124" y="267"/>
                  <a:pt x="124" y="267"/>
                </a:cubicBezTo>
                <a:cubicBezTo>
                  <a:pt x="124" y="269"/>
                  <a:pt x="124" y="271"/>
                  <a:pt x="124" y="272"/>
                </a:cubicBezTo>
                <a:cubicBezTo>
                  <a:pt x="124" y="274"/>
                  <a:pt x="125" y="276"/>
                  <a:pt x="124" y="277"/>
                </a:cubicBezTo>
                <a:cubicBezTo>
                  <a:pt x="124" y="278"/>
                  <a:pt x="123" y="276"/>
                  <a:pt x="122" y="277"/>
                </a:cubicBezTo>
                <a:cubicBezTo>
                  <a:pt x="122" y="277"/>
                  <a:pt x="123" y="277"/>
                  <a:pt x="123" y="277"/>
                </a:cubicBezTo>
                <a:cubicBezTo>
                  <a:pt x="123" y="278"/>
                  <a:pt x="122" y="277"/>
                  <a:pt x="122" y="277"/>
                </a:cubicBezTo>
                <a:cubicBezTo>
                  <a:pt x="121" y="277"/>
                  <a:pt x="122" y="277"/>
                  <a:pt x="122" y="277"/>
                </a:cubicBezTo>
                <a:cubicBezTo>
                  <a:pt x="122" y="277"/>
                  <a:pt x="120" y="277"/>
                  <a:pt x="120" y="277"/>
                </a:cubicBezTo>
                <a:cubicBezTo>
                  <a:pt x="119" y="277"/>
                  <a:pt x="119" y="278"/>
                  <a:pt x="118" y="279"/>
                </a:cubicBezTo>
                <a:cubicBezTo>
                  <a:pt x="118" y="280"/>
                  <a:pt x="119" y="280"/>
                  <a:pt x="118" y="281"/>
                </a:cubicBezTo>
                <a:cubicBezTo>
                  <a:pt x="118" y="282"/>
                  <a:pt x="117" y="283"/>
                  <a:pt x="116" y="284"/>
                </a:cubicBezTo>
                <a:cubicBezTo>
                  <a:pt x="116" y="285"/>
                  <a:pt x="115" y="287"/>
                  <a:pt x="117" y="288"/>
                </a:cubicBezTo>
                <a:cubicBezTo>
                  <a:pt x="118" y="288"/>
                  <a:pt x="119" y="288"/>
                  <a:pt x="120" y="288"/>
                </a:cubicBezTo>
                <a:cubicBezTo>
                  <a:pt x="120" y="288"/>
                  <a:pt x="121" y="290"/>
                  <a:pt x="121" y="290"/>
                </a:cubicBezTo>
                <a:cubicBezTo>
                  <a:pt x="121" y="289"/>
                  <a:pt x="120" y="289"/>
                  <a:pt x="119" y="289"/>
                </a:cubicBezTo>
                <a:cubicBezTo>
                  <a:pt x="119" y="288"/>
                  <a:pt x="118" y="289"/>
                  <a:pt x="117" y="289"/>
                </a:cubicBezTo>
                <a:cubicBezTo>
                  <a:pt x="116" y="289"/>
                  <a:pt x="115" y="289"/>
                  <a:pt x="114" y="289"/>
                </a:cubicBezTo>
                <a:cubicBezTo>
                  <a:pt x="113" y="290"/>
                  <a:pt x="111" y="290"/>
                  <a:pt x="110" y="291"/>
                </a:cubicBezTo>
                <a:cubicBezTo>
                  <a:pt x="109" y="292"/>
                  <a:pt x="109" y="293"/>
                  <a:pt x="109" y="294"/>
                </a:cubicBezTo>
                <a:cubicBezTo>
                  <a:pt x="109" y="294"/>
                  <a:pt x="109" y="294"/>
                  <a:pt x="109" y="294"/>
                </a:cubicBezTo>
                <a:cubicBezTo>
                  <a:pt x="109" y="294"/>
                  <a:pt x="108" y="295"/>
                  <a:pt x="109" y="295"/>
                </a:cubicBezTo>
                <a:cubicBezTo>
                  <a:pt x="109" y="296"/>
                  <a:pt x="108" y="297"/>
                  <a:pt x="108" y="298"/>
                </a:cubicBezTo>
                <a:cubicBezTo>
                  <a:pt x="108" y="299"/>
                  <a:pt x="106" y="299"/>
                  <a:pt x="105" y="300"/>
                </a:cubicBezTo>
                <a:cubicBezTo>
                  <a:pt x="105" y="300"/>
                  <a:pt x="105" y="300"/>
                  <a:pt x="105" y="300"/>
                </a:cubicBezTo>
                <a:cubicBezTo>
                  <a:pt x="105" y="301"/>
                  <a:pt x="104" y="301"/>
                  <a:pt x="104" y="301"/>
                </a:cubicBezTo>
                <a:cubicBezTo>
                  <a:pt x="104" y="301"/>
                  <a:pt x="103" y="301"/>
                  <a:pt x="103" y="302"/>
                </a:cubicBezTo>
                <a:cubicBezTo>
                  <a:pt x="101" y="301"/>
                  <a:pt x="99" y="300"/>
                  <a:pt x="98" y="298"/>
                </a:cubicBezTo>
                <a:cubicBezTo>
                  <a:pt x="97" y="297"/>
                  <a:pt x="96" y="296"/>
                  <a:pt x="95" y="295"/>
                </a:cubicBezTo>
                <a:cubicBezTo>
                  <a:pt x="95" y="294"/>
                  <a:pt x="94" y="294"/>
                  <a:pt x="94" y="293"/>
                </a:cubicBezTo>
                <a:cubicBezTo>
                  <a:pt x="94" y="293"/>
                  <a:pt x="93" y="293"/>
                  <a:pt x="93" y="292"/>
                </a:cubicBezTo>
                <a:cubicBezTo>
                  <a:pt x="93" y="292"/>
                  <a:pt x="94" y="293"/>
                  <a:pt x="94" y="292"/>
                </a:cubicBezTo>
                <a:cubicBezTo>
                  <a:pt x="93" y="292"/>
                  <a:pt x="93" y="292"/>
                  <a:pt x="93" y="292"/>
                </a:cubicBezTo>
                <a:cubicBezTo>
                  <a:pt x="93" y="292"/>
                  <a:pt x="94" y="292"/>
                  <a:pt x="94" y="292"/>
                </a:cubicBezTo>
                <a:cubicBezTo>
                  <a:pt x="94" y="292"/>
                  <a:pt x="94" y="291"/>
                  <a:pt x="94" y="291"/>
                </a:cubicBezTo>
                <a:cubicBezTo>
                  <a:pt x="94" y="291"/>
                  <a:pt x="93" y="291"/>
                  <a:pt x="93" y="292"/>
                </a:cubicBezTo>
                <a:cubicBezTo>
                  <a:pt x="93" y="291"/>
                  <a:pt x="93" y="292"/>
                  <a:pt x="93" y="292"/>
                </a:cubicBezTo>
                <a:cubicBezTo>
                  <a:pt x="93" y="291"/>
                  <a:pt x="92" y="291"/>
                  <a:pt x="92" y="290"/>
                </a:cubicBezTo>
                <a:cubicBezTo>
                  <a:pt x="93" y="290"/>
                  <a:pt x="92" y="289"/>
                  <a:pt x="92" y="289"/>
                </a:cubicBezTo>
                <a:cubicBezTo>
                  <a:pt x="92" y="289"/>
                  <a:pt x="92" y="290"/>
                  <a:pt x="92" y="290"/>
                </a:cubicBezTo>
                <a:cubicBezTo>
                  <a:pt x="91" y="289"/>
                  <a:pt x="91" y="287"/>
                  <a:pt x="90" y="286"/>
                </a:cubicBezTo>
                <a:cubicBezTo>
                  <a:pt x="90" y="285"/>
                  <a:pt x="90" y="284"/>
                  <a:pt x="90" y="283"/>
                </a:cubicBezTo>
                <a:cubicBezTo>
                  <a:pt x="90" y="283"/>
                  <a:pt x="89" y="281"/>
                  <a:pt x="90" y="281"/>
                </a:cubicBezTo>
                <a:cubicBezTo>
                  <a:pt x="90" y="281"/>
                  <a:pt x="90" y="281"/>
                  <a:pt x="90" y="281"/>
                </a:cubicBezTo>
                <a:cubicBezTo>
                  <a:pt x="90" y="281"/>
                  <a:pt x="90" y="282"/>
                  <a:pt x="90" y="282"/>
                </a:cubicBezTo>
                <a:cubicBezTo>
                  <a:pt x="90" y="282"/>
                  <a:pt x="90" y="282"/>
                  <a:pt x="90" y="282"/>
                </a:cubicBezTo>
                <a:cubicBezTo>
                  <a:pt x="90" y="282"/>
                  <a:pt x="90" y="282"/>
                  <a:pt x="90" y="282"/>
                </a:cubicBezTo>
                <a:cubicBezTo>
                  <a:pt x="90" y="282"/>
                  <a:pt x="90" y="283"/>
                  <a:pt x="91" y="284"/>
                </a:cubicBezTo>
                <a:cubicBezTo>
                  <a:pt x="91" y="283"/>
                  <a:pt x="90" y="282"/>
                  <a:pt x="90" y="282"/>
                </a:cubicBezTo>
                <a:cubicBezTo>
                  <a:pt x="91" y="282"/>
                  <a:pt x="91" y="283"/>
                  <a:pt x="91" y="284"/>
                </a:cubicBezTo>
                <a:cubicBezTo>
                  <a:pt x="91" y="284"/>
                  <a:pt x="91" y="284"/>
                  <a:pt x="91" y="285"/>
                </a:cubicBezTo>
                <a:cubicBezTo>
                  <a:pt x="91" y="286"/>
                  <a:pt x="91" y="286"/>
                  <a:pt x="92" y="286"/>
                </a:cubicBezTo>
                <a:cubicBezTo>
                  <a:pt x="92" y="286"/>
                  <a:pt x="92" y="285"/>
                  <a:pt x="92" y="285"/>
                </a:cubicBezTo>
                <a:cubicBezTo>
                  <a:pt x="92" y="285"/>
                  <a:pt x="91" y="282"/>
                  <a:pt x="91" y="281"/>
                </a:cubicBezTo>
                <a:cubicBezTo>
                  <a:pt x="90" y="281"/>
                  <a:pt x="90" y="281"/>
                  <a:pt x="90" y="280"/>
                </a:cubicBezTo>
                <a:cubicBezTo>
                  <a:pt x="90" y="279"/>
                  <a:pt x="89" y="279"/>
                  <a:pt x="89" y="279"/>
                </a:cubicBezTo>
                <a:cubicBezTo>
                  <a:pt x="89" y="279"/>
                  <a:pt x="90" y="280"/>
                  <a:pt x="90" y="280"/>
                </a:cubicBezTo>
                <a:cubicBezTo>
                  <a:pt x="89" y="280"/>
                  <a:pt x="89" y="279"/>
                  <a:pt x="89" y="279"/>
                </a:cubicBezTo>
                <a:cubicBezTo>
                  <a:pt x="89" y="278"/>
                  <a:pt x="90" y="278"/>
                  <a:pt x="89" y="277"/>
                </a:cubicBezTo>
                <a:cubicBezTo>
                  <a:pt x="89" y="278"/>
                  <a:pt x="89" y="279"/>
                  <a:pt x="88" y="278"/>
                </a:cubicBezTo>
                <a:cubicBezTo>
                  <a:pt x="88" y="277"/>
                  <a:pt x="88" y="276"/>
                  <a:pt x="88" y="275"/>
                </a:cubicBezTo>
                <a:cubicBezTo>
                  <a:pt x="87" y="274"/>
                  <a:pt x="86" y="273"/>
                  <a:pt x="86" y="272"/>
                </a:cubicBezTo>
                <a:cubicBezTo>
                  <a:pt x="86" y="271"/>
                  <a:pt x="86" y="271"/>
                  <a:pt x="86" y="271"/>
                </a:cubicBezTo>
                <a:cubicBezTo>
                  <a:pt x="85" y="270"/>
                  <a:pt x="85" y="269"/>
                  <a:pt x="85" y="269"/>
                </a:cubicBezTo>
                <a:cubicBezTo>
                  <a:pt x="85" y="268"/>
                  <a:pt x="84" y="267"/>
                  <a:pt x="84" y="266"/>
                </a:cubicBezTo>
                <a:cubicBezTo>
                  <a:pt x="84" y="265"/>
                  <a:pt x="83" y="264"/>
                  <a:pt x="82" y="264"/>
                </a:cubicBezTo>
                <a:cubicBezTo>
                  <a:pt x="82" y="263"/>
                  <a:pt x="82" y="262"/>
                  <a:pt x="81" y="261"/>
                </a:cubicBezTo>
                <a:cubicBezTo>
                  <a:pt x="81" y="260"/>
                  <a:pt x="80" y="260"/>
                  <a:pt x="80" y="260"/>
                </a:cubicBezTo>
                <a:cubicBezTo>
                  <a:pt x="79" y="259"/>
                  <a:pt x="80" y="259"/>
                  <a:pt x="80" y="259"/>
                </a:cubicBezTo>
                <a:cubicBezTo>
                  <a:pt x="80" y="259"/>
                  <a:pt x="80" y="259"/>
                  <a:pt x="80" y="259"/>
                </a:cubicBezTo>
                <a:cubicBezTo>
                  <a:pt x="80" y="259"/>
                  <a:pt x="79" y="259"/>
                  <a:pt x="79" y="258"/>
                </a:cubicBezTo>
                <a:cubicBezTo>
                  <a:pt x="79" y="258"/>
                  <a:pt x="79" y="258"/>
                  <a:pt x="79" y="258"/>
                </a:cubicBezTo>
                <a:cubicBezTo>
                  <a:pt x="80" y="258"/>
                  <a:pt x="79" y="258"/>
                  <a:pt x="79" y="258"/>
                </a:cubicBezTo>
                <a:cubicBezTo>
                  <a:pt x="78" y="258"/>
                  <a:pt x="78" y="258"/>
                  <a:pt x="78" y="258"/>
                </a:cubicBezTo>
                <a:cubicBezTo>
                  <a:pt x="78" y="257"/>
                  <a:pt x="77" y="256"/>
                  <a:pt x="78" y="256"/>
                </a:cubicBezTo>
                <a:cubicBezTo>
                  <a:pt x="77" y="256"/>
                  <a:pt x="77" y="256"/>
                  <a:pt x="77" y="256"/>
                </a:cubicBezTo>
                <a:cubicBezTo>
                  <a:pt x="77" y="255"/>
                  <a:pt x="76" y="254"/>
                  <a:pt x="76" y="253"/>
                </a:cubicBezTo>
                <a:cubicBezTo>
                  <a:pt x="75" y="252"/>
                  <a:pt x="75" y="250"/>
                  <a:pt x="74" y="249"/>
                </a:cubicBezTo>
                <a:cubicBezTo>
                  <a:pt x="75" y="249"/>
                  <a:pt x="75" y="249"/>
                  <a:pt x="75" y="249"/>
                </a:cubicBezTo>
                <a:cubicBezTo>
                  <a:pt x="75" y="249"/>
                  <a:pt x="75" y="249"/>
                  <a:pt x="74" y="249"/>
                </a:cubicBezTo>
                <a:cubicBezTo>
                  <a:pt x="74" y="249"/>
                  <a:pt x="74" y="248"/>
                  <a:pt x="74" y="247"/>
                </a:cubicBezTo>
                <a:cubicBezTo>
                  <a:pt x="73" y="246"/>
                  <a:pt x="73" y="244"/>
                  <a:pt x="72" y="243"/>
                </a:cubicBezTo>
                <a:cubicBezTo>
                  <a:pt x="72" y="243"/>
                  <a:pt x="72" y="243"/>
                  <a:pt x="72" y="243"/>
                </a:cubicBezTo>
                <a:cubicBezTo>
                  <a:pt x="73" y="243"/>
                  <a:pt x="72" y="242"/>
                  <a:pt x="72" y="242"/>
                </a:cubicBezTo>
                <a:cubicBezTo>
                  <a:pt x="72" y="241"/>
                  <a:pt x="72" y="241"/>
                  <a:pt x="72" y="241"/>
                </a:cubicBezTo>
                <a:cubicBezTo>
                  <a:pt x="72" y="240"/>
                  <a:pt x="72" y="240"/>
                  <a:pt x="73" y="240"/>
                </a:cubicBezTo>
                <a:cubicBezTo>
                  <a:pt x="73" y="240"/>
                  <a:pt x="72" y="240"/>
                  <a:pt x="72" y="240"/>
                </a:cubicBezTo>
                <a:cubicBezTo>
                  <a:pt x="72" y="240"/>
                  <a:pt x="72" y="240"/>
                  <a:pt x="72" y="240"/>
                </a:cubicBezTo>
                <a:cubicBezTo>
                  <a:pt x="72" y="240"/>
                  <a:pt x="72" y="239"/>
                  <a:pt x="72" y="239"/>
                </a:cubicBezTo>
                <a:cubicBezTo>
                  <a:pt x="71" y="238"/>
                  <a:pt x="71" y="237"/>
                  <a:pt x="71" y="237"/>
                </a:cubicBezTo>
                <a:cubicBezTo>
                  <a:pt x="70" y="236"/>
                  <a:pt x="69" y="235"/>
                  <a:pt x="69" y="234"/>
                </a:cubicBezTo>
                <a:cubicBezTo>
                  <a:pt x="70" y="234"/>
                  <a:pt x="70" y="234"/>
                  <a:pt x="70" y="234"/>
                </a:cubicBezTo>
                <a:cubicBezTo>
                  <a:pt x="70" y="233"/>
                  <a:pt x="69" y="233"/>
                  <a:pt x="69" y="233"/>
                </a:cubicBezTo>
                <a:cubicBezTo>
                  <a:pt x="69" y="232"/>
                  <a:pt x="68" y="231"/>
                  <a:pt x="68" y="231"/>
                </a:cubicBezTo>
                <a:cubicBezTo>
                  <a:pt x="69" y="231"/>
                  <a:pt x="69" y="231"/>
                  <a:pt x="69" y="231"/>
                </a:cubicBezTo>
                <a:cubicBezTo>
                  <a:pt x="69" y="231"/>
                  <a:pt x="69" y="231"/>
                  <a:pt x="69" y="231"/>
                </a:cubicBezTo>
                <a:cubicBezTo>
                  <a:pt x="69" y="231"/>
                  <a:pt x="68" y="231"/>
                  <a:pt x="68" y="230"/>
                </a:cubicBezTo>
                <a:cubicBezTo>
                  <a:pt x="68" y="230"/>
                  <a:pt x="68" y="231"/>
                  <a:pt x="68" y="231"/>
                </a:cubicBezTo>
                <a:cubicBezTo>
                  <a:pt x="68" y="230"/>
                  <a:pt x="68" y="230"/>
                  <a:pt x="68" y="230"/>
                </a:cubicBezTo>
                <a:cubicBezTo>
                  <a:pt x="68" y="230"/>
                  <a:pt x="67" y="230"/>
                  <a:pt x="67" y="229"/>
                </a:cubicBezTo>
                <a:cubicBezTo>
                  <a:pt x="67" y="229"/>
                  <a:pt x="67" y="229"/>
                  <a:pt x="67" y="228"/>
                </a:cubicBezTo>
                <a:cubicBezTo>
                  <a:pt x="67" y="228"/>
                  <a:pt x="66" y="228"/>
                  <a:pt x="66" y="228"/>
                </a:cubicBezTo>
                <a:cubicBezTo>
                  <a:pt x="66" y="227"/>
                  <a:pt x="66" y="227"/>
                  <a:pt x="67" y="227"/>
                </a:cubicBezTo>
                <a:cubicBezTo>
                  <a:pt x="67" y="227"/>
                  <a:pt x="67" y="227"/>
                  <a:pt x="66" y="227"/>
                </a:cubicBezTo>
                <a:cubicBezTo>
                  <a:pt x="65" y="228"/>
                  <a:pt x="65" y="226"/>
                  <a:pt x="65" y="225"/>
                </a:cubicBezTo>
                <a:cubicBezTo>
                  <a:pt x="64" y="225"/>
                  <a:pt x="64" y="225"/>
                  <a:pt x="64" y="224"/>
                </a:cubicBezTo>
                <a:cubicBezTo>
                  <a:pt x="64" y="224"/>
                  <a:pt x="64" y="224"/>
                  <a:pt x="64" y="223"/>
                </a:cubicBezTo>
                <a:cubicBezTo>
                  <a:pt x="64" y="223"/>
                  <a:pt x="63" y="222"/>
                  <a:pt x="63" y="222"/>
                </a:cubicBezTo>
                <a:cubicBezTo>
                  <a:pt x="63" y="221"/>
                  <a:pt x="62" y="221"/>
                  <a:pt x="62" y="221"/>
                </a:cubicBezTo>
                <a:cubicBezTo>
                  <a:pt x="63" y="221"/>
                  <a:pt x="63" y="221"/>
                  <a:pt x="64" y="221"/>
                </a:cubicBezTo>
                <a:cubicBezTo>
                  <a:pt x="64" y="221"/>
                  <a:pt x="63" y="221"/>
                  <a:pt x="62" y="221"/>
                </a:cubicBezTo>
                <a:cubicBezTo>
                  <a:pt x="62" y="220"/>
                  <a:pt x="63" y="220"/>
                  <a:pt x="63" y="220"/>
                </a:cubicBezTo>
                <a:cubicBezTo>
                  <a:pt x="62" y="221"/>
                  <a:pt x="61" y="219"/>
                  <a:pt x="62" y="218"/>
                </a:cubicBezTo>
                <a:cubicBezTo>
                  <a:pt x="62" y="218"/>
                  <a:pt x="62" y="219"/>
                  <a:pt x="61" y="218"/>
                </a:cubicBezTo>
                <a:cubicBezTo>
                  <a:pt x="61" y="218"/>
                  <a:pt x="61" y="218"/>
                  <a:pt x="61" y="217"/>
                </a:cubicBezTo>
                <a:cubicBezTo>
                  <a:pt x="61" y="217"/>
                  <a:pt x="61" y="217"/>
                  <a:pt x="60" y="217"/>
                </a:cubicBezTo>
                <a:cubicBezTo>
                  <a:pt x="60" y="216"/>
                  <a:pt x="60" y="216"/>
                  <a:pt x="60" y="215"/>
                </a:cubicBezTo>
                <a:cubicBezTo>
                  <a:pt x="59" y="215"/>
                  <a:pt x="58" y="214"/>
                  <a:pt x="59" y="214"/>
                </a:cubicBezTo>
                <a:cubicBezTo>
                  <a:pt x="58" y="214"/>
                  <a:pt x="58" y="213"/>
                  <a:pt x="59" y="212"/>
                </a:cubicBezTo>
                <a:cubicBezTo>
                  <a:pt x="58" y="212"/>
                  <a:pt x="58" y="213"/>
                  <a:pt x="58" y="213"/>
                </a:cubicBezTo>
                <a:cubicBezTo>
                  <a:pt x="58" y="213"/>
                  <a:pt x="58" y="212"/>
                  <a:pt x="58" y="212"/>
                </a:cubicBezTo>
                <a:cubicBezTo>
                  <a:pt x="58" y="212"/>
                  <a:pt x="57" y="211"/>
                  <a:pt x="57" y="210"/>
                </a:cubicBezTo>
                <a:cubicBezTo>
                  <a:pt x="57" y="210"/>
                  <a:pt x="56" y="209"/>
                  <a:pt x="57" y="208"/>
                </a:cubicBezTo>
                <a:cubicBezTo>
                  <a:pt x="57" y="209"/>
                  <a:pt x="57" y="209"/>
                  <a:pt x="57" y="209"/>
                </a:cubicBezTo>
                <a:cubicBezTo>
                  <a:pt x="57" y="209"/>
                  <a:pt x="57" y="209"/>
                  <a:pt x="57" y="208"/>
                </a:cubicBezTo>
                <a:cubicBezTo>
                  <a:pt x="57" y="208"/>
                  <a:pt x="57" y="208"/>
                  <a:pt x="57" y="208"/>
                </a:cubicBezTo>
                <a:cubicBezTo>
                  <a:pt x="57" y="208"/>
                  <a:pt x="57" y="208"/>
                  <a:pt x="57" y="208"/>
                </a:cubicBezTo>
                <a:cubicBezTo>
                  <a:pt x="57" y="207"/>
                  <a:pt x="57" y="208"/>
                  <a:pt x="57" y="207"/>
                </a:cubicBezTo>
                <a:cubicBezTo>
                  <a:pt x="56" y="207"/>
                  <a:pt x="56" y="206"/>
                  <a:pt x="56" y="206"/>
                </a:cubicBezTo>
                <a:cubicBezTo>
                  <a:pt x="56" y="205"/>
                  <a:pt x="56" y="205"/>
                  <a:pt x="56" y="204"/>
                </a:cubicBezTo>
                <a:cubicBezTo>
                  <a:pt x="56" y="204"/>
                  <a:pt x="56" y="203"/>
                  <a:pt x="56" y="203"/>
                </a:cubicBezTo>
                <a:cubicBezTo>
                  <a:pt x="56" y="203"/>
                  <a:pt x="56" y="202"/>
                  <a:pt x="55" y="202"/>
                </a:cubicBezTo>
                <a:cubicBezTo>
                  <a:pt x="55" y="201"/>
                  <a:pt x="55" y="201"/>
                  <a:pt x="55" y="200"/>
                </a:cubicBezTo>
                <a:cubicBezTo>
                  <a:pt x="55" y="200"/>
                  <a:pt x="55" y="200"/>
                  <a:pt x="55" y="200"/>
                </a:cubicBezTo>
                <a:cubicBezTo>
                  <a:pt x="55" y="200"/>
                  <a:pt x="54" y="199"/>
                  <a:pt x="54" y="198"/>
                </a:cubicBezTo>
                <a:cubicBezTo>
                  <a:pt x="54" y="198"/>
                  <a:pt x="54" y="198"/>
                  <a:pt x="54" y="197"/>
                </a:cubicBezTo>
                <a:cubicBezTo>
                  <a:pt x="54" y="197"/>
                  <a:pt x="54" y="197"/>
                  <a:pt x="54" y="197"/>
                </a:cubicBezTo>
                <a:cubicBezTo>
                  <a:pt x="53" y="197"/>
                  <a:pt x="53" y="195"/>
                  <a:pt x="53" y="194"/>
                </a:cubicBezTo>
                <a:cubicBezTo>
                  <a:pt x="53" y="194"/>
                  <a:pt x="52" y="193"/>
                  <a:pt x="52" y="193"/>
                </a:cubicBezTo>
                <a:cubicBezTo>
                  <a:pt x="52" y="192"/>
                  <a:pt x="52" y="192"/>
                  <a:pt x="52" y="192"/>
                </a:cubicBezTo>
                <a:cubicBezTo>
                  <a:pt x="52" y="192"/>
                  <a:pt x="53" y="192"/>
                  <a:pt x="52" y="192"/>
                </a:cubicBezTo>
                <a:cubicBezTo>
                  <a:pt x="53" y="192"/>
                  <a:pt x="52" y="192"/>
                  <a:pt x="52" y="192"/>
                </a:cubicBezTo>
                <a:cubicBezTo>
                  <a:pt x="52" y="192"/>
                  <a:pt x="52" y="191"/>
                  <a:pt x="52" y="191"/>
                </a:cubicBezTo>
                <a:cubicBezTo>
                  <a:pt x="52" y="191"/>
                  <a:pt x="51" y="190"/>
                  <a:pt x="51" y="189"/>
                </a:cubicBezTo>
                <a:cubicBezTo>
                  <a:pt x="51" y="189"/>
                  <a:pt x="53" y="190"/>
                  <a:pt x="53" y="190"/>
                </a:cubicBezTo>
                <a:cubicBezTo>
                  <a:pt x="53" y="190"/>
                  <a:pt x="53" y="189"/>
                  <a:pt x="52" y="189"/>
                </a:cubicBezTo>
                <a:cubicBezTo>
                  <a:pt x="52" y="189"/>
                  <a:pt x="51" y="189"/>
                  <a:pt x="51" y="188"/>
                </a:cubicBezTo>
                <a:cubicBezTo>
                  <a:pt x="51" y="188"/>
                  <a:pt x="50" y="187"/>
                  <a:pt x="51" y="187"/>
                </a:cubicBezTo>
                <a:cubicBezTo>
                  <a:pt x="51" y="186"/>
                  <a:pt x="52" y="188"/>
                  <a:pt x="52" y="187"/>
                </a:cubicBezTo>
                <a:cubicBezTo>
                  <a:pt x="52" y="187"/>
                  <a:pt x="51" y="186"/>
                  <a:pt x="51" y="186"/>
                </a:cubicBezTo>
                <a:cubicBezTo>
                  <a:pt x="51" y="186"/>
                  <a:pt x="51" y="187"/>
                  <a:pt x="51" y="186"/>
                </a:cubicBezTo>
                <a:cubicBezTo>
                  <a:pt x="51" y="186"/>
                  <a:pt x="50" y="186"/>
                  <a:pt x="50" y="185"/>
                </a:cubicBezTo>
                <a:cubicBezTo>
                  <a:pt x="50" y="185"/>
                  <a:pt x="50" y="184"/>
                  <a:pt x="50" y="184"/>
                </a:cubicBezTo>
                <a:cubicBezTo>
                  <a:pt x="51" y="183"/>
                  <a:pt x="51" y="184"/>
                  <a:pt x="51" y="184"/>
                </a:cubicBezTo>
                <a:cubicBezTo>
                  <a:pt x="51" y="184"/>
                  <a:pt x="52" y="184"/>
                  <a:pt x="51" y="184"/>
                </a:cubicBezTo>
                <a:cubicBezTo>
                  <a:pt x="51" y="183"/>
                  <a:pt x="51" y="183"/>
                  <a:pt x="51" y="183"/>
                </a:cubicBezTo>
                <a:cubicBezTo>
                  <a:pt x="51" y="183"/>
                  <a:pt x="50" y="183"/>
                  <a:pt x="50" y="182"/>
                </a:cubicBezTo>
                <a:cubicBezTo>
                  <a:pt x="50" y="182"/>
                  <a:pt x="51" y="182"/>
                  <a:pt x="51" y="182"/>
                </a:cubicBezTo>
                <a:cubicBezTo>
                  <a:pt x="51" y="182"/>
                  <a:pt x="51" y="182"/>
                  <a:pt x="51" y="182"/>
                </a:cubicBezTo>
                <a:cubicBezTo>
                  <a:pt x="51" y="182"/>
                  <a:pt x="52" y="181"/>
                  <a:pt x="52" y="181"/>
                </a:cubicBezTo>
                <a:cubicBezTo>
                  <a:pt x="51" y="181"/>
                  <a:pt x="51" y="182"/>
                  <a:pt x="51" y="181"/>
                </a:cubicBezTo>
                <a:cubicBezTo>
                  <a:pt x="51" y="181"/>
                  <a:pt x="51" y="180"/>
                  <a:pt x="51" y="180"/>
                </a:cubicBezTo>
                <a:cubicBezTo>
                  <a:pt x="51" y="180"/>
                  <a:pt x="50" y="182"/>
                  <a:pt x="50" y="181"/>
                </a:cubicBezTo>
                <a:cubicBezTo>
                  <a:pt x="50" y="181"/>
                  <a:pt x="50" y="183"/>
                  <a:pt x="49" y="183"/>
                </a:cubicBezTo>
                <a:cubicBezTo>
                  <a:pt x="50" y="183"/>
                  <a:pt x="49" y="182"/>
                  <a:pt x="49" y="182"/>
                </a:cubicBezTo>
                <a:cubicBezTo>
                  <a:pt x="49" y="182"/>
                  <a:pt x="49" y="181"/>
                  <a:pt x="49" y="181"/>
                </a:cubicBezTo>
                <a:cubicBezTo>
                  <a:pt x="49" y="181"/>
                  <a:pt x="49" y="180"/>
                  <a:pt x="49" y="180"/>
                </a:cubicBezTo>
                <a:cubicBezTo>
                  <a:pt x="49" y="180"/>
                  <a:pt x="49" y="180"/>
                  <a:pt x="49" y="180"/>
                </a:cubicBezTo>
                <a:cubicBezTo>
                  <a:pt x="49" y="179"/>
                  <a:pt x="49" y="179"/>
                  <a:pt x="49" y="179"/>
                </a:cubicBezTo>
                <a:cubicBezTo>
                  <a:pt x="49" y="179"/>
                  <a:pt x="49" y="179"/>
                  <a:pt x="49" y="179"/>
                </a:cubicBezTo>
                <a:cubicBezTo>
                  <a:pt x="48" y="179"/>
                  <a:pt x="49" y="177"/>
                  <a:pt x="50" y="178"/>
                </a:cubicBezTo>
                <a:cubicBezTo>
                  <a:pt x="50" y="178"/>
                  <a:pt x="52" y="179"/>
                  <a:pt x="51" y="179"/>
                </a:cubicBezTo>
                <a:cubicBezTo>
                  <a:pt x="52" y="179"/>
                  <a:pt x="51" y="178"/>
                  <a:pt x="51" y="178"/>
                </a:cubicBezTo>
                <a:cubicBezTo>
                  <a:pt x="50" y="178"/>
                  <a:pt x="50" y="178"/>
                  <a:pt x="49" y="178"/>
                </a:cubicBezTo>
                <a:cubicBezTo>
                  <a:pt x="49" y="178"/>
                  <a:pt x="48" y="177"/>
                  <a:pt x="48" y="176"/>
                </a:cubicBezTo>
                <a:cubicBezTo>
                  <a:pt x="48" y="176"/>
                  <a:pt x="49" y="176"/>
                  <a:pt x="49" y="176"/>
                </a:cubicBezTo>
                <a:cubicBezTo>
                  <a:pt x="49" y="176"/>
                  <a:pt x="49" y="176"/>
                  <a:pt x="48" y="175"/>
                </a:cubicBezTo>
                <a:cubicBezTo>
                  <a:pt x="48" y="175"/>
                  <a:pt x="48" y="176"/>
                  <a:pt x="48" y="176"/>
                </a:cubicBezTo>
                <a:cubicBezTo>
                  <a:pt x="48" y="176"/>
                  <a:pt x="48" y="174"/>
                  <a:pt x="48" y="174"/>
                </a:cubicBezTo>
                <a:cubicBezTo>
                  <a:pt x="48" y="174"/>
                  <a:pt x="48" y="174"/>
                  <a:pt x="48" y="174"/>
                </a:cubicBezTo>
                <a:cubicBezTo>
                  <a:pt x="48" y="174"/>
                  <a:pt x="48" y="173"/>
                  <a:pt x="48" y="173"/>
                </a:cubicBezTo>
                <a:cubicBezTo>
                  <a:pt x="48" y="173"/>
                  <a:pt x="47" y="173"/>
                  <a:pt x="47" y="173"/>
                </a:cubicBezTo>
                <a:cubicBezTo>
                  <a:pt x="47" y="173"/>
                  <a:pt x="47" y="172"/>
                  <a:pt x="47" y="172"/>
                </a:cubicBezTo>
                <a:cubicBezTo>
                  <a:pt x="47" y="171"/>
                  <a:pt x="47" y="169"/>
                  <a:pt x="48" y="168"/>
                </a:cubicBezTo>
                <a:cubicBezTo>
                  <a:pt x="48" y="167"/>
                  <a:pt x="49" y="166"/>
                  <a:pt x="48" y="164"/>
                </a:cubicBezTo>
                <a:cubicBezTo>
                  <a:pt x="48" y="164"/>
                  <a:pt x="48" y="163"/>
                  <a:pt x="49" y="163"/>
                </a:cubicBezTo>
                <a:cubicBezTo>
                  <a:pt x="49" y="162"/>
                  <a:pt x="49" y="162"/>
                  <a:pt x="49" y="162"/>
                </a:cubicBezTo>
                <a:cubicBezTo>
                  <a:pt x="48" y="162"/>
                  <a:pt x="48" y="161"/>
                  <a:pt x="48" y="161"/>
                </a:cubicBezTo>
                <a:cubicBezTo>
                  <a:pt x="48" y="161"/>
                  <a:pt x="48" y="161"/>
                  <a:pt x="48" y="160"/>
                </a:cubicBezTo>
                <a:cubicBezTo>
                  <a:pt x="48" y="160"/>
                  <a:pt x="48" y="160"/>
                  <a:pt x="48" y="160"/>
                </a:cubicBezTo>
                <a:cubicBezTo>
                  <a:pt x="48" y="160"/>
                  <a:pt x="47" y="159"/>
                  <a:pt x="47" y="159"/>
                </a:cubicBezTo>
                <a:cubicBezTo>
                  <a:pt x="47" y="159"/>
                  <a:pt x="48" y="159"/>
                  <a:pt x="47" y="158"/>
                </a:cubicBezTo>
                <a:cubicBezTo>
                  <a:pt x="47" y="158"/>
                  <a:pt x="46" y="159"/>
                  <a:pt x="46" y="158"/>
                </a:cubicBezTo>
                <a:cubicBezTo>
                  <a:pt x="46" y="158"/>
                  <a:pt x="46" y="158"/>
                  <a:pt x="46" y="158"/>
                </a:cubicBezTo>
                <a:cubicBezTo>
                  <a:pt x="46" y="158"/>
                  <a:pt x="46" y="158"/>
                  <a:pt x="46" y="158"/>
                </a:cubicBezTo>
                <a:cubicBezTo>
                  <a:pt x="46" y="159"/>
                  <a:pt x="45" y="158"/>
                  <a:pt x="45" y="158"/>
                </a:cubicBezTo>
                <a:cubicBezTo>
                  <a:pt x="46" y="158"/>
                  <a:pt x="46" y="158"/>
                  <a:pt x="46" y="157"/>
                </a:cubicBezTo>
                <a:cubicBezTo>
                  <a:pt x="46" y="157"/>
                  <a:pt x="45" y="157"/>
                  <a:pt x="45" y="157"/>
                </a:cubicBezTo>
                <a:cubicBezTo>
                  <a:pt x="45" y="156"/>
                  <a:pt x="45" y="156"/>
                  <a:pt x="45" y="156"/>
                </a:cubicBezTo>
                <a:cubicBezTo>
                  <a:pt x="45" y="155"/>
                  <a:pt x="45" y="155"/>
                  <a:pt x="45" y="155"/>
                </a:cubicBezTo>
                <a:cubicBezTo>
                  <a:pt x="45" y="155"/>
                  <a:pt x="46" y="155"/>
                  <a:pt x="46" y="154"/>
                </a:cubicBezTo>
                <a:cubicBezTo>
                  <a:pt x="46" y="154"/>
                  <a:pt x="45" y="155"/>
                  <a:pt x="45" y="155"/>
                </a:cubicBezTo>
                <a:cubicBezTo>
                  <a:pt x="44" y="155"/>
                  <a:pt x="46" y="153"/>
                  <a:pt x="46" y="153"/>
                </a:cubicBezTo>
                <a:cubicBezTo>
                  <a:pt x="47" y="153"/>
                  <a:pt x="46" y="153"/>
                  <a:pt x="47" y="152"/>
                </a:cubicBezTo>
                <a:cubicBezTo>
                  <a:pt x="47" y="152"/>
                  <a:pt x="48" y="152"/>
                  <a:pt x="48" y="152"/>
                </a:cubicBezTo>
                <a:cubicBezTo>
                  <a:pt x="48" y="152"/>
                  <a:pt x="50" y="151"/>
                  <a:pt x="50" y="151"/>
                </a:cubicBezTo>
                <a:cubicBezTo>
                  <a:pt x="49" y="151"/>
                  <a:pt x="48" y="152"/>
                  <a:pt x="48" y="152"/>
                </a:cubicBezTo>
                <a:cubicBezTo>
                  <a:pt x="47" y="152"/>
                  <a:pt x="46" y="152"/>
                  <a:pt x="46" y="152"/>
                </a:cubicBezTo>
                <a:cubicBezTo>
                  <a:pt x="45" y="152"/>
                  <a:pt x="45" y="152"/>
                  <a:pt x="44" y="152"/>
                </a:cubicBezTo>
                <a:cubicBezTo>
                  <a:pt x="44" y="152"/>
                  <a:pt x="44" y="150"/>
                  <a:pt x="44" y="150"/>
                </a:cubicBezTo>
                <a:cubicBezTo>
                  <a:pt x="44" y="150"/>
                  <a:pt x="45" y="149"/>
                  <a:pt x="45" y="149"/>
                </a:cubicBezTo>
                <a:cubicBezTo>
                  <a:pt x="45" y="149"/>
                  <a:pt x="45" y="149"/>
                  <a:pt x="46" y="149"/>
                </a:cubicBezTo>
                <a:cubicBezTo>
                  <a:pt x="45" y="148"/>
                  <a:pt x="44" y="149"/>
                  <a:pt x="44" y="149"/>
                </a:cubicBezTo>
                <a:cubicBezTo>
                  <a:pt x="43" y="150"/>
                  <a:pt x="43" y="148"/>
                  <a:pt x="43" y="148"/>
                </a:cubicBezTo>
                <a:cubicBezTo>
                  <a:pt x="43" y="148"/>
                  <a:pt x="43" y="147"/>
                  <a:pt x="44" y="146"/>
                </a:cubicBezTo>
                <a:cubicBezTo>
                  <a:pt x="44" y="146"/>
                  <a:pt x="45" y="147"/>
                  <a:pt x="46" y="147"/>
                </a:cubicBezTo>
                <a:cubicBezTo>
                  <a:pt x="46" y="146"/>
                  <a:pt x="46" y="146"/>
                  <a:pt x="47" y="146"/>
                </a:cubicBezTo>
                <a:cubicBezTo>
                  <a:pt x="47" y="146"/>
                  <a:pt x="47" y="146"/>
                  <a:pt x="47" y="146"/>
                </a:cubicBezTo>
                <a:cubicBezTo>
                  <a:pt x="47" y="145"/>
                  <a:pt x="46" y="146"/>
                  <a:pt x="46" y="146"/>
                </a:cubicBezTo>
                <a:cubicBezTo>
                  <a:pt x="45" y="146"/>
                  <a:pt x="45" y="146"/>
                  <a:pt x="44" y="145"/>
                </a:cubicBezTo>
                <a:cubicBezTo>
                  <a:pt x="44" y="145"/>
                  <a:pt x="43" y="146"/>
                  <a:pt x="43" y="146"/>
                </a:cubicBezTo>
                <a:cubicBezTo>
                  <a:pt x="43" y="146"/>
                  <a:pt x="43" y="146"/>
                  <a:pt x="43" y="146"/>
                </a:cubicBezTo>
                <a:cubicBezTo>
                  <a:pt x="42" y="146"/>
                  <a:pt x="42" y="146"/>
                  <a:pt x="42" y="145"/>
                </a:cubicBezTo>
                <a:cubicBezTo>
                  <a:pt x="42" y="145"/>
                  <a:pt x="42" y="145"/>
                  <a:pt x="42" y="145"/>
                </a:cubicBezTo>
                <a:cubicBezTo>
                  <a:pt x="42" y="144"/>
                  <a:pt x="42" y="145"/>
                  <a:pt x="42" y="145"/>
                </a:cubicBezTo>
                <a:cubicBezTo>
                  <a:pt x="41" y="145"/>
                  <a:pt x="42" y="146"/>
                  <a:pt x="41" y="146"/>
                </a:cubicBezTo>
                <a:cubicBezTo>
                  <a:pt x="41" y="145"/>
                  <a:pt x="41" y="145"/>
                  <a:pt x="41" y="145"/>
                </a:cubicBezTo>
                <a:cubicBezTo>
                  <a:pt x="40" y="145"/>
                  <a:pt x="40" y="146"/>
                  <a:pt x="40" y="145"/>
                </a:cubicBezTo>
                <a:cubicBezTo>
                  <a:pt x="40" y="146"/>
                  <a:pt x="40" y="145"/>
                  <a:pt x="41" y="146"/>
                </a:cubicBezTo>
                <a:cubicBezTo>
                  <a:pt x="41" y="146"/>
                  <a:pt x="41" y="146"/>
                  <a:pt x="41" y="146"/>
                </a:cubicBezTo>
                <a:cubicBezTo>
                  <a:pt x="42" y="146"/>
                  <a:pt x="42" y="148"/>
                  <a:pt x="41" y="148"/>
                </a:cubicBezTo>
                <a:cubicBezTo>
                  <a:pt x="41" y="148"/>
                  <a:pt x="40" y="148"/>
                  <a:pt x="40" y="149"/>
                </a:cubicBezTo>
                <a:cubicBezTo>
                  <a:pt x="40" y="149"/>
                  <a:pt x="40" y="148"/>
                  <a:pt x="40" y="149"/>
                </a:cubicBezTo>
                <a:cubicBezTo>
                  <a:pt x="40" y="149"/>
                  <a:pt x="39" y="149"/>
                  <a:pt x="39" y="149"/>
                </a:cubicBezTo>
                <a:cubicBezTo>
                  <a:pt x="39" y="149"/>
                  <a:pt x="40" y="149"/>
                  <a:pt x="40" y="149"/>
                </a:cubicBezTo>
                <a:cubicBezTo>
                  <a:pt x="40" y="149"/>
                  <a:pt x="39" y="149"/>
                  <a:pt x="39" y="149"/>
                </a:cubicBezTo>
                <a:cubicBezTo>
                  <a:pt x="39" y="150"/>
                  <a:pt x="40" y="149"/>
                  <a:pt x="40" y="150"/>
                </a:cubicBezTo>
                <a:cubicBezTo>
                  <a:pt x="40" y="151"/>
                  <a:pt x="39" y="149"/>
                  <a:pt x="39" y="150"/>
                </a:cubicBezTo>
                <a:cubicBezTo>
                  <a:pt x="39" y="150"/>
                  <a:pt x="40" y="150"/>
                  <a:pt x="40" y="150"/>
                </a:cubicBezTo>
                <a:cubicBezTo>
                  <a:pt x="40" y="151"/>
                  <a:pt x="39" y="150"/>
                  <a:pt x="39" y="150"/>
                </a:cubicBezTo>
                <a:cubicBezTo>
                  <a:pt x="38" y="150"/>
                  <a:pt x="39" y="151"/>
                  <a:pt x="39" y="151"/>
                </a:cubicBezTo>
                <a:cubicBezTo>
                  <a:pt x="40" y="151"/>
                  <a:pt x="40" y="151"/>
                  <a:pt x="41" y="151"/>
                </a:cubicBezTo>
                <a:cubicBezTo>
                  <a:pt x="41" y="152"/>
                  <a:pt x="42" y="152"/>
                  <a:pt x="42" y="153"/>
                </a:cubicBezTo>
                <a:cubicBezTo>
                  <a:pt x="42" y="153"/>
                  <a:pt x="42" y="154"/>
                  <a:pt x="41" y="155"/>
                </a:cubicBezTo>
                <a:cubicBezTo>
                  <a:pt x="41" y="156"/>
                  <a:pt x="40" y="156"/>
                  <a:pt x="40" y="157"/>
                </a:cubicBezTo>
                <a:cubicBezTo>
                  <a:pt x="40" y="158"/>
                  <a:pt x="40" y="158"/>
                  <a:pt x="39" y="158"/>
                </a:cubicBezTo>
                <a:cubicBezTo>
                  <a:pt x="38" y="158"/>
                  <a:pt x="38" y="159"/>
                  <a:pt x="37" y="159"/>
                </a:cubicBezTo>
                <a:cubicBezTo>
                  <a:pt x="37" y="159"/>
                  <a:pt x="35" y="160"/>
                  <a:pt x="36" y="160"/>
                </a:cubicBezTo>
                <a:cubicBezTo>
                  <a:pt x="35" y="160"/>
                  <a:pt x="35" y="161"/>
                  <a:pt x="34" y="161"/>
                </a:cubicBezTo>
                <a:cubicBezTo>
                  <a:pt x="33" y="161"/>
                  <a:pt x="33" y="162"/>
                  <a:pt x="32" y="162"/>
                </a:cubicBezTo>
                <a:cubicBezTo>
                  <a:pt x="31" y="162"/>
                  <a:pt x="31" y="162"/>
                  <a:pt x="30" y="162"/>
                </a:cubicBezTo>
                <a:cubicBezTo>
                  <a:pt x="30" y="162"/>
                  <a:pt x="29" y="162"/>
                  <a:pt x="29" y="162"/>
                </a:cubicBezTo>
                <a:cubicBezTo>
                  <a:pt x="29" y="162"/>
                  <a:pt x="29" y="163"/>
                  <a:pt x="29" y="163"/>
                </a:cubicBezTo>
                <a:cubicBezTo>
                  <a:pt x="28" y="163"/>
                  <a:pt x="28" y="162"/>
                  <a:pt x="27" y="162"/>
                </a:cubicBezTo>
                <a:cubicBezTo>
                  <a:pt x="26" y="162"/>
                  <a:pt x="25" y="161"/>
                  <a:pt x="25" y="161"/>
                </a:cubicBezTo>
                <a:cubicBezTo>
                  <a:pt x="24" y="160"/>
                  <a:pt x="23" y="160"/>
                  <a:pt x="22" y="159"/>
                </a:cubicBezTo>
                <a:cubicBezTo>
                  <a:pt x="22" y="158"/>
                  <a:pt x="21" y="158"/>
                  <a:pt x="20" y="157"/>
                </a:cubicBezTo>
                <a:cubicBezTo>
                  <a:pt x="19" y="155"/>
                  <a:pt x="18" y="154"/>
                  <a:pt x="16" y="153"/>
                </a:cubicBezTo>
                <a:cubicBezTo>
                  <a:pt x="16" y="152"/>
                  <a:pt x="14" y="151"/>
                  <a:pt x="14" y="150"/>
                </a:cubicBezTo>
                <a:cubicBezTo>
                  <a:pt x="13" y="151"/>
                  <a:pt x="11" y="148"/>
                  <a:pt x="11" y="148"/>
                </a:cubicBezTo>
                <a:cubicBezTo>
                  <a:pt x="10" y="147"/>
                  <a:pt x="9" y="145"/>
                  <a:pt x="10" y="144"/>
                </a:cubicBezTo>
                <a:cubicBezTo>
                  <a:pt x="10" y="143"/>
                  <a:pt x="10" y="144"/>
                  <a:pt x="10" y="144"/>
                </a:cubicBezTo>
                <a:cubicBezTo>
                  <a:pt x="11" y="145"/>
                  <a:pt x="12" y="143"/>
                  <a:pt x="11" y="144"/>
                </a:cubicBezTo>
                <a:cubicBezTo>
                  <a:pt x="11" y="145"/>
                  <a:pt x="11" y="145"/>
                  <a:pt x="12" y="145"/>
                </a:cubicBezTo>
                <a:cubicBezTo>
                  <a:pt x="12" y="146"/>
                  <a:pt x="13" y="145"/>
                  <a:pt x="13" y="145"/>
                </a:cubicBezTo>
                <a:cubicBezTo>
                  <a:pt x="14" y="145"/>
                  <a:pt x="14" y="145"/>
                  <a:pt x="15" y="144"/>
                </a:cubicBezTo>
                <a:cubicBezTo>
                  <a:pt x="15" y="144"/>
                  <a:pt x="15" y="144"/>
                  <a:pt x="15" y="144"/>
                </a:cubicBezTo>
                <a:cubicBezTo>
                  <a:pt x="15" y="143"/>
                  <a:pt x="15" y="145"/>
                  <a:pt x="16" y="144"/>
                </a:cubicBezTo>
                <a:cubicBezTo>
                  <a:pt x="16" y="144"/>
                  <a:pt x="16" y="144"/>
                  <a:pt x="16" y="144"/>
                </a:cubicBezTo>
                <a:cubicBezTo>
                  <a:pt x="17" y="143"/>
                  <a:pt x="17" y="144"/>
                  <a:pt x="17" y="144"/>
                </a:cubicBezTo>
                <a:cubicBezTo>
                  <a:pt x="17" y="144"/>
                  <a:pt x="18" y="143"/>
                  <a:pt x="19" y="143"/>
                </a:cubicBezTo>
                <a:cubicBezTo>
                  <a:pt x="20" y="142"/>
                  <a:pt x="20" y="143"/>
                  <a:pt x="21" y="142"/>
                </a:cubicBezTo>
                <a:cubicBezTo>
                  <a:pt x="21" y="141"/>
                  <a:pt x="22" y="140"/>
                  <a:pt x="22" y="139"/>
                </a:cubicBezTo>
                <a:cubicBezTo>
                  <a:pt x="23" y="138"/>
                  <a:pt x="24" y="138"/>
                  <a:pt x="23" y="137"/>
                </a:cubicBezTo>
                <a:cubicBezTo>
                  <a:pt x="23" y="136"/>
                  <a:pt x="22" y="136"/>
                  <a:pt x="22" y="137"/>
                </a:cubicBezTo>
                <a:cubicBezTo>
                  <a:pt x="22" y="137"/>
                  <a:pt x="23" y="138"/>
                  <a:pt x="22" y="138"/>
                </a:cubicBezTo>
                <a:cubicBezTo>
                  <a:pt x="22" y="138"/>
                  <a:pt x="21" y="138"/>
                  <a:pt x="21" y="138"/>
                </a:cubicBezTo>
                <a:cubicBezTo>
                  <a:pt x="21" y="138"/>
                  <a:pt x="20" y="138"/>
                  <a:pt x="20" y="138"/>
                </a:cubicBezTo>
                <a:cubicBezTo>
                  <a:pt x="19" y="138"/>
                  <a:pt x="20" y="138"/>
                  <a:pt x="19" y="138"/>
                </a:cubicBezTo>
                <a:cubicBezTo>
                  <a:pt x="19" y="139"/>
                  <a:pt x="18" y="139"/>
                  <a:pt x="17" y="139"/>
                </a:cubicBezTo>
                <a:cubicBezTo>
                  <a:pt x="16" y="139"/>
                  <a:pt x="17" y="140"/>
                  <a:pt x="16" y="140"/>
                </a:cubicBezTo>
                <a:cubicBezTo>
                  <a:pt x="15" y="140"/>
                  <a:pt x="14" y="140"/>
                  <a:pt x="14" y="140"/>
                </a:cubicBezTo>
                <a:cubicBezTo>
                  <a:pt x="13" y="140"/>
                  <a:pt x="12" y="139"/>
                  <a:pt x="12" y="139"/>
                </a:cubicBezTo>
                <a:cubicBezTo>
                  <a:pt x="11" y="139"/>
                  <a:pt x="10" y="138"/>
                  <a:pt x="9" y="138"/>
                </a:cubicBezTo>
                <a:cubicBezTo>
                  <a:pt x="8" y="137"/>
                  <a:pt x="5" y="136"/>
                  <a:pt x="5" y="135"/>
                </a:cubicBezTo>
                <a:cubicBezTo>
                  <a:pt x="5" y="135"/>
                  <a:pt x="4" y="134"/>
                  <a:pt x="5" y="134"/>
                </a:cubicBezTo>
                <a:cubicBezTo>
                  <a:pt x="5" y="134"/>
                  <a:pt x="4" y="133"/>
                  <a:pt x="4" y="133"/>
                </a:cubicBezTo>
                <a:cubicBezTo>
                  <a:pt x="4" y="133"/>
                  <a:pt x="4" y="133"/>
                  <a:pt x="3" y="133"/>
                </a:cubicBezTo>
                <a:cubicBezTo>
                  <a:pt x="3" y="132"/>
                  <a:pt x="4" y="132"/>
                  <a:pt x="3" y="132"/>
                </a:cubicBezTo>
                <a:cubicBezTo>
                  <a:pt x="3" y="132"/>
                  <a:pt x="3" y="132"/>
                  <a:pt x="3" y="132"/>
                </a:cubicBezTo>
                <a:cubicBezTo>
                  <a:pt x="3" y="132"/>
                  <a:pt x="3" y="131"/>
                  <a:pt x="3" y="131"/>
                </a:cubicBezTo>
                <a:cubicBezTo>
                  <a:pt x="3" y="131"/>
                  <a:pt x="3" y="130"/>
                  <a:pt x="3" y="131"/>
                </a:cubicBezTo>
                <a:cubicBezTo>
                  <a:pt x="3" y="131"/>
                  <a:pt x="4" y="131"/>
                  <a:pt x="4" y="131"/>
                </a:cubicBezTo>
                <a:cubicBezTo>
                  <a:pt x="4" y="131"/>
                  <a:pt x="3" y="130"/>
                  <a:pt x="3" y="130"/>
                </a:cubicBezTo>
                <a:cubicBezTo>
                  <a:pt x="3" y="130"/>
                  <a:pt x="4" y="130"/>
                  <a:pt x="5" y="129"/>
                </a:cubicBezTo>
                <a:cubicBezTo>
                  <a:pt x="5" y="129"/>
                  <a:pt x="6" y="128"/>
                  <a:pt x="6" y="128"/>
                </a:cubicBezTo>
                <a:cubicBezTo>
                  <a:pt x="6" y="128"/>
                  <a:pt x="6" y="128"/>
                  <a:pt x="5" y="128"/>
                </a:cubicBezTo>
                <a:cubicBezTo>
                  <a:pt x="5" y="129"/>
                  <a:pt x="5" y="128"/>
                  <a:pt x="4" y="129"/>
                </a:cubicBezTo>
                <a:cubicBezTo>
                  <a:pt x="4" y="130"/>
                  <a:pt x="3" y="130"/>
                  <a:pt x="2" y="131"/>
                </a:cubicBezTo>
                <a:cubicBezTo>
                  <a:pt x="2" y="131"/>
                  <a:pt x="3" y="131"/>
                  <a:pt x="2" y="131"/>
                </a:cubicBezTo>
                <a:cubicBezTo>
                  <a:pt x="2" y="131"/>
                  <a:pt x="1" y="131"/>
                  <a:pt x="0" y="131"/>
                </a:cubicBezTo>
                <a:cubicBezTo>
                  <a:pt x="0" y="131"/>
                  <a:pt x="1" y="130"/>
                  <a:pt x="1" y="130"/>
                </a:cubicBezTo>
                <a:cubicBezTo>
                  <a:pt x="1" y="130"/>
                  <a:pt x="1" y="130"/>
                  <a:pt x="1" y="130"/>
                </a:cubicBezTo>
                <a:cubicBezTo>
                  <a:pt x="1" y="130"/>
                  <a:pt x="0" y="128"/>
                  <a:pt x="1" y="127"/>
                </a:cubicBezTo>
                <a:cubicBezTo>
                  <a:pt x="2" y="127"/>
                  <a:pt x="2" y="127"/>
                  <a:pt x="2" y="127"/>
                </a:cubicBezTo>
                <a:cubicBezTo>
                  <a:pt x="2" y="127"/>
                  <a:pt x="2" y="127"/>
                  <a:pt x="2" y="127"/>
                </a:cubicBezTo>
                <a:cubicBezTo>
                  <a:pt x="3" y="126"/>
                  <a:pt x="6" y="128"/>
                  <a:pt x="6" y="126"/>
                </a:cubicBezTo>
                <a:cubicBezTo>
                  <a:pt x="5" y="125"/>
                  <a:pt x="5" y="124"/>
                  <a:pt x="5" y="124"/>
                </a:cubicBezTo>
                <a:cubicBezTo>
                  <a:pt x="5" y="122"/>
                  <a:pt x="6" y="123"/>
                  <a:pt x="6" y="124"/>
                </a:cubicBezTo>
                <a:cubicBezTo>
                  <a:pt x="7" y="124"/>
                  <a:pt x="7" y="123"/>
                  <a:pt x="7" y="123"/>
                </a:cubicBezTo>
                <a:cubicBezTo>
                  <a:pt x="7" y="124"/>
                  <a:pt x="8" y="124"/>
                  <a:pt x="8" y="123"/>
                </a:cubicBezTo>
                <a:cubicBezTo>
                  <a:pt x="9" y="123"/>
                  <a:pt x="9" y="124"/>
                  <a:pt x="10" y="124"/>
                </a:cubicBezTo>
                <a:cubicBezTo>
                  <a:pt x="11" y="123"/>
                  <a:pt x="11" y="123"/>
                  <a:pt x="12" y="123"/>
                </a:cubicBezTo>
                <a:cubicBezTo>
                  <a:pt x="13" y="123"/>
                  <a:pt x="13" y="124"/>
                  <a:pt x="14" y="124"/>
                </a:cubicBezTo>
                <a:cubicBezTo>
                  <a:pt x="15" y="125"/>
                  <a:pt x="15" y="125"/>
                  <a:pt x="16" y="125"/>
                </a:cubicBezTo>
                <a:cubicBezTo>
                  <a:pt x="16" y="125"/>
                  <a:pt x="18" y="125"/>
                  <a:pt x="18" y="124"/>
                </a:cubicBezTo>
                <a:cubicBezTo>
                  <a:pt x="18" y="124"/>
                  <a:pt x="18" y="123"/>
                  <a:pt x="19" y="123"/>
                </a:cubicBezTo>
                <a:cubicBezTo>
                  <a:pt x="19" y="123"/>
                  <a:pt x="20" y="123"/>
                  <a:pt x="21" y="122"/>
                </a:cubicBezTo>
                <a:cubicBezTo>
                  <a:pt x="21" y="122"/>
                  <a:pt x="21" y="122"/>
                  <a:pt x="22" y="122"/>
                </a:cubicBezTo>
                <a:cubicBezTo>
                  <a:pt x="23" y="122"/>
                  <a:pt x="22" y="122"/>
                  <a:pt x="22" y="123"/>
                </a:cubicBezTo>
                <a:cubicBezTo>
                  <a:pt x="23" y="123"/>
                  <a:pt x="23" y="124"/>
                  <a:pt x="24" y="124"/>
                </a:cubicBezTo>
                <a:cubicBezTo>
                  <a:pt x="24" y="124"/>
                  <a:pt x="25" y="124"/>
                  <a:pt x="25" y="124"/>
                </a:cubicBezTo>
                <a:cubicBezTo>
                  <a:pt x="25" y="123"/>
                  <a:pt x="25" y="123"/>
                  <a:pt x="25" y="123"/>
                </a:cubicBezTo>
                <a:cubicBezTo>
                  <a:pt x="26" y="123"/>
                  <a:pt x="26" y="122"/>
                  <a:pt x="26" y="122"/>
                </a:cubicBezTo>
                <a:cubicBezTo>
                  <a:pt x="26" y="122"/>
                  <a:pt x="28" y="122"/>
                  <a:pt x="27" y="122"/>
                </a:cubicBezTo>
                <a:cubicBezTo>
                  <a:pt x="27" y="121"/>
                  <a:pt x="27" y="122"/>
                  <a:pt x="26" y="121"/>
                </a:cubicBezTo>
                <a:cubicBezTo>
                  <a:pt x="26" y="121"/>
                  <a:pt x="26" y="121"/>
                  <a:pt x="26" y="121"/>
                </a:cubicBezTo>
                <a:cubicBezTo>
                  <a:pt x="26" y="120"/>
                  <a:pt x="26" y="120"/>
                  <a:pt x="26" y="119"/>
                </a:cubicBezTo>
                <a:cubicBezTo>
                  <a:pt x="27" y="119"/>
                  <a:pt x="27" y="119"/>
                  <a:pt x="27" y="118"/>
                </a:cubicBezTo>
                <a:cubicBezTo>
                  <a:pt x="25" y="117"/>
                  <a:pt x="25" y="115"/>
                  <a:pt x="24" y="114"/>
                </a:cubicBezTo>
                <a:cubicBezTo>
                  <a:pt x="23" y="113"/>
                  <a:pt x="22" y="112"/>
                  <a:pt x="22" y="110"/>
                </a:cubicBezTo>
                <a:cubicBezTo>
                  <a:pt x="22" y="109"/>
                  <a:pt x="22" y="108"/>
                  <a:pt x="22" y="108"/>
                </a:cubicBezTo>
                <a:cubicBezTo>
                  <a:pt x="21" y="107"/>
                  <a:pt x="20" y="108"/>
                  <a:pt x="20" y="108"/>
                </a:cubicBezTo>
                <a:cubicBezTo>
                  <a:pt x="18" y="108"/>
                  <a:pt x="18" y="107"/>
                  <a:pt x="17" y="106"/>
                </a:cubicBezTo>
                <a:cubicBezTo>
                  <a:pt x="16" y="105"/>
                  <a:pt x="16" y="105"/>
                  <a:pt x="16" y="104"/>
                </a:cubicBezTo>
                <a:cubicBezTo>
                  <a:pt x="16" y="103"/>
                  <a:pt x="16" y="102"/>
                  <a:pt x="16" y="102"/>
                </a:cubicBezTo>
                <a:cubicBezTo>
                  <a:pt x="16" y="101"/>
                  <a:pt x="16" y="99"/>
                  <a:pt x="15" y="98"/>
                </a:cubicBezTo>
                <a:cubicBezTo>
                  <a:pt x="15" y="98"/>
                  <a:pt x="14" y="98"/>
                  <a:pt x="14" y="98"/>
                </a:cubicBezTo>
                <a:cubicBezTo>
                  <a:pt x="13" y="98"/>
                  <a:pt x="12" y="98"/>
                  <a:pt x="12" y="98"/>
                </a:cubicBezTo>
                <a:cubicBezTo>
                  <a:pt x="11" y="97"/>
                  <a:pt x="9" y="97"/>
                  <a:pt x="9" y="95"/>
                </a:cubicBezTo>
                <a:cubicBezTo>
                  <a:pt x="9" y="94"/>
                  <a:pt x="9" y="92"/>
                  <a:pt x="10" y="91"/>
                </a:cubicBezTo>
                <a:cubicBezTo>
                  <a:pt x="10" y="90"/>
                  <a:pt x="11" y="90"/>
                  <a:pt x="11" y="89"/>
                </a:cubicBezTo>
                <a:cubicBezTo>
                  <a:pt x="12" y="89"/>
                  <a:pt x="12" y="88"/>
                  <a:pt x="13" y="87"/>
                </a:cubicBezTo>
                <a:cubicBezTo>
                  <a:pt x="13" y="87"/>
                  <a:pt x="13" y="86"/>
                  <a:pt x="13" y="85"/>
                </a:cubicBezTo>
                <a:cubicBezTo>
                  <a:pt x="13" y="85"/>
                  <a:pt x="14" y="84"/>
                  <a:pt x="14" y="84"/>
                </a:cubicBezTo>
                <a:cubicBezTo>
                  <a:pt x="15" y="83"/>
                  <a:pt x="16" y="81"/>
                  <a:pt x="17" y="82"/>
                </a:cubicBezTo>
                <a:cubicBezTo>
                  <a:pt x="18" y="83"/>
                  <a:pt x="18" y="83"/>
                  <a:pt x="18" y="84"/>
                </a:cubicBezTo>
                <a:cubicBezTo>
                  <a:pt x="19" y="85"/>
                  <a:pt x="19" y="85"/>
                  <a:pt x="20" y="86"/>
                </a:cubicBezTo>
                <a:cubicBezTo>
                  <a:pt x="21" y="86"/>
                  <a:pt x="22" y="85"/>
                  <a:pt x="23" y="85"/>
                </a:cubicBezTo>
                <a:cubicBezTo>
                  <a:pt x="24" y="84"/>
                  <a:pt x="26" y="84"/>
                  <a:pt x="27" y="84"/>
                </a:cubicBezTo>
                <a:cubicBezTo>
                  <a:pt x="28" y="84"/>
                  <a:pt x="29" y="84"/>
                  <a:pt x="29" y="83"/>
                </a:cubicBezTo>
                <a:cubicBezTo>
                  <a:pt x="30" y="83"/>
                  <a:pt x="30" y="83"/>
                  <a:pt x="30" y="82"/>
                </a:cubicBezTo>
                <a:cubicBezTo>
                  <a:pt x="30" y="80"/>
                  <a:pt x="32" y="79"/>
                  <a:pt x="32" y="78"/>
                </a:cubicBezTo>
                <a:cubicBezTo>
                  <a:pt x="32" y="76"/>
                  <a:pt x="32" y="75"/>
                  <a:pt x="33" y="74"/>
                </a:cubicBezTo>
                <a:cubicBezTo>
                  <a:pt x="35" y="73"/>
                  <a:pt x="36" y="72"/>
                  <a:pt x="37" y="71"/>
                </a:cubicBezTo>
                <a:cubicBezTo>
                  <a:pt x="38" y="71"/>
                  <a:pt x="38" y="71"/>
                  <a:pt x="38" y="70"/>
                </a:cubicBezTo>
                <a:cubicBezTo>
                  <a:pt x="38" y="69"/>
                  <a:pt x="39" y="69"/>
                  <a:pt x="39" y="68"/>
                </a:cubicBezTo>
                <a:cubicBezTo>
                  <a:pt x="40" y="67"/>
                  <a:pt x="40" y="65"/>
                  <a:pt x="40" y="63"/>
                </a:cubicBezTo>
                <a:cubicBezTo>
                  <a:pt x="40" y="63"/>
                  <a:pt x="40" y="62"/>
                  <a:pt x="40" y="61"/>
                </a:cubicBezTo>
                <a:cubicBezTo>
                  <a:pt x="41" y="61"/>
                  <a:pt x="42" y="60"/>
                  <a:pt x="42" y="60"/>
                </a:cubicBezTo>
                <a:cubicBezTo>
                  <a:pt x="43" y="60"/>
                  <a:pt x="45" y="59"/>
                  <a:pt x="45" y="58"/>
                </a:cubicBezTo>
                <a:cubicBezTo>
                  <a:pt x="45" y="58"/>
                  <a:pt x="45" y="57"/>
                  <a:pt x="45" y="57"/>
                </a:cubicBezTo>
                <a:cubicBezTo>
                  <a:pt x="44" y="56"/>
                  <a:pt x="44" y="56"/>
                  <a:pt x="44" y="56"/>
                </a:cubicBezTo>
                <a:cubicBezTo>
                  <a:pt x="44" y="56"/>
                  <a:pt x="45" y="55"/>
                  <a:pt x="45" y="55"/>
                </a:cubicBezTo>
                <a:cubicBezTo>
                  <a:pt x="45" y="55"/>
                  <a:pt x="45" y="55"/>
                  <a:pt x="45" y="55"/>
                </a:cubicBezTo>
                <a:cubicBezTo>
                  <a:pt x="46" y="55"/>
                  <a:pt x="45" y="54"/>
                  <a:pt x="45" y="54"/>
                </a:cubicBezTo>
                <a:cubicBezTo>
                  <a:pt x="45" y="54"/>
                  <a:pt x="46" y="54"/>
                  <a:pt x="46" y="53"/>
                </a:cubicBezTo>
                <a:cubicBezTo>
                  <a:pt x="46" y="53"/>
                  <a:pt x="46" y="53"/>
                  <a:pt x="46" y="53"/>
                </a:cubicBezTo>
                <a:cubicBezTo>
                  <a:pt x="47" y="52"/>
                  <a:pt x="47" y="52"/>
                  <a:pt x="47" y="51"/>
                </a:cubicBezTo>
                <a:cubicBezTo>
                  <a:pt x="47" y="51"/>
                  <a:pt x="47" y="51"/>
                  <a:pt x="47" y="51"/>
                </a:cubicBezTo>
                <a:cubicBezTo>
                  <a:pt x="47" y="51"/>
                  <a:pt x="48" y="51"/>
                  <a:pt x="48" y="51"/>
                </a:cubicBezTo>
                <a:cubicBezTo>
                  <a:pt x="48" y="51"/>
                  <a:pt x="48" y="50"/>
                  <a:pt x="48" y="50"/>
                </a:cubicBezTo>
                <a:cubicBezTo>
                  <a:pt x="48" y="50"/>
                  <a:pt x="49" y="50"/>
                  <a:pt x="49" y="50"/>
                </a:cubicBezTo>
                <a:cubicBezTo>
                  <a:pt x="49" y="49"/>
                  <a:pt x="49" y="49"/>
                  <a:pt x="50" y="49"/>
                </a:cubicBezTo>
                <a:cubicBezTo>
                  <a:pt x="50" y="49"/>
                  <a:pt x="50" y="49"/>
                  <a:pt x="50" y="49"/>
                </a:cubicBezTo>
                <a:cubicBezTo>
                  <a:pt x="50" y="48"/>
                  <a:pt x="49" y="48"/>
                  <a:pt x="49" y="48"/>
                </a:cubicBezTo>
                <a:cubicBezTo>
                  <a:pt x="48" y="47"/>
                  <a:pt x="49" y="46"/>
                  <a:pt x="49" y="45"/>
                </a:cubicBezTo>
                <a:cubicBezTo>
                  <a:pt x="49" y="44"/>
                  <a:pt x="48" y="43"/>
                  <a:pt x="47" y="42"/>
                </a:cubicBezTo>
                <a:cubicBezTo>
                  <a:pt x="47" y="41"/>
                  <a:pt x="47" y="40"/>
                  <a:pt x="48" y="40"/>
                </a:cubicBezTo>
                <a:cubicBezTo>
                  <a:pt x="48" y="40"/>
                  <a:pt x="48" y="39"/>
                  <a:pt x="49" y="39"/>
                </a:cubicBezTo>
                <a:cubicBezTo>
                  <a:pt x="49" y="39"/>
                  <a:pt x="49" y="39"/>
                  <a:pt x="49" y="39"/>
                </a:cubicBezTo>
                <a:cubicBezTo>
                  <a:pt x="50" y="39"/>
                  <a:pt x="49" y="39"/>
                  <a:pt x="50" y="38"/>
                </a:cubicBezTo>
                <a:cubicBezTo>
                  <a:pt x="50" y="38"/>
                  <a:pt x="50" y="38"/>
                  <a:pt x="51" y="38"/>
                </a:cubicBezTo>
                <a:cubicBezTo>
                  <a:pt x="51" y="38"/>
                  <a:pt x="51" y="37"/>
                  <a:pt x="52" y="38"/>
                </a:cubicBezTo>
                <a:cubicBezTo>
                  <a:pt x="53" y="38"/>
                  <a:pt x="53" y="37"/>
                  <a:pt x="53" y="37"/>
                </a:cubicBezTo>
                <a:cubicBezTo>
                  <a:pt x="54" y="37"/>
                  <a:pt x="54" y="36"/>
                  <a:pt x="54" y="36"/>
                </a:cubicBezTo>
                <a:cubicBezTo>
                  <a:pt x="54" y="35"/>
                  <a:pt x="54" y="35"/>
                  <a:pt x="53" y="35"/>
                </a:cubicBezTo>
                <a:cubicBezTo>
                  <a:pt x="53" y="34"/>
                  <a:pt x="52" y="34"/>
                  <a:pt x="52" y="34"/>
                </a:cubicBezTo>
                <a:cubicBezTo>
                  <a:pt x="51" y="34"/>
                  <a:pt x="51" y="33"/>
                  <a:pt x="50" y="34"/>
                </a:cubicBezTo>
                <a:cubicBezTo>
                  <a:pt x="49" y="34"/>
                  <a:pt x="49" y="33"/>
                  <a:pt x="48" y="33"/>
                </a:cubicBezTo>
                <a:cubicBezTo>
                  <a:pt x="48" y="34"/>
                  <a:pt x="47" y="33"/>
                  <a:pt x="47" y="33"/>
                </a:cubicBezTo>
                <a:cubicBezTo>
                  <a:pt x="47" y="32"/>
                  <a:pt x="47" y="31"/>
                  <a:pt x="47" y="31"/>
                </a:cubicBezTo>
                <a:cubicBezTo>
                  <a:pt x="46" y="31"/>
                  <a:pt x="47" y="29"/>
                  <a:pt x="47" y="29"/>
                </a:cubicBezTo>
                <a:cubicBezTo>
                  <a:pt x="46" y="29"/>
                  <a:pt x="46" y="30"/>
                  <a:pt x="46" y="30"/>
                </a:cubicBezTo>
                <a:cubicBezTo>
                  <a:pt x="46" y="31"/>
                  <a:pt x="45" y="30"/>
                  <a:pt x="45" y="30"/>
                </a:cubicBezTo>
                <a:cubicBezTo>
                  <a:pt x="44" y="30"/>
                  <a:pt x="43" y="30"/>
                  <a:pt x="43" y="30"/>
                </a:cubicBezTo>
                <a:cubicBezTo>
                  <a:pt x="43" y="29"/>
                  <a:pt x="43" y="29"/>
                  <a:pt x="43" y="28"/>
                </a:cubicBezTo>
                <a:cubicBezTo>
                  <a:pt x="43" y="27"/>
                  <a:pt x="42" y="27"/>
                  <a:pt x="42" y="27"/>
                </a:cubicBezTo>
                <a:cubicBezTo>
                  <a:pt x="41" y="27"/>
                  <a:pt x="41" y="26"/>
                  <a:pt x="40" y="26"/>
                </a:cubicBezTo>
                <a:cubicBezTo>
                  <a:pt x="39" y="25"/>
                  <a:pt x="40" y="24"/>
                  <a:pt x="40" y="23"/>
                </a:cubicBezTo>
                <a:cubicBezTo>
                  <a:pt x="40" y="21"/>
                  <a:pt x="39" y="21"/>
                  <a:pt x="38" y="20"/>
                </a:cubicBezTo>
                <a:cubicBezTo>
                  <a:pt x="38" y="20"/>
                  <a:pt x="38" y="19"/>
                  <a:pt x="38" y="19"/>
                </a:cubicBezTo>
                <a:cubicBezTo>
                  <a:pt x="39" y="18"/>
                  <a:pt x="40" y="18"/>
                  <a:pt x="40" y="17"/>
                </a:cubicBezTo>
                <a:cubicBezTo>
                  <a:pt x="41" y="16"/>
                  <a:pt x="38" y="17"/>
                  <a:pt x="37" y="16"/>
                </a:cubicBezTo>
                <a:cubicBezTo>
                  <a:pt x="37" y="16"/>
                  <a:pt x="36" y="16"/>
                  <a:pt x="37" y="15"/>
                </a:cubicBezTo>
                <a:cubicBezTo>
                  <a:pt x="37" y="15"/>
                  <a:pt x="37" y="15"/>
                  <a:pt x="37" y="14"/>
                </a:cubicBezTo>
                <a:cubicBezTo>
                  <a:pt x="37" y="13"/>
                  <a:pt x="36" y="13"/>
                  <a:pt x="36" y="13"/>
                </a:cubicBezTo>
                <a:cubicBezTo>
                  <a:pt x="35" y="13"/>
                  <a:pt x="35" y="12"/>
                  <a:pt x="35" y="12"/>
                </a:cubicBezTo>
                <a:cubicBezTo>
                  <a:pt x="35" y="11"/>
                  <a:pt x="35" y="11"/>
                  <a:pt x="36" y="10"/>
                </a:cubicBezTo>
                <a:cubicBezTo>
                  <a:pt x="36" y="10"/>
                  <a:pt x="35" y="9"/>
                  <a:pt x="36" y="9"/>
                </a:cubicBezTo>
                <a:cubicBezTo>
                  <a:pt x="37" y="9"/>
                  <a:pt x="37" y="9"/>
                  <a:pt x="38" y="9"/>
                </a:cubicBezTo>
                <a:cubicBezTo>
                  <a:pt x="38" y="8"/>
                  <a:pt x="39" y="8"/>
                  <a:pt x="40" y="8"/>
                </a:cubicBezTo>
                <a:cubicBezTo>
                  <a:pt x="40" y="8"/>
                  <a:pt x="41" y="9"/>
                  <a:pt x="42" y="9"/>
                </a:cubicBezTo>
                <a:cubicBezTo>
                  <a:pt x="43" y="9"/>
                  <a:pt x="44" y="9"/>
                  <a:pt x="45" y="9"/>
                </a:cubicBezTo>
                <a:cubicBezTo>
                  <a:pt x="46" y="10"/>
                  <a:pt x="46" y="10"/>
                  <a:pt x="47" y="10"/>
                </a:cubicBezTo>
                <a:cubicBezTo>
                  <a:pt x="48" y="9"/>
                  <a:pt x="48" y="10"/>
                  <a:pt x="48" y="10"/>
                </a:cubicBezTo>
                <a:cubicBezTo>
                  <a:pt x="50" y="11"/>
                  <a:pt x="51" y="11"/>
                  <a:pt x="53" y="11"/>
                </a:cubicBezTo>
                <a:cubicBezTo>
                  <a:pt x="53" y="11"/>
                  <a:pt x="54" y="10"/>
                  <a:pt x="54" y="10"/>
                </a:cubicBezTo>
                <a:cubicBezTo>
                  <a:pt x="55" y="9"/>
                  <a:pt x="55" y="9"/>
                  <a:pt x="56" y="9"/>
                </a:cubicBezTo>
                <a:cubicBezTo>
                  <a:pt x="56" y="9"/>
                  <a:pt x="57" y="9"/>
                  <a:pt x="58" y="8"/>
                </a:cubicBezTo>
                <a:cubicBezTo>
                  <a:pt x="58" y="8"/>
                  <a:pt x="59" y="9"/>
                  <a:pt x="60" y="9"/>
                </a:cubicBezTo>
                <a:cubicBezTo>
                  <a:pt x="60" y="8"/>
                  <a:pt x="61" y="8"/>
                  <a:pt x="61" y="7"/>
                </a:cubicBezTo>
                <a:cubicBezTo>
                  <a:pt x="61" y="7"/>
                  <a:pt x="61" y="6"/>
                  <a:pt x="61" y="6"/>
                </a:cubicBezTo>
                <a:cubicBezTo>
                  <a:pt x="62" y="6"/>
                  <a:pt x="62" y="6"/>
                  <a:pt x="63" y="6"/>
                </a:cubicBezTo>
                <a:cubicBezTo>
                  <a:pt x="63" y="5"/>
                  <a:pt x="63" y="5"/>
                  <a:pt x="63" y="4"/>
                </a:cubicBezTo>
                <a:cubicBezTo>
                  <a:pt x="65" y="3"/>
                  <a:pt x="66" y="2"/>
                  <a:pt x="67" y="1"/>
                </a:cubicBezTo>
                <a:cubicBezTo>
                  <a:pt x="68" y="1"/>
                  <a:pt x="69" y="0"/>
                  <a:pt x="69" y="0"/>
                </a:cubicBezTo>
                <a:cubicBezTo>
                  <a:pt x="69" y="0"/>
                  <a:pt x="70" y="1"/>
                  <a:pt x="70" y="0"/>
                </a:cubicBezTo>
                <a:cubicBezTo>
                  <a:pt x="71" y="0"/>
                  <a:pt x="71" y="0"/>
                  <a:pt x="71" y="0"/>
                </a:cubicBezTo>
                <a:cubicBezTo>
                  <a:pt x="71" y="1"/>
                  <a:pt x="71" y="2"/>
                  <a:pt x="71" y="2"/>
                </a:cubicBezTo>
                <a:cubicBezTo>
                  <a:pt x="71" y="3"/>
                  <a:pt x="72" y="4"/>
                  <a:pt x="72" y="4"/>
                </a:cubicBezTo>
                <a:cubicBezTo>
                  <a:pt x="73" y="5"/>
                  <a:pt x="73" y="6"/>
                  <a:pt x="74" y="7"/>
                </a:cubicBezTo>
                <a:cubicBezTo>
                  <a:pt x="75" y="8"/>
                  <a:pt x="75" y="10"/>
                  <a:pt x="76" y="10"/>
                </a:cubicBezTo>
                <a:cubicBezTo>
                  <a:pt x="77" y="10"/>
                  <a:pt x="78" y="10"/>
                  <a:pt x="79" y="11"/>
                </a:cubicBezTo>
                <a:cubicBezTo>
                  <a:pt x="79" y="11"/>
                  <a:pt x="80" y="11"/>
                  <a:pt x="81" y="12"/>
                </a:cubicBezTo>
                <a:cubicBezTo>
                  <a:pt x="81" y="12"/>
                  <a:pt x="84" y="13"/>
                  <a:pt x="83" y="14"/>
                </a:cubicBezTo>
                <a:cubicBezTo>
                  <a:pt x="82" y="16"/>
                  <a:pt x="80" y="15"/>
                  <a:pt x="81" y="17"/>
                </a:cubicBezTo>
                <a:cubicBezTo>
                  <a:pt x="82" y="18"/>
                  <a:pt x="82" y="18"/>
                  <a:pt x="82" y="19"/>
                </a:cubicBezTo>
                <a:cubicBezTo>
                  <a:pt x="82" y="19"/>
                  <a:pt x="82" y="20"/>
                  <a:pt x="83" y="21"/>
                </a:cubicBezTo>
                <a:cubicBezTo>
                  <a:pt x="83" y="22"/>
                  <a:pt x="83" y="22"/>
                  <a:pt x="84" y="23"/>
                </a:cubicBezTo>
                <a:cubicBezTo>
                  <a:pt x="84" y="23"/>
                  <a:pt x="85" y="24"/>
                  <a:pt x="86" y="24"/>
                </a:cubicBezTo>
                <a:cubicBezTo>
                  <a:pt x="86" y="24"/>
                  <a:pt x="86" y="25"/>
                  <a:pt x="87" y="25"/>
                </a:cubicBezTo>
                <a:cubicBezTo>
                  <a:pt x="87" y="25"/>
                  <a:pt x="87" y="25"/>
                  <a:pt x="87" y="25"/>
                </a:cubicBezTo>
                <a:cubicBezTo>
                  <a:pt x="87" y="25"/>
                  <a:pt x="87" y="25"/>
                  <a:pt x="87" y="25"/>
                </a:cubicBezTo>
                <a:cubicBezTo>
                  <a:pt x="87" y="25"/>
                  <a:pt x="89" y="25"/>
                  <a:pt x="89" y="26"/>
                </a:cubicBezTo>
                <a:cubicBezTo>
                  <a:pt x="89" y="27"/>
                  <a:pt x="89" y="28"/>
                  <a:pt x="90" y="28"/>
                </a:cubicBezTo>
                <a:cubicBezTo>
                  <a:pt x="90" y="29"/>
                  <a:pt x="90" y="29"/>
                  <a:pt x="91" y="29"/>
                </a:cubicBezTo>
                <a:cubicBezTo>
                  <a:pt x="91" y="30"/>
                  <a:pt x="91" y="30"/>
                  <a:pt x="91" y="30"/>
                </a:cubicBezTo>
                <a:cubicBezTo>
                  <a:pt x="92" y="31"/>
                  <a:pt x="91" y="32"/>
                  <a:pt x="90" y="33"/>
                </a:cubicBezTo>
                <a:cubicBezTo>
                  <a:pt x="90" y="33"/>
                  <a:pt x="89" y="33"/>
                  <a:pt x="89" y="33"/>
                </a:cubicBezTo>
                <a:cubicBezTo>
                  <a:pt x="89" y="33"/>
                  <a:pt x="89" y="33"/>
                  <a:pt x="89" y="33"/>
                </a:cubicBezTo>
                <a:cubicBezTo>
                  <a:pt x="89" y="33"/>
                  <a:pt x="88" y="33"/>
                  <a:pt x="88" y="34"/>
                </a:cubicBezTo>
                <a:cubicBezTo>
                  <a:pt x="89" y="34"/>
                  <a:pt x="88" y="35"/>
                  <a:pt x="87" y="35"/>
                </a:cubicBezTo>
                <a:cubicBezTo>
                  <a:pt x="86" y="34"/>
                  <a:pt x="85" y="33"/>
                  <a:pt x="85" y="32"/>
                </a:cubicBezTo>
                <a:cubicBezTo>
                  <a:pt x="85" y="32"/>
                  <a:pt x="84" y="31"/>
                  <a:pt x="84" y="32"/>
                </a:cubicBezTo>
                <a:cubicBezTo>
                  <a:pt x="84" y="32"/>
                  <a:pt x="83" y="32"/>
                  <a:pt x="82" y="32"/>
                </a:cubicBezTo>
                <a:cubicBezTo>
                  <a:pt x="81" y="32"/>
                  <a:pt x="82" y="33"/>
                  <a:pt x="82" y="33"/>
                </a:cubicBezTo>
                <a:cubicBezTo>
                  <a:pt x="82" y="34"/>
                  <a:pt x="82" y="34"/>
                  <a:pt x="83" y="34"/>
                </a:cubicBezTo>
                <a:cubicBezTo>
                  <a:pt x="83" y="35"/>
                  <a:pt x="83" y="35"/>
                  <a:pt x="83" y="36"/>
                </a:cubicBezTo>
                <a:cubicBezTo>
                  <a:pt x="82" y="36"/>
                  <a:pt x="82" y="36"/>
                  <a:pt x="83" y="37"/>
                </a:cubicBezTo>
                <a:cubicBezTo>
                  <a:pt x="82" y="36"/>
                  <a:pt x="82" y="36"/>
                  <a:pt x="83" y="36"/>
                </a:cubicBezTo>
                <a:cubicBezTo>
                  <a:pt x="83" y="36"/>
                  <a:pt x="84" y="36"/>
                  <a:pt x="84" y="37"/>
                </a:cubicBezTo>
                <a:cubicBezTo>
                  <a:pt x="84" y="37"/>
                  <a:pt x="85" y="38"/>
                  <a:pt x="85" y="38"/>
                </a:cubicBezTo>
                <a:cubicBezTo>
                  <a:pt x="85" y="38"/>
                  <a:pt x="86" y="39"/>
                  <a:pt x="86" y="40"/>
                </a:cubicBezTo>
                <a:cubicBezTo>
                  <a:pt x="86" y="39"/>
                  <a:pt x="86" y="39"/>
                  <a:pt x="86" y="39"/>
                </a:cubicBezTo>
                <a:cubicBezTo>
                  <a:pt x="86" y="39"/>
                  <a:pt x="86" y="40"/>
                  <a:pt x="86" y="40"/>
                </a:cubicBezTo>
                <a:cubicBezTo>
                  <a:pt x="86" y="40"/>
                  <a:pt x="86" y="41"/>
                  <a:pt x="86" y="41"/>
                </a:cubicBezTo>
                <a:cubicBezTo>
                  <a:pt x="86" y="42"/>
                  <a:pt x="87" y="42"/>
                  <a:pt x="87" y="42"/>
                </a:cubicBezTo>
                <a:cubicBezTo>
                  <a:pt x="88" y="43"/>
                  <a:pt x="87" y="43"/>
                  <a:pt x="87" y="43"/>
                </a:cubicBezTo>
                <a:cubicBezTo>
                  <a:pt x="87" y="44"/>
                  <a:pt x="87" y="44"/>
                  <a:pt x="87" y="44"/>
                </a:cubicBezTo>
                <a:cubicBezTo>
                  <a:pt x="88" y="45"/>
                  <a:pt x="87" y="45"/>
                  <a:pt x="87" y="46"/>
                </a:cubicBezTo>
                <a:cubicBezTo>
                  <a:pt x="88" y="47"/>
                  <a:pt x="88" y="46"/>
                  <a:pt x="88" y="46"/>
                </a:cubicBezTo>
                <a:cubicBezTo>
                  <a:pt x="89" y="46"/>
                  <a:pt x="89" y="46"/>
                  <a:pt x="89" y="46"/>
                </a:cubicBezTo>
                <a:cubicBezTo>
                  <a:pt x="89" y="46"/>
                  <a:pt x="89" y="46"/>
                  <a:pt x="89" y="46"/>
                </a:cubicBezTo>
                <a:cubicBezTo>
                  <a:pt x="89" y="46"/>
                  <a:pt x="90" y="46"/>
                  <a:pt x="90" y="46"/>
                </a:cubicBezTo>
                <a:cubicBezTo>
                  <a:pt x="89" y="45"/>
                  <a:pt x="90" y="45"/>
                  <a:pt x="91" y="45"/>
                </a:cubicBezTo>
                <a:cubicBezTo>
                  <a:pt x="91" y="45"/>
                  <a:pt x="91" y="46"/>
                  <a:pt x="91" y="46"/>
                </a:cubicBezTo>
                <a:cubicBezTo>
                  <a:pt x="91" y="46"/>
                  <a:pt x="92" y="46"/>
                  <a:pt x="92" y="46"/>
                </a:cubicBezTo>
                <a:cubicBezTo>
                  <a:pt x="92" y="46"/>
                  <a:pt x="92" y="46"/>
                  <a:pt x="92" y="47"/>
                </a:cubicBezTo>
                <a:cubicBezTo>
                  <a:pt x="93" y="47"/>
                  <a:pt x="93" y="48"/>
                  <a:pt x="94" y="48"/>
                </a:cubicBezTo>
                <a:cubicBezTo>
                  <a:pt x="94" y="48"/>
                  <a:pt x="94" y="49"/>
                  <a:pt x="95" y="49"/>
                </a:cubicBezTo>
                <a:cubicBezTo>
                  <a:pt x="95" y="49"/>
                  <a:pt x="95" y="50"/>
                  <a:pt x="96" y="50"/>
                </a:cubicBezTo>
                <a:cubicBezTo>
                  <a:pt x="96" y="50"/>
                  <a:pt x="97" y="50"/>
                  <a:pt x="97" y="50"/>
                </a:cubicBezTo>
                <a:cubicBezTo>
                  <a:pt x="98" y="50"/>
                  <a:pt x="98" y="50"/>
                  <a:pt x="99" y="50"/>
                </a:cubicBezTo>
                <a:cubicBezTo>
                  <a:pt x="99" y="50"/>
                  <a:pt x="99" y="51"/>
                  <a:pt x="100" y="51"/>
                </a:cubicBezTo>
                <a:cubicBezTo>
                  <a:pt x="100" y="51"/>
                  <a:pt x="101" y="52"/>
                  <a:pt x="101" y="52"/>
                </a:cubicBezTo>
                <a:cubicBezTo>
                  <a:pt x="101" y="52"/>
                  <a:pt x="101" y="52"/>
                  <a:pt x="102" y="52"/>
                </a:cubicBezTo>
                <a:cubicBezTo>
                  <a:pt x="102" y="52"/>
                  <a:pt x="102" y="52"/>
                  <a:pt x="102" y="52"/>
                </a:cubicBezTo>
                <a:cubicBezTo>
                  <a:pt x="102" y="52"/>
                  <a:pt x="103" y="52"/>
                  <a:pt x="103" y="53"/>
                </a:cubicBezTo>
                <a:cubicBezTo>
                  <a:pt x="103" y="53"/>
                  <a:pt x="102" y="53"/>
                  <a:pt x="102" y="53"/>
                </a:cubicBezTo>
                <a:cubicBezTo>
                  <a:pt x="102" y="54"/>
                  <a:pt x="103" y="54"/>
                  <a:pt x="103" y="54"/>
                </a:cubicBezTo>
                <a:cubicBezTo>
                  <a:pt x="103" y="54"/>
                  <a:pt x="103" y="54"/>
                  <a:pt x="103" y="54"/>
                </a:cubicBezTo>
                <a:cubicBezTo>
                  <a:pt x="104" y="54"/>
                  <a:pt x="105" y="55"/>
                  <a:pt x="105" y="55"/>
                </a:cubicBezTo>
                <a:cubicBezTo>
                  <a:pt x="106" y="55"/>
                  <a:pt x="107" y="55"/>
                  <a:pt x="107" y="56"/>
                </a:cubicBezTo>
                <a:cubicBezTo>
                  <a:pt x="108" y="56"/>
                  <a:pt x="108" y="57"/>
                  <a:pt x="109" y="57"/>
                </a:cubicBezTo>
                <a:cubicBezTo>
                  <a:pt x="109" y="57"/>
                  <a:pt x="110" y="57"/>
                  <a:pt x="110" y="58"/>
                </a:cubicBezTo>
                <a:cubicBezTo>
                  <a:pt x="112" y="58"/>
                  <a:pt x="110" y="59"/>
                  <a:pt x="110" y="58"/>
                </a:cubicBezTo>
                <a:cubicBezTo>
                  <a:pt x="110" y="58"/>
                  <a:pt x="110" y="59"/>
                  <a:pt x="110" y="59"/>
                </a:cubicBezTo>
                <a:cubicBezTo>
                  <a:pt x="109" y="60"/>
                  <a:pt x="109" y="60"/>
                  <a:pt x="108" y="60"/>
                </a:cubicBezTo>
                <a:cubicBezTo>
                  <a:pt x="108" y="61"/>
                  <a:pt x="108" y="61"/>
                  <a:pt x="107" y="62"/>
                </a:cubicBezTo>
                <a:cubicBezTo>
                  <a:pt x="107" y="62"/>
                  <a:pt x="107" y="63"/>
                  <a:pt x="106" y="63"/>
                </a:cubicBezTo>
                <a:cubicBezTo>
                  <a:pt x="106" y="63"/>
                  <a:pt x="106" y="64"/>
                  <a:pt x="106" y="64"/>
                </a:cubicBezTo>
                <a:cubicBezTo>
                  <a:pt x="107" y="65"/>
                  <a:pt x="106" y="65"/>
                  <a:pt x="106" y="66"/>
                </a:cubicBezTo>
                <a:cubicBezTo>
                  <a:pt x="106" y="66"/>
                  <a:pt x="106" y="67"/>
                  <a:pt x="105" y="67"/>
                </a:cubicBezTo>
                <a:cubicBezTo>
                  <a:pt x="105" y="67"/>
                  <a:pt x="106" y="68"/>
                  <a:pt x="106" y="68"/>
                </a:cubicBezTo>
                <a:cubicBezTo>
                  <a:pt x="106" y="68"/>
                  <a:pt x="106" y="69"/>
                  <a:pt x="106" y="69"/>
                </a:cubicBezTo>
                <a:cubicBezTo>
                  <a:pt x="106" y="69"/>
                  <a:pt x="106" y="69"/>
                  <a:pt x="106" y="69"/>
                </a:cubicBezTo>
                <a:cubicBezTo>
                  <a:pt x="106" y="70"/>
                  <a:pt x="106" y="70"/>
                  <a:pt x="106" y="70"/>
                </a:cubicBezTo>
                <a:cubicBezTo>
                  <a:pt x="106" y="70"/>
                  <a:pt x="105" y="70"/>
                  <a:pt x="105" y="70"/>
                </a:cubicBezTo>
                <a:cubicBezTo>
                  <a:pt x="105" y="71"/>
                  <a:pt x="105" y="71"/>
                  <a:pt x="105" y="71"/>
                </a:cubicBezTo>
                <a:cubicBezTo>
                  <a:pt x="105" y="72"/>
                  <a:pt x="105" y="72"/>
                  <a:pt x="105" y="72"/>
                </a:cubicBezTo>
                <a:cubicBezTo>
                  <a:pt x="104" y="73"/>
                  <a:pt x="105" y="73"/>
                  <a:pt x="105" y="74"/>
                </a:cubicBezTo>
                <a:cubicBezTo>
                  <a:pt x="106" y="74"/>
                  <a:pt x="106" y="74"/>
                  <a:pt x="106" y="74"/>
                </a:cubicBezTo>
                <a:cubicBezTo>
                  <a:pt x="106" y="74"/>
                  <a:pt x="107" y="74"/>
                  <a:pt x="107" y="74"/>
                </a:cubicBezTo>
                <a:cubicBezTo>
                  <a:pt x="107" y="75"/>
                  <a:pt x="108" y="76"/>
                  <a:pt x="108" y="76"/>
                </a:cubicBezTo>
                <a:cubicBezTo>
                  <a:pt x="108" y="76"/>
                  <a:pt x="109" y="76"/>
                  <a:pt x="109" y="76"/>
                </a:cubicBezTo>
                <a:cubicBezTo>
                  <a:pt x="109" y="76"/>
                  <a:pt x="109" y="76"/>
                  <a:pt x="109" y="76"/>
                </a:cubicBezTo>
                <a:cubicBezTo>
                  <a:pt x="109" y="76"/>
                  <a:pt x="109" y="75"/>
                  <a:pt x="109" y="75"/>
                </a:cubicBezTo>
                <a:cubicBezTo>
                  <a:pt x="110" y="75"/>
                  <a:pt x="111" y="76"/>
                  <a:pt x="111" y="76"/>
                </a:cubicBezTo>
                <a:cubicBezTo>
                  <a:pt x="112" y="76"/>
                  <a:pt x="112" y="77"/>
                  <a:pt x="113" y="77"/>
                </a:cubicBezTo>
                <a:cubicBezTo>
                  <a:pt x="113" y="77"/>
                  <a:pt x="113" y="77"/>
                  <a:pt x="113" y="77"/>
                </a:cubicBezTo>
                <a:cubicBezTo>
                  <a:pt x="114" y="78"/>
                  <a:pt x="114" y="77"/>
                  <a:pt x="114" y="78"/>
                </a:cubicBezTo>
                <a:cubicBezTo>
                  <a:pt x="115" y="78"/>
                  <a:pt x="116" y="78"/>
                  <a:pt x="116" y="79"/>
                </a:cubicBezTo>
                <a:cubicBezTo>
                  <a:pt x="117" y="79"/>
                  <a:pt x="117" y="80"/>
                  <a:pt x="117" y="80"/>
                </a:cubicBezTo>
                <a:cubicBezTo>
                  <a:pt x="117" y="80"/>
                  <a:pt x="118" y="81"/>
                  <a:pt x="118" y="81"/>
                </a:cubicBezTo>
                <a:cubicBezTo>
                  <a:pt x="118" y="81"/>
                  <a:pt x="118" y="81"/>
                  <a:pt x="118" y="81"/>
                </a:cubicBezTo>
                <a:cubicBezTo>
                  <a:pt x="119" y="81"/>
                  <a:pt x="119" y="81"/>
                  <a:pt x="119" y="81"/>
                </a:cubicBezTo>
                <a:cubicBezTo>
                  <a:pt x="120" y="82"/>
                  <a:pt x="122" y="83"/>
                  <a:pt x="123" y="84"/>
                </a:cubicBezTo>
                <a:cubicBezTo>
                  <a:pt x="124" y="84"/>
                  <a:pt x="124" y="84"/>
                  <a:pt x="124" y="84"/>
                </a:cubicBezTo>
                <a:cubicBezTo>
                  <a:pt x="125" y="83"/>
                  <a:pt x="125" y="84"/>
                  <a:pt x="126" y="84"/>
                </a:cubicBezTo>
                <a:cubicBezTo>
                  <a:pt x="127" y="84"/>
                  <a:pt x="128" y="86"/>
                  <a:pt x="129" y="86"/>
                </a:cubicBezTo>
                <a:cubicBezTo>
                  <a:pt x="130" y="86"/>
                  <a:pt x="130" y="86"/>
                  <a:pt x="131" y="86"/>
                </a:cubicBezTo>
                <a:cubicBezTo>
                  <a:pt x="132" y="86"/>
                  <a:pt x="132" y="86"/>
                  <a:pt x="132" y="87"/>
                </a:cubicBezTo>
                <a:cubicBezTo>
                  <a:pt x="132" y="87"/>
                  <a:pt x="133" y="88"/>
                  <a:pt x="133" y="88"/>
                </a:cubicBezTo>
                <a:cubicBezTo>
                  <a:pt x="134" y="88"/>
                  <a:pt x="134" y="88"/>
                  <a:pt x="135" y="88"/>
                </a:cubicBezTo>
                <a:cubicBezTo>
                  <a:pt x="135" y="89"/>
                  <a:pt x="136" y="88"/>
                  <a:pt x="137" y="89"/>
                </a:cubicBezTo>
                <a:cubicBezTo>
                  <a:pt x="137" y="89"/>
                  <a:pt x="138" y="90"/>
                  <a:pt x="138" y="90"/>
                </a:cubicBezTo>
                <a:cubicBezTo>
                  <a:pt x="139" y="89"/>
                  <a:pt x="138" y="89"/>
                  <a:pt x="139" y="88"/>
                </a:cubicBezTo>
                <a:cubicBezTo>
                  <a:pt x="139" y="88"/>
                  <a:pt x="140" y="88"/>
                  <a:pt x="141" y="88"/>
                </a:cubicBezTo>
                <a:cubicBezTo>
                  <a:pt x="141" y="89"/>
                  <a:pt x="142" y="89"/>
                  <a:pt x="143" y="90"/>
                </a:cubicBezTo>
                <a:cubicBezTo>
                  <a:pt x="143" y="90"/>
                  <a:pt x="143" y="89"/>
                  <a:pt x="143" y="89"/>
                </a:cubicBezTo>
                <a:cubicBezTo>
                  <a:pt x="143" y="89"/>
                  <a:pt x="143" y="89"/>
                  <a:pt x="144" y="89"/>
                </a:cubicBezTo>
                <a:cubicBezTo>
                  <a:pt x="144" y="89"/>
                  <a:pt x="145" y="89"/>
                  <a:pt x="145" y="89"/>
                </a:cubicBezTo>
                <a:cubicBezTo>
                  <a:pt x="145" y="88"/>
                  <a:pt x="145" y="88"/>
                  <a:pt x="145" y="88"/>
                </a:cubicBezTo>
                <a:cubicBezTo>
                  <a:pt x="145" y="88"/>
                  <a:pt x="146" y="88"/>
                  <a:pt x="146" y="89"/>
                </a:cubicBezTo>
                <a:cubicBezTo>
                  <a:pt x="147" y="89"/>
                  <a:pt x="146" y="88"/>
                  <a:pt x="147" y="89"/>
                </a:cubicBezTo>
                <a:cubicBezTo>
                  <a:pt x="147" y="89"/>
                  <a:pt x="147" y="89"/>
                  <a:pt x="147" y="89"/>
                </a:cubicBezTo>
                <a:cubicBezTo>
                  <a:pt x="148" y="90"/>
                  <a:pt x="149" y="89"/>
                  <a:pt x="149" y="90"/>
                </a:cubicBezTo>
                <a:cubicBezTo>
                  <a:pt x="151" y="90"/>
                  <a:pt x="151" y="91"/>
                  <a:pt x="151" y="93"/>
                </a:cubicBezTo>
                <a:cubicBezTo>
                  <a:pt x="151" y="93"/>
                  <a:pt x="152" y="94"/>
                  <a:pt x="153" y="93"/>
                </a:cubicBezTo>
                <a:cubicBezTo>
                  <a:pt x="153" y="93"/>
                  <a:pt x="154" y="94"/>
                  <a:pt x="154" y="94"/>
                </a:cubicBezTo>
                <a:cubicBezTo>
                  <a:pt x="154" y="94"/>
                  <a:pt x="155" y="95"/>
                  <a:pt x="155" y="95"/>
                </a:cubicBezTo>
                <a:cubicBezTo>
                  <a:pt x="155" y="95"/>
                  <a:pt x="156" y="95"/>
                  <a:pt x="156" y="95"/>
                </a:cubicBezTo>
                <a:cubicBezTo>
                  <a:pt x="157" y="95"/>
                  <a:pt x="156" y="96"/>
                  <a:pt x="157" y="96"/>
                </a:cubicBezTo>
                <a:cubicBezTo>
                  <a:pt x="157" y="96"/>
                  <a:pt x="157" y="96"/>
                  <a:pt x="157" y="96"/>
                </a:cubicBezTo>
                <a:cubicBezTo>
                  <a:pt x="158" y="97"/>
                  <a:pt x="158" y="96"/>
                  <a:pt x="159" y="96"/>
                </a:cubicBezTo>
                <a:cubicBezTo>
                  <a:pt x="159" y="96"/>
                  <a:pt x="159" y="96"/>
                  <a:pt x="160" y="96"/>
                </a:cubicBezTo>
                <a:cubicBezTo>
                  <a:pt x="160" y="95"/>
                  <a:pt x="160" y="95"/>
                  <a:pt x="160" y="95"/>
                </a:cubicBezTo>
                <a:cubicBezTo>
                  <a:pt x="161" y="95"/>
                  <a:pt x="161" y="95"/>
                  <a:pt x="162" y="96"/>
                </a:cubicBezTo>
                <a:cubicBezTo>
                  <a:pt x="162" y="96"/>
                  <a:pt x="162" y="97"/>
                  <a:pt x="162" y="97"/>
                </a:cubicBezTo>
                <a:cubicBezTo>
                  <a:pt x="162" y="98"/>
                  <a:pt x="163" y="98"/>
                  <a:pt x="163" y="98"/>
                </a:cubicBezTo>
                <a:cubicBezTo>
                  <a:pt x="164" y="98"/>
                  <a:pt x="164" y="98"/>
                  <a:pt x="164" y="98"/>
                </a:cubicBezTo>
                <a:cubicBezTo>
                  <a:pt x="165" y="97"/>
                  <a:pt x="166" y="98"/>
                  <a:pt x="166" y="98"/>
                </a:cubicBezTo>
                <a:cubicBezTo>
                  <a:pt x="167" y="98"/>
                  <a:pt x="167" y="98"/>
                  <a:pt x="168" y="98"/>
                </a:cubicBezTo>
                <a:cubicBezTo>
                  <a:pt x="168" y="98"/>
                  <a:pt x="168" y="98"/>
                  <a:pt x="168" y="98"/>
                </a:cubicBezTo>
                <a:cubicBezTo>
                  <a:pt x="168" y="98"/>
                  <a:pt x="169" y="98"/>
                  <a:pt x="169" y="98"/>
                </a:cubicBezTo>
                <a:cubicBezTo>
                  <a:pt x="170" y="99"/>
                  <a:pt x="170" y="99"/>
                  <a:pt x="171" y="99"/>
                </a:cubicBezTo>
                <a:cubicBezTo>
                  <a:pt x="171" y="100"/>
                  <a:pt x="172" y="100"/>
                  <a:pt x="172" y="100"/>
                </a:cubicBezTo>
                <a:cubicBezTo>
                  <a:pt x="173" y="100"/>
                  <a:pt x="173" y="100"/>
                  <a:pt x="173" y="99"/>
                </a:cubicBezTo>
                <a:cubicBezTo>
                  <a:pt x="173" y="99"/>
                  <a:pt x="174" y="99"/>
                  <a:pt x="174" y="98"/>
                </a:cubicBezTo>
                <a:cubicBezTo>
                  <a:pt x="175" y="98"/>
                  <a:pt x="175" y="99"/>
                  <a:pt x="175" y="99"/>
                </a:cubicBezTo>
                <a:cubicBezTo>
                  <a:pt x="175" y="99"/>
                  <a:pt x="175" y="100"/>
                  <a:pt x="176" y="100"/>
                </a:cubicBezTo>
                <a:cubicBezTo>
                  <a:pt x="177" y="100"/>
                  <a:pt x="177" y="101"/>
                  <a:pt x="178" y="101"/>
                </a:cubicBezTo>
                <a:cubicBezTo>
                  <a:pt x="178" y="100"/>
                  <a:pt x="178" y="100"/>
                  <a:pt x="179" y="100"/>
                </a:cubicBezTo>
                <a:cubicBezTo>
                  <a:pt x="180" y="100"/>
                  <a:pt x="180" y="100"/>
                  <a:pt x="181" y="100"/>
                </a:cubicBezTo>
                <a:cubicBezTo>
                  <a:pt x="181" y="100"/>
                  <a:pt x="181" y="100"/>
                  <a:pt x="181" y="100"/>
                </a:cubicBezTo>
                <a:cubicBezTo>
                  <a:pt x="181" y="100"/>
                  <a:pt x="182" y="100"/>
                  <a:pt x="182" y="100"/>
                </a:cubicBezTo>
                <a:cubicBezTo>
                  <a:pt x="182" y="99"/>
                  <a:pt x="182" y="100"/>
                  <a:pt x="182" y="100"/>
                </a:cubicBezTo>
                <a:cubicBezTo>
                  <a:pt x="182" y="100"/>
                  <a:pt x="182" y="99"/>
                  <a:pt x="183" y="99"/>
                </a:cubicBezTo>
                <a:cubicBezTo>
                  <a:pt x="183" y="99"/>
                  <a:pt x="183" y="100"/>
                  <a:pt x="183" y="100"/>
                </a:cubicBezTo>
                <a:cubicBezTo>
                  <a:pt x="185" y="101"/>
                  <a:pt x="185" y="98"/>
                  <a:pt x="185" y="97"/>
                </a:cubicBezTo>
                <a:cubicBezTo>
                  <a:pt x="185" y="96"/>
                  <a:pt x="185" y="95"/>
                  <a:pt x="184" y="94"/>
                </a:cubicBezTo>
                <a:cubicBezTo>
                  <a:pt x="183" y="93"/>
                  <a:pt x="183" y="93"/>
                  <a:pt x="182" y="92"/>
                </a:cubicBezTo>
                <a:cubicBezTo>
                  <a:pt x="182" y="91"/>
                  <a:pt x="183" y="90"/>
                  <a:pt x="182" y="89"/>
                </a:cubicBezTo>
                <a:cubicBezTo>
                  <a:pt x="182" y="89"/>
                  <a:pt x="182" y="88"/>
                  <a:pt x="182" y="87"/>
                </a:cubicBezTo>
                <a:cubicBezTo>
                  <a:pt x="183" y="87"/>
                  <a:pt x="183" y="86"/>
                  <a:pt x="183" y="85"/>
                </a:cubicBezTo>
                <a:cubicBezTo>
                  <a:pt x="183" y="84"/>
                  <a:pt x="181" y="83"/>
                  <a:pt x="183" y="83"/>
                </a:cubicBezTo>
                <a:cubicBezTo>
                  <a:pt x="183" y="83"/>
                  <a:pt x="186" y="82"/>
                  <a:pt x="186" y="82"/>
                </a:cubicBezTo>
                <a:cubicBezTo>
                  <a:pt x="186" y="81"/>
                  <a:pt x="187" y="82"/>
                  <a:pt x="188" y="82"/>
                </a:cubicBezTo>
                <a:cubicBezTo>
                  <a:pt x="188" y="82"/>
                  <a:pt x="188" y="82"/>
                  <a:pt x="189" y="82"/>
                </a:cubicBezTo>
                <a:cubicBezTo>
                  <a:pt x="189" y="83"/>
                  <a:pt x="189" y="83"/>
                  <a:pt x="189" y="83"/>
                </a:cubicBezTo>
                <a:cubicBezTo>
                  <a:pt x="189" y="83"/>
                  <a:pt x="189" y="84"/>
                  <a:pt x="189" y="84"/>
                </a:cubicBezTo>
                <a:cubicBezTo>
                  <a:pt x="189" y="84"/>
                  <a:pt x="189" y="85"/>
                  <a:pt x="189" y="85"/>
                </a:cubicBezTo>
                <a:cubicBezTo>
                  <a:pt x="189" y="86"/>
                  <a:pt x="189" y="88"/>
                  <a:pt x="190" y="89"/>
                </a:cubicBezTo>
                <a:cubicBezTo>
                  <a:pt x="190" y="89"/>
                  <a:pt x="190" y="90"/>
                  <a:pt x="191" y="90"/>
                </a:cubicBezTo>
                <a:cubicBezTo>
                  <a:pt x="191" y="91"/>
                  <a:pt x="190" y="91"/>
                  <a:pt x="190" y="91"/>
                </a:cubicBezTo>
                <a:cubicBezTo>
                  <a:pt x="189" y="92"/>
                  <a:pt x="190" y="92"/>
                  <a:pt x="190" y="92"/>
                </a:cubicBezTo>
                <a:cubicBezTo>
                  <a:pt x="191" y="93"/>
                  <a:pt x="191" y="93"/>
                  <a:pt x="191" y="94"/>
                </a:cubicBezTo>
                <a:cubicBezTo>
                  <a:pt x="191" y="94"/>
                  <a:pt x="192" y="94"/>
                  <a:pt x="192" y="94"/>
                </a:cubicBezTo>
                <a:cubicBezTo>
                  <a:pt x="192" y="95"/>
                  <a:pt x="192" y="94"/>
                  <a:pt x="193" y="94"/>
                </a:cubicBezTo>
                <a:cubicBezTo>
                  <a:pt x="193" y="95"/>
                  <a:pt x="194" y="96"/>
                  <a:pt x="195" y="95"/>
                </a:cubicBezTo>
                <a:cubicBezTo>
                  <a:pt x="195" y="95"/>
                  <a:pt x="195" y="95"/>
                  <a:pt x="196" y="95"/>
                </a:cubicBezTo>
                <a:cubicBezTo>
                  <a:pt x="196" y="95"/>
                  <a:pt x="196" y="95"/>
                  <a:pt x="197" y="96"/>
                </a:cubicBezTo>
                <a:cubicBezTo>
                  <a:pt x="197" y="96"/>
                  <a:pt x="198" y="96"/>
                  <a:pt x="198" y="96"/>
                </a:cubicBezTo>
                <a:cubicBezTo>
                  <a:pt x="198" y="96"/>
                  <a:pt x="198" y="96"/>
                  <a:pt x="199" y="96"/>
                </a:cubicBezTo>
                <a:cubicBezTo>
                  <a:pt x="199" y="96"/>
                  <a:pt x="199" y="96"/>
                  <a:pt x="198" y="96"/>
                </a:cubicBezTo>
                <a:cubicBezTo>
                  <a:pt x="199" y="97"/>
                  <a:pt x="199" y="97"/>
                  <a:pt x="199" y="97"/>
                </a:cubicBezTo>
                <a:cubicBezTo>
                  <a:pt x="199" y="96"/>
                  <a:pt x="199" y="97"/>
                  <a:pt x="200" y="97"/>
                </a:cubicBezTo>
                <a:cubicBezTo>
                  <a:pt x="200" y="97"/>
                  <a:pt x="200" y="97"/>
                  <a:pt x="201" y="97"/>
                </a:cubicBezTo>
                <a:cubicBezTo>
                  <a:pt x="201" y="97"/>
                  <a:pt x="201" y="97"/>
                  <a:pt x="201" y="97"/>
                </a:cubicBezTo>
                <a:cubicBezTo>
                  <a:pt x="201" y="96"/>
                  <a:pt x="202" y="97"/>
                  <a:pt x="203" y="96"/>
                </a:cubicBezTo>
                <a:cubicBezTo>
                  <a:pt x="204" y="96"/>
                  <a:pt x="203" y="96"/>
                  <a:pt x="204" y="96"/>
                </a:cubicBezTo>
                <a:cubicBezTo>
                  <a:pt x="204" y="95"/>
                  <a:pt x="204" y="95"/>
                  <a:pt x="205" y="95"/>
                </a:cubicBezTo>
                <a:cubicBezTo>
                  <a:pt x="206" y="94"/>
                  <a:pt x="207" y="96"/>
                  <a:pt x="208" y="96"/>
                </a:cubicBezTo>
                <a:cubicBezTo>
                  <a:pt x="209" y="96"/>
                  <a:pt x="210" y="96"/>
                  <a:pt x="212" y="96"/>
                </a:cubicBezTo>
                <a:cubicBezTo>
                  <a:pt x="212" y="96"/>
                  <a:pt x="213" y="96"/>
                  <a:pt x="213" y="96"/>
                </a:cubicBezTo>
                <a:cubicBezTo>
                  <a:pt x="213" y="96"/>
                  <a:pt x="214" y="96"/>
                  <a:pt x="214" y="96"/>
                </a:cubicBezTo>
                <a:cubicBezTo>
                  <a:pt x="215" y="96"/>
                  <a:pt x="215" y="94"/>
                  <a:pt x="216" y="95"/>
                </a:cubicBezTo>
                <a:cubicBezTo>
                  <a:pt x="216" y="95"/>
                  <a:pt x="216" y="96"/>
                  <a:pt x="216" y="96"/>
                </a:cubicBezTo>
                <a:cubicBezTo>
                  <a:pt x="217" y="96"/>
                  <a:pt x="217" y="96"/>
                  <a:pt x="218" y="96"/>
                </a:cubicBezTo>
                <a:cubicBezTo>
                  <a:pt x="218" y="96"/>
                  <a:pt x="218" y="95"/>
                  <a:pt x="219" y="95"/>
                </a:cubicBezTo>
                <a:cubicBezTo>
                  <a:pt x="219" y="95"/>
                  <a:pt x="219" y="95"/>
                  <a:pt x="220" y="96"/>
                </a:cubicBezTo>
                <a:cubicBezTo>
                  <a:pt x="219" y="94"/>
                  <a:pt x="221" y="96"/>
                  <a:pt x="221" y="95"/>
                </a:cubicBezTo>
                <a:cubicBezTo>
                  <a:pt x="222" y="94"/>
                  <a:pt x="220" y="93"/>
                  <a:pt x="220" y="92"/>
                </a:cubicBezTo>
                <a:cubicBezTo>
                  <a:pt x="221" y="90"/>
                  <a:pt x="221" y="90"/>
                  <a:pt x="220" y="89"/>
                </a:cubicBezTo>
                <a:cubicBezTo>
                  <a:pt x="220" y="89"/>
                  <a:pt x="219" y="88"/>
                  <a:pt x="219" y="88"/>
                </a:cubicBezTo>
                <a:cubicBezTo>
                  <a:pt x="219" y="89"/>
                  <a:pt x="217" y="89"/>
                  <a:pt x="217" y="89"/>
                </a:cubicBezTo>
                <a:cubicBezTo>
                  <a:pt x="217" y="88"/>
                  <a:pt x="216" y="88"/>
                  <a:pt x="216" y="88"/>
                </a:cubicBezTo>
                <a:cubicBezTo>
                  <a:pt x="215" y="87"/>
                  <a:pt x="215" y="87"/>
                  <a:pt x="215" y="86"/>
                </a:cubicBezTo>
                <a:cubicBezTo>
                  <a:pt x="215" y="86"/>
                  <a:pt x="216" y="86"/>
                  <a:pt x="216" y="85"/>
                </a:cubicBezTo>
                <a:cubicBezTo>
                  <a:pt x="216" y="85"/>
                  <a:pt x="216" y="85"/>
                  <a:pt x="217" y="85"/>
                </a:cubicBezTo>
                <a:cubicBezTo>
                  <a:pt x="217" y="85"/>
                  <a:pt x="218" y="86"/>
                  <a:pt x="218" y="86"/>
                </a:cubicBezTo>
                <a:cubicBezTo>
                  <a:pt x="219" y="86"/>
                  <a:pt x="219" y="84"/>
                  <a:pt x="220" y="85"/>
                </a:cubicBezTo>
                <a:cubicBezTo>
                  <a:pt x="220" y="85"/>
                  <a:pt x="221" y="85"/>
                  <a:pt x="221" y="84"/>
                </a:cubicBezTo>
                <a:cubicBezTo>
                  <a:pt x="221" y="84"/>
                  <a:pt x="221" y="84"/>
                  <a:pt x="221" y="84"/>
                </a:cubicBezTo>
                <a:cubicBezTo>
                  <a:pt x="221" y="84"/>
                  <a:pt x="222" y="85"/>
                  <a:pt x="222" y="85"/>
                </a:cubicBezTo>
                <a:cubicBezTo>
                  <a:pt x="222" y="84"/>
                  <a:pt x="222" y="85"/>
                  <a:pt x="222" y="85"/>
                </a:cubicBezTo>
                <a:cubicBezTo>
                  <a:pt x="222" y="85"/>
                  <a:pt x="222" y="84"/>
                  <a:pt x="223" y="84"/>
                </a:cubicBezTo>
                <a:cubicBezTo>
                  <a:pt x="223" y="84"/>
                  <a:pt x="223" y="85"/>
                  <a:pt x="223" y="84"/>
                </a:cubicBezTo>
                <a:cubicBezTo>
                  <a:pt x="224" y="84"/>
                  <a:pt x="224" y="84"/>
                  <a:pt x="225" y="83"/>
                </a:cubicBezTo>
                <a:cubicBezTo>
                  <a:pt x="225" y="83"/>
                  <a:pt x="225" y="82"/>
                  <a:pt x="225" y="82"/>
                </a:cubicBezTo>
                <a:cubicBezTo>
                  <a:pt x="225" y="82"/>
                  <a:pt x="224" y="82"/>
                  <a:pt x="224" y="82"/>
                </a:cubicBezTo>
                <a:cubicBezTo>
                  <a:pt x="224" y="81"/>
                  <a:pt x="225" y="80"/>
                  <a:pt x="225" y="80"/>
                </a:cubicBezTo>
                <a:cubicBezTo>
                  <a:pt x="226" y="80"/>
                  <a:pt x="227" y="80"/>
                  <a:pt x="227" y="79"/>
                </a:cubicBezTo>
                <a:cubicBezTo>
                  <a:pt x="228" y="79"/>
                  <a:pt x="228" y="78"/>
                  <a:pt x="228" y="77"/>
                </a:cubicBezTo>
                <a:cubicBezTo>
                  <a:pt x="228" y="76"/>
                  <a:pt x="228" y="76"/>
                  <a:pt x="229" y="75"/>
                </a:cubicBezTo>
                <a:cubicBezTo>
                  <a:pt x="230" y="75"/>
                  <a:pt x="231" y="75"/>
                  <a:pt x="232" y="75"/>
                </a:cubicBezTo>
                <a:cubicBezTo>
                  <a:pt x="233" y="75"/>
                  <a:pt x="233" y="74"/>
                  <a:pt x="234" y="74"/>
                </a:cubicBezTo>
                <a:cubicBezTo>
                  <a:pt x="234" y="74"/>
                  <a:pt x="234" y="74"/>
                  <a:pt x="235" y="74"/>
                </a:cubicBezTo>
                <a:cubicBezTo>
                  <a:pt x="234" y="74"/>
                  <a:pt x="235" y="73"/>
                  <a:pt x="235" y="73"/>
                </a:cubicBezTo>
                <a:cubicBezTo>
                  <a:pt x="235" y="73"/>
                  <a:pt x="235" y="73"/>
                  <a:pt x="235" y="73"/>
                </a:cubicBezTo>
                <a:cubicBezTo>
                  <a:pt x="236" y="73"/>
                  <a:pt x="235" y="71"/>
                  <a:pt x="236" y="72"/>
                </a:cubicBezTo>
                <a:cubicBezTo>
                  <a:pt x="236" y="72"/>
                  <a:pt x="237" y="71"/>
                  <a:pt x="237" y="70"/>
                </a:cubicBezTo>
                <a:cubicBezTo>
                  <a:pt x="237" y="70"/>
                  <a:pt x="238" y="69"/>
                  <a:pt x="238" y="69"/>
                </a:cubicBezTo>
                <a:cubicBezTo>
                  <a:pt x="239" y="69"/>
                  <a:pt x="239" y="69"/>
                  <a:pt x="240" y="68"/>
                </a:cubicBezTo>
                <a:cubicBezTo>
                  <a:pt x="240" y="68"/>
                  <a:pt x="241" y="69"/>
                  <a:pt x="242" y="69"/>
                </a:cubicBezTo>
                <a:cubicBezTo>
                  <a:pt x="242" y="70"/>
                  <a:pt x="242" y="70"/>
                  <a:pt x="243" y="70"/>
                </a:cubicBezTo>
                <a:cubicBezTo>
                  <a:pt x="243" y="70"/>
                  <a:pt x="244" y="70"/>
                  <a:pt x="244" y="70"/>
                </a:cubicBezTo>
                <a:cubicBezTo>
                  <a:pt x="244" y="70"/>
                  <a:pt x="243" y="70"/>
                  <a:pt x="243" y="70"/>
                </a:cubicBezTo>
                <a:cubicBezTo>
                  <a:pt x="244" y="70"/>
                  <a:pt x="245" y="70"/>
                  <a:pt x="245" y="70"/>
                </a:cubicBezTo>
                <a:cubicBezTo>
                  <a:pt x="246" y="70"/>
                  <a:pt x="246" y="71"/>
                  <a:pt x="247" y="71"/>
                </a:cubicBezTo>
                <a:cubicBezTo>
                  <a:pt x="247" y="71"/>
                  <a:pt x="247" y="71"/>
                  <a:pt x="248" y="71"/>
                </a:cubicBezTo>
                <a:cubicBezTo>
                  <a:pt x="248" y="71"/>
                  <a:pt x="248" y="70"/>
                  <a:pt x="248" y="70"/>
                </a:cubicBezTo>
                <a:cubicBezTo>
                  <a:pt x="248" y="70"/>
                  <a:pt x="249" y="70"/>
                  <a:pt x="249" y="69"/>
                </a:cubicBezTo>
                <a:cubicBezTo>
                  <a:pt x="248" y="69"/>
                  <a:pt x="250" y="68"/>
                  <a:pt x="250" y="68"/>
                </a:cubicBezTo>
                <a:cubicBezTo>
                  <a:pt x="250" y="68"/>
                  <a:pt x="251" y="68"/>
                  <a:pt x="251" y="67"/>
                </a:cubicBezTo>
                <a:cubicBezTo>
                  <a:pt x="251" y="67"/>
                  <a:pt x="252" y="67"/>
                  <a:pt x="252" y="67"/>
                </a:cubicBezTo>
                <a:cubicBezTo>
                  <a:pt x="253" y="66"/>
                  <a:pt x="253" y="66"/>
                  <a:pt x="254" y="67"/>
                </a:cubicBezTo>
                <a:cubicBezTo>
                  <a:pt x="254" y="67"/>
                  <a:pt x="254" y="68"/>
                  <a:pt x="255" y="69"/>
                </a:cubicBezTo>
                <a:cubicBezTo>
                  <a:pt x="255" y="69"/>
                  <a:pt x="256" y="68"/>
                  <a:pt x="256" y="69"/>
                </a:cubicBezTo>
                <a:cubicBezTo>
                  <a:pt x="257" y="69"/>
                  <a:pt x="255" y="71"/>
                  <a:pt x="254" y="71"/>
                </a:cubicBezTo>
                <a:cubicBezTo>
                  <a:pt x="255" y="71"/>
                  <a:pt x="255" y="71"/>
                  <a:pt x="255" y="72"/>
                </a:cubicBezTo>
                <a:cubicBezTo>
                  <a:pt x="255" y="73"/>
                  <a:pt x="256" y="73"/>
                  <a:pt x="256" y="72"/>
                </a:cubicBezTo>
                <a:cubicBezTo>
                  <a:pt x="257" y="71"/>
                  <a:pt x="257" y="71"/>
                  <a:pt x="257" y="71"/>
                </a:cubicBezTo>
                <a:cubicBezTo>
                  <a:pt x="258" y="71"/>
                  <a:pt x="258" y="71"/>
                  <a:pt x="258" y="71"/>
                </a:cubicBezTo>
                <a:cubicBezTo>
                  <a:pt x="258" y="72"/>
                  <a:pt x="258" y="72"/>
                  <a:pt x="258" y="72"/>
                </a:cubicBezTo>
                <a:cubicBezTo>
                  <a:pt x="259" y="73"/>
                  <a:pt x="259" y="73"/>
                  <a:pt x="260" y="74"/>
                </a:cubicBezTo>
                <a:cubicBezTo>
                  <a:pt x="260" y="75"/>
                  <a:pt x="259" y="75"/>
                  <a:pt x="259" y="75"/>
                </a:cubicBezTo>
                <a:cubicBezTo>
                  <a:pt x="259" y="76"/>
                  <a:pt x="258" y="76"/>
                  <a:pt x="258" y="77"/>
                </a:cubicBezTo>
                <a:cubicBezTo>
                  <a:pt x="258" y="77"/>
                  <a:pt x="258" y="77"/>
                  <a:pt x="258" y="77"/>
                </a:cubicBezTo>
                <a:cubicBezTo>
                  <a:pt x="258" y="78"/>
                  <a:pt x="257" y="78"/>
                  <a:pt x="257" y="78"/>
                </a:cubicBezTo>
                <a:cubicBezTo>
                  <a:pt x="258" y="78"/>
                  <a:pt x="258" y="78"/>
                  <a:pt x="259" y="79"/>
                </a:cubicBezTo>
                <a:cubicBezTo>
                  <a:pt x="259" y="79"/>
                  <a:pt x="259" y="78"/>
                  <a:pt x="259" y="78"/>
                </a:cubicBezTo>
                <a:cubicBezTo>
                  <a:pt x="260" y="78"/>
                  <a:pt x="260" y="77"/>
                  <a:pt x="261" y="78"/>
                </a:cubicBezTo>
                <a:cubicBezTo>
                  <a:pt x="261" y="78"/>
                  <a:pt x="262" y="78"/>
                  <a:pt x="262" y="78"/>
                </a:cubicBezTo>
                <a:cubicBezTo>
                  <a:pt x="262" y="79"/>
                  <a:pt x="263" y="78"/>
                  <a:pt x="263" y="78"/>
                </a:cubicBezTo>
                <a:cubicBezTo>
                  <a:pt x="263" y="78"/>
                  <a:pt x="264" y="79"/>
                  <a:pt x="264" y="79"/>
                </a:cubicBezTo>
                <a:cubicBezTo>
                  <a:pt x="265" y="79"/>
                  <a:pt x="265" y="78"/>
                  <a:pt x="266" y="79"/>
                </a:cubicBezTo>
                <a:cubicBezTo>
                  <a:pt x="267" y="79"/>
                  <a:pt x="268" y="80"/>
                  <a:pt x="268" y="81"/>
                </a:cubicBezTo>
                <a:cubicBezTo>
                  <a:pt x="268" y="81"/>
                  <a:pt x="268" y="82"/>
                  <a:pt x="268" y="82"/>
                </a:cubicBezTo>
                <a:cubicBezTo>
                  <a:pt x="269" y="82"/>
                  <a:pt x="269" y="83"/>
                  <a:pt x="269" y="8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7" name="Iceland"/>
          <p:cNvSpPr>
            <a:spLocks noEditPoints="1"/>
          </p:cNvSpPr>
          <p:nvPr/>
        </p:nvSpPr>
        <p:spPr bwMode="auto">
          <a:xfrm>
            <a:off x="5228104" y="2078033"/>
            <a:ext cx="288990" cy="107996"/>
          </a:xfrm>
          <a:custGeom>
            <a:avLst/>
            <a:gdLst/>
            <a:ahLst/>
            <a:cxnLst>
              <a:cxn ang="0">
                <a:pos x="79" y="12"/>
              </a:cxn>
              <a:cxn ang="0">
                <a:pos x="76" y="8"/>
              </a:cxn>
              <a:cxn ang="0">
                <a:pos x="72" y="8"/>
              </a:cxn>
              <a:cxn ang="0">
                <a:pos x="72" y="4"/>
              </a:cxn>
              <a:cxn ang="0">
                <a:pos x="67" y="3"/>
              </a:cxn>
              <a:cxn ang="0">
                <a:pos x="62" y="0"/>
              </a:cxn>
              <a:cxn ang="0">
                <a:pos x="60" y="3"/>
              </a:cxn>
              <a:cxn ang="0">
                <a:pos x="55" y="4"/>
              </a:cxn>
              <a:cxn ang="0">
                <a:pos x="51" y="4"/>
              </a:cxn>
              <a:cxn ang="0">
                <a:pos x="48" y="9"/>
              </a:cxn>
              <a:cxn ang="0">
                <a:pos x="43" y="4"/>
              </a:cxn>
              <a:cxn ang="0">
                <a:pos x="38" y="8"/>
              </a:cxn>
              <a:cxn ang="0">
                <a:pos x="32" y="4"/>
              </a:cxn>
              <a:cxn ang="0">
                <a:pos x="30" y="10"/>
              </a:cxn>
              <a:cxn ang="0">
                <a:pos x="25" y="11"/>
              </a:cxn>
              <a:cxn ang="0">
                <a:pos x="23" y="9"/>
              </a:cxn>
              <a:cxn ang="0">
                <a:pos x="25" y="6"/>
              </a:cxn>
              <a:cxn ang="0">
                <a:pos x="23" y="4"/>
              </a:cxn>
              <a:cxn ang="0">
                <a:pos x="20" y="3"/>
              </a:cxn>
              <a:cxn ang="0">
                <a:pos x="14" y="1"/>
              </a:cxn>
              <a:cxn ang="0">
                <a:pos x="16" y="2"/>
              </a:cxn>
              <a:cxn ang="0">
                <a:pos x="15" y="4"/>
              </a:cxn>
              <a:cxn ang="0">
                <a:pos x="15" y="7"/>
              </a:cxn>
              <a:cxn ang="0">
                <a:pos x="13" y="5"/>
              </a:cxn>
              <a:cxn ang="0">
                <a:pos x="8" y="4"/>
              </a:cxn>
              <a:cxn ang="0">
                <a:pos x="11" y="7"/>
              </a:cxn>
              <a:cxn ang="0">
                <a:pos x="8" y="9"/>
              </a:cxn>
              <a:cxn ang="0">
                <a:pos x="1" y="9"/>
              </a:cxn>
              <a:cxn ang="0">
                <a:pos x="9" y="10"/>
              </a:cxn>
              <a:cxn ang="0">
                <a:pos x="13" y="9"/>
              </a:cxn>
              <a:cxn ang="0">
                <a:pos x="15" y="10"/>
              </a:cxn>
              <a:cxn ang="0">
                <a:pos x="17" y="11"/>
              </a:cxn>
              <a:cxn ang="0">
                <a:pos x="14" y="13"/>
              </a:cxn>
              <a:cxn ang="0">
                <a:pos x="19" y="15"/>
              </a:cxn>
              <a:cxn ang="0">
                <a:pos x="12" y="15"/>
              </a:cxn>
              <a:cxn ang="0">
                <a:pos x="7" y="15"/>
              </a:cxn>
              <a:cxn ang="0">
                <a:pos x="7" y="17"/>
              </a:cxn>
              <a:cxn ang="0">
                <a:pos x="14" y="17"/>
              </a:cxn>
              <a:cxn ang="0">
                <a:pos x="14" y="19"/>
              </a:cxn>
              <a:cxn ang="0">
                <a:pos x="19" y="18"/>
              </a:cxn>
              <a:cxn ang="0">
                <a:pos x="19" y="19"/>
              </a:cxn>
              <a:cxn ang="0">
                <a:pos x="21" y="21"/>
              </a:cxn>
              <a:cxn ang="0">
                <a:pos x="17" y="23"/>
              </a:cxn>
              <a:cxn ang="0">
                <a:pos x="10" y="25"/>
              </a:cxn>
              <a:cxn ang="0">
                <a:pos x="22" y="25"/>
              </a:cxn>
              <a:cxn ang="0">
                <a:pos x="24" y="27"/>
              </a:cxn>
              <a:cxn ang="0">
                <a:pos x="26" y="28"/>
              </a:cxn>
              <a:cxn ang="0">
                <a:pos x="42" y="30"/>
              </a:cxn>
              <a:cxn ang="0">
                <a:pos x="44" y="28"/>
              </a:cxn>
              <a:cxn ang="0">
                <a:pos x="52" y="26"/>
              </a:cxn>
              <a:cxn ang="0">
                <a:pos x="53" y="26"/>
              </a:cxn>
              <a:cxn ang="0">
                <a:pos x="59" y="24"/>
              </a:cxn>
              <a:cxn ang="0">
                <a:pos x="64" y="21"/>
              </a:cxn>
              <a:cxn ang="0">
                <a:pos x="68" y="21"/>
              </a:cxn>
              <a:cxn ang="0">
                <a:pos x="73" y="18"/>
              </a:cxn>
              <a:cxn ang="0">
                <a:pos x="77" y="17"/>
              </a:cxn>
              <a:cxn ang="0">
                <a:pos x="75" y="15"/>
              </a:cxn>
              <a:cxn ang="0">
                <a:pos x="26" y="27"/>
              </a:cxn>
              <a:cxn ang="0">
                <a:pos x="78" y="13"/>
              </a:cxn>
            </a:cxnLst>
            <a:rect l="0" t="0" r="r" b="b"/>
            <a:pathLst>
              <a:path w="80" h="30">
                <a:moveTo>
                  <a:pt x="79" y="14"/>
                </a:moveTo>
                <a:cubicBezTo>
                  <a:pt x="79" y="13"/>
                  <a:pt x="79" y="13"/>
                  <a:pt x="79" y="13"/>
                </a:cubicBezTo>
                <a:cubicBezTo>
                  <a:pt x="79" y="13"/>
                  <a:pt x="80" y="13"/>
                  <a:pt x="80" y="13"/>
                </a:cubicBezTo>
                <a:cubicBezTo>
                  <a:pt x="79" y="13"/>
                  <a:pt x="79" y="13"/>
                  <a:pt x="78" y="13"/>
                </a:cubicBezTo>
                <a:cubicBezTo>
                  <a:pt x="79" y="13"/>
                  <a:pt x="80" y="13"/>
                  <a:pt x="80" y="12"/>
                </a:cubicBezTo>
                <a:cubicBezTo>
                  <a:pt x="79" y="12"/>
                  <a:pt x="78" y="12"/>
                  <a:pt x="77" y="12"/>
                </a:cubicBezTo>
                <a:cubicBezTo>
                  <a:pt x="77" y="12"/>
                  <a:pt x="79" y="12"/>
                  <a:pt x="79" y="12"/>
                </a:cubicBezTo>
                <a:cubicBezTo>
                  <a:pt x="79" y="12"/>
                  <a:pt x="78" y="11"/>
                  <a:pt x="78" y="11"/>
                </a:cubicBezTo>
                <a:cubicBezTo>
                  <a:pt x="79" y="11"/>
                  <a:pt x="80" y="11"/>
                  <a:pt x="80" y="11"/>
                </a:cubicBezTo>
                <a:cubicBezTo>
                  <a:pt x="80" y="10"/>
                  <a:pt x="80" y="10"/>
                  <a:pt x="80" y="10"/>
                </a:cubicBezTo>
                <a:cubicBezTo>
                  <a:pt x="80" y="10"/>
                  <a:pt x="79" y="10"/>
                  <a:pt x="79" y="10"/>
                </a:cubicBezTo>
                <a:cubicBezTo>
                  <a:pt x="79" y="10"/>
                  <a:pt x="79" y="9"/>
                  <a:pt x="79" y="9"/>
                </a:cubicBezTo>
                <a:cubicBezTo>
                  <a:pt x="79" y="9"/>
                  <a:pt x="78" y="9"/>
                  <a:pt x="78" y="9"/>
                </a:cubicBezTo>
                <a:cubicBezTo>
                  <a:pt x="77" y="9"/>
                  <a:pt x="77" y="9"/>
                  <a:pt x="76" y="8"/>
                </a:cubicBezTo>
                <a:cubicBezTo>
                  <a:pt x="77" y="9"/>
                  <a:pt x="76" y="9"/>
                  <a:pt x="76" y="9"/>
                </a:cubicBezTo>
                <a:cubicBezTo>
                  <a:pt x="75" y="9"/>
                  <a:pt x="75" y="9"/>
                  <a:pt x="75" y="9"/>
                </a:cubicBezTo>
                <a:cubicBezTo>
                  <a:pt x="74" y="9"/>
                  <a:pt x="74" y="10"/>
                  <a:pt x="73" y="10"/>
                </a:cubicBezTo>
                <a:cubicBezTo>
                  <a:pt x="74" y="9"/>
                  <a:pt x="75" y="8"/>
                  <a:pt x="76" y="8"/>
                </a:cubicBezTo>
                <a:cubicBezTo>
                  <a:pt x="75" y="8"/>
                  <a:pt x="75" y="8"/>
                  <a:pt x="75" y="8"/>
                </a:cubicBezTo>
                <a:cubicBezTo>
                  <a:pt x="76" y="7"/>
                  <a:pt x="75" y="7"/>
                  <a:pt x="75" y="7"/>
                </a:cubicBezTo>
                <a:cubicBezTo>
                  <a:pt x="74" y="7"/>
                  <a:pt x="73" y="8"/>
                  <a:pt x="72" y="8"/>
                </a:cubicBezTo>
                <a:cubicBezTo>
                  <a:pt x="72" y="8"/>
                  <a:pt x="72" y="8"/>
                  <a:pt x="72" y="7"/>
                </a:cubicBezTo>
                <a:cubicBezTo>
                  <a:pt x="72" y="7"/>
                  <a:pt x="72" y="7"/>
                  <a:pt x="71" y="8"/>
                </a:cubicBezTo>
                <a:cubicBezTo>
                  <a:pt x="72" y="7"/>
                  <a:pt x="74" y="6"/>
                  <a:pt x="74" y="5"/>
                </a:cubicBezTo>
                <a:cubicBezTo>
                  <a:pt x="74" y="5"/>
                  <a:pt x="73" y="5"/>
                  <a:pt x="73" y="5"/>
                </a:cubicBezTo>
                <a:cubicBezTo>
                  <a:pt x="72" y="5"/>
                  <a:pt x="71" y="5"/>
                  <a:pt x="71" y="5"/>
                </a:cubicBezTo>
                <a:cubicBezTo>
                  <a:pt x="71" y="4"/>
                  <a:pt x="70" y="4"/>
                  <a:pt x="70" y="4"/>
                </a:cubicBezTo>
                <a:cubicBezTo>
                  <a:pt x="70" y="4"/>
                  <a:pt x="71" y="4"/>
                  <a:pt x="72" y="4"/>
                </a:cubicBezTo>
                <a:cubicBezTo>
                  <a:pt x="72" y="3"/>
                  <a:pt x="71" y="3"/>
                  <a:pt x="72" y="2"/>
                </a:cubicBezTo>
                <a:cubicBezTo>
                  <a:pt x="73" y="2"/>
                  <a:pt x="74" y="2"/>
                  <a:pt x="75" y="2"/>
                </a:cubicBezTo>
                <a:cubicBezTo>
                  <a:pt x="74" y="2"/>
                  <a:pt x="72" y="1"/>
                  <a:pt x="71" y="2"/>
                </a:cubicBezTo>
                <a:cubicBezTo>
                  <a:pt x="71" y="2"/>
                  <a:pt x="69" y="3"/>
                  <a:pt x="69" y="3"/>
                </a:cubicBezTo>
                <a:cubicBezTo>
                  <a:pt x="69" y="3"/>
                  <a:pt x="69" y="4"/>
                  <a:pt x="68" y="4"/>
                </a:cubicBezTo>
                <a:cubicBezTo>
                  <a:pt x="68" y="4"/>
                  <a:pt x="68" y="3"/>
                  <a:pt x="68" y="3"/>
                </a:cubicBezTo>
                <a:cubicBezTo>
                  <a:pt x="67" y="3"/>
                  <a:pt x="66" y="3"/>
                  <a:pt x="67" y="3"/>
                </a:cubicBezTo>
                <a:cubicBezTo>
                  <a:pt x="67" y="3"/>
                  <a:pt x="66" y="3"/>
                  <a:pt x="66" y="2"/>
                </a:cubicBezTo>
                <a:cubicBezTo>
                  <a:pt x="67" y="2"/>
                  <a:pt x="67" y="1"/>
                  <a:pt x="66" y="1"/>
                </a:cubicBezTo>
                <a:cubicBezTo>
                  <a:pt x="66" y="1"/>
                  <a:pt x="65" y="1"/>
                  <a:pt x="65" y="1"/>
                </a:cubicBezTo>
                <a:cubicBezTo>
                  <a:pt x="65" y="0"/>
                  <a:pt x="64" y="0"/>
                  <a:pt x="64" y="0"/>
                </a:cubicBezTo>
                <a:cubicBezTo>
                  <a:pt x="63" y="0"/>
                  <a:pt x="63" y="1"/>
                  <a:pt x="62" y="1"/>
                </a:cubicBezTo>
                <a:cubicBezTo>
                  <a:pt x="63" y="0"/>
                  <a:pt x="62" y="1"/>
                  <a:pt x="62" y="1"/>
                </a:cubicBezTo>
                <a:cubicBezTo>
                  <a:pt x="62" y="0"/>
                  <a:pt x="62" y="0"/>
                  <a:pt x="62" y="0"/>
                </a:cubicBezTo>
                <a:cubicBezTo>
                  <a:pt x="62" y="0"/>
                  <a:pt x="61" y="0"/>
                  <a:pt x="61" y="0"/>
                </a:cubicBezTo>
                <a:cubicBezTo>
                  <a:pt x="60" y="1"/>
                  <a:pt x="61" y="1"/>
                  <a:pt x="61" y="1"/>
                </a:cubicBezTo>
                <a:cubicBezTo>
                  <a:pt x="61" y="2"/>
                  <a:pt x="61" y="2"/>
                  <a:pt x="61" y="3"/>
                </a:cubicBezTo>
                <a:cubicBezTo>
                  <a:pt x="61" y="3"/>
                  <a:pt x="60" y="3"/>
                  <a:pt x="61" y="4"/>
                </a:cubicBezTo>
                <a:cubicBezTo>
                  <a:pt x="61" y="4"/>
                  <a:pt x="61" y="4"/>
                  <a:pt x="60" y="3"/>
                </a:cubicBezTo>
                <a:cubicBezTo>
                  <a:pt x="60" y="4"/>
                  <a:pt x="60" y="4"/>
                  <a:pt x="60" y="4"/>
                </a:cubicBezTo>
                <a:cubicBezTo>
                  <a:pt x="60" y="4"/>
                  <a:pt x="60" y="3"/>
                  <a:pt x="60" y="3"/>
                </a:cubicBezTo>
                <a:cubicBezTo>
                  <a:pt x="60" y="3"/>
                  <a:pt x="60" y="4"/>
                  <a:pt x="59" y="4"/>
                </a:cubicBezTo>
                <a:cubicBezTo>
                  <a:pt x="59" y="4"/>
                  <a:pt x="59" y="4"/>
                  <a:pt x="60" y="4"/>
                </a:cubicBezTo>
                <a:cubicBezTo>
                  <a:pt x="59" y="4"/>
                  <a:pt x="59" y="4"/>
                  <a:pt x="58" y="4"/>
                </a:cubicBezTo>
                <a:cubicBezTo>
                  <a:pt x="58" y="4"/>
                  <a:pt x="59" y="4"/>
                  <a:pt x="59" y="4"/>
                </a:cubicBezTo>
                <a:cubicBezTo>
                  <a:pt x="58" y="4"/>
                  <a:pt x="58" y="4"/>
                  <a:pt x="57" y="4"/>
                </a:cubicBezTo>
                <a:cubicBezTo>
                  <a:pt x="57" y="4"/>
                  <a:pt x="57" y="4"/>
                  <a:pt x="57" y="3"/>
                </a:cubicBezTo>
                <a:cubicBezTo>
                  <a:pt x="56" y="3"/>
                  <a:pt x="55" y="3"/>
                  <a:pt x="55" y="4"/>
                </a:cubicBezTo>
                <a:cubicBezTo>
                  <a:pt x="55" y="4"/>
                  <a:pt x="54" y="4"/>
                  <a:pt x="54" y="5"/>
                </a:cubicBezTo>
                <a:cubicBezTo>
                  <a:pt x="54" y="5"/>
                  <a:pt x="53" y="6"/>
                  <a:pt x="53" y="5"/>
                </a:cubicBezTo>
                <a:cubicBezTo>
                  <a:pt x="53" y="5"/>
                  <a:pt x="52" y="5"/>
                  <a:pt x="52" y="5"/>
                </a:cubicBezTo>
                <a:cubicBezTo>
                  <a:pt x="52" y="5"/>
                  <a:pt x="52" y="5"/>
                  <a:pt x="53" y="5"/>
                </a:cubicBezTo>
                <a:cubicBezTo>
                  <a:pt x="52" y="5"/>
                  <a:pt x="52" y="6"/>
                  <a:pt x="52" y="6"/>
                </a:cubicBezTo>
                <a:cubicBezTo>
                  <a:pt x="52" y="6"/>
                  <a:pt x="52" y="5"/>
                  <a:pt x="51" y="5"/>
                </a:cubicBezTo>
                <a:cubicBezTo>
                  <a:pt x="51" y="5"/>
                  <a:pt x="51" y="4"/>
                  <a:pt x="51" y="4"/>
                </a:cubicBezTo>
                <a:cubicBezTo>
                  <a:pt x="50" y="4"/>
                  <a:pt x="50" y="4"/>
                  <a:pt x="50" y="4"/>
                </a:cubicBezTo>
                <a:cubicBezTo>
                  <a:pt x="50" y="4"/>
                  <a:pt x="49" y="4"/>
                  <a:pt x="48" y="4"/>
                </a:cubicBezTo>
                <a:cubicBezTo>
                  <a:pt x="48" y="3"/>
                  <a:pt x="47" y="4"/>
                  <a:pt x="47" y="4"/>
                </a:cubicBezTo>
                <a:cubicBezTo>
                  <a:pt x="47" y="4"/>
                  <a:pt x="47" y="5"/>
                  <a:pt x="47" y="5"/>
                </a:cubicBezTo>
                <a:cubicBezTo>
                  <a:pt x="47" y="6"/>
                  <a:pt x="48" y="6"/>
                  <a:pt x="48" y="6"/>
                </a:cubicBezTo>
                <a:cubicBezTo>
                  <a:pt x="48" y="7"/>
                  <a:pt x="48" y="7"/>
                  <a:pt x="48" y="8"/>
                </a:cubicBezTo>
                <a:cubicBezTo>
                  <a:pt x="48" y="8"/>
                  <a:pt x="48" y="8"/>
                  <a:pt x="48" y="9"/>
                </a:cubicBezTo>
                <a:cubicBezTo>
                  <a:pt x="48" y="9"/>
                  <a:pt x="47" y="7"/>
                  <a:pt x="47" y="7"/>
                </a:cubicBezTo>
                <a:cubicBezTo>
                  <a:pt x="47" y="7"/>
                  <a:pt x="47" y="6"/>
                  <a:pt x="47" y="6"/>
                </a:cubicBezTo>
                <a:cubicBezTo>
                  <a:pt x="46" y="6"/>
                  <a:pt x="45" y="6"/>
                  <a:pt x="45" y="5"/>
                </a:cubicBezTo>
                <a:cubicBezTo>
                  <a:pt x="45" y="5"/>
                  <a:pt x="45" y="4"/>
                  <a:pt x="45" y="4"/>
                </a:cubicBezTo>
                <a:cubicBezTo>
                  <a:pt x="46" y="4"/>
                  <a:pt x="44" y="4"/>
                  <a:pt x="44" y="4"/>
                </a:cubicBezTo>
                <a:cubicBezTo>
                  <a:pt x="43" y="4"/>
                  <a:pt x="44" y="4"/>
                  <a:pt x="44" y="3"/>
                </a:cubicBezTo>
                <a:cubicBezTo>
                  <a:pt x="44" y="3"/>
                  <a:pt x="43" y="4"/>
                  <a:pt x="43" y="4"/>
                </a:cubicBezTo>
                <a:cubicBezTo>
                  <a:pt x="43" y="3"/>
                  <a:pt x="41" y="4"/>
                  <a:pt x="42" y="5"/>
                </a:cubicBezTo>
                <a:cubicBezTo>
                  <a:pt x="41" y="4"/>
                  <a:pt x="41" y="4"/>
                  <a:pt x="41" y="4"/>
                </a:cubicBezTo>
                <a:cubicBezTo>
                  <a:pt x="41" y="4"/>
                  <a:pt x="41" y="4"/>
                  <a:pt x="41" y="4"/>
                </a:cubicBezTo>
                <a:cubicBezTo>
                  <a:pt x="40" y="4"/>
                  <a:pt x="40" y="4"/>
                  <a:pt x="39" y="4"/>
                </a:cubicBezTo>
                <a:cubicBezTo>
                  <a:pt x="39" y="5"/>
                  <a:pt x="39" y="5"/>
                  <a:pt x="38" y="5"/>
                </a:cubicBezTo>
                <a:cubicBezTo>
                  <a:pt x="38" y="5"/>
                  <a:pt x="39" y="6"/>
                  <a:pt x="39" y="7"/>
                </a:cubicBezTo>
                <a:cubicBezTo>
                  <a:pt x="39" y="7"/>
                  <a:pt x="38" y="8"/>
                  <a:pt x="38" y="8"/>
                </a:cubicBezTo>
                <a:cubicBezTo>
                  <a:pt x="38" y="8"/>
                  <a:pt x="38" y="8"/>
                  <a:pt x="38" y="8"/>
                </a:cubicBezTo>
                <a:cubicBezTo>
                  <a:pt x="38" y="8"/>
                  <a:pt x="37" y="7"/>
                  <a:pt x="37" y="8"/>
                </a:cubicBezTo>
                <a:cubicBezTo>
                  <a:pt x="37" y="8"/>
                  <a:pt x="37" y="8"/>
                  <a:pt x="37" y="8"/>
                </a:cubicBezTo>
                <a:cubicBezTo>
                  <a:pt x="36" y="7"/>
                  <a:pt x="37" y="6"/>
                  <a:pt x="36" y="6"/>
                </a:cubicBezTo>
                <a:cubicBezTo>
                  <a:pt x="35" y="6"/>
                  <a:pt x="35" y="6"/>
                  <a:pt x="35" y="5"/>
                </a:cubicBezTo>
                <a:cubicBezTo>
                  <a:pt x="35" y="5"/>
                  <a:pt x="34" y="4"/>
                  <a:pt x="34" y="4"/>
                </a:cubicBezTo>
                <a:cubicBezTo>
                  <a:pt x="33" y="4"/>
                  <a:pt x="32" y="4"/>
                  <a:pt x="32" y="4"/>
                </a:cubicBezTo>
                <a:cubicBezTo>
                  <a:pt x="32" y="5"/>
                  <a:pt x="31" y="5"/>
                  <a:pt x="32" y="6"/>
                </a:cubicBezTo>
                <a:cubicBezTo>
                  <a:pt x="32" y="6"/>
                  <a:pt x="32" y="6"/>
                  <a:pt x="32" y="6"/>
                </a:cubicBezTo>
                <a:cubicBezTo>
                  <a:pt x="32" y="7"/>
                  <a:pt x="32" y="7"/>
                  <a:pt x="32" y="7"/>
                </a:cubicBezTo>
                <a:cubicBezTo>
                  <a:pt x="32" y="8"/>
                  <a:pt x="31" y="8"/>
                  <a:pt x="32" y="8"/>
                </a:cubicBezTo>
                <a:cubicBezTo>
                  <a:pt x="31" y="8"/>
                  <a:pt x="31" y="9"/>
                  <a:pt x="31" y="10"/>
                </a:cubicBezTo>
                <a:cubicBezTo>
                  <a:pt x="30" y="9"/>
                  <a:pt x="31" y="9"/>
                  <a:pt x="30" y="9"/>
                </a:cubicBezTo>
                <a:cubicBezTo>
                  <a:pt x="30" y="9"/>
                  <a:pt x="30" y="10"/>
                  <a:pt x="30" y="10"/>
                </a:cubicBezTo>
                <a:cubicBezTo>
                  <a:pt x="29" y="10"/>
                  <a:pt x="29" y="10"/>
                  <a:pt x="29" y="9"/>
                </a:cubicBezTo>
                <a:cubicBezTo>
                  <a:pt x="29" y="9"/>
                  <a:pt x="29" y="9"/>
                  <a:pt x="29" y="9"/>
                </a:cubicBezTo>
                <a:cubicBezTo>
                  <a:pt x="29" y="9"/>
                  <a:pt x="29" y="8"/>
                  <a:pt x="29" y="8"/>
                </a:cubicBezTo>
                <a:cubicBezTo>
                  <a:pt x="28" y="8"/>
                  <a:pt x="28" y="9"/>
                  <a:pt x="27" y="9"/>
                </a:cubicBezTo>
                <a:cubicBezTo>
                  <a:pt x="27" y="9"/>
                  <a:pt x="26" y="10"/>
                  <a:pt x="26" y="10"/>
                </a:cubicBezTo>
                <a:cubicBezTo>
                  <a:pt x="26" y="11"/>
                  <a:pt x="26" y="12"/>
                  <a:pt x="26" y="12"/>
                </a:cubicBezTo>
                <a:cubicBezTo>
                  <a:pt x="26" y="11"/>
                  <a:pt x="26" y="10"/>
                  <a:pt x="25" y="11"/>
                </a:cubicBezTo>
                <a:cubicBezTo>
                  <a:pt x="25" y="11"/>
                  <a:pt x="25" y="12"/>
                  <a:pt x="25" y="12"/>
                </a:cubicBezTo>
                <a:cubicBezTo>
                  <a:pt x="25" y="12"/>
                  <a:pt x="25" y="12"/>
                  <a:pt x="25" y="13"/>
                </a:cubicBezTo>
                <a:cubicBezTo>
                  <a:pt x="25" y="13"/>
                  <a:pt x="25" y="13"/>
                  <a:pt x="25" y="13"/>
                </a:cubicBezTo>
                <a:cubicBezTo>
                  <a:pt x="24" y="13"/>
                  <a:pt x="24" y="11"/>
                  <a:pt x="24" y="11"/>
                </a:cubicBezTo>
                <a:cubicBezTo>
                  <a:pt x="24" y="10"/>
                  <a:pt x="23" y="10"/>
                  <a:pt x="22" y="11"/>
                </a:cubicBezTo>
                <a:cubicBezTo>
                  <a:pt x="23" y="10"/>
                  <a:pt x="25" y="10"/>
                  <a:pt x="24" y="9"/>
                </a:cubicBezTo>
                <a:cubicBezTo>
                  <a:pt x="24" y="9"/>
                  <a:pt x="23" y="9"/>
                  <a:pt x="23" y="9"/>
                </a:cubicBezTo>
                <a:cubicBezTo>
                  <a:pt x="23" y="9"/>
                  <a:pt x="24" y="9"/>
                  <a:pt x="23" y="9"/>
                </a:cubicBezTo>
                <a:cubicBezTo>
                  <a:pt x="23" y="9"/>
                  <a:pt x="23" y="9"/>
                  <a:pt x="22" y="9"/>
                </a:cubicBezTo>
                <a:cubicBezTo>
                  <a:pt x="21" y="9"/>
                  <a:pt x="22" y="8"/>
                  <a:pt x="21" y="7"/>
                </a:cubicBezTo>
                <a:cubicBezTo>
                  <a:pt x="22" y="7"/>
                  <a:pt x="22" y="8"/>
                  <a:pt x="22" y="8"/>
                </a:cubicBezTo>
                <a:cubicBezTo>
                  <a:pt x="23" y="8"/>
                  <a:pt x="24" y="8"/>
                  <a:pt x="24" y="8"/>
                </a:cubicBezTo>
                <a:cubicBezTo>
                  <a:pt x="24" y="8"/>
                  <a:pt x="24" y="7"/>
                  <a:pt x="23" y="7"/>
                </a:cubicBezTo>
                <a:cubicBezTo>
                  <a:pt x="23" y="7"/>
                  <a:pt x="25" y="7"/>
                  <a:pt x="25" y="6"/>
                </a:cubicBezTo>
                <a:cubicBezTo>
                  <a:pt x="25" y="6"/>
                  <a:pt x="25" y="6"/>
                  <a:pt x="25" y="6"/>
                </a:cubicBezTo>
                <a:cubicBezTo>
                  <a:pt x="25" y="6"/>
                  <a:pt x="24" y="6"/>
                  <a:pt x="24" y="6"/>
                </a:cubicBezTo>
                <a:cubicBezTo>
                  <a:pt x="24" y="6"/>
                  <a:pt x="24" y="6"/>
                  <a:pt x="24" y="6"/>
                </a:cubicBezTo>
                <a:cubicBezTo>
                  <a:pt x="24" y="5"/>
                  <a:pt x="23" y="6"/>
                  <a:pt x="23" y="6"/>
                </a:cubicBezTo>
                <a:cubicBezTo>
                  <a:pt x="23" y="5"/>
                  <a:pt x="25" y="6"/>
                  <a:pt x="25" y="5"/>
                </a:cubicBezTo>
                <a:cubicBezTo>
                  <a:pt x="25" y="5"/>
                  <a:pt x="24" y="5"/>
                  <a:pt x="24" y="5"/>
                </a:cubicBezTo>
                <a:cubicBezTo>
                  <a:pt x="23" y="5"/>
                  <a:pt x="24" y="4"/>
                  <a:pt x="23" y="4"/>
                </a:cubicBezTo>
                <a:cubicBezTo>
                  <a:pt x="23" y="4"/>
                  <a:pt x="23" y="5"/>
                  <a:pt x="22" y="5"/>
                </a:cubicBezTo>
                <a:cubicBezTo>
                  <a:pt x="23" y="5"/>
                  <a:pt x="23" y="5"/>
                  <a:pt x="23" y="5"/>
                </a:cubicBezTo>
                <a:cubicBezTo>
                  <a:pt x="23" y="5"/>
                  <a:pt x="22" y="5"/>
                  <a:pt x="22" y="5"/>
                </a:cubicBezTo>
                <a:cubicBezTo>
                  <a:pt x="22" y="4"/>
                  <a:pt x="22" y="4"/>
                  <a:pt x="22" y="4"/>
                </a:cubicBezTo>
                <a:cubicBezTo>
                  <a:pt x="22" y="3"/>
                  <a:pt x="21" y="3"/>
                  <a:pt x="21" y="3"/>
                </a:cubicBezTo>
                <a:cubicBezTo>
                  <a:pt x="21" y="3"/>
                  <a:pt x="21" y="3"/>
                  <a:pt x="21" y="3"/>
                </a:cubicBezTo>
                <a:cubicBezTo>
                  <a:pt x="21" y="3"/>
                  <a:pt x="20" y="3"/>
                  <a:pt x="20" y="3"/>
                </a:cubicBezTo>
                <a:cubicBezTo>
                  <a:pt x="20" y="3"/>
                  <a:pt x="20" y="2"/>
                  <a:pt x="20" y="3"/>
                </a:cubicBezTo>
                <a:cubicBezTo>
                  <a:pt x="20" y="3"/>
                  <a:pt x="19" y="3"/>
                  <a:pt x="19" y="3"/>
                </a:cubicBezTo>
                <a:cubicBezTo>
                  <a:pt x="19" y="2"/>
                  <a:pt x="19" y="2"/>
                  <a:pt x="19" y="2"/>
                </a:cubicBezTo>
                <a:cubicBezTo>
                  <a:pt x="19" y="2"/>
                  <a:pt x="19" y="2"/>
                  <a:pt x="19" y="2"/>
                </a:cubicBezTo>
                <a:cubicBezTo>
                  <a:pt x="18" y="1"/>
                  <a:pt x="18" y="1"/>
                  <a:pt x="18" y="1"/>
                </a:cubicBezTo>
                <a:cubicBezTo>
                  <a:pt x="18" y="1"/>
                  <a:pt x="17" y="1"/>
                  <a:pt x="17" y="1"/>
                </a:cubicBezTo>
                <a:cubicBezTo>
                  <a:pt x="16" y="1"/>
                  <a:pt x="15" y="0"/>
                  <a:pt x="14" y="1"/>
                </a:cubicBezTo>
                <a:cubicBezTo>
                  <a:pt x="15" y="1"/>
                  <a:pt x="15" y="1"/>
                  <a:pt x="15" y="1"/>
                </a:cubicBezTo>
                <a:cubicBezTo>
                  <a:pt x="15" y="1"/>
                  <a:pt x="13" y="1"/>
                  <a:pt x="13" y="1"/>
                </a:cubicBezTo>
                <a:cubicBezTo>
                  <a:pt x="13" y="1"/>
                  <a:pt x="13" y="2"/>
                  <a:pt x="13" y="2"/>
                </a:cubicBezTo>
                <a:cubicBezTo>
                  <a:pt x="13" y="2"/>
                  <a:pt x="12" y="2"/>
                  <a:pt x="12" y="2"/>
                </a:cubicBezTo>
                <a:cubicBezTo>
                  <a:pt x="12" y="3"/>
                  <a:pt x="15" y="2"/>
                  <a:pt x="15" y="2"/>
                </a:cubicBezTo>
                <a:cubicBezTo>
                  <a:pt x="15" y="2"/>
                  <a:pt x="15" y="2"/>
                  <a:pt x="15" y="2"/>
                </a:cubicBezTo>
                <a:cubicBezTo>
                  <a:pt x="15" y="2"/>
                  <a:pt x="16" y="2"/>
                  <a:pt x="16" y="2"/>
                </a:cubicBezTo>
                <a:cubicBezTo>
                  <a:pt x="16" y="2"/>
                  <a:pt x="15" y="3"/>
                  <a:pt x="16" y="2"/>
                </a:cubicBezTo>
                <a:cubicBezTo>
                  <a:pt x="16" y="2"/>
                  <a:pt x="17" y="2"/>
                  <a:pt x="17" y="2"/>
                </a:cubicBezTo>
                <a:cubicBezTo>
                  <a:pt x="17" y="2"/>
                  <a:pt x="17" y="2"/>
                  <a:pt x="17" y="3"/>
                </a:cubicBezTo>
                <a:cubicBezTo>
                  <a:pt x="17" y="3"/>
                  <a:pt x="18" y="3"/>
                  <a:pt x="18" y="3"/>
                </a:cubicBezTo>
                <a:cubicBezTo>
                  <a:pt x="17" y="3"/>
                  <a:pt x="16" y="3"/>
                  <a:pt x="15" y="3"/>
                </a:cubicBezTo>
                <a:cubicBezTo>
                  <a:pt x="15" y="3"/>
                  <a:pt x="14" y="3"/>
                  <a:pt x="14" y="3"/>
                </a:cubicBezTo>
                <a:cubicBezTo>
                  <a:pt x="13" y="3"/>
                  <a:pt x="15" y="4"/>
                  <a:pt x="15" y="4"/>
                </a:cubicBezTo>
                <a:cubicBezTo>
                  <a:pt x="15" y="4"/>
                  <a:pt x="16" y="4"/>
                  <a:pt x="16" y="4"/>
                </a:cubicBezTo>
                <a:cubicBezTo>
                  <a:pt x="16" y="5"/>
                  <a:pt x="17" y="4"/>
                  <a:pt x="17" y="4"/>
                </a:cubicBezTo>
                <a:cubicBezTo>
                  <a:pt x="17" y="5"/>
                  <a:pt x="16" y="5"/>
                  <a:pt x="17" y="5"/>
                </a:cubicBezTo>
                <a:cubicBezTo>
                  <a:pt x="17" y="6"/>
                  <a:pt x="17" y="7"/>
                  <a:pt x="16" y="7"/>
                </a:cubicBezTo>
                <a:cubicBezTo>
                  <a:pt x="16" y="6"/>
                  <a:pt x="17" y="6"/>
                  <a:pt x="17" y="6"/>
                </a:cubicBezTo>
                <a:cubicBezTo>
                  <a:pt x="16" y="6"/>
                  <a:pt x="16" y="5"/>
                  <a:pt x="16" y="6"/>
                </a:cubicBezTo>
                <a:cubicBezTo>
                  <a:pt x="16" y="6"/>
                  <a:pt x="15" y="7"/>
                  <a:pt x="15" y="7"/>
                </a:cubicBezTo>
                <a:cubicBezTo>
                  <a:pt x="15" y="6"/>
                  <a:pt x="16" y="5"/>
                  <a:pt x="15" y="5"/>
                </a:cubicBezTo>
                <a:cubicBezTo>
                  <a:pt x="15" y="5"/>
                  <a:pt x="15" y="4"/>
                  <a:pt x="14" y="5"/>
                </a:cubicBezTo>
                <a:cubicBezTo>
                  <a:pt x="14" y="5"/>
                  <a:pt x="14" y="6"/>
                  <a:pt x="14" y="6"/>
                </a:cubicBezTo>
                <a:cubicBezTo>
                  <a:pt x="14" y="6"/>
                  <a:pt x="14" y="5"/>
                  <a:pt x="14" y="5"/>
                </a:cubicBezTo>
                <a:cubicBezTo>
                  <a:pt x="14" y="5"/>
                  <a:pt x="13" y="6"/>
                  <a:pt x="13" y="6"/>
                </a:cubicBezTo>
                <a:cubicBezTo>
                  <a:pt x="13" y="6"/>
                  <a:pt x="14" y="5"/>
                  <a:pt x="14" y="5"/>
                </a:cubicBezTo>
                <a:cubicBezTo>
                  <a:pt x="14" y="5"/>
                  <a:pt x="13" y="5"/>
                  <a:pt x="13" y="5"/>
                </a:cubicBezTo>
                <a:cubicBezTo>
                  <a:pt x="13" y="5"/>
                  <a:pt x="12" y="5"/>
                  <a:pt x="12" y="6"/>
                </a:cubicBezTo>
                <a:cubicBezTo>
                  <a:pt x="12" y="5"/>
                  <a:pt x="13" y="5"/>
                  <a:pt x="13" y="5"/>
                </a:cubicBezTo>
                <a:cubicBezTo>
                  <a:pt x="13" y="4"/>
                  <a:pt x="12" y="4"/>
                  <a:pt x="12" y="4"/>
                </a:cubicBezTo>
                <a:cubicBezTo>
                  <a:pt x="12" y="4"/>
                  <a:pt x="10" y="3"/>
                  <a:pt x="10" y="3"/>
                </a:cubicBezTo>
                <a:cubicBezTo>
                  <a:pt x="10" y="3"/>
                  <a:pt x="9" y="3"/>
                  <a:pt x="9" y="4"/>
                </a:cubicBezTo>
                <a:cubicBezTo>
                  <a:pt x="9" y="4"/>
                  <a:pt x="10" y="4"/>
                  <a:pt x="10" y="4"/>
                </a:cubicBezTo>
                <a:cubicBezTo>
                  <a:pt x="10" y="4"/>
                  <a:pt x="8" y="4"/>
                  <a:pt x="8" y="4"/>
                </a:cubicBezTo>
                <a:cubicBezTo>
                  <a:pt x="9" y="5"/>
                  <a:pt x="10" y="5"/>
                  <a:pt x="10" y="5"/>
                </a:cubicBezTo>
                <a:cubicBezTo>
                  <a:pt x="10" y="5"/>
                  <a:pt x="7" y="4"/>
                  <a:pt x="7" y="5"/>
                </a:cubicBezTo>
                <a:cubicBezTo>
                  <a:pt x="7" y="6"/>
                  <a:pt x="10" y="7"/>
                  <a:pt x="11" y="7"/>
                </a:cubicBezTo>
                <a:cubicBezTo>
                  <a:pt x="10" y="7"/>
                  <a:pt x="10" y="7"/>
                  <a:pt x="9" y="6"/>
                </a:cubicBezTo>
                <a:cubicBezTo>
                  <a:pt x="9" y="6"/>
                  <a:pt x="8" y="6"/>
                  <a:pt x="8" y="6"/>
                </a:cubicBezTo>
                <a:cubicBezTo>
                  <a:pt x="7" y="6"/>
                  <a:pt x="6" y="6"/>
                  <a:pt x="6" y="6"/>
                </a:cubicBezTo>
                <a:cubicBezTo>
                  <a:pt x="6" y="8"/>
                  <a:pt x="10" y="7"/>
                  <a:pt x="11" y="7"/>
                </a:cubicBezTo>
                <a:cubicBezTo>
                  <a:pt x="10" y="7"/>
                  <a:pt x="10" y="7"/>
                  <a:pt x="10" y="8"/>
                </a:cubicBezTo>
                <a:cubicBezTo>
                  <a:pt x="10" y="8"/>
                  <a:pt x="8" y="7"/>
                  <a:pt x="8" y="8"/>
                </a:cubicBezTo>
                <a:cubicBezTo>
                  <a:pt x="8" y="8"/>
                  <a:pt x="9" y="8"/>
                  <a:pt x="10" y="8"/>
                </a:cubicBezTo>
                <a:cubicBezTo>
                  <a:pt x="9" y="8"/>
                  <a:pt x="9" y="8"/>
                  <a:pt x="9" y="9"/>
                </a:cubicBezTo>
                <a:cubicBezTo>
                  <a:pt x="9" y="9"/>
                  <a:pt x="9" y="9"/>
                  <a:pt x="9" y="9"/>
                </a:cubicBezTo>
                <a:cubicBezTo>
                  <a:pt x="9" y="9"/>
                  <a:pt x="9" y="9"/>
                  <a:pt x="8" y="9"/>
                </a:cubicBezTo>
                <a:cubicBezTo>
                  <a:pt x="8" y="9"/>
                  <a:pt x="8" y="9"/>
                  <a:pt x="8" y="9"/>
                </a:cubicBezTo>
                <a:cubicBezTo>
                  <a:pt x="8" y="8"/>
                  <a:pt x="6" y="7"/>
                  <a:pt x="5" y="7"/>
                </a:cubicBezTo>
                <a:cubicBezTo>
                  <a:pt x="5" y="7"/>
                  <a:pt x="3" y="7"/>
                  <a:pt x="4" y="8"/>
                </a:cubicBezTo>
                <a:cubicBezTo>
                  <a:pt x="4" y="9"/>
                  <a:pt x="5" y="9"/>
                  <a:pt x="6" y="9"/>
                </a:cubicBezTo>
                <a:cubicBezTo>
                  <a:pt x="5" y="9"/>
                  <a:pt x="4" y="8"/>
                  <a:pt x="4" y="9"/>
                </a:cubicBezTo>
                <a:cubicBezTo>
                  <a:pt x="4" y="9"/>
                  <a:pt x="5" y="10"/>
                  <a:pt x="6" y="10"/>
                </a:cubicBezTo>
                <a:cubicBezTo>
                  <a:pt x="4" y="10"/>
                  <a:pt x="3" y="9"/>
                  <a:pt x="2" y="9"/>
                </a:cubicBezTo>
                <a:cubicBezTo>
                  <a:pt x="2" y="9"/>
                  <a:pt x="2" y="9"/>
                  <a:pt x="1" y="9"/>
                </a:cubicBezTo>
                <a:cubicBezTo>
                  <a:pt x="1" y="10"/>
                  <a:pt x="0" y="10"/>
                  <a:pt x="0" y="10"/>
                </a:cubicBezTo>
                <a:cubicBezTo>
                  <a:pt x="1" y="10"/>
                  <a:pt x="2" y="10"/>
                  <a:pt x="3" y="10"/>
                </a:cubicBezTo>
                <a:cubicBezTo>
                  <a:pt x="3" y="10"/>
                  <a:pt x="4" y="10"/>
                  <a:pt x="4" y="10"/>
                </a:cubicBezTo>
                <a:cubicBezTo>
                  <a:pt x="4" y="10"/>
                  <a:pt x="4" y="11"/>
                  <a:pt x="4" y="11"/>
                </a:cubicBezTo>
                <a:cubicBezTo>
                  <a:pt x="5" y="11"/>
                  <a:pt x="5" y="11"/>
                  <a:pt x="5" y="11"/>
                </a:cubicBezTo>
                <a:cubicBezTo>
                  <a:pt x="6" y="11"/>
                  <a:pt x="7" y="10"/>
                  <a:pt x="8" y="10"/>
                </a:cubicBezTo>
                <a:cubicBezTo>
                  <a:pt x="9" y="10"/>
                  <a:pt x="9" y="10"/>
                  <a:pt x="9" y="10"/>
                </a:cubicBezTo>
                <a:cubicBezTo>
                  <a:pt x="10" y="10"/>
                  <a:pt x="10" y="10"/>
                  <a:pt x="10" y="9"/>
                </a:cubicBezTo>
                <a:cubicBezTo>
                  <a:pt x="10" y="9"/>
                  <a:pt x="11" y="10"/>
                  <a:pt x="11" y="10"/>
                </a:cubicBezTo>
                <a:cubicBezTo>
                  <a:pt x="12" y="10"/>
                  <a:pt x="12" y="9"/>
                  <a:pt x="12" y="9"/>
                </a:cubicBezTo>
                <a:cubicBezTo>
                  <a:pt x="12" y="10"/>
                  <a:pt x="13" y="9"/>
                  <a:pt x="13" y="9"/>
                </a:cubicBezTo>
                <a:cubicBezTo>
                  <a:pt x="13" y="9"/>
                  <a:pt x="13" y="9"/>
                  <a:pt x="13" y="9"/>
                </a:cubicBezTo>
                <a:cubicBezTo>
                  <a:pt x="13" y="9"/>
                  <a:pt x="13" y="9"/>
                  <a:pt x="12" y="10"/>
                </a:cubicBezTo>
                <a:cubicBezTo>
                  <a:pt x="13" y="10"/>
                  <a:pt x="13" y="10"/>
                  <a:pt x="13" y="9"/>
                </a:cubicBezTo>
                <a:cubicBezTo>
                  <a:pt x="13" y="9"/>
                  <a:pt x="13" y="9"/>
                  <a:pt x="14" y="9"/>
                </a:cubicBezTo>
                <a:cubicBezTo>
                  <a:pt x="14" y="9"/>
                  <a:pt x="14" y="9"/>
                  <a:pt x="14" y="10"/>
                </a:cubicBezTo>
                <a:cubicBezTo>
                  <a:pt x="14" y="10"/>
                  <a:pt x="14" y="9"/>
                  <a:pt x="14" y="9"/>
                </a:cubicBezTo>
                <a:cubicBezTo>
                  <a:pt x="15" y="9"/>
                  <a:pt x="14" y="10"/>
                  <a:pt x="15" y="10"/>
                </a:cubicBezTo>
                <a:cubicBezTo>
                  <a:pt x="15" y="10"/>
                  <a:pt x="15" y="9"/>
                  <a:pt x="15" y="9"/>
                </a:cubicBezTo>
                <a:cubicBezTo>
                  <a:pt x="15" y="9"/>
                  <a:pt x="15" y="9"/>
                  <a:pt x="15" y="9"/>
                </a:cubicBezTo>
                <a:cubicBezTo>
                  <a:pt x="15" y="9"/>
                  <a:pt x="15" y="10"/>
                  <a:pt x="15" y="10"/>
                </a:cubicBezTo>
                <a:cubicBezTo>
                  <a:pt x="15" y="10"/>
                  <a:pt x="16" y="10"/>
                  <a:pt x="16" y="10"/>
                </a:cubicBezTo>
                <a:cubicBezTo>
                  <a:pt x="16" y="10"/>
                  <a:pt x="16" y="9"/>
                  <a:pt x="17" y="9"/>
                </a:cubicBezTo>
                <a:cubicBezTo>
                  <a:pt x="17" y="10"/>
                  <a:pt x="16" y="10"/>
                  <a:pt x="16" y="10"/>
                </a:cubicBezTo>
                <a:cubicBezTo>
                  <a:pt x="17" y="10"/>
                  <a:pt x="17" y="9"/>
                  <a:pt x="18" y="9"/>
                </a:cubicBezTo>
                <a:cubicBezTo>
                  <a:pt x="18" y="9"/>
                  <a:pt x="17" y="10"/>
                  <a:pt x="17" y="10"/>
                </a:cubicBezTo>
                <a:cubicBezTo>
                  <a:pt x="17" y="10"/>
                  <a:pt x="16" y="10"/>
                  <a:pt x="16" y="10"/>
                </a:cubicBezTo>
                <a:cubicBezTo>
                  <a:pt x="16" y="10"/>
                  <a:pt x="17" y="11"/>
                  <a:pt x="17" y="11"/>
                </a:cubicBezTo>
                <a:cubicBezTo>
                  <a:pt x="17" y="11"/>
                  <a:pt x="18" y="10"/>
                  <a:pt x="18" y="10"/>
                </a:cubicBezTo>
                <a:cubicBezTo>
                  <a:pt x="18" y="10"/>
                  <a:pt x="18" y="10"/>
                  <a:pt x="18" y="10"/>
                </a:cubicBezTo>
                <a:cubicBezTo>
                  <a:pt x="19" y="10"/>
                  <a:pt x="19" y="10"/>
                  <a:pt x="19" y="11"/>
                </a:cubicBezTo>
                <a:cubicBezTo>
                  <a:pt x="19" y="11"/>
                  <a:pt x="20" y="10"/>
                  <a:pt x="21" y="10"/>
                </a:cubicBezTo>
                <a:cubicBezTo>
                  <a:pt x="20" y="11"/>
                  <a:pt x="19" y="11"/>
                  <a:pt x="18" y="11"/>
                </a:cubicBezTo>
                <a:cubicBezTo>
                  <a:pt x="16" y="12"/>
                  <a:pt x="15" y="12"/>
                  <a:pt x="14" y="13"/>
                </a:cubicBezTo>
                <a:cubicBezTo>
                  <a:pt x="14" y="13"/>
                  <a:pt x="14" y="13"/>
                  <a:pt x="14" y="13"/>
                </a:cubicBezTo>
                <a:cubicBezTo>
                  <a:pt x="14" y="13"/>
                  <a:pt x="14" y="13"/>
                  <a:pt x="14" y="13"/>
                </a:cubicBezTo>
                <a:cubicBezTo>
                  <a:pt x="14" y="13"/>
                  <a:pt x="15" y="13"/>
                  <a:pt x="15" y="13"/>
                </a:cubicBezTo>
                <a:cubicBezTo>
                  <a:pt x="16" y="14"/>
                  <a:pt x="16" y="14"/>
                  <a:pt x="17" y="14"/>
                </a:cubicBezTo>
                <a:cubicBezTo>
                  <a:pt x="18" y="14"/>
                  <a:pt x="18" y="13"/>
                  <a:pt x="19" y="13"/>
                </a:cubicBezTo>
                <a:cubicBezTo>
                  <a:pt x="19" y="13"/>
                  <a:pt x="20" y="13"/>
                  <a:pt x="20" y="13"/>
                </a:cubicBezTo>
                <a:cubicBezTo>
                  <a:pt x="20" y="14"/>
                  <a:pt x="19" y="14"/>
                  <a:pt x="19" y="14"/>
                </a:cubicBezTo>
                <a:cubicBezTo>
                  <a:pt x="19" y="14"/>
                  <a:pt x="19" y="14"/>
                  <a:pt x="19" y="15"/>
                </a:cubicBezTo>
                <a:cubicBezTo>
                  <a:pt x="18" y="15"/>
                  <a:pt x="18" y="15"/>
                  <a:pt x="17" y="15"/>
                </a:cubicBezTo>
                <a:cubicBezTo>
                  <a:pt x="17" y="14"/>
                  <a:pt x="16" y="14"/>
                  <a:pt x="15" y="14"/>
                </a:cubicBezTo>
                <a:cubicBezTo>
                  <a:pt x="15" y="14"/>
                  <a:pt x="12" y="14"/>
                  <a:pt x="13" y="15"/>
                </a:cubicBezTo>
                <a:cubicBezTo>
                  <a:pt x="13" y="15"/>
                  <a:pt x="12" y="14"/>
                  <a:pt x="12" y="15"/>
                </a:cubicBezTo>
                <a:cubicBezTo>
                  <a:pt x="12" y="15"/>
                  <a:pt x="13" y="14"/>
                  <a:pt x="12" y="14"/>
                </a:cubicBezTo>
                <a:cubicBezTo>
                  <a:pt x="12" y="14"/>
                  <a:pt x="12" y="14"/>
                  <a:pt x="11" y="15"/>
                </a:cubicBezTo>
                <a:cubicBezTo>
                  <a:pt x="11" y="15"/>
                  <a:pt x="12" y="15"/>
                  <a:pt x="12" y="15"/>
                </a:cubicBezTo>
                <a:cubicBezTo>
                  <a:pt x="11" y="15"/>
                  <a:pt x="11" y="15"/>
                  <a:pt x="10" y="15"/>
                </a:cubicBezTo>
                <a:cubicBezTo>
                  <a:pt x="10" y="15"/>
                  <a:pt x="11" y="15"/>
                  <a:pt x="10" y="15"/>
                </a:cubicBezTo>
                <a:cubicBezTo>
                  <a:pt x="10" y="15"/>
                  <a:pt x="9" y="15"/>
                  <a:pt x="9" y="16"/>
                </a:cubicBezTo>
                <a:cubicBezTo>
                  <a:pt x="8" y="15"/>
                  <a:pt x="9" y="15"/>
                  <a:pt x="9" y="15"/>
                </a:cubicBezTo>
                <a:cubicBezTo>
                  <a:pt x="9" y="15"/>
                  <a:pt x="9" y="15"/>
                  <a:pt x="8" y="15"/>
                </a:cubicBezTo>
                <a:cubicBezTo>
                  <a:pt x="8" y="15"/>
                  <a:pt x="8" y="15"/>
                  <a:pt x="8" y="15"/>
                </a:cubicBezTo>
                <a:cubicBezTo>
                  <a:pt x="8" y="16"/>
                  <a:pt x="8" y="15"/>
                  <a:pt x="7" y="15"/>
                </a:cubicBezTo>
                <a:cubicBezTo>
                  <a:pt x="7" y="15"/>
                  <a:pt x="6" y="16"/>
                  <a:pt x="6" y="16"/>
                </a:cubicBezTo>
                <a:cubicBezTo>
                  <a:pt x="5" y="16"/>
                  <a:pt x="4" y="16"/>
                  <a:pt x="3" y="16"/>
                </a:cubicBezTo>
                <a:cubicBezTo>
                  <a:pt x="3" y="16"/>
                  <a:pt x="2" y="16"/>
                  <a:pt x="2" y="16"/>
                </a:cubicBezTo>
                <a:cubicBezTo>
                  <a:pt x="2" y="17"/>
                  <a:pt x="3" y="17"/>
                  <a:pt x="3" y="17"/>
                </a:cubicBezTo>
                <a:cubicBezTo>
                  <a:pt x="3" y="18"/>
                  <a:pt x="4" y="17"/>
                  <a:pt x="4" y="17"/>
                </a:cubicBezTo>
                <a:cubicBezTo>
                  <a:pt x="5" y="17"/>
                  <a:pt x="5" y="17"/>
                  <a:pt x="6" y="17"/>
                </a:cubicBezTo>
                <a:cubicBezTo>
                  <a:pt x="5" y="17"/>
                  <a:pt x="6" y="17"/>
                  <a:pt x="7" y="17"/>
                </a:cubicBezTo>
                <a:cubicBezTo>
                  <a:pt x="7" y="16"/>
                  <a:pt x="8" y="17"/>
                  <a:pt x="8" y="17"/>
                </a:cubicBezTo>
                <a:cubicBezTo>
                  <a:pt x="9" y="17"/>
                  <a:pt x="11" y="17"/>
                  <a:pt x="12" y="17"/>
                </a:cubicBezTo>
                <a:cubicBezTo>
                  <a:pt x="11" y="17"/>
                  <a:pt x="11" y="17"/>
                  <a:pt x="11" y="17"/>
                </a:cubicBezTo>
                <a:cubicBezTo>
                  <a:pt x="12" y="17"/>
                  <a:pt x="13" y="17"/>
                  <a:pt x="12" y="17"/>
                </a:cubicBezTo>
                <a:cubicBezTo>
                  <a:pt x="12" y="17"/>
                  <a:pt x="13" y="17"/>
                  <a:pt x="13" y="17"/>
                </a:cubicBezTo>
                <a:cubicBezTo>
                  <a:pt x="13" y="17"/>
                  <a:pt x="14" y="17"/>
                  <a:pt x="14" y="17"/>
                </a:cubicBezTo>
                <a:cubicBezTo>
                  <a:pt x="13" y="17"/>
                  <a:pt x="14" y="17"/>
                  <a:pt x="14" y="17"/>
                </a:cubicBezTo>
                <a:cubicBezTo>
                  <a:pt x="15" y="17"/>
                  <a:pt x="14" y="18"/>
                  <a:pt x="14" y="18"/>
                </a:cubicBezTo>
                <a:cubicBezTo>
                  <a:pt x="14" y="18"/>
                  <a:pt x="15" y="18"/>
                  <a:pt x="15" y="17"/>
                </a:cubicBezTo>
                <a:cubicBezTo>
                  <a:pt x="15" y="18"/>
                  <a:pt x="14" y="18"/>
                  <a:pt x="13" y="18"/>
                </a:cubicBezTo>
                <a:cubicBezTo>
                  <a:pt x="14" y="18"/>
                  <a:pt x="14" y="18"/>
                  <a:pt x="14" y="19"/>
                </a:cubicBezTo>
                <a:cubicBezTo>
                  <a:pt x="14" y="19"/>
                  <a:pt x="14" y="19"/>
                  <a:pt x="14" y="19"/>
                </a:cubicBezTo>
                <a:cubicBezTo>
                  <a:pt x="14" y="19"/>
                  <a:pt x="14" y="19"/>
                  <a:pt x="15" y="19"/>
                </a:cubicBezTo>
                <a:cubicBezTo>
                  <a:pt x="15" y="19"/>
                  <a:pt x="15" y="19"/>
                  <a:pt x="14" y="19"/>
                </a:cubicBezTo>
                <a:cubicBezTo>
                  <a:pt x="15" y="19"/>
                  <a:pt x="15" y="19"/>
                  <a:pt x="15" y="19"/>
                </a:cubicBezTo>
                <a:cubicBezTo>
                  <a:pt x="15" y="19"/>
                  <a:pt x="15" y="20"/>
                  <a:pt x="14" y="20"/>
                </a:cubicBezTo>
                <a:cubicBezTo>
                  <a:pt x="15" y="20"/>
                  <a:pt x="15" y="20"/>
                  <a:pt x="16" y="20"/>
                </a:cubicBezTo>
                <a:cubicBezTo>
                  <a:pt x="16" y="20"/>
                  <a:pt x="16" y="19"/>
                  <a:pt x="16" y="19"/>
                </a:cubicBezTo>
                <a:cubicBezTo>
                  <a:pt x="16" y="20"/>
                  <a:pt x="17" y="19"/>
                  <a:pt x="17" y="19"/>
                </a:cubicBezTo>
                <a:cubicBezTo>
                  <a:pt x="18" y="19"/>
                  <a:pt x="18" y="19"/>
                  <a:pt x="18" y="19"/>
                </a:cubicBezTo>
                <a:cubicBezTo>
                  <a:pt x="19" y="19"/>
                  <a:pt x="19" y="18"/>
                  <a:pt x="19" y="18"/>
                </a:cubicBezTo>
                <a:cubicBezTo>
                  <a:pt x="18" y="19"/>
                  <a:pt x="19" y="18"/>
                  <a:pt x="19" y="18"/>
                </a:cubicBezTo>
                <a:cubicBezTo>
                  <a:pt x="20" y="18"/>
                  <a:pt x="20" y="18"/>
                  <a:pt x="20" y="18"/>
                </a:cubicBezTo>
                <a:cubicBezTo>
                  <a:pt x="20" y="18"/>
                  <a:pt x="19" y="18"/>
                  <a:pt x="19" y="19"/>
                </a:cubicBezTo>
                <a:cubicBezTo>
                  <a:pt x="19" y="19"/>
                  <a:pt x="19" y="19"/>
                  <a:pt x="20" y="19"/>
                </a:cubicBezTo>
                <a:cubicBezTo>
                  <a:pt x="19" y="19"/>
                  <a:pt x="19" y="19"/>
                  <a:pt x="19" y="19"/>
                </a:cubicBezTo>
                <a:cubicBezTo>
                  <a:pt x="20" y="19"/>
                  <a:pt x="20" y="19"/>
                  <a:pt x="20" y="19"/>
                </a:cubicBezTo>
                <a:cubicBezTo>
                  <a:pt x="20" y="19"/>
                  <a:pt x="19" y="19"/>
                  <a:pt x="19" y="19"/>
                </a:cubicBezTo>
                <a:cubicBezTo>
                  <a:pt x="19" y="19"/>
                  <a:pt x="17" y="19"/>
                  <a:pt x="18" y="19"/>
                </a:cubicBezTo>
                <a:cubicBezTo>
                  <a:pt x="17" y="20"/>
                  <a:pt x="17" y="20"/>
                  <a:pt x="16" y="20"/>
                </a:cubicBezTo>
                <a:cubicBezTo>
                  <a:pt x="15" y="21"/>
                  <a:pt x="17" y="21"/>
                  <a:pt x="17" y="21"/>
                </a:cubicBezTo>
                <a:cubicBezTo>
                  <a:pt x="16" y="21"/>
                  <a:pt x="16" y="21"/>
                  <a:pt x="15" y="21"/>
                </a:cubicBezTo>
                <a:cubicBezTo>
                  <a:pt x="16" y="22"/>
                  <a:pt x="17" y="21"/>
                  <a:pt x="18" y="21"/>
                </a:cubicBezTo>
                <a:cubicBezTo>
                  <a:pt x="18" y="21"/>
                  <a:pt x="20" y="21"/>
                  <a:pt x="20" y="21"/>
                </a:cubicBezTo>
                <a:cubicBezTo>
                  <a:pt x="20" y="21"/>
                  <a:pt x="20" y="21"/>
                  <a:pt x="21" y="21"/>
                </a:cubicBezTo>
                <a:cubicBezTo>
                  <a:pt x="20" y="21"/>
                  <a:pt x="20" y="21"/>
                  <a:pt x="19" y="21"/>
                </a:cubicBezTo>
                <a:cubicBezTo>
                  <a:pt x="19" y="21"/>
                  <a:pt x="18" y="21"/>
                  <a:pt x="18" y="21"/>
                </a:cubicBezTo>
                <a:cubicBezTo>
                  <a:pt x="18" y="21"/>
                  <a:pt x="17" y="22"/>
                  <a:pt x="16" y="22"/>
                </a:cubicBezTo>
                <a:cubicBezTo>
                  <a:pt x="17" y="22"/>
                  <a:pt x="17" y="22"/>
                  <a:pt x="18" y="22"/>
                </a:cubicBezTo>
                <a:cubicBezTo>
                  <a:pt x="17" y="23"/>
                  <a:pt x="17" y="23"/>
                  <a:pt x="17" y="23"/>
                </a:cubicBezTo>
                <a:cubicBezTo>
                  <a:pt x="17" y="23"/>
                  <a:pt x="17" y="23"/>
                  <a:pt x="18" y="23"/>
                </a:cubicBezTo>
                <a:cubicBezTo>
                  <a:pt x="18" y="23"/>
                  <a:pt x="16" y="23"/>
                  <a:pt x="17" y="23"/>
                </a:cubicBezTo>
                <a:cubicBezTo>
                  <a:pt x="16" y="23"/>
                  <a:pt x="16" y="23"/>
                  <a:pt x="15" y="23"/>
                </a:cubicBezTo>
                <a:cubicBezTo>
                  <a:pt x="15" y="23"/>
                  <a:pt x="16" y="23"/>
                  <a:pt x="16" y="23"/>
                </a:cubicBezTo>
                <a:cubicBezTo>
                  <a:pt x="16" y="24"/>
                  <a:pt x="15" y="24"/>
                  <a:pt x="15" y="23"/>
                </a:cubicBezTo>
                <a:cubicBezTo>
                  <a:pt x="15" y="23"/>
                  <a:pt x="15" y="23"/>
                  <a:pt x="15" y="24"/>
                </a:cubicBezTo>
                <a:cubicBezTo>
                  <a:pt x="15" y="24"/>
                  <a:pt x="15" y="24"/>
                  <a:pt x="15" y="24"/>
                </a:cubicBezTo>
                <a:cubicBezTo>
                  <a:pt x="15" y="24"/>
                  <a:pt x="11" y="25"/>
                  <a:pt x="11" y="25"/>
                </a:cubicBezTo>
                <a:cubicBezTo>
                  <a:pt x="10" y="22"/>
                  <a:pt x="9" y="25"/>
                  <a:pt x="10" y="25"/>
                </a:cubicBezTo>
                <a:cubicBezTo>
                  <a:pt x="9" y="25"/>
                  <a:pt x="10" y="26"/>
                  <a:pt x="9" y="26"/>
                </a:cubicBezTo>
                <a:cubicBezTo>
                  <a:pt x="10" y="27"/>
                  <a:pt x="11" y="26"/>
                  <a:pt x="11" y="26"/>
                </a:cubicBezTo>
                <a:cubicBezTo>
                  <a:pt x="12" y="26"/>
                  <a:pt x="13" y="26"/>
                  <a:pt x="14" y="26"/>
                </a:cubicBezTo>
                <a:cubicBezTo>
                  <a:pt x="15" y="26"/>
                  <a:pt x="16" y="26"/>
                  <a:pt x="17" y="26"/>
                </a:cubicBezTo>
                <a:cubicBezTo>
                  <a:pt x="18" y="27"/>
                  <a:pt x="20" y="26"/>
                  <a:pt x="21" y="26"/>
                </a:cubicBezTo>
                <a:cubicBezTo>
                  <a:pt x="20" y="26"/>
                  <a:pt x="20" y="25"/>
                  <a:pt x="20" y="25"/>
                </a:cubicBezTo>
                <a:cubicBezTo>
                  <a:pt x="21" y="25"/>
                  <a:pt x="21" y="25"/>
                  <a:pt x="22" y="25"/>
                </a:cubicBezTo>
                <a:cubicBezTo>
                  <a:pt x="22" y="25"/>
                  <a:pt x="21" y="25"/>
                  <a:pt x="21" y="26"/>
                </a:cubicBezTo>
                <a:cubicBezTo>
                  <a:pt x="21" y="26"/>
                  <a:pt x="22" y="26"/>
                  <a:pt x="23" y="26"/>
                </a:cubicBezTo>
                <a:cubicBezTo>
                  <a:pt x="23" y="27"/>
                  <a:pt x="23" y="27"/>
                  <a:pt x="24" y="26"/>
                </a:cubicBezTo>
                <a:cubicBezTo>
                  <a:pt x="24" y="26"/>
                  <a:pt x="25" y="26"/>
                  <a:pt x="24" y="26"/>
                </a:cubicBezTo>
                <a:cubicBezTo>
                  <a:pt x="25" y="26"/>
                  <a:pt x="24" y="27"/>
                  <a:pt x="24" y="27"/>
                </a:cubicBezTo>
                <a:cubicBezTo>
                  <a:pt x="24" y="27"/>
                  <a:pt x="25" y="27"/>
                  <a:pt x="25" y="27"/>
                </a:cubicBezTo>
                <a:cubicBezTo>
                  <a:pt x="25" y="27"/>
                  <a:pt x="24" y="27"/>
                  <a:pt x="24" y="27"/>
                </a:cubicBezTo>
                <a:cubicBezTo>
                  <a:pt x="24" y="27"/>
                  <a:pt x="25" y="27"/>
                  <a:pt x="25" y="27"/>
                </a:cubicBezTo>
                <a:cubicBezTo>
                  <a:pt x="25" y="27"/>
                  <a:pt x="26" y="28"/>
                  <a:pt x="26" y="28"/>
                </a:cubicBezTo>
                <a:cubicBezTo>
                  <a:pt x="26" y="28"/>
                  <a:pt x="25" y="27"/>
                  <a:pt x="26" y="27"/>
                </a:cubicBezTo>
                <a:cubicBezTo>
                  <a:pt x="26" y="27"/>
                  <a:pt x="26" y="28"/>
                  <a:pt x="26" y="28"/>
                </a:cubicBezTo>
                <a:cubicBezTo>
                  <a:pt x="26" y="28"/>
                  <a:pt x="26" y="28"/>
                  <a:pt x="26" y="28"/>
                </a:cubicBezTo>
                <a:cubicBezTo>
                  <a:pt x="26" y="28"/>
                  <a:pt x="26" y="28"/>
                  <a:pt x="27" y="28"/>
                </a:cubicBezTo>
                <a:cubicBezTo>
                  <a:pt x="27" y="28"/>
                  <a:pt x="27" y="28"/>
                  <a:pt x="26" y="28"/>
                </a:cubicBezTo>
                <a:cubicBezTo>
                  <a:pt x="28" y="29"/>
                  <a:pt x="29" y="29"/>
                  <a:pt x="30" y="29"/>
                </a:cubicBezTo>
                <a:cubicBezTo>
                  <a:pt x="29" y="29"/>
                  <a:pt x="31" y="29"/>
                  <a:pt x="31" y="29"/>
                </a:cubicBezTo>
                <a:cubicBezTo>
                  <a:pt x="31" y="29"/>
                  <a:pt x="31" y="29"/>
                  <a:pt x="32" y="29"/>
                </a:cubicBezTo>
                <a:cubicBezTo>
                  <a:pt x="32" y="30"/>
                  <a:pt x="33" y="30"/>
                  <a:pt x="33" y="30"/>
                </a:cubicBezTo>
                <a:cubicBezTo>
                  <a:pt x="34" y="30"/>
                  <a:pt x="34" y="30"/>
                  <a:pt x="35" y="30"/>
                </a:cubicBezTo>
                <a:cubicBezTo>
                  <a:pt x="36" y="30"/>
                  <a:pt x="37" y="30"/>
                  <a:pt x="38" y="30"/>
                </a:cubicBezTo>
                <a:cubicBezTo>
                  <a:pt x="40" y="30"/>
                  <a:pt x="41" y="30"/>
                  <a:pt x="42" y="30"/>
                </a:cubicBezTo>
                <a:cubicBezTo>
                  <a:pt x="42" y="30"/>
                  <a:pt x="41" y="29"/>
                  <a:pt x="41" y="29"/>
                </a:cubicBezTo>
                <a:cubicBezTo>
                  <a:pt x="42" y="29"/>
                  <a:pt x="42" y="29"/>
                  <a:pt x="43" y="29"/>
                </a:cubicBezTo>
                <a:cubicBezTo>
                  <a:pt x="42" y="29"/>
                  <a:pt x="42" y="30"/>
                  <a:pt x="43" y="30"/>
                </a:cubicBezTo>
                <a:cubicBezTo>
                  <a:pt x="44" y="29"/>
                  <a:pt x="44" y="29"/>
                  <a:pt x="45" y="28"/>
                </a:cubicBezTo>
                <a:cubicBezTo>
                  <a:pt x="45" y="28"/>
                  <a:pt x="44" y="29"/>
                  <a:pt x="44" y="28"/>
                </a:cubicBezTo>
                <a:cubicBezTo>
                  <a:pt x="45" y="28"/>
                  <a:pt x="45" y="28"/>
                  <a:pt x="46" y="28"/>
                </a:cubicBezTo>
                <a:cubicBezTo>
                  <a:pt x="45" y="28"/>
                  <a:pt x="45" y="28"/>
                  <a:pt x="44" y="28"/>
                </a:cubicBezTo>
                <a:cubicBezTo>
                  <a:pt x="44" y="28"/>
                  <a:pt x="45" y="27"/>
                  <a:pt x="45" y="27"/>
                </a:cubicBezTo>
                <a:cubicBezTo>
                  <a:pt x="46" y="27"/>
                  <a:pt x="46" y="27"/>
                  <a:pt x="47" y="27"/>
                </a:cubicBezTo>
                <a:cubicBezTo>
                  <a:pt x="47" y="27"/>
                  <a:pt x="46" y="27"/>
                  <a:pt x="46" y="27"/>
                </a:cubicBezTo>
                <a:cubicBezTo>
                  <a:pt x="47" y="27"/>
                  <a:pt x="47" y="27"/>
                  <a:pt x="48" y="27"/>
                </a:cubicBezTo>
                <a:cubicBezTo>
                  <a:pt x="48" y="27"/>
                  <a:pt x="48" y="27"/>
                  <a:pt x="48" y="27"/>
                </a:cubicBezTo>
                <a:cubicBezTo>
                  <a:pt x="49" y="27"/>
                  <a:pt x="50" y="26"/>
                  <a:pt x="51" y="27"/>
                </a:cubicBezTo>
                <a:cubicBezTo>
                  <a:pt x="51" y="27"/>
                  <a:pt x="52" y="27"/>
                  <a:pt x="52" y="26"/>
                </a:cubicBezTo>
                <a:cubicBezTo>
                  <a:pt x="52" y="26"/>
                  <a:pt x="52" y="26"/>
                  <a:pt x="52" y="26"/>
                </a:cubicBezTo>
                <a:cubicBezTo>
                  <a:pt x="52" y="26"/>
                  <a:pt x="52" y="26"/>
                  <a:pt x="52" y="25"/>
                </a:cubicBezTo>
                <a:cubicBezTo>
                  <a:pt x="53" y="25"/>
                  <a:pt x="52" y="27"/>
                  <a:pt x="52" y="27"/>
                </a:cubicBezTo>
                <a:cubicBezTo>
                  <a:pt x="52" y="27"/>
                  <a:pt x="52" y="26"/>
                  <a:pt x="53" y="26"/>
                </a:cubicBezTo>
                <a:cubicBezTo>
                  <a:pt x="53" y="26"/>
                  <a:pt x="53" y="26"/>
                  <a:pt x="53" y="26"/>
                </a:cubicBezTo>
                <a:cubicBezTo>
                  <a:pt x="53" y="26"/>
                  <a:pt x="53" y="26"/>
                  <a:pt x="53" y="26"/>
                </a:cubicBezTo>
                <a:cubicBezTo>
                  <a:pt x="53" y="26"/>
                  <a:pt x="53" y="26"/>
                  <a:pt x="53" y="26"/>
                </a:cubicBezTo>
                <a:cubicBezTo>
                  <a:pt x="54" y="26"/>
                  <a:pt x="54" y="26"/>
                  <a:pt x="54" y="26"/>
                </a:cubicBezTo>
                <a:cubicBezTo>
                  <a:pt x="54" y="26"/>
                  <a:pt x="55" y="26"/>
                  <a:pt x="55" y="26"/>
                </a:cubicBezTo>
                <a:cubicBezTo>
                  <a:pt x="55" y="26"/>
                  <a:pt x="57" y="25"/>
                  <a:pt x="56" y="26"/>
                </a:cubicBezTo>
                <a:cubicBezTo>
                  <a:pt x="56" y="25"/>
                  <a:pt x="57" y="25"/>
                  <a:pt x="57" y="25"/>
                </a:cubicBezTo>
                <a:cubicBezTo>
                  <a:pt x="57" y="25"/>
                  <a:pt x="58" y="24"/>
                  <a:pt x="57" y="25"/>
                </a:cubicBezTo>
                <a:cubicBezTo>
                  <a:pt x="57" y="24"/>
                  <a:pt x="58" y="24"/>
                  <a:pt x="58" y="24"/>
                </a:cubicBezTo>
                <a:cubicBezTo>
                  <a:pt x="59" y="24"/>
                  <a:pt x="59" y="24"/>
                  <a:pt x="59" y="24"/>
                </a:cubicBezTo>
                <a:cubicBezTo>
                  <a:pt x="60" y="24"/>
                  <a:pt x="61" y="23"/>
                  <a:pt x="60" y="23"/>
                </a:cubicBezTo>
                <a:cubicBezTo>
                  <a:pt x="60" y="23"/>
                  <a:pt x="62" y="23"/>
                  <a:pt x="62" y="23"/>
                </a:cubicBezTo>
                <a:cubicBezTo>
                  <a:pt x="62" y="23"/>
                  <a:pt x="62" y="23"/>
                  <a:pt x="62" y="23"/>
                </a:cubicBezTo>
                <a:cubicBezTo>
                  <a:pt x="62" y="23"/>
                  <a:pt x="63" y="22"/>
                  <a:pt x="63" y="22"/>
                </a:cubicBezTo>
                <a:cubicBezTo>
                  <a:pt x="63" y="22"/>
                  <a:pt x="65" y="22"/>
                  <a:pt x="64" y="22"/>
                </a:cubicBezTo>
                <a:cubicBezTo>
                  <a:pt x="64" y="22"/>
                  <a:pt x="65" y="22"/>
                  <a:pt x="65" y="21"/>
                </a:cubicBezTo>
                <a:cubicBezTo>
                  <a:pt x="65" y="21"/>
                  <a:pt x="65" y="21"/>
                  <a:pt x="64" y="21"/>
                </a:cubicBezTo>
                <a:cubicBezTo>
                  <a:pt x="65" y="21"/>
                  <a:pt x="65" y="22"/>
                  <a:pt x="66" y="22"/>
                </a:cubicBezTo>
                <a:cubicBezTo>
                  <a:pt x="66" y="22"/>
                  <a:pt x="65" y="21"/>
                  <a:pt x="66" y="21"/>
                </a:cubicBezTo>
                <a:cubicBezTo>
                  <a:pt x="66" y="21"/>
                  <a:pt x="66" y="22"/>
                  <a:pt x="66" y="22"/>
                </a:cubicBezTo>
                <a:cubicBezTo>
                  <a:pt x="66" y="22"/>
                  <a:pt x="67" y="22"/>
                  <a:pt x="67" y="22"/>
                </a:cubicBezTo>
                <a:cubicBezTo>
                  <a:pt x="67" y="22"/>
                  <a:pt x="69" y="22"/>
                  <a:pt x="69" y="22"/>
                </a:cubicBezTo>
                <a:cubicBezTo>
                  <a:pt x="69" y="22"/>
                  <a:pt x="68" y="22"/>
                  <a:pt x="68" y="21"/>
                </a:cubicBezTo>
                <a:cubicBezTo>
                  <a:pt x="68" y="21"/>
                  <a:pt x="69" y="21"/>
                  <a:pt x="68" y="21"/>
                </a:cubicBezTo>
                <a:cubicBezTo>
                  <a:pt x="69" y="21"/>
                  <a:pt x="70" y="20"/>
                  <a:pt x="71" y="20"/>
                </a:cubicBezTo>
                <a:cubicBezTo>
                  <a:pt x="71" y="20"/>
                  <a:pt x="72" y="20"/>
                  <a:pt x="72" y="20"/>
                </a:cubicBezTo>
                <a:cubicBezTo>
                  <a:pt x="72" y="19"/>
                  <a:pt x="73" y="19"/>
                  <a:pt x="73" y="19"/>
                </a:cubicBezTo>
                <a:cubicBezTo>
                  <a:pt x="73" y="19"/>
                  <a:pt x="72" y="19"/>
                  <a:pt x="72" y="19"/>
                </a:cubicBezTo>
                <a:cubicBezTo>
                  <a:pt x="72" y="19"/>
                  <a:pt x="71" y="19"/>
                  <a:pt x="71" y="19"/>
                </a:cubicBezTo>
                <a:cubicBezTo>
                  <a:pt x="71" y="19"/>
                  <a:pt x="74" y="19"/>
                  <a:pt x="72" y="18"/>
                </a:cubicBezTo>
                <a:cubicBezTo>
                  <a:pt x="72" y="18"/>
                  <a:pt x="73" y="18"/>
                  <a:pt x="73" y="18"/>
                </a:cubicBezTo>
                <a:cubicBezTo>
                  <a:pt x="73" y="18"/>
                  <a:pt x="74" y="18"/>
                  <a:pt x="74" y="18"/>
                </a:cubicBezTo>
                <a:cubicBezTo>
                  <a:pt x="74" y="18"/>
                  <a:pt x="73" y="17"/>
                  <a:pt x="73" y="17"/>
                </a:cubicBezTo>
                <a:cubicBezTo>
                  <a:pt x="72" y="17"/>
                  <a:pt x="73" y="17"/>
                  <a:pt x="72" y="17"/>
                </a:cubicBezTo>
                <a:cubicBezTo>
                  <a:pt x="73" y="17"/>
                  <a:pt x="73" y="18"/>
                  <a:pt x="74" y="18"/>
                </a:cubicBezTo>
                <a:cubicBezTo>
                  <a:pt x="74" y="18"/>
                  <a:pt x="75" y="18"/>
                  <a:pt x="75" y="18"/>
                </a:cubicBezTo>
                <a:cubicBezTo>
                  <a:pt x="76" y="17"/>
                  <a:pt x="76" y="17"/>
                  <a:pt x="76" y="17"/>
                </a:cubicBezTo>
                <a:cubicBezTo>
                  <a:pt x="76" y="17"/>
                  <a:pt x="77" y="17"/>
                  <a:pt x="77" y="17"/>
                </a:cubicBezTo>
                <a:cubicBezTo>
                  <a:pt x="77" y="17"/>
                  <a:pt x="77" y="16"/>
                  <a:pt x="76" y="16"/>
                </a:cubicBezTo>
                <a:cubicBezTo>
                  <a:pt x="77" y="16"/>
                  <a:pt x="78" y="17"/>
                  <a:pt x="78" y="16"/>
                </a:cubicBezTo>
                <a:cubicBezTo>
                  <a:pt x="78" y="16"/>
                  <a:pt x="76" y="16"/>
                  <a:pt x="76" y="15"/>
                </a:cubicBezTo>
                <a:cubicBezTo>
                  <a:pt x="77" y="16"/>
                  <a:pt x="77" y="16"/>
                  <a:pt x="78" y="16"/>
                </a:cubicBezTo>
                <a:cubicBezTo>
                  <a:pt x="79" y="16"/>
                  <a:pt x="78" y="15"/>
                  <a:pt x="78" y="15"/>
                </a:cubicBezTo>
                <a:cubicBezTo>
                  <a:pt x="78" y="15"/>
                  <a:pt x="77" y="15"/>
                  <a:pt x="77" y="15"/>
                </a:cubicBezTo>
                <a:cubicBezTo>
                  <a:pt x="76" y="15"/>
                  <a:pt x="75" y="15"/>
                  <a:pt x="75" y="15"/>
                </a:cubicBezTo>
                <a:cubicBezTo>
                  <a:pt x="75" y="14"/>
                  <a:pt x="76" y="15"/>
                  <a:pt x="77" y="14"/>
                </a:cubicBezTo>
                <a:cubicBezTo>
                  <a:pt x="77" y="14"/>
                  <a:pt x="76" y="14"/>
                  <a:pt x="76" y="14"/>
                </a:cubicBezTo>
                <a:cubicBezTo>
                  <a:pt x="77" y="14"/>
                  <a:pt x="80" y="16"/>
                  <a:pt x="80" y="15"/>
                </a:cubicBezTo>
                <a:cubicBezTo>
                  <a:pt x="79" y="15"/>
                  <a:pt x="80" y="14"/>
                  <a:pt x="80" y="14"/>
                </a:cubicBezTo>
                <a:cubicBezTo>
                  <a:pt x="80" y="14"/>
                  <a:pt x="80" y="14"/>
                  <a:pt x="80" y="13"/>
                </a:cubicBezTo>
                <a:cubicBezTo>
                  <a:pt x="80" y="13"/>
                  <a:pt x="79" y="14"/>
                  <a:pt x="79" y="14"/>
                </a:cubicBezTo>
                <a:close/>
                <a:moveTo>
                  <a:pt x="26" y="27"/>
                </a:moveTo>
                <a:cubicBezTo>
                  <a:pt x="26" y="27"/>
                  <a:pt x="26" y="27"/>
                  <a:pt x="25" y="27"/>
                </a:cubicBezTo>
                <a:cubicBezTo>
                  <a:pt x="26" y="27"/>
                  <a:pt x="26" y="26"/>
                  <a:pt x="26" y="26"/>
                </a:cubicBezTo>
                <a:cubicBezTo>
                  <a:pt x="27" y="26"/>
                  <a:pt x="26" y="27"/>
                  <a:pt x="26" y="27"/>
                </a:cubicBezTo>
                <a:cubicBezTo>
                  <a:pt x="26" y="27"/>
                  <a:pt x="27" y="27"/>
                  <a:pt x="27" y="27"/>
                </a:cubicBezTo>
                <a:cubicBezTo>
                  <a:pt x="26" y="27"/>
                  <a:pt x="26" y="27"/>
                  <a:pt x="26" y="27"/>
                </a:cubicBezTo>
                <a:close/>
                <a:moveTo>
                  <a:pt x="77" y="13"/>
                </a:moveTo>
                <a:cubicBezTo>
                  <a:pt x="77" y="13"/>
                  <a:pt x="78" y="13"/>
                  <a:pt x="78" y="13"/>
                </a:cubicBezTo>
                <a:cubicBezTo>
                  <a:pt x="78" y="13"/>
                  <a:pt x="77" y="13"/>
                  <a:pt x="77" y="13"/>
                </a:cubicBezTo>
                <a:close/>
                <a:moveTo>
                  <a:pt x="70" y="21"/>
                </a:moveTo>
                <a:cubicBezTo>
                  <a:pt x="70" y="21"/>
                  <a:pt x="71" y="21"/>
                  <a:pt x="71" y="20"/>
                </a:cubicBezTo>
                <a:cubicBezTo>
                  <a:pt x="71" y="20"/>
                  <a:pt x="71" y="20"/>
                  <a:pt x="71" y="21"/>
                </a:cubicBezTo>
                <a:cubicBezTo>
                  <a:pt x="71" y="21"/>
                  <a:pt x="70" y="21"/>
                  <a:pt x="70" y="2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8" name="Hungary"/>
          <p:cNvSpPr>
            <a:spLocks/>
          </p:cNvSpPr>
          <p:nvPr/>
        </p:nvSpPr>
        <p:spPr bwMode="auto">
          <a:xfrm>
            <a:off x="6334062" y="2740009"/>
            <a:ext cx="208992" cy="111996"/>
          </a:xfrm>
          <a:custGeom>
            <a:avLst/>
            <a:gdLst/>
            <a:ahLst/>
            <a:cxnLst>
              <a:cxn ang="0">
                <a:pos x="56" y="5"/>
              </a:cxn>
              <a:cxn ang="0">
                <a:pos x="53" y="3"/>
              </a:cxn>
              <a:cxn ang="0">
                <a:pos x="51" y="2"/>
              </a:cxn>
              <a:cxn ang="0">
                <a:pos x="48" y="2"/>
              </a:cxn>
              <a:cxn ang="0">
                <a:pos x="46" y="1"/>
              </a:cxn>
              <a:cxn ang="0">
                <a:pos x="44" y="0"/>
              </a:cxn>
              <a:cxn ang="0">
                <a:pos x="43" y="1"/>
              </a:cxn>
              <a:cxn ang="0">
                <a:pos x="39" y="0"/>
              </a:cxn>
              <a:cxn ang="0">
                <a:pos x="37" y="1"/>
              </a:cxn>
              <a:cxn ang="0">
                <a:pos x="35" y="3"/>
              </a:cxn>
              <a:cxn ang="0">
                <a:pos x="33" y="4"/>
              </a:cxn>
              <a:cxn ang="0">
                <a:pos x="30" y="4"/>
              </a:cxn>
              <a:cxn ang="0">
                <a:pos x="28" y="5"/>
              </a:cxn>
              <a:cxn ang="0">
                <a:pos x="25" y="5"/>
              </a:cxn>
              <a:cxn ang="0">
                <a:pos x="22" y="6"/>
              </a:cxn>
              <a:cxn ang="0">
                <a:pos x="23" y="8"/>
              </a:cxn>
              <a:cxn ang="0">
                <a:pos x="19" y="9"/>
              </a:cxn>
              <a:cxn ang="0">
                <a:pos x="13" y="9"/>
              </a:cxn>
              <a:cxn ang="0">
                <a:pos x="10" y="6"/>
              </a:cxn>
              <a:cxn ang="0">
                <a:pos x="7" y="8"/>
              </a:cxn>
              <a:cxn ang="0">
                <a:pos x="8" y="9"/>
              </a:cxn>
              <a:cxn ang="0">
                <a:pos x="5" y="9"/>
              </a:cxn>
              <a:cxn ang="0">
                <a:pos x="2" y="10"/>
              </a:cxn>
              <a:cxn ang="0">
                <a:pos x="4" y="12"/>
              </a:cxn>
              <a:cxn ang="0">
                <a:pos x="3" y="14"/>
              </a:cxn>
              <a:cxn ang="0">
                <a:pos x="3" y="16"/>
              </a:cxn>
              <a:cxn ang="0">
                <a:pos x="3" y="17"/>
              </a:cxn>
              <a:cxn ang="0">
                <a:pos x="2" y="17"/>
              </a:cxn>
              <a:cxn ang="0">
                <a:pos x="2" y="18"/>
              </a:cxn>
              <a:cxn ang="0">
                <a:pos x="3" y="21"/>
              </a:cxn>
              <a:cxn ang="0">
                <a:pos x="5" y="23"/>
              </a:cxn>
              <a:cxn ang="0">
                <a:pos x="8" y="25"/>
              </a:cxn>
              <a:cxn ang="0">
                <a:pos x="10" y="27"/>
              </a:cxn>
              <a:cxn ang="0">
                <a:pos x="11" y="27"/>
              </a:cxn>
              <a:cxn ang="0">
                <a:pos x="11" y="28"/>
              </a:cxn>
              <a:cxn ang="0">
                <a:pos x="13" y="29"/>
              </a:cxn>
              <a:cxn ang="0">
                <a:pos x="15" y="30"/>
              </a:cxn>
              <a:cxn ang="0">
                <a:pos x="17" y="30"/>
              </a:cxn>
              <a:cxn ang="0">
                <a:pos x="21" y="30"/>
              </a:cxn>
              <a:cxn ang="0">
                <a:pos x="24" y="29"/>
              </a:cxn>
              <a:cxn ang="0">
                <a:pos x="26" y="28"/>
              </a:cxn>
              <a:cxn ang="0">
                <a:pos x="28" y="28"/>
              </a:cxn>
              <a:cxn ang="0">
                <a:pos x="29" y="27"/>
              </a:cxn>
              <a:cxn ang="0">
                <a:pos x="30" y="26"/>
              </a:cxn>
              <a:cxn ang="0">
                <a:pos x="33" y="26"/>
              </a:cxn>
              <a:cxn ang="0">
                <a:pos x="36" y="26"/>
              </a:cxn>
              <a:cxn ang="0">
                <a:pos x="38" y="26"/>
              </a:cxn>
              <a:cxn ang="0">
                <a:pos x="40" y="26"/>
              </a:cxn>
              <a:cxn ang="0">
                <a:pos x="44" y="25"/>
              </a:cxn>
              <a:cxn ang="0">
                <a:pos x="45" y="23"/>
              </a:cxn>
              <a:cxn ang="0">
                <a:pos x="45" y="21"/>
              </a:cxn>
              <a:cxn ang="0">
                <a:pos x="47" y="20"/>
              </a:cxn>
              <a:cxn ang="0">
                <a:pos x="47" y="18"/>
              </a:cxn>
              <a:cxn ang="0">
                <a:pos x="48" y="16"/>
              </a:cxn>
              <a:cxn ang="0">
                <a:pos x="49" y="14"/>
              </a:cxn>
              <a:cxn ang="0">
                <a:pos x="50" y="13"/>
              </a:cxn>
              <a:cxn ang="0">
                <a:pos x="52" y="11"/>
              </a:cxn>
              <a:cxn ang="0">
                <a:pos x="53" y="9"/>
              </a:cxn>
              <a:cxn ang="0">
                <a:pos x="55" y="9"/>
              </a:cxn>
              <a:cxn ang="0">
                <a:pos x="57" y="8"/>
              </a:cxn>
              <a:cxn ang="0">
                <a:pos x="57" y="5"/>
              </a:cxn>
            </a:cxnLst>
            <a:rect l="0" t="0" r="r" b="b"/>
            <a:pathLst>
              <a:path w="58" h="31">
                <a:moveTo>
                  <a:pt x="57" y="5"/>
                </a:moveTo>
                <a:cubicBezTo>
                  <a:pt x="57" y="5"/>
                  <a:pt x="57" y="5"/>
                  <a:pt x="56" y="5"/>
                </a:cubicBezTo>
                <a:cubicBezTo>
                  <a:pt x="55" y="5"/>
                  <a:pt x="55" y="4"/>
                  <a:pt x="54" y="4"/>
                </a:cubicBezTo>
                <a:cubicBezTo>
                  <a:pt x="54" y="3"/>
                  <a:pt x="53" y="4"/>
                  <a:pt x="53" y="3"/>
                </a:cubicBezTo>
                <a:cubicBezTo>
                  <a:pt x="53" y="3"/>
                  <a:pt x="52" y="2"/>
                  <a:pt x="52" y="2"/>
                </a:cubicBezTo>
                <a:cubicBezTo>
                  <a:pt x="52" y="2"/>
                  <a:pt x="52" y="2"/>
                  <a:pt x="51" y="2"/>
                </a:cubicBezTo>
                <a:cubicBezTo>
                  <a:pt x="51" y="2"/>
                  <a:pt x="51" y="2"/>
                  <a:pt x="50" y="2"/>
                </a:cubicBezTo>
                <a:cubicBezTo>
                  <a:pt x="49" y="2"/>
                  <a:pt x="49" y="2"/>
                  <a:pt x="48" y="2"/>
                </a:cubicBezTo>
                <a:cubicBezTo>
                  <a:pt x="48" y="3"/>
                  <a:pt x="47" y="2"/>
                  <a:pt x="47" y="2"/>
                </a:cubicBezTo>
                <a:cubicBezTo>
                  <a:pt x="47" y="2"/>
                  <a:pt x="47" y="1"/>
                  <a:pt x="46" y="1"/>
                </a:cubicBezTo>
                <a:cubicBezTo>
                  <a:pt x="45" y="1"/>
                  <a:pt x="45" y="0"/>
                  <a:pt x="45" y="0"/>
                </a:cubicBezTo>
                <a:cubicBezTo>
                  <a:pt x="44" y="0"/>
                  <a:pt x="44" y="0"/>
                  <a:pt x="44" y="0"/>
                </a:cubicBezTo>
                <a:cubicBezTo>
                  <a:pt x="44" y="0"/>
                  <a:pt x="44" y="1"/>
                  <a:pt x="44" y="1"/>
                </a:cubicBezTo>
                <a:cubicBezTo>
                  <a:pt x="43" y="1"/>
                  <a:pt x="43" y="1"/>
                  <a:pt x="43" y="1"/>
                </a:cubicBezTo>
                <a:cubicBezTo>
                  <a:pt x="43" y="1"/>
                  <a:pt x="43" y="1"/>
                  <a:pt x="42" y="1"/>
                </a:cubicBezTo>
                <a:cubicBezTo>
                  <a:pt x="42" y="1"/>
                  <a:pt x="40" y="0"/>
                  <a:pt x="39" y="0"/>
                </a:cubicBezTo>
                <a:cubicBezTo>
                  <a:pt x="39" y="0"/>
                  <a:pt x="38" y="0"/>
                  <a:pt x="37" y="0"/>
                </a:cubicBezTo>
                <a:cubicBezTo>
                  <a:pt x="37" y="1"/>
                  <a:pt x="37" y="1"/>
                  <a:pt x="37" y="1"/>
                </a:cubicBezTo>
                <a:cubicBezTo>
                  <a:pt x="36" y="2"/>
                  <a:pt x="36" y="2"/>
                  <a:pt x="36" y="3"/>
                </a:cubicBezTo>
                <a:cubicBezTo>
                  <a:pt x="35" y="4"/>
                  <a:pt x="35" y="3"/>
                  <a:pt x="35" y="3"/>
                </a:cubicBezTo>
                <a:cubicBezTo>
                  <a:pt x="34" y="4"/>
                  <a:pt x="34" y="4"/>
                  <a:pt x="34" y="4"/>
                </a:cubicBezTo>
                <a:cubicBezTo>
                  <a:pt x="34" y="4"/>
                  <a:pt x="33" y="4"/>
                  <a:pt x="33" y="4"/>
                </a:cubicBezTo>
                <a:cubicBezTo>
                  <a:pt x="33" y="4"/>
                  <a:pt x="32" y="5"/>
                  <a:pt x="32" y="5"/>
                </a:cubicBezTo>
                <a:cubicBezTo>
                  <a:pt x="31" y="5"/>
                  <a:pt x="31" y="4"/>
                  <a:pt x="30" y="4"/>
                </a:cubicBezTo>
                <a:cubicBezTo>
                  <a:pt x="29" y="4"/>
                  <a:pt x="29" y="4"/>
                  <a:pt x="29" y="4"/>
                </a:cubicBezTo>
                <a:cubicBezTo>
                  <a:pt x="28" y="5"/>
                  <a:pt x="28" y="5"/>
                  <a:pt x="28" y="5"/>
                </a:cubicBezTo>
                <a:cubicBezTo>
                  <a:pt x="27" y="5"/>
                  <a:pt x="27" y="6"/>
                  <a:pt x="26" y="5"/>
                </a:cubicBezTo>
                <a:cubicBezTo>
                  <a:pt x="26" y="5"/>
                  <a:pt x="25" y="5"/>
                  <a:pt x="25" y="5"/>
                </a:cubicBezTo>
                <a:cubicBezTo>
                  <a:pt x="24" y="5"/>
                  <a:pt x="23" y="6"/>
                  <a:pt x="23" y="6"/>
                </a:cubicBezTo>
                <a:cubicBezTo>
                  <a:pt x="23" y="6"/>
                  <a:pt x="23" y="6"/>
                  <a:pt x="22" y="6"/>
                </a:cubicBezTo>
                <a:cubicBezTo>
                  <a:pt x="22" y="7"/>
                  <a:pt x="22" y="7"/>
                  <a:pt x="22" y="7"/>
                </a:cubicBezTo>
                <a:cubicBezTo>
                  <a:pt x="23" y="8"/>
                  <a:pt x="23" y="8"/>
                  <a:pt x="23" y="8"/>
                </a:cubicBezTo>
                <a:cubicBezTo>
                  <a:pt x="23" y="8"/>
                  <a:pt x="22" y="9"/>
                  <a:pt x="22" y="9"/>
                </a:cubicBezTo>
                <a:cubicBezTo>
                  <a:pt x="21" y="9"/>
                  <a:pt x="20" y="9"/>
                  <a:pt x="19" y="9"/>
                </a:cubicBezTo>
                <a:cubicBezTo>
                  <a:pt x="18" y="9"/>
                  <a:pt x="17" y="9"/>
                  <a:pt x="16" y="9"/>
                </a:cubicBezTo>
                <a:cubicBezTo>
                  <a:pt x="15" y="9"/>
                  <a:pt x="14" y="9"/>
                  <a:pt x="13" y="9"/>
                </a:cubicBezTo>
                <a:cubicBezTo>
                  <a:pt x="13" y="8"/>
                  <a:pt x="12" y="8"/>
                  <a:pt x="11" y="7"/>
                </a:cubicBezTo>
                <a:cubicBezTo>
                  <a:pt x="11" y="7"/>
                  <a:pt x="10" y="6"/>
                  <a:pt x="10" y="6"/>
                </a:cubicBezTo>
                <a:cubicBezTo>
                  <a:pt x="9" y="6"/>
                  <a:pt x="8" y="6"/>
                  <a:pt x="8" y="7"/>
                </a:cubicBezTo>
                <a:cubicBezTo>
                  <a:pt x="8" y="7"/>
                  <a:pt x="8" y="7"/>
                  <a:pt x="7" y="8"/>
                </a:cubicBezTo>
                <a:cubicBezTo>
                  <a:pt x="7" y="8"/>
                  <a:pt x="8" y="8"/>
                  <a:pt x="8" y="8"/>
                </a:cubicBezTo>
                <a:cubicBezTo>
                  <a:pt x="8" y="9"/>
                  <a:pt x="8" y="9"/>
                  <a:pt x="8" y="9"/>
                </a:cubicBezTo>
                <a:cubicBezTo>
                  <a:pt x="8" y="9"/>
                  <a:pt x="6" y="9"/>
                  <a:pt x="6" y="10"/>
                </a:cubicBezTo>
                <a:cubicBezTo>
                  <a:pt x="6" y="10"/>
                  <a:pt x="5" y="9"/>
                  <a:pt x="5" y="9"/>
                </a:cubicBezTo>
                <a:cubicBezTo>
                  <a:pt x="5" y="9"/>
                  <a:pt x="3" y="9"/>
                  <a:pt x="3" y="9"/>
                </a:cubicBezTo>
                <a:cubicBezTo>
                  <a:pt x="4" y="9"/>
                  <a:pt x="3" y="10"/>
                  <a:pt x="2" y="10"/>
                </a:cubicBezTo>
                <a:cubicBezTo>
                  <a:pt x="3" y="10"/>
                  <a:pt x="4" y="10"/>
                  <a:pt x="5" y="11"/>
                </a:cubicBezTo>
                <a:cubicBezTo>
                  <a:pt x="5" y="11"/>
                  <a:pt x="5" y="12"/>
                  <a:pt x="4" y="12"/>
                </a:cubicBezTo>
                <a:cubicBezTo>
                  <a:pt x="4" y="13"/>
                  <a:pt x="2" y="12"/>
                  <a:pt x="3" y="13"/>
                </a:cubicBezTo>
                <a:cubicBezTo>
                  <a:pt x="3" y="14"/>
                  <a:pt x="3" y="14"/>
                  <a:pt x="3" y="14"/>
                </a:cubicBezTo>
                <a:cubicBezTo>
                  <a:pt x="3" y="15"/>
                  <a:pt x="3" y="15"/>
                  <a:pt x="3" y="15"/>
                </a:cubicBezTo>
                <a:cubicBezTo>
                  <a:pt x="3" y="15"/>
                  <a:pt x="4" y="15"/>
                  <a:pt x="3" y="16"/>
                </a:cubicBezTo>
                <a:cubicBezTo>
                  <a:pt x="3" y="16"/>
                  <a:pt x="3" y="16"/>
                  <a:pt x="3" y="16"/>
                </a:cubicBezTo>
                <a:cubicBezTo>
                  <a:pt x="3" y="16"/>
                  <a:pt x="3" y="17"/>
                  <a:pt x="3" y="17"/>
                </a:cubicBezTo>
                <a:cubicBezTo>
                  <a:pt x="3" y="17"/>
                  <a:pt x="3" y="17"/>
                  <a:pt x="3" y="17"/>
                </a:cubicBezTo>
                <a:cubicBezTo>
                  <a:pt x="3" y="17"/>
                  <a:pt x="2" y="17"/>
                  <a:pt x="2" y="17"/>
                </a:cubicBezTo>
                <a:cubicBezTo>
                  <a:pt x="1" y="17"/>
                  <a:pt x="1" y="18"/>
                  <a:pt x="0" y="18"/>
                </a:cubicBezTo>
                <a:cubicBezTo>
                  <a:pt x="1" y="19"/>
                  <a:pt x="1" y="18"/>
                  <a:pt x="2" y="18"/>
                </a:cubicBezTo>
                <a:cubicBezTo>
                  <a:pt x="2" y="19"/>
                  <a:pt x="2" y="19"/>
                  <a:pt x="2" y="20"/>
                </a:cubicBezTo>
                <a:cubicBezTo>
                  <a:pt x="2" y="20"/>
                  <a:pt x="3" y="21"/>
                  <a:pt x="3" y="21"/>
                </a:cubicBezTo>
                <a:cubicBezTo>
                  <a:pt x="2" y="21"/>
                  <a:pt x="3" y="22"/>
                  <a:pt x="4" y="22"/>
                </a:cubicBezTo>
                <a:cubicBezTo>
                  <a:pt x="4" y="22"/>
                  <a:pt x="5" y="23"/>
                  <a:pt x="5" y="23"/>
                </a:cubicBezTo>
                <a:cubicBezTo>
                  <a:pt x="6" y="24"/>
                  <a:pt x="6" y="24"/>
                  <a:pt x="7" y="24"/>
                </a:cubicBezTo>
                <a:cubicBezTo>
                  <a:pt x="7" y="25"/>
                  <a:pt x="8" y="25"/>
                  <a:pt x="8" y="25"/>
                </a:cubicBezTo>
                <a:cubicBezTo>
                  <a:pt x="9" y="26"/>
                  <a:pt x="9" y="26"/>
                  <a:pt x="10" y="26"/>
                </a:cubicBezTo>
                <a:cubicBezTo>
                  <a:pt x="10" y="26"/>
                  <a:pt x="10" y="27"/>
                  <a:pt x="10" y="27"/>
                </a:cubicBezTo>
                <a:cubicBezTo>
                  <a:pt x="10" y="27"/>
                  <a:pt x="10" y="27"/>
                  <a:pt x="10" y="27"/>
                </a:cubicBezTo>
                <a:cubicBezTo>
                  <a:pt x="10" y="27"/>
                  <a:pt x="10" y="27"/>
                  <a:pt x="11" y="27"/>
                </a:cubicBezTo>
                <a:cubicBezTo>
                  <a:pt x="10" y="28"/>
                  <a:pt x="11" y="28"/>
                  <a:pt x="11" y="28"/>
                </a:cubicBezTo>
                <a:cubicBezTo>
                  <a:pt x="11" y="28"/>
                  <a:pt x="12" y="28"/>
                  <a:pt x="11" y="28"/>
                </a:cubicBezTo>
                <a:cubicBezTo>
                  <a:pt x="11" y="28"/>
                  <a:pt x="12" y="28"/>
                  <a:pt x="12" y="28"/>
                </a:cubicBezTo>
                <a:cubicBezTo>
                  <a:pt x="12" y="28"/>
                  <a:pt x="13" y="28"/>
                  <a:pt x="13" y="29"/>
                </a:cubicBezTo>
                <a:cubicBezTo>
                  <a:pt x="14" y="29"/>
                  <a:pt x="14" y="30"/>
                  <a:pt x="15" y="30"/>
                </a:cubicBezTo>
                <a:cubicBezTo>
                  <a:pt x="15" y="30"/>
                  <a:pt x="15" y="30"/>
                  <a:pt x="15" y="30"/>
                </a:cubicBezTo>
                <a:cubicBezTo>
                  <a:pt x="16" y="30"/>
                  <a:pt x="15" y="30"/>
                  <a:pt x="16" y="30"/>
                </a:cubicBezTo>
                <a:cubicBezTo>
                  <a:pt x="16" y="30"/>
                  <a:pt x="17" y="30"/>
                  <a:pt x="17" y="30"/>
                </a:cubicBezTo>
                <a:cubicBezTo>
                  <a:pt x="18" y="30"/>
                  <a:pt x="18" y="30"/>
                  <a:pt x="19" y="30"/>
                </a:cubicBezTo>
                <a:cubicBezTo>
                  <a:pt x="19" y="30"/>
                  <a:pt x="20" y="31"/>
                  <a:pt x="21" y="30"/>
                </a:cubicBezTo>
                <a:cubicBezTo>
                  <a:pt x="21" y="30"/>
                  <a:pt x="22" y="30"/>
                  <a:pt x="22" y="29"/>
                </a:cubicBezTo>
                <a:cubicBezTo>
                  <a:pt x="23" y="28"/>
                  <a:pt x="23" y="29"/>
                  <a:pt x="24" y="29"/>
                </a:cubicBezTo>
                <a:cubicBezTo>
                  <a:pt x="24" y="28"/>
                  <a:pt x="25" y="28"/>
                  <a:pt x="25" y="28"/>
                </a:cubicBezTo>
                <a:cubicBezTo>
                  <a:pt x="25" y="28"/>
                  <a:pt x="26" y="28"/>
                  <a:pt x="26" y="28"/>
                </a:cubicBezTo>
                <a:cubicBezTo>
                  <a:pt x="26" y="28"/>
                  <a:pt x="26" y="27"/>
                  <a:pt x="27" y="28"/>
                </a:cubicBezTo>
                <a:cubicBezTo>
                  <a:pt x="27" y="28"/>
                  <a:pt x="28" y="28"/>
                  <a:pt x="28" y="28"/>
                </a:cubicBezTo>
                <a:cubicBezTo>
                  <a:pt x="28" y="28"/>
                  <a:pt x="28" y="28"/>
                  <a:pt x="28" y="28"/>
                </a:cubicBezTo>
                <a:cubicBezTo>
                  <a:pt x="28" y="27"/>
                  <a:pt x="29" y="27"/>
                  <a:pt x="29" y="27"/>
                </a:cubicBezTo>
                <a:cubicBezTo>
                  <a:pt x="29" y="27"/>
                  <a:pt x="29" y="27"/>
                  <a:pt x="30" y="27"/>
                </a:cubicBezTo>
                <a:cubicBezTo>
                  <a:pt x="30" y="26"/>
                  <a:pt x="30" y="26"/>
                  <a:pt x="30" y="26"/>
                </a:cubicBezTo>
                <a:cubicBezTo>
                  <a:pt x="31" y="25"/>
                  <a:pt x="31" y="26"/>
                  <a:pt x="32" y="26"/>
                </a:cubicBezTo>
                <a:cubicBezTo>
                  <a:pt x="32" y="26"/>
                  <a:pt x="33" y="26"/>
                  <a:pt x="33" y="26"/>
                </a:cubicBezTo>
                <a:cubicBezTo>
                  <a:pt x="33" y="26"/>
                  <a:pt x="34" y="26"/>
                  <a:pt x="34" y="26"/>
                </a:cubicBezTo>
                <a:cubicBezTo>
                  <a:pt x="35" y="26"/>
                  <a:pt x="35" y="26"/>
                  <a:pt x="36" y="26"/>
                </a:cubicBezTo>
                <a:cubicBezTo>
                  <a:pt x="36" y="26"/>
                  <a:pt x="37" y="26"/>
                  <a:pt x="37" y="26"/>
                </a:cubicBezTo>
                <a:cubicBezTo>
                  <a:pt x="37" y="26"/>
                  <a:pt x="38" y="26"/>
                  <a:pt x="38" y="26"/>
                </a:cubicBezTo>
                <a:cubicBezTo>
                  <a:pt x="38" y="26"/>
                  <a:pt x="38" y="26"/>
                  <a:pt x="38" y="26"/>
                </a:cubicBezTo>
                <a:cubicBezTo>
                  <a:pt x="39" y="26"/>
                  <a:pt x="39" y="27"/>
                  <a:pt x="40" y="26"/>
                </a:cubicBezTo>
                <a:cubicBezTo>
                  <a:pt x="40" y="25"/>
                  <a:pt x="40" y="25"/>
                  <a:pt x="42" y="25"/>
                </a:cubicBezTo>
                <a:cubicBezTo>
                  <a:pt x="42" y="25"/>
                  <a:pt x="43" y="25"/>
                  <a:pt x="44" y="25"/>
                </a:cubicBezTo>
                <a:cubicBezTo>
                  <a:pt x="44" y="24"/>
                  <a:pt x="44" y="24"/>
                  <a:pt x="44" y="24"/>
                </a:cubicBezTo>
                <a:cubicBezTo>
                  <a:pt x="44" y="23"/>
                  <a:pt x="45" y="23"/>
                  <a:pt x="45" y="23"/>
                </a:cubicBezTo>
                <a:cubicBezTo>
                  <a:pt x="45" y="23"/>
                  <a:pt x="44" y="22"/>
                  <a:pt x="45" y="22"/>
                </a:cubicBezTo>
                <a:cubicBezTo>
                  <a:pt x="45" y="22"/>
                  <a:pt x="45" y="22"/>
                  <a:pt x="45" y="21"/>
                </a:cubicBezTo>
                <a:cubicBezTo>
                  <a:pt x="45" y="21"/>
                  <a:pt x="46" y="21"/>
                  <a:pt x="46" y="21"/>
                </a:cubicBezTo>
                <a:cubicBezTo>
                  <a:pt x="46" y="20"/>
                  <a:pt x="46" y="21"/>
                  <a:pt x="47" y="20"/>
                </a:cubicBezTo>
                <a:cubicBezTo>
                  <a:pt x="47" y="20"/>
                  <a:pt x="46" y="19"/>
                  <a:pt x="47" y="19"/>
                </a:cubicBezTo>
                <a:cubicBezTo>
                  <a:pt x="47" y="18"/>
                  <a:pt x="47" y="18"/>
                  <a:pt x="47" y="18"/>
                </a:cubicBezTo>
                <a:cubicBezTo>
                  <a:pt x="47" y="18"/>
                  <a:pt x="48" y="17"/>
                  <a:pt x="48" y="17"/>
                </a:cubicBezTo>
                <a:cubicBezTo>
                  <a:pt x="48" y="16"/>
                  <a:pt x="48" y="17"/>
                  <a:pt x="48" y="16"/>
                </a:cubicBezTo>
                <a:cubicBezTo>
                  <a:pt x="48" y="16"/>
                  <a:pt x="49" y="16"/>
                  <a:pt x="49" y="15"/>
                </a:cubicBezTo>
                <a:cubicBezTo>
                  <a:pt x="49" y="15"/>
                  <a:pt x="49" y="15"/>
                  <a:pt x="49" y="14"/>
                </a:cubicBezTo>
                <a:cubicBezTo>
                  <a:pt x="49" y="14"/>
                  <a:pt x="49" y="14"/>
                  <a:pt x="50" y="13"/>
                </a:cubicBezTo>
                <a:cubicBezTo>
                  <a:pt x="50" y="13"/>
                  <a:pt x="50" y="13"/>
                  <a:pt x="50" y="13"/>
                </a:cubicBezTo>
                <a:cubicBezTo>
                  <a:pt x="51" y="12"/>
                  <a:pt x="50" y="12"/>
                  <a:pt x="50" y="12"/>
                </a:cubicBezTo>
                <a:cubicBezTo>
                  <a:pt x="50" y="11"/>
                  <a:pt x="51" y="11"/>
                  <a:pt x="52" y="11"/>
                </a:cubicBezTo>
                <a:cubicBezTo>
                  <a:pt x="52" y="10"/>
                  <a:pt x="52" y="10"/>
                  <a:pt x="52" y="10"/>
                </a:cubicBezTo>
                <a:cubicBezTo>
                  <a:pt x="52" y="9"/>
                  <a:pt x="53" y="9"/>
                  <a:pt x="53" y="9"/>
                </a:cubicBezTo>
                <a:cubicBezTo>
                  <a:pt x="54" y="9"/>
                  <a:pt x="54" y="9"/>
                  <a:pt x="54" y="8"/>
                </a:cubicBezTo>
                <a:cubicBezTo>
                  <a:pt x="54" y="8"/>
                  <a:pt x="55" y="9"/>
                  <a:pt x="55" y="9"/>
                </a:cubicBezTo>
                <a:cubicBezTo>
                  <a:pt x="56" y="9"/>
                  <a:pt x="56" y="8"/>
                  <a:pt x="56" y="8"/>
                </a:cubicBezTo>
                <a:cubicBezTo>
                  <a:pt x="57" y="8"/>
                  <a:pt x="57" y="8"/>
                  <a:pt x="57" y="8"/>
                </a:cubicBezTo>
                <a:cubicBezTo>
                  <a:pt x="57" y="7"/>
                  <a:pt x="57" y="7"/>
                  <a:pt x="58" y="7"/>
                </a:cubicBezTo>
                <a:cubicBezTo>
                  <a:pt x="57" y="6"/>
                  <a:pt x="58" y="6"/>
                  <a:pt x="57" y="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39" name="Honduras"/>
          <p:cNvSpPr>
            <a:spLocks noEditPoints="1"/>
          </p:cNvSpPr>
          <p:nvPr/>
        </p:nvSpPr>
        <p:spPr bwMode="auto">
          <a:xfrm>
            <a:off x="2693198" y="3972963"/>
            <a:ext cx="215992" cy="176994"/>
          </a:xfrm>
          <a:custGeom>
            <a:avLst/>
            <a:gdLst/>
            <a:ahLst/>
            <a:cxnLst>
              <a:cxn ang="0">
                <a:pos x="30" y="11"/>
              </a:cxn>
              <a:cxn ang="0">
                <a:pos x="36" y="10"/>
              </a:cxn>
              <a:cxn ang="0">
                <a:pos x="59" y="27"/>
              </a:cxn>
              <a:cxn ang="0">
                <a:pos x="57" y="27"/>
              </a:cxn>
              <a:cxn ang="0">
                <a:pos x="56" y="28"/>
              </a:cxn>
              <a:cxn ang="0">
                <a:pos x="53" y="29"/>
              </a:cxn>
              <a:cxn ang="0">
                <a:pos x="49" y="30"/>
              </a:cxn>
              <a:cxn ang="0">
                <a:pos x="47" y="30"/>
              </a:cxn>
              <a:cxn ang="0">
                <a:pos x="45" y="30"/>
              </a:cxn>
              <a:cxn ang="0">
                <a:pos x="42" y="30"/>
              </a:cxn>
              <a:cxn ang="0">
                <a:pos x="41" y="31"/>
              </a:cxn>
              <a:cxn ang="0">
                <a:pos x="38" y="34"/>
              </a:cxn>
              <a:cxn ang="0">
                <a:pos x="36" y="37"/>
              </a:cxn>
              <a:cxn ang="0">
                <a:pos x="33" y="39"/>
              </a:cxn>
              <a:cxn ang="0">
                <a:pos x="32" y="37"/>
              </a:cxn>
              <a:cxn ang="0">
                <a:pos x="27" y="40"/>
              </a:cxn>
              <a:cxn ang="0">
                <a:pos x="24" y="42"/>
              </a:cxn>
              <a:cxn ang="0">
                <a:pos x="22" y="45"/>
              </a:cxn>
              <a:cxn ang="0">
                <a:pos x="18" y="49"/>
              </a:cxn>
              <a:cxn ang="0">
                <a:pos x="17" y="47"/>
              </a:cxn>
              <a:cxn ang="0">
                <a:pos x="18" y="44"/>
              </a:cxn>
              <a:cxn ang="0">
                <a:pos x="15" y="43"/>
              </a:cxn>
              <a:cxn ang="0">
                <a:pos x="14" y="43"/>
              </a:cxn>
              <a:cxn ang="0">
                <a:pos x="14" y="39"/>
              </a:cxn>
              <a:cxn ang="0">
                <a:pos x="10" y="38"/>
              </a:cxn>
              <a:cxn ang="0">
                <a:pos x="8" y="39"/>
              </a:cxn>
              <a:cxn ang="0">
                <a:pos x="5" y="36"/>
              </a:cxn>
              <a:cxn ang="0">
                <a:pos x="2" y="33"/>
              </a:cxn>
              <a:cxn ang="0">
                <a:pos x="1" y="31"/>
              </a:cxn>
              <a:cxn ang="0">
                <a:pos x="2" y="29"/>
              </a:cxn>
              <a:cxn ang="0">
                <a:pos x="3" y="25"/>
              </a:cxn>
              <a:cxn ang="0">
                <a:pos x="12" y="19"/>
              </a:cxn>
              <a:cxn ang="0">
                <a:pos x="15" y="18"/>
              </a:cxn>
              <a:cxn ang="0">
                <a:pos x="19" y="16"/>
              </a:cxn>
              <a:cxn ang="0">
                <a:pos x="23" y="18"/>
              </a:cxn>
              <a:cxn ang="0">
                <a:pos x="28" y="18"/>
              </a:cxn>
              <a:cxn ang="0">
                <a:pos x="34" y="17"/>
              </a:cxn>
              <a:cxn ang="0">
                <a:pos x="36" y="15"/>
              </a:cxn>
              <a:cxn ang="0">
                <a:pos x="42" y="16"/>
              </a:cxn>
              <a:cxn ang="0">
                <a:pos x="47" y="17"/>
              </a:cxn>
              <a:cxn ang="0">
                <a:pos x="49" y="17"/>
              </a:cxn>
              <a:cxn ang="0">
                <a:pos x="53" y="21"/>
              </a:cxn>
              <a:cxn ang="0">
                <a:pos x="52" y="21"/>
              </a:cxn>
              <a:cxn ang="0">
                <a:pos x="51" y="21"/>
              </a:cxn>
              <a:cxn ang="0">
                <a:pos x="53" y="23"/>
              </a:cxn>
              <a:cxn ang="0">
                <a:pos x="53" y="22"/>
              </a:cxn>
              <a:cxn ang="0">
                <a:pos x="54" y="23"/>
              </a:cxn>
              <a:cxn ang="0">
                <a:pos x="56" y="23"/>
              </a:cxn>
              <a:cxn ang="0">
                <a:pos x="56" y="24"/>
              </a:cxn>
              <a:cxn ang="0">
                <a:pos x="56" y="23"/>
              </a:cxn>
              <a:cxn ang="0">
                <a:pos x="59" y="25"/>
              </a:cxn>
              <a:cxn ang="0">
                <a:pos x="51" y="21"/>
              </a:cxn>
              <a:cxn ang="0">
                <a:pos x="51" y="21"/>
              </a:cxn>
              <a:cxn ang="0">
                <a:pos x="26" y="14"/>
              </a:cxn>
              <a:cxn ang="0">
                <a:pos x="16" y="45"/>
              </a:cxn>
              <a:cxn ang="0">
                <a:pos x="15" y="46"/>
              </a:cxn>
              <a:cxn ang="0">
                <a:pos x="56" y="0"/>
              </a:cxn>
            </a:cxnLst>
            <a:rect l="0" t="0" r="r" b="b"/>
            <a:pathLst>
              <a:path w="60" h="49">
                <a:moveTo>
                  <a:pt x="30" y="12"/>
                </a:moveTo>
                <a:cubicBezTo>
                  <a:pt x="29" y="12"/>
                  <a:pt x="29" y="12"/>
                  <a:pt x="29" y="12"/>
                </a:cubicBezTo>
                <a:cubicBezTo>
                  <a:pt x="28" y="12"/>
                  <a:pt x="29" y="11"/>
                  <a:pt x="30" y="11"/>
                </a:cubicBezTo>
                <a:cubicBezTo>
                  <a:pt x="31" y="11"/>
                  <a:pt x="32" y="10"/>
                  <a:pt x="33" y="11"/>
                </a:cubicBezTo>
                <a:cubicBezTo>
                  <a:pt x="32" y="11"/>
                  <a:pt x="30" y="11"/>
                  <a:pt x="30" y="12"/>
                </a:cubicBezTo>
                <a:close/>
                <a:moveTo>
                  <a:pt x="36" y="10"/>
                </a:moveTo>
                <a:cubicBezTo>
                  <a:pt x="36" y="10"/>
                  <a:pt x="35" y="11"/>
                  <a:pt x="35" y="11"/>
                </a:cubicBezTo>
                <a:cubicBezTo>
                  <a:pt x="36" y="11"/>
                  <a:pt x="36" y="10"/>
                  <a:pt x="36" y="10"/>
                </a:cubicBezTo>
                <a:close/>
                <a:moveTo>
                  <a:pt x="59" y="27"/>
                </a:moveTo>
                <a:cubicBezTo>
                  <a:pt x="59" y="26"/>
                  <a:pt x="59" y="26"/>
                  <a:pt x="58" y="26"/>
                </a:cubicBezTo>
                <a:cubicBezTo>
                  <a:pt x="58" y="26"/>
                  <a:pt x="58" y="26"/>
                  <a:pt x="58" y="26"/>
                </a:cubicBezTo>
                <a:cubicBezTo>
                  <a:pt x="58" y="26"/>
                  <a:pt x="58" y="27"/>
                  <a:pt x="57" y="27"/>
                </a:cubicBezTo>
                <a:cubicBezTo>
                  <a:pt x="57" y="27"/>
                  <a:pt x="57" y="26"/>
                  <a:pt x="57" y="26"/>
                </a:cubicBezTo>
                <a:cubicBezTo>
                  <a:pt x="57" y="26"/>
                  <a:pt x="57" y="26"/>
                  <a:pt x="57" y="27"/>
                </a:cubicBezTo>
                <a:cubicBezTo>
                  <a:pt x="57" y="27"/>
                  <a:pt x="56" y="28"/>
                  <a:pt x="56" y="28"/>
                </a:cubicBezTo>
                <a:cubicBezTo>
                  <a:pt x="55" y="28"/>
                  <a:pt x="55" y="28"/>
                  <a:pt x="55" y="28"/>
                </a:cubicBezTo>
                <a:cubicBezTo>
                  <a:pt x="55" y="28"/>
                  <a:pt x="55" y="28"/>
                  <a:pt x="55" y="28"/>
                </a:cubicBezTo>
                <a:cubicBezTo>
                  <a:pt x="54" y="28"/>
                  <a:pt x="53" y="29"/>
                  <a:pt x="53" y="29"/>
                </a:cubicBezTo>
                <a:cubicBezTo>
                  <a:pt x="52" y="30"/>
                  <a:pt x="51" y="29"/>
                  <a:pt x="51" y="29"/>
                </a:cubicBezTo>
                <a:cubicBezTo>
                  <a:pt x="51" y="29"/>
                  <a:pt x="51" y="30"/>
                  <a:pt x="50" y="29"/>
                </a:cubicBezTo>
                <a:cubicBezTo>
                  <a:pt x="49" y="28"/>
                  <a:pt x="49" y="30"/>
                  <a:pt x="49" y="30"/>
                </a:cubicBezTo>
                <a:cubicBezTo>
                  <a:pt x="49" y="30"/>
                  <a:pt x="48" y="30"/>
                  <a:pt x="48" y="30"/>
                </a:cubicBezTo>
                <a:cubicBezTo>
                  <a:pt x="48" y="29"/>
                  <a:pt x="48" y="30"/>
                  <a:pt x="48" y="30"/>
                </a:cubicBezTo>
                <a:cubicBezTo>
                  <a:pt x="47" y="31"/>
                  <a:pt x="47" y="31"/>
                  <a:pt x="47" y="30"/>
                </a:cubicBezTo>
                <a:cubicBezTo>
                  <a:pt x="47" y="30"/>
                  <a:pt x="47" y="30"/>
                  <a:pt x="47" y="30"/>
                </a:cubicBezTo>
                <a:cubicBezTo>
                  <a:pt x="46" y="30"/>
                  <a:pt x="46" y="30"/>
                  <a:pt x="46" y="30"/>
                </a:cubicBezTo>
                <a:cubicBezTo>
                  <a:pt x="46" y="30"/>
                  <a:pt x="45" y="30"/>
                  <a:pt x="45" y="30"/>
                </a:cubicBezTo>
                <a:cubicBezTo>
                  <a:pt x="44" y="30"/>
                  <a:pt x="45" y="29"/>
                  <a:pt x="44" y="29"/>
                </a:cubicBezTo>
                <a:cubicBezTo>
                  <a:pt x="44" y="28"/>
                  <a:pt x="43" y="29"/>
                  <a:pt x="43" y="29"/>
                </a:cubicBezTo>
                <a:cubicBezTo>
                  <a:pt x="42" y="29"/>
                  <a:pt x="42" y="30"/>
                  <a:pt x="42" y="30"/>
                </a:cubicBezTo>
                <a:cubicBezTo>
                  <a:pt x="42" y="30"/>
                  <a:pt x="42" y="31"/>
                  <a:pt x="42" y="31"/>
                </a:cubicBezTo>
                <a:cubicBezTo>
                  <a:pt x="42" y="31"/>
                  <a:pt x="42" y="31"/>
                  <a:pt x="42" y="31"/>
                </a:cubicBezTo>
                <a:cubicBezTo>
                  <a:pt x="42" y="31"/>
                  <a:pt x="41" y="32"/>
                  <a:pt x="41" y="31"/>
                </a:cubicBezTo>
                <a:cubicBezTo>
                  <a:pt x="41" y="31"/>
                  <a:pt x="40" y="32"/>
                  <a:pt x="40" y="33"/>
                </a:cubicBezTo>
                <a:cubicBezTo>
                  <a:pt x="40" y="33"/>
                  <a:pt x="40" y="34"/>
                  <a:pt x="40" y="34"/>
                </a:cubicBezTo>
                <a:cubicBezTo>
                  <a:pt x="39" y="34"/>
                  <a:pt x="39" y="34"/>
                  <a:pt x="38" y="34"/>
                </a:cubicBezTo>
                <a:cubicBezTo>
                  <a:pt x="38" y="35"/>
                  <a:pt x="38" y="35"/>
                  <a:pt x="37" y="36"/>
                </a:cubicBezTo>
                <a:cubicBezTo>
                  <a:pt x="37" y="36"/>
                  <a:pt x="37" y="36"/>
                  <a:pt x="36" y="37"/>
                </a:cubicBezTo>
                <a:cubicBezTo>
                  <a:pt x="36" y="37"/>
                  <a:pt x="36" y="37"/>
                  <a:pt x="36" y="37"/>
                </a:cubicBezTo>
                <a:cubicBezTo>
                  <a:pt x="35" y="37"/>
                  <a:pt x="35" y="38"/>
                  <a:pt x="34" y="38"/>
                </a:cubicBezTo>
                <a:cubicBezTo>
                  <a:pt x="34" y="38"/>
                  <a:pt x="34" y="39"/>
                  <a:pt x="34" y="39"/>
                </a:cubicBezTo>
                <a:cubicBezTo>
                  <a:pt x="34" y="39"/>
                  <a:pt x="33" y="39"/>
                  <a:pt x="33" y="39"/>
                </a:cubicBezTo>
                <a:cubicBezTo>
                  <a:pt x="33" y="39"/>
                  <a:pt x="33" y="39"/>
                  <a:pt x="33" y="38"/>
                </a:cubicBezTo>
                <a:cubicBezTo>
                  <a:pt x="32" y="38"/>
                  <a:pt x="32" y="38"/>
                  <a:pt x="32" y="38"/>
                </a:cubicBezTo>
                <a:cubicBezTo>
                  <a:pt x="32" y="38"/>
                  <a:pt x="31" y="38"/>
                  <a:pt x="32" y="37"/>
                </a:cubicBezTo>
                <a:cubicBezTo>
                  <a:pt x="32" y="36"/>
                  <a:pt x="30" y="38"/>
                  <a:pt x="30" y="38"/>
                </a:cubicBezTo>
                <a:cubicBezTo>
                  <a:pt x="30" y="38"/>
                  <a:pt x="29" y="39"/>
                  <a:pt x="29" y="39"/>
                </a:cubicBezTo>
                <a:cubicBezTo>
                  <a:pt x="29" y="40"/>
                  <a:pt x="28" y="40"/>
                  <a:pt x="27" y="40"/>
                </a:cubicBezTo>
                <a:cubicBezTo>
                  <a:pt x="27" y="40"/>
                  <a:pt x="27" y="40"/>
                  <a:pt x="26" y="40"/>
                </a:cubicBezTo>
                <a:cubicBezTo>
                  <a:pt x="26" y="40"/>
                  <a:pt x="24" y="40"/>
                  <a:pt x="24" y="40"/>
                </a:cubicBezTo>
                <a:cubicBezTo>
                  <a:pt x="24" y="41"/>
                  <a:pt x="24" y="41"/>
                  <a:pt x="24" y="42"/>
                </a:cubicBezTo>
                <a:cubicBezTo>
                  <a:pt x="24" y="42"/>
                  <a:pt x="24" y="43"/>
                  <a:pt x="24" y="44"/>
                </a:cubicBezTo>
                <a:cubicBezTo>
                  <a:pt x="24" y="45"/>
                  <a:pt x="24" y="45"/>
                  <a:pt x="24" y="45"/>
                </a:cubicBezTo>
                <a:cubicBezTo>
                  <a:pt x="23" y="46"/>
                  <a:pt x="23" y="45"/>
                  <a:pt x="22" y="45"/>
                </a:cubicBezTo>
                <a:cubicBezTo>
                  <a:pt x="22" y="46"/>
                  <a:pt x="22" y="47"/>
                  <a:pt x="21" y="48"/>
                </a:cubicBezTo>
                <a:cubicBezTo>
                  <a:pt x="21" y="48"/>
                  <a:pt x="21" y="49"/>
                  <a:pt x="20" y="49"/>
                </a:cubicBezTo>
                <a:cubicBezTo>
                  <a:pt x="20" y="48"/>
                  <a:pt x="19" y="48"/>
                  <a:pt x="18" y="49"/>
                </a:cubicBezTo>
                <a:cubicBezTo>
                  <a:pt x="18" y="48"/>
                  <a:pt x="18" y="48"/>
                  <a:pt x="18" y="48"/>
                </a:cubicBezTo>
                <a:cubicBezTo>
                  <a:pt x="18" y="48"/>
                  <a:pt x="17" y="47"/>
                  <a:pt x="18" y="47"/>
                </a:cubicBezTo>
                <a:cubicBezTo>
                  <a:pt x="18" y="47"/>
                  <a:pt x="17" y="47"/>
                  <a:pt x="17" y="47"/>
                </a:cubicBezTo>
                <a:cubicBezTo>
                  <a:pt x="17" y="47"/>
                  <a:pt x="17" y="46"/>
                  <a:pt x="17" y="46"/>
                </a:cubicBezTo>
                <a:cubicBezTo>
                  <a:pt x="16" y="45"/>
                  <a:pt x="16" y="45"/>
                  <a:pt x="17" y="45"/>
                </a:cubicBezTo>
                <a:cubicBezTo>
                  <a:pt x="17" y="45"/>
                  <a:pt x="17" y="44"/>
                  <a:pt x="18" y="44"/>
                </a:cubicBezTo>
                <a:cubicBezTo>
                  <a:pt x="18" y="44"/>
                  <a:pt x="17" y="44"/>
                  <a:pt x="17" y="44"/>
                </a:cubicBezTo>
                <a:cubicBezTo>
                  <a:pt x="16" y="45"/>
                  <a:pt x="16" y="44"/>
                  <a:pt x="15" y="44"/>
                </a:cubicBezTo>
                <a:cubicBezTo>
                  <a:pt x="15" y="44"/>
                  <a:pt x="16" y="43"/>
                  <a:pt x="15" y="43"/>
                </a:cubicBezTo>
                <a:cubicBezTo>
                  <a:pt x="15" y="43"/>
                  <a:pt x="15" y="44"/>
                  <a:pt x="15" y="44"/>
                </a:cubicBezTo>
                <a:cubicBezTo>
                  <a:pt x="14" y="45"/>
                  <a:pt x="14" y="44"/>
                  <a:pt x="13" y="44"/>
                </a:cubicBezTo>
                <a:cubicBezTo>
                  <a:pt x="14" y="44"/>
                  <a:pt x="14" y="44"/>
                  <a:pt x="14" y="43"/>
                </a:cubicBezTo>
                <a:cubicBezTo>
                  <a:pt x="15" y="43"/>
                  <a:pt x="14" y="43"/>
                  <a:pt x="14" y="43"/>
                </a:cubicBezTo>
                <a:cubicBezTo>
                  <a:pt x="14" y="42"/>
                  <a:pt x="15" y="40"/>
                  <a:pt x="15" y="40"/>
                </a:cubicBezTo>
                <a:cubicBezTo>
                  <a:pt x="15" y="39"/>
                  <a:pt x="14" y="39"/>
                  <a:pt x="14" y="39"/>
                </a:cubicBezTo>
                <a:cubicBezTo>
                  <a:pt x="14" y="38"/>
                  <a:pt x="14" y="38"/>
                  <a:pt x="14" y="38"/>
                </a:cubicBezTo>
                <a:cubicBezTo>
                  <a:pt x="13" y="39"/>
                  <a:pt x="11" y="39"/>
                  <a:pt x="12" y="38"/>
                </a:cubicBezTo>
                <a:cubicBezTo>
                  <a:pt x="12" y="37"/>
                  <a:pt x="10" y="37"/>
                  <a:pt x="10" y="38"/>
                </a:cubicBezTo>
                <a:cubicBezTo>
                  <a:pt x="10" y="38"/>
                  <a:pt x="10" y="38"/>
                  <a:pt x="10" y="38"/>
                </a:cubicBezTo>
                <a:cubicBezTo>
                  <a:pt x="10" y="38"/>
                  <a:pt x="9" y="39"/>
                  <a:pt x="9" y="39"/>
                </a:cubicBezTo>
                <a:cubicBezTo>
                  <a:pt x="9" y="39"/>
                  <a:pt x="8" y="39"/>
                  <a:pt x="8" y="39"/>
                </a:cubicBezTo>
                <a:cubicBezTo>
                  <a:pt x="7" y="39"/>
                  <a:pt x="7" y="38"/>
                  <a:pt x="7" y="38"/>
                </a:cubicBezTo>
                <a:cubicBezTo>
                  <a:pt x="7" y="37"/>
                  <a:pt x="6" y="37"/>
                  <a:pt x="6" y="37"/>
                </a:cubicBezTo>
                <a:cubicBezTo>
                  <a:pt x="6" y="37"/>
                  <a:pt x="5" y="36"/>
                  <a:pt x="5" y="36"/>
                </a:cubicBezTo>
                <a:cubicBezTo>
                  <a:pt x="5" y="37"/>
                  <a:pt x="4" y="35"/>
                  <a:pt x="4" y="35"/>
                </a:cubicBezTo>
                <a:cubicBezTo>
                  <a:pt x="3" y="35"/>
                  <a:pt x="3" y="34"/>
                  <a:pt x="3" y="34"/>
                </a:cubicBezTo>
                <a:cubicBezTo>
                  <a:pt x="3" y="33"/>
                  <a:pt x="2" y="34"/>
                  <a:pt x="2" y="33"/>
                </a:cubicBezTo>
                <a:cubicBezTo>
                  <a:pt x="2" y="33"/>
                  <a:pt x="2" y="33"/>
                  <a:pt x="2" y="33"/>
                </a:cubicBezTo>
                <a:cubicBezTo>
                  <a:pt x="1" y="33"/>
                  <a:pt x="0" y="33"/>
                  <a:pt x="0" y="33"/>
                </a:cubicBezTo>
                <a:cubicBezTo>
                  <a:pt x="0" y="32"/>
                  <a:pt x="1" y="31"/>
                  <a:pt x="1" y="31"/>
                </a:cubicBezTo>
                <a:cubicBezTo>
                  <a:pt x="2" y="31"/>
                  <a:pt x="2" y="31"/>
                  <a:pt x="2" y="30"/>
                </a:cubicBezTo>
                <a:cubicBezTo>
                  <a:pt x="2" y="30"/>
                  <a:pt x="2" y="30"/>
                  <a:pt x="2" y="30"/>
                </a:cubicBezTo>
                <a:cubicBezTo>
                  <a:pt x="3" y="29"/>
                  <a:pt x="2" y="30"/>
                  <a:pt x="2" y="29"/>
                </a:cubicBezTo>
                <a:cubicBezTo>
                  <a:pt x="2" y="29"/>
                  <a:pt x="2" y="29"/>
                  <a:pt x="2" y="28"/>
                </a:cubicBezTo>
                <a:cubicBezTo>
                  <a:pt x="2" y="28"/>
                  <a:pt x="2" y="28"/>
                  <a:pt x="2" y="27"/>
                </a:cubicBezTo>
                <a:cubicBezTo>
                  <a:pt x="3" y="27"/>
                  <a:pt x="2" y="26"/>
                  <a:pt x="3" y="25"/>
                </a:cubicBezTo>
                <a:cubicBezTo>
                  <a:pt x="4" y="25"/>
                  <a:pt x="5" y="24"/>
                  <a:pt x="6" y="24"/>
                </a:cubicBezTo>
                <a:cubicBezTo>
                  <a:pt x="8" y="22"/>
                  <a:pt x="10" y="20"/>
                  <a:pt x="12" y="19"/>
                </a:cubicBezTo>
                <a:cubicBezTo>
                  <a:pt x="12" y="19"/>
                  <a:pt x="12" y="19"/>
                  <a:pt x="12" y="19"/>
                </a:cubicBezTo>
                <a:cubicBezTo>
                  <a:pt x="13" y="18"/>
                  <a:pt x="13" y="19"/>
                  <a:pt x="13" y="19"/>
                </a:cubicBezTo>
                <a:cubicBezTo>
                  <a:pt x="14" y="19"/>
                  <a:pt x="14" y="18"/>
                  <a:pt x="14" y="18"/>
                </a:cubicBezTo>
                <a:cubicBezTo>
                  <a:pt x="14" y="18"/>
                  <a:pt x="15" y="18"/>
                  <a:pt x="15" y="18"/>
                </a:cubicBezTo>
                <a:cubicBezTo>
                  <a:pt x="16" y="17"/>
                  <a:pt x="15" y="17"/>
                  <a:pt x="16" y="17"/>
                </a:cubicBezTo>
                <a:cubicBezTo>
                  <a:pt x="17" y="16"/>
                  <a:pt x="18" y="16"/>
                  <a:pt x="18" y="17"/>
                </a:cubicBezTo>
                <a:cubicBezTo>
                  <a:pt x="18" y="16"/>
                  <a:pt x="19" y="16"/>
                  <a:pt x="19" y="16"/>
                </a:cubicBezTo>
                <a:cubicBezTo>
                  <a:pt x="18" y="17"/>
                  <a:pt x="19" y="17"/>
                  <a:pt x="19" y="18"/>
                </a:cubicBezTo>
                <a:cubicBezTo>
                  <a:pt x="20" y="18"/>
                  <a:pt x="20" y="17"/>
                  <a:pt x="21" y="17"/>
                </a:cubicBezTo>
                <a:cubicBezTo>
                  <a:pt x="21" y="17"/>
                  <a:pt x="22" y="17"/>
                  <a:pt x="23" y="18"/>
                </a:cubicBezTo>
                <a:cubicBezTo>
                  <a:pt x="24" y="18"/>
                  <a:pt x="25" y="18"/>
                  <a:pt x="25" y="18"/>
                </a:cubicBezTo>
                <a:cubicBezTo>
                  <a:pt x="26" y="18"/>
                  <a:pt x="26" y="18"/>
                  <a:pt x="27" y="18"/>
                </a:cubicBezTo>
                <a:cubicBezTo>
                  <a:pt x="27" y="18"/>
                  <a:pt x="28" y="18"/>
                  <a:pt x="28" y="18"/>
                </a:cubicBezTo>
                <a:cubicBezTo>
                  <a:pt x="29" y="18"/>
                  <a:pt x="29" y="18"/>
                  <a:pt x="30" y="18"/>
                </a:cubicBezTo>
                <a:cubicBezTo>
                  <a:pt x="30" y="18"/>
                  <a:pt x="31" y="18"/>
                  <a:pt x="32" y="17"/>
                </a:cubicBezTo>
                <a:cubicBezTo>
                  <a:pt x="32" y="17"/>
                  <a:pt x="33" y="17"/>
                  <a:pt x="34" y="17"/>
                </a:cubicBezTo>
                <a:cubicBezTo>
                  <a:pt x="34" y="16"/>
                  <a:pt x="35" y="16"/>
                  <a:pt x="35" y="16"/>
                </a:cubicBezTo>
                <a:cubicBezTo>
                  <a:pt x="35" y="15"/>
                  <a:pt x="34" y="16"/>
                  <a:pt x="34" y="15"/>
                </a:cubicBezTo>
                <a:cubicBezTo>
                  <a:pt x="34" y="15"/>
                  <a:pt x="36" y="15"/>
                  <a:pt x="36" y="15"/>
                </a:cubicBezTo>
                <a:cubicBezTo>
                  <a:pt x="36" y="15"/>
                  <a:pt x="37" y="16"/>
                  <a:pt x="37" y="16"/>
                </a:cubicBezTo>
                <a:cubicBezTo>
                  <a:pt x="37" y="16"/>
                  <a:pt x="39" y="16"/>
                  <a:pt x="39" y="16"/>
                </a:cubicBezTo>
                <a:cubicBezTo>
                  <a:pt x="40" y="17"/>
                  <a:pt x="41" y="17"/>
                  <a:pt x="42" y="16"/>
                </a:cubicBezTo>
                <a:cubicBezTo>
                  <a:pt x="43" y="16"/>
                  <a:pt x="43" y="15"/>
                  <a:pt x="44" y="15"/>
                </a:cubicBezTo>
                <a:cubicBezTo>
                  <a:pt x="45" y="15"/>
                  <a:pt x="45" y="16"/>
                  <a:pt x="46" y="16"/>
                </a:cubicBezTo>
                <a:cubicBezTo>
                  <a:pt x="46" y="16"/>
                  <a:pt x="47" y="17"/>
                  <a:pt x="47" y="17"/>
                </a:cubicBezTo>
                <a:cubicBezTo>
                  <a:pt x="47" y="17"/>
                  <a:pt x="47" y="18"/>
                  <a:pt x="48" y="18"/>
                </a:cubicBezTo>
                <a:cubicBezTo>
                  <a:pt x="48" y="17"/>
                  <a:pt x="48" y="18"/>
                  <a:pt x="48" y="18"/>
                </a:cubicBezTo>
                <a:cubicBezTo>
                  <a:pt x="48" y="18"/>
                  <a:pt x="49" y="17"/>
                  <a:pt x="49" y="17"/>
                </a:cubicBezTo>
                <a:cubicBezTo>
                  <a:pt x="49" y="17"/>
                  <a:pt x="48" y="17"/>
                  <a:pt x="48" y="17"/>
                </a:cubicBezTo>
                <a:cubicBezTo>
                  <a:pt x="49" y="17"/>
                  <a:pt x="51" y="17"/>
                  <a:pt x="52" y="18"/>
                </a:cubicBezTo>
                <a:cubicBezTo>
                  <a:pt x="52" y="19"/>
                  <a:pt x="53" y="20"/>
                  <a:pt x="53" y="21"/>
                </a:cubicBezTo>
                <a:cubicBezTo>
                  <a:pt x="54" y="21"/>
                  <a:pt x="55" y="22"/>
                  <a:pt x="55" y="22"/>
                </a:cubicBezTo>
                <a:cubicBezTo>
                  <a:pt x="55" y="22"/>
                  <a:pt x="54" y="22"/>
                  <a:pt x="54" y="21"/>
                </a:cubicBezTo>
                <a:cubicBezTo>
                  <a:pt x="53" y="20"/>
                  <a:pt x="52" y="21"/>
                  <a:pt x="52" y="21"/>
                </a:cubicBezTo>
                <a:cubicBezTo>
                  <a:pt x="52" y="21"/>
                  <a:pt x="52" y="20"/>
                  <a:pt x="52" y="20"/>
                </a:cubicBezTo>
                <a:cubicBezTo>
                  <a:pt x="52" y="21"/>
                  <a:pt x="52" y="21"/>
                  <a:pt x="52" y="21"/>
                </a:cubicBezTo>
                <a:cubicBezTo>
                  <a:pt x="52" y="21"/>
                  <a:pt x="52" y="21"/>
                  <a:pt x="51" y="21"/>
                </a:cubicBezTo>
                <a:cubicBezTo>
                  <a:pt x="52" y="21"/>
                  <a:pt x="52" y="21"/>
                  <a:pt x="52" y="22"/>
                </a:cubicBezTo>
                <a:cubicBezTo>
                  <a:pt x="51" y="22"/>
                  <a:pt x="52" y="23"/>
                  <a:pt x="52" y="22"/>
                </a:cubicBezTo>
                <a:cubicBezTo>
                  <a:pt x="53" y="23"/>
                  <a:pt x="52" y="23"/>
                  <a:pt x="53" y="23"/>
                </a:cubicBezTo>
                <a:cubicBezTo>
                  <a:pt x="52" y="23"/>
                  <a:pt x="53" y="24"/>
                  <a:pt x="54" y="24"/>
                </a:cubicBezTo>
                <a:cubicBezTo>
                  <a:pt x="55" y="23"/>
                  <a:pt x="53" y="23"/>
                  <a:pt x="53" y="23"/>
                </a:cubicBezTo>
                <a:cubicBezTo>
                  <a:pt x="52" y="22"/>
                  <a:pt x="53" y="22"/>
                  <a:pt x="53" y="22"/>
                </a:cubicBezTo>
                <a:cubicBezTo>
                  <a:pt x="53" y="22"/>
                  <a:pt x="54" y="23"/>
                  <a:pt x="54" y="23"/>
                </a:cubicBezTo>
                <a:cubicBezTo>
                  <a:pt x="55" y="23"/>
                  <a:pt x="54" y="23"/>
                  <a:pt x="54" y="23"/>
                </a:cubicBezTo>
                <a:cubicBezTo>
                  <a:pt x="54" y="23"/>
                  <a:pt x="55" y="23"/>
                  <a:pt x="54" y="23"/>
                </a:cubicBezTo>
                <a:cubicBezTo>
                  <a:pt x="55" y="24"/>
                  <a:pt x="55" y="24"/>
                  <a:pt x="55" y="24"/>
                </a:cubicBezTo>
                <a:cubicBezTo>
                  <a:pt x="55" y="24"/>
                  <a:pt x="55" y="24"/>
                  <a:pt x="55" y="24"/>
                </a:cubicBezTo>
                <a:cubicBezTo>
                  <a:pt x="56" y="24"/>
                  <a:pt x="56" y="23"/>
                  <a:pt x="56" y="23"/>
                </a:cubicBezTo>
                <a:cubicBezTo>
                  <a:pt x="56" y="23"/>
                  <a:pt x="57" y="24"/>
                  <a:pt x="57" y="24"/>
                </a:cubicBezTo>
                <a:cubicBezTo>
                  <a:pt x="57" y="24"/>
                  <a:pt x="55" y="24"/>
                  <a:pt x="56" y="24"/>
                </a:cubicBezTo>
                <a:cubicBezTo>
                  <a:pt x="56" y="24"/>
                  <a:pt x="56" y="24"/>
                  <a:pt x="56" y="24"/>
                </a:cubicBezTo>
                <a:cubicBezTo>
                  <a:pt x="56" y="25"/>
                  <a:pt x="57" y="25"/>
                  <a:pt x="57" y="24"/>
                </a:cubicBezTo>
                <a:cubicBezTo>
                  <a:pt x="57" y="24"/>
                  <a:pt x="57" y="24"/>
                  <a:pt x="57" y="23"/>
                </a:cubicBezTo>
                <a:cubicBezTo>
                  <a:pt x="57" y="23"/>
                  <a:pt x="56" y="23"/>
                  <a:pt x="56" y="23"/>
                </a:cubicBezTo>
                <a:cubicBezTo>
                  <a:pt x="56" y="23"/>
                  <a:pt x="55" y="22"/>
                  <a:pt x="55" y="22"/>
                </a:cubicBezTo>
                <a:cubicBezTo>
                  <a:pt x="56" y="22"/>
                  <a:pt x="57" y="23"/>
                  <a:pt x="58" y="23"/>
                </a:cubicBezTo>
                <a:cubicBezTo>
                  <a:pt x="59" y="24"/>
                  <a:pt x="59" y="24"/>
                  <a:pt x="59" y="25"/>
                </a:cubicBezTo>
                <a:cubicBezTo>
                  <a:pt x="59" y="26"/>
                  <a:pt x="60" y="26"/>
                  <a:pt x="60" y="26"/>
                </a:cubicBezTo>
                <a:cubicBezTo>
                  <a:pt x="60" y="26"/>
                  <a:pt x="59" y="27"/>
                  <a:pt x="59" y="27"/>
                </a:cubicBezTo>
                <a:close/>
                <a:moveTo>
                  <a:pt x="51" y="21"/>
                </a:moveTo>
                <a:cubicBezTo>
                  <a:pt x="51" y="20"/>
                  <a:pt x="51" y="20"/>
                  <a:pt x="51" y="20"/>
                </a:cubicBezTo>
                <a:cubicBezTo>
                  <a:pt x="51" y="20"/>
                  <a:pt x="51" y="21"/>
                  <a:pt x="51" y="21"/>
                </a:cubicBezTo>
                <a:cubicBezTo>
                  <a:pt x="51" y="21"/>
                  <a:pt x="51" y="21"/>
                  <a:pt x="51" y="21"/>
                </a:cubicBezTo>
                <a:close/>
                <a:moveTo>
                  <a:pt x="26" y="14"/>
                </a:moveTo>
                <a:cubicBezTo>
                  <a:pt x="26" y="14"/>
                  <a:pt x="24" y="14"/>
                  <a:pt x="25" y="15"/>
                </a:cubicBezTo>
                <a:cubicBezTo>
                  <a:pt x="25" y="15"/>
                  <a:pt x="26" y="14"/>
                  <a:pt x="26" y="14"/>
                </a:cubicBezTo>
                <a:close/>
                <a:moveTo>
                  <a:pt x="16" y="45"/>
                </a:moveTo>
                <a:cubicBezTo>
                  <a:pt x="16" y="45"/>
                  <a:pt x="15" y="44"/>
                  <a:pt x="16" y="44"/>
                </a:cubicBezTo>
                <a:cubicBezTo>
                  <a:pt x="15" y="44"/>
                  <a:pt x="15" y="45"/>
                  <a:pt x="16" y="45"/>
                </a:cubicBezTo>
                <a:close/>
                <a:moveTo>
                  <a:pt x="15" y="46"/>
                </a:moveTo>
                <a:cubicBezTo>
                  <a:pt x="15" y="46"/>
                  <a:pt x="15" y="45"/>
                  <a:pt x="15" y="45"/>
                </a:cubicBezTo>
                <a:cubicBezTo>
                  <a:pt x="15" y="45"/>
                  <a:pt x="15" y="45"/>
                  <a:pt x="15" y="46"/>
                </a:cubicBezTo>
                <a:close/>
                <a:moveTo>
                  <a:pt x="56" y="0"/>
                </a:moveTo>
                <a:cubicBezTo>
                  <a:pt x="56" y="0"/>
                  <a:pt x="56" y="0"/>
                  <a:pt x="56" y="0"/>
                </a:cubicBezTo>
                <a:cubicBezTo>
                  <a:pt x="56" y="0"/>
                  <a:pt x="56" y="0"/>
                  <a:pt x="56" y="0"/>
                </a:cubicBezTo>
                <a:cubicBezTo>
                  <a:pt x="56" y="0"/>
                  <a:pt x="56" y="0"/>
                  <a:pt x="56"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0" name="Haiti"/>
          <p:cNvSpPr>
            <a:spLocks noEditPoints="1"/>
          </p:cNvSpPr>
          <p:nvPr/>
        </p:nvSpPr>
        <p:spPr bwMode="auto">
          <a:xfrm>
            <a:off x="3227180" y="3863967"/>
            <a:ext cx="100996" cy="83997"/>
          </a:xfrm>
          <a:custGeom>
            <a:avLst/>
            <a:gdLst/>
            <a:ahLst/>
            <a:cxnLst>
              <a:cxn ang="0">
                <a:pos x="12" y="14"/>
              </a:cxn>
              <a:cxn ang="0">
                <a:pos x="14" y="13"/>
              </a:cxn>
              <a:cxn ang="0">
                <a:pos x="16" y="16"/>
              </a:cxn>
              <a:cxn ang="0">
                <a:pos x="13" y="15"/>
              </a:cxn>
              <a:cxn ang="0">
                <a:pos x="28" y="11"/>
              </a:cxn>
              <a:cxn ang="0">
                <a:pos x="28" y="5"/>
              </a:cxn>
              <a:cxn ang="0">
                <a:pos x="26" y="5"/>
              </a:cxn>
              <a:cxn ang="0">
                <a:pos x="25" y="5"/>
              </a:cxn>
              <a:cxn ang="0">
                <a:pos x="23" y="4"/>
              </a:cxn>
              <a:cxn ang="0">
                <a:pos x="22" y="4"/>
              </a:cxn>
              <a:cxn ang="0">
                <a:pos x="22" y="4"/>
              </a:cxn>
              <a:cxn ang="0">
                <a:pos x="19" y="2"/>
              </a:cxn>
              <a:cxn ang="0">
                <a:pos x="14" y="2"/>
              </a:cxn>
              <a:cxn ang="0">
                <a:pos x="12" y="3"/>
              </a:cxn>
              <a:cxn ang="0">
                <a:pos x="13" y="5"/>
              </a:cxn>
              <a:cxn ang="0">
                <a:pos x="16" y="6"/>
              </a:cxn>
              <a:cxn ang="0">
                <a:pos x="18" y="7"/>
              </a:cxn>
              <a:cxn ang="0">
                <a:pos x="17" y="8"/>
              </a:cxn>
              <a:cxn ang="0">
                <a:pos x="17" y="11"/>
              </a:cxn>
              <a:cxn ang="0">
                <a:pos x="18" y="13"/>
              </a:cxn>
              <a:cxn ang="0">
                <a:pos x="21" y="16"/>
              </a:cxn>
              <a:cxn ang="0">
                <a:pos x="20" y="17"/>
              </a:cxn>
              <a:cxn ang="0">
                <a:pos x="17" y="19"/>
              </a:cxn>
              <a:cxn ang="0">
                <a:pos x="13" y="19"/>
              </a:cxn>
              <a:cxn ang="0">
                <a:pos x="10" y="18"/>
              </a:cxn>
              <a:cxn ang="0">
                <a:pos x="8" y="17"/>
              </a:cxn>
              <a:cxn ang="0">
                <a:pos x="7" y="17"/>
              </a:cxn>
              <a:cxn ang="0">
                <a:pos x="3" y="16"/>
              </a:cxn>
              <a:cxn ang="0">
                <a:pos x="0" y="18"/>
              </a:cxn>
              <a:cxn ang="0">
                <a:pos x="1" y="20"/>
              </a:cxn>
              <a:cxn ang="0">
                <a:pos x="4" y="22"/>
              </a:cxn>
              <a:cxn ang="0">
                <a:pos x="6" y="23"/>
              </a:cxn>
              <a:cxn ang="0">
                <a:pos x="8" y="21"/>
              </a:cxn>
              <a:cxn ang="0">
                <a:pos x="8" y="21"/>
              </a:cxn>
              <a:cxn ang="0">
                <a:pos x="9" y="21"/>
              </a:cxn>
              <a:cxn ang="0">
                <a:pos x="10" y="21"/>
              </a:cxn>
              <a:cxn ang="0">
                <a:pos x="13" y="21"/>
              </a:cxn>
              <a:cxn ang="0">
                <a:pos x="17" y="21"/>
              </a:cxn>
              <a:cxn ang="0">
                <a:pos x="19" y="21"/>
              </a:cxn>
              <a:cxn ang="0">
                <a:pos x="24" y="22"/>
              </a:cxn>
              <a:cxn ang="0">
                <a:pos x="26" y="21"/>
              </a:cxn>
              <a:cxn ang="0">
                <a:pos x="24" y="19"/>
              </a:cxn>
              <a:cxn ang="0">
                <a:pos x="24" y="17"/>
              </a:cxn>
              <a:cxn ang="0">
                <a:pos x="27" y="15"/>
              </a:cxn>
              <a:cxn ang="0">
                <a:pos x="27" y="12"/>
              </a:cxn>
              <a:cxn ang="0">
                <a:pos x="18" y="1"/>
              </a:cxn>
              <a:cxn ang="0">
                <a:pos x="19" y="1"/>
              </a:cxn>
              <a:cxn ang="0">
                <a:pos x="7" y="17"/>
              </a:cxn>
              <a:cxn ang="0">
                <a:pos x="7" y="17"/>
              </a:cxn>
              <a:cxn ang="0">
                <a:pos x="8" y="23"/>
              </a:cxn>
            </a:cxnLst>
            <a:rect l="0" t="0" r="r" b="b"/>
            <a:pathLst>
              <a:path w="28" h="23">
                <a:moveTo>
                  <a:pt x="13" y="15"/>
                </a:moveTo>
                <a:cubicBezTo>
                  <a:pt x="13" y="14"/>
                  <a:pt x="12" y="14"/>
                  <a:pt x="12" y="14"/>
                </a:cubicBezTo>
                <a:cubicBezTo>
                  <a:pt x="12" y="14"/>
                  <a:pt x="12" y="13"/>
                  <a:pt x="12" y="13"/>
                </a:cubicBezTo>
                <a:cubicBezTo>
                  <a:pt x="13" y="13"/>
                  <a:pt x="13" y="13"/>
                  <a:pt x="14" y="13"/>
                </a:cubicBezTo>
                <a:cubicBezTo>
                  <a:pt x="14" y="13"/>
                  <a:pt x="15" y="14"/>
                  <a:pt x="15" y="14"/>
                </a:cubicBezTo>
                <a:cubicBezTo>
                  <a:pt x="15" y="14"/>
                  <a:pt x="17" y="15"/>
                  <a:pt x="16" y="16"/>
                </a:cubicBezTo>
                <a:cubicBezTo>
                  <a:pt x="16" y="15"/>
                  <a:pt x="15" y="15"/>
                  <a:pt x="15" y="15"/>
                </a:cubicBezTo>
                <a:cubicBezTo>
                  <a:pt x="14" y="15"/>
                  <a:pt x="14" y="15"/>
                  <a:pt x="13" y="15"/>
                </a:cubicBezTo>
                <a:close/>
                <a:moveTo>
                  <a:pt x="27" y="12"/>
                </a:moveTo>
                <a:cubicBezTo>
                  <a:pt x="27" y="12"/>
                  <a:pt x="28" y="11"/>
                  <a:pt x="28" y="11"/>
                </a:cubicBezTo>
                <a:cubicBezTo>
                  <a:pt x="28" y="10"/>
                  <a:pt x="26" y="9"/>
                  <a:pt x="27" y="9"/>
                </a:cubicBezTo>
                <a:cubicBezTo>
                  <a:pt x="28" y="8"/>
                  <a:pt x="28" y="6"/>
                  <a:pt x="28" y="5"/>
                </a:cubicBezTo>
                <a:cubicBezTo>
                  <a:pt x="28" y="4"/>
                  <a:pt x="26" y="5"/>
                  <a:pt x="27" y="5"/>
                </a:cubicBezTo>
                <a:cubicBezTo>
                  <a:pt x="27" y="5"/>
                  <a:pt x="26" y="5"/>
                  <a:pt x="26" y="5"/>
                </a:cubicBezTo>
                <a:cubicBezTo>
                  <a:pt x="26" y="5"/>
                  <a:pt x="27" y="5"/>
                  <a:pt x="26" y="5"/>
                </a:cubicBezTo>
                <a:cubicBezTo>
                  <a:pt x="26" y="4"/>
                  <a:pt x="25" y="5"/>
                  <a:pt x="25" y="5"/>
                </a:cubicBezTo>
                <a:cubicBezTo>
                  <a:pt x="24" y="5"/>
                  <a:pt x="24" y="4"/>
                  <a:pt x="24" y="4"/>
                </a:cubicBezTo>
                <a:cubicBezTo>
                  <a:pt x="24" y="4"/>
                  <a:pt x="23" y="4"/>
                  <a:pt x="23" y="4"/>
                </a:cubicBezTo>
                <a:cubicBezTo>
                  <a:pt x="23" y="4"/>
                  <a:pt x="23" y="4"/>
                  <a:pt x="23" y="4"/>
                </a:cubicBezTo>
                <a:cubicBezTo>
                  <a:pt x="23" y="4"/>
                  <a:pt x="22" y="4"/>
                  <a:pt x="22" y="4"/>
                </a:cubicBezTo>
                <a:cubicBezTo>
                  <a:pt x="22" y="4"/>
                  <a:pt x="22" y="4"/>
                  <a:pt x="22" y="5"/>
                </a:cubicBezTo>
                <a:cubicBezTo>
                  <a:pt x="22" y="5"/>
                  <a:pt x="22" y="4"/>
                  <a:pt x="22" y="4"/>
                </a:cubicBezTo>
                <a:cubicBezTo>
                  <a:pt x="22" y="4"/>
                  <a:pt x="21" y="4"/>
                  <a:pt x="21" y="3"/>
                </a:cubicBezTo>
                <a:cubicBezTo>
                  <a:pt x="20" y="3"/>
                  <a:pt x="19" y="2"/>
                  <a:pt x="19" y="2"/>
                </a:cubicBezTo>
                <a:cubicBezTo>
                  <a:pt x="18" y="2"/>
                  <a:pt x="17" y="2"/>
                  <a:pt x="16" y="2"/>
                </a:cubicBezTo>
                <a:cubicBezTo>
                  <a:pt x="16" y="3"/>
                  <a:pt x="15" y="2"/>
                  <a:pt x="14" y="2"/>
                </a:cubicBezTo>
                <a:cubicBezTo>
                  <a:pt x="14" y="3"/>
                  <a:pt x="13" y="3"/>
                  <a:pt x="12" y="3"/>
                </a:cubicBezTo>
                <a:cubicBezTo>
                  <a:pt x="12" y="4"/>
                  <a:pt x="12" y="4"/>
                  <a:pt x="12" y="3"/>
                </a:cubicBezTo>
                <a:cubicBezTo>
                  <a:pt x="12" y="4"/>
                  <a:pt x="10" y="5"/>
                  <a:pt x="12" y="6"/>
                </a:cubicBezTo>
                <a:cubicBezTo>
                  <a:pt x="12" y="6"/>
                  <a:pt x="13" y="6"/>
                  <a:pt x="13" y="5"/>
                </a:cubicBezTo>
                <a:cubicBezTo>
                  <a:pt x="14" y="5"/>
                  <a:pt x="14" y="6"/>
                  <a:pt x="15" y="6"/>
                </a:cubicBezTo>
                <a:cubicBezTo>
                  <a:pt x="15" y="6"/>
                  <a:pt x="16" y="6"/>
                  <a:pt x="16" y="6"/>
                </a:cubicBezTo>
                <a:cubicBezTo>
                  <a:pt x="16" y="6"/>
                  <a:pt x="17" y="7"/>
                  <a:pt x="17" y="7"/>
                </a:cubicBezTo>
                <a:cubicBezTo>
                  <a:pt x="17" y="7"/>
                  <a:pt x="18" y="8"/>
                  <a:pt x="18" y="7"/>
                </a:cubicBezTo>
                <a:cubicBezTo>
                  <a:pt x="18" y="7"/>
                  <a:pt x="18" y="8"/>
                  <a:pt x="18" y="8"/>
                </a:cubicBezTo>
                <a:cubicBezTo>
                  <a:pt x="18" y="8"/>
                  <a:pt x="18" y="8"/>
                  <a:pt x="17" y="8"/>
                </a:cubicBezTo>
                <a:cubicBezTo>
                  <a:pt x="17" y="9"/>
                  <a:pt x="18" y="9"/>
                  <a:pt x="18" y="9"/>
                </a:cubicBezTo>
                <a:cubicBezTo>
                  <a:pt x="17" y="9"/>
                  <a:pt x="17" y="10"/>
                  <a:pt x="17" y="11"/>
                </a:cubicBezTo>
                <a:cubicBezTo>
                  <a:pt x="18" y="11"/>
                  <a:pt x="18" y="11"/>
                  <a:pt x="17" y="11"/>
                </a:cubicBezTo>
                <a:cubicBezTo>
                  <a:pt x="16" y="12"/>
                  <a:pt x="17" y="13"/>
                  <a:pt x="18" y="13"/>
                </a:cubicBezTo>
                <a:cubicBezTo>
                  <a:pt x="18" y="14"/>
                  <a:pt x="19" y="15"/>
                  <a:pt x="20" y="15"/>
                </a:cubicBezTo>
                <a:cubicBezTo>
                  <a:pt x="20" y="16"/>
                  <a:pt x="21" y="16"/>
                  <a:pt x="21" y="16"/>
                </a:cubicBezTo>
                <a:cubicBezTo>
                  <a:pt x="21" y="16"/>
                  <a:pt x="20" y="17"/>
                  <a:pt x="20" y="17"/>
                </a:cubicBezTo>
                <a:cubicBezTo>
                  <a:pt x="20" y="18"/>
                  <a:pt x="20" y="17"/>
                  <a:pt x="20" y="17"/>
                </a:cubicBezTo>
                <a:cubicBezTo>
                  <a:pt x="19" y="17"/>
                  <a:pt x="18" y="17"/>
                  <a:pt x="18" y="17"/>
                </a:cubicBezTo>
                <a:cubicBezTo>
                  <a:pt x="17" y="17"/>
                  <a:pt x="17" y="18"/>
                  <a:pt x="17" y="19"/>
                </a:cubicBezTo>
                <a:cubicBezTo>
                  <a:pt x="16" y="19"/>
                  <a:pt x="16" y="19"/>
                  <a:pt x="15" y="19"/>
                </a:cubicBezTo>
                <a:cubicBezTo>
                  <a:pt x="14" y="18"/>
                  <a:pt x="14" y="18"/>
                  <a:pt x="13" y="19"/>
                </a:cubicBezTo>
                <a:cubicBezTo>
                  <a:pt x="13" y="19"/>
                  <a:pt x="13" y="18"/>
                  <a:pt x="12" y="18"/>
                </a:cubicBezTo>
                <a:cubicBezTo>
                  <a:pt x="11" y="18"/>
                  <a:pt x="11" y="18"/>
                  <a:pt x="10" y="18"/>
                </a:cubicBezTo>
                <a:cubicBezTo>
                  <a:pt x="9" y="18"/>
                  <a:pt x="9" y="18"/>
                  <a:pt x="8" y="18"/>
                </a:cubicBezTo>
                <a:cubicBezTo>
                  <a:pt x="8" y="18"/>
                  <a:pt x="7" y="17"/>
                  <a:pt x="8" y="17"/>
                </a:cubicBezTo>
                <a:cubicBezTo>
                  <a:pt x="8" y="17"/>
                  <a:pt x="8" y="18"/>
                  <a:pt x="9" y="17"/>
                </a:cubicBezTo>
                <a:cubicBezTo>
                  <a:pt x="9" y="17"/>
                  <a:pt x="7" y="17"/>
                  <a:pt x="7" y="17"/>
                </a:cubicBezTo>
                <a:cubicBezTo>
                  <a:pt x="6" y="17"/>
                  <a:pt x="5" y="17"/>
                  <a:pt x="4" y="17"/>
                </a:cubicBezTo>
                <a:cubicBezTo>
                  <a:pt x="4" y="16"/>
                  <a:pt x="3" y="16"/>
                  <a:pt x="3" y="16"/>
                </a:cubicBezTo>
                <a:cubicBezTo>
                  <a:pt x="2" y="16"/>
                  <a:pt x="1" y="15"/>
                  <a:pt x="1" y="17"/>
                </a:cubicBezTo>
                <a:cubicBezTo>
                  <a:pt x="0" y="17"/>
                  <a:pt x="0" y="17"/>
                  <a:pt x="0" y="18"/>
                </a:cubicBezTo>
                <a:cubicBezTo>
                  <a:pt x="0" y="19"/>
                  <a:pt x="0" y="19"/>
                  <a:pt x="0" y="19"/>
                </a:cubicBezTo>
                <a:cubicBezTo>
                  <a:pt x="0" y="20"/>
                  <a:pt x="1" y="20"/>
                  <a:pt x="1" y="20"/>
                </a:cubicBezTo>
                <a:cubicBezTo>
                  <a:pt x="2" y="20"/>
                  <a:pt x="2" y="20"/>
                  <a:pt x="3" y="20"/>
                </a:cubicBezTo>
                <a:cubicBezTo>
                  <a:pt x="3" y="21"/>
                  <a:pt x="4" y="21"/>
                  <a:pt x="4" y="22"/>
                </a:cubicBezTo>
                <a:cubicBezTo>
                  <a:pt x="4" y="22"/>
                  <a:pt x="5" y="23"/>
                  <a:pt x="5" y="23"/>
                </a:cubicBezTo>
                <a:cubicBezTo>
                  <a:pt x="5" y="23"/>
                  <a:pt x="6" y="23"/>
                  <a:pt x="6" y="23"/>
                </a:cubicBezTo>
                <a:cubicBezTo>
                  <a:pt x="6" y="22"/>
                  <a:pt x="5" y="22"/>
                  <a:pt x="6" y="22"/>
                </a:cubicBezTo>
                <a:cubicBezTo>
                  <a:pt x="6" y="21"/>
                  <a:pt x="7" y="21"/>
                  <a:pt x="8" y="21"/>
                </a:cubicBezTo>
                <a:cubicBezTo>
                  <a:pt x="7" y="21"/>
                  <a:pt x="7" y="21"/>
                  <a:pt x="7" y="21"/>
                </a:cubicBezTo>
                <a:cubicBezTo>
                  <a:pt x="8" y="21"/>
                  <a:pt x="8" y="21"/>
                  <a:pt x="8" y="21"/>
                </a:cubicBezTo>
                <a:cubicBezTo>
                  <a:pt x="8" y="21"/>
                  <a:pt x="8" y="21"/>
                  <a:pt x="8" y="21"/>
                </a:cubicBezTo>
                <a:cubicBezTo>
                  <a:pt x="8" y="20"/>
                  <a:pt x="8" y="21"/>
                  <a:pt x="9" y="21"/>
                </a:cubicBezTo>
                <a:cubicBezTo>
                  <a:pt x="9" y="21"/>
                  <a:pt x="10" y="20"/>
                  <a:pt x="11" y="21"/>
                </a:cubicBezTo>
                <a:cubicBezTo>
                  <a:pt x="11" y="21"/>
                  <a:pt x="10" y="21"/>
                  <a:pt x="10" y="21"/>
                </a:cubicBezTo>
                <a:cubicBezTo>
                  <a:pt x="11" y="21"/>
                  <a:pt x="11" y="21"/>
                  <a:pt x="12" y="21"/>
                </a:cubicBezTo>
                <a:cubicBezTo>
                  <a:pt x="12" y="21"/>
                  <a:pt x="12" y="21"/>
                  <a:pt x="13" y="21"/>
                </a:cubicBezTo>
                <a:cubicBezTo>
                  <a:pt x="13" y="21"/>
                  <a:pt x="14" y="22"/>
                  <a:pt x="15" y="22"/>
                </a:cubicBezTo>
                <a:cubicBezTo>
                  <a:pt x="16" y="22"/>
                  <a:pt x="16" y="21"/>
                  <a:pt x="17" y="21"/>
                </a:cubicBezTo>
                <a:cubicBezTo>
                  <a:pt x="17" y="22"/>
                  <a:pt x="18" y="22"/>
                  <a:pt x="18" y="21"/>
                </a:cubicBezTo>
                <a:cubicBezTo>
                  <a:pt x="18" y="21"/>
                  <a:pt x="18" y="21"/>
                  <a:pt x="19" y="21"/>
                </a:cubicBezTo>
                <a:cubicBezTo>
                  <a:pt x="20" y="21"/>
                  <a:pt x="22" y="21"/>
                  <a:pt x="23" y="21"/>
                </a:cubicBezTo>
                <a:cubicBezTo>
                  <a:pt x="23" y="21"/>
                  <a:pt x="24" y="21"/>
                  <a:pt x="24" y="22"/>
                </a:cubicBezTo>
                <a:cubicBezTo>
                  <a:pt x="25" y="22"/>
                  <a:pt x="25" y="23"/>
                  <a:pt x="25" y="23"/>
                </a:cubicBezTo>
                <a:cubicBezTo>
                  <a:pt x="26" y="22"/>
                  <a:pt x="25" y="21"/>
                  <a:pt x="26" y="21"/>
                </a:cubicBezTo>
                <a:cubicBezTo>
                  <a:pt x="26" y="20"/>
                  <a:pt x="26" y="20"/>
                  <a:pt x="25" y="19"/>
                </a:cubicBezTo>
                <a:cubicBezTo>
                  <a:pt x="25" y="19"/>
                  <a:pt x="25" y="19"/>
                  <a:pt x="24" y="19"/>
                </a:cubicBezTo>
                <a:cubicBezTo>
                  <a:pt x="24" y="18"/>
                  <a:pt x="25" y="18"/>
                  <a:pt x="25" y="18"/>
                </a:cubicBezTo>
                <a:cubicBezTo>
                  <a:pt x="24" y="18"/>
                  <a:pt x="23" y="17"/>
                  <a:pt x="24" y="17"/>
                </a:cubicBezTo>
                <a:cubicBezTo>
                  <a:pt x="24" y="16"/>
                  <a:pt x="25" y="17"/>
                  <a:pt x="25" y="16"/>
                </a:cubicBezTo>
                <a:cubicBezTo>
                  <a:pt x="26" y="16"/>
                  <a:pt x="27" y="16"/>
                  <a:pt x="27" y="15"/>
                </a:cubicBezTo>
                <a:cubicBezTo>
                  <a:pt x="27" y="14"/>
                  <a:pt x="27" y="12"/>
                  <a:pt x="26" y="13"/>
                </a:cubicBezTo>
                <a:cubicBezTo>
                  <a:pt x="26" y="13"/>
                  <a:pt x="26" y="12"/>
                  <a:pt x="27" y="12"/>
                </a:cubicBezTo>
                <a:close/>
                <a:moveTo>
                  <a:pt x="19" y="1"/>
                </a:moveTo>
                <a:cubicBezTo>
                  <a:pt x="19" y="1"/>
                  <a:pt x="18" y="1"/>
                  <a:pt x="18" y="1"/>
                </a:cubicBezTo>
                <a:cubicBezTo>
                  <a:pt x="17" y="0"/>
                  <a:pt x="16" y="1"/>
                  <a:pt x="17" y="1"/>
                </a:cubicBezTo>
                <a:cubicBezTo>
                  <a:pt x="17" y="1"/>
                  <a:pt x="18" y="1"/>
                  <a:pt x="19" y="1"/>
                </a:cubicBezTo>
                <a:cubicBezTo>
                  <a:pt x="19" y="2"/>
                  <a:pt x="20" y="1"/>
                  <a:pt x="19" y="1"/>
                </a:cubicBezTo>
                <a:close/>
                <a:moveTo>
                  <a:pt x="7" y="17"/>
                </a:moveTo>
                <a:cubicBezTo>
                  <a:pt x="8" y="17"/>
                  <a:pt x="7" y="16"/>
                  <a:pt x="7" y="16"/>
                </a:cubicBezTo>
                <a:cubicBezTo>
                  <a:pt x="6" y="17"/>
                  <a:pt x="7" y="17"/>
                  <a:pt x="7" y="17"/>
                </a:cubicBezTo>
                <a:close/>
                <a:moveTo>
                  <a:pt x="7" y="22"/>
                </a:moveTo>
                <a:cubicBezTo>
                  <a:pt x="7" y="23"/>
                  <a:pt x="8" y="23"/>
                  <a:pt x="8" y="23"/>
                </a:cubicBezTo>
                <a:cubicBezTo>
                  <a:pt x="8" y="22"/>
                  <a:pt x="7" y="22"/>
                  <a:pt x="7" y="2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1" name="Guyana"/>
          <p:cNvSpPr>
            <a:spLocks/>
          </p:cNvSpPr>
          <p:nvPr/>
        </p:nvSpPr>
        <p:spPr bwMode="auto">
          <a:xfrm>
            <a:off x="3643164" y="4323950"/>
            <a:ext cx="168994" cy="295989"/>
          </a:xfrm>
          <a:custGeom>
            <a:avLst/>
            <a:gdLst/>
            <a:ahLst/>
            <a:cxnLst>
              <a:cxn ang="0">
                <a:pos x="44" y="69"/>
              </a:cxn>
              <a:cxn ang="0">
                <a:pos x="43" y="68"/>
              </a:cxn>
              <a:cxn ang="0">
                <a:pos x="41" y="62"/>
              </a:cxn>
              <a:cxn ang="0">
                <a:pos x="39" y="57"/>
              </a:cxn>
              <a:cxn ang="0">
                <a:pos x="38" y="57"/>
              </a:cxn>
              <a:cxn ang="0">
                <a:pos x="35" y="55"/>
              </a:cxn>
              <a:cxn ang="0">
                <a:pos x="32" y="49"/>
              </a:cxn>
              <a:cxn ang="0">
                <a:pos x="34" y="44"/>
              </a:cxn>
              <a:cxn ang="0">
                <a:pos x="35" y="40"/>
              </a:cxn>
              <a:cxn ang="0">
                <a:pos x="39" y="39"/>
              </a:cxn>
              <a:cxn ang="0">
                <a:pos x="40" y="38"/>
              </a:cxn>
              <a:cxn ang="0">
                <a:pos x="40" y="37"/>
              </a:cxn>
              <a:cxn ang="0">
                <a:pos x="41" y="32"/>
              </a:cxn>
              <a:cxn ang="0">
                <a:pos x="39" y="25"/>
              </a:cxn>
              <a:cxn ang="0">
                <a:pos x="34" y="19"/>
              </a:cxn>
              <a:cxn ang="0">
                <a:pos x="28" y="23"/>
              </a:cxn>
              <a:cxn ang="0">
                <a:pos x="29" y="18"/>
              </a:cxn>
              <a:cxn ang="0">
                <a:pos x="27" y="10"/>
              </a:cxn>
              <a:cxn ang="0">
                <a:pos x="25" y="7"/>
              </a:cxn>
              <a:cxn ang="0">
                <a:pos x="19" y="2"/>
              </a:cxn>
              <a:cxn ang="0">
                <a:pos x="18" y="3"/>
              </a:cxn>
              <a:cxn ang="0">
                <a:pos x="16" y="4"/>
              </a:cxn>
              <a:cxn ang="0">
                <a:pos x="11" y="8"/>
              </a:cxn>
              <a:cxn ang="0">
                <a:pos x="9" y="11"/>
              </a:cxn>
              <a:cxn ang="0">
                <a:pos x="8" y="12"/>
              </a:cxn>
              <a:cxn ang="0">
                <a:pos x="9" y="14"/>
              </a:cxn>
              <a:cxn ang="0">
                <a:pos x="12" y="16"/>
              </a:cxn>
              <a:cxn ang="0">
                <a:pos x="9" y="19"/>
              </a:cxn>
              <a:cxn ang="0">
                <a:pos x="5" y="20"/>
              </a:cxn>
              <a:cxn ang="0">
                <a:pos x="3" y="24"/>
              </a:cxn>
              <a:cxn ang="0">
                <a:pos x="1" y="28"/>
              </a:cxn>
              <a:cxn ang="0">
                <a:pos x="5" y="35"/>
              </a:cxn>
              <a:cxn ang="0">
                <a:pos x="9" y="37"/>
              </a:cxn>
              <a:cxn ang="0">
                <a:pos x="11" y="37"/>
              </a:cxn>
              <a:cxn ang="0">
                <a:pos x="14" y="38"/>
              </a:cxn>
              <a:cxn ang="0">
                <a:pos x="13" y="45"/>
              </a:cxn>
              <a:cxn ang="0">
                <a:pos x="16" y="45"/>
              </a:cxn>
              <a:cxn ang="0">
                <a:pos x="17" y="49"/>
              </a:cxn>
              <a:cxn ang="0">
                <a:pos x="18" y="51"/>
              </a:cxn>
              <a:cxn ang="0">
                <a:pos x="18" y="52"/>
              </a:cxn>
              <a:cxn ang="0">
                <a:pos x="15" y="55"/>
              </a:cxn>
              <a:cxn ang="0">
                <a:pos x="14" y="60"/>
              </a:cxn>
              <a:cxn ang="0">
                <a:pos x="13" y="63"/>
              </a:cxn>
              <a:cxn ang="0">
                <a:pos x="16" y="70"/>
              </a:cxn>
              <a:cxn ang="0">
                <a:pos x="16" y="74"/>
              </a:cxn>
              <a:cxn ang="0">
                <a:pos x="19" y="77"/>
              </a:cxn>
              <a:cxn ang="0">
                <a:pos x="23" y="80"/>
              </a:cxn>
              <a:cxn ang="0">
                <a:pos x="26" y="80"/>
              </a:cxn>
              <a:cxn ang="0">
                <a:pos x="30" y="77"/>
              </a:cxn>
              <a:cxn ang="0">
                <a:pos x="33" y="76"/>
              </a:cxn>
              <a:cxn ang="0">
                <a:pos x="37" y="75"/>
              </a:cxn>
              <a:cxn ang="0">
                <a:pos x="40" y="73"/>
              </a:cxn>
              <a:cxn ang="0">
                <a:pos x="43" y="73"/>
              </a:cxn>
              <a:cxn ang="0">
                <a:pos x="47" y="73"/>
              </a:cxn>
            </a:cxnLst>
            <a:rect l="0" t="0" r="r" b="b"/>
            <a:pathLst>
              <a:path w="47" h="82">
                <a:moveTo>
                  <a:pt x="45" y="72"/>
                </a:moveTo>
                <a:cubicBezTo>
                  <a:pt x="45" y="71"/>
                  <a:pt x="44" y="71"/>
                  <a:pt x="44" y="70"/>
                </a:cubicBezTo>
                <a:cubicBezTo>
                  <a:pt x="44" y="70"/>
                  <a:pt x="44" y="69"/>
                  <a:pt x="44" y="69"/>
                </a:cubicBezTo>
                <a:cubicBezTo>
                  <a:pt x="44" y="69"/>
                  <a:pt x="44" y="69"/>
                  <a:pt x="44" y="69"/>
                </a:cubicBezTo>
                <a:cubicBezTo>
                  <a:pt x="43" y="69"/>
                  <a:pt x="44" y="68"/>
                  <a:pt x="43" y="68"/>
                </a:cubicBezTo>
                <a:cubicBezTo>
                  <a:pt x="43" y="68"/>
                  <a:pt x="43" y="68"/>
                  <a:pt x="43" y="68"/>
                </a:cubicBezTo>
                <a:cubicBezTo>
                  <a:pt x="43" y="67"/>
                  <a:pt x="43" y="67"/>
                  <a:pt x="42" y="66"/>
                </a:cubicBezTo>
                <a:cubicBezTo>
                  <a:pt x="42" y="65"/>
                  <a:pt x="42" y="64"/>
                  <a:pt x="41" y="63"/>
                </a:cubicBezTo>
                <a:cubicBezTo>
                  <a:pt x="40" y="63"/>
                  <a:pt x="41" y="63"/>
                  <a:pt x="41" y="62"/>
                </a:cubicBezTo>
                <a:cubicBezTo>
                  <a:pt x="40" y="62"/>
                  <a:pt x="40" y="61"/>
                  <a:pt x="40" y="61"/>
                </a:cubicBezTo>
                <a:cubicBezTo>
                  <a:pt x="40" y="60"/>
                  <a:pt x="40" y="59"/>
                  <a:pt x="40" y="58"/>
                </a:cubicBezTo>
                <a:cubicBezTo>
                  <a:pt x="40" y="58"/>
                  <a:pt x="40" y="57"/>
                  <a:pt x="39" y="57"/>
                </a:cubicBezTo>
                <a:cubicBezTo>
                  <a:pt x="39" y="57"/>
                  <a:pt x="39" y="57"/>
                  <a:pt x="38" y="57"/>
                </a:cubicBezTo>
                <a:cubicBezTo>
                  <a:pt x="38" y="57"/>
                  <a:pt x="38" y="58"/>
                  <a:pt x="38" y="58"/>
                </a:cubicBezTo>
                <a:cubicBezTo>
                  <a:pt x="38" y="58"/>
                  <a:pt x="38" y="57"/>
                  <a:pt x="38" y="57"/>
                </a:cubicBezTo>
                <a:cubicBezTo>
                  <a:pt x="37" y="57"/>
                  <a:pt x="37" y="58"/>
                  <a:pt x="36" y="57"/>
                </a:cubicBezTo>
                <a:cubicBezTo>
                  <a:pt x="36" y="57"/>
                  <a:pt x="36" y="56"/>
                  <a:pt x="36" y="56"/>
                </a:cubicBezTo>
                <a:cubicBezTo>
                  <a:pt x="36" y="55"/>
                  <a:pt x="36" y="55"/>
                  <a:pt x="35" y="55"/>
                </a:cubicBezTo>
                <a:cubicBezTo>
                  <a:pt x="35" y="54"/>
                  <a:pt x="34" y="54"/>
                  <a:pt x="34" y="53"/>
                </a:cubicBezTo>
                <a:cubicBezTo>
                  <a:pt x="34" y="53"/>
                  <a:pt x="34" y="52"/>
                  <a:pt x="34" y="52"/>
                </a:cubicBezTo>
                <a:cubicBezTo>
                  <a:pt x="33" y="51"/>
                  <a:pt x="32" y="50"/>
                  <a:pt x="32" y="49"/>
                </a:cubicBezTo>
                <a:cubicBezTo>
                  <a:pt x="32" y="48"/>
                  <a:pt x="33" y="48"/>
                  <a:pt x="33" y="47"/>
                </a:cubicBezTo>
                <a:cubicBezTo>
                  <a:pt x="34" y="47"/>
                  <a:pt x="33" y="46"/>
                  <a:pt x="34" y="46"/>
                </a:cubicBezTo>
                <a:cubicBezTo>
                  <a:pt x="34" y="45"/>
                  <a:pt x="34" y="45"/>
                  <a:pt x="34" y="44"/>
                </a:cubicBezTo>
                <a:cubicBezTo>
                  <a:pt x="35" y="44"/>
                  <a:pt x="35" y="43"/>
                  <a:pt x="35" y="43"/>
                </a:cubicBezTo>
                <a:cubicBezTo>
                  <a:pt x="35" y="42"/>
                  <a:pt x="33" y="41"/>
                  <a:pt x="35" y="40"/>
                </a:cubicBezTo>
                <a:cubicBezTo>
                  <a:pt x="35" y="40"/>
                  <a:pt x="35" y="40"/>
                  <a:pt x="35" y="40"/>
                </a:cubicBezTo>
                <a:cubicBezTo>
                  <a:pt x="36" y="40"/>
                  <a:pt x="36" y="40"/>
                  <a:pt x="36" y="40"/>
                </a:cubicBezTo>
                <a:cubicBezTo>
                  <a:pt x="36" y="39"/>
                  <a:pt x="37" y="39"/>
                  <a:pt x="37" y="39"/>
                </a:cubicBezTo>
                <a:cubicBezTo>
                  <a:pt x="38" y="39"/>
                  <a:pt x="39" y="39"/>
                  <a:pt x="39" y="39"/>
                </a:cubicBezTo>
                <a:cubicBezTo>
                  <a:pt x="39" y="39"/>
                  <a:pt x="40" y="39"/>
                  <a:pt x="40" y="39"/>
                </a:cubicBezTo>
                <a:cubicBezTo>
                  <a:pt x="40" y="39"/>
                  <a:pt x="40" y="39"/>
                  <a:pt x="40" y="38"/>
                </a:cubicBezTo>
                <a:cubicBezTo>
                  <a:pt x="40" y="38"/>
                  <a:pt x="40" y="38"/>
                  <a:pt x="40" y="38"/>
                </a:cubicBezTo>
                <a:cubicBezTo>
                  <a:pt x="40" y="37"/>
                  <a:pt x="41" y="38"/>
                  <a:pt x="41" y="38"/>
                </a:cubicBezTo>
                <a:cubicBezTo>
                  <a:pt x="41" y="38"/>
                  <a:pt x="41" y="37"/>
                  <a:pt x="41" y="37"/>
                </a:cubicBezTo>
                <a:cubicBezTo>
                  <a:pt x="40" y="36"/>
                  <a:pt x="41" y="37"/>
                  <a:pt x="40" y="37"/>
                </a:cubicBezTo>
                <a:cubicBezTo>
                  <a:pt x="40" y="37"/>
                  <a:pt x="40" y="36"/>
                  <a:pt x="40" y="36"/>
                </a:cubicBezTo>
                <a:cubicBezTo>
                  <a:pt x="40" y="36"/>
                  <a:pt x="41" y="35"/>
                  <a:pt x="41" y="35"/>
                </a:cubicBezTo>
                <a:cubicBezTo>
                  <a:pt x="41" y="34"/>
                  <a:pt x="41" y="33"/>
                  <a:pt x="41" y="32"/>
                </a:cubicBezTo>
                <a:cubicBezTo>
                  <a:pt x="42" y="31"/>
                  <a:pt x="42" y="31"/>
                  <a:pt x="42" y="30"/>
                </a:cubicBezTo>
                <a:cubicBezTo>
                  <a:pt x="42" y="28"/>
                  <a:pt x="42" y="27"/>
                  <a:pt x="41" y="26"/>
                </a:cubicBezTo>
                <a:cubicBezTo>
                  <a:pt x="40" y="25"/>
                  <a:pt x="40" y="25"/>
                  <a:pt x="39" y="25"/>
                </a:cubicBezTo>
                <a:cubicBezTo>
                  <a:pt x="38" y="24"/>
                  <a:pt x="39" y="25"/>
                  <a:pt x="38" y="25"/>
                </a:cubicBezTo>
                <a:cubicBezTo>
                  <a:pt x="38" y="24"/>
                  <a:pt x="37" y="22"/>
                  <a:pt x="36" y="21"/>
                </a:cubicBezTo>
                <a:cubicBezTo>
                  <a:pt x="35" y="21"/>
                  <a:pt x="35" y="20"/>
                  <a:pt x="34" y="19"/>
                </a:cubicBezTo>
                <a:cubicBezTo>
                  <a:pt x="33" y="19"/>
                  <a:pt x="32" y="19"/>
                  <a:pt x="32" y="19"/>
                </a:cubicBezTo>
                <a:cubicBezTo>
                  <a:pt x="31" y="18"/>
                  <a:pt x="29" y="19"/>
                  <a:pt x="29" y="20"/>
                </a:cubicBezTo>
                <a:cubicBezTo>
                  <a:pt x="28" y="21"/>
                  <a:pt x="28" y="22"/>
                  <a:pt x="28" y="23"/>
                </a:cubicBezTo>
                <a:cubicBezTo>
                  <a:pt x="28" y="24"/>
                  <a:pt x="28" y="24"/>
                  <a:pt x="27" y="24"/>
                </a:cubicBezTo>
                <a:cubicBezTo>
                  <a:pt x="28" y="23"/>
                  <a:pt x="28" y="22"/>
                  <a:pt x="28" y="20"/>
                </a:cubicBezTo>
                <a:cubicBezTo>
                  <a:pt x="28" y="20"/>
                  <a:pt x="28" y="19"/>
                  <a:pt x="29" y="18"/>
                </a:cubicBezTo>
                <a:cubicBezTo>
                  <a:pt x="29" y="18"/>
                  <a:pt x="29" y="17"/>
                  <a:pt x="29" y="17"/>
                </a:cubicBezTo>
                <a:cubicBezTo>
                  <a:pt x="30" y="15"/>
                  <a:pt x="30" y="14"/>
                  <a:pt x="29" y="12"/>
                </a:cubicBezTo>
                <a:cubicBezTo>
                  <a:pt x="29" y="12"/>
                  <a:pt x="28" y="10"/>
                  <a:pt x="27" y="10"/>
                </a:cubicBezTo>
                <a:cubicBezTo>
                  <a:pt x="27" y="11"/>
                  <a:pt x="27" y="11"/>
                  <a:pt x="27" y="11"/>
                </a:cubicBezTo>
                <a:cubicBezTo>
                  <a:pt x="27" y="10"/>
                  <a:pt x="27" y="9"/>
                  <a:pt x="26" y="9"/>
                </a:cubicBezTo>
                <a:cubicBezTo>
                  <a:pt x="26" y="8"/>
                  <a:pt x="25" y="8"/>
                  <a:pt x="25" y="7"/>
                </a:cubicBezTo>
                <a:cubicBezTo>
                  <a:pt x="24" y="7"/>
                  <a:pt x="24" y="6"/>
                  <a:pt x="23" y="6"/>
                </a:cubicBezTo>
                <a:cubicBezTo>
                  <a:pt x="22" y="5"/>
                  <a:pt x="22" y="5"/>
                  <a:pt x="21" y="4"/>
                </a:cubicBezTo>
                <a:cubicBezTo>
                  <a:pt x="20" y="4"/>
                  <a:pt x="19" y="3"/>
                  <a:pt x="19" y="2"/>
                </a:cubicBezTo>
                <a:cubicBezTo>
                  <a:pt x="19" y="2"/>
                  <a:pt x="17" y="2"/>
                  <a:pt x="17" y="2"/>
                </a:cubicBezTo>
                <a:cubicBezTo>
                  <a:pt x="18" y="3"/>
                  <a:pt x="20" y="4"/>
                  <a:pt x="21" y="5"/>
                </a:cubicBezTo>
                <a:cubicBezTo>
                  <a:pt x="20" y="4"/>
                  <a:pt x="19" y="3"/>
                  <a:pt x="18" y="3"/>
                </a:cubicBezTo>
                <a:cubicBezTo>
                  <a:pt x="16" y="2"/>
                  <a:pt x="16" y="1"/>
                  <a:pt x="15" y="0"/>
                </a:cubicBezTo>
                <a:cubicBezTo>
                  <a:pt x="16" y="1"/>
                  <a:pt x="16" y="2"/>
                  <a:pt x="17" y="3"/>
                </a:cubicBezTo>
                <a:cubicBezTo>
                  <a:pt x="17" y="4"/>
                  <a:pt x="16" y="4"/>
                  <a:pt x="16" y="4"/>
                </a:cubicBezTo>
                <a:cubicBezTo>
                  <a:pt x="15" y="5"/>
                  <a:pt x="15" y="6"/>
                  <a:pt x="15" y="6"/>
                </a:cubicBezTo>
                <a:cubicBezTo>
                  <a:pt x="14" y="6"/>
                  <a:pt x="13" y="7"/>
                  <a:pt x="12" y="7"/>
                </a:cubicBezTo>
                <a:cubicBezTo>
                  <a:pt x="12" y="8"/>
                  <a:pt x="12" y="8"/>
                  <a:pt x="11" y="8"/>
                </a:cubicBezTo>
                <a:cubicBezTo>
                  <a:pt x="11" y="8"/>
                  <a:pt x="10" y="8"/>
                  <a:pt x="10" y="8"/>
                </a:cubicBezTo>
                <a:cubicBezTo>
                  <a:pt x="9" y="9"/>
                  <a:pt x="9" y="10"/>
                  <a:pt x="9" y="10"/>
                </a:cubicBezTo>
                <a:cubicBezTo>
                  <a:pt x="9" y="10"/>
                  <a:pt x="9" y="11"/>
                  <a:pt x="9" y="11"/>
                </a:cubicBezTo>
                <a:cubicBezTo>
                  <a:pt x="9" y="11"/>
                  <a:pt x="9" y="11"/>
                  <a:pt x="8" y="11"/>
                </a:cubicBezTo>
                <a:cubicBezTo>
                  <a:pt x="8" y="11"/>
                  <a:pt x="8" y="11"/>
                  <a:pt x="8" y="11"/>
                </a:cubicBezTo>
                <a:cubicBezTo>
                  <a:pt x="8" y="11"/>
                  <a:pt x="8" y="12"/>
                  <a:pt x="8" y="12"/>
                </a:cubicBezTo>
                <a:cubicBezTo>
                  <a:pt x="8" y="12"/>
                  <a:pt x="8" y="12"/>
                  <a:pt x="8" y="12"/>
                </a:cubicBezTo>
                <a:cubicBezTo>
                  <a:pt x="8" y="13"/>
                  <a:pt x="8" y="13"/>
                  <a:pt x="9" y="13"/>
                </a:cubicBezTo>
                <a:cubicBezTo>
                  <a:pt x="9" y="14"/>
                  <a:pt x="9" y="14"/>
                  <a:pt x="9" y="14"/>
                </a:cubicBezTo>
                <a:cubicBezTo>
                  <a:pt x="8" y="15"/>
                  <a:pt x="9" y="15"/>
                  <a:pt x="9" y="16"/>
                </a:cubicBezTo>
                <a:cubicBezTo>
                  <a:pt x="10" y="16"/>
                  <a:pt x="10" y="15"/>
                  <a:pt x="10" y="15"/>
                </a:cubicBezTo>
                <a:cubicBezTo>
                  <a:pt x="11" y="15"/>
                  <a:pt x="11" y="15"/>
                  <a:pt x="12" y="16"/>
                </a:cubicBezTo>
                <a:cubicBezTo>
                  <a:pt x="12" y="16"/>
                  <a:pt x="12" y="17"/>
                  <a:pt x="11" y="17"/>
                </a:cubicBezTo>
                <a:cubicBezTo>
                  <a:pt x="11" y="18"/>
                  <a:pt x="11" y="18"/>
                  <a:pt x="11" y="18"/>
                </a:cubicBezTo>
                <a:cubicBezTo>
                  <a:pt x="10" y="18"/>
                  <a:pt x="10" y="19"/>
                  <a:pt x="9" y="19"/>
                </a:cubicBezTo>
                <a:cubicBezTo>
                  <a:pt x="9" y="19"/>
                  <a:pt x="8" y="20"/>
                  <a:pt x="7" y="20"/>
                </a:cubicBezTo>
                <a:cubicBezTo>
                  <a:pt x="7" y="20"/>
                  <a:pt x="6" y="19"/>
                  <a:pt x="6" y="19"/>
                </a:cubicBezTo>
                <a:cubicBezTo>
                  <a:pt x="6" y="20"/>
                  <a:pt x="6" y="20"/>
                  <a:pt x="5" y="20"/>
                </a:cubicBezTo>
                <a:cubicBezTo>
                  <a:pt x="5" y="20"/>
                  <a:pt x="4" y="20"/>
                  <a:pt x="4" y="21"/>
                </a:cubicBezTo>
                <a:cubicBezTo>
                  <a:pt x="3" y="21"/>
                  <a:pt x="3" y="21"/>
                  <a:pt x="3" y="22"/>
                </a:cubicBezTo>
                <a:cubicBezTo>
                  <a:pt x="3" y="23"/>
                  <a:pt x="3" y="23"/>
                  <a:pt x="3" y="24"/>
                </a:cubicBezTo>
                <a:cubicBezTo>
                  <a:pt x="3" y="25"/>
                  <a:pt x="4" y="25"/>
                  <a:pt x="4" y="26"/>
                </a:cubicBezTo>
                <a:cubicBezTo>
                  <a:pt x="4" y="26"/>
                  <a:pt x="3" y="27"/>
                  <a:pt x="2" y="27"/>
                </a:cubicBezTo>
                <a:cubicBezTo>
                  <a:pt x="2" y="28"/>
                  <a:pt x="2" y="28"/>
                  <a:pt x="1" y="28"/>
                </a:cubicBezTo>
                <a:cubicBezTo>
                  <a:pt x="0" y="29"/>
                  <a:pt x="1" y="30"/>
                  <a:pt x="2" y="30"/>
                </a:cubicBezTo>
                <a:cubicBezTo>
                  <a:pt x="2" y="31"/>
                  <a:pt x="3" y="32"/>
                  <a:pt x="4" y="33"/>
                </a:cubicBezTo>
                <a:cubicBezTo>
                  <a:pt x="4" y="33"/>
                  <a:pt x="5" y="34"/>
                  <a:pt x="5" y="35"/>
                </a:cubicBezTo>
                <a:cubicBezTo>
                  <a:pt x="6" y="35"/>
                  <a:pt x="6" y="37"/>
                  <a:pt x="7" y="37"/>
                </a:cubicBezTo>
                <a:cubicBezTo>
                  <a:pt x="7" y="37"/>
                  <a:pt x="8" y="37"/>
                  <a:pt x="8" y="37"/>
                </a:cubicBezTo>
                <a:cubicBezTo>
                  <a:pt x="9" y="37"/>
                  <a:pt x="9" y="37"/>
                  <a:pt x="9" y="37"/>
                </a:cubicBezTo>
                <a:cubicBezTo>
                  <a:pt x="10" y="37"/>
                  <a:pt x="10" y="37"/>
                  <a:pt x="10" y="37"/>
                </a:cubicBezTo>
                <a:cubicBezTo>
                  <a:pt x="10" y="37"/>
                  <a:pt x="10" y="37"/>
                  <a:pt x="11" y="37"/>
                </a:cubicBezTo>
                <a:cubicBezTo>
                  <a:pt x="11" y="37"/>
                  <a:pt x="11" y="37"/>
                  <a:pt x="11" y="37"/>
                </a:cubicBezTo>
                <a:cubicBezTo>
                  <a:pt x="12" y="36"/>
                  <a:pt x="12" y="36"/>
                  <a:pt x="12" y="36"/>
                </a:cubicBezTo>
                <a:cubicBezTo>
                  <a:pt x="12" y="36"/>
                  <a:pt x="12" y="37"/>
                  <a:pt x="13" y="37"/>
                </a:cubicBezTo>
                <a:cubicBezTo>
                  <a:pt x="13" y="37"/>
                  <a:pt x="13" y="38"/>
                  <a:pt x="14" y="38"/>
                </a:cubicBezTo>
                <a:cubicBezTo>
                  <a:pt x="14" y="39"/>
                  <a:pt x="14" y="39"/>
                  <a:pt x="14" y="40"/>
                </a:cubicBezTo>
                <a:cubicBezTo>
                  <a:pt x="14" y="41"/>
                  <a:pt x="14" y="43"/>
                  <a:pt x="13" y="44"/>
                </a:cubicBezTo>
                <a:cubicBezTo>
                  <a:pt x="13" y="44"/>
                  <a:pt x="12" y="45"/>
                  <a:pt x="13" y="45"/>
                </a:cubicBezTo>
                <a:cubicBezTo>
                  <a:pt x="13" y="45"/>
                  <a:pt x="13" y="45"/>
                  <a:pt x="13" y="45"/>
                </a:cubicBezTo>
                <a:cubicBezTo>
                  <a:pt x="14" y="45"/>
                  <a:pt x="14" y="45"/>
                  <a:pt x="15" y="45"/>
                </a:cubicBezTo>
                <a:cubicBezTo>
                  <a:pt x="15" y="45"/>
                  <a:pt x="15" y="45"/>
                  <a:pt x="16" y="45"/>
                </a:cubicBezTo>
                <a:cubicBezTo>
                  <a:pt x="16" y="45"/>
                  <a:pt x="17" y="46"/>
                  <a:pt x="17" y="46"/>
                </a:cubicBezTo>
                <a:cubicBezTo>
                  <a:pt x="17" y="47"/>
                  <a:pt x="16" y="47"/>
                  <a:pt x="16" y="48"/>
                </a:cubicBezTo>
                <a:cubicBezTo>
                  <a:pt x="16" y="49"/>
                  <a:pt x="17" y="49"/>
                  <a:pt x="17" y="49"/>
                </a:cubicBezTo>
                <a:cubicBezTo>
                  <a:pt x="17" y="49"/>
                  <a:pt x="17" y="49"/>
                  <a:pt x="17" y="50"/>
                </a:cubicBezTo>
                <a:cubicBezTo>
                  <a:pt x="17" y="50"/>
                  <a:pt x="17" y="50"/>
                  <a:pt x="18" y="50"/>
                </a:cubicBezTo>
                <a:cubicBezTo>
                  <a:pt x="18" y="50"/>
                  <a:pt x="18" y="51"/>
                  <a:pt x="18" y="51"/>
                </a:cubicBezTo>
                <a:cubicBezTo>
                  <a:pt x="18" y="51"/>
                  <a:pt x="18" y="51"/>
                  <a:pt x="18" y="51"/>
                </a:cubicBezTo>
                <a:cubicBezTo>
                  <a:pt x="18" y="51"/>
                  <a:pt x="18" y="51"/>
                  <a:pt x="18" y="51"/>
                </a:cubicBezTo>
                <a:cubicBezTo>
                  <a:pt x="18" y="51"/>
                  <a:pt x="17" y="51"/>
                  <a:pt x="18" y="52"/>
                </a:cubicBezTo>
                <a:cubicBezTo>
                  <a:pt x="18" y="52"/>
                  <a:pt x="18" y="52"/>
                  <a:pt x="17" y="53"/>
                </a:cubicBezTo>
                <a:cubicBezTo>
                  <a:pt x="17" y="53"/>
                  <a:pt x="17" y="53"/>
                  <a:pt x="17" y="54"/>
                </a:cubicBezTo>
                <a:cubicBezTo>
                  <a:pt x="16" y="54"/>
                  <a:pt x="16" y="54"/>
                  <a:pt x="15" y="55"/>
                </a:cubicBezTo>
                <a:cubicBezTo>
                  <a:pt x="15" y="55"/>
                  <a:pt x="15" y="56"/>
                  <a:pt x="15" y="56"/>
                </a:cubicBezTo>
                <a:cubicBezTo>
                  <a:pt x="15" y="57"/>
                  <a:pt x="15" y="57"/>
                  <a:pt x="15" y="58"/>
                </a:cubicBezTo>
                <a:cubicBezTo>
                  <a:pt x="15" y="58"/>
                  <a:pt x="14" y="59"/>
                  <a:pt x="14" y="60"/>
                </a:cubicBezTo>
                <a:cubicBezTo>
                  <a:pt x="14" y="60"/>
                  <a:pt x="14" y="60"/>
                  <a:pt x="14" y="61"/>
                </a:cubicBezTo>
                <a:cubicBezTo>
                  <a:pt x="14" y="61"/>
                  <a:pt x="14" y="62"/>
                  <a:pt x="14" y="62"/>
                </a:cubicBezTo>
                <a:cubicBezTo>
                  <a:pt x="13" y="62"/>
                  <a:pt x="13" y="63"/>
                  <a:pt x="13" y="63"/>
                </a:cubicBezTo>
                <a:cubicBezTo>
                  <a:pt x="13" y="64"/>
                  <a:pt x="14" y="65"/>
                  <a:pt x="14" y="66"/>
                </a:cubicBezTo>
                <a:cubicBezTo>
                  <a:pt x="14" y="67"/>
                  <a:pt x="14" y="68"/>
                  <a:pt x="15" y="69"/>
                </a:cubicBezTo>
                <a:cubicBezTo>
                  <a:pt x="16" y="69"/>
                  <a:pt x="16" y="70"/>
                  <a:pt x="16" y="70"/>
                </a:cubicBezTo>
                <a:cubicBezTo>
                  <a:pt x="16" y="71"/>
                  <a:pt x="16" y="71"/>
                  <a:pt x="16" y="72"/>
                </a:cubicBezTo>
                <a:cubicBezTo>
                  <a:pt x="16" y="72"/>
                  <a:pt x="16" y="72"/>
                  <a:pt x="16" y="73"/>
                </a:cubicBezTo>
                <a:cubicBezTo>
                  <a:pt x="15" y="73"/>
                  <a:pt x="15" y="74"/>
                  <a:pt x="16" y="74"/>
                </a:cubicBezTo>
                <a:cubicBezTo>
                  <a:pt x="17" y="74"/>
                  <a:pt x="17" y="74"/>
                  <a:pt x="16" y="75"/>
                </a:cubicBezTo>
                <a:cubicBezTo>
                  <a:pt x="16" y="76"/>
                  <a:pt x="17" y="75"/>
                  <a:pt x="18" y="75"/>
                </a:cubicBezTo>
                <a:cubicBezTo>
                  <a:pt x="18" y="76"/>
                  <a:pt x="18" y="76"/>
                  <a:pt x="19" y="77"/>
                </a:cubicBezTo>
                <a:cubicBezTo>
                  <a:pt x="19" y="77"/>
                  <a:pt x="20" y="77"/>
                  <a:pt x="20" y="78"/>
                </a:cubicBezTo>
                <a:cubicBezTo>
                  <a:pt x="20" y="79"/>
                  <a:pt x="20" y="79"/>
                  <a:pt x="21" y="79"/>
                </a:cubicBezTo>
                <a:cubicBezTo>
                  <a:pt x="22" y="80"/>
                  <a:pt x="22" y="79"/>
                  <a:pt x="23" y="80"/>
                </a:cubicBezTo>
                <a:cubicBezTo>
                  <a:pt x="24" y="80"/>
                  <a:pt x="24" y="81"/>
                  <a:pt x="24" y="81"/>
                </a:cubicBezTo>
                <a:cubicBezTo>
                  <a:pt x="24" y="82"/>
                  <a:pt x="25" y="81"/>
                  <a:pt x="25" y="81"/>
                </a:cubicBezTo>
                <a:cubicBezTo>
                  <a:pt x="26" y="80"/>
                  <a:pt x="26" y="80"/>
                  <a:pt x="26" y="80"/>
                </a:cubicBezTo>
                <a:cubicBezTo>
                  <a:pt x="28" y="80"/>
                  <a:pt x="28" y="80"/>
                  <a:pt x="28" y="79"/>
                </a:cubicBezTo>
                <a:cubicBezTo>
                  <a:pt x="27" y="78"/>
                  <a:pt x="28" y="78"/>
                  <a:pt x="29" y="78"/>
                </a:cubicBezTo>
                <a:cubicBezTo>
                  <a:pt x="29" y="78"/>
                  <a:pt x="29" y="77"/>
                  <a:pt x="30" y="77"/>
                </a:cubicBezTo>
                <a:cubicBezTo>
                  <a:pt x="30" y="77"/>
                  <a:pt x="30" y="77"/>
                  <a:pt x="31" y="77"/>
                </a:cubicBezTo>
                <a:cubicBezTo>
                  <a:pt x="31" y="77"/>
                  <a:pt x="31" y="77"/>
                  <a:pt x="32" y="78"/>
                </a:cubicBezTo>
                <a:cubicBezTo>
                  <a:pt x="33" y="78"/>
                  <a:pt x="32" y="76"/>
                  <a:pt x="33" y="76"/>
                </a:cubicBezTo>
                <a:cubicBezTo>
                  <a:pt x="33" y="76"/>
                  <a:pt x="34" y="76"/>
                  <a:pt x="34" y="76"/>
                </a:cubicBezTo>
                <a:cubicBezTo>
                  <a:pt x="35" y="75"/>
                  <a:pt x="35" y="75"/>
                  <a:pt x="36" y="76"/>
                </a:cubicBezTo>
                <a:cubicBezTo>
                  <a:pt x="36" y="76"/>
                  <a:pt x="37" y="75"/>
                  <a:pt x="37" y="75"/>
                </a:cubicBezTo>
                <a:cubicBezTo>
                  <a:pt x="38" y="75"/>
                  <a:pt x="38" y="74"/>
                  <a:pt x="38" y="74"/>
                </a:cubicBezTo>
                <a:cubicBezTo>
                  <a:pt x="38" y="73"/>
                  <a:pt x="39" y="73"/>
                  <a:pt x="39" y="73"/>
                </a:cubicBezTo>
                <a:cubicBezTo>
                  <a:pt x="40" y="72"/>
                  <a:pt x="40" y="73"/>
                  <a:pt x="40" y="73"/>
                </a:cubicBezTo>
                <a:cubicBezTo>
                  <a:pt x="40" y="73"/>
                  <a:pt x="41" y="72"/>
                  <a:pt x="41" y="72"/>
                </a:cubicBezTo>
                <a:cubicBezTo>
                  <a:pt x="42" y="72"/>
                  <a:pt x="42" y="73"/>
                  <a:pt x="42" y="73"/>
                </a:cubicBezTo>
                <a:cubicBezTo>
                  <a:pt x="42" y="73"/>
                  <a:pt x="43" y="73"/>
                  <a:pt x="43" y="73"/>
                </a:cubicBezTo>
                <a:cubicBezTo>
                  <a:pt x="44" y="74"/>
                  <a:pt x="44" y="74"/>
                  <a:pt x="45" y="73"/>
                </a:cubicBezTo>
                <a:cubicBezTo>
                  <a:pt x="45" y="73"/>
                  <a:pt x="46" y="73"/>
                  <a:pt x="46" y="73"/>
                </a:cubicBezTo>
                <a:cubicBezTo>
                  <a:pt x="47" y="73"/>
                  <a:pt x="47" y="73"/>
                  <a:pt x="47" y="73"/>
                </a:cubicBezTo>
                <a:cubicBezTo>
                  <a:pt x="47" y="72"/>
                  <a:pt x="46" y="72"/>
                  <a:pt x="45" y="7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2" name="Guam"/>
          <p:cNvSpPr>
            <a:spLocks/>
          </p:cNvSpPr>
          <p:nvPr/>
        </p:nvSpPr>
        <p:spPr bwMode="auto">
          <a:xfrm>
            <a:off x="10827893" y="4120958"/>
            <a:ext cx="9999" cy="17999"/>
          </a:xfrm>
          <a:custGeom>
            <a:avLst/>
            <a:gdLst/>
            <a:ahLst/>
            <a:cxnLst>
              <a:cxn ang="0">
                <a:pos x="2" y="1"/>
              </a:cxn>
              <a:cxn ang="0">
                <a:pos x="2" y="0"/>
              </a:cxn>
              <a:cxn ang="0">
                <a:pos x="1" y="1"/>
              </a:cxn>
              <a:cxn ang="0">
                <a:pos x="0" y="2"/>
              </a:cxn>
              <a:cxn ang="0">
                <a:pos x="0" y="3"/>
              </a:cxn>
              <a:cxn ang="0">
                <a:pos x="0" y="4"/>
              </a:cxn>
              <a:cxn ang="0">
                <a:pos x="1" y="5"/>
              </a:cxn>
              <a:cxn ang="0">
                <a:pos x="2" y="3"/>
              </a:cxn>
              <a:cxn ang="0">
                <a:pos x="2" y="1"/>
              </a:cxn>
            </a:cxnLst>
            <a:rect l="0" t="0" r="r" b="b"/>
            <a:pathLst>
              <a:path w="3" h="5">
                <a:moveTo>
                  <a:pt x="2" y="1"/>
                </a:moveTo>
                <a:cubicBezTo>
                  <a:pt x="2" y="1"/>
                  <a:pt x="2" y="0"/>
                  <a:pt x="2" y="0"/>
                </a:cubicBezTo>
                <a:cubicBezTo>
                  <a:pt x="1" y="1"/>
                  <a:pt x="2" y="1"/>
                  <a:pt x="1" y="1"/>
                </a:cubicBezTo>
                <a:cubicBezTo>
                  <a:pt x="1" y="2"/>
                  <a:pt x="1" y="2"/>
                  <a:pt x="0" y="2"/>
                </a:cubicBezTo>
                <a:cubicBezTo>
                  <a:pt x="1" y="2"/>
                  <a:pt x="0" y="3"/>
                  <a:pt x="0" y="3"/>
                </a:cubicBezTo>
                <a:cubicBezTo>
                  <a:pt x="0" y="3"/>
                  <a:pt x="0" y="4"/>
                  <a:pt x="0" y="4"/>
                </a:cubicBezTo>
                <a:cubicBezTo>
                  <a:pt x="0" y="4"/>
                  <a:pt x="0" y="4"/>
                  <a:pt x="1" y="5"/>
                </a:cubicBezTo>
                <a:cubicBezTo>
                  <a:pt x="2" y="5"/>
                  <a:pt x="1" y="3"/>
                  <a:pt x="2" y="3"/>
                </a:cubicBezTo>
                <a:cubicBezTo>
                  <a:pt x="2" y="2"/>
                  <a:pt x="3" y="1"/>
                  <a:pt x="2"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3" name="Guinea Bissou"/>
          <p:cNvSpPr>
            <a:spLocks noEditPoints="1"/>
          </p:cNvSpPr>
          <p:nvPr/>
        </p:nvSpPr>
        <p:spPr bwMode="auto">
          <a:xfrm>
            <a:off x="5214103" y="4160956"/>
            <a:ext cx="107996" cy="71997"/>
          </a:xfrm>
          <a:custGeom>
            <a:avLst/>
            <a:gdLst/>
            <a:ahLst/>
            <a:cxnLst>
              <a:cxn ang="0">
                <a:pos x="28" y="5"/>
              </a:cxn>
              <a:cxn ang="0">
                <a:pos x="28" y="7"/>
              </a:cxn>
              <a:cxn ang="0">
                <a:pos x="27" y="11"/>
              </a:cxn>
              <a:cxn ang="0">
                <a:pos x="22" y="12"/>
              </a:cxn>
              <a:cxn ang="0">
                <a:pos x="18" y="15"/>
              </a:cxn>
              <a:cxn ang="0">
                <a:pos x="14" y="17"/>
              </a:cxn>
              <a:cxn ang="0">
                <a:pos x="12" y="15"/>
              </a:cxn>
              <a:cxn ang="0">
                <a:pos x="14" y="14"/>
              </a:cxn>
              <a:cxn ang="0">
                <a:pos x="11" y="15"/>
              </a:cxn>
              <a:cxn ang="0">
                <a:pos x="13" y="13"/>
              </a:cxn>
              <a:cxn ang="0">
                <a:pos x="13" y="12"/>
              </a:cxn>
              <a:cxn ang="0">
                <a:pos x="14" y="12"/>
              </a:cxn>
              <a:cxn ang="0">
                <a:pos x="15" y="12"/>
              </a:cxn>
              <a:cxn ang="0">
                <a:pos x="15" y="11"/>
              </a:cxn>
              <a:cxn ang="0">
                <a:pos x="14" y="10"/>
              </a:cxn>
              <a:cxn ang="0">
                <a:pos x="13" y="11"/>
              </a:cxn>
              <a:cxn ang="0">
                <a:pos x="13" y="12"/>
              </a:cxn>
              <a:cxn ang="0">
                <a:pos x="12" y="12"/>
              </a:cxn>
              <a:cxn ang="0">
                <a:pos x="11" y="11"/>
              </a:cxn>
              <a:cxn ang="0">
                <a:pos x="16" y="9"/>
              </a:cxn>
              <a:cxn ang="0">
                <a:pos x="15" y="8"/>
              </a:cxn>
              <a:cxn ang="0">
                <a:pos x="8" y="10"/>
              </a:cxn>
              <a:cxn ang="0">
                <a:pos x="8" y="8"/>
              </a:cxn>
              <a:cxn ang="0">
                <a:pos x="7" y="8"/>
              </a:cxn>
              <a:cxn ang="0">
                <a:pos x="3" y="6"/>
              </a:cxn>
              <a:cxn ang="0">
                <a:pos x="6" y="4"/>
              </a:cxn>
              <a:cxn ang="0">
                <a:pos x="4" y="4"/>
              </a:cxn>
              <a:cxn ang="0">
                <a:pos x="0" y="4"/>
              </a:cxn>
              <a:cxn ang="0">
                <a:pos x="7" y="3"/>
              </a:cxn>
              <a:cxn ang="0">
                <a:pos x="18" y="0"/>
              </a:cxn>
              <a:cxn ang="0">
                <a:pos x="6" y="9"/>
              </a:cxn>
              <a:cxn ang="0">
                <a:pos x="7" y="12"/>
              </a:cxn>
              <a:cxn ang="0">
                <a:pos x="7" y="12"/>
              </a:cxn>
              <a:cxn ang="0">
                <a:pos x="10" y="13"/>
              </a:cxn>
              <a:cxn ang="0">
                <a:pos x="4" y="15"/>
              </a:cxn>
              <a:cxn ang="0">
                <a:pos x="4" y="15"/>
              </a:cxn>
              <a:cxn ang="0">
                <a:pos x="6" y="16"/>
              </a:cxn>
              <a:cxn ang="0">
                <a:pos x="7" y="17"/>
              </a:cxn>
              <a:cxn ang="0">
                <a:pos x="3" y="13"/>
              </a:cxn>
              <a:cxn ang="0">
                <a:pos x="6" y="13"/>
              </a:cxn>
              <a:cxn ang="0">
                <a:pos x="7" y="17"/>
              </a:cxn>
              <a:cxn ang="0">
                <a:pos x="7" y="18"/>
              </a:cxn>
              <a:cxn ang="0">
                <a:pos x="4" y="17"/>
              </a:cxn>
              <a:cxn ang="0">
                <a:pos x="6" y="18"/>
              </a:cxn>
              <a:cxn ang="0">
                <a:pos x="9" y="15"/>
              </a:cxn>
              <a:cxn ang="0">
                <a:pos x="9" y="16"/>
              </a:cxn>
              <a:cxn ang="0">
                <a:pos x="7" y="9"/>
              </a:cxn>
              <a:cxn ang="0">
                <a:pos x="6" y="10"/>
              </a:cxn>
              <a:cxn ang="0">
                <a:pos x="7" y="13"/>
              </a:cxn>
            </a:cxnLst>
            <a:rect l="0" t="0" r="r" b="b"/>
            <a:pathLst>
              <a:path w="30" h="20">
                <a:moveTo>
                  <a:pt x="29" y="3"/>
                </a:moveTo>
                <a:cubicBezTo>
                  <a:pt x="29" y="3"/>
                  <a:pt x="29" y="4"/>
                  <a:pt x="29" y="4"/>
                </a:cubicBezTo>
                <a:cubicBezTo>
                  <a:pt x="29" y="5"/>
                  <a:pt x="28" y="5"/>
                  <a:pt x="28" y="5"/>
                </a:cubicBezTo>
                <a:cubicBezTo>
                  <a:pt x="28" y="4"/>
                  <a:pt x="25" y="5"/>
                  <a:pt x="27" y="6"/>
                </a:cubicBezTo>
                <a:cubicBezTo>
                  <a:pt x="27" y="6"/>
                  <a:pt x="27" y="6"/>
                  <a:pt x="27" y="6"/>
                </a:cubicBezTo>
                <a:cubicBezTo>
                  <a:pt x="28" y="6"/>
                  <a:pt x="28" y="7"/>
                  <a:pt x="28" y="7"/>
                </a:cubicBezTo>
                <a:cubicBezTo>
                  <a:pt x="29" y="7"/>
                  <a:pt x="29" y="7"/>
                  <a:pt x="29" y="8"/>
                </a:cubicBezTo>
                <a:cubicBezTo>
                  <a:pt x="29" y="8"/>
                  <a:pt x="29" y="12"/>
                  <a:pt x="28" y="11"/>
                </a:cubicBezTo>
                <a:cubicBezTo>
                  <a:pt x="27" y="10"/>
                  <a:pt x="28" y="10"/>
                  <a:pt x="27" y="11"/>
                </a:cubicBezTo>
                <a:cubicBezTo>
                  <a:pt x="27" y="11"/>
                  <a:pt x="26" y="11"/>
                  <a:pt x="25" y="11"/>
                </a:cubicBezTo>
                <a:cubicBezTo>
                  <a:pt x="25" y="11"/>
                  <a:pt x="24" y="11"/>
                  <a:pt x="23" y="11"/>
                </a:cubicBezTo>
                <a:cubicBezTo>
                  <a:pt x="23" y="12"/>
                  <a:pt x="22" y="12"/>
                  <a:pt x="22" y="12"/>
                </a:cubicBezTo>
                <a:cubicBezTo>
                  <a:pt x="22" y="12"/>
                  <a:pt x="21" y="13"/>
                  <a:pt x="21" y="13"/>
                </a:cubicBezTo>
                <a:cubicBezTo>
                  <a:pt x="20" y="13"/>
                  <a:pt x="20" y="13"/>
                  <a:pt x="19" y="13"/>
                </a:cubicBezTo>
                <a:cubicBezTo>
                  <a:pt x="19" y="13"/>
                  <a:pt x="18" y="15"/>
                  <a:pt x="18" y="15"/>
                </a:cubicBezTo>
                <a:cubicBezTo>
                  <a:pt x="17" y="17"/>
                  <a:pt x="17" y="18"/>
                  <a:pt x="16" y="19"/>
                </a:cubicBezTo>
                <a:cubicBezTo>
                  <a:pt x="14" y="20"/>
                  <a:pt x="16" y="17"/>
                  <a:pt x="16" y="17"/>
                </a:cubicBezTo>
                <a:cubicBezTo>
                  <a:pt x="16" y="17"/>
                  <a:pt x="14" y="18"/>
                  <a:pt x="14" y="17"/>
                </a:cubicBezTo>
                <a:cubicBezTo>
                  <a:pt x="14" y="17"/>
                  <a:pt x="14" y="16"/>
                  <a:pt x="14" y="16"/>
                </a:cubicBezTo>
                <a:cubicBezTo>
                  <a:pt x="14" y="16"/>
                  <a:pt x="15" y="16"/>
                  <a:pt x="14" y="16"/>
                </a:cubicBezTo>
                <a:cubicBezTo>
                  <a:pt x="14" y="16"/>
                  <a:pt x="12" y="16"/>
                  <a:pt x="12" y="15"/>
                </a:cubicBezTo>
                <a:cubicBezTo>
                  <a:pt x="12" y="15"/>
                  <a:pt x="12" y="14"/>
                  <a:pt x="13" y="14"/>
                </a:cubicBezTo>
                <a:cubicBezTo>
                  <a:pt x="13" y="14"/>
                  <a:pt x="13" y="14"/>
                  <a:pt x="13" y="14"/>
                </a:cubicBezTo>
                <a:cubicBezTo>
                  <a:pt x="13" y="14"/>
                  <a:pt x="14" y="14"/>
                  <a:pt x="14" y="14"/>
                </a:cubicBezTo>
                <a:cubicBezTo>
                  <a:pt x="14" y="14"/>
                  <a:pt x="13" y="14"/>
                  <a:pt x="13" y="14"/>
                </a:cubicBezTo>
                <a:cubicBezTo>
                  <a:pt x="13" y="14"/>
                  <a:pt x="13" y="13"/>
                  <a:pt x="13" y="13"/>
                </a:cubicBezTo>
                <a:cubicBezTo>
                  <a:pt x="13" y="14"/>
                  <a:pt x="12" y="15"/>
                  <a:pt x="11" y="15"/>
                </a:cubicBezTo>
                <a:cubicBezTo>
                  <a:pt x="11" y="15"/>
                  <a:pt x="12" y="13"/>
                  <a:pt x="12" y="13"/>
                </a:cubicBezTo>
                <a:cubicBezTo>
                  <a:pt x="12" y="13"/>
                  <a:pt x="12" y="13"/>
                  <a:pt x="12" y="13"/>
                </a:cubicBezTo>
                <a:cubicBezTo>
                  <a:pt x="12" y="13"/>
                  <a:pt x="12" y="12"/>
                  <a:pt x="13" y="13"/>
                </a:cubicBezTo>
                <a:cubicBezTo>
                  <a:pt x="13" y="12"/>
                  <a:pt x="13" y="12"/>
                  <a:pt x="13" y="12"/>
                </a:cubicBezTo>
                <a:cubicBezTo>
                  <a:pt x="13" y="12"/>
                  <a:pt x="13" y="12"/>
                  <a:pt x="13" y="12"/>
                </a:cubicBezTo>
                <a:cubicBezTo>
                  <a:pt x="14" y="12"/>
                  <a:pt x="13" y="12"/>
                  <a:pt x="13" y="12"/>
                </a:cubicBezTo>
                <a:cubicBezTo>
                  <a:pt x="13" y="12"/>
                  <a:pt x="14" y="12"/>
                  <a:pt x="14" y="12"/>
                </a:cubicBezTo>
                <a:cubicBezTo>
                  <a:pt x="14" y="12"/>
                  <a:pt x="14" y="12"/>
                  <a:pt x="14" y="12"/>
                </a:cubicBezTo>
                <a:cubicBezTo>
                  <a:pt x="14" y="11"/>
                  <a:pt x="14" y="12"/>
                  <a:pt x="14" y="12"/>
                </a:cubicBezTo>
                <a:cubicBezTo>
                  <a:pt x="14" y="12"/>
                  <a:pt x="14" y="11"/>
                  <a:pt x="14" y="11"/>
                </a:cubicBezTo>
                <a:cubicBezTo>
                  <a:pt x="15" y="11"/>
                  <a:pt x="15" y="12"/>
                  <a:pt x="15" y="12"/>
                </a:cubicBezTo>
                <a:cubicBezTo>
                  <a:pt x="16" y="12"/>
                  <a:pt x="15" y="12"/>
                  <a:pt x="15" y="12"/>
                </a:cubicBezTo>
                <a:cubicBezTo>
                  <a:pt x="15" y="12"/>
                  <a:pt x="16" y="12"/>
                  <a:pt x="16" y="12"/>
                </a:cubicBezTo>
                <a:cubicBezTo>
                  <a:pt x="16" y="12"/>
                  <a:pt x="16" y="12"/>
                  <a:pt x="16" y="11"/>
                </a:cubicBezTo>
                <a:cubicBezTo>
                  <a:pt x="16" y="11"/>
                  <a:pt x="15" y="11"/>
                  <a:pt x="15" y="11"/>
                </a:cubicBezTo>
                <a:cubicBezTo>
                  <a:pt x="15" y="11"/>
                  <a:pt x="14" y="11"/>
                  <a:pt x="15" y="11"/>
                </a:cubicBezTo>
                <a:cubicBezTo>
                  <a:pt x="15" y="11"/>
                  <a:pt x="14" y="11"/>
                  <a:pt x="14" y="11"/>
                </a:cubicBezTo>
                <a:cubicBezTo>
                  <a:pt x="14" y="11"/>
                  <a:pt x="14" y="10"/>
                  <a:pt x="14" y="10"/>
                </a:cubicBezTo>
                <a:cubicBezTo>
                  <a:pt x="14" y="10"/>
                  <a:pt x="14" y="11"/>
                  <a:pt x="14" y="11"/>
                </a:cubicBezTo>
                <a:cubicBezTo>
                  <a:pt x="14" y="11"/>
                  <a:pt x="14" y="10"/>
                  <a:pt x="14" y="10"/>
                </a:cubicBezTo>
                <a:cubicBezTo>
                  <a:pt x="14" y="11"/>
                  <a:pt x="13" y="10"/>
                  <a:pt x="13" y="11"/>
                </a:cubicBezTo>
                <a:cubicBezTo>
                  <a:pt x="13" y="11"/>
                  <a:pt x="13" y="11"/>
                  <a:pt x="13" y="11"/>
                </a:cubicBezTo>
                <a:cubicBezTo>
                  <a:pt x="13" y="11"/>
                  <a:pt x="13" y="11"/>
                  <a:pt x="13" y="11"/>
                </a:cubicBezTo>
                <a:cubicBezTo>
                  <a:pt x="13" y="11"/>
                  <a:pt x="13" y="11"/>
                  <a:pt x="13" y="12"/>
                </a:cubicBezTo>
                <a:cubicBezTo>
                  <a:pt x="13" y="12"/>
                  <a:pt x="13" y="12"/>
                  <a:pt x="13" y="11"/>
                </a:cubicBezTo>
                <a:cubicBezTo>
                  <a:pt x="13" y="12"/>
                  <a:pt x="13" y="12"/>
                  <a:pt x="12" y="12"/>
                </a:cubicBezTo>
                <a:cubicBezTo>
                  <a:pt x="12" y="12"/>
                  <a:pt x="12" y="12"/>
                  <a:pt x="12" y="12"/>
                </a:cubicBezTo>
                <a:cubicBezTo>
                  <a:pt x="12" y="12"/>
                  <a:pt x="12" y="11"/>
                  <a:pt x="12" y="11"/>
                </a:cubicBezTo>
                <a:cubicBezTo>
                  <a:pt x="12" y="11"/>
                  <a:pt x="12" y="11"/>
                  <a:pt x="12" y="11"/>
                </a:cubicBezTo>
                <a:cubicBezTo>
                  <a:pt x="11" y="11"/>
                  <a:pt x="11" y="10"/>
                  <a:pt x="11" y="11"/>
                </a:cubicBezTo>
                <a:cubicBezTo>
                  <a:pt x="11" y="10"/>
                  <a:pt x="12" y="10"/>
                  <a:pt x="12" y="9"/>
                </a:cubicBezTo>
                <a:cubicBezTo>
                  <a:pt x="13" y="9"/>
                  <a:pt x="14" y="9"/>
                  <a:pt x="15" y="9"/>
                </a:cubicBezTo>
                <a:cubicBezTo>
                  <a:pt x="15" y="9"/>
                  <a:pt x="16" y="8"/>
                  <a:pt x="16" y="9"/>
                </a:cubicBezTo>
                <a:cubicBezTo>
                  <a:pt x="15" y="9"/>
                  <a:pt x="17" y="11"/>
                  <a:pt x="17" y="10"/>
                </a:cubicBezTo>
                <a:cubicBezTo>
                  <a:pt x="16" y="10"/>
                  <a:pt x="15" y="8"/>
                  <a:pt x="16" y="8"/>
                </a:cubicBezTo>
                <a:cubicBezTo>
                  <a:pt x="16" y="7"/>
                  <a:pt x="15" y="8"/>
                  <a:pt x="15" y="8"/>
                </a:cubicBezTo>
                <a:cubicBezTo>
                  <a:pt x="14" y="9"/>
                  <a:pt x="14" y="9"/>
                  <a:pt x="13" y="8"/>
                </a:cubicBezTo>
                <a:cubicBezTo>
                  <a:pt x="11" y="7"/>
                  <a:pt x="10" y="10"/>
                  <a:pt x="8" y="10"/>
                </a:cubicBezTo>
                <a:cubicBezTo>
                  <a:pt x="8" y="10"/>
                  <a:pt x="8" y="10"/>
                  <a:pt x="8" y="10"/>
                </a:cubicBezTo>
                <a:cubicBezTo>
                  <a:pt x="8" y="10"/>
                  <a:pt x="7" y="11"/>
                  <a:pt x="7" y="10"/>
                </a:cubicBezTo>
                <a:cubicBezTo>
                  <a:pt x="7" y="10"/>
                  <a:pt x="7" y="9"/>
                  <a:pt x="7" y="9"/>
                </a:cubicBezTo>
                <a:cubicBezTo>
                  <a:pt x="8" y="8"/>
                  <a:pt x="8" y="8"/>
                  <a:pt x="8" y="8"/>
                </a:cubicBezTo>
                <a:cubicBezTo>
                  <a:pt x="9" y="8"/>
                  <a:pt x="9" y="8"/>
                  <a:pt x="10" y="7"/>
                </a:cubicBezTo>
                <a:cubicBezTo>
                  <a:pt x="9" y="8"/>
                  <a:pt x="8" y="7"/>
                  <a:pt x="8" y="7"/>
                </a:cubicBezTo>
                <a:cubicBezTo>
                  <a:pt x="7" y="7"/>
                  <a:pt x="8" y="8"/>
                  <a:pt x="7" y="8"/>
                </a:cubicBezTo>
                <a:cubicBezTo>
                  <a:pt x="7" y="8"/>
                  <a:pt x="6" y="8"/>
                  <a:pt x="6" y="8"/>
                </a:cubicBezTo>
                <a:cubicBezTo>
                  <a:pt x="5" y="9"/>
                  <a:pt x="4" y="8"/>
                  <a:pt x="4" y="7"/>
                </a:cubicBezTo>
                <a:cubicBezTo>
                  <a:pt x="3" y="7"/>
                  <a:pt x="3" y="7"/>
                  <a:pt x="3" y="6"/>
                </a:cubicBezTo>
                <a:cubicBezTo>
                  <a:pt x="3" y="6"/>
                  <a:pt x="4" y="6"/>
                  <a:pt x="4" y="5"/>
                </a:cubicBezTo>
                <a:cubicBezTo>
                  <a:pt x="4" y="5"/>
                  <a:pt x="4" y="5"/>
                  <a:pt x="5" y="4"/>
                </a:cubicBezTo>
                <a:cubicBezTo>
                  <a:pt x="5" y="4"/>
                  <a:pt x="6" y="4"/>
                  <a:pt x="6" y="4"/>
                </a:cubicBezTo>
                <a:cubicBezTo>
                  <a:pt x="6" y="4"/>
                  <a:pt x="6" y="4"/>
                  <a:pt x="6" y="4"/>
                </a:cubicBezTo>
                <a:cubicBezTo>
                  <a:pt x="5" y="4"/>
                  <a:pt x="5" y="4"/>
                  <a:pt x="4" y="4"/>
                </a:cubicBezTo>
                <a:cubicBezTo>
                  <a:pt x="4" y="5"/>
                  <a:pt x="4" y="5"/>
                  <a:pt x="4" y="4"/>
                </a:cubicBezTo>
                <a:cubicBezTo>
                  <a:pt x="3" y="5"/>
                  <a:pt x="4" y="5"/>
                  <a:pt x="3" y="5"/>
                </a:cubicBezTo>
                <a:cubicBezTo>
                  <a:pt x="3" y="5"/>
                  <a:pt x="2" y="5"/>
                  <a:pt x="2" y="5"/>
                </a:cubicBezTo>
                <a:cubicBezTo>
                  <a:pt x="1" y="5"/>
                  <a:pt x="1" y="3"/>
                  <a:pt x="0" y="4"/>
                </a:cubicBezTo>
                <a:cubicBezTo>
                  <a:pt x="0" y="3"/>
                  <a:pt x="2" y="3"/>
                  <a:pt x="3" y="3"/>
                </a:cubicBezTo>
                <a:cubicBezTo>
                  <a:pt x="4" y="3"/>
                  <a:pt x="4" y="3"/>
                  <a:pt x="5" y="2"/>
                </a:cubicBezTo>
                <a:cubicBezTo>
                  <a:pt x="6" y="2"/>
                  <a:pt x="7" y="2"/>
                  <a:pt x="7" y="3"/>
                </a:cubicBezTo>
                <a:cubicBezTo>
                  <a:pt x="9" y="3"/>
                  <a:pt x="11" y="2"/>
                  <a:pt x="13" y="1"/>
                </a:cubicBezTo>
                <a:cubicBezTo>
                  <a:pt x="14" y="0"/>
                  <a:pt x="15" y="0"/>
                  <a:pt x="16" y="0"/>
                </a:cubicBezTo>
                <a:cubicBezTo>
                  <a:pt x="16" y="0"/>
                  <a:pt x="17" y="0"/>
                  <a:pt x="18" y="0"/>
                </a:cubicBezTo>
                <a:cubicBezTo>
                  <a:pt x="21" y="0"/>
                  <a:pt x="25" y="0"/>
                  <a:pt x="29" y="0"/>
                </a:cubicBezTo>
                <a:cubicBezTo>
                  <a:pt x="29" y="1"/>
                  <a:pt x="30" y="2"/>
                  <a:pt x="29" y="3"/>
                </a:cubicBezTo>
                <a:close/>
                <a:moveTo>
                  <a:pt x="6" y="9"/>
                </a:moveTo>
                <a:cubicBezTo>
                  <a:pt x="7" y="9"/>
                  <a:pt x="7" y="9"/>
                  <a:pt x="7" y="8"/>
                </a:cubicBezTo>
                <a:cubicBezTo>
                  <a:pt x="7" y="8"/>
                  <a:pt x="6" y="8"/>
                  <a:pt x="6" y="9"/>
                </a:cubicBezTo>
                <a:close/>
                <a:moveTo>
                  <a:pt x="7" y="12"/>
                </a:moveTo>
                <a:cubicBezTo>
                  <a:pt x="7" y="12"/>
                  <a:pt x="7" y="12"/>
                  <a:pt x="7" y="12"/>
                </a:cubicBezTo>
                <a:cubicBezTo>
                  <a:pt x="7" y="12"/>
                  <a:pt x="7" y="12"/>
                  <a:pt x="7" y="12"/>
                </a:cubicBezTo>
                <a:cubicBezTo>
                  <a:pt x="8" y="13"/>
                  <a:pt x="8" y="12"/>
                  <a:pt x="7" y="12"/>
                </a:cubicBezTo>
                <a:close/>
                <a:moveTo>
                  <a:pt x="12" y="12"/>
                </a:moveTo>
                <a:cubicBezTo>
                  <a:pt x="12" y="12"/>
                  <a:pt x="12" y="12"/>
                  <a:pt x="12" y="11"/>
                </a:cubicBezTo>
                <a:cubicBezTo>
                  <a:pt x="11" y="11"/>
                  <a:pt x="10" y="12"/>
                  <a:pt x="10" y="13"/>
                </a:cubicBezTo>
                <a:cubicBezTo>
                  <a:pt x="10" y="13"/>
                  <a:pt x="11" y="13"/>
                  <a:pt x="11" y="12"/>
                </a:cubicBezTo>
                <a:cubicBezTo>
                  <a:pt x="11" y="12"/>
                  <a:pt x="12" y="12"/>
                  <a:pt x="12" y="12"/>
                </a:cubicBezTo>
                <a:close/>
                <a:moveTo>
                  <a:pt x="4" y="15"/>
                </a:moveTo>
                <a:cubicBezTo>
                  <a:pt x="4" y="15"/>
                  <a:pt x="4" y="16"/>
                  <a:pt x="4" y="16"/>
                </a:cubicBezTo>
                <a:cubicBezTo>
                  <a:pt x="4" y="16"/>
                  <a:pt x="5" y="16"/>
                  <a:pt x="5" y="16"/>
                </a:cubicBezTo>
                <a:cubicBezTo>
                  <a:pt x="5" y="15"/>
                  <a:pt x="5" y="15"/>
                  <a:pt x="4" y="15"/>
                </a:cubicBezTo>
                <a:close/>
                <a:moveTo>
                  <a:pt x="6" y="16"/>
                </a:moveTo>
                <a:cubicBezTo>
                  <a:pt x="6" y="16"/>
                  <a:pt x="6" y="17"/>
                  <a:pt x="6" y="17"/>
                </a:cubicBezTo>
                <a:cubicBezTo>
                  <a:pt x="7" y="17"/>
                  <a:pt x="7" y="16"/>
                  <a:pt x="6" y="16"/>
                </a:cubicBezTo>
                <a:close/>
                <a:moveTo>
                  <a:pt x="7" y="17"/>
                </a:moveTo>
                <a:cubicBezTo>
                  <a:pt x="7" y="17"/>
                  <a:pt x="6" y="18"/>
                  <a:pt x="6" y="18"/>
                </a:cubicBezTo>
                <a:cubicBezTo>
                  <a:pt x="7" y="17"/>
                  <a:pt x="7" y="17"/>
                  <a:pt x="7" y="17"/>
                </a:cubicBezTo>
                <a:close/>
                <a:moveTo>
                  <a:pt x="4" y="12"/>
                </a:moveTo>
                <a:cubicBezTo>
                  <a:pt x="4" y="12"/>
                  <a:pt x="3" y="12"/>
                  <a:pt x="3" y="12"/>
                </a:cubicBezTo>
                <a:cubicBezTo>
                  <a:pt x="3" y="12"/>
                  <a:pt x="2" y="13"/>
                  <a:pt x="3" y="13"/>
                </a:cubicBezTo>
                <a:cubicBezTo>
                  <a:pt x="3" y="13"/>
                  <a:pt x="3" y="13"/>
                  <a:pt x="4" y="13"/>
                </a:cubicBezTo>
                <a:cubicBezTo>
                  <a:pt x="4" y="13"/>
                  <a:pt x="5" y="12"/>
                  <a:pt x="4" y="12"/>
                </a:cubicBezTo>
                <a:close/>
                <a:moveTo>
                  <a:pt x="6" y="13"/>
                </a:moveTo>
                <a:cubicBezTo>
                  <a:pt x="7" y="13"/>
                  <a:pt x="7" y="11"/>
                  <a:pt x="6" y="13"/>
                </a:cubicBezTo>
                <a:close/>
                <a:moveTo>
                  <a:pt x="7" y="16"/>
                </a:moveTo>
                <a:cubicBezTo>
                  <a:pt x="7" y="16"/>
                  <a:pt x="7" y="17"/>
                  <a:pt x="7" y="17"/>
                </a:cubicBezTo>
                <a:cubicBezTo>
                  <a:pt x="7" y="17"/>
                  <a:pt x="7" y="17"/>
                  <a:pt x="7" y="17"/>
                </a:cubicBezTo>
                <a:cubicBezTo>
                  <a:pt x="7" y="17"/>
                  <a:pt x="7" y="18"/>
                  <a:pt x="7" y="18"/>
                </a:cubicBezTo>
                <a:cubicBezTo>
                  <a:pt x="7" y="18"/>
                  <a:pt x="7" y="18"/>
                  <a:pt x="7" y="18"/>
                </a:cubicBezTo>
                <a:cubicBezTo>
                  <a:pt x="8" y="18"/>
                  <a:pt x="8" y="16"/>
                  <a:pt x="7" y="16"/>
                </a:cubicBezTo>
                <a:close/>
                <a:moveTo>
                  <a:pt x="4" y="17"/>
                </a:moveTo>
                <a:cubicBezTo>
                  <a:pt x="5" y="17"/>
                  <a:pt x="4" y="17"/>
                  <a:pt x="4" y="17"/>
                </a:cubicBezTo>
                <a:cubicBezTo>
                  <a:pt x="4" y="18"/>
                  <a:pt x="5" y="18"/>
                  <a:pt x="5" y="18"/>
                </a:cubicBezTo>
                <a:cubicBezTo>
                  <a:pt x="5" y="18"/>
                  <a:pt x="5" y="18"/>
                  <a:pt x="5" y="18"/>
                </a:cubicBezTo>
                <a:cubicBezTo>
                  <a:pt x="5" y="18"/>
                  <a:pt x="6" y="18"/>
                  <a:pt x="6" y="18"/>
                </a:cubicBezTo>
                <a:cubicBezTo>
                  <a:pt x="6" y="17"/>
                  <a:pt x="6" y="17"/>
                  <a:pt x="6" y="16"/>
                </a:cubicBezTo>
                <a:cubicBezTo>
                  <a:pt x="6" y="16"/>
                  <a:pt x="5" y="17"/>
                  <a:pt x="4" y="17"/>
                </a:cubicBezTo>
                <a:close/>
                <a:moveTo>
                  <a:pt x="9" y="15"/>
                </a:moveTo>
                <a:cubicBezTo>
                  <a:pt x="9" y="15"/>
                  <a:pt x="8" y="16"/>
                  <a:pt x="9" y="17"/>
                </a:cubicBezTo>
                <a:cubicBezTo>
                  <a:pt x="9" y="16"/>
                  <a:pt x="9" y="17"/>
                  <a:pt x="9" y="16"/>
                </a:cubicBezTo>
                <a:cubicBezTo>
                  <a:pt x="9" y="16"/>
                  <a:pt x="9" y="16"/>
                  <a:pt x="9" y="16"/>
                </a:cubicBezTo>
                <a:cubicBezTo>
                  <a:pt x="10" y="16"/>
                  <a:pt x="10" y="15"/>
                  <a:pt x="10" y="16"/>
                </a:cubicBezTo>
                <a:cubicBezTo>
                  <a:pt x="10" y="16"/>
                  <a:pt x="10" y="15"/>
                  <a:pt x="9" y="15"/>
                </a:cubicBezTo>
                <a:close/>
                <a:moveTo>
                  <a:pt x="7" y="9"/>
                </a:moveTo>
                <a:cubicBezTo>
                  <a:pt x="7" y="9"/>
                  <a:pt x="7" y="9"/>
                  <a:pt x="6" y="9"/>
                </a:cubicBezTo>
                <a:cubicBezTo>
                  <a:pt x="6" y="9"/>
                  <a:pt x="6" y="9"/>
                  <a:pt x="5" y="9"/>
                </a:cubicBezTo>
                <a:cubicBezTo>
                  <a:pt x="5" y="9"/>
                  <a:pt x="5" y="10"/>
                  <a:pt x="6" y="10"/>
                </a:cubicBezTo>
                <a:cubicBezTo>
                  <a:pt x="6" y="10"/>
                  <a:pt x="6" y="10"/>
                  <a:pt x="7" y="9"/>
                </a:cubicBezTo>
                <a:close/>
                <a:moveTo>
                  <a:pt x="7" y="14"/>
                </a:moveTo>
                <a:cubicBezTo>
                  <a:pt x="8" y="14"/>
                  <a:pt x="8" y="13"/>
                  <a:pt x="7" y="13"/>
                </a:cubicBezTo>
                <a:cubicBezTo>
                  <a:pt x="7" y="12"/>
                  <a:pt x="7" y="13"/>
                  <a:pt x="6" y="13"/>
                </a:cubicBezTo>
                <a:cubicBezTo>
                  <a:pt x="5" y="14"/>
                  <a:pt x="6" y="14"/>
                  <a:pt x="7" y="1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4" name="Guinea"/>
          <p:cNvSpPr>
            <a:spLocks noEditPoints="1"/>
          </p:cNvSpPr>
          <p:nvPr/>
        </p:nvSpPr>
        <p:spPr bwMode="auto">
          <a:xfrm>
            <a:off x="5268101" y="4160956"/>
            <a:ext cx="259991" cy="216992"/>
          </a:xfrm>
          <a:custGeom>
            <a:avLst/>
            <a:gdLst/>
            <a:ahLst/>
            <a:cxnLst>
              <a:cxn ang="0">
                <a:pos x="68" y="46"/>
              </a:cxn>
              <a:cxn ang="0">
                <a:pos x="68" y="49"/>
              </a:cxn>
              <a:cxn ang="0">
                <a:pos x="67" y="54"/>
              </a:cxn>
              <a:cxn ang="0">
                <a:pos x="64" y="56"/>
              </a:cxn>
              <a:cxn ang="0">
                <a:pos x="61" y="57"/>
              </a:cxn>
              <a:cxn ang="0">
                <a:pos x="57" y="60"/>
              </a:cxn>
              <a:cxn ang="0">
                <a:pos x="55" y="58"/>
              </a:cxn>
              <a:cxn ang="0">
                <a:pos x="54" y="51"/>
              </a:cxn>
              <a:cxn ang="0">
                <a:pos x="54" y="47"/>
              </a:cxn>
              <a:cxn ang="0">
                <a:pos x="52" y="47"/>
              </a:cxn>
              <a:cxn ang="0">
                <a:pos x="48" y="47"/>
              </a:cxn>
              <a:cxn ang="0">
                <a:pos x="43" y="48"/>
              </a:cxn>
              <a:cxn ang="0">
                <a:pos x="44" y="44"/>
              </a:cxn>
              <a:cxn ang="0">
                <a:pos x="42" y="39"/>
              </a:cxn>
              <a:cxn ang="0">
                <a:pos x="39" y="32"/>
              </a:cxn>
              <a:cxn ang="0">
                <a:pos x="31" y="29"/>
              </a:cxn>
              <a:cxn ang="0">
                <a:pos x="26" y="30"/>
              </a:cxn>
              <a:cxn ang="0">
                <a:pos x="23" y="35"/>
              </a:cxn>
              <a:cxn ang="0">
                <a:pos x="21" y="38"/>
              </a:cxn>
              <a:cxn ang="0">
                <a:pos x="17" y="39"/>
              </a:cxn>
              <a:cxn ang="0">
                <a:pos x="17" y="37"/>
              </a:cxn>
              <a:cxn ang="0">
                <a:pos x="15" y="35"/>
              </a:cxn>
              <a:cxn ang="0">
                <a:pos x="13" y="35"/>
              </a:cxn>
              <a:cxn ang="0">
                <a:pos x="14" y="31"/>
              </a:cxn>
              <a:cxn ang="0">
                <a:pos x="10" y="29"/>
              </a:cxn>
              <a:cxn ang="0">
                <a:pos x="10" y="28"/>
              </a:cxn>
              <a:cxn ang="0">
                <a:pos x="8" y="27"/>
              </a:cxn>
              <a:cxn ang="0">
                <a:pos x="5" y="24"/>
              </a:cxn>
              <a:cxn ang="0">
                <a:pos x="5" y="21"/>
              </a:cxn>
              <a:cxn ang="0">
                <a:pos x="3" y="22"/>
              </a:cxn>
              <a:cxn ang="0">
                <a:pos x="4" y="18"/>
              </a:cxn>
              <a:cxn ang="0">
                <a:pos x="2" y="18"/>
              </a:cxn>
              <a:cxn ang="0">
                <a:pos x="4" y="13"/>
              </a:cxn>
              <a:cxn ang="0">
                <a:pos x="11" y="11"/>
              </a:cxn>
              <a:cxn ang="0">
                <a:pos x="13" y="11"/>
              </a:cxn>
              <a:cxn ang="0">
                <a:pos x="11" y="6"/>
              </a:cxn>
              <a:cxn ang="0">
                <a:pos x="19" y="0"/>
              </a:cxn>
              <a:cxn ang="0">
                <a:pos x="23" y="3"/>
              </a:cxn>
              <a:cxn ang="0">
                <a:pos x="29" y="3"/>
              </a:cxn>
              <a:cxn ang="0">
                <a:pos x="35" y="3"/>
              </a:cxn>
              <a:cxn ang="0">
                <a:pos x="35" y="5"/>
              </a:cxn>
              <a:cxn ang="0">
                <a:pos x="41" y="5"/>
              </a:cxn>
              <a:cxn ang="0">
                <a:pos x="44" y="7"/>
              </a:cxn>
              <a:cxn ang="0">
                <a:pos x="46" y="5"/>
              </a:cxn>
              <a:cxn ang="0">
                <a:pos x="53" y="6"/>
              </a:cxn>
              <a:cxn ang="0">
                <a:pos x="56" y="2"/>
              </a:cxn>
              <a:cxn ang="0">
                <a:pos x="60" y="7"/>
              </a:cxn>
              <a:cxn ang="0">
                <a:pos x="62" y="12"/>
              </a:cxn>
              <a:cxn ang="0">
                <a:pos x="65" y="15"/>
              </a:cxn>
              <a:cxn ang="0">
                <a:pos x="62" y="18"/>
              </a:cxn>
              <a:cxn ang="0">
                <a:pos x="66" y="20"/>
              </a:cxn>
              <a:cxn ang="0">
                <a:pos x="69" y="27"/>
              </a:cxn>
              <a:cxn ang="0">
                <a:pos x="67" y="31"/>
              </a:cxn>
              <a:cxn ang="0">
                <a:pos x="69" y="38"/>
              </a:cxn>
              <a:cxn ang="0">
                <a:pos x="69" y="41"/>
              </a:cxn>
              <a:cxn ang="0">
                <a:pos x="72" y="47"/>
              </a:cxn>
              <a:cxn ang="0">
                <a:pos x="2" y="19"/>
              </a:cxn>
            </a:cxnLst>
            <a:rect l="0" t="0" r="r" b="b"/>
            <a:pathLst>
              <a:path w="72" h="60">
                <a:moveTo>
                  <a:pt x="72" y="47"/>
                </a:moveTo>
                <a:cubicBezTo>
                  <a:pt x="72" y="47"/>
                  <a:pt x="71" y="47"/>
                  <a:pt x="71" y="47"/>
                </a:cubicBezTo>
                <a:cubicBezTo>
                  <a:pt x="70" y="45"/>
                  <a:pt x="70" y="47"/>
                  <a:pt x="69" y="47"/>
                </a:cubicBezTo>
                <a:cubicBezTo>
                  <a:pt x="69" y="46"/>
                  <a:pt x="69" y="46"/>
                  <a:pt x="68" y="46"/>
                </a:cubicBezTo>
                <a:cubicBezTo>
                  <a:pt x="68" y="46"/>
                  <a:pt x="67" y="46"/>
                  <a:pt x="67" y="46"/>
                </a:cubicBezTo>
                <a:cubicBezTo>
                  <a:pt x="66" y="46"/>
                  <a:pt x="66" y="48"/>
                  <a:pt x="66" y="49"/>
                </a:cubicBezTo>
                <a:cubicBezTo>
                  <a:pt x="66" y="49"/>
                  <a:pt x="67" y="49"/>
                  <a:pt x="67" y="49"/>
                </a:cubicBezTo>
                <a:cubicBezTo>
                  <a:pt x="68" y="49"/>
                  <a:pt x="68" y="49"/>
                  <a:pt x="68" y="49"/>
                </a:cubicBezTo>
                <a:cubicBezTo>
                  <a:pt x="69" y="49"/>
                  <a:pt x="68" y="50"/>
                  <a:pt x="68" y="50"/>
                </a:cubicBezTo>
                <a:cubicBezTo>
                  <a:pt x="68" y="50"/>
                  <a:pt x="69" y="51"/>
                  <a:pt x="69" y="51"/>
                </a:cubicBezTo>
                <a:cubicBezTo>
                  <a:pt x="68" y="51"/>
                  <a:pt x="68" y="51"/>
                  <a:pt x="67" y="52"/>
                </a:cubicBezTo>
                <a:cubicBezTo>
                  <a:pt x="67" y="53"/>
                  <a:pt x="68" y="53"/>
                  <a:pt x="67" y="54"/>
                </a:cubicBezTo>
                <a:cubicBezTo>
                  <a:pt x="67" y="54"/>
                  <a:pt x="67" y="54"/>
                  <a:pt x="67" y="55"/>
                </a:cubicBezTo>
                <a:cubicBezTo>
                  <a:pt x="66" y="56"/>
                  <a:pt x="66" y="57"/>
                  <a:pt x="66" y="56"/>
                </a:cubicBezTo>
                <a:cubicBezTo>
                  <a:pt x="65" y="56"/>
                  <a:pt x="65" y="56"/>
                  <a:pt x="65" y="56"/>
                </a:cubicBezTo>
                <a:cubicBezTo>
                  <a:pt x="64" y="56"/>
                  <a:pt x="65" y="56"/>
                  <a:pt x="64" y="56"/>
                </a:cubicBezTo>
                <a:cubicBezTo>
                  <a:pt x="64" y="56"/>
                  <a:pt x="64" y="56"/>
                  <a:pt x="64" y="56"/>
                </a:cubicBezTo>
                <a:cubicBezTo>
                  <a:pt x="63" y="56"/>
                  <a:pt x="63" y="56"/>
                  <a:pt x="63" y="55"/>
                </a:cubicBezTo>
                <a:cubicBezTo>
                  <a:pt x="63" y="55"/>
                  <a:pt x="62" y="55"/>
                  <a:pt x="62" y="55"/>
                </a:cubicBezTo>
                <a:cubicBezTo>
                  <a:pt x="61" y="55"/>
                  <a:pt x="61" y="57"/>
                  <a:pt x="61" y="57"/>
                </a:cubicBezTo>
                <a:cubicBezTo>
                  <a:pt x="61" y="58"/>
                  <a:pt x="60" y="58"/>
                  <a:pt x="60" y="58"/>
                </a:cubicBezTo>
                <a:cubicBezTo>
                  <a:pt x="60" y="59"/>
                  <a:pt x="60" y="59"/>
                  <a:pt x="60" y="59"/>
                </a:cubicBezTo>
                <a:cubicBezTo>
                  <a:pt x="59" y="60"/>
                  <a:pt x="59" y="59"/>
                  <a:pt x="59" y="59"/>
                </a:cubicBezTo>
                <a:cubicBezTo>
                  <a:pt x="58" y="60"/>
                  <a:pt x="58" y="60"/>
                  <a:pt x="57" y="60"/>
                </a:cubicBezTo>
                <a:cubicBezTo>
                  <a:pt x="58" y="60"/>
                  <a:pt x="57" y="59"/>
                  <a:pt x="57" y="59"/>
                </a:cubicBezTo>
                <a:cubicBezTo>
                  <a:pt x="56" y="59"/>
                  <a:pt x="57" y="58"/>
                  <a:pt x="56" y="58"/>
                </a:cubicBezTo>
                <a:cubicBezTo>
                  <a:pt x="55" y="58"/>
                  <a:pt x="55" y="57"/>
                  <a:pt x="55" y="58"/>
                </a:cubicBezTo>
                <a:cubicBezTo>
                  <a:pt x="55" y="58"/>
                  <a:pt x="55" y="58"/>
                  <a:pt x="55" y="58"/>
                </a:cubicBezTo>
                <a:cubicBezTo>
                  <a:pt x="54" y="58"/>
                  <a:pt x="54" y="58"/>
                  <a:pt x="54" y="58"/>
                </a:cubicBezTo>
                <a:cubicBezTo>
                  <a:pt x="54" y="57"/>
                  <a:pt x="56" y="55"/>
                  <a:pt x="55" y="54"/>
                </a:cubicBezTo>
                <a:cubicBezTo>
                  <a:pt x="55" y="53"/>
                  <a:pt x="54" y="53"/>
                  <a:pt x="55" y="52"/>
                </a:cubicBezTo>
                <a:cubicBezTo>
                  <a:pt x="55" y="51"/>
                  <a:pt x="55" y="50"/>
                  <a:pt x="54" y="51"/>
                </a:cubicBezTo>
                <a:cubicBezTo>
                  <a:pt x="54" y="51"/>
                  <a:pt x="54" y="50"/>
                  <a:pt x="54" y="50"/>
                </a:cubicBezTo>
                <a:cubicBezTo>
                  <a:pt x="54" y="49"/>
                  <a:pt x="54" y="49"/>
                  <a:pt x="54" y="49"/>
                </a:cubicBezTo>
                <a:cubicBezTo>
                  <a:pt x="54" y="49"/>
                  <a:pt x="54" y="48"/>
                  <a:pt x="54" y="48"/>
                </a:cubicBezTo>
                <a:cubicBezTo>
                  <a:pt x="54" y="48"/>
                  <a:pt x="54" y="47"/>
                  <a:pt x="54" y="47"/>
                </a:cubicBezTo>
                <a:cubicBezTo>
                  <a:pt x="54" y="47"/>
                  <a:pt x="53" y="47"/>
                  <a:pt x="53" y="47"/>
                </a:cubicBezTo>
                <a:cubicBezTo>
                  <a:pt x="53" y="47"/>
                  <a:pt x="52" y="47"/>
                  <a:pt x="52" y="47"/>
                </a:cubicBezTo>
                <a:cubicBezTo>
                  <a:pt x="52" y="47"/>
                  <a:pt x="53" y="47"/>
                  <a:pt x="53" y="46"/>
                </a:cubicBezTo>
                <a:cubicBezTo>
                  <a:pt x="52" y="46"/>
                  <a:pt x="52" y="46"/>
                  <a:pt x="52" y="47"/>
                </a:cubicBezTo>
                <a:cubicBezTo>
                  <a:pt x="52" y="46"/>
                  <a:pt x="52" y="46"/>
                  <a:pt x="51" y="45"/>
                </a:cubicBezTo>
                <a:cubicBezTo>
                  <a:pt x="51" y="45"/>
                  <a:pt x="51" y="45"/>
                  <a:pt x="51" y="45"/>
                </a:cubicBezTo>
                <a:cubicBezTo>
                  <a:pt x="51" y="46"/>
                  <a:pt x="51" y="46"/>
                  <a:pt x="50" y="46"/>
                </a:cubicBezTo>
                <a:cubicBezTo>
                  <a:pt x="50" y="46"/>
                  <a:pt x="49" y="47"/>
                  <a:pt x="48" y="47"/>
                </a:cubicBezTo>
                <a:cubicBezTo>
                  <a:pt x="48" y="46"/>
                  <a:pt x="49" y="46"/>
                  <a:pt x="48" y="46"/>
                </a:cubicBezTo>
                <a:cubicBezTo>
                  <a:pt x="47" y="45"/>
                  <a:pt x="47" y="46"/>
                  <a:pt x="46" y="46"/>
                </a:cubicBezTo>
                <a:cubicBezTo>
                  <a:pt x="45" y="46"/>
                  <a:pt x="45" y="46"/>
                  <a:pt x="45" y="47"/>
                </a:cubicBezTo>
                <a:cubicBezTo>
                  <a:pt x="44" y="47"/>
                  <a:pt x="44" y="48"/>
                  <a:pt x="43" y="48"/>
                </a:cubicBezTo>
                <a:cubicBezTo>
                  <a:pt x="43" y="48"/>
                  <a:pt x="42" y="48"/>
                  <a:pt x="42" y="48"/>
                </a:cubicBezTo>
                <a:cubicBezTo>
                  <a:pt x="42" y="48"/>
                  <a:pt x="42" y="47"/>
                  <a:pt x="43" y="47"/>
                </a:cubicBezTo>
                <a:cubicBezTo>
                  <a:pt x="43" y="47"/>
                  <a:pt x="43" y="46"/>
                  <a:pt x="43" y="45"/>
                </a:cubicBezTo>
                <a:cubicBezTo>
                  <a:pt x="44" y="45"/>
                  <a:pt x="44" y="45"/>
                  <a:pt x="44" y="44"/>
                </a:cubicBezTo>
                <a:cubicBezTo>
                  <a:pt x="45" y="44"/>
                  <a:pt x="44" y="43"/>
                  <a:pt x="44" y="43"/>
                </a:cubicBezTo>
                <a:cubicBezTo>
                  <a:pt x="43" y="42"/>
                  <a:pt x="43" y="42"/>
                  <a:pt x="43" y="41"/>
                </a:cubicBezTo>
                <a:cubicBezTo>
                  <a:pt x="43" y="41"/>
                  <a:pt x="44" y="40"/>
                  <a:pt x="43" y="40"/>
                </a:cubicBezTo>
                <a:cubicBezTo>
                  <a:pt x="43" y="39"/>
                  <a:pt x="42" y="40"/>
                  <a:pt x="42" y="39"/>
                </a:cubicBezTo>
                <a:cubicBezTo>
                  <a:pt x="42" y="38"/>
                  <a:pt x="42" y="38"/>
                  <a:pt x="43" y="38"/>
                </a:cubicBezTo>
                <a:cubicBezTo>
                  <a:pt x="43" y="37"/>
                  <a:pt x="42" y="36"/>
                  <a:pt x="41" y="36"/>
                </a:cubicBezTo>
                <a:cubicBezTo>
                  <a:pt x="41" y="35"/>
                  <a:pt x="41" y="34"/>
                  <a:pt x="40" y="34"/>
                </a:cubicBezTo>
                <a:cubicBezTo>
                  <a:pt x="40" y="33"/>
                  <a:pt x="40" y="32"/>
                  <a:pt x="39" y="32"/>
                </a:cubicBezTo>
                <a:cubicBezTo>
                  <a:pt x="39" y="31"/>
                  <a:pt x="38" y="31"/>
                  <a:pt x="38" y="31"/>
                </a:cubicBezTo>
                <a:cubicBezTo>
                  <a:pt x="38" y="30"/>
                  <a:pt x="38" y="29"/>
                  <a:pt x="37" y="29"/>
                </a:cubicBezTo>
                <a:cubicBezTo>
                  <a:pt x="36" y="29"/>
                  <a:pt x="34" y="29"/>
                  <a:pt x="32" y="29"/>
                </a:cubicBezTo>
                <a:cubicBezTo>
                  <a:pt x="32" y="29"/>
                  <a:pt x="31" y="29"/>
                  <a:pt x="31" y="29"/>
                </a:cubicBezTo>
                <a:cubicBezTo>
                  <a:pt x="31" y="30"/>
                  <a:pt x="31" y="30"/>
                  <a:pt x="31" y="30"/>
                </a:cubicBezTo>
                <a:cubicBezTo>
                  <a:pt x="31" y="30"/>
                  <a:pt x="30" y="30"/>
                  <a:pt x="30" y="30"/>
                </a:cubicBezTo>
                <a:cubicBezTo>
                  <a:pt x="29" y="31"/>
                  <a:pt x="29" y="31"/>
                  <a:pt x="28" y="31"/>
                </a:cubicBezTo>
                <a:cubicBezTo>
                  <a:pt x="27" y="30"/>
                  <a:pt x="27" y="30"/>
                  <a:pt x="26" y="30"/>
                </a:cubicBezTo>
                <a:cubicBezTo>
                  <a:pt x="26" y="30"/>
                  <a:pt x="25" y="31"/>
                  <a:pt x="25" y="31"/>
                </a:cubicBezTo>
                <a:cubicBezTo>
                  <a:pt x="25" y="31"/>
                  <a:pt x="25" y="32"/>
                  <a:pt x="25" y="33"/>
                </a:cubicBezTo>
                <a:cubicBezTo>
                  <a:pt x="24" y="33"/>
                  <a:pt x="24" y="34"/>
                  <a:pt x="24" y="34"/>
                </a:cubicBezTo>
                <a:cubicBezTo>
                  <a:pt x="24" y="34"/>
                  <a:pt x="23" y="35"/>
                  <a:pt x="23" y="35"/>
                </a:cubicBezTo>
                <a:cubicBezTo>
                  <a:pt x="23" y="36"/>
                  <a:pt x="23" y="36"/>
                  <a:pt x="23" y="36"/>
                </a:cubicBezTo>
                <a:cubicBezTo>
                  <a:pt x="22" y="36"/>
                  <a:pt x="23" y="36"/>
                  <a:pt x="22" y="37"/>
                </a:cubicBezTo>
                <a:cubicBezTo>
                  <a:pt x="22" y="37"/>
                  <a:pt x="22" y="37"/>
                  <a:pt x="22" y="37"/>
                </a:cubicBezTo>
                <a:cubicBezTo>
                  <a:pt x="21" y="37"/>
                  <a:pt x="21" y="37"/>
                  <a:pt x="21" y="38"/>
                </a:cubicBezTo>
                <a:cubicBezTo>
                  <a:pt x="20" y="38"/>
                  <a:pt x="21" y="38"/>
                  <a:pt x="20" y="38"/>
                </a:cubicBezTo>
                <a:cubicBezTo>
                  <a:pt x="20" y="39"/>
                  <a:pt x="20" y="39"/>
                  <a:pt x="20" y="39"/>
                </a:cubicBezTo>
                <a:cubicBezTo>
                  <a:pt x="19" y="40"/>
                  <a:pt x="18" y="39"/>
                  <a:pt x="17" y="40"/>
                </a:cubicBezTo>
                <a:cubicBezTo>
                  <a:pt x="17" y="40"/>
                  <a:pt x="17" y="39"/>
                  <a:pt x="17" y="39"/>
                </a:cubicBezTo>
                <a:cubicBezTo>
                  <a:pt x="18" y="39"/>
                  <a:pt x="18" y="39"/>
                  <a:pt x="19" y="38"/>
                </a:cubicBezTo>
                <a:cubicBezTo>
                  <a:pt x="18" y="38"/>
                  <a:pt x="18" y="38"/>
                  <a:pt x="18" y="37"/>
                </a:cubicBezTo>
                <a:cubicBezTo>
                  <a:pt x="18" y="38"/>
                  <a:pt x="17" y="39"/>
                  <a:pt x="17" y="38"/>
                </a:cubicBezTo>
                <a:cubicBezTo>
                  <a:pt x="17" y="38"/>
                  <a:pt x="17" y="38"/>
                  <a:pt x="17" y="37"/>
                </a:cubicBezTo>
                <a:cubicBezTo>
                  <a:pt x="17" y="37"/>
                  <a:pt x="17" y="37"/>
                  <a:pt x="17" y="37"/>
                </a:cubicBezTo>
                <a:cubicBezTo>
                  <a:pt x="17" y="37"/>
                  <a:pt x="17" y="38"/>
                  <a:pt x="16" y="37"/>
                </a:cubicBezTo>
                <a:cubicBezTo>
                  <a:pt x="16" y="37"/>
                  <a:pt x="16" y="36"/>
                  <a:pt x="16" y="36"/>
                </a:cubicBezTo>
                <a:cubicBezTo>
                  <a:pt x="16" y="36"/>
                  <a:pt x="15" y="36"/>
                  <a:pt x="15" y="35"/>
                </a:cubicBezTo>
                <a:cubicBezTo>
                  <a:pt x="15" y="35"/>
                  <a:pt x="15" y="35"/>
                  <a:pt x="15" y="34"/>
                </a:cubicBezTo>
                <a:cubicBezTo>
                  <a:pt x="15" y="34"/>
                  <a:pt x="15" y="35"/>
                  <a:pt x="15" y="35"/>
                </a:cubicBezTo>
                <a:cubicBezTo>
                  <a:pt x="15" y="35"/>
                  <a:pt x="14" y="35"/>
                  <a:pt x="14" y="34"/>
                </a:cubicBezTo>
                <a:cubicBezTo>
                  <a:pt x="14" y="34"/>
                  <a:pt x="13" y="35"/>
                  <a:pt x="13" y="35"/>
                </a:cubicBezTo>
                <a:cubicBezTo>
                  <a:pt x="13" y="34"/>
                  <a:pt x="14" y="34"/>
                  <a:pt x="14" y="33"/>
                </a:cubicBezTo>
                <a:cubicBezTo>
                  <a:pt x="14" y="33"/>
                  <a:pt x="14" y="33"/>
                  <a:pt x="14" y="32"/>
                </a:cubicBezTo>
                <a:cubicBezTo>
                  <a:pt x="14" y="32"/>
                  <a:pt x="15" y="32"/>
                  <a:pt x="15" y="32"/>
                </a:cubicBezTo>
                <a:cubicBezTo>
                  <a:pt x="14" y="32"/>
                  <a:pt x="14" y="31"/>
                  <a:pt x="14" y="31"/>
                </a:cubicBezTo>
                <a:cubicBezTo>
                  <a:pt x="14" y="32"/>
                  <a:pt x="14" y="33"/>
                  <a:pt x="13" y="32"/>
                </a:cubicBezTo>
                <a:cubicBezTo>
                  <a:pt x="12" y="32"/>
                  <a:pt x="14" y="31"/>
                  <a:pt x="14" y="30"/>
                </a:cubicBezTo>
                <a:cubicBezTo>
                  <a:pt x="13" y="32"/>
                  <a:pt x="12" y="31"/>
                  <a:pt x="11" y="30"/>
                </a:cubicBezTo>
                <a:cubicBezTo>
                  <a:pt x="11" y="30"/>
                  <a:pt x="10" y="30"/>
                  <a:pt x="10" y="29"/>
                </a:cubicBezTo>
                <a:cubicBezTo>
                  <a:pt x="10" y="29"/>
                  <a:pt x="10" y="28"/>
                  <a:pt x="11" y="28"/>
                </a:cubicBezTo>
                <a:cubicBezTo>
                  <a:pt x="10" y="28"/>
                  <a:pt x="10" y="28"/>
                  <a:pt x="10" y="28"/>
                </a:cubicBezTo>
                <a:cubicBezTo>
                  <a:pt x="10" y="28"/>
                  <a:pt x="10" y="27"/>
                  <a:pt x="11" y="27"/>
                </a:cubicBezTo>
                <a:cubicBezTo>
                  <a:pt x="10" y="27"/>
                  <a:pt x="10" y="28"/>
                  <a:pt x="10" y="28"/>
                </a:cubicBezTo>
                <a:cubicBezTo>
                  <a:pt x="10" y="28"/>
                  <a:pt x="10" y="29"/>
                  <a:pt x="9" y="29"/>
                </a:cubicBezTo>
                <a:cubicBezTo>
                  <a:pt x="8" y="29"/>
                  <a:pt x="9" y="28"/>
                  <a:pt x="9" y="28"/>
                </a:cubicBezTo>
                <a:cubicBezTo>
                  <a:pt x="9" y="27"/>
                  <a:pt x="9" y="28"/>
                  <a:pt x="9" y="28"/>
                </a:cubicBezTo>
                <a:cubicBezTo>
                  <a:pt x="8" y="29"/>
                  <a:pt x="8" y="27"/>
                  <a:pt x="8" y="27"/>
                </a:cubicBezTo>
                <a:cubicBezTo>
                  <a:pt x="8" y="28"/>
                  <a:pt x="8" y="28"/>
                  <a:pt x="8" y="28"/>
                </a:cubicBezTo>
                <a:cubicBezTo>
                  <a:pt x="7" y="27"/>
                  <a:pt x="7" y="26"/>
                  <a:pt x="6" y="27"/>
                </a:cubicBezTo>
                <a:cubicBezTo>
                  <a:pt x="6" y="27"/>
                  <a:pt x="6" y="26"/>
                  <a:pt x="6" y="26"/>
                </a:cubicBezTo>
                <a:cubicBezTo>
                  <a:pt x="6" y="25"/>
                  <a:pt x="5" y="24"/>
                  <a:pt x="5" y="24"/>
                </a:cubicBezTo>
                <a:cubicBezTo>
                  <a:pt x="5" y="24"/>
                  <a:pt x="4" y="25"/>
                  <a:pt x="4" y="24"/>
                </a:cubicBezTo>
                <a:cubicBezTo>
                  <a:pt x="4" y="23"/>
                  <a:pt x="5" y="23"/>
                  <a:pt x="5" y="23"/>
                </a:cubicBezTo>
                <a:cubicBezTo>
                  <a:pt x="4" y="23"/>
                  <a:pt x="6" y="20"/>
                  <a:pt x="6" y="20"/>
                </a:cubicBezTo>
                <a:cubicBezTo>
                  <a:pt x="5" y="20"/>
                  <a:pt x="5" y="21"/>
                  <a:pt x="5" y="21"/>
                </a:cubicBezTo>
                <a:cubicBezTo>
                  <a:pt x="5" y="21"/>
                  <a:pt x="4" y="23"/>
                  <a:pt x="4" y="22"/>
                </a:cubicBezTo>
                <a:cubicBezTo>
                  <a:pt x="4" y="22"/>
                  <a:pt x="4" y="22"/>
                  <a:pt x="4" y="22"/>
                </a:cubicBezTo>
                <a:cubicBezTo>
                  <a:pt x="3" y="22"/>
                  <a:pt x="4" y="21"/>
                  <a:pt x="4" y="20"/>
                </a:cubicBezTo>
                <a:cubicBezTo>
                  <a:pt x="4" y="21"/>
                  <a:pt x="3" y="22"/>
                  <a:pt x="3" y="22"/>
                </a:cubicBezTo>
                <a:cubicBezTo>
                  <a:pt x="3" y="22"/>
                  <a:pt x="4" y="20"/>
                  <a:pt x="4" y="20"/>
                </a:cubicBezTo>
                <a:cubicBezTo>
                  <a:pt x="3" y="20"/>
                  <a:pt x="3" y="20"/>
                  <a:pt x="3" y="20"/>
                </a:cubicBezTo>
                <a:cubicBezTo>
                  <a:pt x="3" y="20"/>
                  <a:pt x="3" y="19"/>
                  <a:pt x="3" y="19"/>
                </a:cubicBezTo>
                <a:cubicBezTo>
                  <a:pt x="3" y="19"/>
                  <a:pt x="5" y="18"/>
                  <a:pt x="4" y="18"/>
                </a:cubicBezTo>
                <a:cubicBezTo>
                  <a:pt x="4" y="18"/>
                  <a:pt x="4" y="19"/>
                  <a:pt x="3" y="19"/>
                </a:cubicBezTo>
                <a:cubicBezTo>
                  <a:pt x="3" y="19"/>
                  <a:pt x="3" y="18"/>
                  <a:pt x="3" y="18"/>
                </a:cubicBezTo>
                <a:cubicBezTo>
                  <a:pt x="3" y="18"/>
                  <a:pt x="3" y="19"/>
                  <a:pt x="2" y="19"/>
                </a:cubicBezTo>
                <a:cubicBezTo>
                  <a:pt x="2" y="19"/>
                  <a:pt x="2" y="18"/>
                  <a:pt x="2" y="18"/>
                </a:cubicBezTo>
                <a:cubicBezTo>
                  <a:pt x="2" y="18"/>
                  <a:pt x="2" y="18"/>
                  <a:pt x="2" y="18"/>
                </a:cubicBezTo>
                <a:cubicBezTo>
                  <a:pt x="2" y="19"/>
                  <a:pt x="2" y="18"/>
                  <a:pt x="1" y="19"/>
                </a:cubicBezTo>
                <a:cubicBezTo>
                  <a:pt x="2" y="17"/>
                  <a:pt x="2" y="17"/>
                  <a:pt x="3" y="15"/>
                </a:cubicBezTo>
                <a:cubicBezTo>
                  <a:pt x="3" y="15"/>
                  <a:pt x="4" y="13"/>
                  <a:pt x="4" y="13"/>
                </a:cubicBezTo>
                <a:cubicBezTo>
                  <a:pt x="5" y="13"/>
                  <a:pt x="5" y="13"/>
                  <a:pt x="6" y="13"/>
                </a:cubicBezTo>
                <a:cubicBezTo>
                  <a:pt x="6" y="13"/>
                  <a:pt x="7" y="12"/>
                  <a:pt x="7" y="12"/>
                </a:cubicBezTo>
                <a:cubicBezTo>
                  <a:pt x="8" y="12"/>
                  <a:pt x="8" y="11"/>
                  <a:pt x="9" y="11"/>
                </a:cubicBezTo>
                <a:cubicBezTo>
                  <a:pt x="9" y="11"/>
                  <a:pt x="10" y="11"/>
                  <a:pt x="11" y="11"/>
                </a:cubicBezTo>
                <a:cubicBezTo>
                  <a:pt x="11" y="11"/>
                  <a:pt x="11" y="11"/>
                  <a:pt x="11" y="11"/>
                </a:cubicBezTo>
                <a:cubicBezTo>
                  <a:pt x="12" y="11"/>
                  <a:pt x="12" y="11"/>
                  <a:pt x="12" y="11"/>
                </a:cubicBezTo>
                <a:cubicBezTo>
                  <a:pt x="12" y="11"/>
                  <a:pt x="12" y="10"/>
                  <a:pt x="12" y="10"/>
                </a:cubicBezTo>
                <a:cubicBezTo>
                  <a:pt x="13" y="10"/>
                  <a:pt x="13" y="11"/>
                  <a:pt x="13" y="11"/>
                </a:cubicBezTo>
                <a:cubicBezTo>
                  <a:pt x="14" y="10"/>
                  <a:pt x="14" y="9"/>
                  <a:pt x="14" y="9"/>
                </a:cubicBezTo>
                <a:cubicBezTo>
                  <a:pt x="14" y="8"/>
                  <a:pt x="14" y="8"/>
                  <a:pt x="14" y="7"/>
                </a:cubicBezTo>
                <a:cubicBezTo>
                  <a:pt x="14" y="7"/>
                  <a:pt x="13" y="7"/>
                  <a:pt x="13" y="7"/>
                </a:cubicBezTo>
                <a:cubicBezTo>
                  <a:pt x="12" y="6"/>
                  <a:pt x="12" y="6"/>
                  <a:pt x="11" y="6"/>
                </a:cubicBezTo>
                <a:cubicBezTo>
                  <a:pt x="10" y="6"/>
                  <a:pt x="13" y="4"/>
                  <a:pt x="13" y="5"/>
                </a:cubicBezTo>
                <a:cubicBezTo>
                  <a:pt x="14" y="4"/>
                  <a:pt x="14" y="4"/>
                  <a:pt x="14" y="3"/>
                </a:cubicBezTo>
                <a:cubicBezTo>
                  <a:pt x="15" y="2"/>
                  <a:pt x="14" y="1"/>
                  <a:pt x="14" y="0"/>
                </a:cubicBezTo>
                <a:cubicBezTo>
                  <a:pt x="16" y="0"/>
                  <a:pt x="18" y="0"/>
                  <a:pt x="19" y="0"/>
                </a:cubicBezTo>
                <a:cubicBezTo>
                  <a:pt x="21" y="0"/>
                  <a:pt x="19" y="2"/>
                  <a:pt x="21" y="2"/>
                </a:cubicBezTo>
                <a:cubicBezTo>
                  <a:pt x="21" y="2"/>
                  <a:pt x="21" y="1"/>
                  <a:pt x="22" y="1"/>
                </a:cubicBezTo>
                <a:cubicBezTo>
                  <a:pt x="22" y="1"/>
                  <a:pt x="22" y="2"/>
                  <a:pt x="22" y="2"/>
                </a:cubicBezTo>
                <a:cubicBezTo>
                  <a:pt x="23" y="2"/>
                  <a:pt x="23" y="3"/>
                  <a:pt x="23" y="3"/>
                </a:cubicBezTo>
                <a:cubicBezTo>
                  <a:pt x="24" y="3"/>
                  <a:pt x="25" y="3"/>
                  <a:pt x="25" y="3"/>
                </a:cubicBezTo>
                <a:cubicBezTo>
                  <a:pt x="26" y="3"/>
                  <a:pt x="26" y="3"/>
                  <a:pt x="27" y="4"/>
                </a:cubicBezTo>
                <a:cubicBezTo>
                  <a:pt x="27" y="4"/>
                  <a:pt x="28" y="4"/>
                  <a:pt x="28" y="4"/>
                </a:cubicBezTo>
                <a:cubicBezTo>
                  <a:pt x="29" y="3"/>
                  <a:pt x="29" y="3"/>
                  <a:pt x="29" y="3"/>
                </a:cubicBezTo>
                <a:cubicBezTo>
                  <a:pt x="30" y="3"/>
                  <a:pt x="30" y="3"/>
                  <a:pt x="30" y="3"/>
                </a:cubicBezTo>
                <a:cubicBezTo>
                  <a:pt x="31" y="3"/>
                  <a:pt x="31" y="3"/>
                  <a:pt x="31" y="3"/>
                </a:cubicBezTo>
                <a:cubicBezTo>
                  <a:pt x="32" y="3"/>
                  <a:pt x="32" y="3"/>
                  <a:pt x="33" y="3"/>
                </a:cubicBezTo>
                <a:cubicBezTo>
                  <a:pt x="33" y="3"/>
                  <a:pt x="34" y="3"/>
                  <a:pt x="35" y="3"/>
                </a:cubicBezTo>
                <a:cubicBezTo>
                  <a:pt x="35" y="3"/>
                  <a:pt x="36" y="3"/>
                  <a:pt x="36" y="3"/>
                </a:cubicBezTo>
                <a:cubicBezTo>
                  <a:pt x="37" y="3"/>
                  <a:pt x="36" y="3"/>
                  <a:pt x="36" y="3"/>
                </a:cubicBezTo>
                <a:cubicBezTo>
                  <a:pt x="36" y="4"/>
                  <a:pt x="36" y="4"/>
                  <a:pt x="36" y="4"/>
                </a:cubicBezTo>
                <a:cubicBezTo>
                  <a:pt x="36" y="5"/>
                  <a:pt x="35" y="5"/>
                  <a:pt x="35" y="5"/>
                </a:cubicBezTo>
                <a:cubicBezTo>
                  <a:pt x="35" y="6"/>
                  <a:pt x="36" y="6"/>
                  <a:pt x="36" y="7"/>
                </a:cubicBezTo>
                <a:cubicBezTo>
                  <a:pt x="37" y="7"/>
                  <a:pt x="37" y="8"/>
                  <a:pt x="38" y="7"/>
                </a:cubicBezTo>
                <a:cubicBezTo>
                  <a:pt x="39" y="7"/>
                  <a:pt x="39" y="6"/>
                  <a:pt x="40" y="5"/>
                </a:cubicBezTo>
                <a:cubicBezTo>
                  <a:pt x="40" y="5"/>
                  <a:pt x="41" y="5"/>
                  <a:pt x="41" y="5"/>
                </a:cubicBezTo>
                <a:cubicBezTo>
                  <a:pt x="41" y="6"/>
                  <a:pt x="42" y="6"/>
                  <a:pt x="42" y="6"/>
                </a:cubicBezTo>
                <a:cubicBezTo>
                  <a:pt x="42" y="6"/>
                  <a:pt x="42" y="7"/>
                  <a:pt x="42" y="7"/>
                </a:cubicBezTo>
                <a:cubicBezTo>
                  <a:pt x="42" y="7"/>
                  <a:pt x="43" y="9"/>
                  <a:pt x="43" y="8"/>
                </a:cubicBezTo>
                <a:cubicBezTo>
                  <a:pt x="43" y="8"/>
                  <a:pt x="44" y="8"/>
                  <a:pt x="44" y="7"/>
                </a:cubicBezTo>
                <a:cubicBezTo>
                  <a:pt x="44" y="7"/>
                  <a:pt x="45" y="7"/>
                  <a:pt x="45" y="7"/>
                </a:cubicBezTo>
                <a:cubicBezTo>
                  <a:pt x="45" y="6"/>
                  <a:pt x="45" y="6"/>
                  <a:pt x="45" y="6"/>
                </a:cubicBezTo>
                <a:cubicBezTo>
                  <a:pt x="45" y="6"/>
                  <a:pt x="46" y="6"/>
                  <a:pt x="46" y="5"/>
                </a:cubicBezTo>
                <a:cubicBezTo>
                  <a:pt x="46" y="5"/>
                  <a:pt x="46" y="5"/>
                  <a:pt x="46" y="5"/>
                </a:cubicBezTo>
                <a:cubicBezTo>
                  <a:pt x="47" y="5"/>
                  <a:pt x="47" y="5"/>
                  <a:pt x="47" y="5"/>
                </a:cubicBezTo>
                <a:cubicBezTo>
                  <a:pt x="47" y="5"/>
                  <a:pt x="47" y="5"/>
                  <a:pt x="48" y="5"/>
                </a:cubicBezTo>
                <a:cubicBezTo>
                  <a:pt x="48" y="5"/>
                  <a:pt x="49" y="6"/>
                  <a:pt x="49" y="6"/>
                </a:cubicBezTo>
                <a:cubicBezTo>
                  <a:pt x="50" y="6"/>
                  <a:pt x="52" y="8"/>
                  <a:pt x="53" y="6"/>
                </a:cubicBezTo>
                <a:cubicBezTo>
                  <a:pt x="53" y="6"/>
                  <a:pt x="53" y="6"/>
                  <a:pt x="54" y="5"/>
                </a:cubicBezTo>
                <a:cubicBezTo>
                  <a:pt x="55" y="5"/>
                  <a:pt x="55" y="5"/>
                  <a:pt x="55" y="5"/>
                </a:cubicBezTo>
                <a:cubicBezTo>
                  <a:pt x="56" y="5"/>
                  <a:pt x="56" y="5"/>
                  <a:pt x="56" y="4"/>
                </a:cubicBezTo>
                <a:cubicBezTo>
                  <a:pt x="57" y="3"/>
                  <a:pt x="56" y="3"/>
                  <a:pt x="56" y="2"/>
                </a:cubicBezTo>
                <a:cubicBezTo>
                  <a:pt x="56" y="2"/>
                  <a:pt x="58" y="2"/>
                  <a:pt x="58" y="2"/>
                </a:cubicBezTo>
                <a:cubicBezTo>
                  <a:pt x="58" y="2"/>
                  <a:pt x="60" y="3"/>
                  <a:pt x="60" y="4"/>
                </a:cubicBezTo>
                <a:cubicBezTo>
                  <a:pt x="60" y="4"/>
                  <a:pt x="59" y="5"/>
                  <a:pt x="60" y="5"/>
                </a:cubicBezTo>
                <a:cubicBezTo>
                  <a:pt x="61" y="6"/>
                  <a:pt x="60" y="6"/>
                  <a:pt x="60" y="7"/>
                </a:cubicBezTo>
                <a:cubicBezTo>
                  <a:pt x="60" y="7"/>
                  <a:pt x="61" y="7"/>
                  <a:pt x="61" y="7"/>
                </a:cubicBezTo>
                <a:cubicBezTo>
                  <a:pt x="61" y="7"/>
                  <a:pt x="61" y="8"/>
                  <a:pt x="61" y="8"/>
                </a:cubicBezTo>
                <a:cubicBezTo>
                  <a:pt x="61" y="9"/>
                  <a:pt x="61" y="10"/>
                  <a:pt x="61" y="11"/>
                </a:cubicBezTo>
                <a:cubicBezTo>
                  <a:pt x="61" y="12"/>
                  <a:pt x="62" y="11"/>
                  <a:pt x="62" y="12"/>
                </a:cubicBezTo>
                <a:cubicBezTo>
                  <a:pt x="62" y="12"/>
                  <a:pt x="63" y="14"/>
                  <a:pt x="64" y="13"/>
                </a:cubicBezTo>
                <a:cubicBezTo>
                  <a:pt x="64" y="14"/>
                  <a:pt x="65" y="14"/>
                  <a:pt x="65" y="14"/>
                </a:cubicBezTo>
                <a:cubicBezTo>
                  <a:pt x="65" y="14"/>
                  <a:pt x="65" y="15"/>
                  <a:pt x="65" y="15"/>
                </a:cubicBezTo>
                <a:cubicBezTo>
                  <a:pt x="66" y="15"/>
                  <a:pt x="65" y="15"/>
                  <a:pt x="65" y="15"/>
                </a:cubicBezTo>
                <a:cubicBezTo>
                  <a:pt x="64" y="15"/>
                  <a:pt x="64" y="15"/>
                  <a:pt x="64" y="16"/>
                </a:cubicBezTo>
                <a:cubicBezTo>
                  <a:pt x="64" y="16"/>
                  <a:pt x="64" y="16"/>
                  <a:pt x="63" y="16"/>
                </a:cubicBezTo>
                <a:cubicBezTo>
                  <a:pt x="63" y="17"/>
                  <a:pt x="63" y="17"/>
                  <a:pt x="63" y="17"/>
                </a:cubicBezTo>
                <a:cubicBezTo>
                  <a:pt x="63" y="17"/>
                  <a:pt x="63" y="18"/>
                  <a:pt x="62" y="18"/>
                </a:cubicBezTo>
                <a:cubicBezTo>
                  <a:pt x="62" y="18"/>
                  <a:pt x="62" y="19"/>
                  <a:pt x="62" y="19"/>
                </a:cubicBezTo>
                <a:cubicBezTo>
                  <a:pt x="63" y="19"/>
                  <a:pt x="64" y="19"/>
                  <a:pt x="64" y="18"/>
                </a:cubicBezTo>
                <a:cubicBezTo>
                  <a:pt x="64" y="18"/>
                  <a:pt x="65" y="18"/>
                  <a:pt x="66" y="18"/>
                </a:cubicBezTo>
                <a:cubicBezTo>
                  <a:pt x="66" y="18"/>
                  <a:pt x="66" y="19"/>
                  <a:pt x="66" y="20"/>
                </a:cubicBezTo>
                <a:cubicBezTo>
                  <a:pt x="66" y="20"/>
                  <a:pt x="66" y="21"/>
                  <a:pt x="66" y="21"/>
                </a:cubicBezTo>
                <a:cubicBezTo>
                  <a:pt x="66" y="22"/>
                  <a:pt x="66" y="25"/>
                  <a:pt x="67" y="25"/>
                </a:cubicBezTo>
                <a:cubicBezTo>
                  <a:pt x="68" y="24"/>
                  <a:pt x="67" y="25"/>
                  <a:pt x="68" y="26"/>
                </a:cubicBezTo>
                <a:cubicBezTo>
                  <a:pt x="69" y="26"/>
                  <a:pt x="69" y="26"/>
                  <a:pt x="69" y="27"/>
                </a:cubicBezTo>
                <a:cubicBezTo>
                  <a:pt x="69" y="28"/>
                  <a:pt x="69" y="28"/>
                  <a:pt x="68" y="29"/>
                </a:cubicBezTo>
                <a:cubicBezTo>
                  <a:pt x="68" y="29"/>
                  <a:pt x="67" y="29"/>
                  <a:pt x="67" y="29"/>
                </a:cubicBezTo>
                <a:cubicBezTo>
                  <a:pt x="67" y="29"/>
                  <a:pt x="67" y="30"/>
                  <a:pt x="67" y="30"/>
                </a:cubicBezTo>
                <a:cubicBezTo>
                  <a:pt x="67" y="30"/>
                  <a:pt x="67" y="30"/>
                  <a:pt x="67" y="31"/>
                </a:cubicBezTo>
                <a:cubicBezTo>
                  <a:pt x="67" y="31"/>
                  <a:pt x="68" y="31"/>
                  <a:pt x="67" y="32"/>
                </a:cubicBezTo>
                <a:cubicBezTo>
                  <a:pt x="67" y="33"/>
                  <a:pt x="67" y="35"/>
                  <a:pt x="68" y="36"/>
                </a:cubicBezTo>
                <a:cubicBezTo>
                  <a:pt x="68" y="36"/>
                  <a:pt x="69" y="36"/>
                  <a:pt x="70" y="36"/>
                </a:cubicBezTo>
                <a:cubicBezTo>
                  <a:pt x="70" y="36"/>
                  <a:pt x="69" y="37"/>
                  <a:pt x="69" y="38"/>
                </a:cubicBezTo>
                <a:cubicBezTo>
                  <a:pt x="69" y="38"/>
                  <a:pt x="70" y="38"/>
                  <a:pt x="70" y="38"/>
                </a:cubicBezTo>
                <a:cubicBezTo>
                  <a:pt x="70" y="39"/>
                  <a:pt x="71" y="39"/>
                  <a:pt x="71" y="39"/>
                </a:cubicBezTo>
                <a:cubicBezTo>
                  <a:pt x="71" y="39"/>
                  <a:pt x="70" y="40"/>
                  <a:pt x="70" y="40"/>
                </a:cubicBezTo>
                <a:cubicBezTo>
                  <a:pt x="70" y="40"/>
                  <a:pt x="69" y="40"/>
                  <a:pt x="69" y="41"/>
                </a:cubicBezTo>
                <a:cubicBezTo>
                  <a:pt x="69" y="41"/>
                  <a:pt x="69" y="42"/>
                  <a:pt x="69" y="42"/>
                </a:cubicBezTo>
                <a:cubicBezTo>
                  <a:pt x="69" y="43"/>
                  <a:pt x="70" y="43"/>
                  <a:pt x="70" y="43"/>
                </a:cubicBezTo>
                <a:cubicBezTo>
                  <a:pt x="71" y="43"/>
                  <a:pt x="71" y="44"/>
                  <a:pt x="72" y="45"/>
                </a:cubicBezTo>
                <a:cubicBezTo>
                  <a:pt x="72" y="46"/>
                  <a:pt x="72" y="46"/>
                  <a:pt x="72" y="47"/>
                </a:cubicBezTo>
                <a:close/>
                <a:moveTo>
                  <a:pt x="1" y="19"/>
                </a:moveTo>
                <a:cubicBezTo>
                  <a:pt x="0" y="19"/>
                  <a:pt x="0" y="21"/>
                  <a:pt x="1" y="21"/>
                </a:cubicBezTo>
                <a:cubicBezTo>
                  <a:pt x="2" y="21"/>
                  <a:pt x="1" y="20"/>
                  <a:pt x="1" y="20"/>
                </a:cubicBezTo>
                <a:cubicBezTo>
                  <a:pt x="1" y="20"/>
                  <a:pt x="2" y="20"/>
                  <a:pt x="2" y="19"/>
                </a:cubicBezTo>
                <a:cubicBezTo>
                  <a:pt x="2" y="19"/>
                  <a:pt x="1" y="18"/>
                  <a:pt x="1" y="1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5" name="Guatemala"/>
          <p:cNvSpPr>
            <a:spLocks/>
          </p:cNvSpPr>
          <p:nvPr/>
        </p:nvSpPr>
        <p:spPr bwMode="auto">
          <a:xfrm>
            <a:off x="2591202" y="3954965"/>
            <a:ext cx="147995" cy="162994"/>
          </a:xfrm>
          <a:custGeom>
            <a:avLst/>
            <a:gdLst/>
            <a:ahLst/>
            <a:cxnLst>
              <a:cxn ang="0">
                <a:pos x="37" y="21"/>
              </a:cxn>
              <a:cxn ang="0">
                <a:pos x="37" y="22"/>
              </a:cxn>
              <a:cxn ang="0">
                <a:pos x="37" y="23"/>
              </a:cxn>
              <a:cxn ang="0">
                <a:pos x="34" y="22"/>
              </a:cxn>
              <a:cxn ang="0">
                <a:pos x="31" y="22"/>
              </a:cxn>
              <a:cxn ang="0">
                <a:pos x="35" y="0"/>
              </a:cxn>
              <a:cxn ang="0">
                <a:pos x="22" y="0"/>
              </a:cxn>
              <a:cxn ang="0">
                <a:pos x="17" y="1"/>
              </a:cxn>
              <a:cxn ang="0">
                <a:pos x="16" y="5"/>
              </a:cxn>
              <a:cxn ang="0">
                <a:pos x="15" y="7"/>
              </a:cxn>
              <a:cxn ang="0">
                <a:pos x="12" y="7"/>
              </a:cxn>
              <a:cxn ang="0">
                <a:pos x="13" y="8"/>
              </a:cxn>
              <a:cxn ang="0">
                <a:pos x="15" y="10"/>
              </a:cxn>
              <a:cxn ang="0">
                <a:pos x="16" y="11"/>
              </a:cxn>
              <a:cxn ang="0">
                <a:pos x="17" y="12"/>
              </a:cxn>
              <a:cxn ang="0">
                <a:pos x="18" y="15"/>
              </a:cxn>
              <a:cxn ang="0">
                <a:pos x="20" y="16"/>
              </a:cxn>
              <a:cxn ang="0">
                <a:pos x="20" y="17"/>
              </a:cxn>
              <a:cxn ang="0">
                <a:pos x="20" y="19"/>
              </a:cxn>
              <a:cxn ang="0">
                <a:pos x="13" y="20"/>
              </a:cxn>
              <a:cxn ang="0">
                <a:pos x="7" y="20"/>
              </a:cxn>
              <a:cxn ang="0">
                <a:pos x="3" y="27"/>
              </a:cxn>
              <a:cxn ang="0">
                <a:pos x="2" y="31"/>
              </a:cxn>
              <a:cxn ang="0">
                <a:pos x="2" y="33"/>
              </a:cxn>
              <a:cxn ang="0">
                <a:pos x="0" y="36"/>
              </a:cxn>
              <a:cxn ang="0">
                <a:pos x="9" y="43"/>
              </a:cxn>
              <a:cxn ang="0">
                <a:pos x="20" y="45"/>
              </a:cxn>
              <a:cxn ang="0">
                <a:pos x="23" y="42"/>
              </a:cxn>
              <a:cxn ang="0">
                <a:pos x="26" y="40"/>
              </a:cxn>
              <a:cxn ang="0">
                <a:pos x="26" y="39"/>
              </a:cxn>
              <a:cxn ang="0">
                <a:pos x="28" y="37"/>
              </a:cxn>
              <a:cxn ang="0">
                <a:pos x="29" y="36"/>
              </a:cxn>
              <a:cxn ang="0">
                <a:pos x="30" y="35"/>
              </a:cxn>
              <a:cxn ang="0">
                <a:pos x="31" y="31"/>
              </a:cxn>
              <a:cxn ang="0">
                <a:pos x="36" y="27"/>
              </a:cxn>
              <a:cxn ang="0">
                <a:pos x="40" y="24"/>
              </a:cxn>
              <a:cxn ang="0">
                <a:pos x="38" y="22"/>
              </a:cxn>
            </a:cxnLst>
            <a:rect l="0" t="0" r="r" b="b"/>
            <a:pathLst>
              <a:path w="41" h="45">
                <a:moveTo>
                  <a:pt x="38" y="22"/>
                </a:moveTo>
                <a:cubicBezTo>
                  <a:pt x="38" y="22"/>
                  <a:pt x="37" y="21"/>
                  <a:pt x="37" y="21"/>
                </a:cubicBezTo>
                <a:cubicBezTo>
                  <a:pt x="37" y="21"/>
                  <a:pt x="38" y="22"/>
                  <a:pt x="38" y="22"/>
                </a:cubicBezTo>
                <a:cubicBezTo>
                  <a:pt x="38" y="22"/>
                  <a:pt x="38" y="22"/>
                  <a:pt x="37" y="22"/>
                </a:cubicBezTo>
                <a:cubicBezTo>
                  <a:pt x="37" y="23"/>
                  <a:pt x="37" y="23"/>
                  <a:pt x="37" y="24"/>
                </a:cubicBezTo>
                <a:cubicBezTo>
                  <a:pt x="36" y="24"/>
                  <a:pt x="37" y="23"/>
                  <a:pt x="37" y="23"/>
                </a:cubicBezTo>
                <a:cubicBezTo>
                  <a:pt x="36" y="22"/>
                  <a:pt x="35" y="22"/>
                  <a:pt x="34" y="22"/>
                </a:cubicBezTo>
                <a:cubicBezTo>
                  <a:pt x="34" y="22"/>
                  <a:pt x="34" y="22"/>
                  <a:pt x="34" y="22"/>
                </a:cubicBezTo>
                <a:cubicBezTo>
                  <a:pt x="34" y="22"/>
                  <a:pt x="33" y="22"/>
                  <a:pt x="33" y="21"/>
                </a:cubicBezTo>
                <a:cubicBezTo>
                  <a:pt x="32" y="21"/>
                  <a:pt x="32" y="21"/>
                  <a:pt x="31" y="22"/>
                </a:cubicBezTo>
                <a:cubicBezTo>
                  <a:pt x="31" y="22"/>
                  <a:pt x="31" y="20"/>
                  <a:pt x="31" y="20"/>
                </a:cubicBezTo>
                <a:cubicBezTo>
                  <a:pt x="33" y="13"/>
                  <a:pt x="34" y="7"/>
                  <a:pt x="35" y="0"/>
                </a:cubicBezTo>
                <a:cubicBezTo>
                  <a:pt x="32" y="0"/>
                  <a:pt x="30" y="0"/>
                  <a:pt x="27" y="0"/>
                </a:cubicBezTo>
                <a:cubicBezTo>
                  <a:pt x="26" y="0"/>
                  <a:pt x="24" y="0"/>
                  <a:pt x="22" y="0"/>
                </a:cubicBezTo>
                <a:cubicBezTo>
                  <a:pt x="21" y="0"/>
                  <a:pt x="19" y="0"/>
                  <a:pt x="18" y="0"/>
                </a:cubicBezTo>
                <a:cubicBezTo>
                  <a:pt x="17" y="0"/>
                  <a:pt x="17" y="1"/>
                  <a:pt x="17" y="1"/>
                </a:cubicBezTo>
                <a:cubicBezTo>
                  <a:pt x="17" y="2"/>
                  <a:pt x="17" y="2"/>
                  <a:pt x="17" y="3"/>
                </a:cubicBezTo>
                <a:cubicBezTo>
                  <a:pt x="17" y="4"/>
                  <a:pt x="17" y="4"/>
                  <a:pt x="16" y="5"/>
                </a:cubicBezTo>
                <a:cubicBezTo>
                  <a:pt x="16" y="5"/>
                  <a:pt x="16" y="6"/>
                  <a:pt x="16" y="7"/>
                </a:cubicBezTo>
                <a:cubicBezTo>
                  <a:pt x="16" y="7"/>
                  <a:pt x="15" y="7"/>
                  <a:pt x="15" y="7"/>
                </a:cubicBezTo>
                <a:cubicBezTo>
                  <a:pt x="14" y="7"/>
                  <a:pt x="13" y="7"/>
                  <a:pt x="13" y="7"/>
                </a:cubicBezTo>
                <a:cubicBezTo>
                  <a:pt x="12" y="7"/>
                  <a:pt x="12" y="6"/>
                  <a:pt x="12" y="7"/>
                </a:cubicBezTo>
                <a:cubicBezTo>
                  <a:pt x="12" y="7"/>
                  <a:pt x="13" y="7"/>
                  <a:pt x="13" y="7"/>
                </a:cubicBezTo>
                <a:cubicBezTo>
                  <a:pt x="13" y="7"/>
                  <a:pt x="13" y="7"/>
                  <a:pt x="13" y="8"/>
                </a:cubicBezTo>
                <a:cubicBezTo>
                  <a:pt x="13" y="8"/>
                  <a:pt x="14" y="9"/>
                  <a:pt x="14" y="9"/>
                </a:cubicBezTo>
                <a:cubicBezTo>
                  <a:pt x="14" y="9"/>
                  <a:pt x="15" y="9"/>
                  <a:pt x="15" y="10"/>
                </a:cubicBezTo>
                <a:cubicBezTo>
                  <a:pt x="15" y="10"/>
                  <a:pt x="15" y="10"/>
                  <a:pt x="16" y="11"/>
                </a:cubicBezTo>
                <a:cubicBezTo>
                  <a:pt x="16" y="11"/>
                  <a:pt x="16" y="10"/>
                  <a:pt x="16" y="11"/>
                </a:cubicBezTo>
                <a:cubicBezTo>
                  <a:pt x="16" y="11"/>
                  <a:pt x="16" y="11"/>
                  <a:pt x="16" y="11"/>
                </a:cubicBezTo>
                <a:cubicBezTo>
                  <a:pt x="16" y="11"/>
                  <a:pt x="17" y="11"/>
                  <a:pt x="17" y="12"/>
                </a:cubicBezTo>
                <a:cubicBezTo>
                  <a:pt x="18" y="12"/>
                  <a:pt x="19" y="13"/>
                  <a:pt x="18" y="14"/>
                </a:cubicBezTo>
                <a:cubicBezTo>
                  <a:pt x="19" y="14"/>
                  <a:pt x="19" y="15"/>
                  <a:pt x="18" y="15"/>
                </a:cubicBezTo>
                <a:cubicBezTo>
                  <a:pt x="19" y="15"/>
                  <a:pt x="19" y="15"/>
                  <a:pt x="20" y="16"/>
                </a:cubicBezTo>
                <a:cubicBezTo>
                  <a:pt x="20" y="16"/>
                  <a:pt x="21" y="16"/>
                  <a:pt x="20" y="16"/>
                </a:cubicBezTo>
                <a:cubicBezTo>
                  <a:pt x="21" y="17"/>
                  <a:pt x="20" y="17"/>
                  <a:pt x="20" y="17"/>
                </a:cubicBezTo>
                <a:cubicBezTo>
                  <a:pt x="20" y="17"/>
                  <a:pt x="20" y="17"/>
                  <a:pt x="20" y="17"/>
                </a:cubicBezTo>
                <a:cubicBezTo>
                  <a:pt x="20" y="18"/>
                  <a:pt x="20" y="18"/>
                  <a:pt x="20" y="18"/>
                </a:cubicBezTo>
                <a:cubicBezTo>
                  <a:pt x="20" y="18"/>
                  <a:pt x="20" y="19"/>
                  <a:pt x="20" y="19"/>
                </a:cubicBezTo>
                <a:cubicBezTo>
                  <a:pt x="19" y="20"/>
                  <a:pt x="18" y="20"/>
                  <a:pt x="17" y="20"/>
                </a:cubicBezTo>
                <a:cubicBezTo>
                  <a:pt x="16" y="20"/>
                  <a:pt x="14" y="20"/>
                  <a:pt x="13" y="20"/>
                </a:cubicBezTo>
                <a:cubicBezTo>
                  <a:pt x="12" y="20"/>
                  <a:pt x="11" y="20"/>
                  <a:pt x="9" y="20"/>
                </a:cubicBezTo>
                <a:cubicBezTo>
                  <a:pt x="9" y="20"/>
                  <a:pt x="8" y="19"/>
                  <a:pt x="7" y="20"/>
                </a:cubicBezTo>
                <a:cubicBezTo>
                  <a:pt x="6" y="21"/>
                  <a:pt x="6" y="22"/>
                  <a:pt x="5" y="23"/>
                </a:cubicBezTo>
                <a:cubicBezTo>
                  <a:pt x="4" y="24"/>
                  <a:pt x="3" y="26"/>
                  <a:pt x="3" y="27"/>
                </a:cubicBezTo>
                <a:cubicBezTo>
                  <a:pt x="2" y="27"/>
                  <a:pt x="1" y="28"/>
                  <a:pt x="2" y="29"/>
                </a:cubicBezTo>
                <a:cubicBezTo>
                  <a:pt x="2" y="29"/>
                  <a:pt x="3" y="30"/>
                  <a:pt x="2" y="31"/>
                </a:cubicBezTo>
                <a:cubicBezTo>
                  <a:pt x="2" y="31"/>
                  <a:pt x="2" y="31"/>
                  <a:pt x="2" y="31"/>
                </a:cubicBezTo>
                <a:cubicBezTo>
                  <a:pt x="2" y="32"/>
                  <a:pt x="2" y="32"/>
                  <a:pt x="2" y="33"/>
                </a:cubicBezTo>
                <a:cubicBezTo>
                  <a:pt x="1" y="33"/>
                  <a:pt x="1" y="34"/>
                  <a:pt x="1" y="35"/>
                </a:cubicBezTo>
                <a:cubicBezTo>
                  <a:pt x="1" y="35"/>
                  <a:pt x="1" y="36"/>
                  <a:pt x="0" y="36"/>
                </a:cubicBezTo>
                <a:cubicBezTo>
                  <a:pt x="1" y="37"/>
                  <a:pt x="2" y="38"/>
                  <a:pt x="3" y="39"/>
                </a:cubicBezTo>
                <a:cubicBezTo>
                  <a:pt x="5" y="41"/>
                  <a:pt x="7" y="42"/>
                  <a:pt x="9" y="43"/>
                </a:cubicBezTo>
                <a:cubicBezTo>
                  <a:pt x="11" y="44"/>
                  <a:pt x="12" y="43"/>
                  <a:pt x="14" y="43"/>
                </a:cubicBezTo>
                <a:cubicBezTo>
                  <a:pt x="16" y="43"/>
                  <a:pt x="18" y="44"/>
                  <a:pt x="20" y="45"/>
                </a:cubicBezTo>
                <a:cubicBezTo>
                  <a:pt x="20" y="44"/>
                  <a:pt x="21" y="43"/>
                  <a:pt x="22" y="43"/>
                </a:cubicBezTo>
                <a:cubicBezTo>
                  <a:pt x="22" y="42"/>
                  <a:pt x="22" y="42"/>
                  <a:pt x="23" y="42"/>
                </a:cubicBezTo>
                <a:cubicBezTo>
                  <a:pt x="23" y="42"/>
                  <a:pt x="23" y="42"/>
                  <a:pt x="24" y="42"/>
                </a:cubicBezTo>
                <a:cubicBezTo>
                  <a:pt x="24" y="41"/>
                  <a:pt x="24" y="41"/>
                  <a:pt x="26" y="40"/>
                </a:cubicBezTo>
                <a:cubicBezTo>
                  <a:pt x="26" y="40"/>
                  <a:pt x="26" y="40"/>
                  <a:pt x="26" y="39"/>
                </a:cubicBezTo>
                <a:cubicBezTo>
                  <a:pt x="26" y="39"/>
                  <a:pt x="26" y="39"/>
                  <a:pt x="26" y="39"/>
                </a:cubicBezTo>
                <a:cubicBezTo>
                  <a:pt x="25" y="38"/>
                  <a:pt x="26" y="37"/>
                  <a:pt x="26" y="38"/>
                </a:cubicBezTo>
                <a:cubicBezTo>
                  <a:pt x="27" y="38"/>
                  <a:pt x="27" y="38"/>
                  <a:pt x="28" y="37"/>
                </a:cubicBezTo>
                <a:cubicBezTo>
                  <a:pt x="28" y="38"/>
                  <a:pt x="28" y="38"/>
                  <a:pt x="28" y="38"/>
                </a:cubicBezTo>
                <a:cubicBezTo>
                  <a:pt x="28" y="37"/>
                  <a:pt x="29" y="36"/>
                  <a:pt x="29" y="36"/>
                </a:cubicBezTo>
                <a:cubicBezTo>
                  <a:pt x="30" y="36"/>
                  <a:pt x="30" y="36"/>
                  <a:pt x="30" y="36"/>
                </a:cubicBezTo>
                <a:cubicBezTo>
                  <a:pt x="30" y="35"/>
                  <a:pt x="30" y="35"/>
                  <a:pt x="30" y="35"/>
                </a:cubicBezTo>
                <a:cubicBezTo>
                  <a:pt x="31" y="34"/>
                  <a:pt x="29" y="33"/>
                  <a:pt x="30" y="33"/>
                </a:cubicBezTo>
                <a:cubicBezTo>
                  <a:pt x="31" y="32"/>
                  <a:pt x="30" y="31"/>
                  <a:pt x="31" y="31"/>
                </a:cubicBezTo>
                <a:cubicBezTo>
                  <a:pt x="32" y="30"/>
                  <a:pt x="33" y="30"/>
                  <a:pt x="33" y="29"/>
                </a:cubicBezTo>
                <a:cubicBezTo>
                  <a:pt x="34" y="28"/>
                  <a:pt x="35" y="28"/>
                  <a:pt x="36" y="27"/>
                </a:cubicBezTo>
                <a:cubicBezTo>
                  <a:pt x="37" y="26"/>
                  <a:pt x="38" y="26"/>
                  <a:pt x="39" y="25"/>
                </a:cubicBezTo>
                <a:cubicBezTo>
                  <a:pt x="39" y="24"/>
                  <a:pt x="39" y="24"/>
                  <a:pt x="40" y="24"/>
                </a:cubicBezTo>
                <a:cubicBezTo>
                  <a:pt x="40" y="24"/>
                  <a:pt x="40" y="24"/>
                  <a:pt x="41" y="23"/>
                </a:cubicBezTo>
                <a:cubicBezTo>
                  <a:pt x="40" y="23"/>
                  <a:pt x="39" y="22"/>
                  <a:pt x="38" y="2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6" name="Guantanamo Bay"/>
          <p:cNvSpPr>
            <a:spLocks noEditPoints="1"/>
          </p:cNvSpPr>
          <p:nvPr/>
        </p:nvSpPr>
        <p:spPr bwMode="auto">
          <a:xfrm>
            <a:off x="3209180" y="3871967"/>
            <a:ext cx="4000" cy="3001"/>
          </a:xfrm>
          <a:custGeom>
            <a:avLst/>
            <a:gdLst/>
            <a:ahLst/>
            <a:cxnLst>
              <a:cxn ang="0">
                <a:pos x="0" y="0"/>
              </a:cxn>
              <a:cxn ang="0">
                <a:pos x="0" y="0"/>
              </a:cxn>
              <a:cxn ang="0">
                <a:pos x="0" y="1"/>
              </a:cxn>
              <a:cxn ang="0">
                <a:pos x="0" y="0"/>
              </a:cxn>
              <a:cxn ang="0">
                <a:pos x="1" y="0"/>
              </a:cxn>
              <a:cxn ang="0">
                <a:pos x="1" y="0"/>
              </a:cxn>
              <a:cxn ang="0">
                <a:pos x="0" y="0"/>
              </a:cxn>
              <a:cxn ang="0">
                <a:pos x="1" y="1"/>
              </a:cxn>
              <a:cxn ang="0">
                <a:pos x="1" y="0"/>
              </a:cxn>
            </a:cxnLst>
            <a:rect l="0" t="0" r="r" b="b"/>
            <a:pathLst>
              <a:path w="1" h="1">
                <a:moveTo>
                  <a:pt x="0" y="0"/>
                </a:moveTo>
                <a:cubicBezTo>
                  <a:pt x="0" y="0"/>
                  <a:pt x="0" y="0"/>
                  <a:pt x="0" y="0"/>
                </a:cubicBezTo>
                <a:cubicBezTo>
                  <a:pt x="0" y="0"/>
                  <a:pt x="0" y="0"/>
                  <a:pt x="0" y="1"/>
                </a:cubicBezTo>
                <a:cubicBezTo>
                  <a:pt x="0" y="0"/>
                  <a:pt x="0" y="0"/>
                  <a:pt x="0" y="0"/>
                </a:cubicBezTo>
                <a:close/>
                <a:moveTo>
                  <a:pt x="1" y="0"/>
                </a:moveTo>
                <a:cubicBezTo>
                  <a:pt x="1" y="0"/>
                  <a:pt x="1" y="0"/>
                  <a:pt x="1" y="0"/>
                </a:cubicBezTo>
                <a:cubicBezTo>
                  <a:pt x="0" y="0"/>
                  <a:pt x="0" y="0"/>
                  <a:pt x="0" y="0"/>
                </a:cubicBezTo>
                <a:cubicBezTo>
                  <a:pt x="0" y="1"/>
                  <a:pt x="0" y="1"/>
                  <a:pt x="1" y="1"/>
                </a:cubicBezTo>
                <a:cubicBezTo>
                  <a:pt x="1" y="1"/>
                  <a:pt x="1" y="0"/>
                  <a:pt x="1"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7" name="Guadeloupe"/>
          <p:cNvSpPr>
            <a:spLocks noEditPoints="1"/>
          </p:cNvSpPr>
          <p:nvPr/>
        </p:nvSpPr>
        <p:spPr bwMode="auto">
          <a:xfrm>
            <a:off x="3617164" y="3943964"/>
            <a:ext cx="61998" cy="89997"/>
          </a:xfrm>
          <a:custGeom>
            <a:avLst/>
            <a:gdLst/>
            <a:ahLst/>
            <a:cxnLst>
              <a:cxn ang="0">
                <a:pos x="3" y="3"/>
              </a:cxn>
              <a:cxn ang="0">
                <a:pos x="3" y="3"/>
              </a:cxn>
              <a:cxn ang="0">
                <a:pos x="0" y="1"/>
              </a:cxn>
              <a:cxn ang="0">
                <a:pos x="1" y="1"/>
              </a:cxn>
              <a:cxn ang="0">
                <a:pos x="0" y="1"/>
              </a:cxn>
              <a:cxn ang="0">
                <a:pos x="15" y="23"/>
              </a:cxn>
              <a:cxn ang="0">
                <a:pos x="15" y="24"/>
              </a:cxn>
              <a:cxn ang="0">
                <a:pos x="16" y="24"/>
              </a:cxn>
              <a:cxn ang="0">
                <a:pos x="15" y="23"/>
              </a:cxn>
              <a:cxn ang="0">
                <a:pos x="17" y="21"/>
              </a:cxn>
              <a:cxn ang="0">
                <a:pos x="15" y="20"/>
              </a:cxn>
              <a:cxn ang="0">
                <a:pos x="15" y="19"/>
              </a:cxn>
              <a:cxn ang="0">
                <a:pos x="14" y="19"/>
              </a:cxn>
              <a:cxn ang="0">
                <a:pos x="14" y="21"/>
              </a:cxn>
              <a:cxn ang="0">
                <a:pos x="14" y="21"/>
              </a:cxn>
              <a:cxn ang="0">
                <a:pos x="15" y="21"/>
              </a:cxn>
              <a:cxn ang="0">
                <a:pos x="17" y="21"/>
              </a:cxn>
              <a:cxn ang="0">
                <a:pos x="13" y="20"/>
              </a:cxn>
              <a:cxn ang="0">
                <a:pos x="11" y="20"/>
              </a:cxn>
              <a:cxn ang="0">
                <a:pos x="11" y="22"/>
              </a:cxn>
              <a:cxn ang="0">
                <a:pos x="12" y="24"/>
              </a:cxn>
              <a:cxn ang="0">
                <a:pos x="13" y="22"/>
              </a:cxn>
              <a:cxn ang="0">
                <a:pos x="13" y="21"/>
              </a:cxn>
              <a:cxn ang="0">
                <a:pos x="13" y="20"/>
              </a:cxn>
            </a:cxnLst>
            <a:rect l="0" t="0" r="r" b="b"/>
            <a:pathLst>
              <a:path w="17" h="25">
                <a:moveTo>
                  <a:pt x="3" y="3"/>
                </a:moveTo>
                <a:cubicBezTo>
                  <a:pt x="2" y="2"/>
                  <a:pt x="4" y="2"/>
                  <a:pt x="3" y="3"/>
                </a:cubicBezTo>
                <a:close/>
                <a:moveTo>
                  <a:pt x="0" y="1"/>
                </a:moveTo>
                <a:cubicBezTo>
                  <a:pt x="0" y="1"/>
                  <a:pt x="1" y="1"/>
                  <a:pt x="1" y="1"/>
                </a:cubicBezTo>
                <a:cubicBezTo>
                  <a:pt x="1" y="0"/>
                  <a:pt x="0" y="0"/>
                  <a:pt x="0" y="1"/>
                </a:cubicBezTo>
                <a:close/>
                <a:moveTo>
                  <a:pt x="15" y="23"/>
                </a:moveTo>
                <a:cubicBezTo>
                  <a:pt x="15" y="24"/>
                  <a:pt x="15" y="24"/>
                  <a:pt x="15" y="24"/>
                </a:cubicBezTo>
                <a:cubicBezTo>
                  <a:pt x="14" y="25"/>
                  <a:pt x="16" y="25"/>
                  <a:pt x="16" y="24"/>
                </a:cubicBezTo>
                <a:cubicBezTo>
                  <a:pt x="16" y="24"/>
                  <a:pt x="16" y="23"/>
                  <a:pt x="15" y="23"/>
                </a:cubicBezTo>
                <a:close/>
                <a:moveTo>
                  <a:pt x="17" y="21"/>
                </a:moveTo>
                <a:cubicBezTo>
                  <a:pt x="17" y="21"/>
                  <a:pt x="15" y="20"/>
                  <a:pt x="15" y="20"/>
                </a:cubicBezTo>
                <a:cubicBezTo>
                  <a:pt x="15" y="19"/>
                  <a:pt x="15" y="19"/>
                  <a:pt x="15" y="19"/>
                </a:cubicBezTo>
                <a:cubicBezTo>
                  <a:pt x="15" y="17"/>
                  <a:pt x="13" y="19"/>
                  <a:pt x="14" y="19"/>
                </a:cubicBezTo>
                <a:cubicBezTo>
                  <a:pt x="14" y="20"/>
                  <a:pt x="12" y="21"/>
                  <a:pt x="14" y="21"/>
                </a:cubicBezTo>
                <a:cubicBezTo>
                  <a:pt x="14" y="21"/>
                  <a:pt x="14" y="21"/>
                  <a:pt x="14" y="21"/>
                </a:cubicBezTo>
                <a:cubicBezTo>
                  <a:pt x="15" y="21"/>
                  <a:pt x="15" y="21"/>
                  <a:pt x="15" y="21"/>
                </a:cubicBezTo>
                <a:cubicBezTo>
                  <a:pt x="16" y="21"/>
                  <a:pt x="16" y="21"/>
                  <a:pt x="17" y="21"/>
                </a:cubicBezTo>
                <a:close/>
                <a:moveTo>
                  <a:pt x="13" y="20"/>
                </a:moveTo>
                <a:cubicBezTo>
                  <a:pt x="13" y="20"/>
                  <a:pt x="11" y="19"/>
                  <a:pt x="11" y="20"/>
                </a:cubicBezTo>
                <a:cubicBezTo>
                  <a:pt x="11" y="21"/>
                  <a:pt x="11" y="21"/>
                  <a:pt x="11" y="22"/>
                </a:cubicBezTo>
                <a:cubicBezTo>
                  <a:pt x="11" y="23"/>
                  <a:pt x="11" y="24"/>
                  <a:pt x="12" y="24"/>
                </a:cubicBezTo>
                <a:cubicBezTo>
                  <a:pt x="12" y="24"/>
                  <a:pt x="13" y="23"/>
                  <a:pt x="13" y="22"/>
                </a:cubicBezTo>
                <a:cubicBezTo>
                  <a:pt x="13" y="22"/>
                  <a:pt x="13" y="21"/>
                  <a:pt x="13" y="21"/>
                </a:cubicBezTo>
                <a:cubicBezTo>
                  <a:pt x="13" y="20"/>
                  <a:pt x="13" y="20"/>
                  <a:pt x="13" y="2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8" name="Grenada"/>
          <p:cNvSpPr>
            <a:spLocks/>
          </p:cNvSpPr>
          <p:nvPr/>
        </p:nvSpPr>
        <p:spPr bwMode="auto">
          <a:xfrm>
            <a:off x="3643164" y="4174956"/>
            <a:ext cx="7000" cy="11000"/>
          </a:xfrm>
          <a:custGeom>
            <a:avLst/>
            <a:gdLst/>
            <a:ahLst/>
            <a:cxnLst>
              <a:cxn ang="0">
                <a:pos x="2" y="1"/>
              </a:cxn>
              <a:cxn ang="0">
                <a:pos x="1" y="2"/>
              </a:cxn>
              <a:cxn ang="0">
                <a:pos x="0" y="3"/>
              </a:cxn>
              <a:cxn ang="0">
                <a:pos x="1" y="3"/>
              </a:cxn>
              <a:cxn ang="0">
                <a:pos x="2" y="3"/>
              </a:cxn>
              <a:cxn ang="0">
                <a:pos x="2" y="2"/>
              </a:cxn>
              <a:cxn ang="0">
                <a:pos x="2" y="1"/>
              </a:cxn>
            </a:cxnLst>
            <a:rect l="0" t="0" r="r" b="b"/>
            <a:pathLst>
              <a:path w="2" h="3">
                <a:moveTo>
                  <a:pt x="2" y="1"/>
                </a:moveTo>
                <a:cubicBezTo>
                  <a:pt x="1" y="0"/>
                  <a:pt x="1" y="1"/>
                  <a:pt x="1" y="2"/>
                </a:cubicBezTo>
                <a:cubicBezTo>
                  <a:pt x="0" y="3"/>
                  <a:pt x="0" y="3"/>
                  <a:pt x="0" y="3"/>
                </a:cubicBezTo>
                <a:cubicBezTo>
                  <a:pt x="0" y="3"/>
                  <a:pt x="1" y="3"/>
                  <a:pt x="1" y="3"/>
                </a:cubicBezTo>
                <a:cubicBezTo>
                  <a:pt x="1" y="3"/>
                  <a:pt x="2" y="3"/>
                  <a:pt x="2" y="3"/>
                </a:cubicBezTo>
                <a:cubicBezTo>
                  <a:pt x="2" y="3"/>
                  <a:pt x="2" y="2"/>
                  <a:pt x="2" y="2"/>
                </a:cubicBezTo>
                <a:cubicBezTo>
                  <a:pt x="2" y="2"/>
                  <a:pt x="2" y="1"/>
                  <a:pt x="2"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49" name="Greenland"/>
          <p:cNvSpPr>
            <a:spLocks noEditPoints="1"/>
          </p:cNvSpPr>
          <p:nvPr/>
        </p:nvSpPr>
        <p:spPr bwMode="auto">
          <a:xfrm>
            <a:off x="4264140" y="1564053"/>
            <a:ext cx="1415947" cy="755972"/>
          </a:xfrm>
          <a:custGeom>
            <a:avLst/>
            <a:gdLst/>
            <a:ahLst/>
            <a:cxnLst>
              <a:cxn ang="0">
                <a:pos x="73" y="117"/>
              </a:cxn>
              <a:cxn ang="0">
                <a:pos x="201" y="9"/>
              </a:cxn>
              <a:cxn ang="0">
                <a:pos x="350" y="31"/>
              </a:cxn>
              <a:cxn ang="0">
                <a:pos x="300" y="90"/>
              </a:cxn>
              <a:cxn ang="0">
                <a:pos x="342" y="64"/>
              </a:cxn>
              <a:cxn ang="0">
                <a:pos x="94" y="202"/>
              </a:cxn>
              <a:cxn ang="0">
                <a:pos x="340" y="24"/>
              </a:cxn>
              <a:cxn ang="0">
                <a:pos x="102" y="206"/>
              </a:cxn>
              <a:cxn ang="0">
                <a:pos x="91" y="200"/>
              </a:cxn>
              <a:cxn ang="0">
                <a:pos x="336" y="26"/>
              </a:cxn>
              <a:cxn ang="0">
                <a:pos x="321" y="42"/>
              </a:cxn>
              <a:cxn ang="0">
                <a:pos x="322" y="50"/>
              </a:cxn>
              <a:cxn ang="0">
                <a:pos x="318" y="61"/>
              </a:cxn>
              <a:cxn ang="0">
                <a:pos x="309" y="75"/>
              </a:cxn>
              <a:cxn ang="0">
                <a:pos x="272" y="80"/>
              </a:cxn>
              <a:cxn ang="0">
                <a:pos x="291" y="90"/>
              </a:cxn>
              <a:cxn ang="0">
                <a:pos x="301" y="101"/>
              </a:cxn>
              <a:cxn ang="0">
                <a:pos x="261" y="92"/>
              </a:cxn>
              <a:cxn ang="0">
                <a:pos x="258" y="108"/>
              </a:cxn>
              <a:cxn ang="0">
                <a:pos x="277" y="116"/>
              </a:cxn>
              <a:cxn ang="0">
                <a:pos x="238" y="125"/>
              </a:cxn>
              <a:cxn ang="0">
                <a:pos x="211" y="132"/>
              </a:cxn>
              <a:cxn ang="0">
                <a:pos x="187" y="143"/>
              </a:cxn>
              <a:cxn ang="0">
                <a:pos x="170" y="146"/>
              </a:cxn>
              <a:cxn ang="0">
                <a:pos x="152" y="155"/>
              </a:cxn>
              <a:cxn ang="0">
                <a:pos x="137" y="169"/>
              </a:cxn>
              <a:cxn ang="0">
                <a:pos x="126" y="178"/>
              </a:cxn>
              <a:cxn ang="0">
                <a:pos x="121" y="190"/>
              </a:cxn>
              <a:cxn ang="0">
                <a:pos x="106" y="201"/>
              </a:cxn>
              <a:cxn ang="0">
                <a:pos x="95" y="206"/>
              </a:cxn>
              <a:cxn ang="0">
                <a:pos x="95" y="196"/>
              </a:cxn>
              <a:cxn ang="0">
                <a:pos x="83" y="197"/>
              </a:cxn>
              <a:cxn ang="0">
                <a:pos x="72" y="194"/>
              </a:cxn>
              <a:cxn ang="0">
                <a:pos x="73" y="185"/>
              </a:cxn>
              <a:cxn ang="0">
                <a:pos x="69" y="174"/>
              </a:cxn>
              <a:cxn ang="0">
                <a:pos x="72" y="165"/>
              </a:cxn>
              <a:cxn ang="0">
                <a:pos x="73" y="157"/>
              </a:cxn>
              <a:cxn ang="0">
                <a:pos x="65" y="154"/>
              </a:cxn>
              <a:cxn ang="0">
                <a:pos x="66" y="148"/>
              </a:cxn>
              <a:cxn ang="0">
                <a:pos x="57" y="146"/>
              </a:cxn>
              <a:cxn ang="0">
                <a:pos x="76" y="134"/>
              </a:cxn>
              <a:cxn ang="0">
                <a:pos x="88" y="129"/>
              </a:cxn>
              <a:cxn ang="0">
                <a:pos x="69" y="128"/>
              </a:cxn>
              <a:cxn ang="0">
                <a:pos x="70" y="125"/>
              </a:cxn>
              <a:cxn ang="0">
                <a:pos x="95" y="117"/>
              </a:cxn>
              <a:cxn ang="0">
                <a:pos x="73" y="104"/>
              </a:cxn>
              <a:cxn ang="0">
                <a:pos x="95" y="98"/>
              </a:cxn>
              <a:cxn ang="0">
                <a:pos x="73" y="96"/>
              </a:cxn>
              <a:cxn ang="0">
                <a:pos x="83" y="83"/>
              </a:cxn>
              <a:cxn ang="0">
                <a:pos x="83" y="70"/>
              </a:cxn>
              <a:cxn ang="0">
                <a:pos x="56" y="55"/>
              </a:cxn>
              <a:cxn ang="0">
                <a:pos x="24" y="51"/>
              </a:cxn>
              <a:cxn ang="0">
                <a:pos x="30" y="44"/>
              </a:cxn>
              <a:cxn ang="0">
                <a:pos x="44" y="32"/>
              </a:cxn>
              <a:cxn ang="0">
                <a:pos x="78" y="17"/>
              </a:cxn>
              <a:cxn ang="0">
                <a:pos x="150" y="10"/>
              </a:cxn>
              <a:cxn ang="0">
                <a:pos x="206" y="8"/>
              </a:cxn>
              <a:cxn ang="0">
                <a:pos x="209" y="4"/>
              </a:cxn>
              <a:cxn ang="0">
                <a:pos x="247" y="1"/>
              </a:cxn>
              <a:cxn ang="0">
                <a:pos x="268" y="4"/>
              </a:cxn>
              <a:cxn ang="0">
                <a:pos x="297" y="10"/>
              </a:cxn>
              <a:cxn ang="0">
                <a:pos x="344" y="14"/>
              </a:cxn>
              <a:cxn ang="0">
                <a:pos x="90" y="200"/>
              </a:cxn>
            </a:cxnLst>
            <a:rect l="0" t="0" r="r" b="b"/>
            <a:pathLst>
              <a:path w="392" h="209">
                <a:moveTo>
                  <a:pt x="9" y="45"/>
                </a:moveTo>
                <a:cubicBezTo>
                  <a:pt x="9" y="45"/>
                  <a:pt x="9" y="45"/>
                  <a:pt x="9" y="45"/>
                </a:cubicBezTo>
                <a:cubicBezTo>
                  <a:pt x="10" y="45"/>
                  <a:pt x="10" y="45"/>
                  <a:pt x="10" y="45"/>
                </a:cubicBezTo>
                <a:cubicBezTo>
                  <a:pt x="11" y="45"/>
                  <a:pt x="12" y="44"/>
                  <a:pt x="13" y="45"/>
                </a:cubicBezTo>
                <a:cubicBezTo>
                  <a:pt x="13" y="45"/>
                  <a:pt x="14" y="45"/>
                  <a:pt x="15" y="45"/>
                </a:cubicBezTo>
                <a:cubicBezTo>
                  <a:pt x="15" y="45"/>
                  <a:pt x="16" y="45"/>
                  <a:pt x="16" y="45"/>
                </a:cubicBezTo>
                <a:cubicBezTo>
                  <a:pt x="15" y="46"/>
                  <a:pt x="13" y="45"/>
                  <a:pt x="12" y="45"/>
                </a:cubicBezTo>
                <a:cubicBezTo>
                  <a:pt x="11" y="45"/>
                  <a:pt x="11" y="45"/>
                  <a:pt x="10" y="45"/>
                </a:cubicBezTo>
                <a:cubicBezTo>
                  <a:pt x="9" y="45"/>
                  <a:pt x="9" y="45"/>
                  <a:pt x="9" y="45"/>
                </a:cubicBezTo>
                <a:close/>
                <a:moveTo>
                  <a:pt x="8" y="45"/>
                </a:moveTo>
                <a:cubicBezTo>
                  <a:pt x="7" y="45"/>
                  <a:pt x="6" y="45"/>
                  <a:pt x="5" y="45"/>
                </a:cubicBezTo>
                <a:cubicBezTo>
                  <a:pt x="4" y="45"/>
                  <a:pt x="4" y="45"/>
                  <a:pt x="3" y="45"/>
                </a:cubicBezTo>
                <a:cubicBezTo>
                  <a:pt x="3" y="45"/>
                  <a:pt x="2" y="45"/>
                  <a:pt x="2" y="45"/>
                </a:cubicBezTo>
                <a:cubicBezTo>
                  <a:pt x="1" y="45"/>
                  <a:pt x="0" y="45"/>
                  <a:pt x="1" y="45"/>
                </a:cubicBezTo>
                <a:cubicBezTo>
                  <a:pt x="1" y="46"/>
                  <a:pt x="3" y="45"/>
                  <a:pt x="3" y="46"/>
                </a:cubicBezTo>
                <a:cubicBezTo>
                  <a:pt x="3" y="46"/>
                  <a:pt x="3" y="46"/>
                  <a:pt x="3" y="46"/>
                </a:cubicBezTo>
                <a:cubicBezTo>
                  <a:pt x="3" y="46"/>
                  <a:pt x="5" y="46"/>
                  <a:pt x="5" y="46"/>
                </a:cubicBezTo>
                <a:cubicBezTo>
                  <a:pt x="6" y="46"/>
                  <a:pt x="8" y="46"/>
                  <a:pt x="8" y="45"/>
                </a:cubicBezTo>
                <a:close/>
                <a:moveTo>
                  <a:pt x="91" y="95"/>
                </a:moveTo>
                <a:cubicBezTo>
                  <a:pt x="90" y="95"/>
                  <a:pt x="89" y="95"/>
                  <a:pt x="88" y="95"/>
                </a:cubicBezTo>
                <a:cubicBezTo>
                  <a:pt x="87" y="95"/>
                  <a:pt x="87" y="94"/>
                  <a:pt x="86" y="95"/>
                </a:cubicBezTo>
                <a:cubicBezTo>
                  <a:pt x="86" y="96"/>
                  <a:pt x="87" y="96"/>
                  <a:pt x="88" y="96"/>
                </a:cubicBezTo>
                <a:cubicBezTo>
                  <a:pt x="88" y="96"/>
                  <a:pt x="89" y="95"/>
                  <a:pt x="90" y="95"/>
                </a:cubicBezTo>
                <a:cubicBezTo>
                  <a:pt x="90" y="95"/>
                  <a:pt x="91" y="95"/>
                  <a:pt x="91" y="95"/>
                </a:cubicBezTo>
                <a:close/>
                <a:moveTo>
                  <a:pt x="72" y="106"/>
                </a:moveTo>
                <a:cubicBezTo>
                  <a:pt x="72" y="106"/>
                  <a:pt x="70" y="105"/>
                  <a:pt x="70" y="105"/>
                </a:cubicBezTo>
                <a:cubicBezTo>
                  <a:pt x="69" y="105"/>
                  <a:pt x="69" y="106"/>
                  <a:pt x="69" y="106"/>
                </a:cubicBezTo>
                <a:cubicBezTo>
                  <a:pt x="69" y="106"/>
                  <a:pt x="70" y="106"/>
                  <a:pt x="70" y="106"/>
                </a:cubicBezTo>
                <a:cubicBezTo>
                  <a:pt x="71" y="106"/>
                  <a:pt x="71" y="106"/>
                  <a:pt x="72" y="106"/>
                </a:cubicBezTo>
                <a:close/>
                <a:moveTo>
                  <a:pt x="67" y="112"/>
                </a:moveTo>
                <a:cubicBezTo>
                  <a:pt x="66" y="112"/>
                  <a:pt x="65" y="112"/>
                  <a:pt x="66" y="113"/>
                </a:cubicBezTo>
                <a:cubicBezTo>
                  <a:pt x="66" y="113"/>
                  <a:pt x="66" y="113"/>
                  <a:pt x="66" y="113"/>
                </a:cubicBezTo>
                <a:cubicBezTo>
                  <a:pt x="67" y="114"/>
                  <a:pt x="67" y="114"/>
                  <a:pt x="67" y="114"/>
                </a:cubicBezTo>
                <a:cubicBezTo>
                  <a:pt x="68" y="114"/>
                  <a:pt x="69" y="114"/>
                  <a:pt x="70" y="114"/>
                </a:cubicBezTo>
                <a:cubicBezTo>
                  <a:pt x="70" y="114"/>
                  <a:pt x="71" y="114"/>
                  <a:pt x="72" y="114"/>
                </a:cubicBezTo>
                <a:cubicBezTo>
                  <a:pt x="72" y="114"/>
                  <a:pt x="72" y="113"/>
                  <a:pt x="72" y="113"/>
                </a:cubicBezTo>
                <a:cubicBezTo>
                  <a:pt x="74" y="114"/>
                  <a:pt x="71" y="114"/>
                  <a:pt x="71" y="114"/>
                </a:cubicBezTo>
                <a:cubicBezTo>
                  <a:pt x="72" y="115"/>
                  <a:pt x="73" y="114"/>
                  <a:pt x="73" y="114"/>
                </a:cubicBezTo>
                <a:cubicBezTo>
                  <a:pt x="73" y="114"/>
                  <a:pt x="73" y="114"/>
                  <a:pt x="72" y="115"/>
                </a:cubicBezTo>
                <a:cubicBezTo>
                  <a:pt x="74" y="115"/>
                  <a:pt x="75" y="113"/>
                  <a:pt x="76" y="114"/>
                </a:cubicBezTo>
                <a:cubicBezTo>
                  <a:pt x="76" y="114"/>
                  <a:pt x="74" y="114"/>
                  <a:pt x="74" y="115"/>
                </a:cubicBezTo>
                <a:cubicBezTo>
                  <a:pt x="74" y="115"/>
                  <a:pt x="75" y="115"/>
                  <a:pt x="75" y="115"/>
                </a:cubicBezTo>
                <a:cubicBezTo>
                  <a:pt x="75" y="115"/>
                  <a:pt x="74" y="115"/>
                  <a:pt x="73" y="115"/>
                </a:cubicBezTo>
                <a:cubicBezTo>
                  <a:pt x="73" y="115"/>
                  <a:pt x="72" y="115"/>
                  <a:pt x="72" y="115"/>
                </a:cubicBezTo>
                <a:cubicBezTo>
                  <a:pt x="71" y="115"/>
                  <a:pt x="68" y="115"/>
                  <a:pt x="69" y="116"/>
                </a:cubicBezTo>
                <a:cubicBezTo>
                  <a:pt x="70" y="116"/>
                  <a:pt x="70" y="116"/>
                  <a:pt x="71" y="116"/>
                </a:cubicBezTo>
                <a:cubicBezTo>
                  <a:pt x="72" y="116"/>
                  <a:pt x="71" y="116"/>
                  <a:pt x="71" y="116"/>
                </a:cubicBezTo>
                <a:cubicBezTo>
                  <a:pt x="71" y="117"/>
                  <a:pt x="72" y="117"/>
                  <a:pt x="73" y="117"/>
                </a:cubicBezTo>
                <a:cubicBezTo>
                  <a:pt x="74" y="117"/>
                  <a:pt x="75" y="116"/>
                  <a:pt x="77" y="116"/>
                </a:cubicBezTo>
                <a:cubicBezTo>
                  <a:pt x="78" y="116"/>
                  <a:pt x="79" y="115"/>
                  <a:pt x="81" y="115"/>
                </a:cubicBezTo>
                <a:cubicBezTo>
                  <a:pt x="82" y="115"/>
                  <a:pt x="83" y="115"/>
                  <a:pt x="85" y="114"/>
                </a:cubicBezTo>
                <a:cubicBezTo>
                  <a:pt x="85" y="114"/>
                  <a:pt x="87" y="113"/>
                  <a:pt x="87" y="113"/>
                </a:cubicBezTo>
                <a:cubicBezTo>
                  <a:pt x="87" y="113"/>
                  <a:pt x="86" y="113"/>
                  <a:pt x="86" y="113"/>
                </a:cubicBezTo>
                <a:cubicBezTo>
                  <a:pt x="87" y="112"/>
                  <a:pt x="88" y="112"/>
                  <a:pt x="86" y="111"/>
                </a:cubicBezTo>
                <a:cubicBezTo>
                  <a:pt x="85" y="111"/>
                  <a:pt x="84" y="111"/>
                  <a:pt x="82" y="110"/>
                </a:cubicBezTo>
                <a:cubicBezTo>
                  <a:pt x="81" y="109"/>
                  <a:pt x="81" y="108"/>
                  <a:pt x="80" y="108"/>
                </a:cubicBezTo>
                <a:cubicBezTo>
                  <a:pt x="79" y="107"/>
                  <a:pt x="78" y="107"/>
                  <a:pt x="77" y="107"/>
                </a:cubicBezTo>
                <a:cubicBezTo>
                  <a:pt x="75" y="107"/>
                  <a:pt x="74" y="107"/>
                  <a:pt x="73" y="107"/>
                </a:cubicBezTo>
                <a:cubicBezTo>
                  <a:pt x="71" y="107"/>
                  <a:pt x="70" y="107"/>
                  <a:pt x="69" y="108"/>
                </a:cubicBezTo>
                <a:cubicBezTo>
                  <a:pt x="68" y="110"/>
                  <a:pt x="71" y="109"/>
                  <a:pt x="72" y="110"/>
                </a:cubicBezTo>
                <a:cubicBezTo>
                  <a:pt x="72" y="110"/>
                  <a:pt x="70" y="110"/>
                  <a:pt x="69" y="110"/>
                </a:cubicBezTo>
                <a:cubicBezTo>
                  <a:pt x="69" y="110"/>
                  <a:pt x="67" y="110"/>
                  <a:pt x="68" y="111"/>
                </a:cubicBezTo>
                <a:cubicBezTo>
                  <a:pt x="67" y="111"/>
                  <a:pt x="67" y="111"/>
                  <a:pt x="67" y="111"/>
                </a:cubicBezTo>
                <a:cubicBezTo>
                  <a:pt x="66" y="111"/>
                  <a:pt x="67" y="112"/>
                  <a:pt x="67" y="112"/>
                </a:cubicBezTo>
                <a:cubicBezTo>
                  <a:pt x="68" y="112"/>
                  <a:pt x="69" y="112"/>
                  <a:pt x="70" y="113"/>
                </a:cubicBezTo>
                <a:cubicBezTo>
                  <a:pt x="69" y="113"/>
                  <a:pt x="68" y="112"/>
                  <a:pt x="68" y="112"/>
                </a:cubicBezTo>
                <a:cubicBezTo>
                  <a:pt x="67" y="112"/>
                  <a:pt x="67" y="112"/>
                  <a:pt x="67" y="112"/>
                </a:cubicBezTo>
                <a:close/>
                <a:moveTo>
                  <a:pt x="83" y="100"/>
                </a:moveTo>
                <a:cubicBezTo>
                  <a:pt x="85" y="99"/>
                  <a:pt x="84" y="99"/>
                  <a:pt x="84" y="98"/>
                </a:cubicBezTo>
                <a:cubicBezTo>
                  <a:pt x="84" y="97"/>
                  <a:pt x="80" y="99"/>
                  <a:pt x="80" y="99"/>
                </a:cubicBezTo>
                <a:cubicBezTo>
                  <a:pt x="80" y="100"/>
                  <a:pt x="83" y="100"/>
                  <a:pt x="83" y="100"/>
                </a:cubicBezTo>
                <a:close/>
                <a:moveTo>
                  <a:pt x="91" y="114"/>
                </a:moveTo>
                <a:cubicBezTo>
                  <a:pt x="92" y="114"/>
                  <a:pt x="93" y="114"/>
                  <a:pt x="93" y="114"/>
                </a:cubicBezTo>
                <a:cubicBezTo>
                  <a:pt x="93" y="113"/>
                  <a:pt x="93" y="113"/>
                  <a:pt x="94" y="112"/>
                </a:cubicBezTo>
                <a:cubicBezTo>
                  <a:pt x="94" y="112"/>
                  <a:pt x="95" y="112"/>
                  <a:pt x="95" y="112"/>
                </a:cubicBezTo>
                <a:cubicBezTo>
                  <a:pt x="96" y="112"/>
                  <a:pt x="96" y="112"/>
                  <a:pt x="96" y="111"/>
                </a:cubicBezTo>
                <a:cubicBezTo>
                  <a:pt x="97" y="111"/>
                  <a:pt x="96" y="111"/>
                  <a:pt x="96" y="111"/>
                </a:cubicBezTo>
                <a:cubicBezTo>
                  <a:pt x="95" y="111"/>
                  <a:pt x="94" y="110"/>
                  <a:pt x="93" y="111"/>
                </a:cubicBezTo>
                <a:cubicBezTo>
                  <a:pt x="93" y="111"/>
                  <a:pt x="92" y="111"/>
                  <a:pt x="92" y="111"/>
                </a:cubicBezTo>
                <a:cubicBezTo>
                  <a:pt x="93" y="111"/>
                  <a:pt x="93" y="111"/>
                  <a:pt x="94" y="111"/>
                </a:cubicBezTo>
                <a:cubicBezTo>
                  <a:pt x="94" y="111"/>
                  <a:pt x="90" y="112"/>
                  <a:pt x="91" y="113"/>
                </a:cubicBezTo>
                <a:cubicBezTo>
                  <a:pt x="91" y="113"/>
                  <a:pt x="91" y="114"/>
                  <a:pt x="91" y="114"/>
                </a:cubicBezTo>
                <a:close/>
                <a:moveTo>
                  <a:pt x="87" y="99"/>
                </a:moveTo>
                <a:cubicBezTo>
                  <a:pt x="87" y="99"/>
                  <a:pt x="87" y="99"/>
                  <a:pt x="88" y="99"/>
                </a:cubicBezTo>
                <a:cubicBezTo>
                  <a:pt x="88" y="99"/>
                  <a:pt x="89" y="99"/>
                  <a:pt x="89" y="99"/>
                </a:cubicBezTo>
                <a:cubicBezTo>
                  <a:pt x="90" y="99"/>
                  <a:pt x="90" y="99"/>
                  <a:pt x="90" y="98"/>
                </a:cubicBezTo>
                <a:cubicBezTo>
                  <a:pt x="91" y="98"/>
                  <a:pt x="91" y="98"/>
                  <a:pt x="92" y="98"/>
                </a:cubicBezTo>
                <a:cubicBezTo>
                  <a:pt x="93" y="98"/>
                  <a:pt x="92" y="97"/>
                  <a:pt x="92" y="97"/>
                </a:cubicBezTo>
                <a:cubicBezTo>
                  <a:pt x="91" y="97"/>
                  <a:pt x="90" y="97"/>
                  <a:pt x="90" y="97"/>
                </a:cubicBezTo>
                <a:cubicBezTo>
                  <a:pt x="89" y="97"/>
                  <a:pt x="88" y="97"/>
                  <a:pt x="87" y="97"/>
                </a:cubicBezTo>
                <a:cubicBezTo>
                  <a:pt x="87" y="98"/>
                  <a:pt x="86" y="98"/>
                  <a:pt x="87" y="99"/>
                </a:cubicBezTo>
                <a:close/>
                <a:moveTo>
                  <a:pt x="191" y="8"/>
                </a:moveTo>
                <a:cubicBezTo>
                  <a:pt x="191" y="8"/>
                  <a:pt x="192" y="8"/>
                  <a:pt x="192" y="8"/>
                </a:cubicBezTo>
                <a:cubicBezTo>
                  <a:pt x="194" y="8"/>
                  <a:pt x="195" y="9"/>
                  <a:pt x="197" y="9"/>
                </a:cubicBezTo>
                <a:cubicBezTo>
                  <a:pt x="198" y="9"/>
                  <a:pt x="199" y="10"/>
                  <a:pt x="201" y="10"/>
                </a:cubicBezTo>
                <a:cubicBezTo>
                  <a:pt x="202" y="10"/>
                  <a:pt x="201" y="10"/>
                  <a:pt x="201" y="9"/>
                </a:cubicBezTo>
                <a:cubicBezTo>
                  <a:pt x="200" y="9"/>
                  <a:pt x="204" y="8"/>
                  <a:pt x="204" y="8"/>
                </a:cubicBezTo>
                <a:cubicBezTo>
                  <a:pt x="204" y="8"/>
                  <a:pt x="205" y="8"/>
                  <a:pt x="205" y="8"/>
                </a:cubicBezTo>
                <a:cubicBezTo>
                  <a:pt x="205" y="7"/>
                  <a:pt x="204" y="7"/>
                  <a:pt x="204" y="7"/>
                </a:cubicBezTo>
                <a:cubicBezTo>
                  <a:pt x="200" y="6"/>
                  <a:pt x="196" y="5"/>
                  <a:pt x="193" y="6"/>
                </a:cubicBezTo>
                <a:cubicBezTo>
                  <a:pt x="194" y="6"/>
                  <a:pt x="192" y="6"/>
                  <a:pt x="192" y="6"/>
                </a:cubicBezTo>
                <a:cubicBezTo>
                  <a:pt x="191" y="6"/>
                  <a:pt x="191" y="6"/>
                  <a:pt x="190" y="6"/>
                </a:cubicBezTo>
                <a:cubicBezTo>
                  <a:pt x="189" y="6"/>
                  <a:pt x="188" y="6"/>
                  <a:pt x="187" y="6"/>
                </a:cubicBezTo>
                <a:cubicBezTo>
                  <a:pt x="188" y="6"/>
                  <a:pt x="189" y="7"/>
                  <a:pt x="190" y="7"/>
                </a:cubicBezTo>
                <a:cubicBezTo>
                  <a:pt x="190" y="7"/>
                  <a:pt x="190" y="8"/>
                  <a:pt x="191" y="8"/>
                </a:cubicBezTo>
                <a:close/>
                <a:moveTo>
                  <a:pt x="153" y="10"/>
                </a:moveTo>
                <a:cubicBezTo>
                  <a:pt x="154" y="10"/>
                  <a:pt x="155" y="10"/>
                  <a:pt x="156" y="10"/>
                </a:cubicBezTo>
                <a:cubicBezTo>
                  <a:pt x="158" y="10"/>
                  <a:pt x="159" y="11"/>
                  <a:pt x="161" y="11"/>
                </a:cubicBezTo>
                <a:cubicBezTo>
                  <a:pt x="161" y="11"/>
                  <a:pt x="163" y="11"/>
                  <a:pt x="163" y="10"/>
                </a:cubicBezTo>
                <a:cubicBezTo>
                  <a:pt x="162" y="10"/>
                  <a:pt x="160" y="9"/>
                  <a:pt x="159" y="9"/>
                </a:cubicBezTo>
                <a:cubicBezTo>
                  <a:pt x="159" y="9"/>
                  <a:pt x="156" y="9"/>
                  <a:pt x="157" y="8"/>
                </a:cubicBezTo>
                <a:cubicBezTo>
                  <a:pt x="156" y="8"/>
                  <a:pt x="154" y="8"/>
                  <a:pt x="153" y="9"/>
                </a:cubicBezTo>
                <a:cubicBezTo>
                  <a:pt x="152" y="9"/>
                  <a:pt x="153" y="10"/>
                  <a:pt x="153" y="10"/>
                </a:cubicBezTo>
                <a:close/>
                <a:moveTo>
                  <a:pt x="276" y="102"/>
                </a:moveTo>
                <a:cubicBezTo>
                  <a:pt x="276" y="102"/>
                  <a:pt x="276" y="101"/>
                  <a:pt x="276" y="101"/>
                </a:cubicBezTo>
                <a:cubicBezTo>
                  <a:pt x="276" y="101"/>
                  <a:pt x="275" y="101"/>
                  <a:pt x="274" y="101"/>
                </a:cubicBezTo>
                <a:cubicBezTo>
                  <a:pt x="275" y="101"/>
                  <a:pt x="275" y="100"/>
                  <a:pt x="275" y="100"/>
                </a:cubicBezTo>
                <a:cubicBezTo>
                  <a:pt x="275" y="100"/>
                  <a:pt x="271" y="101"/>
                  <a:pt x="271" y="101"/>
                </a:cubicBezTo>
                <a:cubicBezTo>
                  <a:pt x="270" y="101"/>
                  <a:pt x="269" y="101"/>
                  <a:pt x="268" y="102"/>
                </a:cubicBezTo>
                <a:cubicBezTo>
                  <a:pt x="267" y="102"/>
                  <a:pt x="267" y="102"/>
                  <a:pt x="266" y="102"/>
                </a:cubicBezTo>
                <a:cubicBezTo>
                  <a:pt x="265" y="102"/>
                  <a:pt x="264" y="102"/>
                  <a:pt x="263" y="102"/>
                </a:cubicBezTo>
                <a:cubicBezTo>
                  <a:pt x="262" y="103"/>
                  <a:pt x="261" y="103"/>
                  <a:pt x="260" y="103"/>
                </a:cubicBezTo>
                <a:cubicBezTo>
                  <a:pt x="259" y="104"/>
                  <a:pt x="258" y="104"/>
                  <a:pt x="257" y="104"/>
                </a:cubicBezTo>
                <a:cubicBezTo>
                  <a:pt x="256" y="104"/>
                  <a:pt x="257" y="105"/>
                  <a:pt x="257" y="105"/>
                </a:cubicBezTo>
                <a:cubicBezTo>
                  <a:pt x="257" y="105"/>
                  <a:pt x="256" y="105"/>
                  <a:pt x="256" y="106"/>
                </a:cubicBezTo>
                <a:cubicBezTo>
                  <a:pt x="256" y="106"/>
                  <a:pt x="257" y="106"/>
                  <a:pt x="257" y="106"/>
                </a:cubicBezTo>
                <a:cubicBezTo>
                  <a:pt x="258" y="106"/>
                  <a:pt x="260" y="105"/>
                  <a:pt x="261" y="105"/>
                </a:cubicBezTo>
                <a:cubicBezTo>
                  <a:pt x="262" y="105"/>
                  <a:pt x="264" y="105"/>
                  <a:pt x="265" y="105"/>
                </a:cubicBezTo>
                <a:cubicBezTo>
                  <a:pt x="266" y="105"/>
                  <a:pt x="267" y="105"/>
                  <a:pt x="268" y="104"/>
                </a:cubicBezTo>
                <a:cubicBezTo>
                  <a:pt x="269" y="104"/>
                  <a:pt x="270" y="104"/>
                  <a:pt x="270" y="104"/>
                </a:cubicBezTo>
                <a:cubicBezTo>
                  <a:pt x="270" y="105"/>
                  <a:pt x="270" y="105"/>
                  <a:pt x="271" y="105"/>
                </a:cubicBezTo>
                <a:cubicBezTo>
                  <a:pt x="271" y="105"/>
                  <a:pt x="272" y="104"/>
                  <a:pt x="272" y="104"/>
                </a:cubicBezTo>
                <a:cubicBezTo>
                  <a:pt x="273" y="104"/>
                  <a:pt x="273" y="104"/>
                  <a:pt x="274" y="104"/>
                </a:cubicBezTo>
                <a:cubicBezTo>
                  <a:pt x="275" y="104"/>
                  <a:pt x="276" y="104"/>
                  <a:pt x="276" y="103"/>
                </a:cubicBezTo>
                <a:cubicBezTo>
                  <a:pt x="277" y="102"/>
                  <a:pt x="275" y="103"/>
                  <a:pt x="275" y="103"/>
                </a:cubicBezTo>
                <a:cubicBezTo>
                  <a:pt x="275" y="102"/>
                  <a:pt x="276" y="102"/>
                  <a:pt x="276" y="102"/>
                </a:cubicBezTo>
                <a:cubicBezTo>
                  <a:pt x="276" y="102"/>
                  <a:pt x="276" y="102"/>
                  <a:pt x="276" y="102"/>
                </a:cubicBezTo>
                <a:close/>
                <a:moveTo>
                  <a:pt x="350" y="31"/>
                </a:moveTo>
                <a:cubicBezTo>
                  <a:pt x="349" y="31"/>
                  <a:pt x="348" y="32"/>
                  <a:pt x="349" y="32"/>
                </a:cubicBezTo>
                <a:cubicBezTo>
                  <a:pt x="349" y="32"/>
                  <a:pt x="348" y="32"/>
                  <a:pt x="348" y="32"/>
                </a:cubicBezTo>
                <a:cubicBezTo>
                  <a:pt x="349" y="33"/>
                  <a:pt x="350" y="32"/>
                  <a:pt x="350" y="32"/>
                </a:cubicBezTo>
                <a:cubicBezTo>
                  <a:pt x="351" y="32"/>
                  <a:pt x="351" y="32"/>
                  <a:pt x="352" y="32"/>
                </a:cubicBezTo>
                <a:cubicBezTo>
                  <a:pt x="353" y="31"/>
                  <a:pt x="352" y="31"/>
                  <a:pt x="351" y="31"/>
                </a:cubicBezTo>
                <a:cubicBezTo>
                  <a:pt x="351" y="30"/>
                  <a:pt x="350" y="31"/>
                  <a:pt x="350" y="31"/>
                </a:cubicBezTo>
                <a:close/>
                <a:moveTo>
                  <a:pt x="319" y="70"/>
                </a:moveTo>
                <a:cubicBezTo>
                  <a:pt x="319" y="70"/>
                  <a:pt x="317" y="71"/>
                  <a:pt x="317" y="70"/>
                </a:cubicBezTo>
                <a:cubicBezTo>
                  <a:pt x="315" y="70"/>
                  <a:pt x="312" y="70"/>
                  <a:pt x="311" y="71"/>
                </a:cubicBezTo>
                <a:cubicBezTo>
                  <a:pt x="310" y="71"/>
                  <a:pt x="309" y="71"/>
                  <a:pt x="309" y="72"/>
                </a:cubicBezTo>
                <a:cubicBezTo>
                  <a:pt x="309" y="72"/>
                  <a:pt x="310" y="72"/>
                  <a:pt x="310" y="72"/>
                </a:cubicBezTo>
                <a:cubicBezTo>
                  <a:pt x="311" y="73"/>
                  <a:pt x="312" y="73"/>
                  <a:pt x="313" y="73"/>
                </a:cubicBezTo>
                <a:cubicBezTo>
                  <a:pt x="314" y="73"/>
                  <a:pt x="315" y="73"/>
                  <a:pt x="316" y="73"/>
                </a:cubicBezTo>
                <a:cubicBezTo>
                  <a:pt x="317" y="73"/>
                  <a:pt x="318" y="73"/>
                  <a:pt x="319" y="73"/>
                </a:cubicBezTo>
                <a:cubicBezTo>
                  <a:pt x="320" y="73"/>
                  <a:pt x="321" y="73"/>
                  <a:pt x="321" y="72"/>
                </a:cubicBezTo>
                <a:cubicBezTo>
                  <a:pt x="321" y="72"/>
                  <a:pt x="320" y="72"/>
                  <a:pt x="320" y="72"/>
                </a:cubicBezTo>
                <a:cubicBezTo>
                  <a:pt x="319" y="71"/>
                  <a:pt x="320" y="71"/>
                  <a:pt x="319" y="70"/>
                </a:cubicBezTo>
                <a:close/>
                <a:moveTo>
                  <a:pt x="309" y="82"/>
                </a:moveTo>
                <a:cubicBezTo>
                  <a:pt x="310" y="82"/>
                  <a:pt x="311" y="82"/>
                  <a:pt x="311" y="82"/>
                </a:cubicBezTo>
                <a:cubicBezTo>
                  <a:pt x="311" y="82"/>
                  <a:pt x="311" y="82"/>
                  <a:pt x="311" y="81"/>
                </a:cubicBezTo>
                <a:cubicBezTo>
                  <a:pt x="311" y="81"/>
                  <a:pt x="310" y="81"/>
                  <a:pt x="309" y="82"/>
                </a:cubicBezTo>
                <a:close/>
                <a:moveTo>
                  <a:pt x="302" y="83"/>
                </a:moveTo>
                <a:cubicBezTo>
                  <a:pt x="301" y="82"/>
                  <a:pt x="299" y="82"/>
                  <a:pt x="298" y="82"/>
                </a:cubicBezTo>
                <a:cubicBezTo>
                  <a:pt x="296" y="82"/>
                  <a:pt x="295" y="82"/>
                  <a:pt x="293" y="83"/>
                </a:cubicBezTo>
                <a:cubicBezTo>
                  <a:pt x="292" y="83"/>
                  <a:pt x="291" y="83"/>
                  <a:pt x="289" y="83"/>
                </a:cubicBezTo>
                <a:cubicBezTo>
                  <a:pt x="289" y="83"/>
                  <a:pt x="288" y="83"/>
                  <a:pt x="288" y="83"/>
                </a:cubicBezTo>
                <a:cubicBezTo>
                  <a:pt x="288" y="84"/>
                  <a:pt x="289" y="84"/>
                  <a:pt x="290" y="84"/>
                </a:cubicBezTo>
                <a:cubicBezTo>
                  <a:pt x="291" y="83"/>
                  <a:pt x="293" y="84"/>
                  <a:pt x="294" y="84"/>
                </a:cubicBezTo>
                <a:cubicBezTo>
                  <a:pt x="296" y="84"/>
                  <a:pt x="297" y="84"/>
                  <a:pt x="299" y="84"/>
                </a:cubicBezTo>
                <a:cubicBezTo>
                  <a:pt x="299" y="84"/>
                  <a:pt x="300" y="84"/>
                  <a:pt x="300" y="85"/>
                </a:cubicBezTo>
                <a:cubicBezTo>
                  <a:pt x="300" y="85"/>
                  <a:pt x="300" y="85"/>
                  <a:pt x="301" y="85"/>
                </a:cubicBezTo>
                <a:cubicBezTo>
                  <a:pt x="300" y="85"/>
                  <a:pt x="300" y="85"/>
                  <a:pt x="300" y="85"/>
                </a:cubicBezTo>
                <a:cubicBezTo>
                  <a:pt x="301" y="86"/>
                  <a:pt x="303" y="85"/>
                  <a:pt x="304" y="85"/>
                </a:cubicBezTo>
                <a:cubicBezTo>
                  <a:pt x="304" y="85"/>
                  <a:pt x="304" y="85"/>
                  <a:pt x="304" y="85"/>
                </a:cubicBezTo>
                <a:cubicBezTo>
                  <a:pt x="304" y="85"/>
                  <a:pt x="305" y="86"/>
                  <a:pt x="305" y="85"/>
                </a:cubicBezTo>
                <a:cubicBezTo>
                  <a:pt x="306" y="85"/>
                  <a:pt x="305" y="85"/>
                  <a:pt x="305" y="85"/>
                </a:cubicBezTo>
                <a:cubicBezTo>
                  <a:pt x="305" y="85"/>
                  <a:pt x="304" y="84"/>
                  <a:pt x="304" y="84"/>
                </a:cubicBezTo>
                <a:cubicBezTo>
                  <a:pt x="304" y="84"/>
                  <a:pt x="306" y="84"/>
                  <a:pt x="306" y="83"/>
                </a:cubicBezTo>
                <a:cubicBezTo>
                  <a:pt x="305" y="83"/>
                  <a:pt x="305" y="83"/>
                  <a:pt x="304" y="83"/>
                </a:cubicBezTo>
                <a:cubicBezTo>
                  <a:pt x="304" y="83"/>
                  <a:pt x="303" y="83"/>
                  <a:pt x="302" y="83"/>
                </a:cubicBezTo>
                <a:close/>
                <a:moveTo>
                  <a:pt x="303" y="87"/>
                </a:moveTo>
                <a:cubicBezTo>
                  <a:pt x="304" y="87"/>
                  <a:pt x="302" y="87"/>
                  <a:pt x="302" y="86"/>
                </a:cubicBezTo>
                <a:cubicBezTo>
                  <a:pt x="301" y="86"/>
                  <a:pt x="300" y="86"/>
                  <a:pt x="300" y="86"/>
                </a:cubicBezTo>
                <a:cubicBezTo>
                  <a:pt x="300" y="86"/>
                  <a:pt x="298" y="85"/>
                  <a:pt x="298" y="85"/>
                </a:cubicBezTo>
                <a:cubicBezTo>
                  <a:pt x="297" y="84"/>
                  <a:pt x="297" y="84"/>
                  <a:pt x="296" y="84"/>
                </a:cubicBezTo>
                <a:cubicBezTo>
                  <a:pt x="293" y="84"/>
                  <a:pt x="291" y="83"/>
                  <a:pt x="289" y="84"/>
                </a:cubicBezTo>
                <a:cubicBezTo>
                  <a:pt x="288" y="84"/>
                  <a:pt x="288" y="85"/>
                  <a:pt x="288" y="86"/>
                </a:cubicBezTo>
                <a:cubicBezTo>
                  <a:pt x="288" y="86"/>
                  <a:pt x="289" y="87"/>
                  <a:pt x="290" y="87"/>
                </a:cubicBezTo>
                <a:cubicBezTo>
                  <a:pt x="290" y="86"/>
                  <a:pt x="290" y="87"/>
                  <a:pt x="290" y="87"/>
                </a:cubicBezTo>
                <a:cubicBezTo>
                  <a:pt x="291" y="87"/>
                  <a:pt x="290" y="87"/>
                  <a:pt x="290" y="88"/>
                </a:cubicBezTo>
                <a:cubicBezTo>
                  <a:pt x="290" y="87"/>
                  <a:pt x="293" y="88"/>
                  <a:pt x="293" y="88"/>
                </a:cubicBezTo>
                <a:cubicBezTo>
                  <a:pt x="294" y="88"/>
                  <a:pt x="296" y="88"/>
                  <a:pt x="296" y="89"/>
                </a:cubicBezTo>
                <a:cubicBezTo>
                  <a:pt x="297" y="90"/>
                  <a:pt x="298" y="90"/>
                  <a:pt x="299" y="90"/>
                </a:cubicBezTo>
                <a:cubicBezTo>
                  <a:pt x="299" y="90"/>
                  <a:pt x="300" y="90"/>
                  <a:pt x="300" y="90"/>
                </a:cubicBezTo>
                <a:cubicBezTo>
                  <a:pt x="300" y="90"/>
                  <a:pt x="299" y="90"/>
                  <a:pt x="299" y="90"/>
                </a:cubicBezTo>
                <a:cubicBezTo>
                  <a:pt x="299" y="90"/>
                  <a:pt x="301" y="91"/>
                  <a:pt x="302" y="90"/>
                </a:cubicBezTo>
                <a:cubicBezTo>
                  <a:pt x="303" y="90"/>
                  <a:pt x="302" y="90"/>
                  <a:pt x="302" y="90"/>
                </a:cubicBezTo>
                <a:cubicBezTo>
                  <a:pt x="302" y="89"/>
                  <a:pt x="303" y="89"/>
                  <a:pt x="303" y="89"/>
                </a:cubicBezTo>
                <a:cubicBezTo>
                  <a:pt x="303" y="89"/>
                  <a:pt x="302" y="89"/>
                  <a:pt x="302" y="89"/>
                </a:cubicBezTo>
                <a:cubicBezTo>
                  <a:pt x="302" y="89"/>
                  <a:pt x="301" y="90"/>
                  <a:pt x="301" y="89"/>
                </a:cubicBezTo>
                <a:cubicBezTo>
                  <a:pt x="301" y="89"/>
                  <a:pt x="301" y="89"/>
                  <a:pt x="300" y="89"/>
                </a:cubicBezTo>
                <a:cubicBezTo>
                  <a:pt x="300" y="89"/>
                  <a:pt x="298" y="88"/>
                  <a:pt x="299" y="88"/>
                </a:cubicBezTo>
                <a:cubicBezTo>
                  <a:pt x="299" y="87"/>
                  <a:pt x="301" y="88"/>
                  <a:pt x="302" y="88"/>
                </a:cubicBezTo>
                <a:cubicBezTo>
                  <a:pt x="302" y="88"/>
                  <a:pt x="303" y="88"/>
                  <a:pt x="303" y="88"/>
                </a:cubicBezTo>
                <a:cubicBezTo>
                  <a:pt x="304" y="88"/>
                  <a:pt x="304" y="88"/>
                  <a:pt x="304" y="88"/>
                </a:cubicBezTo>
                <a:cubicBezTo>
                  <a:pt x="305" y="87"/>
                  <a:pt x="303" y="87"/>
                  <a:pt x="303" y="87"/>
                </a:cubicBezTo>
                <a:close/>
                <a:moveTo>
                  <a:pt x="335" y="52"/>
                </a:moveTo>
                <a:cubicBezTo>
                  <a:pt x="335" y="53"/>
                  <a:pt x="335" y="54"/>
                  <a:pt x="335" y="54"/>
                </a:cubicBezTo>
                <a:cubicBezTo>
                  <a:pt x="335" y="54"/>
                  <a:pt x="336" y="54"/>
                  <a:pt x="336" y="54"/>
                </a:cubicBezTo>
                <a:cubicBezTo>
                  <a:pt x="336" y="54"/>
                  <a:pt x="335" y="54"/>
                  <a:pt x="335" y="55"/>
                </a:cubicBezTo>
                <a:cubicBezTo>
                  <a:pt x="335" y="55"/>
                  <a:pt x="336" y="56"/>
                  <a:pt x="336" y="56"/>
                </a:cubicBezTo>
                <a:cubicBezTo>
                  <a:pt x="336" y="56"/>
                  <a:pt x="336" y="57"/>
                  <a:pt x="336" y="57"/>
                </a:cubicBezTo>
                <a:cubicBezTo>
                  <a:pt x="336" y="57"/>
                  <a:pt x="336" y="58"/>
                  <a:pt x="336" y="58"/>
                </a:cubicBezTo>
                <a:cubicBezTo>
                  <a:pt x="336" y="58"/>
                  <a:pt x="337" y="57"/>
                  <a:pt x="337" y="57"/>
                </a:cubicBezTo>
                <a:cubicBezTo>
                  <a:pt x="337" y="56"/>
                  <a:pt x="337" y="56"/>
                  <a:pt x="337" y="55"/>
                </a:cubicBezTo>
                <a:cubicBezTo>
                  <a:pt x="337" y="55"/>
                  <a:pt x="337" y="54"/>
                  <a:pt x="337" y="53"/>
                </a:cubicBezTo>
                <a:cubicBezTo>
                  <a:pt x="337" y="52"/>
                  <a:pt x="338" y="52"/>
                  <a:pt x="338" y="51"/>
                </a:cubicBezTo>
                <a:cubicBezTo>
                  <a:pt x="337" y="51"/>
                  <a:pt x="337" y="50"/>
                  <a:pt x="336" y="50"/>
                </a:cubicBezTo>
                <a:cubicBezTo>
                  <a:pt x="335" y="51"/>
                  <a:pt x="336" y="51"/>
                  <a:pt x="336" y="52"/>
                </a:cubicBezTo>
                <a:cubicBezTo>
                  <a:pt x="336" y="52"/>
                  <a:pt x="337" y="51"/>
                  <a:pt x="337" y="52"/>
                </a:cubicBezTo>
                <a:cubicBezTo>
                  <a:pt x="337" y="52"/>
                  <a:pt x="335" y="51"/>
                  <a:pt x="335" y="52"/>
                </a:cubicBezTo>
                <a:close/>
                <a:moveTo>
                  <a:pt x="342" y="64"/>
                </a:moveTo>
                <a:cubicBezTo>
                  <a:pt x="342" y="64"/>
                  <a:pt x="341" y="64"/>
                  <a:pt x="341" y="64"/>
                </a:cubicBezTo>
                <a:cubicBezTo>
                  <a:pt x="341" y="65"/>
                  <a:pt x="339" y="64"/>
                  <a:pt x="338" y="64"/>
                </a:cubicBezTo>
                <a:cubicBezTo>
                  <a:pt x="338" y="64"/>
                  <a:pt x="338" y="64"/>
                  <a:pt x="338" y="63"/>
                </a:cubicBezTo>
                <a:cubicBezTo>
                  <a:pt x="338" y="63"/>
                  <a:pt x="337" y="63"/>
                  <a:pt x="337" y="63"/>
                </a:cubicBezTo>
                <a:cubicBezTo>
                  <a:pt x="337" y="63"/>
                  <a:pt x="340" y="63"/>
                  <a:pt x="340" y="62"/>
                </a:cubicBezTo>
                <a:cubicBezTo>
                  <a:pt x="339" y="62"/>
                  <a:pt x="339" y="62"/>
                  <a:pt x="338" y="62"/>
                </a:cubicBezTo>
                <a:cubicBezTo>
                  <a:pt x="338" y="62"/>
                  <a:pt x="338" y="62"/>
                  <a:pt x="338" y="62"/>
                </a:cubicBezTo>
                <a:cubicBezTo>
                  <a:pt x="337" y="63"/>
                  <a:pt x="336" y="62"/>
                  <a:pt x="335" y="62"/>
                </a:cubicBezTo>
                <a:cubicBezTo>
                  <a:pt x="335" y="62"/>
                  <a:pt x="333" y="62"/>
                  <a:pt x="333" y="62"/>
                </a:cubicBezTo>
                <a:cubicBezTo>
                  <a:pt x="333" y="63"/>
                  <a:pt x="333" y="63"/>
                  <a:pt x="333" y="63"/>
                </a:cubicBezTo>
                <a:cubicBezTo>
                  <a:pt x="333" y="63"/>
                  <a:pt x="333" y="64"/>
                  <a:pt x="333" y="64"/>
                </a:cubicBezTo>
                <a:cubicBezTo>
                  <a:pt x="332" y="64"/>
                  <a:pt x="333" y="64"/>
                  <a:pt x="332" y="64"/>
                </a:cubicBezTo>
                <a:cubicBezTo>
                  <a:pt x="332" y="64"/>
                  <a:pt x="332" y="64"/>
                  <a:pt x="332" y="65"/>
                </a:cubicBezTo>
                <a:cubicBezTo>
                  <a:pt x="332" y="66"/>
                  <a:pt x="334" y="65"/>
                  <a:pt x="335" y="65"/>
                </a:cubicBezTo>
                <a:cubicBezTo>
                  <a:pt x="336" y="65"/>
                  <a:pt x="337" y="65"/>
                  <a:pt x="339" y="65"/>
                </a:cubicBezTo>
                <a:cubicBezTo>
                  <a:pt x="339" y="65"/>
                  <a:pt x="341" y="65"/>
                  <a:pt x="340" y="66"/>
                </a:cubicBezTo>
                <a:cubicBezTo>
                  <a:pt x="340" y="66"/>
                  <a:pt x="341" y="66"/>
                  <a:pt x="341" y="65"/>
                </a:cubicBezTo>
                <a:cubicBezTo>
                  <a:pt x="341" y="65"/>
                  <a:pt x="342" y="65"/>
                  <a:pt x="342" y="65"/>
                </a:cubicBezTo>
                <a:cubicBezTo>
                  <a:pt x="342" y="65"/>
                  <a:pt x="342" y="65"/>
                  <a:pt x="343" y="64"/>
                </a:cubicBezTo>
                <a:cubicBezTo>
                  <a:pt x="343" y="64"/>
                  <a:pt x="342" y="64"/>
                  <a:pt x="342" y="64"/>
                </a:cubicBezTo>
                <a:close/>
                <a:moveTo>
                  <a:pt x="85" y="199"/>
                </a:moveTo>
                <a:cubicBezTo>
                  <a:pt x="86" y="200"/>
                  <a:pt x="87" y="199"/>
                  <a:pt x="86" y="199"/>
                </a:cubicBezTo>
                <a:cubicBezTo>
                  <a:pt x="86" y="199"/>
                  <a:pt x="88" y="199"/>
                  <a:pt x="87" y="198"/>
                </a:cubicBezTo>
                <a:cubicBezTo>
                  <a:pt x="87" y="198"/>
                  <a:pt x="86" y="199"/>
                  <a:pt x="85" y="199"/>
                </a:cubicBezTo>
                <a:close/>
                <a:moveTo>
                  <a:pt x="96" y="202"/>
                </a:moveTo>
                <a:cubicBezTo>
                  <a:pt x="96" y="202"/>
                  <a:pt x="95" y="202"/>
                  <a:pt x="95" y="202"/>
                </a:cubicBezTo>
                <a:cubicBezTo>
                  <a:pt x="95" y="203"/>
                  <a:pt x="96" y="202"/>
                  <a:pt x="96" y="202"/>
                </a:cubicBezTo>
                <a:close/>
                <a:moveTo>
                  <a:pt x="174" y="152"/>
                </a:moveTo>
                <a:cubicBezTo>
                  <a:pt x="175" y="152"/>
                  <a:pt x="176" y="152"/>
                  <a:pt x="176" y="151"/>
                </a:cubicBezTo>
                <a:cubicBezTo>
                  <a:pt x="175" y="151"/>
                  <a:pt x="174" y="151"/>
                  <a:pt x="174" y="152"/>
                </a:cubicBezTo>
                <a:close/>
                <a:moveTo>
                  <a:pt x="173" y="150"/>
                </a:moveTo>
                <a:cubicBezTo>
                  <a:pt x="173" y="150"/>
                  <a:pt x="173" y="149"/>
                  <a:pt x="173" y="149"/>
                </a:cubicBezTo>
                <a:cubicBezTo>
                  <a:pt x="174" y="150"/>
                  <a:pt x="174" y="149"/>
                  <a:pt x="174" y="150"/>
                </a:cubicBezTo>
                <a:cubicBezTo>
                  <a:pt x="173" y="149"/>
                  <a:pt x="173" y="148"/>
                  <a:pt x="172" y="148"/>
                </a:cubicBezTo>
                <a:cubicBezTo>
                  <a:pt x="171" y="148"/>
                  <a:pt x="171" y="149"/>
                  <a:pt x="170" y="149"/>
                </a:cubicBezTo>
                <a:cubicBezTo>
                  <a:pt x="170" y="149"/>
                  <a:pt x="170" y="149"/>
                  <a:pt x="169" y="150"/>
                </a:cubicBezTo>
                <a:cubicBezTo>
                  <a:pt x="169" y="151"/>
                  <a:pt x="170" y="151"/>
                  <a:pt x="170" y="151"/>
                </a:cubicBezTo>
                <a:cubicBezTo>
                  <a:pt x="172" y="151"/>
                  <a:pt x="171" y="151"/>
                  <a:pt x="171" y="151"/>
                </a:cubicBezTo>
                <a:cubicBezTo>
                  <a:pt x="171" y="150"/>
                  <a:pt x="172" y="151"/>
                  <a:pt x="172" y="151"/>
                </a:cubicBezTo>
                <a:cubicBezTo>
                  <a:pt x="172" y="151"/>
                  <a:pt x="172" y="151"/>
                  <a:pt x="172" y="151"/>
                </a:cubicBezTo>
                <a:cubicBezTo>
                  <a:pt x="173" y="151"/>
                  <a:pt x="173" y="151"/>
                  <a:pt x="174" y="150"/>
                </a:cubicBezTo>
                <a:cubicBezTo>
                  <a:pt x="175" y="150"/>
                  <a:pt x="173" y="150"/>
                  <a:pt x="173" y="150"/>
                </a:cubicBezTo>
                <a:cubicBezTo>
                  <a:pt x="173" y="150"/>
                  <a:pt x="173" y="150"/>
                  <a:pt x="173" y="150"/>
                </a:cubicBezTo>
                <a:close/>
                <a:moveTo>
                  <a:pt x="101" y="207"/>
                </a:moveTo>
                <a:cubicBezTo>
                  <a:pt x="102" y="206"/>
                  <a:pt x="102" y="206"/>
                  <a:pt x="101" y="206"/>
                </a:cubicBezTo>
                <a:cubicBezTo>
                  <a:pt x="101" y="206"/>
                  <a:pt x="100" y="206"/>
                  <a:pt x="100" y="206"/>
                </a:cubicBezTo>
                <a:cubicBezTo>
                  <a:pt x="99" y="207"/>
                  <a:pt x="99" y="207"/>
                  <a:pt x="98" y="207"/>
                </a:cubicBezTo>
                <a:cubicBezTo>
                  <a:pt x="99" y="208"/>
                  <a:pt x="99" y="207"/>
                  <a:pt x="99" y="207"/>
                </a:cubicBezTo>
                <a:cubicBezTo>
                  <a:pt x="100" y="207"/>
                  <a:pt x="100" y="207"/>
                  <a:pt x="101" y="206"/>
                </a:cubicBezTo>
                <a:cubicBezTo>
                  <a:pt x="101" y="206"/>
                  <a:pt x="100" y="207"/>
                  <a:pt x="100" y="207"/>
                </a:cubicBezTo>
                <a:cubicBezTo>
                  <a:pt x="100" y="207"/>
                  <a:pt x="101" y="207"/>
                  <a:pt x="101" y="207"/>
                </a:cubicBezTo>
                <a:close/>
                <a:moveTo>
                  <a:pt x="135" y="173"/>
                </a:moveTo>
                <a:cubicBezTo>
                  <a:pt x="135" y="173"/>
                  <a:pt x="134" y="172"/>
                  <a:pt x="134" y="172"/>
                </a:cubicBezTo>
                <a:cubicBezTo>
                  <a:pt x="134" y="172"/>
                  <a:pt x="134" y="172"/>
                  <a:pt x="133" y="171"/>
                </a:cubicBezTo>
                <a:cubicBezTo>
                  <a:pt x="133" y="171"/>
                  <a:pt x="131" y="172"/>
                  <a:pt x="132" y="172"/>
                </a:cubicBezTo>
                <a:cubicBezTo>
                  <a:pt x="133" y="173"/>
                  <a:pt x="134" y="174"/>
                  <a:pt x="135" y="174"/>
                </a:cubicBezTo>
                <a:cubicBezTo>
                  <a:pt x="135" y="174"/>
                  <a:pt x="135" y="174"/>
                  <a:pt x="135" y="174"/>
                </a:cubicBezTo>
                <a:cubicBezTo>
                  <a:pt x="135" y="174"/>
                  <a:pt x="135" y="174"/>
                  <a:pt x="135" y="174"/>
                </a:cubicBezTo>
                <a:cubicBezTo>
                  <a:pt x="135" y="174"/>
                  <a:pt x="136" y="174"/>
                  <a:pt x="136" y="174"/>
                </a:cubicBezTo>
                <a:cubicBezTo>
                  <a:pt x="136" y="174"/>
                  <a:pt x="136" y="174"/>
                  <a:pt x="136" y="174"/>
                </a:cubicBezTo>
                <a:cubicBezTo>
                  <a:pt x="137" y="174"/>
                  <a:pt x="136" y="173"/>
                  <a:pt x="136" y="173"/>
                </a:cubicBezTo>
                <a:cubicBezTo>
                  <a:pt x="136" y="173"/>
                  <a:pt x="135" y="173"/>
                  <a:pt x="135" y="173"/>
                </a:cubicBezTo>
                <a:close/>
                <a:moveTo>
                  <a:pt x="94" y="202"/>
                </a:moveTo>
                <a:cubicBezTo>
                  <a:pt x="94" y="202"/>
                  <a:pt x="94" y="202"/>
                  <a:pt x="94" y="202"/>
                </a:cubicBezTo>
                <a:cubicBezTo>
                  <a:pt x="94" y="202"/>
                  <a:pt x="93" y="202"/>
                  <a:pt x="93" y="202"/>
                </a:cubicBezTo>
                <a:cubicBezTo>
                  <a:pt x="93" y="202"/>
                  <a:pt x="93" y="202"/>
                  <a:pt x="93" y="203"/>
                </a:cubicBezTo>
                <a:cubicBezTo>
                  <a:pt x="92" y="203"/>
                  <a:pt x="92" y="204"/>
                  <a:pt x="92" y="204"/>
                </a:cubicBezTo>
                <a:cubicBezTo>
                  <a:pt x="92" y="204"/>
                  <a:pt x="95" y="203"/>
                  <a:pt x="94" y="202"/>
                </a:cubicBezTo>
                <a:close/>
                <a:moveTo>
                  <a:pt x="107" y="205"/>
                </a:moveTo>
                <a:cubicBezTo>
                  <a:pt x="106" y="205"/>
                  <a:pt x="105" y="205"/>
                  <a:pt x="105" y="205"/>
                </a:cubicBezTo>
                <a:cubicBezTo>
                  <a:pt x="104" y="205"/>
                  <a:pt x="102" y="204"/>
                  <a:pt x="101" y="205"/>
                </a:cubicBezTo>
                <a:cubicBezTo>
                  <a:pt x="101" y="205"/>
                  <a:pt x="102" y="206"/>
                  <a:pt x="103" y="206"/>
                </a:cubicBezTo>
                <a:cubicBezTo>
                  <a:pt x="103" y="206"/>
                  <a:pt x="104" y="206"/>
                  <a:pt x="104" y="206"/>
                </a:cubicBezTo>
                <a:cubicBezTo>
                  <a:pt x="104" y="206"/>
                  <a:pt x="103" y="206"/>
                  <a:pt x="102" y="206"/>
                </a:cubicBezTo>
                <a:cubicBezTo>
                  <a:pt x="103" y="207"/>
                  <a:pt x="104" y="207"/>
                  <a:pt x="104" y="207"/>
                </a:cubicBezTo>
                <a:cubicBezTo>
                  <a:pt x="104" y="207"/>
                  <a:pt x="104" y="206"/>
                  <a:pt x="104" y="206"/>
                </a:cubicBezTo>
                <a:cubicBezTo>
                  <a:pt x="105" y="207"/>
                  <a:pt x="104" y="207"/>
                  <a:pt x="105" y="207"/>
                </a:cubicBezTo>
                <a:cubicBezTo>
                  <a:pt x="105" y="207"/>
                  <a:pt x="105" y="207"/>
                  <a:pt x="106" y="206"/>
                </a:cubicBezTo>
                <a:cubicBezTo>
                  <a:pt x="106" y="206"/>
                  <a:pt x="106" y="206"/>
                  <a:pt x="105" y="205"/>
                </a:cubicBezTo>
                <a:cubicBezTo>
                  <a:pt x="106" y="205"/>
                  <a:pt x="106" y="206"/>
                  <a:pt x="106" y="206"/>
                </a:cubicBezTo>
                <a:cubicBezTo>
                  <a:pt x="107" y="206"/>
                  <a:pt x="107" y="206"/>
                  <a:pt x="107" y="206"/>
                </a:cubicBezTo>
                <a:cubicBezTo>
                  <a:pt x="107" y="206"/>
                  <a:pt x="107" y="206"/>
                  <a:pt x="107" y="206"/>
                </a:cubicBezTo>
                <a:cubicBezTo>
                  <a:pt x="107" y="206"/>
                  <a:pt x="107" y="206"/>
                  <a:pt x="108" y="206"/>
                </a:cubicBezTo>
                <a:cubicBezTo>
                  <a:pt x="108" y="206"/>
                  <a:pt x="108" y="206"/>
                  <a:pt x="108" y="206"/>
                </a:cubicBezTo>
                <a:cubicBezTo>
                  <a:pt x="108" y="206"/>
                  <a:pt x="109" y="206"/>
                  <a:pt x="109" y="206"/>
                </a:cubicBezTo>
                <a:cubicBezTo>
                  <a:pt x="109" y="206"/>
                  <a:pt x="109" y="206"/>
                  <a:pt x="108" y="206"/>
                </a:cubicBezTo>
                <a:cubicBezTo>
                  <a:pt x="108" y="205"/>
                  <a:pt x="107" y="205"/>
                  <a:pt x="107" y="205"/>
                </a:cubicBezTo>
                <a:close/>
                <a:moveTo>
                  <a:pt x="128" y="179"/>
                </a:moveTo>
                <a:cubicBezTo>
                  <a:pt x="127" y="178"/>
                  <a:pt x="126" y="178"/>
                  <a:pt x="125" y="179"/>
                </a:cubicBezTo>
                <a:cubicBezTo>
                  <a:pt x="125" y="179"/>
                  <a:pt x="125" y="179"/>
                  <a:pt x="125" y="179"/>
                </a:cubicBezTo>
                <a:cubicBezTo>
                  <a:pt x="125" y="179"/>
                  <a:pt x="125" y="179"/>
                  <a:pt x="125" y="179"/>
                </a:cubicBezTo>
                <a:cubicBezTo>
                  <a:pt x="125" y="180"/>
                  <a:pt x="126" y="179"/>
                  <a:pt x="126" y="179"/>
                </a:cubicBezTo>
                <a:cubicBezTo>
                  <a:pt x="126" y="180"/>
                  <a:pt x="126" y="179"/>
                  <a:pt x="126" y="179"/>
                </a:cubicBezTo>
                <a:cubicBezTo>
                  <a:pt x="127" y="179"/>
                  <a:pt x="127" y="179"/>
                  <a:pt x="127" y="179"/>
                </a:cubicBezTo>
                <a:cubicBezTo>
                  <a:pt x="127" y="179"/>
                  <a:pt x="128" y="179"/>
                  <a:pt x="128" y="179"/>
                </a:cubicBezTo>
                <a:cubicBezTo>
                  <a:pt x="128" y="179"/>
                  <a:pt x="127" y="179"/>
                  <a:pt x="126" y="179"/>
                </a:cubicBezTo>
                <a:cubicBezTo>
                  <a:pt x="127" y="179"/>
                  <a:pt x="127" y="179"/>
                  <a:pt x="128" y="179"/>
                </a:cubicBezTo>
                <a:cubicBezTo>
                  <a:pt x="128" y="179"/>
                  <a:pt x="128" y="179"/>
                  <a:pt x="129" y="179"/>
                </a:cubicBezTo>
                <a:cubicBezTo>
                  <a:pt x="129" y="179"/>
                  <a:pt x="128" y="179"/>
                  <a:pt x="128" y="179"/>
                </a:cubicBezTo>
                <a:cubicBezTo>
                  <a:pt x="128" y="179"/>
                  <a:pt x="128" y="179"/>
                  <a:pt x="128" y="179"/>
                </a:cubicBezTo>
                <a:close/>
                <a:moveTo>
                  <a:pt x="148" y="161"/>
                </a:moveTo>
                <a:cubicBezTo>
                  <a:pt x="148" y="161"/>
                  <a:pt x="147" y="161"/>
                  <a:pt x="147" y="161"/>
                </a:cubicBezTo>
                <a:cubicBezTo>
                  <a:pt x="147" y="161"/>
                  <a:pt x="147" y="161"/>
                  <a:pt x="147" y="161"/>
                </a:cubicBezTo>
                <a:cubicBezTo>
                  <a:pt x="147" y="160"/>
                  <a:pt x="147" y="161"/>
                  <a:pt x="147" y="160"/>
                </a:cubicBezTo>
                <a:cubicBezTo>
                  <a:pt x="147" y="160"/>
                  <a:pt x="147" y="160"/>
                  <a:pt x="147" y="160"/>
                </a:cubicBezTo>
                <a:cubicBezTo>
                  <a:pt x="147" y="159"/>
                  <a:pt x="147" y="160"/>
                  <a:pt x="147" y="159"/>
                </a:cubicBezTo>
                <a:cubicBezTo>
                  <a:pt x="147" y="159"/>
                  <a:pt x="147" y="159"/>
                  <a:pt x="147" y="158"/>
                </a:cubicBezTo>
                <a:cubicBezTo>
                  <a:pt x="147" y="158"/>
                  <a:pt x="146" y="157"/>
                  <a:pt x="145" y="158"/>
                </a:cubicBezTo>
                <a:cubicBezTo>
                  <a:pt x="145" y="158"/>
                  <a:pt x="145" y="159"/>
                  <a:pt x="146" y="159"/>
                </a:cubicBezTo>
                <a:cubicBezTo>
                  <a:pt x="146" y="160"/>
                  <a:pt x="146" y="160"/>
                  <a:pt x="146" y="161"/>
                </a:cubicBezTo>
                <a:cubicBezTo>
                  <a:pt x="146" y="161"/>
                  <a:pt x="146" y="162"/>
                  <a:pt x="146" y="162"/>
                </a:cubicBezTo>
                <a:cubicBezTo>
                  <a:pt x="146" y="162"/>
                  <a:pt x="148" y="162"/>
                  <a:pt x="148" y="162"/>
                </a:cubicBezTo>
                <a:cubicBezTo>
                  <a:pt x="148" y="162"/>
                  <a:pt x="149" y="162"/>
                  <a:pt x="148" y="161"/>
                </a:cubicBezTo>
                <a:close/>
                <a:moveTo>
                  <a:pt x="341" y="23"/>
                </a:moveTo>
                <a:cubicBezTo>
                  <a:pt x="341" y="23"/>
                  <a:pt x="341" y="24"/>
                  <a:pt x="340" y="24"/>
                </a:cubicBezTo>
                <a:cubicBezTo>
                  <a:pt x="340" y="24"/>
                  <a:pt x="340" y="24"/>
                  <a:pt x="340" y="24"/>
                </a:cubicBezTo>
                <a:cubicBezTo>
                  <a:pt x="341" y="24"/>
                  <a:pt x="342" y="24"/>
                  <a:pt x="343" y="24"/>
                </a:cubicBezTo>
                <a:cubicBezTo>
                  <a:pt x="344" y="24"/>
                  <a:pt x="345" y="24"/>
                  <a:pt x="346" y="24"/>
                </a:cubicBezTo>
                <a:cubicBezTo>
                  <a:pt x="346" y="24"/>
                  <a:pt x="346" y="24"/>
                  <a:pt x="346" y="23"/>
                </a:cubicBezTo>
                <a:cubicBezTo>
                  <a:pt x="345" y="23"/>
                  <a:pt x="344" y="23"/>
                  <a:pt x="344" y="23"/>
                </a:cubicBezTo>
                <a:cubicBezTo>
                  <a:pt x="343" y="23"/>
                  <a:pt x="342" y="23"/>
                  <a:pt x="341" y="23"/>
                </a:cubicBezTo>
                <a:close/>
                <a:moveTo>
                  <a:pt x="319" y="67"/>
                </a:moveTo>
                <a:cubicBezTo>
                  <a:pt x="319" y="67"/>
                  <a:pt x="322" y="68"/>
                  <a:pt x="322" y="68"/>
                </a:cubicBezTo>
                <a:cubicBezTo>
                  <a:pt x="323" y="68"/>
                  <a:pt x="324" y="68"/>
                  <a:pt x="325" y="67"/>
                </a:cubicBezTo>
                <a:cubicBezTo>
                  <a:pt x="325" y="67"/>
                  <a:pt x="326" y="67"/>
                  <a:pt x="326" y="66"/>
                </a:cubicBezTo>
                <a:cubicBezTo>
                  <a:pt x="326" y="66"/>
                  <a:pt x="324" y="66"/>
                  <a:pt x="324" y="66"/>
                </a:cubicBezTo>
                <a:cubicBezTo>
                  <a:pt x="324" y="66"/>
                  <a:pt x="323" y="66"/>
                  <a:pt x="323" y="66"/>
                </a:cubicBezTo>
                <a:cubicBezTo>
                  <a:pt x="323" y="66"/>
                  <a:pt x="326" y="66"/>
                  <a:pt x="324" y="65"/>
                </a:cubicBezTo>
                <a:cubicBezTo>
                  <a:pt x="323" y="65"/>
                  <a:pt x="322" y="65"/>
                  <a:pt x="321" y="65"/>
                </a:cubicBezTo>
                <a:cubicBezTo>
                  <a:pt x="321" y="65"/>
                  <a:pt x="320" y="65"/>
                  <a:pt x="320" y="65"/>
                </a:cubicBezTo>
                <a:cubicBezTo>
                  <a:pt x="320" y="66"/>
                  <a:pt x="321" y="66"/>
                  <a:pt x="321" y="66"/>
                </a:cubicBezTo>
                <a:cubicBezTo>
                  <a:pt x="320" y="66"/>
                  <a:pt x="319" y="67"/>
                  <a:pt x="319" y="67"/>
                </a:cubicBezTo>
                <a:close/>
                <a:moveTo>
                  <a:pt x="292" y="80"/>
                </a:moveTo>
                <a:cubicBezTo>
                  <a:pt x="293" y="81"/>
                  <a:pt x="294" y="81"/>
                  <a:pt x="295" y="81"/>
                </a:cubicBezTo>
                <a:cubicBezTo>
                  <a:pt x="296" y="81"/>
                  <a:pt x="296" y="81"/>
                  <a:pt x="297" y="81"/>
                </a:cubicBezTo>
                <a:cubicBezTo>
                  <a:pt x="297" y="81"/>
                  <a:pt x="298" y="81"/>
                  <a:pt x="298" y="80"/>
                </a:cubicBezTo>
                <a:cubicBezTo>
                  <a:pt x="297" y="80"/>
                  <a:pt x="297" y="80"/>
                  <a:pt x="296" y="80"/>
                </a:cubicBezTo>
                <a:cubicBezTo>
                  <a:pt x="296" y="80"/>
                  <a:pt x="295" y="80"/>
                  <a:pt x="295" y="80"/>
                </a:cubicBezTo>
                <a:cubicBezTo>
                  <a:pt x="293" y="79"/>
                  <a:pt x="291" y="79"/>
                  <a:pt x="289" y="79"/>
                </a:cubicBezTo>
                <a:cubicBezTo>
                  <a:pt x="288" y="79"/>
                  <a:pt x="287" y="79"/>
                  <a:pt x="286" y="79"/>
                </a:cubicBezTo>
                <a:cubicBezTo>
                  <a:pt x="286" y="79"/>
                  <a:pt x="285" y="79"/>
                  <a:pt x="285" y="79"/>
                </a:cubicBezTo>
                <a:cubicBezTo>
                  <a:pt x="284" y="80"/>
                  <a:pt x="286" y="80"/>
                  <a:pt x="286" y="80"/>
                </a:cubicBezTo>
                <a:cubicBezTo>
                  <a:pt x="287" y="80"/>
                  <a:pt x="288" y="80"/>
                  <a:pt x="289" y="80"/>
                </a:cubicBezTo>
                <a:cubicBezTo>
                  <a:pt x="290" y="80"/>
                  <a:pt x="291" y="80"/>
                  <a:pt x="292" y="80"/>
                </a:cubicBezTo>
                <a:close/>
                <a:moveTo>
                  <a:pt x="339" y="33"/>
                </a:moveTo>
                <a:cubicBezTo>
                  <a:pt x="339" y="33"/>
                  <a:pt x="338" y="33"/>
                  <a:pt x="338" y="34"/>
                </a:cubicBezTo>
                <a:cubicBezTo>
                  <a:pt x="337" y="34"/>
                  <a:pt x="338" y="34"/>
                  <a:pt x="338" y="34"/>
                </a:cubicBezTo>
                <a:cubicBezTo>
                  <a:pt x="338" y="34"/>
                  <a:pt x="339" y="34"/>
                  <a:pt x="339" y="34"/>
                </a:cubicBezTo>
                <a:cubicBezTo>
                  <a:pt x="340" y="35"/>
                  <a:pt x="340" y="34"/>
                  <a:pt x="341" y="34"/>
                </a:cubicBezTo>
                <a:cubicBezTo>
                  <a:pt x="341" y="34"/>
                  <a:pt x="340" y="34"/>
                  <a:pt x="340" y="34"/>
                </a:cubicBezTo>
                <a:cubicBezTo>
                  <a:pt x="340" y="34"/>
                  <a:pt x="341" y="34"/>
                  <a:pt x="341" y="34"/>
                </a:cubicBezTo>
                <a:cubicBezTo>
                  <a:pt x="341" y="34"/>
                  <a:pt x="340" y="34"/>
                  <a:pt x="340" y="34"/>
                </a:cubicBezTo>
                <a:cubicBezTo>
                  <a:pt x="340" y="34"/>
                  <a:pt x="340" y="33"/>
                  <a:pt x="341" y="33"/>
                </a:cubicBezTo>
                <a:cubicBezTo>
                  <a:pt x="341" y="33"/>
                  <a:pt x="341" y="33"/>
                  <a:pt x="341" y="33"/>
                </a:cubicBezTo>
                <a:cubicBezTo>
                  <a:pt x="341" y="33"/>
                  <a:pt x="341" y="33"/>
                  <a:pt x="341" y="33"/>
                </a:cubicBezTo>
                <a:cubicBezTo>
                  <a:pt x="341" y="33"/>
                  <a:pt x="340" y="33"/>
                  <a:pt x="339" y="33"/>
                </a:cubicBezTo>
                <a:close/>
                <a:moveTo>
                  <a:pt x="88" y="197"/>
                </a:moveTo>
                <a:cubicBezTo>
                  <a:pt x="89" y="197"/>
                  <a:pt x="89" y="197"/>
                  <a:pt x="89" y="197"/>
                </a:cubicBezTo>
                <a:cubicBezTo>
                  <a:pt x="88" y="197"/>
                  <a:pt x="87" y="197"/>
                  <a:pt x="86" y="198"/>
                </a:cubicBezTo>
                <a:cubicBezTo>
                  <a:pt x="85" y="198"/>
                  <a:pt x="84" y="198"/>
                  <a:pt x="83" y="199"/>
                </a:cubicBezTo>
                <a:cubicBezTo>
                  <a:pt x="84" y="199"/>
                  <a:pt x="84" y="198"/>
                  <a:pt x="85" y="198"/>
                </a:cubicBezTo>
                <a:cubicBezTo>
                  <a:pt x="85" y="198"/>
                  <a:pt x="86" y="198"/>
                  <a:pt x="86" y="198"/>
                </a:cubicBezTo>
                <a:cubicBezTo>
                  <a:pt x="87" y="198"/>
                  <a:pt x="87" y="198"/>
                  <a:pt x="88" y="197"/>
                </a:cubicBezTo>
                <a:close/>
                <a:moveTo>
                  <a:pt x="102" y="206"/>
                </a:moveTo>
                <a:cubicBezTo>
                  <a:pt x="102" y="206"/>
                  <a:pt x="101" y="207"/>
                  <a:pt x="100" y="208"/>
                </a:cubicBezTo>
                <a:cubicBezTo>
                  <a:pt x="100" y="208"/>
                  <a:pt x="101" y="208"/>
                  <a:pt x="101" y="208"/>
                </a:cubicBezTo>
                <a:cubicBezTo>
                  <a:pt x="101" y="208"/>
                  <a:pt x="102" y="208"/>
                  <a:pt x="102" y="207"/>
                </a:cubicBezTo>
                <a:cubicBezTo>
                  <a:pt x="102" y="207"/>
                  <a:pt x="101" y="209"/>
                  <a:pt x="102" y="208"/>
                </a:cubicBezTo>
                <a:cubicBezTo>
                  <a:pt x="102" y="208"/>
                  <a:pt x="103" y="207"/>
                  <a:pt x="103" y="207"/>
                </a:cubicBezTo>
                <a:cubicBezTo>
                  <a:pt x="103" y="208"/>
                  <a:pt x="103" y="208"/>
                  <a:pt x="103" y="208"/>
                </a:cubicBezTo>
                <a:cubicBezTo>
                  <a:pt x="103" y="208"/>
                  <a:pt x="104" y="208"/>
                  <a:pt x="104" y="208"/>
                </a:cubicBezTo>
                <a:cubicBezTo>
                  <a:pt x="104" y="207"/>
                  <a:pt x="103" y="207"/>
                  <a:pt x="102" y="206"/>
                </a:cubicBezTo>
                <a:close/>
                <a:moveTo>
                  <a:pt x="144" y="164"/>
                </a:moveTo>
                <a:cubicBezTo>
                  <a:pt x="143" y="163"/>
                  <a:pt x="140" y="164"/>
                  <a:pt x="141" y="165"/>
                </a:cubicBezTo>
                <a:cubicBezTo>
                  <a:pt x="142" y="164"/>
                  <a:pt x="142" y="165"/>
                  <a:pt x="143" y="165"/>
                </a:cubicBezTo>
                <a:cubicBezTo>
                  <a:pt x="143" y="165"/>
                  <a:pt x="144" y="165"/>
                  <a:pt x="144" y="165"/>
                </a:cubicBezTo>
                <a:cubicBezTo>
                  <a:pt x="144" y="164"/>
                  <a:pt x="143" y="164"/>
                  <a:pt x="143" y="164"/>
                </a:cubicBezTo>
                <a:cubicBezTo>
                  <a:pt x="144" y="164"/>
                  <a:pt x="144" y="164"/>
                  <a:pt x="144" y="164"/>
                </a:cubicBezTo>
                <a:close/>
                <a:moveTo>
                  <a:pt x="125" y="181"/>
                </a:moveTo>
                <a:cubicBezTo>
                  <a:pt x="125" y="181"/>
                  <a:pt x="125" y="181"/>
                  <a:pt x="125" y="181"/>
                </a:cubicBezTo>
                <a:cubicBezTo>
                  <a:pt x="125" y="180"/>
                  <a:pt x="125" y="181"/>
                  <a:pt x="125" y="181"/>
                </a:cubicBezTo>
                <a:cubicBezTo>
                  <a:pt x="125" y="181"/>
                  <a:pt x="125" y="181"/>
                  <a:pt x="126" y="181"/>
                </a:cubicBezTo>
                <a:cubicBezTo>
                  <a:pt x="126" y="181"/>
                  <a:pt x="126" y="181"/>
                  <a:pt x="126" y="181"/>
                </a:cubicBezTo>
                <a:cubicBezTo>
                  <a:pt x="126" y="180"/>
                  <a:pt x="126" y="181"/>
                  <a:pt x="125" y="181"/>
                </a:cubicBezTo>
                <a:close/>
                <a:moveTo>
                  <a:pt x="332" y="40"/>
                </a:moveTo>
                <a:cubicBezTo>
                  <a:pt x="331" y="40"/>
                  <a:pt x="331" y="40"/>
                  <a:pt x="330" y="41"/>
                </a:cubicBezTo>
                <a:cubicBezTo>
                  <a:pt x="331" y="41"/>
                  <a:pt x="331" y="41"/>
                  <a:pt x="332" y="41"/>
                </a:cubicBezTo>
                <a:cubicBezTo>
                  <a:pt x="332" y="41"/>
                  <a:pt x="333" y="41"/>
                  <a:pt x="333" y="41"/>
                </a:cubicBezTo>
                <a:cubicBezTo>
                  <a:pt x="334" y="42"/>
                  <a:pt x="336" y="42"/>
                  <a:pt x="337" y="42"/>
                </a:cubicBezTo>
                <a:cubicBezTo>
                  <a:pt x="338" y="42"/>
                  <a:pt x="338" y="42"/>
                  <a:pt x="337" y="41"/>
                </a:cubicBezTo>
                <a:cubicBezTo>
                  <a:pt x="337" y="41"/>
                  <a:pt x="337" y="41"/>
                  <a:pt x="336" y="41"/>
                </a:cubicBezTo>
                <a:cubicBezTo>
                  <a:pt x="335" y="41"/>
                  <a:pt x="334" y="41"/>
                  <a:pt x="333" y="41"/>
                </a:cubicBezTo>
                <a:cubicBezTo>
                  <a:pt x="333" y="41"/>
                  <a:pt x="333" y="41"/>
                  <a:pt x="334" y="41"/>
                </a:cubicBezTo>
                <a:cubicBezTo>
                  <a:pt x="333" y="40"/>
                  <a:pt x="332" y="41"/>
                  <a:pt x="332" y="40"/>
                </a:cubicBezTo>
                <a:close/>
                <a:moveTo>
                  <a:pt x="347" y="41"/>
                </a:moveTo>
                <a:cubicBezTo>
                  <a:pt x="346" y="41"/>
                  <a:pt x="346" y="42"/>
                  <a:pt x="346" y="42"/>
                </a:cubicBezTo>
                <a:cubicBezTo>
                  <a:pt x="345" y="42"/>
                  <a:pt x="344" y="42"/>
                  <a:pt x="344" y="43"/>
                </a:cubicBezTo>
                <a:cubicBezTo>
                  <a:pt x="344" y="43"/>
                  <a:pt x="346" y="43"/>
                  <a:pt x="347" y="43"/>
                </a:cubicBezTo>
                <a:cubicBezTo>
                  <a:pt x="347" y="43"/>
                  <a:pt x="347" y="42"/>
                  <a:pt x="348" y="42"/>
                </a:cubicBezTo>
                <a:cubicBezTo>
                  <a:pt x="348" y="42"/>
                  <a:pt x="349" y="42"/>
                  <a:pt x="348" y="41"/>
                </a:cubicBezTo>
                <a:cubicBezTo>
                  <a:pt x="348" y="41"/>
                  <a:pt x="347" y="41"/>
                  <a:pt x="347" y="41"/>
                </a:cubicBezTo>
                <a:close/>
                <a:moveTo>
                  <a:pt x="344" y="36"/>
                </a:moveTo>
                <a:cubicBezTo>
                  <a:pt x="345" y="35"/>
                  <a:pt x="346" y="35"/>
                  <a:pt x="346" y="35"/>
                </a:cubicBezTo>
                <a:cubicBezTo>
                  <a:pt x="346" y="34"/>
                  <a:pt x="344" y="35"/>
                  <a:pt x="344" y="35"/>
                </a:cubicBezTo>
                <a:cubicBezTo>
                  <a:pt x="343" y="36"/>
                  <a:pt x="344" y="36"/>
                  <a:pt x="344" y="36"/>
                </a:cubicBezTo>
                <a:close/>
                <a:moveTo>
                  <a:pt x="60" y="151"/>
                </a:moveTo>
                <a:cubicBezTo>
                  <a:pt x="59" y="150"/>
                  <a:pt x="57" y="151"/>
                  <a:pt x="57" y="151"/>
                </a:cubicBezTo>
                <a:cubicBezTo>
                  <a:pt x="57" y="152"/>
                  <a:pt x="58" y="151"/>
                  <a:pt x="58" y="152"/>
                </a:cubicBezTo>
                <a:cubicBezTo>
                  <a:pt x="58" y="152"/>
                  <a:pt x="59" y="151"/>
                  <a:pt x="59" y="151"/>
                </a:cubicBezTo>
                <a:cubicBezTo>
                  <a:pt x="59" y="151"/>
                  <a:pt x="60" y="151"/>
                  <a:pt x="60" y="151"/>
                </a:cubicBezTo>
                <a:cubicBezTo>
                  <a:pt x="60" y="150"/>
                  <a:pt x="60" y="151"/>
                  <a:pt x="60" y="151"/>
                </a:cubicBezTo>
                <a:close/>
                <a:moveTo>
                  <a:pt x="91" y="200"/>
                </a:moveTo>
                <a:cubicBezTo>
                  <a:pt x="91" y="200"/>
                  <a:pt x="91" y="200"/>
                  <a:pt x="91" y="200"/>
                </a:cubicBezTo>
                <a:cubicBezTo>
                  <a:pt x="91" y="200"/>
                  <a:pt x="91" y="200"/>
                  <a:pt x="91" y="200"/>
                </a:cubicBezTo>
                <a:close/>
                <a:moveTo>
                  <a:pt x="392" y="13"/>
                </a:moveTo>
                <a:cubicBezTo>
                  <a:pt x="391" y="14"/>
                  <a:pt x="389" y="14"/>
                  <a:pt x="387" y="14"/>
                </a:cubicBezTo>
                <a:cubicBezTo>
                  <a:pt x="386" y="14"/>
                  <a:pt x="385" y="15"/>
                  <a:pt x="384" y="15"/>
                </a:cubicBezTo>
                <a:cubicBezTo>
                  <a:pt x="384" y="15"/>
                  <a:pt x="382" y="15"/>
                  <a:pt x="382" y="16"/>
                </a:cubicBezTo>
                <a:cubicBezTo>
                  <a:pt x="381" y="17"/>
                  <a:pt x="379" y="17"/>
                  <a:pt x="377" y="16"/>
                </a:cubicBezTo>
                <a:cubicBezTo>
                  <a:pt x="376" y="16"/>
                  <a:pt x="374" y="16"/>
                  <a:pt x="372" y="17"/>
                </a:cubicBezTo>
                <a:cubicBezTo>
                  <a:pt x="373" y="17"/>
                  <a:pt x="375" y="18"/>
                  <a:pt x="375" y="18"/>
                </a:cubicBezTo>
                <a:cubicBezTo>
                  <a:pt x="375" y="18"/>
                  <a:pt x="373" y="18"/>
                  <a:pt x="373" y="18"/>
                </a:cubicBezTo>
                <a:cubicBezTo>
                  <a:pt x="372" y="18"/>
                  <a:pt x="371" y="18"/>
                  <a:pt x="370" y="18"/>
                </a:cubicBezTo>
                <a:cubicBezTo>
                  <a:pt x="369" y="18"/>
                  <a:pt x="368" y="18"/>
                  <a:pt x="368" y="19"/>
                </a:cubicBezTo>
                <a:cubicBezTo>
                  <a:pt x="367" y="19"/>
                  <a:pt x="367" y="19"/>
                  <a:pt x="366" y="19"/>
                </a:cubicBezTo>
                <a:cubicBezTo>
                  <a:pt x="365" y="20"/>
                  <a:pt x="364" y="19"/>
                  <a:pt x="363" y="19"/>
                </a:cubicBezTo>
                <a:cubicBezTo>
                  <a:pt x="361" y="19"/>
                  <a:pt x="360" y="19"/>
                  <a:pt x="359" y="19"/>
                </a:cubicBezTo>
                <a:cubicBezTo>
                  <a:pt x="358" y="19"/>
                  <a:pt x="356" y="19"/>
                  <a:pt x="356" y="19"/>
                </a:cubicBezTo>
                <a:cubicBezTo>
                  <a:pt x="355" y="19"/>
                  <a:pt x="353" y="19"/>
                  <a:pt x="354" y="19"/>
                </a:cubicBezTo>
                <a:cubicBezTo>
                  <a:pt x="354" y="20"/>
                  <a:pt x="353" y="20"/>
                  <a:pt x="352" y="20"/>
                </a:cubicBezTo>
                <a:cubicBezTo>
                  <a:pt x="351" y="20"/>
                  <a:pt x="351" y="20"/>
                  <a:pt x="350" y="20"/>
                </a:cubicBezTo>
                <a:cubicBezTo>
                  <a:pt x="348" y="20"/>
                  <a:pt x="346" y="20"/>
                  <a:pt x="344" y="20"/>
                </a:cubicBezTo>
                <a:cubicBezTo>
                  <a:pt x="343" y="20"/>
                  <a:pt x="341" y="20"/>
                  <a:pt x="339" y="20"/>
                </a:cubicBezTo>
                <a:cubicBezTo>
                  <a:pt x="338" y="20"/>
                  <a:pt x="336" y="20"/>
                  <a:pt x="334" y="20"/>
                </a:cubicBezTo>
                <a:cubicBezTo>
                  <a:pt x="335" y="21"/>
                  <a:pt x="336" y="20"/>
                  <a:pt x="336" y="21"/>
                </a:cubicBezTo>
                <a:cubicBezTo>
                  <a:pt x="336" y="21"/>
                  <a:pt x="336" y="21"/>
                  <a:pt x="336" y="21"/>
                </a:cubicBezTo>
                <a:cubicBezTo>
                  <a:pt x="337" y="21"/>
                  <a:pt x="337" y="21"/>
                  <a:pt x="338" y="21"/>
                </a:cubicBezTo>
                <a:cubicBezTo>
                  <a:pt x="339" y="21"/>
                  <a:pt x="340" y="20"/>
                  <a:pt x="340" y="20"/>
                </a:cubicBezTo>
                <a:cubicBezTo>
                  <a:pt x="342" y="20"/>
                  <a:pt x="343" y="20"/>
                  <a:pt x="345" y="20"/>
                </a:cubicBezTo>
                <a:cubicBezTo>
                  <a:pt x="346" y="20"/>
                  <a:pt x="348" y="20"/>
                  <a:pt x="349" y="21"/>
                </a:cubicBezTo>
                <a:cubicBezTo>
                  <a:pt x="351" y="21"/>
                  <a:pt x="352" y="21"/>
                  <a:pt x="354" y="20"/>
                </a:cubicBezTo>
                <a:cubicBezTo>
                  <a:pt x="355" y="20"/>
                  <a:pt x="356" y="20"/>
                  <a:pt x="358" y="20"/>
                </a:cubicBezTo>
                <a:cubicBezTo>
                  <a:pt x="358" y="20"/>
                  <a:pt x="359" y="20"/>
                  <a:pt x="360" y="21"/>
                </a:cubicBezTo>
                <a:cubicBezTo>
                  <a:pt x="361" y="21"/>
                  <a:pt x="362" y="20"/>
                  <a:pt x="363" y="21"/>
                </a:cubicBezTo>
                <a:cubicBezTo>
                  <a:pt x="363" y="21"/>
                  <a:pt x="365" y="21"/>
                  <a:pt x="365" y="21"/>
                </a:cubicBezTo>
                <a:cubicBezTo>
                  <a:pt x="364" y="21"/>
                  <a:pt x="364" y="21"/>
                  <a:pt x="363" y="22"/>
                </a:cubicBezTo>
                <a:cubicBezTo>
                  <a:pt x="363" y="22"/>
                  <a:pt x="362" y="22"/>
                  <a:pt x="361" y="22"/>
                </a:cubicBezTo>
                <a:cubicBezTo>
                  <a:pt x="362" y="22"/>
                  <a:pt x="361" y="22"/>
                  <a:pt x="361" y="22"/>
                </a:cubicBezTo>
                <a:cubicBezTo>
                  <a:pt x="360" y="22"/>
                  <a:pt x="361" y="22"/>
                  <a:pt x="361" y="22"/>
                </a:cubicBezTo>
                <a:cubicBezTo>
                  <a:pt x="361" y="23"/>
                  <a:pt x="360" y="23"/>
                  <a:pt x="359" y="23"/>
                </a:cubicBezTo>
                <a:cubicBezTo>
                  <a:pt x="358" y="23"/>
                  <a:pt x="357" y="23"/>
                  <a:pt x="356" y="23"/>
                </a:cubicBezTo>
                <a:cubicBezTo>
                  <a:pt x="354" y="23"/>
                  <a:pt x="351" y="23"/>
                  <a:pt x="349" y="23"/>
                </a:cubicBezTo>
                <a:cubicBezTo>
                  <a:pt x="347" y="23"/>
                  <a:pt x="345" y="23"/>
                  <a:pt x="343" y="23"/>
                </a:cubicBezTo>
                <a:cubicBezTo>
                  <a:pt x="342" y="23"/>
                  <a:pt x="341" y="23"/>
                  <a:pt x="340" y="23"/>
                </a:cubicBezTo>
                <a:cubicBezTo>
                  <a:pt x="339" y="24"/>
                  <a:pt x="338" y="24"/>
                  <a:pt x="337" y="24"/>
                </a:cubicBezTo>
                <a:cubicBezTo>
                  <a:pt x="337" y="24"/>
                  <a:pt x="337" y="24"/>
                  <a:pt x="338" y="24"/>
                </a:cubicBezTo>
                <a:cubicBezTo>
                  <a:pt x="337" y="24"/>
                  <a:pt x="337" y="24"/>
                  <a:pt x="336" y="24"/>
                </a:cubicBezTo>
                <a:cubicBezTo>
                  <a:pt x="336" y="25"/>
                  <a:pt x="337" y="25"/>
                  <a:pt x="337" y="25"/>
                </a:cubicBezTo>
                <a:cubicBezTo>
                  <a:pt x="336" y="25"/>
                  <a:pt x="335" y="25"/>
                  <a:pt x="335" y="26"/>
                </a:cubicBezTo>
                <a:cubicBezTo>
                  <a:pt x="335" y="26"/>
                  <a:pt x="335" y="26"/>
                  <a:pt x="336" y="26"/>
                </a:cubicBezTo>
                <a:cubicBezTo>
                  <a:pt x="336" y="26"/>
                  <a:pt x="337" y="26"/>
                  <a:pt x="337" y="26"/>
                </a:cubicBezTo>
                <a:cubicBezTo>
                  <a:pt x="337" y="26"/>
                  <a:pt x="337" y="26"/>
                  <a:pt x="337" y="26"/>
                </a:cubicBezTo>
                <a:cubicBezTo>
                  <a:pt x="337" y="26"/>
                  <a:pt x="338" y="26"/>
                  <a:pt x="338" y="26"/>
                </a:cubicBezTo>
                <a:cubicBezTo>
                  <a:pt x="339" y="26"/>
                  <a:pt x="339" y="26"/>
                  <a:pt x="340" y="26"/>
                </a:cubicBezTo>
                <a:cubicBezTo>
                  <a:pt x="339" y="26"/>
                  <a:pt x="339" y="26"/>
                  <a:pt x="338" y="26"/>
                </a:cubicBezTo>
                <a:cubicBezTo>
                  <a:pt x="338" y="26"/>
                  <a:pt x="338" y="26"/>
                  <a:pt x="338" y="26"/>
                </a:cubicBezTo>
                <a:cubicBezTo>
                  <a:pt x="338" y="25"/>
                  <a:pt x="339" y="25"/>
                  <a:pt x="340" y="25"/>
                </a:cubicBezTo>
                <a:cubicBezTo>
                  <a:pt x="341" y="24"/>
                  <a:pt x="341" y="25"/>
                  <a:pt x="342" y="24"/>
                </a:cubicBezTo>
                <a:cubicBezTo>
                  <a:pt x="343" y="24"/>
                  <a:pt x="344" y="24"/>
                  <a:pt x="345" y="24"/>
                </a:cubicBezTo>
                <a:cubicBezTo>
                  <a:pt x="346" y="24"/>
                  <a:pt x="346" y="24"/>
                  <a:pt x="347" y="24"/>
                </a:cubicBezTo>
                <a:cubicBezTo>
                  <a:pt x="349" y="24"/>
                  <a:pt x="351" y="24"/>
                  <a:pt x="352" y="24"/>
                </a:cubicBezTo>
                <a:cubicBezTo>
                  <a:pt x="353" y="24"/>
                  <a:pt x="355" y="23"/>
                  <a:pt x="355" y="24"/>
                </a:cubicBezTo>
                <a:cubicBezTo>
                  <a:pt x="354" y="25"/>
                  <a:pt x="352" y="26"/>
                  <a:pt x="351" y="26"/>
                </a:cubicBezTo>
                <a:cubicBezTo>
                  <a:pt x="349" y="27"/>
                  <a:pt x="347" y="26"/>
                  <a:pt x="345" y="26"/>
                </a:cubicBezTo>
                <a:cubicBezTo>
                  <a:pt x="344" y="26"/>
                  <a:pt x="343" y="26"/>
                  <a:pt x="342" y="27"/>
                </a:cubicBezTo>
                <a:cubicBezTo>
                  <a:pt x="342" y="27"/>
                  <a:pt x="341" y="27"/>
                  <a:pt x="341" y="28"/>
                </a:cubicBezTo>
                <a:cubicBezTo>
                  <a:pt x="341" y="28"/>
                  <a:pt x="340" y="28"/>
                  <a:pt x="340" y="29"/>
                </a:cubicBezTo>
                <a:cubicBezTo>
                  <a:pt x="339" y="29"/>
                  <a:pt x="340" y="29"/>
                  <a:pt x="340" y="29"/>
                </a:cubicBezTo>
                <a:cubicBezTo>
                  <a:pt x="340" y="30"/>
                  <a:pt x="340" y="30"/>
                  <a:pt x="339" y="30"/>
                </a:cubicBezTo>
                <a:cubicBezTo>
                  <a:pt x="339" y="30"/>
                  <a:pt x="338" y="31"/>
                  <a:pt x="338" y="31"/>
                </a:cubicBezTo>
                <a:cubicBezTo>
                  <a:pt x="338" y="31"/>
                  <a:pt x="339" y="30"/>
                  <a:pt x="340" y="30"/>
                </a:cubicBezTo>
                <a:cubicBezTo>
                  <a:pt x="341" y="29"/>
                  <a:pt x="342" y="30"/>
                  <a:pt x="344" y="30"/>
                </a:cubicBezTo>
                <a:cubicBezTo>
                  <a:pt x="343" y="30"/>
                  <a:pt x="343" y="30"/>
                  <a:pt x="342" y="31"/>
                </a:cubicBezTo>
                <a:cubicBezTo>
                  <a:pt x="342" y="31"/>
                  <a:pt x="343" y="31"/>
                  <a:pt x="343" y="31"/>
                </a:cubicBezTo>
                <a:cubicBezTo>
                  <a:pt x="343" y="31"/>
                  <a:pt x="342" y="31"/>
                  <a:pt x="341" y="31"/>
                </a:cubicBezTo>
                <a:cubicBezTo>
                  <a:pt x="342" y="31"/>
                  <a:pt x="342" y="30"/>
                  <a:pt x="343" y="30"/>
                </a:cubicBezTo>
                <a:cubicBezTo>
                  <a:pt x="342" y="30"/>
                  <a:pt x="341" y="30"/>
                  <a:pt x="341" y="31"/>
                </a:cubicBezTo>
                <a:cubicBezTo>
                  <a:pt x="340" y="31"/>
                  <a:pt x="340" y="31"/>
                  <a:pt x="340" y="31"/>
                </a:cubicBezTo>
                <a:cubicBezTo>
                  <a:pt x="340" y="32"/>
                  <a:pt x="339" y="31"/>
                  <a:pt x="339" y="31"/>
                </a:cubicBezTo>
                <a:cubicBezTo>
                  <a:pt x="339" y="31"/>
                  <a:pt x="336" y="31"/>
                  <a:pt x="336" y="32"/>
                </a:cubicBezTo>
                <a:cubicBezTo>
                  <a:pt x="336" y="32"/>
                  <a:pt x="337" y="33"/>
                  <a:pt x="337" y="33"/>
                </a:cubicBezTo>
                <a:cubicBezTo>
                  <a:pt x="336" y="34"/>
                  <a:pt x="335" y="33"/>
                  <a:pt x="334" y="33"/>
                </a:cubicBezTo>
                <a:cubicBezTo>
                  <a:pt x="333" y="33"/>
                  <a:pt x="332" y="33"/>
                  <a:pt x="331" y="33"/>
                </a:cubicBezTo>
                <a:cubicBezTo>
                  <a:pt x="330" y="34"/>
                  <a:pt x="330" y="34"/>
                  <a:pt x="329" y="34"/>
                </a:cubicBezTo>
                <a:cubicBezTo>
                  <a:pt x="329" y="34"/>
                  <a:pt x="329" y="34"/>
                  <a:pt x="329" y="34"/>
                </a:cubicBezTo>
                <a:cubicBezTo>
                  <a:pt x="329" y="34"/>
                  <a:pt x="329" y="34"/>
                  <a:pt x="329" y="34"/>
                </a:cubicBezTo>
                <a:cubicBezTo>
                  <a:pt x="329" y="34"/>
                  <a:pt x="328" y="35"/>
                  <a:pt x="328" y="35"/>
                </a:cubicBezTo>
                <a:cubicBezTo>
                  <a:pt x="329" y="35"/>
                  <a:pt x="329" y="34"/>
                  <a:pt x="330" y="35"/>
                </a:cubicBezTo>
                <a:cubicBezTo>
                  <a:pt x="329" y="35"/>
                  <a:pt x="328" y="35"/>
                  <a:pt x="327" y="35"/>
                </a:cubicBezTo>
                <a:cubicBezTo>
                  <a:pt x="327" y="35"/>
                  <a:pt x="328" y="35"/>
                  <a:pt x="329" y="35"/>
                </a:cubicBezTo>
                <a:cubicBezTo>
                  <a:pt x="330" y="35"/>
                  <a:pt x="329" y="36"/>
                  <a:pt x="328" y="36"/>
                </a:cubicBezTo>
                <a:cubicBezTo>
                  <a:pt x="328" y="36"/>
                  <a:pt x="326" y="38"/>
                  <a:pt x="326" y="38"/>
                </a:cubicBezTo>
                <a:cubicBezTo>
                  <a:pt x="326" y="39"/>
                  <a:pt x="324" y="39"/>
                  <a:pt x="323" y="39"/>
                </a:cubicBezTo>
                <a:cubicBezTo>
                  <a:pt x="324" y="39"/>
                  <a:pt x="324" y="39"/>
                  <a:pt x="325" y="39"/>
                </a:cubicBezTo>
                <a:cubicBezTo>
                  <a:pt x="325" y="40"/>
                  <a:pt x="324" y="40"/>
                  <a:pt x="324" y="40"/>
                </a:cubicBezTo>
                <a:cubicBezTo>
                  <a:pt x="323" y="40"/>
                  <a:pt x="322" y="41"/>
                  <a:pt x="322" y="41"/>
                </a:cubicBezTo>
                <a:cubicBezTo>
                  <a:pt x="322" y="41"/>
                  <a:pt x="323" y="40"/>
                  <a:pt x="323" y="41"/>
                </a:cubicBezTo>
                <a:cubicBezTo>
                  <a:pt x="323" y="41"/>
                  <a:pt x="322" y="42"/>
                  <a:pt x="321" y="42"/>
                </a:cubicBezTo>
                <a:cubicBezTo>
                  <a:pt x="321" y="42"/>
                  <a:pt x="320" y="42"/>
                  <a:pt x="320" y="43"/>
                </a:cubicBezTo>
                <a:cubicBezTo>
                  <a:pt x="321" y="43"/>
                  <a:pt x="322" y="43"/>
                  <a:pt x="323" y="43"/>
                </a:cubicBezTo>
                <a:cubicBezTo>
                  <a:pt x="323" y="44"/>
                  <a:pt x="322" y="43"/>
                  <a:pt x="321" y="44"/>
                </a:cubicBezTo>
                <a:cubicBezTo>
                  <a:pt x="322" y="44"/>
                  <a:pt x="323" y="43"/>
                  <a:pt x="324" y="43"/>
                </a:cubicBezTo>
                <a:cubicBezTo>
                  <a:pt x="323" y="43"/>
                  <a:pt x="324" y="42"/>
                  <a:pt x="325" y="41"/>
                </a:cubicBezTo>
                <a:cubicBezTo>
                  <a:pt x="326" y="41"/>
                  <a:pt x="328" y="40"/>
                  <a:pt x="329" y="40"/>
                </a:cubicBezTo>
                <a:cubicBezTo>
                  <a:pt x="329" y="40"/>
                  <a:pt x="329" y="40"/>
                  <a:pt x="329" y="41"/>
                </a:cubicBezTo>
                <a:cubicBezTo>
                  <a:pt x="329" y="41"/>
                  <a:pt x="330" y="41"/>
                  <a:pt x="330" y="41"/>
                </a:cubicBezTo>
                <a:cubicBezTo>
                  <a:pt x="331" y="41"/>
                  <a:pt x="333" y="42"/>
                  <a:pt x="334" y="42"/>
                </a:cubicBezTo>
                <a:cubicBezTo>
                  <a:pt x="336" y="42"/>
                  <a:pt x="337" y="42"/>
                  <a:pt x="339" y="43"/>
                </a:cubicBezTo>
                <a:cubicBezTo>
                  <a:pt x="338" y="44"/>
                  <a:pt x="337" y="43"/>
                  <a:pt x="337" y="44"/>
                </a:cubicBezTo>
                <a:cubicBezTo>
                  <a:pt x="335" y="44"/>
                  <a:pt x="334" y="43"/>
                  <a:pt x="333" y="43"/>
                </a:cubicBezTo>
                <a:cubicBezTo>
                  <a:pt x="332" y="42"/>
                  <a:pt x="331" y="42"/>
                  <a:pt x="330" y="43"/>
                </a:cubicBezTo>
                <a:cubicBezTo>
                  <a:pt x="330" y="43"/>
                  <a:pt x="329" y="42"/>
                  <a:pt x="329" y="43"/>
                </a:cubicBezTo>
                <a:cubicBezTo>
                  <a:pt x="328" y="43"/>
                  <a:pt x="328" y="43"/>
                  <a:pt x="327" y="43"/>
                </a:cubicBezTo>
                <a:cubicBezTo>
                  <a:pt x="328" y="43"/>
                  <a:pt x="329" y="43"/>
                  <a:pt x="330" y="44"/>
                </a:cubicBezTo>
                <a:cubicBezTo>
                  <a:pt x="330" y="44"/>
                  <a:pt x="329" y="44"/>
                  <a:pt x="328" y="44"/>
                </a:cubicBezTo>
                <a:cubicBezTo>
                  <a:pt x="328" y="44"/>
                  <a:pt x="330" y="44"/>
                  <a:pt x="329" y="44"/>
                </a:cubicBezTo>
                <a:cubicBezTo>
                  <a:pt x="328" y="45"/>
                  <a:pt x="327" y="44"/>
                  <a:pt x="326" y="44"/>
                </a:cubicBezTo>
                <a:cubicBezTo>
                  <a:pt x="327" y="45"/>
                  <a:pt x="330" y="44"/>
                  <a:pt x="332" y="45"/>
                </a:cubicBezTo>
                <a:cubicBezTo>
                  <a:pt x="330" y="46"/>
                  <a:pt x="328" y="45"/>
                  <a:pt x="327" y="45"/>
                </a:cubicBezTo>
                <a:cubicBezTo>
                  <a:pt x="328" y="45"/>
                  <a:pt x="329" y="45"/>
                  <a:pt x="330" y="45"/>
                </a:cubicBezTo>
                <a:cubicBezTo>
                  <a:pt x="330" y="45"/>
                  <a:pt x="331" y="45"/>
                  <a:pt x="332" y="45"/>
                </a:cubicBezTo>
                <a:cubicBezTo>
                  <a:pt x="333" y="45"/>
                  <a:pt x="334" y="45"/>
                  <a:pt x="334" y="45"/>
                </a:cubicBezTo>
                <a:cubicBezTo>
                  <a:pt x="335" y="45"/>
                  <a:pt x="335" y="46"/>
                  <a:pt x="335" y="46"/>
                </a:cubicBezTo>
                <a:cubicBezTo>
                  <a:pt x="335" y="46"/>
                  <a:pt x="335" y="46"/>
                  <a:pt x="335" y="46"/>
                </a:cubicBezTo>
                <a:cubicBezTo>
                  <a:pt x="335" y="46"/>
                  <a:pt x="337" y="47"/>
                  <a:pt x="337" y="47"/>
                </a:cubicBezTo>
                <a:cubicBezTo>
                  <a:pt x="338" y="47"/>
                  <a:pt x="337" y="46"/>
                  <a:pt x="337" y="46"/>
                </a:cubicBezTo>
                <a:cubicBezTo>
                  <a:pt x="338" y="45"/>
                  <a:pt x="339" y="45"/>
                  <a:pt x="339" y="45"/>
                </a:cubicBezTo>
                <a:cubicBezTo>
                  <a:pt x="340" y="46"/>
                  <a:pt x="342" y="45"/>
                  <a:pt x="342" y="46"/>
                </a:cubicBezTo>
                <a:cubicBezTo>
                  <a:pt x="342" y="46"/>
                  <a:pt x="342" y="46"/>
                  <a:pt x="342" y="47"/>
                </a:cubicBezTo>
                <a:cubicBezTo>
                  <a:pt x="342" y="47"/>
                  <a:pt x="343" y="49"/>
                  <a:pt x="342" y="49"/>
                </a:cubicBezTo>
                <a:cubicBezTo>
                  <a:pt x="341" y="49"/>
                  <a:pt x="341" y="49"/>
                  <a:pt x="341" y="50"/>
                </a:cubicBezTo>
                <a:cubicBezTo>
                  <a:pt x="340" y="50"/>
                  <a:pt x="341" y="50"/>
                  <a:pt x="340" y="50"/>
                </a:cubicBezTo>
                <a:cubicBezTo>
                  <a:pt x="340" y="50"/>
                  <a:pt x="339" y="50"/>
                  <a:pt x="340" y="51"/>
                </a:cubicBezTo>
                <a:cubicBezTo>
                  <a:pt x="339" y="50"/>
                  <a:pt x="339" y="50"/>
                  <a:pt x="339" y="50"/>
                </a:cubicBezTo>
                <a:cubicBezTo>
                  <a:pt x="338" y="50"/>
                  <a:pt x="337" y="50"/>
                  <a:pt x="337" y="50"/>
                </a:cubicBezTo>
                <a:cubicBezTo>
                  <a:pt x="336" y="50"/>
                  <a:pt x="336" y="50"/>
                  <a:pt x="335" y="50"/>
                </a:cubicBezTo>
                <a:cubicBezTo>
                  <a:pt x="334" y="49"/>
                  <a:pt x="333" y="49"/>
                  <a:pt x="333" y="49"/>
                </a:cubicBezTo>
                <a:cubicBezTo>
                  <a:pt x="331" y="49"/>
                  <a:pt x="330" y="49"/>
                  <a:pt x="328" y="49"/>
                </a:cubicBezTo>
                <a:cubicBezTo>
                  <a:pt x="327" y="49"/>
                  <a:pt x="325" y="48"/>
                  <a:pt x="324" y="49"/>
                </a:cubicBezTo>
                <a:cubicBezTo>
                  <a:pt x="325" y="49"/>
                  <a:pt x="325" y="49"/>
                  <a:pt x="326" y="49"/>
                </a:cubicBezTo>
                <a:cubicBezTo>
                  <a:pt x="326" y="50"/>
                  <a:pt x="324" y="49"/>
                  <a:pt x="323" y="49"/>
                </a:cubicBezTo>
                <a:cubicBezTo>
                  <a:pt x="322" y="49"/>
                  <a:pt x="320" y="49"/>
                  <a:pt x="319" y="49"/>
                </a:cubicBezTo>
                <a:cubicBezTo>
                  <a:pt x="320" y="50"/>
                  <a:pt x="321" y="50"/>
                  <a:pt x="322" y="50"/>
                </a:cubicBezTo>
                <a:cubicBezTo>
                  <a:pt x="323" y="50"/>
                  <a:pt x="324" y="50"/>
                  <a:pt x="325" y="50"/>
                </a:cubicBezTo>
                <a:cubicBezTo>
                  <a:pt x="324" y="50"/>
                  <a:pt x="323" y="50"/>
                  <a:pt x="321" y="50"/>
                </a:cubicBezTo>
                <a:cubicBezTo>
                  <a:pt x="322" y="50"/>
                  <a:pt x="322" y="50"/>
                  <a:pt x="322" y="50"/>
                </a:cubicBezTo>
                <a:cubicBezTo>
                  <a:pt x="321" y="51"/>
                  <a:pt x="320" y="51"/>
                  <a:pt x="319" y="51"/>
                </a:cubicBezTo>
                <a:cubicBezTo>
                  <a:pt x="319" y="51"/>
                  <a:pt x="319" y="51"/>
                  <a:pt x="318" y="51"/>
                </a:cubicBezTo>
                <a:cubicBezTo>
                  <a:pt x="318" y="51"/>
                  <a:pt x="318" y="51"/>
                  <a:pt x="317" y="50"/>
                </a:cubicBezTo>
                <a:cubicBezTo>
                  <a:pt x="317" y="50"/>
                  <a:pt x="317" y="50"/>
                  <a:pt x="316" y="50"/>
                </a:cubicBezTo>
                <a:cubicBezTo>
                  <a:pt x="316" y="49"/>
                  <a:pt x="315" y="50"/>
                  <a:pt x="314" y="50"/>
                </a:cubicBezTo>
                <a:cubicBezTo>
                  <a:pt x="315" y="50"/>
                  <a:pt x="315" y="50"/>
                  <a:pt x="315" y="50"/>
                </a:cubicBezTo>
                <a:cubicBezTo>
                  <a:pt x="314" y="51"/>
                  <a:pt x="313" y="50"/>
                  <a:pt x="312" y="51"/>
                </a:cubicBezTo>
                <a:cubicBezTo>
                  <a:pt x="312" y="51"/>
                  <a:pt x="313" y="51"/>
                  <a:pt x="313" y="51"/>
                </a:cubicBezTo>
                <a:cubicBezTo>
                  <a:pt x="313" y="52"/>
                  <a:pt x="313" y="52"/>
                  <a:pt x="314" y="52"/>
                </a:cubicBezTo>
                <a:cubicBezTo>
                  <a:pt x="314" y="53"/>
                  <a:pt x="314" y="52"/>
                  <a:pt x="315" y="52"/>
                </a:cubicBezTo>
                <a:cubicBezTo>
                  <a:pt x="315" y="52"/>
                  <a:pt x="316" y="51"/>
                  <a:pt x="316" y="52"/>
                </a:cubicBezTo>
                <a:cubicBezTo>
                  <a:pt x="316" y="52"/>
                  <a:pt x="317" y="51"/>
                  <a:pt x="317" y="52"/>
                </a:cubicBezTo>
                <a:cubicBezTo>
                  <a:pt x="317" y="52"/>
                  <a:pt x="316" y="52"/>
                  <a:pt x="316" y="52"/>
                </a:cubicBezTo>
                <a:cubicBezTo>
                  <a:pt x="316" y="53"/>
                  <a:pt x="318" y="52"/>
                  <a:pt x="318" y="52"/>
                </a:cubicBezTo>
                <a:cubicBezTo>
                  <a:pt x="317" y="53"/>
                  <a:pt x="317" y="53"/>
                  <a:pt x="316" y="53"/>
                </a:cubicBezTo>
                <a:cubicBezTo>
                  <a:pt x="316" y="53"/>
                  <a:pt x="318" y="52"/>
                  <a:pt x="318" y="53"/>
                </a:cubicBezTo>
                <a:cubicBezTo>
                  <a:pt x="318" y="53"/>
                  <a:pt x="318" y="53"/>
                  <a:pt x="317" y="53"/>
                </a:cubicBezTo>
                <a:cubicBezTo>
                  <a:pt x="318" y="53"/>
                  <a:pt x="319" y="53"/>
                  <a:pt x="318" y="53"/>
                </a:cubicBezTo>
                <a:cubicBezTo>
                  <a:pt x="318" y="54"/>
                  <a:pt x="317" y="54"/>
                  <a:pt x="317" y="55"/>
                </a:cubicBezTo>
                <a:cubicBezTo>
                  <a:pt x="318" y="55"/>
                  <a:pt x="319" y="54"/>
                  <a:pt x="320" y="54"/>
                </a:cubicBezTo>
                <a:cubicBezTo>
                  <a:pt x="319" y="54"/>
                  <a:pt x="319" y="54"/>
                  <a:pt x="319" y="54"/>
                </a:cubicBezTo>
                <a:cubicBezTo>
                  <a:pt x="320" y="55"/>
                  <a:pt x="321" y="54"/>
                  <a:pt x="321" y="55"/>
                </a:cubicBezTo>
                <a:cubicBezTo>
                  <a:pt x="322" y="55"/>
                  <a:pt x="323" y="55"/>
                  <a:pt x="324" y="55"/>
                </a:cubicBezTo>
                <a:cubicBezTo>
                  <a:pt x="324" y="56"/>
                  <a:pt x="324" y="56"/>
                  <a:pt x="324" y="56"/>
                </a:cubicBezTo>
                <a:cubicBezTo>
                  <a:pt x="324" y="56"/>
                  <a:pt x="324" y="56"/>
                  <a:pt x="325" y="56"/>
                </a:cubicBezTo>
                <a:cubicBezTo>
                  <a:pt x="324" y="55"/>
                  <a:pt x="323" y="55"/>
                  <a:pt x="323" y="55"/>
                </a:cubicBezTo>
                <a:cubicBezTo>
                  <a:pt x="322" y="55"/>
                  <a:pt x="321" y="55"/>
                  <a:pt x="321" y="54"/>
                </a:cubicBezTo>
                <a:cubicBezTo>
                  <a:pt x="322" y="54"/>
                  <a:pt x="323" y="55"/>
                  <a:pt x="324" y="55"/>
                </a:cubicBezTo>
                <a:cubicBezTo>
                  <a:pt x="326" y="55"/>
                  <a:pt x="327" y="55"/>
                  <a:pt x="328" y="55"/>
                </a:cubicBezTo>
                <a:cubicBezTo>
                  <a:pt x="329" y="55"/>
                  <a:pt x="330" y="55"/>
                  <a:pt x="330" y="56"/>
                </a:cubicBezTo>
                <a:cubicBezTo>
                  <a:pt x="329" y="57"/>
                  <a:pt x="328" y="56"/>
                  <a:pt x="327" y="56"/>
                </a:cubicBezTo>
                <a:cubicBezTo>
                  <a:pt x="325" y="57"/>
                  <a:pt x="322" y="57"/>
                  <a:pt x="320" y="57"/>
                </a:cubicBezTo>
                <a:cubicBezTo>
                  <a:pt x="319" y="57"/>
                  <a:pt x="318" y="57"/>
                  <a:pt x="317" y="57"/>
                </a:cubicBezTo>
                <a:cubicBezTo>
                  <a:pt x="316" y="57"/>
                  <a:pt x="315" y="56"/>
                  <a:pt x="315" y="57"/>
                </a:cubicBezTo>
                <a:cubicBezTo>
                  <a:pt x="317" y="58"/>
                  <a:pt x="321" y="57"/>
                  <a:pt x="323" y="57"/>
                </a:cubicBezTo>
                <a:cubicBezTo>
                  <a:pt x="325" y="57"/>
                  <a:pt x="326" y="57"/>
                  <a:pt x="328" y="57"/>
                </a:cubicBezTo>
                <a:cubicBezTo>
                  <a:pt x="328" y="58"/>
                  <a:pt x="329" y="58"/>
                  <a:pt x="329" y="58"/>
                </a:cubicBezTo>
                <a:cubicBezTo>
                  <a:pt x="330" y="59"/>
                  <a:pt x="331" y="59"/>
                  <a:pt x="331" y="59"/>
                </a:cubicBezTo>
                <a:cubicBezTo>
                  <a:pt x="330" y="59"/>
                  <a:pt x="330" y="59"/>
                  <a:pt x="329" y="60"/>
                </a:cubicBezTo>
                <a:cubicBezTo>
                  <a:pt x="330" y="60"/>
                  <a:pt x="330" y="61"/>
                  <a:pt x="330" y="62"/>
                </a:cubicBezTo>
                <a:cubicBezTo>
                  <a:pt x="329" y="63"/>
                  <a:pt x="329" y="63"/>
                  <a:pt x="329" y="64"/>
                </a:cubicBezTo>
                <a:cubicBezTo>
                  <a:pt x="328" y="64"/>
                  <a:pt x="327" y="64"/>
                  <a:pt x="326" y="64"/>
                </a:cubicBezTo>
                <a:cubicBezTo>
                  <a:pt x="325" y="64"/>
                  <a:pt x="325" y="64"/>
                  <a:pt x="325" y="64"/>
                </a:cubicBezTo>
                <a:cubicBezTo>
                  <a:pt x="325" y="63"/>
                  <a:pt x="325" y="63"/>
                  <a:pt x="325" y="63"/>
                </a:cubicBezTo>
                <a:cubicBezTo>
                  <a:pt x="325" y="63"/>
                  <a:pt x="324" y="62"/>
                  <a:pt x="324" y="62"/>
                </a:cubicBezTo>
                <a:cubicBezTo>
                  <a:pt x="323" y="62"/>
                  <a:pt x="323" y="63"/>
                  <a:pt x="322" y="63"/>
                </a:cubicBezTo>
                <a:cubicBezTo>
                  <a:pt x="321" y="63"/>
                  <a:pt x="319" y="62"/>
                  <a:pt x="318" y="62"/>
                </a:cubicBezTo>
                <a:cubicBezTo>
                  <a:pt x="318" y="62"/>
                  <a:pt x="318" y="61"/>
                  <a:pt x="318" y="61"/>
                </a:cubicBezTo>
                <a:cubicBezTo>
                  <a:pt x="317" y="61"/>
                  <a:pt x="316" y="61"/>
                  <a:pt x="316" y="60"/>
                </a:cubicBezTo>
                <a:cubicBezTo>
                  <a:pt x="315" y="60"/>
                  <a:pt x="312" y="59"/>
                  <a:pt x="312" y="60"/>
                </a:cubicBezTo>
                <a:cubicBezTo>
                  <a:pt x="312" y="60"/>
                  <a:pt x="316" y="61"/>
                  <a:pt x="316" y="61"/>
                </a:cubicBezTo>
                <a:cubicBezTo>
                  <a:pt x="315" y="62"/>
                  <a:pt x="314" y="61"/>
                  <a:pt x="313" y="61"/>
                </a:cubicBezTo>
                <a:cubicBezTo>
                  <a:pt x="313" y="61"/>
                  <a:pt x="310" y="61"/>
                  <a:pt x="310" y="61"/>
                </a:cubicBezTo>
                <a:cubicBezTo>
                  <a:pt x="310" y="61"/>
                  <a:pt x="312" y="61"/>
                  <a:pt x="312" y="61"/>
                </a:cubicBezTo>
                <a:cubicBezTo>
                  <a:pt x="313" y="61"/>
                  <a:pt x="314" y="61"/>
                  <a:pt x="314" y="61"/>
                </a:cubicBezTo>
                <a:cubicBezTo>
                  <a:pt x="315" y="61"/>
                  <a:pt x="316" y="61"/>
                  <a:pt x="316" y="62"/>
                </a:cubicBezTo>
                <a:cubicBezTo>
                  <a:pt x="317" y="62"/>
                  <a:pt x="317" y="62"/>
                  <a:pt x="317" y="62"/>
                </a:cubicBezTo>
                <a:cubicBezTo>
                  <a:pt x="318" y="62"/>
                  <a:pt x="318" y="62"/>
                  <a:pt x="319" y="63"/>
                </a:cubicBezTo>
                <a:cubicBezTo>
                  <a:pt x="319" y="63"/>
                  <a:pt x="320" y="63"/>
                  <a:pt x="320" y="63"/>
                </a:cubicBezTo>
                <a:cubicBezTo>
                  <a:pt x="320" y="63"/>
                  <a:pt x="321" y="63"/>
                  <a:pt x="321" y="64"/>
                </a:cubicBezTo>
                <a:cubicBezTo>
                  <a:pt x="322" y="64"/>
                  <a:pt x="320" y="64"/>
                  <a:pt x="320" y="64"/>
                </a:cubicBezTo>
                <a:cubicBezTo>
                  <a:pt x="318" y="64"/>
                  <a:pt x="317" y="64"/>
                  <a:pt x="315" y="65"/>
                </a:cubicBezTo>
                <a:cubicBezTo>
                  <a:pt x="315" y="65"/>
                  <a:pt x="312" y="66"/>
                  <a:pt x="312" y="65"/>
                </a:cubicBezTo>
                <a:cubicBezTo>
                  <a:pt x="312" y="64"/>
                  <a:pt x="310" y="64"/>
                  <a:pt x="309" y="64"/>
                </a:cubicBezTo>
                <a:cubicBezTo>
                  <a:pt x="309" y="64"/>
                  <a:pt x="312" y="65"/>
                  <a:pt x="311" y="65"/>
                </a:cubicBezTo>
                <a:cubicBezTo>
                  <a:pt x="313" y="66"/>
                  <a:pt x="315" y="65"/>
                  <a:pt x="316" y="65"/>
                </a:cubicBezTo>
                <a:cubicBezTo>
                  <a:pt x="317" y="65"/>
                  <a:pt x="320" y="64"/>
                  <a:pt x="320" y="65"/>
                </a:cubicBezTo>
                <a:cubicBezTo>
                  <a:pt x="320" y="65"/>
                  <a:pt x="320" y="66"/>
                  <a:pt x="320" y="66"/>
                </a:cubicBezTo>
                <a:cubicBezTo>
                  <a:pt x="320" y="66"/>
                  <a:pt x="319" y="66"/>
                  <a:pt x="319" y="67"/>
                </a:cubicBezTo>
                <a:cubicBezTo>
                  <a:pt x="319" y="67"/>
                  <a:pt x="319" y="67"/>
                  <a:pt x="320" y="67"/>
                </a:cubicBezTo>
                <a:cubicBezTo>
                  <a:pt x="320" y="68"/>
                  <a:pt x="316" y="68"/>
                  <a:pt x="316" y="68"/>
                </a:cubicBezTo>
                <a:cubicBezTo>
                  <a:pt x="317" y="69"/>
                  <a:pt x="319" y="68"/>
                  <a:pt x="320" y="68"/>
                </a:cubicBezTo>
                <a:cubicBezTo>
                  <a:pt x="321" y="68"/>
                  <a:pt x="321" y="68"/>
                  <a:pt x="322" y="68"/>
                </a:cubicBezTo>
                <a:cubicBezTo>
                  <a:pt x="323" y="68"/>
                  <a:pt x="323" y="69"/>
                  <a:pt x="324" y="69"/>
                </a:cubicBezTo>
                <a:cubicBezTo>
                  <a:pt x="324" y="68"/>
                  <a:pt x="325" y="69"/>
                  <a:pt x="325" y="69"/>
                </a:cubicBezTo>
                <a:cubicBezTo>
                  <a:pt x="326" y="69"/>
                  <a:pt x="326" y="68"/>
                  <a:pt x="327" y="68"/>
                </a:cubicBezTo>
                <a:cubicBezTo>
                  <a:pt x="327" y="68"/>
                  <a:pt x="328" y="68"/>
                  <a:pt x="328" y="68"/>
                </a:cubicBezTo>
                <a:cubicBezTo>
                  <a:pt x="328" y="69"/>
                  <a:pt x="328" y="69"/>
                  <a:pt x="328" y="69"/>
                </a:cubicBezTo>
                <a:cubicBezTo>
                  <a:pt x="328" y="70"/>
                  <a:pt x="330" y="69"/>
                  <a:pt x="330" y="70"/>
                </a:cubicBezTo>
                <a:cubicBezTo>
                  <a:pt x="330" y="70"/>
                  <a:pt x="328" y="71"/>
                  <a:pt x="328" y="71"/>
                </a:cubicBezTo>
                <a:cubicBezTo>
                  <a:pt x="327" y="71"/>
                  <a:pt x="326" y="72"/>
                  <a:pt x="325" y="72"/>
                </a:cubicBezTo>
                <a:cubicBezTo>
                  <a:pt x="324" y="72"/>
                  <a:pt x="323" y="72"/>
                  <a:pt x="322" y="72"/>
                </a:cubicBezTo>
                <a:cubicBezTo>
                  <a:pt x="321" y="71"/>
                  <a:pt x="321" y="71"/>
                  <a:pt x="321" y="70"/>
                </a:cubicBezTo>
                <a:cubicBezTo>
                  <a:pt x="320" y="70"/>
                  <a:pt x="319" y="70"/>
                  <a:pt x="318" y="70"/>
                </a:cubicBezTo>
                <a:cubicBezTo>
                  <a:pt x="317" y="70"/>
                  <a:pt x="316" y="70"/>
                  <a:pt x="315" y="70"/>
                </a:cubicBezTo>
                <a:cubicBezTo>
                  <a:pt x="314" y="70"/>
                  <a:pt x="313" y="70"/>
                  <a:pt x="312" y="70"/>
                </a:cubicBezTo>
                <a:cubicBezTo>
                  <a:pt x="311" y="70"/>
                  <a:pt x="310" y="68"/>
                  <a:pt x="310" y="69"/>
                </a:cubicBezTo>
                <a:cubicBezTo>
                  <a:pt x="310" y="69"/>
                  <a:pt x="312" y="70"/>
                  <a:pt x="310" y="71"/>
                </a:cubicBezTo>
                <a:cubicBezTo>
                  <a:pt x="309" y="71"/>
                  <a:pt x="308" y="71"/>
                  <a:pt x="306" y="71"/>
                </a:cubicBezTo>
                <a:cubicBezTo>
                  <a:pt x="307" y="71"/>
                  <a:pt x="308" y="71"/>
                  <a:pt x="309" y="71"/>
                </a:cubicBezTo>
                <a:cubicBezTo>
                  <a:pt x="310" y="72"/>
                  <a:pt x="307" y="72"/>
                  <a:pt x="307" y="72"/>
                </a:cubicBezTo>
                <a:cubicBezTo>
                  <a:pt x="307" y="73"/>
                  <a:pt x="308" y="73"/>
                  <a:pt x="308" y="73"/>
                </a:cubicBezTo>
                <a:cubicBezTo>
                  <a:pt x="308" y="73"/>
                  <a:pt x="306" y="73"/>
                  <a:pt x="306" y="73"/>
                </a:cubicBezTo>
                <a:cubicBezTo>
                  <a:pt x="306" y="73"/>
                  <a:pt x="305" y="73"/>
                  <a:pt x="306" y="73"/>
                </a:cubicBezTo>
                <a:cubicBezTo>
                  <a:pt x="307" y="74"/>
                  <a:pt x="308" y="74"/>
                  <a:pt x="308" y="74"/>
                </a:cubicBezTo>
                <a:cubicBezTo>
                  <a:pt x="308" y="75"/>
                  <a:pt x="309" y="75"/>
                  <a:pt x="309" y="75"/>
                </a:cubicBezTo>
                <a:cubicBezTo>
                  <a:pt x="309" y="75"/>
                  <a:pt x="309" y="77"/>
                  <a:pt x="308" y="77"/>
                </a:cubicBezTo>
                <a:cubicBezTo>
                  <a:pt x="310" y="77"/>
                  <a:pt x="309" y="76"/>
                  <a:pt x="309" y="76"/>
                </a:cubicBezTo>
                <a:cubicBezTo>
                  <a:pt x="310" y="75"/>
                  <a:pt x="309" y="75"/>
                  <a:pt x="309" y="75"/>
                </a:cubicBezTo>
                <a:cubicBezTo>
                  <a:pt x="309" y="74"/>
                  <a:pt x="309" y="74"/>
                  <a:pt x="309" y="74"/>
                </a:cubicBezTo>
                <a:cubicBezTo>
                  <a:pt x="310" y="73"/>
                  <a:pt x="311" y="73"/>
                  <a:pt x="312" y="74"/>
                </a:cubicBezTo>
                <a:cubicBezTo>
                  <a:pt x="313" y="74"/>
                  <a:pt x="314" y="74"/>
                  <a:pt x="316" y="75"/>
                </a:cubicBezTo>
                <a:cubicBezTo>
                  <a:pt x="316" y="75"/>
                  <a:pt x="317" y="75"/>
                  <a:pt x="317" y="75"/>
                </a:cubicBezTo>
                <a:cubicBezTo>
                  <a:pt x="318" y="75"/>
                  <a:pt x="319" y="75"/>
                  <a:pt x="319" y="75"/>
                </a:cubicBezTo>
                <a:cubicBezTo>
                  <a:pt x="320" y="76"/>
                  <a:pt x="318" y="76"/>
                  <a:pt x="318" y="76"/>
                </a:cubicBezTo>
                <a:cubicBezTo>
                  <a:pt x="318" y="76"/>
                  <a:pt x="318" y="76"/>
                  <a:pt x="317" y="76"/>
                </a:cubicBezTo>
                <a:cubicBezTo>
                  <a:pt x="317" y="77"/>
                  <a:pt x="318" y="77"/>
                  <a:pt x="318" y="77"/>
                </a:cubicBezTo>
                <a:cubicBezTo>
                  <a:pt x="317" y="77"/>
                  <a:pt x="317" y="78"/>
                  <a:pt x="317" y="78"/>
                </a:cubicBezTo>
                <a:cubicBezTo>
                  <a:pt x="317" y="78"/>
                  <a:pt x="318" y="78"/>
                  <a:pt x="318" y="78"/>
                </a:cubicBezTo>
                <a:cubicBezTo>
                  <a:pt x="318" y="79"/>
                  <a:pt x="313" y="79"/>
                  <a:pt x="313" y="79"/>
                </a:cubicBezTo>
                <a:cubicBezTo>
                  <a:pt x="312" y="79"/>
                  <a:pt x="312" y="79"/>
                  <a:pt x="311" y="78"/>
                </a:cubicBezTo>
                <a:cubicBezTo>
                  <a:pt x="311" y="78"/>
                  <a:pt x="309" y="78"/>
                  <a:pt x="309" y="79"/>
                </a:cubicBezTo>
                <a:cubicBezTo>
                  <a:pt x="309" y="79"/>
                  <a:pt x="310" y="79"/>
                  <a:pt x="310" y="79"/>
                </a:cubicBezTo>
                <a:cubicBezTo>
                  <a:pt x="309" y="79"/>
                  <a:pt x="308" y="79"/>
                  <a:pt x="308" y="79"/>
                </a:cubicBezTo>
                <a:cubicBezTo>
                  <a:pt x="307" y="80"/>
                  <a:pt x="306" y="80"/>
                  <a:pt x="306" y="80"/>
                </a:cubicBezTo>
                <a:cubicBezTo>
                  <a:pt x="304" y="81"/>
                  <a:pt x="302" y="80"/>
                  <a:pt x="300" y="80"/>
                </a:cubicBezTo>
                <a:cubicBezTo>
                  <a:pt x="299" y="80"/>
                  <a:pt x="298" y="79"/>
                  <a:pt x="298" y="79"/>
                </a:cubicBezTo>
                <a:cubicBezTo>
                  <a:pt x="297" y="79"/>
                  <a:pt x="296" y="78"/>
                  <a:pt x="295" y="78"/>
                </a:cubicBezTo>
                <a:cubicBezTo>
                  <a:pt x="295" y="78"/>
                  <a:pt x="293" y="77"/>
                  <a:pt x="295" y="76"/>
                </a:cubicBezTo>
                <a:cubicBezTo>
                  <a:pt x="296" y="76"/>
                  <a:pt x="298" y="77"/>
                  <a:pt x="300" y="77"/>
                </a:cubicBezTo>
                <a:cubicBezTo>
                  <a:pt x="302" y="78"/>
                  <a:pt x="304" y="78"/>
                  <a:pt x="306" y="77"/>
                </a:cubicBezTo>
                <a:cubicBezTo>
                  <a:pt x="305" y="77"/>
                  <a:pt x="303" y="78"/>
                  <a:pt x="302" y="78"/>
                </a:cubicBezTo>
                <a:cubicBezTo>
                  <a:pt x="301" y="77"/>
                  <a:pt x="299" y="77"/>
                  <a:pt x="298" y="76"/>
                </a:cubicBezTo>
                <a:cubicBezTo>
                  <a:pt x="297" y="76"/>
                  <a:pt x="296" y="76"/>
                  <a:pt x="295" y="76"/>
                </a:cubicBezTo>
                <a:cubicBezTo>
                  <a:pt x="295" y="76"/>
                  <a:pt x="295" y="76"/>
                  <a:pt x="294" y="76"/>
                </a:cubicBezTo>
                <a:cubicBezTo>
                  <a:pt x="293" y="76"/>
                  <a:pt x="290" y="76"/>
                  <a:pt x="291" y="77"/>
                </a:cubicBezTo>
                <a:cubicBezTo>
                  <a:pt x="291" y="78"/>
                  <a:pt x="290" y="78"/>
                  <a:pt x="289" y="78"/>
                </a:cubicBezTo>
                <a:cubicBezTo>
                  <a:pt x="289" y="78"/>
                  <a:pt x="287" y="77"/>
                  <a:pt x="288" y="77"/>
                </a:cubicBezTo>
                <a:cubicBezTo>
                  <a:pt x="288" y="76"/>
                  <a:pt x="286" y="76"/>
                  <a:pt x="286" y="76"/>
                </a:cubicBezTo>
                <a:cubicBezTo>
                  <a:pt x="285" y="76"/>
                  <a:pt x="284" y="74"/>
                  <a:pt x="283" y="75"/>
                </a:cubicBezTo>
                <a:cubicBezTo>
                  <a:pt x="284" y="75"/>
                  <a:pt x="284" y="76"/>
                  <a:pt x="285" y="76"/>
                </a:cubicBezTo>
                <a:cubicBezTo>
                  <a:pt x="285" y="76"/>
                  <a:pt x="286" y="76"/>
                  <a:pt x="287" y="77"/>
                </a:cubicBezTo>
                <a:cubicBezTo>
                  <a:pt x="287" y="77"/>
                  <a:pt x="287" y="77"/>
                  <a:pt x="287" y="78"/>
                </a:cubicBezTo>
                <a:cubicBezTo>
                  <a:pt x="287" y="78"/>
                  <a:pt x="289" y="78"/>
                  <a:pt x="289" y="78"/>
                </a:cubicBezTo>
                <a:cubicBezTo>
                  <a:pt x="289" y="79"/>
                  <a:pt x="287" y="79"/>
                  <a:pt x="287" y="79"/>
                </a:cubicBezTo>
                <a:cubicBezTo>
                  <a:pt x="285" y="79"/>
                  <a:pt x="284" y="79"/>
                  <a:pt x="283" y="79"/>
                </a:cubicBezTo>
                <a:cubicBezTo>
                  <a:pt x="284" y="79"/>
                  <a:pt x="283" y="80"/>
                  <a:pt x="283" y="80"/>
                </a:cubicBezTo>
                <a:cubicBezTo>
                  <a:pt x="282" y="80"/>
                  <a:pt x="282" y="80"/>
                  <a:pt x="281" y="80"/>
                </a:cubicBezTo>
                <a:cubicBezTo>
                  <a:pt x="280" y="81"/>
                  <a:pt x="279" y="81"/>
                  <a:pt x="277" y="80"/>
                </a:cubicBezTo>
                <a:cubicBezTo>
                  <a:pt x="277" y="80"/>
                  <a:pt x="276" y="80"/>
                  <a:pt x="275" y="80"/>
                </a:cubicBezTo>
                <a:cubicBezTo>
                  <a:pt x="275" y="80"/>
                  <a:pt x="274" y="80"/>
                  <a:pt x="273" y="79"/>
                </a:cubicBezTo>
                <a:cubicBezTo>
                  <a:pt x="273" y="79"/>
                  <a:pt x="272" y="79"/>
                  <a:pt x="272" y="79"/>
                </a:cubicBezTo>
                <a:cubicBezTo>
                  <a:pt x="272" y="78"/>
                  <a:pt x="271" y="78"/>
                  <a:pt x="270" y="79"/>
                </a:cubicBezTo>
                <a:cubicBezTo>
                  <a:pt x="271" y="79"/>
                  <a:pt x="272" y="79"/>
                  <a:pt x="272" y="80"/>
                </a:cubicBezTo>
                <a:cubicBezTo>
                  <a:pt x="273" y="80"/>
                  <a:pt x="274" y="80"/>
                  <a:pt x="274" y="80"/>
                </a:cubicBezTo>
                <a:cubicBezTo>
                  <a:pt x="275" y="80"/>
                  <a:pt x="277" y="80"/>
                  <a:pt x="277" y="81"/>
                </a:cubicBezTo>
                <a:cubicBezTo>
                  <a:pt x="276" y="81"/>
                  <a:pt x="275" y="81"/>
                  <a:pt x="274" y="81"/>
                </a:cubicBezTo>
                <a:cubicBezTo>
                  <a:pt x="273" y="82"/>
                  <a:pt x="272" y="81"/>
                  <a:pt x="272" y="81"/>
                </a:cubicBezTo>
                <a:cubicBezTo>
                  <a:pt x="271" y="81"/>
                  <a:pt x="270" y="81"/>
                  <a:pt x="269" y="81"/>
                </a:cubicBezTo>
                <a:cubicBezTo>
                  <a:pt x="269" y="81"/>
                  <a:pt x="268" y="81"/>
                  <a:pt x="267" y="82"/>
                </a:cubicBezTo>
                <a:cubicBezTo>
                  <a:pt x="268" y="82"/>
                  <a:pt x="269" y="81"/>
                  <a:pt x="269" y="82"/>
                </a:cubicBezTo>
                <a:cubicBezTo>
                  <a:pt x="269" y="83"/>
                  <a:pt x="269" y="83"/>
                  <a:pt x="268" y="83"/>
                </a:cubicBezTo>
                <a:cubicBezTo>
                  <a:pt x="269" y="84"/>
                  <a:pt x="270" y="83"/>
                  <a:pt x="270" y="82"/>
                </a:cubicBezTo>
                <a:cubicBezTo>
                  <a:pt x="270" y="81"/>
                  <a:pt x="271" y="81"/>
                  <a:pt x="272" y="81"/>
                </a:cubicBezTo>
                <a:cubicBezTo>
                  <a:pt x="273" y="82"/>
                  <a:pt x="274" y="82"/>
                  <a:pt x="275" y="81"/>
                </a:cubicBezTo>
                <a:cubicBezTo>
                  <a:pt x="276" y="81"/>
                  <a:pt x="277" y="81"/>
                  <a:pt x="278" y="81"/>
                </a:cubicBezTo>
                <a:cubicBezTo>
                  <a:pt x="278" y="81"/>
                  <a:pt x="279" y="81"/>
                  <a:pt x="280" y="81"/>
                </a:cubicBezTo>
                <a:cubicBezTo>
                  <a:pt x="281" y="81"/>
                  <a:pt x="282" y="82"/>
                  <a:pt x="282" y="82"/>
                </a:cubicBezTo>
                <a:cubicBezTo>
                  <a:pt x="283" y="82"/>
                  <a:pt x="284" y="82"/>
                  <a:pt x="285" y="82"/>
                </a:cubicBezTo>
                <a:cubicBezTo>
                  <a:pt x="286" y="82"/>
                  <a:pt x="285" y="83"/>
                  <a:pt x="284" y="83"/>
                </a:cubicBezTo>
                <a:cubicBezTo>
                  <a:pt x="283" y="84"/>
                  <a:pt x="282" y="84"/>
                  <a:pt x="281" y="84"/>
                </a:cubicBezTo>
                <a:cubicBezTo>
                  <a:pt x="280" y="84"/>
                  <a:pt x="279" y="84"/>
                  <a:pt x="278" y="84"/>
                </a:cubicBezTo>
                <a:cubicBezTo>
                  <a:pt x="277" y="85"/>
                  <a:pt x="276" y="85"/>
                  <a:pt x="275" y="84"/>
                </a:cubicBezTo>
                <a:cubicBezTo>
                  <a:pt x="274" y="84"/>
                  <a:pt x="273" y="84"/>
                  <a:pt x="272" y="84"/>
                </a:cubicBezTo>
                <a:cubicBezTo>
                  <a:pt x="271" y="84"/>
                  <a:pt x="270" y="84"/>
                  <a:pt x="269" y="84"/>
                </a:cubicBezTo>
                <a:cubicBezTo>
                  <a:pt x="269" y="84"/>
                  <a:pt x="268" y="84"/>
                  <a:pt x="269" y="84"/>
                </a:cubicBezTo>
                <a:cubicBezTo>
                  <a:pt x="270" y="84"/>
                  <a:pt x="271" y="84"/>
                  <a:pt x="271" y="84"/>
                </a:cubicBezTo>
                <a:cubicBezTo>
                  <a:pt x="273" y="84"/>
                  <a:pt x="274" y="84"/>
                  <a:pt x="275" y="85"/>
                </a:cubicBezTo>
                <a:cubicBezTo>
                  <a:pt x="274" y="85"/>
                  <a:pt x="273" y="85"/>
                  <a:pt x="273" y="85"/>
                </a:cubicBezTo>
                <a:cubicBezTo>
                  <a:pt x="274" y="86"/>
                  <a:pt x="275" y="85"/>
                  <a:pt x="276" y="85"/>
                </a:cubicBezTo>
                <a:cubicBezTo>
                  <a:pt x="275" y="86"/>
                  <a:pt x="275" y="86"/>
                  <a:pt x="274" y="86"/>
                </a:cubicBezTo>
                <a:cubicBezTo>
                  <a:pt x="275" y="86"/>
                  <a:pt x="276" y="85"/>
                  <a:pt x="277" y="85"/>
                </a:cubicBezTo>
                <a:cubicBezTo>
                  <a:pt x="278" y="85"/>
                  <a:pt x="279" y="85"/>
                  <a:pt x="281" y="84"/>
                </a:cubicBezTo>
                <a:cubicBezTo>
                  <a:pt x="282" y="84"/>
                  <a:pt x="283" y="84"/>
                  <a:pt x="283" y="85"/>
                </a:cubicBezTo>
                <a:cubicBezTo>
                  <a:pt x="284" y="85"/>
                  <a:pt x="286" y="85"/>
                  <a:pt x="286" y="86"/>
                </a:cubicBezTo>
                <a:cubicBezTo>
                  <a:pt x="286" y="86"/>
                  <a:pt x="286" y="87"/>
                  <a:pt x="287" y="87"/>
                </a:cubicBezTo>
                <a:cubicBezTo>
                  <a:pt x="285" y="88"/>
                  <a:pt x="283" y="88"/>
                  <a:pt x="282" y="88"/>
                </a:cubicBezTo>
                <a:cubicBezTo>
                  <a:pt x="281" y="88"/>
                  <a:pt x="280" y="88"/>
                  <a:pt x="280" y="88"/>
                </a:cubicBezTo>
                <a:cubicBezTo>
                  <a:pt x="279" y="88"/>
                  <a:pt x="278" y="88"/>
                  <a:pt x="277" y="88"/>
                </a:cubicBezTo>
                <a:cubicBezTo>
                  <a:pt x="279" y="88"/>
                  <a:pt x="280" y="88"/>
                  <a:pt x="281" y="88"/>
                </a:cubicBezTo>
                <a:cubicBezTo>
                  <a:pt x="281" y="89"/>
                  <a:pt x="281" y="89"/>
                  <a:pt x="280" y="89"/>
                </a:cubicBezTo>
                <a:cubicBezTo>
                  <a:pt x="280" y="89"/>
                  <a:pt x="280" y="90"/>
                  <a:pt x="279" y="90"/>
                </a:cubicBezTo>
                <a:cubicBezTo>
                  <a:pt x="280" y="91"/>
                  <a:pt x="280" y="90"/>
                  <a:pt x="280" y="89"/>
                </a:cubicBezTo>
                <a:cubicBezTo>
                  <a:pt x="281" y="89"/>
                  <a:pt x="282" y="88"/>
                  <a:pt x="282" y="88"/>
                </a:cubicBezTo>
                <a:cubicBezTo>
                  <a:pt x="283" y="88"/>
                  <a:pt x="284" y="88"/>
                  <a:pt x="284" y="88"/>
                </a:cubicBezTo>
                <a:cubicBezTo>
                  <a:pt x="285" y="88"/>
                  <a:pt x="286" y="88"/>
                  <a:pt x="287" y="88"/>
                </a:cubicBezTo>
                <a:cubicBezTo>
                  <a:pt x="287" y="88"/>
                  <a:pt x="288" y="89"/>
                  <a:pt x="288" y="89"/>
                </a:cubicBezTo>
                <a:cubicBezTo>
                  <a:pt x="289" y="88"/>
                  <a:pt x="289" y="89"/>
                  <a:pt x="290" y="89"/>
                </a:cubicBezTo>
                <a:cubicBezTo>
                  <a:pt x="290" y="89"/>
                  <a:pt x="290" y="89"/>
                  <a:pt x="291" y="89"/>
                </a:cubicBezTo>
                <a:cubicBezTo>
                  <a:pt x="291" y="89"/>
                  <a:pt x="290" y="90"/>
                  <a:pt x="290" y="90"/>
                </a:cubicBezTo>
                <a:cubicBezTo>
                  <a:pt x="291" y="90"/>
                  <a:pt x="291" y="89"/>
                  <a:pt x="292" y="90"/>
                </a:cubicBezTo>
                <a:cubicBezTo>
                  <a:pt x="292" y="90"/>
                  <a:pt x="291" y="90"/>
                  <a:pt x="291" y="90"/>
                </a:cubicBezTo>
                <a:cubicBezTo>
                  <a:pt x="291" y="91"/>
                  <a:pt x="291" y="90"/>
                  <a:pt x="292" y="90"/>
                </a:cubicBezTo>
                <a:cubicBezTo>
                  <a:pt x="292" y="90"/>
                  <a:pt x="292" y="90"/>
                  <a:pt x="293" y="90"/>
                </a:cubicBezTo>
                <a:cubicBezTo>
                  <a:pt x="294" y="91"/>
                  <a:pt x="295" y="91"/>
                  <a:pt x="295" y="91"/>
                </a:cubicBezTo>
                <a:cubicBezTo>
                  <a:pt x="295" y="91"/>
                  <a:pt x="295" y="91"/>
                  <a:pt x="295" y="91"/>
                </a:cubicBezTo>
                <a:cubicBezTo>
                  <a:pt x="295" y="92"/>
                  <a:pt x="296" y="91"/>
                  <a:pt x="296" y="92"/>
                </a:cubicBezTo>
                <a:cubicBezTo>
                  <a:pt x="297" y="92"/>
                  <a:pt x="298" y="92"/>
                  <a:pt x="298" y="92"/>
                </a:cubicBezTo>
                <a:cubicBezTo>
                  <a:pt x="300" y="93"/>
                  <a:pt x="297" y="93"/>
                  <a:pt x="297" y="93"/>
                </a:cubicBezTo>
                <a:cubicBezTo>
                  <a:pt x="296" y="94"/>
                  <a:pt x="294" y="94"/>
                  <a:pt x="294" y="95"/>
                </a:cubicBezTo>
                <a:cubicBezTo>
                  <a:pt x="294" y="95"/>
                  <a:pt x="297" y="94"/>
                  <a:pt x="297" y="94"/>
                </a:cubicBezTo>
                <a:cubicBezTo>
                  <a:pt x="297" y="94"/>
                  <a:pt x="299" y="93"/>
                  <a:pt x="299" y="94"/>
                </a:cubicBezTo>
                <a:cubicBezTo>
                  <a:pt x="299" y="94"/>
                  <a:pt x="298" y="94"/>
                  <a:pt x="298" y="94"/>
                </a:cubicBezTo>
                <a:cubicBezTo>
                  <a:pt x="298" y="94"/>
                  <a:pt x="297" y="94"/>
                  <a:pt x="297" y="95"/>
                </a:cubicBezTo>
                <a:cubicBezTo>
                  <a:pt x="297" y="95"/>
                  <a:pt x="297" y="95"/>
                  <a:pt x="297" y="95"/>
                </a:cubicBezTo>
                <a:cubicBezTo>
                  <a:pt x="298" y="95"/>
                  <a:pt x="298" y="95"/>
                  <a:pt x="298" y="95"/>
                </a:cubicBezTo>
                <a:cubicBezTo>
                  <a:pt x="299" y="95"/>
                  <a:pt x="299" y="95"/>
                  <a:pt x="300" y="94"/>
                </a:cubicBezTo>
                <a:cubicBezTo>
                  <a:pt x="300" y="94"/>
                  <a:pt x="301" y="93"/>
                  <a:pt x="301" y="94"/>
                </a:cubicBezTo>
                <a:cubicBezTo>
                  <a:pt x="301" y="94"/>
                  <a:pt x="302" y="94"/>
                  <a:pt x="303" y="94"/>
                </a:cubicBezTo>
                <a:cubicBezTo>
                  <a:pt x="302" y="95"/>
                  <a:pt x="301" y="94"/>
                  <a:pt x="300" y="95"/>
                </a:cubicBezTo>
                <a:cubicBezTo>
                  <a:pt x="300" y="95"/>
                  <a:pt x="301" y="95"/>
                  <a:pt x="301" y="95"/>
                </a:cubicBezTo>
                <a:cubicBezTo>
                  <a:pt x="300" y="96"/>
                  <a:pt x="298" y="95"/>
                  <a:pt x="298" y="96"/>
                </a:cubicBezTo>
                <a:cubicBezTo>
                  <a:pt x="298" y="97"/>
                  <a:pt x="297" y="97"/>
                  <a:pt x="298" y="97"/>
                </a:cubicBezTo>
                <a:cubicBezTo>
                  <a:pt x="298" y="98"/>
                  <a:pt x="297" y="98"/>
                  <a:pt x="298" y="98"/>
                </a:cubicBezTo>
                <a:cubicBezTo>
                  <a:pt x="298" y="98"/>
                  <a:pt x="298" y="98"/>
                  <a:pt x="298" y="98"/>
                </a:cubicBezTo>
                <a:cubicBezTo>
                  <a:pt x="299" y="97"/>
                  <a:pt x="299" y="97"/>
                  <a:pt x="299" y="97"/>
                </a:cubicBezTo>
                <a:cubicBezTo>
                  <a:pt x="300" y="96"/>
                  <a:pt x="300" y="96"/>
                  <a:pt x="301" y="96"/>
                </a:cubicBezTo>
                <a:cubicBezTo>
                  <a:pt x="301" y="96"/>
                  <a:pt x="302" y="97"/>
                  <a:pt x="302" y="96"/>
                </a:cubicBezTo>
                <a:cubicBezTo>
                  <a:pt x="302" y="96"/>
                  <a:pt x="302" y="96"/>
                  <a:pt x="302" y="96"/>
                </a:cubicBezTo>
                <a:cubicBezTo>
                  <a:pt x="302" y="96"/>
                  <a:pt x="303" y="96"/>
                  <a:pt x="303" y="96"/>
                </a:cubicBezTo>
                <a:cubicBezTo>
                  <a:pt x="303" y="96"/>
                  <a:pt x="302" y="96"/>
                  <a:pt x="302" y="97"/>
                </a:cubicBezTo>
                <a:cubicBezTo>
                  <a:pt x="302" y="97"/>
                  <a:pt x="303" y="96"/>
                  <a:pt x="303" y="97"/>
                </a:cubicBezTo>
                <a:cubicBezTo>
                  <a:pt x="303" y="97"/>
                  <a:pt x="303" y="97"/>
                  <a:pt x="302" y="97"/>
                </a:cubicBezTo>
                <a:cubicBezTo>
                  <a:pt x="303" y="97"/>
                  <a:pt x="303" y="97"/>
                  <a:pt x="303" y="97"/>
                </a:cubicBezTo>
                <a:cubicBezTo>
                  <a:pt x="303" y="97"/>
                  <a:pt x="302" y="97"/>
                  <a:pt x="302" y="97"/>
                </a:cubicBezTo>
                <a:cubicBezTo>
                  <a:pt x="302" y="97"/>
                  <a:pt x="302" y="97"/>
                  <a:pt x="303" y="97"/>
                </a:cubicBezTo>
                <a:cubicBezTo>
                  <a:pt x="303" y="97"/>
                  <a:pt x="302" y="98"/>
                  <a:pt x="302" y="98"/>
                </a:cubicBezTo>
                <a:cubicBezTo>
                  <a:pt x="303" y="98"/>
                  <a:pt x="303" y="97"/>
                  <a:pt x="303" y="98"/>
                </a:cubicBezTo>
                <a:cubicBezTo>
                  <a:pt x="303" y="98"/>
                  <a:pt x="302" y="98"/>
                  <a:pt x="301" y="98"/>
                </a:cubicBezTo>
                <a:cubicBezTo>
                  <a:pt x="301" y="99"/>
                  <a:pt x="302" y="98"/>
                  <a:pt x="302" y="98"/>
                </a:cubicBezTo>
                <a:cubicBezTo>
                  <a:pt x="302" y="98"/>
                  <a:pt x="303" y="99"/>
                  <a:pt x="303" y="99"/>
                </a:cubicBezTo>
                <a:cubicBezTo>
                  <a:pt x="303" y="100"/>
                  <a:pt x="302" y="99"/>
                  <a:pt x="301" y="99"/>
                </a:cubicBezTo>
                <a:cubicBezTo>
                  <a:pt x="301" y="99"/>
                  <a:pt x="302" y="99"/>
                  <a:pt x="302" y="100"/>
                </a:cubicBezTo>
                <a:cubicBezTo>
                  <a:pt x="301" y="100"/>
                  <a:pt x="301" y="100"/>
                  <a:pt x="300" y="100"/>
                </a:cubicBezTo>
                <a:cubicBezTo>
                  <a:pt x="299" y="100"/>
                  <a:pt x="298" y="100"/>
                  <a:pt x="298" y="100"/>
                </a:cubicBezTo>
                <a:cubicBezTo>
                  <a:pt x="299" y="100"/>
                  <a:pt x="301" y="100"/>
                  <a:pt x="302" y="100"/>
                </a:cubicBezTo>
                <a:cubicBezTo>
                  <a:pt x="303" y="100"/>
                  <a:pt x="302" y="100"/>
                  <a:pt x="302" y="101"/>
                </a:cubicBezTo>
                <a:cubicBezTo>
                  <a:pt x="301" y="101"/>
                  <a:pt x="301" y="101"/>
                  <a:pt x="300" y="101"/>
                </a:cubicBezTo>
                <a:cubicBezTo>
                  <a:pt x="301" y="101"/>
                  <a:pt x="301" y="101"/>
                  <a:pt x="302" y="101"/>
                </a:cubicBezTo>
                <a:cubicBezTo>
                  <a:pt x="302" y="101"/>
                  <a:pt x="301" y="101"/>
                  <a:pt x="301" y="101"/>
                </a:cubicBezTo>
                <a:cubicBezTo>
                  <a:pt x="301" y="101"/>
                  <a:pt x="302" y="101"/>
                  <a:pt x="302" y="101"/>
                </a:cubicBezTo>
                <a:cubicBezTo>
                  <a:pt x="302" y="101"/>
                  <a:pt x="302" y="101"/>
                  <a:pt x="303" y="101"/>
                </a:cubicBezTo>
                <a:cubicBezTo>
                  <a:pt x="302" y="101"/>
                  <a:pt x="301" y="101"/>
                  <a:pt x="301" y="102"/>
                </a:cubicBezTo>
                <a:cubicBezTo>
                  <a:pt x="302" y="102"/>
                  <a:pt x="300" y="102"/>
                  <a:pt x="300" y="102"/>
                </a:cubicBezTo>
                <a:cubicBezTo>
                  <a:pt x="301" y="103"/>
                  <a:pt x="301" y="102"/>
                  <a:pt x="302" y="103"/>
                </a:cubicBezTo>
                <a:cubicBezTo>
                  <a:pt x="302" y="103"/>
                  <a:pt x="301" y="103"/>
                  <a:pt x="301" y="103"/>
                </a:cubicBezTo>
                <a:cubicBezTo>
                  <a:pt x="301" y="103"/>
                  <a:pt x="302" y="103"/>
                  <a:pt x="302" y="103"/>
                </a:cubicBezTo>
                <a:cubicBezTo>
                  <a:pt x="302" y="103"/>
                  <a:pt x="301" y="103"/>
                  <a:pt x="301" y="103"/>
                </a:cubicBezTo>
                <a:cubicBezTo>
                  <a:pt x="301" y="103"/>
                  <a:pt x="302" y="103"/>
                  <a:pt x="302" y="103"/>
                </a:cubicBezTo>
                <a:cubicBezTo>
                  <a:pt x="302" y="104"/>
                  <a:pt x="301" y="104"/>
                  <a:pt x="301" y="104"/>
                </a:cubicBezTo>
                <a:cubicBezTo>
                  <a:pt x="301" y="104"/>
                  <a:pt x="301" y="104"/>
                  <a:pt x="300" y="104"/>
                </a:cubicBezTo>
                <a:cubicBezTo>
                  <a:pt x="301" y="104"/>
                  <a:pt x="301" y="104"/>
                  <a:pt x="301" y="104"/>
                </a:cubicBezTo>
                <a:cubicBezTo>
                  <a:pt x="301" y="104"/>
                  <a:pt x="301" y="104"/>
                  <a:pt x="301" y="105"/>
                </a:cubicBezTo>
                <a:cubicBezTo>
                  <a:pt x="301" y="105"/>
                  <a:pt x="302" y="105"/>
                  <a:pt x="302" y="105"/>
                </a:cubicBezTo>
                <a:cubicBezTo>
                  <a:pt x="302" y="105"/>
                  <a:pt x="301" y="106"/>
                  <a:pt x="300" y="106"/>
                </a:cubicBezTo>
                <a:cubicBezTo>
                  <a:pt x="300" y="106"/>
                  <a:pt x="299" y="106"/>
                  <a:pt x="298" y="106"/>
                </a:cubicBezTo>
                <a:cubicBezTo>
                  <a:pt x="300" y="105"/>
                  <a:pt x="296" y="106"/>
                  <a:pt x="296" y="106"/>
                </a:cubicBezTo>
                <a:cubicBezTo>
                  <a:pt x="295" y="105"/>
                  <a:pt x="296" y="104"/>
                  <a:pt x="296" y="104"/>
                </a:cubicBezTo>
                <a:cubicBezTo>
                  <a:pt x="295" y="103"/>
                  <a:pt x="296" y="103"/>
                  <a:pt x="296" y="102"/>
                </a:cubicBezTo>
                <a:cubicBezTo>
                  <a:pt x="297" y="102"/>
                  <a:pt x="295" y="102"/>
                  <a:pt x="295" y="102"/>
                </a:cubicBezTo>
                <a:cubicBezTo>
                  <a:pt x="295" y="103"/>
                  <a:pt x="295" y="103"/>
                  <a:pt x="295" y="103"/>
                </a:cubicBezTo>
                <a:cubicBezTo>
                  <a:pt x="294" y="104"/>
                  <a:pt x="295" y="104"/>
                  <a:pt x="295" y="105"/>
                </a:cubicBezTo>
                <a:cubicBezTo>
                  <a:pt x="294" y="106"/>
                  <a:pt x="293" y="106"/>
                  <a:pt x="293" y="106"/>
                </a:cubicBezTo>
                <a:cubicBezTo>
                  <a:pt x="292" y="106"/>
                  <a:pt x="291" y="106"/>
                  <a:pt x="290" y="106"/>
                </a:cubicBezTo>
                <a:cubicBezTo>
                  <a:pt x="289" y="106"/>
                  <a:pt x="288" y="105"/>
                  <a:pt x="287" y="105"/>
                </a:cubicBezTo>
                <a:cubicBezTo>
                  <a:pt x="285" y="104"/>
                  <a:pt x="284" y="104"/>
                  <a:pt x="284" y="102"/>
                </a:cubicBezTo>
                <a:cubicBezTo>
                  <a:pt x="284" y="101"/>
                  <a:pt x="285" y="101"/>
                  <a:pt x="285" y="100"/>
                </a:cubicBezTo>
                <a:cubicBezTo>
                  <a:pt x="284" y="99"/>
                  <a:pt x="284" y="99"/>
                  <a:pt x="283" y="99"/>
                </a:cubicBezTo>
                <a:cubicBezTo>
                  <a:pt x="283" y="99"/>
                  <a:pt x="283" y="99"/>
                  <a:pt x="283" y="98"/>
                </a:cubicBezTo>
                <a:cubicBezTo>
                  <a:pt x="283" y="98"/>
                  <a:pt x="283" y="98"/>
                  <a:pt x="283" y="98"/>
                </a:cubicBezTo>
                <a:cubicBezTo>
                  <a:pt x="282" y="98"/>
                  <a:pt x="282" y="98"/>
                  <a:pt x="282" y="98"/>
                </a:cubicBezTo>
                <a:cubicBezTo>
                  <a:pt x="282" y="98"/>
                  <a:pt x="283" y="98"/>
                  <a:pt x="283" y="97"/>
                </a:cubicBezTo>
                <a:cubicBezTo>
                  <a:pt x="282" y="97"/>
                  <a:pt x="282" y="98"/>
                  <a:pt x="281" y="98"/>
                </a:cubicBezTo>
                <a:cubicBezTo>
                  <a:pt x="281" y="98"/>
                  <a:pt x="280" y="98"/>
                  <a:pt x="280" y="98"/>
                </a:cubicBezTo>
                <a:cubicBezTo>
                  <a:pt x="279" y="98"/>
                  <a:pt x="278" y="97"/>
                  <a:pt x="278" y="97"/>
                </a:cubicBezTo>
                <a:cubicBezTo>
                  <a:pt x="278" y="96"/>
                  <a:pt x="277" y="97"/>
                  <a:pt x="277" y="96"/>
                </a:cubicBezTo>
                <a:cubicBezTo>
                  <a:pt x="277" y="96"/>
                  <a:pt x="277" y="96"/>
                  <a:pt x="276" y="96"/>
                </a:cubicBezTo>
                <a:cubicBezTo>
                  <a:pt x="275" y="95"/>
                  <a:pt x="274" y="95"/>
                  <a:pt x="273" y="95"/>
                </a:cubicBezTo>
                <a:cubicBezTo>
                  <a:pt x="272" y="95"/>
                  <a:pt x="272" y="95"/>
                  <a:pt x="272" y="95"/>
                </a:cubicBezTo>
                <a:cubicBezTo>
                  <a:pt x="272" y="95"/>
                  <a:pt x="272" y="95"/>
                  <a:pt x="271" y="95"/>
                </a:cubicBezTo>
                <a:cubicBezTo>
                  <a:pt x="271" y="95"/>
                  <a:pt x="270" y="96"/>
                  <a:pt x="270" y="96"/>
                </a:cubicBezTo>
                <a:cubicBezTo>
                  <a:pt x="269" y="96"/>
                  <a:pt x="267" y="96"/>
                  <a:pt x="266" y="94"/>
                </a:cubicBezTo>
                <a:cubicBezTo>
                  <a:pt x="266" y="94"/>
                  <a:pt x="266" y="94"/>
                  <a:pt x="265" y="93"/>
                </a:cubicBezTo>
                <a:cubicBezTo>
                  <a:pt x="265" y="93"/>
                  <a:pt x="264" y="93"/>
                  <a:pt x="264" y="93"/>
                </a:cubicBezTo>
                <a:cubicBezTo>
                  <a:pt x="264" y="93"/>
                  <a:pt x="264" y="93"/>
                  <a:pt x="264" y="92"/>
                </a:cubicBezTo>
                <a:cubicBezTo>
                  <a:pt x="264" y="92"/>
                  <a:pt x="263" y="92"/>
                  <a:pt x="263" y="92"/>
                </a:cubicBezTo>
                <a:cubicBezTo>
                  <a:pt x="262" y="92"/>
                  <a:pt x="262" y="91"/>
                  <a:pt x="262" y="92"/>
                </a:cubicBezTo>
                <a:cubicBezTo>
                  <a:pt x="262" y="92"/>
                  <a:pt x="261" y="92"/>
                  <a:pt x="261" y="92"/>
                </a:cubicBezTo>
                <a:cubicBezTo>
                  <a:pt x="260" y="91"/>
                  <a:pt x="258" y="90"/>
                  <a:pt x="257" y="91"/>
                </a:cubicBezTo>
                <a:cubicBezTo>
                  <a:pt x="257" y="91"/>
                  <a:pt x="260" y="91"/>
                  <a:pt x="259" y="92"/>
                </a:cubicBezTo>
                <a:cubicBezTo>
                  <a:pt x="259" y="92"/>
                  <a:pt x="258" y="92"/>
                  <a:pt x="258" y="92"/>
                </a:cubicBezTo>
                <a:cubicBezTo>
                  <a:pt x="259" y="93"/>
                  <a:pt x="262" y="92"/>
                  <a:pt x="263" y="93"/>
                </a:cubicBezTo>
                <a:cubicBezTo>
                  <a:pt x="262" y="93"/>
                  <a:pt x="261" y="92"/>
                  <a:pt x="261" y="93"/>
                </a:cubicBezTo>
                <a:cubicBezTo>
                  <a:pt x="262" y="93"/>
                  <a:pt x="263" y="93"/>
                  <a:pt x="264" y="94"/>
                </a:cubicBezTo>
                <a:cubicBezTo>
                  <a:pt x="264" y="94"/>
                  <a:pt x="265" y="94"/>
                  <a:pt x="265" y="94"/>
                </a:cubicBezTo>
                <a:cubicBezTo>
                  <a:pt x="265" y="95"/>
                  <a:pt x="264" y="95"/>
                  <a:pt x="263" y="95"/>
                </a:cubicBezTo>
                <a:cubicBezTo>
                  <a:pt x="263" y="95"/>
                  <a:pt x="262" y="95"/>
                  <a:pt x="262" y="95"/>
                </a:cubicBezTo>
                <a:cubicBezTo>
                  <a:pt x="261" y="95"/>
                  <a:pt x="261" y="95"/>
                  <a:pt x="261" y="95"/>
                </a:cubicBezTo>
                <a:cubicBezTo>
                  <a:pt x="261" y="95"/>
                  <a:pt x="261" y="95"/>
                  <a:pt x="261" y="95"/>
                </a:cubicBezTo>
                <a:cubicBezTo>
                  <a:pt x="260" y="95"/>
                  <a:pt x="257" y="96"/>
                  <a:pt x="257" y="95"/>
                </a:cubicBezTo>
                <a:cubicBezTo>
                  <a:pt x="257" y="96"/>
                  <a:pt x="262" y="95"/>
                  <a:pt x="263" y="95"/>
                </a:cubicBezTo>
                <a:cubicBezTo>
                  <a:pt x="264" y="95"/>
                  <a:pt x="265" y="95"/>
                  <a:pt x="266" y="95"/>
                </a:cubicBezTo>
                <a:cubicBezTo>
                  <a:pt x="267" y="96"/>
                  <a:pt x="265" y="96"/>
                  <a:pt x="265" y="96"/>
                </a:cubicBezTo>
                <a:cubicBezTo>
                  <a:pt x="266" y="96"/>
                  <a:pt x="266" y="96"/>
                  <a:pt x="267" y="96"/>
                </a:cubicBezTo>
                <a:cubicBezTo>
                  <a:pt x="268" y="96"/>
                  <a:pt x="268" y="96"/>
                  <a:pt x="269" y="96"/>
                </a:cubicBezTo>
                <a:cubicBezTo>
                  <a:pt x="270" y="96"/>
                  <a:pt x="271" y="96"/>
                  <a:pt x="272" y="96"/>
                </a:cubicBezTo>
                <a:cubicBezTo>
                  <a:pt x="273" y="96"/>
                  <a:pt x="274" y="96"/>
                  <a:pt x="275" y="96"/>
                </a:cubicBezTo>
                <a:cubicBezTo>
                  <a:pt x="275" y="96"/>
                  <a:pt x="277" y="97"/>
                  <a:pt x="277" y="98"/>
                </a:cubicBezTo>
                <a:cubicBezTo>
                  <a:pt x="277" y="99"/>
                  <a:pt x="276" y="98"/>
                  <a:pt x="275" y="98"/>
                </a:cubicBezTo>
                <a:cubicBezTo>
                  <a:pt x="275" y="99"/>
                  <a:pt x="275" y="99"/>
                  <a:pt x="276" y="99"/>
                </a:cubicBezTo>
                <a:cubicBezTo>
                  <a:pt x="275" y="99"/>
                  <a:pt x="274" y="99"/>
                  <a:pt x="273" y="100"/>
                </a:cubicBezTo>
                <a:cubicBezTo>
                  <a:pt x="272" y="100"/>
                  <a:pt x="271" y="100"/>
                  <a:pt x="270" y="100"/>
                </a:cubicBezTo>
                <a:cubicBezTo>
                  <a:pt x="268" y="101"/>
                  <a:pt x="266" y="101"/>
                  <a:pt x="264" y="101"/>
                </a:cubicBezTo>
                <a:cubicBezTo>
                  <a:pt x="263" y="101"/>
                  <a:pt x="262" y="101"/>
                  <a:pt x="262" y="101"/>
                </a:cubicBezTo>
                <a:cubicBezTo>
                  <a:pt x="261" y="100"/>
                  <a:pt x="261" y="99"/>
                  <a:pt x="260" y="99"/>
                </a:cubicBezTo>
                <a:cubicBezTo>
                  <a:pt x="259" y="99"/>
                  <a:pt x="261" y="101"/>
                  <a:pt x="261" y="101"/>
                </a:cubicBezTo>
                <a:cubicBezTo>
                  <a:pt x="261" y="101"/>
                  <a:pt x="256" y="100"/>
                  <a:pt x="256" y="101"/>
                </a:cubicBezTo>
                <a:cubicBezTo>
                  <a:pt x="256" y="101"/>
                  <a:pt x="257" y="101"/>
                  <a:pt x="257" y="101"/>
                </a:cubicBezTo>
                <a:cubicBezTo>
                  <a:pt x="257" y="101"/>
                  <a:pt x="259" y="102"/>
                  <a:pt x="259" y="102"/>
                </a:cubicBezTo>
                <a:cubicBezTo>
                  <a:pt x="258" y="102"/>
                  <a:pt x="257" y="103"/>
                  <a:pt x="256" y="104"/>
                </a:cubicBezTo>
                <a:cubicBezTo>
                  <a:pt x="256" y="104"/>
                  <a:pt x="255" y="104"/>
                  <a:pt x="255" y="104"/>
                </a:cubicBezTo>
                <a:cubicBezTo>
                  <a:pt x="255" y="104"/>
                  <a:pt x="255" y="104"/>
                  <a:pt x="255" y="104"/>
                </a:cubicBezTo>
                <a:cubicBezTo>
                  <a:pt x="255" y="105"/>
                  <a:pt x="253" y="105"/>
                  <a:pt x="252" y="105"/>
                </a:cubicBezTo>
                <a:cubicBezTo>
                  <a:pt x="251" y="105"/>
                  <a:pt x="250" y="105"/>
                  <a:pt x="249" y="105"/>
                </a:cubicBezTo>
                <a:cubicBezTo>
                  <a:pt x="249" y="105"/>
                  <a:pt x="248" y="106"/>
                  <a:pt x="248" y="106"/>
                </a:cubicBezTo>
                <a:cubicBezTo>
                  <a:pt x="249" y="106"/>
                  <a:pt x="250" y="106"/>
                  <a:pt x="251" y="106"/>
                </a:cubicBezTo>
                <a:cubicBezTo>
                  <a:pt x="252" y="105"/>
                  <a:pt x="253" y="105"/>
                  <a:pt x="255" y="105"/>
                </a:cubicBezTo>
                <a:cubicBezTo>
                  <a:pt x="254" y="106"/>
                  <a:pt x="255" y="106"/>
                  <a:pt x="256" y="106"/>
                </a:cubicBezTo>
                <a:cubicBezTo>
                  <a:pt x="257" y="106"/>
                  <a:pt x="258" y="106"/>
                  <a:pt x="260" y="106"/>
                </a:cubicBezTo>
                <a:cubicBezTo>
                  <a:pt x="260" y="106"/>
                  <a:pt x="261" y="106"/>
                  <a:pt x="262" y="106"/>
                </a:cubicBezTo>
                <a:cubicBezTo>
                  <a:pt x="263" y="106"/>
                  <a:pt x="264" y="106"/>
                  <a:pt x="264" y="106"/>
                </a:cubicBezTo>
                <a:cubicBezTo>
                  <a:pt x="265" y="105"/>
                  <a:pt x="266" y="105"/>
                  <a:pt x="267" y="105"/>
                </a:cubicBezTo>
                <a:cubicBezTo>
                  <a:pt x="267" y="105"/>
                  <a:pt x="268" y="106"/>
                  <a:pt x="268" y="106"/>
                </a:cubicBezTo>
                <a:cubicBezTo>
                  <a:pt x="267" y="107"/>
                  <a:pt x="266" y="107"/>
                  <a:pt x="265" y="107"/>
                </a:cubicBezTo>
                <a:cubicBezTo>
                  <a:pt x="263" y="107"/>
                  <a:pt x="262" y="107"/>
                  <a:pt x="260" y="108"/>
                </a:cubicBezTo>
                <a:cubicBezTo>
                  <a:pt x="260" y="108"/>
                  <a:pt x="259" y="108"/>
                  <a:pt x="258" y="108"/>
                </a:cubicBezTo>
                <a:cubicBezTo>
                  <a:pt x="257" y="109"/>
                  <a:pt x="257" y="109"/>
                  <a:pt x="256" y="109"/>
                </a:cubicBezTo>
                <a:cubicBezTo>
                  <a:pt x="254" y="108"/>
                  <a:pt x="253" y="109"/>
                  <a:pt x="252" y="109"/>
                </a:cubicBezTo>
                <a:cubicBezTo>
                  <a:pt x="251" y="109"/>
                  <a:pt x="253" y="109"/>
                  <a:pt x="253" y="109"/>
                </a:cubicBezTo>
                <a:cubicBezTo>
                  <a:pt x="254" y="109"/>
                  <a:pt x="255" y="109"/>
                  <a:pt x="255" y="109"/>
                </a:cubicBezTo>
                <a:cubicBezTo>
                  <a:pt x="256" y="110"/>
                  <a:pt x="257" y="109"/>
                  <a:pt x="258" y="109"/>
                </a:cubicBezTo>
                <a:cubicBezTo>
                  <a:pt x="259" y="109"/>
                  <a:pt x="259" y="110"/>
                  <a:pt x="259" y="110"/>
                </a:cubicBezTo>
                <a:cubicBezTo>
                  <a:pt x="259" y="110"/>
                  <a:pt x="260" y="110"/>
                  <a:pt x="260" y="110"/>
                </a:cubicBezTo>
                <a:cubicBezTo>
                  <a:pt x="261" y="109"/>
                  <a:pt x="262" y="108"/>
                  <a:pt x="263" y="108"/>
                </a:cubicBezTo>
                <a:cubicBezTo>
                  <a:pt x="264" y="108"/>
                  <a:pt x="264" y="107"/>
                  <a:pt x="265" y="107"/>
                </a:cubicBezTo>
                <a:cubicBezTo>
                  <a:pt x="266" y="107"/>
                  <a:pt x="267" y="108"/>
                  <a:pt x="267" y="108"/>
                </a:cubicBezTo>
                <a:cubicBezTo>
                  <a:pt x="270" y="108"/>
                  <a:pt x="273" y="106"/>
                  <a:pt x="276" y="106"/>
                </a:cubicBezTo>
                <a:cubicBezTo>
                  <a:pt x="276" y="106"/>
                  <a:pt x="275" y="106"/>
                  <a:pt x="275" y="106"/>
                </a:cubicBezTo>
                <a:cubicBezTo>
                  <a:pt x="275" y="106"/>
                  <a:pt x="275" y="106"/>
                  <a:pt x="275" y="106"/>
                </a:cubicBezTo>
                <a:cubicBezTo>
                  <a:pt x="275" y="107"/>
                  <a:pt x="275" y="107"/>
                  <a:pt x="276" y="107"/>
                </a:cubicBezTo>
                <a:cubicBezTo>
                  <a:pt x="276" y="107"/>
                  <a:pt x="277" y="106"/>
                  <a:pt x="277" y="106"/>
                </a:cubicBezTo>
                <a:cubicBezTo>
                  <a:pt x="278" y="106"/>
                  <a:pt x="278" y="107"/>
                  <a:pt x="278" y="107"/>
                </a:cubicBezTo>
                <a:cubicBezTo>
                  <a:pt x="280" y="107"/>
                  <a:pt x="280" y="108"/>
                  <a:pt x="281" y="108"/>
                </a:cubicBezTo>
                <a:cubicBezTo>
                  <a:pt x="282" y="108"/>
                  <a:pt x="283" y="108"/>
                  <a:pt x="284" y="108"/>
                </a:cubicBezTo>
                <a:cubicBezTo>
                  <a:pt x="284" y="109"/>
                  <a:pt x="285" y="108"/>
                  <a:pt x="286" y="109"/>
                </a:cubicBezTo>
                <a:cubicBezTo>
                  <a:pt x="288" y="109"/>
                  <a:pt x="290" y="109"/>
                  <a:pt x="292" y="109"/>
                </a:cubicBezTo>
                <a:cubicBezTo>
                  <a:pt x="293" y="109"/>
                  <a:pt x="295" y="109"/>
                  <a:pt x="296" y="108"/>
                </a:cubicBezTo>
                <a:cubicBezTo>
                  <a:pt x="298" y="108"/>
                  <a:pt x="295" y="110"/>
                  <a:pt x="295" y="110"/>
                </a:cubicBezTo>
                <a:cubicBezTo>
                  <a:pt x="295" y="110"/>
                  <a:pt x="294" y="110"/>
                  <a:pt x="294" y="110"/>
                </a:cubicBezTo>
                <a:cubicBezTo>
                  <a:pt x="293" y="110"/>
                  <a:pt x="293" y="110"/>
                  <a:pt x="292" y="110"/>
                </a:cubicBezTo>
                <a:cubicBezTo>
                  <a:pt x="292" y="110"/>
                  <a:pt x="291" y="110"/>
                  <a:pt x="291" y="110"/>
                </a:cubicBezTo>
                <a:cubicBezTo>
                  <a:pt x="290" y="110"/>
                  <a:pt x="291" y="111"/>
                  <a:pt x="291" y="111"/>
                </a:cubicBezTo>
                <a:cubicBezTo>
                  <a:pt x="291" y="111"/>
                  <a:pt x="291" y="110"/>
                  <a:pt x="290" y="110"/>
                </a:cubicBezTo>
                <a:cubicBezTo>
                  <a:pt x="290" y="110"/>
                  <a:pt x="289" y="110"/>
                  <a:pt x="290" y="111"/>
                </a:cubicBezTo>
                <a:cubicBezTo>
                  <a:pt x="289" y="111"/>
                  <a:pt x="288" y="111"/>
                  <a:pt x="288" y="111"/>
                </a:cubicBezTo>
                <a:cubicBezTo>
                  <a:pt x="288" y="111"/>
                  <a:pt x="291" y="111"/>
                  <a:pt x="290" y="112"/>
                </a:cubicBezTo>
                <a:cubicBezTo>
                  <a:pt x="289" y="112"/>
                  <a:pt x="288" y="111"/>
                  <a:pt x="287" y="111"/>
                </a:cubicBezTo>
                <a:cubicBezTo>
                  <a:pt x="287" y="111"/>
                  <a:pt x="288" y="111"/>
                  <a:pt x="288" y="112"/>
                </a:cubicBezTo>
                <a:cubicBezTo>
                  <a:pt x="288" y="112"/>
                  <a:pt x="287" y="112"/>
                  <a:pt x="287" y="112"/>
                </a:cubicBezTo>
                <a:cubicBezTo>
                  <a:pt x="286" y="112"/>
                  <a:pt x="284" y="112"/>
                  <a:pt x="283" y="112"/>
                </a:cubicBezTo>
                <a:cubicBezTo>
                  <a:pt x="284" y="112"/>
                  <a:pt x="284" y="112"/>
                  <a:pt x="285" y="112"/>
                </a:cubicBezTo>
                <a:cubicBezTo>
                  <a:pt x="285" y="113"/>
                  <a:pt x="285" y="113"/>
                  <a:pt x="284" y="113"/>
                </a:cubicBezTo>
                <a:cubicBezTo>
                  <a:pt x="284" y="113"/>
                  <a:pt x="285" y="113"/>
                  <a:pt x="285" y="113"/>
                </a:cubicBezTo>
                <a:cubicBezTo>
                  <a:pt x="284" y="114"/>
                  <a:pt x="283" y="115"/>
                  <a:pt x="282" y="114"/>
                </a:cubicBezTo>
                <a:cubicBezTo>
                  <a:pt x="282" y="113"/>
                  <a:pt x="282" y="114"/>
                  <a:pt x="281" y="114"/>
                </a:cubicBezTo>
                <a:cubicBezTo>
                  <a:pt x="281" y="114"/>
                  <a:pt x="280" y="113"/>
                  <a:pt x="280" y="113"/>
                </a:cubicBezTo>
                <a:cubicBezTo>
                  <a:pt x="280" y="113"/>
                  <a:pt x="282" y="115"/>
                  <a:pt x="281" y="115"/>
                </a:cubicBezTo>
                <a:cubicBezTo>
                  <a:pt x="281" y="115"/>
                  <a:pt x="280" y="115"/>
                  <a:pt x="279" y="115"/>
                </a:cubicBezTo>
                <a:cubicBezTo>
                  <a:pt x="279" y="115"/>
                  <a:pt x="278" y="116"/>
                  <a:pt x="278" y="115"/>
                </a:cubicBezTo>
                <a:cubicBezTo>
                  <a:pt x="278" y="115"/>
                  <a:pt x="278" y="115"/>
                  <a:pt x="277" y="115"/>
                </a:cubicBezTo>
                <a:cubicBezTo>
                  <a:pt x="277" y="115"/>
                  <a:pt x="277" y="115"/>
                  <a:pt x="277" y="115"/>
                </a:cubicBezTo>
                <a:cubicBezTo>
                  <a:pt x="276" y="115"/>
                  <a:pt x="277" y="115"/>
                  <a:pt x="277" y="116"/>
                </a:cubicBezTo>
                <a:cubicBezTo>
                  <a:pt x="278" y="116"/>
                  <a:pt x="276" y="116"/>
                  <a:pt x="276" y="116"/>
                </a:cubicBezTo>
                <a:cubicBezTo>
                  <a:pt x="276" y="116"/>
                  <a:pt x="277" y="116"/>
                  <a:pt x="277" y="116"/>
                </a:cubicBezTo>
                <a:cubicBezTo>
                  <a:pt x="276" y="117"/>
                  <a:pt x="276" y="117"/>
                  <a:pt x="275" y="117"/>
                </a:cubicBezTo>
                <a:cubicBezTo>
                  <a:pt x="274" y="116"/>
                  <a:pt x="273" y="116"/>
                  <a:pt x="272" y="117"/>
                </a:cubicBezTo>
                <a:cubicBezTo>
                  <a:pt x="273" y="117"/>
                  <a:pt x="274" y="117"/>
                  <a:pt x="274" y="117"/>
                </a:cubicBezTo>
                <a:cubicBezTo>
                  <a:pt x="274" y="118"/>
                  <a:pt x="273" y="117"/>
                  <a:pt x="273" y="118"/>
                </a:cubicBezTo>
                <a:cubicBezTo>
                  <a:pt x="273" y="118"/>
                  <a:pt x="273" y="118"/>
                  <a:pt x="273" y="118"/>
                </a:cubicBezTo>
                <a:cubicBezTo>
                  <a:pt x="273" y="118"/>
                  <a:pt x="272" y="118"/>
                  <a:pt x="272" y="118"/>
                </a:cubicBezTo>
                <a:cubicBezTo>
                  <a:pt x="272" y="118"/>
                  <a:pt x="272" y="118"/>
                  <a:pt x="272" y="119"/>
                </a:cubicBezTo>
                <a:cubicBezTo>
                  <a:pt x="272" y="119"/>
                  <a:pt x="271" y="119"/>
                  <a:pt x="271" y="118"/>
                </a:cubicBezTo>
                <a:cubicBezTo>
                  <a:pt x="271" y="118"/>
                  <a:pt x="270" y="118"/>
                  <a:pt x="270" y="118"/>
                </a:cubicBezTo>
                <a:cubicBezTo>
                  <a:pt x="270" y="118"/>
                  <a:pt x="270" y="118"/>
                  <a:pt x="269" y="118"/>
                </a:cubicBezTo>
                <a:cubicBezTo>
                  <a:pt x="269" y="118"/>
                  <a:pt x="270" y="118"/>
                  <a:pt x="270" y="119"/>
                </a:cubicBezTo>
                <a:cubicBezTo>
                  <a:pt x="270" y="119"/>
                  <a:pt x="269" y="119"/>
                  <a:pt x="269" y="119"/>
                </a:cubicBezTo>
                <a:cubicBezTo>
                  <a:pt x="269" y="119"/>
                  <a:pt x="270" y="119"/>
                  <a:pt x="270" y="119"/>
                </a:cubicBezTo>
                <a:cubicBezTo>
                  <a:pt x="270" y="119"/>
                  <a:pt x="268" y="119"/>
                  <a:pt x="268" y="120"/>
                </a:cubicBezTo>
                <a:cubicBezTo>
                  <a:pt x="268" y="120"/>
                  <a:pt x="269" y="120"/>
                  <a:pt x="269" y="120"/>
                </a:cubicBezTo>
                <a:cubicBezTo>
                  <a:pt x="269" y="120"/>
                  <a:pt x="268" y="120"/>
                  <a:pt x="267" y="120"/>
                </a:cubicBezTo>
                <a:cubicBezTo>
                  <a:pt x="267" y="120"/>
                  <a:pt x="268" y="120"/>
                  <a:pt x="267" y="120"/>
                </a:cubicBezTo>
                <a:cubicBezTo>
                  <a:pt x="267" y="121"/>
                  <a:pt x="267" y="121"/>
                  <a:pt x="266" y="121"/>
                </a:cubicBezTo>
                <a:cubicBezTo>
                  <a:pt x="266" y="121"/>
                  <a:pt x="264" y="121"/>
                  <a:pt x="264" y="121"/>
                </a:cubicBezTo>
                <a:cubicBezTo>
                  <a:pt x="263" y="121"/>
                  <a:pt x="264" y="121"/>
                  <a:pt x="263" y="122"/>
                </a:cubicBezTo>
                <a:cubicBezTo>
                  <a:pt x="263" y="122"/>
                  <a:pt x="263" y="122"/>
                  <a:pt x="262" y="122"/>
                </a:cubicBezTo>
                <a:cubicBezTo>
                  <a:pt x="262" y="122"/>
                  <a:pt x="262" y="122"/>
                  <a:pt x="261" y="122"/>
                </a:cubicBezTo>
                <a:cubicBezTo>
                  <a:pt x="261" y="122"/>
                  <a:pt x="260" y="122"/>
                  <a:pt x="260" y="122"/>
                </a:cubicBezTo>
                <a:cubicBezTo>
                  <a:pt x="260" y="122"/>
                  <a:pt x="260" y="122"/>
                  <a:pt x="260" y="122"/>
                </a:cubicBezTo>
                <a:cubicBezTo>
                  <a:pt x="259" y="122"/>
                  <a:pt x="259" y="122"/>
                  <a:pt x="258" y="122"/>
                </a:cubicBezTo>
                <a:cubicBezTo>
                  <a:pt x="257" y="123"/>
                  <a:pt x="257" y="122"/>
                  <a:pt x="256" y="123"/>
                </a:cubicBezTo>
                <a:cubicBezTo>
                  <a:pt x="256" y="123"/>
                  <a:pt x="256" y="123"/>
                  <a:pt x="256" y="123"/>
                </a:cubicBezTo>
                <a:cubicBezTo>
                  <a:pt x="256" y="123"/>
                  <a:pt x="254" y="123"/>
                  <a:pt x="255" y="123"/>
                </a:cubicBezTo>
                <a:cubicBezTo>
                  <a:pt x="254" y="123"/>
                  <a:pt x="253" y="123"/>
                  <a:pt x="253" y="123"/>
                </a:cubicBezTo>
                <a:cubicBezTo>
                  <a:pt x="253" y="124"/>
                  <a:pt x="253" y="124"/>
                  <a:pt x="253" y="124"/>
                </a:cubicBezTo>
                <a:cubicBezTo>
                  <a:pt x="253" y="124"/>
                  <a:pt x="252" y="124"/>
                  <a:pt x="252" y="124"/>
                </a:cubicBezTo>
                <a:cubicBezTo>
                  <a:pt x="251" y="123"/>
                  <a:pt x="251" y="123"/>
                  <a:pt x="251" y="123"/>
                </a:cubicBezTo>
                <a:cubicBezTo>
                  <a:pt x="250" y="123"/>
                  <a:pt x="251" y="124"/>
                  <a:pt x="250" y="124"/>
                </a:cubicBezTo>
                <a:cubicBezTo>
                  <a:pt x="250" y="124"/>
                  <a:pt x="249" y="124"/>
                  <a:pt x="248" y="124"/>
                </a:cubicBezTo>
                <a:cubicBezTo>
                  <a:pt x="249" y="124"/>
                  <a:pt x="248" y="124"/>
                  <a:pt x="248" y="124"/>
                </a:cubicBezTo>
                <a:cubicBezTo>
                  <a:pt x="247" y="124"/>
                  <a:pt x="246" y="124"/>
                  <a:pt x="246" y="125"/>
                </a:cubicBezTo>
                <a:cubicBezTo>
                  <a:pt x="246" y="125"/>
                  <a:pt x="245" y="125"/>
                  <a:pt x="245" y="125"/>
                </a:cubicBezTo>
                <a:cubicBezTo>
                  <a:pt x="245" y="125"/>
                  <a:pt x="244" y="125"/>
                  <a:pt x="244" y="125"/>
                </a:cubicBezTo>
                <a:cubicBezTo>
                  <a:pt x="244" y="125"/>
                  <a:pt x="244" y="125"/>
                  <a:pt x="244" y="125"/>
                </a:cubicBezTo>
                <a:cubicBezTo>
                  <a:pt x="243" y="125"/>
                  <a:pt x="243" y="125"/>
                  <a:pt x="243" y="125"/>
                </a:cubicBezTo>
                <a:cubicBezTo>
                  <a:pt x="243" y="125"/>
                  <a:pt x="242" y="125"/>
                  <a:pt x="242" y="125"/>
                </a:cubicBezTo>
                <a:cubicBezTo>
                  <a:pt x="241" y="125"/>
                  <a:pt x="243" y="125"/>
                  <a:pt x="242" y="126"/>
                </a:cubicBezTo>
                <a:cubicBezTo>
                  <a:pt x="241" y="126"/>
                  <a:pt x="241" y="125"/>
                  <a:pt x="241" y="125"/>
                </a:cubicBezTo>
                <a:cubicBezTo>
                  <a:pt x="240" y="125"/>
                  <a:pt x="241" y="126"/>
                  <a:pt x="240" y="126"/>
                </a:cubicBezTo>
                <a:cubicBezTo>
                  <a:pt x="240" y="126"/>
                  <a:pt x="240" y="126"/>
                  <a:pt x="240" y="126"/>
                </a:cubicBezTo>
                <a:cubicBezTo>
                  <a:pt x="240" y="126"/>
                  <a:pt x="240" y="126"/>
                  <a:pt x="240" y="126"/>
                </a:cubicBezTo>
                <a:cubicBezTo>
                  <a:pt x="240" y="126"/>
                  <a:pt x="238" y="126"/>
                  <a:pt x="239" y="126"/>
                </a:cubicBezTo>
                <a:cubicBezTo>
                  <a:pt x="238" y="126"/>
                  <a:pt x="237" y="126"/>
                  <a:pt x="238" y="125"/>
                </a:cubicBezTo>
                <a:cubicBezTo>
                  <a:pt x="238" y="125"/>
                  <a:pt x="237" y="124"/>
                  <a:pt x="237" y="124"/>
                </a:cubicBezTo>
                <a:cubicBezTo>
                  <a:pt x="237" y="125"/>
                  <a:pt x="236" y="125"/>
                  <a:pt x="236" y="125"/>
                </a:cubicBezTo>
                <a:cubicBezTo>
                  <a:pt x="235" y="126"/>
                  <a:pt x="236" y="126"/>
                  <a:pt x="236" y="126"/>
                </a:cubicBezTo>
                <a:cubicBezTo>
                  <a:pt x="236" y="126"/>
                  <a:pt x="234" y="126"/>
                  <a:pt x="234" y="126"/>
                </a:cubicBezTo>
                <a:cubicBezTo>
                  <a:pt x="234" y="126"/>
                  <a:pt x="235" y="126"/>
                  <a:pt x="235" y="127"/>
                </a:cubicBezTo>
                <a:cubicBezTo>
                  <a:pt x="235" y="127"/>
                  <a:pt x="234" y="127"/>
                  <a:pt x="233" y="127"/>
                </a:cubicBezTo>
                <a:cubicBezTo>
                  <a:pt x="232" y="127"/>
                  <a:pt x="233" y="127"/>
                  <a:pt x="233" y="126"/>
                </a:cubicBezTo>
                <a:cubicBezTo>
                  <a:pt x="233" y="126"/>
                  <a:pt x="230" y="126"/>
                  <a:pt x="230" y="126"/>
                </a:cubicBezTo>
                <a:cubicBezTo>
                  <a:pt x="231" y="126"/>
                  <a:pt x="231" y="126"/>
                  <a:pt x="232" y="127"/>
                </a:cubicBezTo>
                <a:cubicBezTo>
                  <a:pt x="232" y="127"/>
                  <a:pt x="232" y="127"/>
                  <a:pt x="232" y="128"/>
                </a:cubicBezTo>
                <a:cubicBezTo>
                  <a:pt x="232" y="128"/>
                  <a:pt x="231" y="128"/>
                  <a:pt x="231" y="128"/>
                </a:cubicBezTo>
                <a:cubicBezTo>
                  <a:pt x="230" y="127"/>
                  <a:pt x="230" y="128"/>
                  <a:pt x="229" y="128"/>
                </a:cubicBezTo>
                <a:cubicBezTo>
                  <a:pt x="229" y="128"/>
                  <a:pt x="228" y="128"/>
                  <a:pt x="228" y="128"/>
                </a:cubicBezTo>
                <a:cubicBezTo>
                  <a:pt x="228" y="128"/>
                  <a:pt x="225" y="128"/>
                  <a:pt x="225" y="127"/>
                </a:cubicBezTo>
                <a:cubicBezTo>
                  <a:pt x="225" y="127"/>
                  <a:pt x="226" y="127"/>
                  <a:pt x="226" y="127"/>
                </a:cubicBezTo>
                <a:cubicBezTo>
                  <a:pt x="226" y="127"/>
                  <a:pt x="225" y="127"/>
                  <a:pt x="225" y="127"/>
                </a:cubicBezTo>
                <a:cubicBezTo>
                  <a:pt x="225" y="127"/>
                  <a:pt x="225" y="127"/>
                  <a:pt x="225" y="127"/>
                </a:cubicBezTo>
                <a:cubicBezTo>
                  <a:pt x="225" y="128"/>
                  <a:pt x="224" y="128"/>
                  <a:pt x="224" y="127"/>
                </a:cubicBezTo>
                <a:cubicBezTo>
                  <a:pt x="223" y="127"/>
                  <a:pt x="224" y="127"/>
                  <a:pt x="223" y="126"/>
                </a:cubicBezTo>
                <a:cubicBezTo>
                  <a:pt x="224" y="126"/>
                  <a:pt x="224" y="126"/>
                  <a:pt x="225" y="126"/>
                </a:cubicBezTo>
                <a:cubicBezTo>
                  <a:pt x="224" y="126"/>
                  <a:pt x="223" y="126"/>
                  <a:pt x="222" y="126"/>
                </a:cubicBezTo>
                <a:cubicBezTo>
                  <a:pt x="221" y="126"/>
                  <a:pt x="221" y="125"/>
                  <a:pt x="221" y="125"/>
                </a:cubicBezTo>
                <a:cubicBezTo>
                  <a:pt x="221" y="124"/>
                  <a:pt x="221" y="124"/>
                  <a:pt x="221" y="124"/>
                </a:cubicBezTo>
                <a:cubicBezTo>
                  <a:pt x="221" y="124"/>
                  <a:pt x="221" y="124"/>
                  <a:pt x="220" y="124"/>
                </a:cubicBezTo>
                <a:cubicBezTo>
                  <a:pt x="220" y="124"/>
                  <a:pt x="220" y="124"/>
                  <a:pt x="220" y="124"/>
                </a:cubicBezTo>
                <a:cubicBezTo>
                  <a:pt x="220" y="123"/>
                  <a:pt x="220" y="123"/>
                  <a:pt x="220" y="122"/>
                </a:cubicBezTo>
                <a:cubicBezTo>
                  <a:pt x="219" y="122"/>
                  <a:pt x="219" y="123"/>
                  <a:pt x="220" y="123"/>
                </a:cubicBezTo>
                <a:cubicBezTo>
                  <a:pt x="219" y="124"/>
                  <a:pt x="219" y="124"/>
                  <a:pt x="218" y="124"/>
                </a:cubicBezTo>
                <a:cubicBezTo>
                  <a:pt x="218" y="125"/>
                  <a:pt x="219" y="125"/>
                  <a:pt x="220" y="125"/>
                </a:cubicBezTo>
                <a:cubicBezTo>
                  <a:pt x="220" y="125"/>
                  <a:pt x="221" y="126"/>
                  <a:pt x="221" y="126"/>
                </a:cubicBezTo>
                <a:cubicBezTo>
                  <a:pt x="220" y="127"/>
                  <a:pt x="220" y="126"/>
                  <a:pt x="219" y="126"/>
                </a:cubicBezTo>
                <a:cubicBezTo>
                  <a:pt x="219" y="126"/>
                  <a:pt x="218" y="126"/>
                  <a:pt x="218" y="126"/>
                </a:cubicBezTo>
                <a:cubicBezTo>
                  <a:pt x="218" y="127"/>
                  <a:pt x="219" y="126"/>
                  <a:pt x="219" y="126"/>
                </a:cubicBezTo>
                <a:cubicBezTo>
                  <a:pt x="220" y="127"/>
                  <a:pt x="220" y="127"/>
                  <a:pt x="220" y="127"/>
                </a:cubicBezTo>
                <a:cubicBezTo>
                  <a:pt x="220" y="127"/>
                  <a:pt x="221" y="127"/>
                  <a:pt x="221" y="127"/>
                </a:cubicBezTo>
                <a:cubicBezTo>
                  <a:pt x="221" y="127"/>
                  <a:pt x="221" y="128"/>
                  <a:pt x="220" y="128"/>
                </a:cubicBezTo>
                <a:cubicBezTo>
                  <a:pt x="220" y="128"/>
                  <a:pt x="220" y="128"/>
                  <a:pt x="220" y="128"/>
                </a:cubicBezTo>
                <a:cubicBezTo>
                  <a:pt x="220" y="128"/>
                  <a:pt x="220" y="128"/>
                  <a:pt x="220" y="128"/>
                </a:cubicBezTo>
                <a:cubicBezTo>
                  <a:pt x="220" y="129"/>
                  <a:pt x="220" y="129"/>
                  <a:pt x="220" y="129"/>
                </a:cubicBezTo>
                <a:cubicBezTo>
                  <a:pt x="220" y="129"/>
                  <a:pt x="219" y="129"/>
                  <a:pt x="219" y="130"/>
                </a:cubicBezTo>
                <a:cubicBezTo>
                  <a:pt x="219" y="130"/>
                  <a:pt x="218" y="129"/>
                  <a:pt x="217" y="129"/>
                </a:cubicBezTo>
                <a:cubicBezTo>
                  <a:pt x="217" y="129"/>
                  <a:pt x="217" y="129"/>
                  <a:pt x="216" y="130"/>
                </a:cubicBezTo>
                <a:cubicBezTo>
                  <a:pt x="216" y="130"/>
                  <a:pt x="216" y="130"/>
                  <a:pt x="216" y="130"/>
                </a:cubicBezTo>
                <a:cubicBezTo>
                  <a:pt x="215" y="130"/>
                  <a:pt x="215" y="130"/>
                  <a:pt x="214" y="131"/>
                </a:cubicBezTo>
                <a:cubicBezTo>
                  <a:pt x="214" y="131"/>
                  <a:pt x="213" y="131"/>
                  <a:pt x="212" y="131"/>
                </a:cubicBezTo>
                <a:cubicBezTo>
                  <a:pt x="212" y="131"/>
                  <a:pt x="211" y="131"/>
                  <a:pt x="211" y="131"/>
                </a:cubicBezTo>
                <a:cubicBezTo>
                  <a:pt x="211" y="131"/>
                  <a:pt x="211" y="131"/>
                  <a:pt x="211" y="132"/>
                </a:cubicBezTo>
                <a:cubicBezTo>
                  <a:pt x="211" y="132"/>
                  <a:pt x="212" y="132"/>
                  <a:pt x="211" y="132"/>
                </a:cubicBezTo>
                <a:cubicBezTo>
                  <a:pt x="211" y="132"/>
                  <a:pt x="210" y="133"/>
                  <a:pt x="210" y="132"/>
                </a:cubicBezTo>
                <a:cubicBezTo>
                  <a:pt x="210" y="132"/>
                  <a:pt x="209" y="132"/>
                  <a:pt x="209" y="133"/>
                </a:cubicBezTo>
                <a:cubicBezTo>
                  <a:pt x="209" y="133"/>
                  <a:pt x="210" y="133"/>
                  <a:pt x="210" y="133"/>
                </a:cubicBezTo>
                <a:cubicBezTo>
                  <a:pt x="210" y="133"/>
                  <a:pt x="209" y="133"/>
                  <a:pt x="209" y="134"/>
                </a:cubicBezTo>
                <a:cubicBezTo>
                  <a:pt x="209" y="134"/>
                  <a:pt x="210" y="134"/>
                  <a:pt x="209" y="134"/>
                </a:cubicBezTo>
                <a:cubicBezTo>
                  <a:pt x="209" y="134"/>
                  <a:pt x="209" y="134"/>
                  <a:pt x="208" y="134"/>
                </a:cubicBezTo>
                <a:cubicBezTo>
                  <a:pt x="208" y="134"/>
                  <a:pt x="207" y="134"/>
                  <a:pt x="207" y="134"/>
                </a:cubicBezTo>
                <a:cubicBezTo>
                  <a:pt x="207" y="135"/>
                  <a:pt x="208" y="134"/>
                  <a:pt x="208" y="134"/>
                </a:cubicBezTo>
                <a:cubicBezTo>
                  <a:pt x="208" y="135"/>
                  <a:pt x="208" y="135"/>
                  <a:pt x="208" y="135"/>
                </a:cubicBezTo>
                <a:cubicBezTo>
                  <a:pt x="208" y="136"/>
                  <a:pt x="207" y="135"/>
                  <a:pt x="206" y="136"/>
                </a:cubicBezTo>
                <a:cubicBezTo>
                  <a:pt x="206" y="136"/>
                  <a:pt x="207" y="136"/>
                  <a:pt x="207" y="136"/>
                </a:cubicBezTo>
                <a:cubicBezTo>
                  <a:pt x="207" y="136"/>
                  <a:pt x="206" y="136"/>
                  <a:pt x="207" y="136"/>
                </a:cubicBezTo>
                <a:cubicBezTo>
                  <a:pt x="207" y="136"/>
                  <a:pt x="206" y="137"/>
                  <a:pt x="206" y="137"/>
                </a:cubicBezTo>
                <a:cubicBezTo>
                  <a:pt x="206" y="137"/>
                  <a:pt x="206" y="137"/>
                  <a:pt x="205" y="137"/>
                </a:cubicBezTo>
                <a:cubicBezTo>
                  <a:pt x="205" y="137"/>
                  <a:pt x="204" y="137"/>
                  <a:pt x="204" y="137"/>
                </a:cubicBezTo>
                <a:cubicBezTo>
                  <a:pt x="204" y="138"/>
                  <a:pt x="205" y="137"/>
                  <a:pt x="205" y="138"/>
                </a:cubicBezTo>
                <a:cubicBezTo>
                  <a:pt x="205" y="138"/>
                  <a:pt x="203" y="138"/>
                  <a:pt x="203" y="138"/>
                </a:cubicBezTo>
                <a:cubicBezTo>
                  <a:pt x="203" y="138"/>
                  <a:pt x="203" y="138"/>
                  <a:pt x="204" y="138"/>
                </a:cubicBezTo>
                <a:cubicBezTo>
                  <a:pt x="203" y="138"/>
                  <a:pt x="203" y="138"/>
                  <a:pt x="203" y="138"/>
                </a:cubicBezTo>
                <a:cubicBezTo>
                  <a:pt x="203" y="139"/>
                  <a:pt x="201" y="140"/>
                  <a:pt x="203" y="140"/>
                </a:cubicBezTo>
                <a:cubicBezTo>
                  <a:pt x="202" y="140"/>
                  <a:pt x="202" y="140"/>
                  <a:pt x="202" y="140"/>
                </a:cubicBezTo>
                <a:cubicBezTo>
                  <a:pt x="202" y="140"/>
                  <a:pt x="202" y="140"/>
                  <a:pt x="202" y="140"/>
                </a:cubicBezTo>
                <a:cubicBezTo>
                  <a:pt x="201" y="140"/>
                  <a:pt x="202" y="140"/>
                  <a:pt x="202" y="140"/>
                </a:cubicBezTo>
                <a:cubicBezTo>
                  <a:pt x="202" y="140"/>
                  <a:pt x="201" y="140"/>
                  <a:pt x="201" y="140"/>
                </a:cubicBezTo>
                <a:cubicBezTo>
                  <a:pt x="201" y="140"/>
                  <a:pt x="201" y="141"/>
                  <a:pt x="201" y="140"/>
                </a:cubicBezTo>
                <a:cubicBezTo>
                  <a:pt x="201" y="141"/>
                  <a:pt x="200" y="142"/>
                  <a:pt x="199" y="142"/>
                </a:cubicBezTo>
                <a:cubicBezTo>
                  <a:pt x="199" y="141"/>
                  <a:pt x="200" y="141"/>
                  <a:pt x="200" y="141"/>
                </a:cubicBezTo>
                <a:cubicBezTo>
                  <a:pt x="200" y="141"/>
                  <a:pt x="199" y="142"/>
                  <a:pt x="199" y="141"/>
                </a:cubicBezTo>
                <a:cubicBezTo>
                  <a:pt x="198" y="141"/>
                  <a:pt x="199" y="140"/>
                  <a:pt x="199" y="140"/>
                </a:cubicBezTo>
                <a:cubicBezTo>
                  <a:pt x="199" y="140"/>
                  <a:pt x="198" y="141"/>
                  <a:pt x="198" y="141"/>
                </a:cubicBezTo>
                <a:cubicBezTo>
                  <a:pt x="199" y="141"/>
                  <a:pt x="197" y="141"/>
                  <a:pt x="198" y="142"/>
                </a:cubicBezTo>
                <a:cubicBezTo>
                  <a:pt x="198" y="142"/>
                  <a:pt x="199" y="142"/>
                  <a:pt x="198" y="142"/>
                </a:cubicBezTo>
                <a:cubicBezTo>
                  <a:pt x="198" y="142"/>
                  <a:pt x="197" y="142"/>
                  <a:pt x="197" y="143"/>
                </a:cubicBezTo>
                <a:cubicBezTo>
                  <a:pt x="197" y="143"/>
                  <a:pt x="196" y="143"/>
                  <a:pt x="196" y="143"/>
                </a:cubicBezTo>
                <a:cubicBezTo>
                  <a:pt x="196" y="143"/>
                  <a:pt x="196" y="143"/>
                  <a:pt x="196" y="143"/>
                </a:cubicBezTo>
                <a:cubicBezTo>
                  <a:pt x="196" y="144"/>
                  <a:pt x="195" y="144"/>
                  <a:pt x="195" y="144"/>
                </a:cubicBezTo>
                <a:cubicBezTo>
                  <a:pt x="195" y="144"/>
                  <a:pt x="195" y="144"/>
                  <a:pt x="194" y="144"/>
                </a:cubicBezTo>
                <a:cubicBezTo>
                  <a:pt x="194" y="144"/>
                  <a:pt x="194" y="144"/>
                  <a:pt x="195" y="144"/>
                </a:cubicBezTo>
                <a:cubicBezTo>
                  <a:pt x="194" y="144"/>
                  <a:pt x="194" y="144"/>
                  <a:pt x="194" y="144"/>
                </a:cubicBezTo>
                <a:cubicBezTo>
                  <a:pt x="194" y="145"/>
                  <a:pt x="193" y="144"/>
                  <a:pt x="193" y="144"/>
                </a:cubicBezTo>
                <a:cubicBezTo>
                  <a:pt x="192" y="144"/>
                  <a:pt x="193" y="144"/>
                  <a:pt x="193" y="143"/>
                </a:cubicBezTo>
                <a:cubicBezTo>
                  <a:pt x="193" y="143"/>
                  <a:pt x="192" y="144"/>
                  <a:pt x="192" y="144"/>
                </a:cubicBezTo>
                <a:cubicBezTo>
                  <a:pt x="192" y="144"/>
                  <a:pt x="193" y="145"/>
                  <a:pt x="192" y="145"/>
                </a:cubicBezTo>
                <a:cubicBezTo>
                  <a:pt x="192" y="145"/>
                  <a:pt x="191" y="145"/>
                  <a:pt x="191" y="145"/>
                </a:cubicBezTo>
                <a:cubicBezTo>
                  <a:pt x="190" y="145"/>
                  <a:pt x="190" y="144"/>
                  <a:pt x="190" y="144"/>
                </a:cubicBezTo>
                <a:cubicBezTo>
                  <a:pt x="189" y="144"/>
                  <a:pt x="189" y="145"/>
                  <a:pt x="189" y="144"/>
                </a:cubicBezTo>
                <a:cubicBezTo>
                  <a:pt x="188" y="144"/>
                  <a:pt x="188" y="143"/>
                  <a:pt x="188" y="143"/>
                </a:cubicBezTo>
                <a:cubicBezTo>
                  <a:pt x="188" y="143"/>
                  <a:pt x="187" y="143"/>
                  <a:pt x="187" y="143"/>
                </a:cubicBezTo>
                <a:cubicBezTo>
                  <a:pt x="188" y="144"/>
                  <a:pt x="189" y="144"/>
                  <a:pt x="188" y="145"/>
                </a:cubicBezTo>
                <a:cubicBezTo>
                  <a:pt x="188" y="145"/>
                  <a:pt x="188" y="145"/>
                  <a:pt x="189" y="145"/>
                </a:cubicBezTo>
                <a:cubicBezTo>
                  <a:pt x="188" y="145"/>
                  <a:pt x="188" y="145"/>
                  <a:pt x="188" y="145"/>
                </a:cubicBezTo>
                <a:cubicBezTo>
                  <a:pt x="188" y="145"/>
                  <a:pt x="189" y="146"/>
                  <a:pt x="188" y="146"/>
                </a:cubicBezTo>
                <a:cubicBezTo>
                  <a:pt x="188" y="146"/>
                  <a:pt x="188" y="145"/>
                  <a:pt x="187" y="145"/>
                </a:cubicBezTo>
                <a:cubicBezTo>
                  <a:pt x="188" y="146"/>
                  <a:pt x="186" y="146"/>
                  <a:pt x="186" y="146"/>
                </a:cubicBezTo>
                <a:cubicBezTo>
                  <a:pt x="186" y="146"/>
                  <a:pt x="187" y="146"/>
                  <a:pt x="187" y="146"/>
                </a:cubicBezTo>
                <a:cubicBezTo>
                  <a:pt x="187" y="146"/>
                  <a:pt x="185" y="146"/>
                  <a:pt x="186" y="147"/>
                </a:cubicBezTo>
                <a:cubicBezTo>
                  <a:pt x="186" y="147"/>
                  <a:pt x="186" y="147"/>
                  <a:pt x="185" y="147"/>
                </a:cubicBezTo>
                <a:cubicBezTo>
                  <a:pt x="185" y="147"/>
                  <a:pt x="185" y="147"/>
                  <a:pt x="184" y="147"/>
                </a:cubicBezTo>
                <a:cubicBezTo>
                  <a:pt x="184" y="148"/>
                  <a:pt x="183" y="148"/>
                  <a:pt x="183" y="147"/>
                </a:cubicBezTo>
                <a:cubicBezTo>
                  <a:pt x="183" y="148"/>
                  <a:pt x="183" y="147"/>
                  <a:pt x="183" y="147"/>
                </a:cubicBezTo>
                <a:cubicBezTo>
                  <a:pt x="183" y="147"/>
                  <a:pt x="182" y="147"/>
                  <a:pt x="182" y="148"/>
                </a:cubicBezTo>
                <a:cubicBezTo>
                  <a:pt x="182" y="148"/>
                  <a:pt x="182" y="148"/>
                  <a:pt x="182" y="148"/>
                </a:cubicBezTo>
                <a:cubicBezTo>
                  <a:pt x="181" y="148"/>
                  <a:pt x="182" y="147"/>
                  <a:pt x="182" y="146"/>
                </a:cubicBezTo>
                <a:cubicBezTo>
                  <a:pt x="182" y="146"/>
                  <a:pt x="181" y="146"/>
                  <a:pt x="181" y="147"/>
                </a:cubicBezTo>
                <a:cubicBezTo>
                  <a:pt x="181" y="147"/>
                  <a:pt x="181" y="147"/>
                  <a:pt x="181" y="147"/>
                </a:cubicBezTo>
                <a:cubicBezTo>
                  <a:pt x="181" y="147"/>
                  <a:pt x="181" y="147"/>
                  <a:pt x="180" y="148"/>
                </a:cubicBezTo>
                <a:cubicBezTo>
                  <a:pt x="180" y="148"/>
                  <a:pt x="178" y="148"/>
                  <a:pt x="178" y="148"/>
                </a:cubicBezTo>
                <a:cubicBezTo>
                  <a:pt x="178" y="148"/>
                  <a:pt x="178" y="148"/>
                  <a:pt x="178" y="148"/>
                </a:cubicBezTo>
                <a:cubicBezTo>
                  <a:pt x="178" y="148"/>
                  <a:pt x="177" y="149"/>
                  <a:pt x="177" y="149"/>
                </a:cubicBezTo>
                <a:cubicBezTo>
                  <a:pt x="177" y="148"/>
                  <a:pt x="177" y="148"/>
                  <a:pt x="177" y="148"/>
                </a:cubicBezTo>
                <a:cubicBezTo>
                  <a:pt x="177" y="147"/>
                  <a:pt x="177" y="147"/>
                  <a:pt x="177" y="147"/>
                </a:cubicBezTo>
                <a:cubicBezTo>
                  <a:pt x="177" y="147"/>
                  <a:pt x="177" y="147"/>
                  <a:pt x="177" y="147"/>
                </a:cubicBezTo>
                <a:cubicBezTo>
                  <a:pt x="176" y="147"/>
                  <a:pt x="176" y="147"/>
                  <a:pt x="176" y="148"/>
                </a:cubicBezTo>
                <a:cubicBezTo>
                  <a:pt x="176" y="148"/>
                  <a:pt x="176" y="148"/>
                  <a:pt x="175" y="148"/>
                </a:cubicBezTo>
                <a:cubicBezTo>
                  <a:pt x="176" y="148"/>
                  <a:pt x="176" y="148"/>
                  <a:pt x="176" y="149"/>
                </a:cubicBezTo>
                <a:cubicBezTo>
                  <a:pt x="176" y="150"/>
                  <a:pt x="175" y="149"/>
                  <a:pt x="175" y="149"/>
                </a:cubicBezTo>
                <a:cubicBezTo>
                  <a:pt x="175" y="149"/>
                  <a:pt x="175" y="149"/>
                  <a:pt x="175" y="149"/>
                </a:cubicBezTo>
                <a:cubicBezTo>
                  <a:pt x="175" y="150"/>
                  <a:pt x="174" y="149"/>
                  <a:pt x="173" y="148"/>
                </a:cubicBezTo>
                <a:cubicBezTo>
                  <a:pt x="172" y="148"/>
                  <a:pt x="172" y="148"/>
                  <a:pt x="171" y="148"/>
                </a:cubicBezTo>
                <a:cubicBezTo>
                  <a:pt x="171" y="148"/>
                  <a:pt x="172" y="148"/>
                  <a:pt x="172" y="147"/>
                </a:cubicBezTo>
                <a:cubicBezTo>
                  <a:pt x="171" y="147"/>
                  <a:pt x="172" y="147"/>
                  <a:pt x="173" y="147"/>
                </a:cubicBezTo>
                <a:cubicBezTo>
                  <a:pt x="173" y="147"/>
                  <a:pt x="174" y="146"/>
                  <a:pt x="174" y="146"/>
                </a:cubicBezTo>
                <a:cubicBezTo>
                  <a:pt x="174" y="145"/>
                  <a:pt x="176" y="145"/>
                  <a:pt x="176" y="145"/>
                </a:cubicBezTo>
                <a:cubicBezTo>
                  <a:pt x="176" y="144"/>
                  <a:pt x="177" y="144"/>
                  <a:pt x="177" y="144"/>
                </a:cubicBezTo>
                <a:cubicBezTo>
                  <a:pt x="178" y="144"/>
                  <a:pt x="176" y="144"/>
                  <a:pt x="176" y="144"/>
                </a:cubicBezTo>
                <a:cubicBezTo>
                  <a:pt x="176" y="144"/>
                  <a:pt x="176" y="144"/>
                  <a:pt x="175" y="144"/>
                </a:cubicBezTo>
                <a:cubicBezTo>
                  <a:pt x="175" y="144"/>
                  <a:pt x="175" y="144"/>
                  <a:pt x="174" y="144"/>
                </a:cubicBezTo>
                <a:cubicBezTo>
                  <a:pt x="174" y="144"/>
                  <a:pt x="173" y="144"/>
                  <a:pt x="173" y="143"/>
                </a:cubicBezTo>
                <a:cubicBezTo>
                  <a:pt x="173" y="143"/>
                  <a:pt x="173" y="144"/>
                  <a:pt x="172" y="144"/>
                </a:cubicBezTo>
                <a:cubicBezTo>
                  <a:pt x="172" y="143"/>
                  <a:pt x="171" y="143"/>
                  <a:pt x="170" y="144"/>
                </a:cubicBezTo>
                <a:cubicBezTo>
                  <a:pt x="171" y="144"/>
                  <a:pt x="172" y="144"/>
                  <a:pt x="173" y="144"/>
                </a:cubicBezTo>
                <a:cubicBezTo>
                  <a:pt x="174" y="145"/>
                  <a:pt x="173" y="145"/>
                  <a:pt x="172" y="145"/>
                </a:cubicBezTo>
                <a:cubicBezTo>
                  <a:pt x="173" y="145"/>
                  <a:pt x="171" y="145"/>
                  <a:pt x="171" y="145"/>
                </a:cubicBezTo>
                <a:cubicBezTo>
                  <a:pt x="171" y="145"/>
                  <a:pt x="172" y="145"/>
                  <a:pt x="172" y="145"/>
                </a:cubicBezTo>
                <a:cubicBezTo>
                  <a:pt x="172" y="146"/>
                  <a:pt x="171" y="146"/>
                  <a:pt x="171" y="146"/>
                </a:cubicBezTo>
                <a:cubicBezTo>
                  <a:pt x="170" y="146"/>
                  <a:pt x="170" y="146"/>
                  <a:pt x="170" y="146"/>
                </a:cubicBezTo>
                <a:cubicBezTo>
                  <a:pt x="170" y="146"/>
                  <a:pt x="171" y="146"/>
                  <a:pt x="171" y="146"/>
                </a:cubicBezTo>
                <a:cubicBezTo>
                  <a:pt x="171" y="146"/>
                  <a:pt x="170" y="148"/>
                  <a:pt x="170" y="148"/>
                </a:cubicBezTo>
                <a:cubicBezTo>
                  <a:pt x="170" y="148"/>
                  <a:pt x="169" y="148"/>
                  <a:pt x="169" y="148"/>
                </a:cubicBezTo>
                <a:cubicBezTo>
                  <a:pt x="169" y="148"/>
                  <a:pt x="168" y="147"/>
                  <a:pt x="169" y="148"/>
                </a:cubicBezTo>
                <a:cubicBezTo>
                  <a:pt x="169" y="148"/>
                  <a:pt x="168" y="148"/>
                  <a:pt x="168" y="148"/>
                </a:cubicBezTo>
                <a:cubicBezTo>
                  <a:pt x="167" y="148"/>
                  <a:pt x="168" y="147"/>
                  <a:pt x="167" y="147"/>
                </a:cubicBezTo>
                <a:cubicBezTo>
                  <a:pt x="167" y="147"/>
                  <a:pt x="166" y="148"/>
                  <a:pt x="167" y="148"/>
                </a:cubicBezTo>
                <a:cubicBezTo>
                  <a:pt x="167" y="148"/>
                  <a:pt x="169" y="149"/>
                  <a:pt x="169" y="149"/>
                </a:cubicBezTo>
                <a:cubicBezTo>
                  <a:pt x="168" y="150"/>
                  <a:pt x="168" y="149"/>
                  <a:pt x="168" y="150"/>
                </a:cubicBezTo>
                <a:cubicBezTo>
                  <a:pt x="168" y="150"/>
                  <a:pt x="168" y="150"/>
                  <a:pt x="167" y="150"/>
                </a:cubicBezTo>
                <a:cubicBezTo>
                  <a:pt x="167" y="150"/>
                  <a:pt x="168" y="151"/>
                  <a:pt x="167" y="151"/>
                </a:cubicBezTo>
                <a:cubicBezTo>
                  <a:pt x="167" y="151"/>
                  <a:pt x="166" y="150"/>
                  <a:pt x="166" y="151"/>
                </a:cubicBezTo>
                <a:cubicBezTo>
                  <a:pt x="166" y="151"/>
                  <a:pt x="165" y="151"/>
                  <a:pt x="165" y="151"/>
                </a:cubicBezTo>
                <a:cubicBezTo>
                  <a:pt x="165" y="151"/>
                  <a:pt x="166" y="150"/>
                  <a:pt x="166" y="150"/>
                </a:cubicBezTo>
                <a:cubicBezTo>
                  <a:pt x="165" y="150"/>
                  <a:pt x="165" y="150"/>
                  <a:pt x="165" y="150"/>
                </a:cubicBezTo>
                <a:cubicBezTo>
                  <a:pt x="165" y="150"/>
                  <a:pt x="165" y="151"/>
                  <a:pt x="165" y="150"/>
                </a:cubicBezTo>
                <a:cubicBezTo>
                  <a:pt x="165" y="150"/>
                  <a:pt x="164" y="150"/>
                  <a:pt x="164" y="150"/>
                </a:cubicBezTo>
                <a:cubicBezTo>
                  <a:pt x="164" y="150"/>
                  <a:pt x="163" y="150"/>
                  <a:pt x="163" y="151"/>
                </a:cubicBezTo>
                <a:cubicBezTo>
                  <a:pt x="163" y="151"/>
                  <a:pt x="165" y="151"/>
                  <a:pt x="164" y="151"/>
                </a:cubicBezTo>
                <a:cubicBezTo>
                  <a:pt x="164" y="152"/>
                  <a:pt x="163" y="151"/>
                  <a:pt x="162" y="151"/>
                </a:cubicBezTo>
                <a:cubicBezTo>
                  <a:pt x="162" y="151"/>
                  <a:pt x="161" y="151"/>
                  <a:pt x="161" y="152"/>
                </a:cubicBezTo>
                <a:cubicBezTo>
                  <a:pt x="161" y="151"/>
                  <a:pt x="161" y="151"/>
                  <a:pt x="160" y="150"/>
                </a:cubicBezTo>
                <a:cubicBezTo>
                  <a:pt x="160" y="150"/>
                  <a:pt x="159" y="150"/>
                  <a:pt x="159" y="150"/>
                </a:cubicBezTo>
                <a:cubicBezTo>
                  <a:pt x="159" y="150"/>
                  <a:pt x="160" y="151"/>
                  <a:pt x="160" y="151"/>
                </a:cubicBezTo>
                <a:cubicBezTo>
                  <a:pt x="160" y="151"/>
                  <a:pt x="160" y="151"/>
                  <a:pt x="159" y="151"/>
                </a:cubicBezTo>
                <a:cubicBezTo>
                  <a:pt x="159" y="151"/>
                  <a:pt x="159" y="152"/>
                  <a:pt x="159" y="152"/>
                </a:cubicBezTo>
                <a:cubicBezTo>
                  <a:pt x="159" y="151"/>
                  <a:pt x="159" y="151"/>
                  <a:pt x="159" y="151"/>
                </a:cubicBezTo>
                <a:cubicBezTo>
                  <a:pt x="159" y="151"/>
                  <a:pt x="159" y="152"/>
                  <a:pt x="158" y="152"/>
                </a:cubicBezTo>
                <a:cubicBezTo>
                  <a:pt x="158" y="152"/>
                  <a:pt x="157" y="151"/>
                  <a:pt x="158" y="151"/>
                </a:cubicBezTo>
                <a:cubicBezTo>
                  <a:pt x="158" y="151"/>
                  <a:pt x="156" y="150"/>
                  <a:pt x="157" y="151"/>
                </a:cubicBezTo>
                <a:cubicBezTo>
                  <a:pt x="156" y="151"/>
                  <a:pt x="156" y="151"/>
                  <a:pt x="155" y="151"/>
                </a:cubicBezTo>
                <a:cubicBezTo>
                  <a:pt x="155" y="151"/>
                  <a:pt x="156" y="151"/>
                  <a:pt x="156" y="152"/>
                </a:cubicBezTo>
                <a:cubicBezTo>
                  <a:pt x="156" y="152"/>
                  <a:pt x="155" y="151"/>
                  <a:pt x="155" y="152"/>
                </a:cubicBezTo>
                <a:cubicBezTo>
                  <a:pt x="155" y="152"/>
                  <a:pt x="155" y="152"/>
                  <a:pt x="155" y="152"/>
                </a:cubicBezTo>
                <a:cubicBezTo>
                  <a:pt x="154" y="152"/>
                  <a:pt x="154" y="151"/>
                  <a:pt x="154" y="151"/>
                </a:cubicBezTo>
                <a:cubicBezTo>
                  <a:pt x="153" y="151"/>
                  <a:pt x="153" y="152"/>
                  <a:pt x="153" y="152"/>
                </a:cubicBezTo>
                <a:cubicBezTo>
                  <a:pt x="153" y="152"/>
                  <a:pt x="152" y="152"/>
                  <a:pt x="152" y="152"/>
                </a:cubicBezTo>
                <a:cubicBezTo>
                  <a:pt x="152" y="153"/>
                  <a:pt x="155" y="153"/>
                  <a:pt x="155" y="153"/>
                </a:cubicBezTo>
                <a:cubicBezTo>
                  <a:pt x="155" y="153"/>
                  <a:pt x="154" y="153"/>
                  <a:pt x="154" y="153"/>
                </a:cubicBezTo>
                <a:cubicBezTo>
                  <a:pt x="154" y="153"/>
                  <a:pt x="154" y="153"/>
                  <a:pt x="153" y="153"/>
                </a:cubicBezTo>
                <a:cubicBezTo>
                  <a:pt x="154" y="154"/>
                  <a:pt x="154" y="154"/>
                  <a:pt x="154" y="154"/>
                </a:cubicBezTo>
                <a:cubicBezTo>
                  <a:pt x="154" y="155"/>
                  <a:pt x="154" y="154"/>
                  <a:pt x="154" y="154"/>
                </a:cubicBezTo>
                <a:cubicBezTo>
                  <a:pt x="154" y="154"/>
                  <a:pt x="154" y="155"/>
                  <a:pt x="154" y="155"/>
                </a:cubicBezTo>
                <a:cubicBezTo>
                  <a:pt x="154" y="155"/>
                  <a:pt x="154" y="154"/>
                  <a:pt x="153" y="154"/>
                </a:cubicBezTo>
                <a:cubicBezTo>
                  <a:pt x="153" y="155"/>
                  <a:pt x="153" y="155"/>
                  <a:pt x="153" y="155"/>
                </a:cubicBezTo>
                <a:cubicBezTo>
                  <a:pt x="153" y="155"/>
                  <a:pt x="152" y="155"/>
                  <a:pt x="152" y="155"/>
                </a:cubicBezTo>
                <a:cubicBezTo>
                  <a:pt x="152" y="155"/>
                  <a:pt x="153" y="155"/>
                  <a:pt x="153" y="155"/>
                </a:cubicBezTo>
                <a:cubicBezTo>
                  <a:pt x="153" y="156"/>
                  <a:pt x="152" y="155"/>
                  <a:pt x="152" y="155"/>
                </a:cubicBezTo>
                <a:cubicBezTo>
                  <a:pt x="151" y="155"/>
                  <a:pt x="151" y="156"/>
                  <a:pt x="152" y="156"/>
                </a:cubicBezTo>
                <a:cubicBezTo>
                  <a:pt x="152" y="156"/>
                  <a:pt x="152" y="156"/>
                  <a:pt x="152" y="156"/>
                </a:cubicBezTo>
                <a:cubicBezTo>
                  <a:pt x="152" y="156"/>
                  <a:pt x="152" y="156"/>
                  <a:pt x="151" y="156"/>
                </a:cubicBezTo>
                <a:cubicBezTo>
                  <a:pt x="151" y="156"/>
                  <a:pt x="151" y="157"/>
                  <a:pt x="151" y="157"/>
                </a:cubicBezTo>
                <a:cubicBezTo>
                  <a:pt x="150" y="156"/>
                  <a:pt x="150" y="157"/>
                  <a:pt x="150" y="157"/>
                </a:cubicBezTo>
                <a:cubicBezTo>
                  <a:pt x="149" y="157"/>
                  <a:pt x="149" y="156"/>
                  <a:pt x="149" y="156"/>
                </a:cubicBezTo>
                <a:cubicBezTo>
                  <a:pt x="149" y="157"/>
                  <a:pt x="148" y="156"/>
                  <a:pt x="148" y="155"/>
                </a:cubicBezTo>
                <a:cubicBezTo>
                  <a:pt x="147" y="155"/>
                  <a:pt x="147" y="157"/>
                  <a:pt x="147" y="157"/>
                </a:cubicBezTo>
                <a:cubicBezTo>
                  <a:pt x="146" y="156"/>
                  <a:pt x="146" y="155"/>
                  <a:pt x="146" y="156"/>
                </a:cubicBezTo>
                <a:cubicBezTo>
                  <a:pt x="145" y="156"/>
                  <a:pt x="144" y="155"/>
                  <a:pt x="144" y="156"/>
                </a:cubicBezTo>
                <a:cubicBezTo>
                  <a:pt x="144" y="156"/>
                  <a:pt x="145" y="157"/>
                  <a:pt x="144" y="157"/>
                </a:cubicBezTo>
                <a:cubicBezTo>
                  <a:pt x="144" y="157"/>
                  <a:pt x="143" y="157"/>
                  <a:pt x="143" y="157"/>
                </a:cubicBezTo>
                <a:cubicBezTo>
                  <a:pt x="143" y="158"/>
                  <a:pt x="144" y="158"/>
                  <a:pt x="145" y="158"/>
                </a:cubicBezTo>
                <a:cubicBezTo>
                  <a:pt x="144" y="158"/>
                  <a:pt x="144" y="158"/>
                  <a:pt x="144" y="159"/>
                </a:cubicBezTo>
                <a:cubicBezTo>
                  <a:pt x="144" y="159"/>
                  <a:pt x="146" y="159"/>
                  <a:pt x="145" y="160"/>
                </a:cubicBezTo>
                <a:cubicBezTo>
                  <a:pt x="146" y="160"/>
                  <a:pt x="146" y="160"/>
                  <a:pt x="146" y="161"/>
                </a:cubicBezTo>
                <a:cubicBezTo>
                  <a:pt x="146" y="161"/>
                  <a:pt x="146" y="161"/>
                  <a:pt x="146" y="161"/>
                </a:cubicBezTo>
                <a:cubicBezTo>
                  <a:pt x="146" y="162"/>
                  <a:pt x="145" y="162"/>
                  <a:pt x="145" y="162"/>
                </a:cubicBezTo>
                <a:cubicBezTo>
                  <a:pt x="145" y="162"/>
                  <a:pt x="146" y="162"/>
                  <a:pt x="147" y="163"/>
                </a:cubicBezTo>
                <a:cubicBezTo>
                  <a:pt x="147" y="163"/>
                  <a:pt x="145" y="163"/>
                  <a:pt x="145" y="163"/>
                </a:cubicBezTo>
                <a:cubicBezTo>
                  <a:pt x="145" y="163"/>
                  <a:pt x="145" y="163"/>
                  <a:pt x="145" y="163"/>
                </a:cubicBezTo>
                <a:cubicBezTo>
                  <a:pt x="145" y="163"/>
                  <a:pt x="144" y="163"/>
                  <a:pt x="144" y="163"/>
                </a:cubicBezTo>
                <a:cubicBezTo>
                  <a:pt x="143" y="163"/>
                  <a:pt x="143" y="163"/>
                  <a:pt x="142" y="163"/>
                </a:cubicBezTo>
                <a:cubicBezTo>
                  <a:pt x="142" y="164"/>
                  <a:pt x="141" y="164"/>
                  <a:pt x="140" y="163"/>
                </a:cubicBezTo>
                <a:cubicBezTo>
                  <a:pt x="140" y="163"/>
                  <a:pt x="139" y="163"/>
                  <a:pt x="139" y="163"/>
                </a:cubicBezTo>
                <a:cubicBezTo>
                  <a:pt x="139" y="163"/>
                  <a:pt x="138" y="163"/>
                  <a:pt x="137" y="164"/>
                </a:cubicBezTo>
                <a:cubicBezTo>
                  <a:pt x="137" y="164"/>
                  <a:pt x="138" y="164"/>
                  <a:pt x="138" y="164"/>
                </a:cubicBezTo>
                <a:cubicBezTo>
                  <a:pt x="138" y="164"/>
                  <a:pt x="138" y="165"/>
                  <a:pt x="139" y="165"/>
                </a:cubicBezTo>
                <a:cubicBezTo>
                  <a:pt x="139" y="165"/>
                  <a:pt x="140" y="165"/>
                  <a:pt x="140" y="165"/>
                </a:cubicBezTo>
                <a:cubicBezTo>
                  <a:pt x="141" y="165"/>
                  <a:pt x="140" y="166"/>
                  <a:pt x="141" y="166"/>
                </a:cubicBezTo>
                <a:cubicBezTo>
                  <a:pt x="141" y="166"/>
                  <a:pt x="141" y="165"/>
                  <a:pt x="141" y="165"/>
                </a:cubicBezTo>
                <a:cubicBezTo>
                  <a:pt x="142" y="165"/>
                  <a:pt x="142" y="165"/>
                  <a:pt x="143" y="165"/>
                </a:cubicBezTo>
                <a:cubicBezTo>
                  <a:pt x="143" y="165"/>
                  <a:pt x="144" y="165"/>
                  <a:pt x="144" y="166"/>
                </a:cubicBezTo>
                <a:cubicBezTo>
                  <a:pt x="144" y="166"/>
                  <a:pt x="143" y="166"/>
                  <a:pt x="143" y="166"/>
                </a:cubicBezTo>
                <a:cubicBezTo>
                  <a:pt x="143" y="167"/>
                  <a:pt x="143" y="167"/>
                  <a:pt x="143" y="167"/>
                </a:cubicBezTo>
                <a:cubicBezTo>
                  <a:pt x="143" y="167"/>
                  <a:pt x="143" y="167"/>
                  <a:pt x="142" y="167"/>
                </a:cubicBezTo>
                <a:cubicBezTo>
                  <a:pt x="142" y="167"/>
                  <a:pt x="142" y="167"/>
                  <a:pt x="141" y="167"/>
                </a:cubicBezTo>
                <a:cubicBezTo>
                  <a:pt x="142" y="167"/>
                  <a:pt x="142" y="167"/>
                  <a:pt x="143" y="167"/>
                </a:cubicBezTo>
                <a:cubicBezTo>
                  <a:pt x="143" y="167"/>
                  <a:pt x="143" y="168"/>
                  <a:pt x="143" y="168"/>
                </a:cubicBezTo>
                <a:cubicBezTo>
                  <a:pt x="143" y="168"/>
                  <a:pt x="142" y="169"/>
                  <a:pt x="143" y="169"/>
                </a:cubicBezTo>
                <a:cubicBezTo>
                  <a:pt x="143" y="169"/>
                  <a:pt x="142" y="170"/>
                  <a:pt x="142" y="170"/>
                </a:cubicBezTo>
                <a:cubicBezTo>
                  <a:pt x="142" y="169"/>
                  <a:pt x="141" y="170"/>
                  <a:pt x="141" y="170"/>
                </a:cubicBezTo>
                <a:cubicBezTo>
                  <a:pt x="140" y="170"/>
                  <a:pt x="139" y="169"/>
                  <a:pt x="138" y="169"/>
                </a:cubicBezTo>
                <a:cubicBezTo>
                  <a:pt x="138" y="169"/>
                  <a:pt x="137" y="169"/>
                  <a:pt x="137" y="169"/>
                </a:cubicBezTo>
                <a:cubicBezTo>
                  <a:pt x="137" y="168"/>
                  <a:pt x="137" y="168"/>
                  <a:pt x="137" y="168"/>
                </a:cubicBezTo>
                <a:cubicBezTo>
                  <a:pt x="136" y="168"/>
                  <a:pt x="136" y="168"/>
                  <a:pt x="136" y="168"/>
                </a:cubicBezTo>
                <a:cubicBezTo>
                  <a:pt x="136" y="168"/>
                  <a:pt x="135" y="169"/>
                  <a:pt x="135" y="169"/>
                </a:cubicBezTo>
                <a:cubicBezTo>
                  <a:pt x="135" y="169"/>
                  <a:pt x="136" y="169"/>
                  <a:pt x="137" y="169"/>
                </a:cubicBezTo>
                <a:cubicBezTo>
                  <a:pt x="137" y="169"/>
                  <a:pt x="138" y="170"/>
                  <a:pt x="139" y="170"/>
                </a:cubicBezTo>
                <a:cubicBezTo>
                  <a:pt x="139" y="170"/>
                  <a:pt x="139" y="170"/>
                  <a:pt x="140" y="170"/>
                </a:cubicBezTo>
                <a:cubicBezTo>
                  <a:pt x="140" y="170"/>
                  <a:pt x="140" y="171"/>
                  <a:pt x="140" y="171"/>
                </a:cubicBezTo>
                <a:cubicBezTo>
                  <a:pt x="140" y="171"/>
                  <a:pt x="140" y="171"/>
                  <a:pt x="141" y="171"/>
                </a:cubicBezTo>
                <a:cubicBezTo>
                  <a:pt x="141" y="171"/>
                  <a:pt x="140" y="172"/>
                  <a:pt x="140" y="171"/>
                </a:cubicBezTo>
                <a:cubicBezTo>
                  <a:pt x="140" y="171"/>
                  <a:pt x="139" y="171"/>
                  <a:pt x="139" y="171"/>
                </a:cubicBezTo>
                <a:cubicBezTo>
                  <a:pt x="138" y="171"/>
                  <a:pt x="138" y="171"/>
                  <a:pt x="138" y="171"/>
                </a:cubicBezTo>
                <a:cubicBezTo>
                  <a:pt x="138" y="171"/>
                  <a:pt x="138" y="171"/>
                  <a:pt x="138" y="171"/>
                </a:cubicBezTo>
                <a:cubicBezTo>
                  <a:pt x="138" y="172"/>
                  <a:pt x="138" y="172"/>
                  <a:pt x="138" y="172"/>
                </a:cubicBezTo>
                <a:cubicBezTo>
                  <a:pt x="137" y="173"/>
                  <a:pt x="137" y="171"/>
                  <a:pt x="137" y="171"/>
                </a:cubicBezTo>
                <a:cubicBezTo>
                  <a:pt x="136" y="171"/>
                  <a:pt x="137" y="171"/>
                  <a:pt x="137" y="172"/>
                </a:cubicBezTo>
                <a:cubicBezTo>
                  <a:pt x="137" y="172"/>
                  <a:pt x="137" y="172"/>
                  <a:pt x="138" y="172"/>
                </a:cubicBezTo>
                <a:cubicBezTo>
                  <a:pt x="137" y="173"/>
                  <a:pt x="136" y="171"/>
                  <a:pt x="136" y="171"/>
                </a:cubicBezTo>
                <a:cubicBezTo>
                  <a:pt x="136" y="171"/>
                  <a:pt x="137" y="173"/>
                  <a:pt x="136" y="172"/>
                </a:cubicBezTo>
                <a:cubicBezTo>
                  <a:pt x="136" y="172"/>
                  <a:pt x="135" y="172"/>
                  <a:pt x="135" y="171"/>
                </a:cubicBezTo>
                <a:cubicBezTo>
                  <a:pt x="135" y="172"/>
                  <a:pt x="134" y="172"/>
                  <a:pt x="134" y="172"/>
                </a:cubicBezTo>
                <a:cubicBezTo>
                  <a:pt x="135" y="172"/>
                  <a:pt x="137" y="172"/>
                  <a:pt x="137" y="173"/>
                </a:cubicBezTo>
                <a:cubicBezTo>
                  <a:pt x="136" y="173"/>
                  <a:pt x="135" y="173"/>
                  <a:pt x="135" y="172"/>
                </a:cubicBezTo>
                <a:cubicBezTo>
                  <a:pt x="135" y="172"/>
                  <a:pt x="135" y="172"/>
                  <a:pt x="134" y="172"/>
                </a:cubicBezTo>
                <a:cubicBezTo>
                  <a:pt x="134" y="172"/>
                  <a:pt x="134" y="171"/>
                  <a:pt x="133" y="171"/>
                </a:cubicBezTo>
                <a:cubicBezTo>
                  <a:pt x="133" y="171"/>
                  <a:pt x="132" y="172"/>
                  <a:pt x="132" y="172"/>
                </a:cubicBezTo>
                <a:cubicBezTo>
                  <a:pt x="131" y="173"/>
                  <a:pt x="133" y="173"/>
                  <a:pt x="133" y="173"/>
                </a:cubicBezTo>
                <a:cubicBezTo>
                  <a:pt x="133" y="173"/>
                  <a:pt x="132" y="173"/>
                  <a:pt x="132" y="173"/>
                </a:cubicBezTo>
                <a:cubicBezTo>
                  <a:pt x="132" y="174"/>
                  <a:pt x="133" y="173"/>
                  <a:pt x="133" y="174"/>
                </a:cubicBezTo>
                <a:cubicBezTo>
                  <a:pt x="133" y="174"/>
                  <a:pt x="134" y="174"/>
                  <a:pt x="134" y="174"/>
                </a:cubicBezTo>
                <a:cubicBezTo>
                  <a:pt x="134" y="175"/>
                  <a:pt x="133" y="175"/>
                  <a:pt x="134" y="175"/>
                </a:cubicBezTo>
                <a:cubicBezTo>
                  <a:pt x="133" y="176"/>
                  <a:pt x="133" y="175"/>
                  <a:pt x="132" y="175"/>
                </a:cubicBezTo>
                <a:cubicBezTo>
                  <a:pt x="131" y="174"/>
                  <a:pt x="131" y="174"/>
                  <a:pt x="130" y="174"/>
                </a:cubicBezTo>
                <a:cubicBezTo>
                  <a:pt x="130" y="175"/>
                  <a:pt x="132" y="175"/>
                  <a:pt x="132" y="175"/>
                </a:cubicBezTo>
                <a:cubicBezTo>
                  <a:pt x="133" y="177"/>
                  <a:pt x="131" y="176"/>
                  <a:pt x="131" y="176"/>
                </a:cubicBezTo>
                <a:cubicBezTo>
                  <a:pt x="131" y="176"/>
                  <a:pt x="131" y="176"/>
                  <a:pt x="131" y="176"/>
                </a:cubicBezTo>
                <a:cubicBezTo>
                  <a:pt x="131" y="176"/>
                  <a:pt x="129" y="175"/>
                  <a:pt x="130" y="176"/>
                </a:cubicBezTo>
                <a:cubicBezTo>
                  <a:pt x="129" y="176"/>
                  <a:pt x="129" y="175"/>
                  <a:pt x="129" y="174"/>
                </a:cubicBezTo>
                <a:cubicBezTo>
                  <a:pt x="128" y="174"/>
                  <a:pt x="129" y="175"/>
                  <a:pt x="128" y="175"/>
                </a:cubicBezTo>
                <a:cubicBezTo>
                  <a:pt x="128" y="175"/>
                  <a:pt x="129" y="175"/>
                  <a:pt x="129" y="176"/>
                </a:cubicBezTo>
                <a:cubicBezTo>
                  <a:pt x="129" y="176"/>
                  <a:pt x="129" y="176"/>
                  <a:pt x="129" y="176"/>
                </a:cubicBezTo>
                <a:cubicBezTo>
                  <a:pt x="130" y="176"/>
                  <a:pt x="130" y="176"/>
                  <a:pt x="131" y="176"/>
                </a:cubicBezTo>
                <a:cubicBezTo>
                  <a:pt x="131" y="176"/>
                  <a:pt x="131" y="176"/>
                  <a:pt x="132" y="177"/>
                </a:cubicBezTo>
                <a:cubicBezTo>
                  <a:pt x="132" y="177"/>
                  <a:pt x="131" y="177"/>
                  <a:pt x="131" y="177"/>
                </a:cubicBezTo>
                <a:cubicBezTo>
                  <a:pt x="131" y="177"/>
                  <a:pt x="130" y="177"/>
                  <a:pt x="130" y="177"/>
                </a:cubicBezTo>
                <a:cubicBezTo>
                  <a:pt x="130" y="177"/>
                  <a:pt x="130" y="178"/>
                  <a:pt x="130" y="178"/>
                </a:cubicBezTo>
                <a:cubicBezTo>
                  <a:pt x="130" y="178"/>
                  <a:pt x="130" y="178"/>
                  <a:pt x="130" y="178"/>
                </a:cubicBezTo>
                <a:cubicBezTo>
                  <a:pt x="130" y="178"/>
                  <a:pt x="130" y="178"/>
                  <a:pt x="129" y="178"/>
                </a:cubicBezTo>
                <a:cubicBezTo>
                  <a:pt x="129" y="178"/>
                  <a:pt x="128" y="178"/>
                  <a:pt x="128" y="178"/>
                </a:cubicBezTo>
                <a:cubicBezTo>
                  <a:pt x="128" y="178"/>
                  <a:pt x="128" y="178"/>
                  <a:pt x="128" y="178"/>
                </a:cubicBezTo>
                <a:cubicBezTo>
                  <a:pt x="127" y="178"/>
                  <a:pt x="127" y="178"/>
                  <a:pt x="127" y="178"/>
                </a:cubicBezTo>
                <a:cubicBezTo>
                  <a:pt x="126" y="178"/>
                  <a:pt x="125" y="178"/>
                  <a:pt x="126" y="178"/>
                </a:cubicBezTo>
                <a:cubicBezTo>
                  <a:pt x="126" y="178"/>
                  <a:pt x="126" y="177"/>
                  <a:pt x="126" y="178"/>
                </a:cubicBezTo>
                <a:cubicBezTo>
                  <a:pt x="126" y="177"/>
                  <a:pt x="126" y="177"/>
                  <a:pt x="127" y="177"/>
                </a:cubicBezTo>
                <a:cubicBezTo>
                  <a:pt x="126" y="177"/>
                  <a:pt x="126" y="177"/>
                  <a:pt x="125" y="178"/>
                </a:cubicBezTo>
                <a:cubicBezTo>
                  <a:pt x="125" y="178"/>
                  <a:pt x="124" y="178"/>
                  <a:pt x="124" y="178"/>
                </a:cubicBezTo>
                <a:cubicBezTo>
                  <a:pt x="124" y="178"/>
                  <a:pt x="125" y="178"/>
                  <a:pt x="125" y="178"/>
                </a:cubicBezTo>
                <a:cubicBezTo>
                  <a:pt x="125" y="178"/>
                  <a:pt x="125" y="178"/>
                  <a:pt x="125" y="178"/>
                </a:cubicBezTo>
                <a:cubicBezTo>
                  <a:pt x="124" y="178"/>
                  <a:pt x="124" y="178"/>
                  <a:pt x="124" y="178"/>
                </a:cubicBezTo>
                <a:cubicBezTo>
                  <a:pt x="124" y="178"/>
                  <a:pt x="124" y="179"/>
                  <a:pt x="124" y="179"/>
                </a:cubicBezTo>
                <a:cubicBezTo>
                  <a:pt x="124" y="179"/>
                  <a:pt x="124" y="179"/>
                  <a:pt x="123" y="179"/>
                </a:cubicBezTo>
                <a:cubicBezTo>
                  <a:pt x="123" y="179"/>
                  <a:pt x="124" y="180"/>
                  <a:pt x="123" y="179"/>
                </a:cubicBezTo>
                <a:cubicBezTo>
                  <a:pt x="123" y="179"/>
                  <a:pt x="123" y="179"/>
                  <a:pt x="123" y="179"/>
                </a:cubicBezTo>
                <a:cubicBezTo>
                  <a:pt x="123" y="179"/>
                  <a:pt x="123" y="179"/>
                  <a:pt x="123" y="179"/>
                </a:cubicBezTo>
                <a:cubicBezTo>
                  <a:pt x="123" y="180"/>
                  <a:pt x="122" y="179"/>
                  <a:pt x="121" y="179"/>
                </a:cubicBezTo>
                <a:cubicBezTo>
                  <a:pt x="121" y="179"/>
                  <a:pt x="120" y="179"/>
                  <a:pt x="120" y="179"/>
                </a:cubicBezTo>
                <a:cubicBezTo>
                  <a:pt x="119" y="178"/>
                  <a:pt x="120" y="179"/>
                  <a:pt x="119" y="179"/>
                </a:cubicBezTo>
                <a:cubicBezTo>
                  <a:pt x="120" y="180"/>
                  <a:pt x="121" y="179"/>
                  <a:pt x="122" y="180"/>
                </a:cubicBezTo>
                <a:cubicBezTo>
                  <a:pt x="122" y="181"/>
                  <a:pt x="123" y="180"/>
                  <a:pt x="123" y="180"/>
                </a:cubicBezTo>
                <a:cubicBezTo>
                  <a:pt x="124" y="180"/>
                  <a:pt x="125" y="181"/>
                  <a:pt x="124" y="182"/>
                </a:cubicBezTo>
                <a:cubicBezTo>
                  <a:pt x="124" y="182"/>
                  <a:pt x="123" y="181"/>
                  <a:pt x="123" y="181"/>
                </a:cubicBezTo>
                <a:cubicBezTo>
                  <a:pt x="123" y="181"/>
                  <a:pt x="123" y="182"/>
                  <a:pt x="123" y="181"/>
                </a:cubicBezTo>
                <a:cubicBezTo>
                  <a:pt x="123" y="182"/>
                  <a:pt x="124" y="182"/>
                  <a:pt x="124" y="182"/>
                </a:cubicBezTo>
                <a:cubicBezTo>
                  <a:pt x="124" y="182"/>
                  <a:pt x="125" y="182"/>
                  <a:pt x="125" y="182"/>
                </a:cubicBezTo>
                <a:cubicBezTo>
                  <a:pt x="125" y="182"/>
                  <a:pt x="125" y="182"/>
                  <a:pt x="125" y="182"/>
                </a:cubicBezTo>
                <a:cubicBezTo>
                  <a:pt x="124" y="183"/>
                  <a:pt x="123" y="182"/>
                  <a:pt x="122" y="181"/>
                </a:cubicBezTo>
                <a:cubicBezTo>
                  <a:pt x="121" y="181"/>
                  <a:pt x="120" y="181"/>
                  <a:pt x="120" y="182"/>
                </a:cubicBezTo>
                <a:cubicBezTo>
                  <a:pt x="120" y="181"/>
                  <a:pt x="120" y="182"/>
                  <a:pt x="121" y="182"/>
                </a:cubicBezTo>
                <a:cubicBezTo>
                  <a:pt x="121" y="182"/>
                  <a:pt x="121" y="183"/>
                  <a:pt x="122" y="183"/>
                </a:cubicBezTo>
                <a:cubicBezTo>
                  <a:pt x="122" y="183"/>
                  <a:pt x="122" y="183"/>
                  <a:pt x="123" y="183"/>
                </a:cubicBezTo>
                <a:cubicBezTo>
                  <a:pt x="123" y="183"/>
                  <a:pt x="124" y="183"/>
                  <a:pt x="124" y="183"/>
                </a:cubicBezTo>
                <a:cubicBezTo>
                  <a:pt x="124" y="183"/>
                  <a:pt x="124" y="183"/>
                  <a:pt x="124" y="184"/>
                </a:cubicBezTo>
                <a:cubicBezTo>
                  <a:pt x="124" y="184"/>
                  <a:pt x="123" y="185"/>
                  <a:pt x="123" y="185"/>
                </a:cubicBezTo>
                <a:cubicBezTo>
                  <a:pt x="123" y="185"/>
                  <a:pt x="123" y="185"/>
                  <a:pt x="123" y="185"/>
                </a:cubicBezTo>
                <a:cubicBezTo>
                  <a:pt x="123" y="185"/>
                  <a:pt x="123" y="185"/>
                  <a:pt x="122" y="185"/>
                </a:cubicBezTo>
                <a:cubicBezTo>
                  <a:pt x="122" y="185"/>
                  <a:pt x="122" y="186"/>
                  <a:pt x="122" y="186"/>
                </a:cubicBezTo>
                <a:cubicBezTo>
                  <a:pt x="122" y="186"/>
                  <a:pt x="122" y="186"/>
                  <a:pt x="121" y="186"/>
                </a:cubicBezTo>
                <a:cubicBezTo>
                  <a:pt x="122" y="186"/>
                  <a:pt x="121" y="186"/>
                  <a:pt x="121" y="187"/>
                </a:cubicBezTo>
                <a:cubicBezTo>
                  <a:pt x="122" y="187"/>
                  <a:pt x="123" y="186"/>
                  <a:pt x="124" y="186"/>
                </a:cubicBezTo>
                <a:cubicBezTo>
                  <a:pt x="124" y="186"/>
                  <a:pt x="124" y="186"/>
                  <a:pt x="124" y="187"/>
                </a:cubicBezTo>
                <a:cubicBezTo>
                  <a:pt x="123" y="187"/>
                  <a:pt x="122" y="187"/>
                  <a:pt x="122" y="187"/>
                </a:cubicBezTo>
                <a:cubicBezTo>
                  <a:pt x="122" y="187"/>
                  <a:pt x="123" y="187"/>
                  <a:pt x="123" y="188"/>
                </a:cubicBezTo>
                <a:cubicBezTo>
                  <a:pt x="122" y="188"/>
                  <a:pt x="121" y="189"/>
                  <a:pt x="120" y="189"/>
                </a:cubicBezTo>
                <a:cubicBezTo>
                  <a:pt x="119" y="189"/>
                  <a:pt x="118" y="187"/>
                  <a:pt x="118" y="189"/>
                </a:cubicBezTo>
                <a:cubicBezTo>
                  <a:pt x="119" y="188"/>
                  <a:pt x="119" y="189"/>
                  <a:pt x="119" y="189"/>
                </a:cubicBezTo>
                <a:cubicBezTo>
                  <a:pt x="120" y="189"/>
                  <a:pt x="120" y="189"/>
                  <a:pt x="121" y="189"/>
                </a:cubicBezTo>
                <a:cubicBezTo>
                  <a:pt x="121" y="189"/>
                  <a:pt x="122" y="189"/>
                  <a:pt x="122" y="189"/>
                </a:cubicBezTo>
                <a:cubicBezTo>
                  <a:pt x="122" y="189"/>
                  <a:pt x="121" y="189"/>
                  <a:pt x="121" y="190"/>
                </a:cubicBezTo>
                <a:cubicBezTo>
                  <a:pt x="121" y="190"/>
                  <a:pt x="121" y="190"/>
                  <a:pt x="121" y="190"/>
                </a:cubicBezTo>
                <a:cubicBezTo>
                  <a:pt x="121" y="190"/>
                  <a:pt x="121" y="190"/>
                  <a:pt x="120" y="190"/>
                </a:cubicBezTo>
                <a:cubicBezTo>
                  <a:pt x="120" y="190"/>
                  <a:pt x="120" y="190"/>
                  <a:pt x="121" y="190"/>
                </a:cubicBezTo>
                <a:cubicBezTo>
                  <a:pt x="120" y="190"/>
                  <a:pt x="120" y="190"/>
                  <a:pt x="120" y="190"/>
                </a:cubicBezTo>
                <a:cubicBezTo>
                  <a:pt x="121" y="191"/>
                  <a:pt x="115" y="190"/>
                  <a:pt x="115" y="190"/>
                </a:cubicBezTo>
                <a:cubicBezTo>
                  <a:pt x="116" y="191"/>
                  <a:pt x="118" y="191"/>
                  <a:pt x="119" y="191"/>
                </a:cubicBezTo>
                <a:cubicBezTo>
                  <a:pt x="118" y="192"/>
                  <a:pt x="120" y="192"/>
                  <a:pt x="120" y="192"/>
                </a:cubicBezTo>
                <a:cubicBezTo>
                  <a:pt x="120" y="192"/>
                  <a:pt x="117" y="193"/>
                  <a:pt x="117" y="193"/>
                </a:cubicBezTo>
                <a:cubicBezTo>
                  <a:pt x="118" y="193"/>
                  <a:pt x="117" y="193"/>
                  <a:pt x="117" y="193"/>
                </a:cubicBezTo>
                <a:cubicBezTo>
                  <a:pt x="116" y="193"/>
                  <a:pt x="116" y="193"/>
                  <a:pt x="116" y="193"/>
                </a:cubicBezTo>
                <a:cubicBezTo>
                  <a:pt x="115" y="193"/>
                  <a:pt x="114" y="193"/>
                  <a:pt x="113" y="193"/>
                </a:cubicBezTo>
                <a:cubicBezTo>
                  <a:pt x="114" y="193"/>
                  <a:pt x="115" y="193"/>
                  <a:pt x="116" y="193"/>
                </a:cubicBezTo>
                <a:cubicBezTo>
                  <a:pt x="116" y="194"/>
                  <a:pt x="115" y="193"/>
                  <a:pt x="115" y="194"/>
                </a:cubicBezTo>
                <a:cubicBezTo>
                  <a:pt x="116" y="194"/>
                  <a:pt x="117" y="193"/>
                  <a:pt x="118" y="194"/>
                </a:cubicBezTo>
                <a:cubicBezTo>
                  <a:pt x="116" y="194"/>
                  <a:pt x="115" y="194"/>
                  <a:pt x="113" y="194"/>
                </a:cubicBezTo>
                <a:cubicBezTo>
                  <a:pt x="114" y="195"/>
                  <a:pt x="116" y="194"/>
                  <a:pt x="117" y="195"/>
                </a:cubicBezTo>
                <a:cubicBezTo>
                  <a:pt x="116" y="195"/>
                  <a:pt x="116" y="195"/>
                  <a:pt x="115" y="195"/>
                </a:cubicBezTo>
                <a:cubicBezTo>
                  <a:pt x="114" y="195"/>
                  <a:pt x="114" y="195"/>
                  <a:pt x="113" y="195"/>
                </a:cubicBezTo>
                <a:cubicBezTo>
                  <a:pt x="113" y="195"/>
                  <a:pt x="112" y="195"/>
                  <a:pt x="111" y="195"/>
                </a:cubicBezTo>
                <a:cubicBezTo>
                  <a:pt x="111" y="195"/>
                  <a:pt x="110" y="195"/>
                  <a:pt x="109" y="195"/>
                </a:cubicBezTo>
                <a:cubicBezTo>
                  <a:pt x="110" y="195"/>
                  <a:pt x="111" y="195"/>
                  <a:pt x="112" y="195"/>
                </a:cubicBezTo>
                <a:cubicBezTo>
                  <a:pt x="112" y="195"/>
                  <a:pt x="114" y="195"/>
                  <a:pt x="114" y="196"/>
                </a:cubicBezTo>
                <a:cubicBezTo>
                  <a:pt x="114" y="195"/>
                  <a:pt x="115" y="195"/>
                  <a:pt x="116" y="196"/>
                </a:cubicBezTo>
                <a:cubicBezTo>
                  <a:pt x="115" y="196"/>
                  <a:pt x="116" y="196"/>
                  <a:pt x="116" y="196"/>
                </a:cubicBezTo>
                <a:cubicBezTo>
                  <a:pt x="116" y="196"/>
                  <a:pt x="116" y="196"/>
                  <a:pt x="115" y="196"/>
                </a:cubicBezTo>
                <a:cubicBezTo>
                  <a:pt x="115" y="196"/>
                  <a:pt x="115" y="197"/>
                  <a:pt x="115" y="197"/>
                </a:cubicBezTo>
                <a:cubicBezTo>
                  <a:pt x="115" y="197"/>
                  <a:pt x="113" y="197"/>
                  <a:pt x="112" y="197"/>
                </a:cubicBezTo>
                <a:cubicBezTo>
                  <a:pt x="112" y="197"/>
                  <a:pt x="110" y="196"/>
                  <a:pt x="109" y="197"/>
                </a:cubicBezTo>
                <a:cubicBezTo>
                  <a:pt x="110" y="197"/>
                  <a:pt x="112" y="197"/>
                  <a:pt x="112" y="198"/>
                </a:cubicBezTo>
                <a:cubicBezTo>
                  <a:pt x="113" y="198"/>
                  <a:pt x="114" y="198"/>
                  <a:pt x="114" y="198"/>
                </a:cubicBezTo>
                <a:cubicBezTo>
                  <a:pt x="115" y="198"/>
                  <a:pt x="113" y="198"/>
                  <a:pt x="114" y="198"/>
                </a:cubicBezTo>
                <a:cubicBezTo>
                  <a:pt x="113" y="198"/>
                  <a:pt x="113" y="198"/>
                  <a:pt x="112" y="198"/>
                </a:cubicBezTo>
                <a:cubicBezTo>
                  <a:pt x="111" y="198"/>
                  <a:pt x="110" y="198"/>
                  <a:pt x="109" y="198"/>
                </a:cubicBezTo>
                <a:cubicBezTo>
                  <a:pt x="109" y="198"/>
                  <a:pt x="111" y="198"/>
                  <a:pt x="111" y="198"/>
                </a:cubicBezTo>
                <a:cubicBezTo>
                  <a:pt x="111" y="198"/>
                  <a:pt x="112" y="198"/>
                  <a:pt x="113" y="198"/>
                </a:cubicBezTo>
                <a:cubicBezTo>
                  <a:pt x="113" y="198"/>
                  <a:pt x="114" y="199"/>
                  <a:pt x="114" y="199"/>
                </a:cubicBezTo>
                <a:cubicBezTo>
                  <a:pt x="114" y="199"/>
                  <a:pt x="113" y="200"/>
                  <a:pt x="113" y="200"/>
                </a:cubicBezTo>
                <a:cubicBezTo>
                  <a:pt x="112" y="200"/>
                  <a:pt x="111" y="199"/>
                  <a:pt x="110" y="199"/>
                </a:cubicBezTo>
                <a:cubicBezTo>
                  <a:pt x="110" y="200"/>
                  <a:pt x="112" y="200"/>
                  <a:pt x="112" y="200"/>
                </a:cubicBezTo>
                <a:cubicBezTo>
                  <a:pt x="113" y="200"/>
                  <a:pt x="113" y="199"/>
                  <a:pt x="114" y="199"/>
                </a:cubicBezTo>
                <a:cubicBezTo>
                  <a:pt x="114" y="200"/>
                  <a:pt x="113" y="200"/>
                  <a:pt x="113" y="200"/>
                </a:cubicBezTo>
                <a:cubicBezTo>
                  <a:pt x="112" y="200"/>
                  <a:pt x="111" y="200"/>
                  <a:pt x="111" y="200"/>
                </a:cubicBezTo>
                <a:cubicBezTo>
                  <a:pt x="112" y="200"/>
                  <a:pt x="112" y="200"/>
                  <a:pt x="113" y="200"/>
                </a:cubicBezTo>
                <a:cubicBezTo>
                  <a:pt x="112" y="201"/>
                  <a:pt x="111" y="200"/>
                  <a:pt x="111" y="201"/>
                </a:cubicBezTo>
                <a:cubicBezTo>
                  <a:pt x="111" y="201"/>
                  <a:pt x="111" y="201"/>
                  <a:pt x="111" y="201"/>
                </a:cubicBezTo>
                <a:cubicBezTo>
                  <a:pt x="111" y="201"/>
                  <a:pt x="110" y="200"/>
                  <a:pt x="109" y="201"/>
                </a:cubicBezTo>
                <a:cubicBezTo>
                  <a:pt x="109" y="201"/>
                  <a:pt x="110" y="201"/>
                  <a:pt x="110" y="201"/>
                </a:cubicBezTo>
                <a:cubicBezTo>
                  <a:pt x="109" y="202"/>
                  <a:pt x="108" y="201"/>
                  <a:pt x="108" y="201"/>
                </a:cubicBezTo>
                <a:cubicBezTo>
                  <a:pt x="107" y="201"/>
                  <a:pt x="107" y="200"/>
                  <a:pt x="107" y="200"/>
                </a:cubicBezTo>
                <a:cubicBezTo>
                  <a:pt x="107" y="200"/>
                  <a:pt x="107" y="199"/>
                  <a:pt x="107" y="199"/>
                </a:cubicBezTo>
                <a:cubicBezTo>
                  <a:pt x="107" y="200"/>
                  <a:pt x="107" y="201"/>
                  <a:pt x="106" y="201"/>
                </a:cubicBezTo>
                <a:cubicBezTo>
                  <a:pt x="106" y="200"/>
                  <a:pt x="105" y="200"/>
                  <a:pt x="104" y="200"/>
                </a:cubicBezTo>
                <a:cubicBezTo>
                  <a:pt x="104" y="200"/>
                  <a:pt x="103" y="200"/>
                  <a:pt x="103" y="200"/>
                </a:cubicBezTo>
                <a:cubicBezTo>
                  <a:pt x="103" y="200"/>
                  <a:pt x="103" y="200"/>
                  <a:pt x="103" y="200"/>
                </a:cubicBezTo>
                <a:cubicBezTo>
                  <a:pt x="103" y="201"/>
                  <a:pt x="106" y="200"/>
                  <a:pt x="105" y="202"/>
                </a:cubicBezTo>
                <a:cubicBezTo>
                  <a:pt x="106" y="202"/>
                  <a:pt x="105" y="201"/>
                  <a:pt x="106" y="201"/>
                </a:cubicBezTo>
                <a:cubicBezTo>
                  <a:pt x="106" y="201"/>
                  <a:pt x="109" y="201"/>
                  <a:pt x="109" y="202"/>
                </a:cubicBezTo>
                <a:cubicBezTo>
                  <a:pt x="109" y="202"/>
                  <a:pt x="108" y="202"/>
                  <a:pt x="107" y="202"/>
                </a:cubicBezTo>
                <a:cubicBezTo>
                  <a:pt x="107" y="203"/>
                  <a:pt x="107" y="203"/>
                  <a:pt x="106" y="203"/>
                </a:cubicBezTo>
                <a:cubicBezTo>
                  <a:pt x="107" y="203"/>
                  <a:pt x="107" y="203"/>
                  <a:pt x="108" y="203"/>
                </a:cubicBezTo>
                <a:cubicBezTo>
                  <a:pt x="108" y="202"/>
                  <a:pt x="109" y="202"/>
                  <a:pt x="109" y="202"/>
                </a:cubicBezTo>
                <a:cubicBezTo>
                  <a:pt x="110" y="202"/>
                  <a:pt x="110" y="203"/>
                  <a:pt x="110" y="203"/>
                </a:cubicBezTo>
                <a:cubicBezTo>
                  <a:pt x="109" y="203"/>
                  <a:pt x="109" y="202"/>
                  <a:pt x="108" y="202"/>
                </a:cubicBezTo>
                <a:cubicBezTo>
                  <a:pt x="108" y="203"/>
                  <a:pt x="110" y="203"/>
                  <a:pt x="110" y="203"/>
                </a:cubicBezTo>
                <a:cubicBezTo>
                  <a:pt x="110" y="203"/>
                  <a:pt x="110" y="203"/>
                  <a:pt x="109" y="203"/>
                </a:cubicBezTo>
                <a:cubicBezTo>
                  <a:pt x="110" y="204"/>
                  <a:pt x="110" y="204"/>
                  <a:pt x="110" y="204"/>
                </a:cubicBezTo>
                <a:cubicBezTo>
                  <a:pt x="109" y="204"/>
                  <a:pt x="109" y="204"/>
                  <a:pt x="108" y="204"/>
                </a:cubicBezTo>
                <a:cubicBezTo>
                  <a:pt x="108" y="204"/>
                  <a:pt x="109" y="204"/>
                  <a:pt x="109" y="204"/>
                </a:cubicBezTo>
                <a:cubicBezTo>
                  <a:pt x="109" y="204"/>
                  <a:pt x="109" y="205"/>
                  <a:pt x="109" y="205"/>
                </a:cubicBezTo>
                <a:cubicBezTo>
                  <a:pt x="109" y="205"/>
                  <a:pt x="109" y="204"/>
                  <a:pt x="109" y="205"/>
                </a:cubicBezTo>
                <a:cubicBezTo>
                  <a:pt x="109" y="205"/>
                  <a:pt x="109" y="205"/>
                  <a:pt x="109" y="205"/>
                </a:cubicBezTo>
                <a:cubicBezTo>
                  <a:pt x="110" y="205"/>
                  <a:pt x="107" y="205"/>
                  <a:pt x="107" y="205"/>
                </a:cubicBezTo>
                <a:cubicBezTo>
                  <a:pt x="107" y="205"/>
                  <a:pt x="106" y="205"/>
                  <a:pt x="106" y="205"/>
                </a:cubicBezTo>
                <a:cubicBezTo>
                  <a:pt x="106" y="205"/>
                  <a:pt x="106" y="204"/>
                  <a:pt x="105" y="204"/>
                </a:cubicBezTo>
                <a:cubicBezTo>
                  <a:pt x="105" y="204"/>
                  <a:pt x="105" y="205"/>
                  <a:pt x="105" y="205"/>
                </a:cubicBezTo>
                <a:cubicBezTo>
                  <a:pt x="105" y="205"/>
                  <a:pt x="104" y="205"/>
                  <a:pt x="104" y="205"/>
                </a:cubicBezTo>
                <a:cubicBezTo>
                  <a:pt x="103" y="205"/>
                  <a:pt x="102" y="204"/>
                  <a:pt x="101" y="205"/>
                </a:cubicBezTo>
                <a:cubicBezTo>
                  <a:pt x="101" y="204"/>
                  <a:pt x="103" y="203"/>
                  <a:pt x="103" y="203"/>
                </a:cubicBezTo>
                <a:cubicBezTo>
                  <a:pt x="103" y="203"/>
                  <a:pt x="103" y="203"/>
                  <a:pt x="103" y="202"/>
                </a:cubicBezTo>
                <a:cubicBezTo>
                  <a:pt x="103" y="202"/>
                  <a:pt x="102" y="203"/>
                  <a:pt x="102" y="203"/>
                </a:cubicBezTo>
                <a:cubicBezTo>
                  <a:pt x="102" y="204"/>
                  <a:pt x="102" y="204"/>
                  <a:pt x="102" y="203"/>
                </a:cubicBezTo>
                <a:cubicBezTo>
                  <a:pt x="101" y="203"/>
                  <a:pt x="101" y="203"/>
                  <a:pt x="101" y="203"/>
                </a:cubicBezTo>
                <a:cubicBezTo>
                  <a:pt x="101" y="203"/>
                  <a:pt x="101" y="203"/>
                  <a:pt x="101" y="204"/>
                </a:cubicBezTo>
                <a:cubicBezTo>
                  <a:pt x="101" y="204"/>
                  <a:pt x="101" y="204"/>
                  <a:pt x="100" y="204"/>
                </a:cubicBezTo>
                <a:cubicBezTo>
                  <a:pt x="101" y="204"/>
                  <a:pt x="100" y="205"/>
                  <a:pt x="99" y="205"/>
                </a:cubicBezTo>
                <a:cubicBezTo>
                  <a:pt x="100" y="205"/>
                  <a:pt x="100" y="205"/>
                  <a:pt x="100" y="205"/>
                </a:cubicBezTo>
                <a:cubicBezTo>
                  <a:pt x="100" y="206"/>
                  <a:pt x="100" y="206"/>
                  <a:pt x="100" y="206"/>
                </a:cubicBezTo>
                <a:cubicBezTo>
                  <a:pt x="99" y="206"/>
                  <a:pt x="99" y="207"/>
                  <a:pt x="99" y="206"/>
                </a:cubicBezTo>
                <a:cubicBezTo>
                  <a:pt x="99" y="206"/>
                  <a:pt x="99" y="206"/>
                  <a:pt x="100" y="206"/>
                </a:cubicBezTo>
                <a:cubicBezTo>
                  <a:pt x="99" y="206"/>
                  <a:pt x="99" y="207"/>
                  <a:pt x="98" y="207"/>
                </a:cubicBezTo>
                <a:cubicBezTo>
                  <a:pt x="98" y="206"/>
                  <a:pt x="99" y="206"/>
                  <a:pt x="99" y="205"/>
                </a:cubicBezTo>
                <a:cubicBezTo>
                  <a:pt x="99" y="206"/>
                  <a:pt x="98" y="207"/>
                  <a:pt x="98" y="206"/>
                </a:cubicBezTo>
                <a:cubicBezTo>
                  <a:pt x="98" y="206"/>
                  <a:pt x="99" y="205"/>
                  <a:pt x="99" y="205"/>
                </a:cubicBezTo>
                <a:cubicBezTo>
                  <a:pt x="99" y="205"/>
                  <a:pt x="99" y="205"/>
                  <a:pt x="99" y="205"/>
                </a:cubicBezTo>
                <a:cubicBezTo>
                  <a:pt x="98" y="206"/>
                  <a:pt x="98" y="206"/>
                  <a:pt x="97" y="206"/>
                </a:cubicBezTo>
                <a:cubicBezTo>
                  <a:pt x="96" y="207"/>
                  <a:pt x="97" y="206"/>
                  <a:pt x="97" y="205"/>
                </a:cubicBezTo>
                <a:cubicBezTo>
                  <a:pt x="96" y="205"/>
                  <a:pt x="97" y="207"/>
                  <a:pt x="96" y="206"/>
                </a:cubicBezTo>
                <a:cubicBezTo>
                  <a:pt x="95" y="206"/>
                  <a:pt x="95" y="205"/>
                  <a:pt x="96" y="205"/>
                </a:cubicBezTo>
                <a:cubicBezTo>
                  <a:pt x="95" y="205"/>
                  <a:pt x="95" y="205"/>
                  <a:pt x="95" y="206"/>
                </a:cubicBezTo>
                <a:cubicBezTo>
                  <a:pt x="95" y="206"/>
                  <a:pt x="95" y="206"/>
                  <a:pt x="94" y="206"/>
                </a:cubicBezTo>
                <a:cubicBezTo>
                  <a:pt x="95" y="206"/>
                  <a:pt x="95" y="206"/>
                  <a:pt x="95" y="205"/>
                </a:cubicBezTo>
                <a:cubicBezTo>
                  <a:pt x="94" y="205"/>
                  <a:pt x="93" y="206"/>
                  <a:pt x="93" y="205"/>
                </a:cubicBezTo>
                <a:cubicBezTo>
                  <a:pt x="94" y="205"/>
                  <a:pt x="94" y="205"/>
                  <a:pt x="95" y="204"/>
                </a:cubicBezTo>
                <a:cubicBezTo>
                  <a:pt x="96" y="204"/>
                  <a:pt x="97" y="204"/>
                  <a:pt x="97" y="204"/>
                </a:cubicBezTo>
                <a:cubicBezTo>
                  <a:pt x="97" y="204"/>
                  <a:pt x="96" y="204"/>
                  <a:pt x="96" y="204"/>
                </a:cubicBezTo>
                <a:cubicBezTo>
                  <a:pt x="97" y="204"/>
                  <a:pt x="97" y="204"/>
                  <a:pt x="97" y="203"/>
                </a:cubicBezTo>
                <a:cubicBezTo>
                  <a:pt x="98" y="203"/>
                  <a:pt x="98" y="203"/>
                  <a:pt x="98" y="202"/>
                </a:cubicBezTo>
                <a:cubicBezTo>
                  <a:pt x="99" y="202"/>
                  <a:pt x="100" y="201"/>
                  <a:pt x="100" y="201"/>
                </a:cubicBezTo>
                <a:cubicBezTo>
                  <a:pt x="99" y="201"/>
                  <a:pt x="98" y="202"/>
                  <a:pt x="97" y="203"/>
                </a:cubicBezTo>
                <a:cubicBezTo>
                  <a:pt x="96" y="204"/>
                  <a:pt x="96" y="204"/>
                  <a:pt x="95" y="204"/>
                </a:cubicBezTo>
                <a:cubicBezTo>
                  <a:pt x="95" y="204"/>
                  <a:pt x="94" y="204"/>
                  <a:pt x="94" y="204"/>
                </a:cubicBezTo>
                <a:cubicBezTo>
                  <a:pt x="94" y="205"/>
                  <a:pt x="93" y="205"/>
                  <a:pt x="93" y="205"/>
                </a:cubicBezTo>
                <a:cubicBezTo>
                  <a:pt x="93" y="205"/>
                  <a:pt x="93" y="205"/>
                  <a:pt x="93" y="204"/>
                </a:cubicBezTo>
                <a:cubicBezTo>
                  <a:pt x="93" y="205"/>
                  <a:pt x="94" y="204"/>
                  <a:pt x="94" y="204"/>
                </a:cubicBezTo>
                <a:cubicBezTo>
                  <a:pt x="94" y="204"/>
                  <a:pt x="95" y="203"/>
                  <a:pt x="95" y="203"/>
                </a:cubicBezTo>
                <a:cubicBezTo>
                  <a:pt x="96" y="203"/>
                  <a:pt x="96" y="202"/>
                  <a:pt x="97" y="202"/>
                </a:cubicBezTo>
                <a:cubicBezTo>
                  <a:pt x="97" y="202"/>
                  <a:pt x="97" y="202"/>
                  <a:pt x="96" y="201"/>
                </a:cubicBezTo>
                <a:cubicBezTo>
                  <a:pt x="97" y="201"/>
                  <a:pt x="98" y="201"/>
                  <a:pt x="98" y="200"/>
                </a:cubicBezTo>
                <a:cubicBezTo>
                  <a:pt x="98" y="200"/>
                  <a:pt x="98" y="200"/>
                  <a:pt x="99" y="200"/>
                </a:cubicBezTo>
                <a:cubicBezTo>
                  <a:pt x="99" y="199"/>
                  <a:pt x="99" y="199"/>
                  <a:pt x="100" y="199"/>
                </a:cubicBezTo>
                <a:cubicBezTo>
                  <a:pt x="99" y="199"/>
                  <a:pt x="98" y="200"/>
                  <a:pt x="98" y="200"/>
                </a:cubicBezTo>
                <a:cubicBezTo>
                  <a:pt x="97" y="201"/>
                  <a:pt x="96" y="201"/>
                  <a:pt x="95" y="202"/>
                </a:cubicBezTo>
                <a:cubicBezTo>
                  <a:pt x="95" y="202"/>
                  <a:pt x="94" y="202"/>
                  <a:pt x="94" y="202"/>
                </a:cubicBezTo>
                <a:cubicBezTo>
                  <a:pt x="94" y="201"/>
                  <a:pt x="96" y="200"/>
                  <a:pt x="96" y="200"/>
                </a:cubicBezTo>
                <a:cubicBezTo>
                  <a:pt x="96" y="200"/>
                  <a:pt x="95" y="200"/>
                  <a:pt x="95" y="200"/>
                </a:cubicBezTo>
                <a:cubicBezTo>
                  <a:pt x="95" y="200"/>
                  <a:pt x="95" y="201"/>
                  <a:pt x="94" y="200"/>
                </a:cubicBezTo>
                <a:cubicBezTo>
                  <a:pt x="94" y="200"/>
                  <a:pt x="93" y="201"/>
                  <a:pt x="92" y="201"/>
                </a:cubicBezTo>
                <a:cubicBezTo>
                  <a:pt x="93" y="201"/>
                  <a:pt x="93" y="200"/>
                  <a:pt x="94" y="200"/>
                </a:cubicBezTo>
                <a:cubicBezTo>
                  <a:pt x="95" y="200"/>
                  <a:pt x="96" y="200"/>
                  <a:pt x="96" y="199"/>
                </a:cubicBezTo>
                <a:cubicBezTo>
                  <a:pt x="96" y="199"/>
                  <a:pt x="95" y="200"/>
                  <a:pt x="95" y="199"/>
                </a:cubicBezTo>
                <a:cubicBezTo>
                  <a:pt x="94" y="199"/>
                  <a:pt x="94" y="200"/>
                  <a:pt x="94" y="200"/>
                </a:cubicBezTo>
                <a:cubicBezTo>
                  <a:pt x="93" y="200"/>
                  <a:pt x="92" y="201"/>
                  <a:pt x="92" y="201"/>
                </a:cubicBezTo>
                <a:cubicBezTo>
                  <a:pt x="91" y="201"/>
                  <a:pt x="92" y="201"/>
                  <a:pt x="91" y="201"/>
                </a:cubicBezTo>
                <a:cubicBezTo>
                  <a:pt x="91" y="201"/>
                  <a:pt x="92" y="201"/>
                  <a:pt x="92" y="200"/>
                </a:cubicBezTo>
                <a:cubicBezTo>
                  <a:pt x="92" y="200"/>
                  <a:pt x="91" y="201"/>
                  <a:pt x="91" y="200"/>
                </a:cubicBezTo>
                <a:cubicBezTo>
                  <a:pt x="91" y="200"/>
                  <a:pt x="92" y="200"/>
                  <a:pt x="92" y="200"/>
                </a:cubicBezTo>
                <a:cubicBezTo>
                  <a:pt x="92" y="200"/>
                  <a:pt x="91" y="200"/>
                  <a:pt x="91" y="200"/>
                </a:cubicBezTo>
                <a:cubicBezTo>
                  <a:pt x="92" y="200"/>
                  <a:pt x="92" y="200"/>
                  <a:pt x="92" y="199"/>
                </a:cubicBezTo>
                <a:cubicBezTo>
                  <a:pt x="92" y="199"/>
                  <a:pt x="91" y="200"/>
                  <a:pt x="90" y="199"/>
                </a:cubicBezTo>
                <a:cubicBezTo>
                  <a:pt x="91" y="199"/>
                  <a:pt x="91" y="199"/>
                  <a:pt x="91" y="199"/>
                </a:cubicBezTo>
                <a:cubicBezTo>
                  <a:pt x="92" y="199"/>
                  <a:pt x="92" y="199"/>
                  <a:pt x="93" y="199"/>
                </a:cubicBezTo>
                <a:cubicBezTo>
                  <a:pt x="92" y="198"/>
                  <a:pt x="93" y="198"/>
                  <a:pt x="93" y="198"/>
                </a:cubicBezTo>
                <a:cubicBezTo>
                  <a:pt x="94" y="198"/>
                  <a:pt x="94" y="198"/>
                  <a:pt x="94" y="197"/>
                </a:cubicBezTo>
                <a:cubicBezTo>
                  <a:pt x="95" y="197"/>
                  <a:pt x="95" y="197"/>
                  <a:pt x="96" y="197"/>
                </a:cubicBezTo>
                <a:cubicBezTo>
                  <a:pt x="96" y="197"/>
                  <a:pt x="96" y="197"/>
                  <a:pt x="96" y="197"/>
                </a:cubicBezTo>
                <a:cubicBezTo>
                  <a:pt x="96" y="197"/>
                  <a:pt x="95" y="197"/>
                  <a:pt x="95" y="197"/>
                </a:cubicBezTo>
                <a:cubicBezTo>
                  <a:pt x="95" y="197"/>
                  <a:pt x="96" y="196"/>
                  <a:pt x="95" y="196"/>
                </a:cubicBezTo>
                <a:cubicBezTo>
                  <a:pt x="95" y="196"/>
                  <a:pt x="94" y="197"/>
                  <a:pt x="94" y="197"/>
                </a:cubicBezTo>
                <a:cubicBezTo>
                  <a:pt x="94" y="197"/>
                  <a:pt x="91" y="199"/>
                  <a:pt x="90" y="199"/>
                </a:cubicBezTo>
                <a:cubicBezTo>
                  <a:pt x="90" y="198"/>
                  <a:pt x="91" y="198"/>
                  <a:pt x="92" y="198"/>
                </a:cubicBezTo>
                <a:cubicBezTo>
                  <a:pt x="90" y="197"/>
                  <a:pt x="89" y="200"/>
                  <a:pt x="88" y="199"/>
                </a:cubicBezTo>
                <a:cubicBezTo>
                  <a:pt x="87" y="198"/>
                  <a:pt x="89" y="198"/>
                  <a:pt x="89" y="198"/>
                </a:cubicBezTo>
                <a:cubicBezTo>
                  <a:pt x="90" y="198"/>
                  <a:pt x="91" y="198"/>
                  <a:pt x="91" y="197"/>
                </a:cubicBezTo>
                <a:cubicBezTo>
                  <a:pt x="91" y="197"/>
                  <a:pt x="90" y="197"/>
                  <a:pt x="90" y="198"/>
                </a:cubicBezTo>
                <a:cubicBezTo>
                  <a:pt x="89" y="198"/>
                  <a:pt x="89" y="198"/>
                  <a:pt x="88" y="198"/>
                </a:cubicBezTo>
                <a:cubicBezTo>
                  <a:pt x="89" y="197"/>
                  <a:pt x="92" y="197"/>
                  <a:pt x="93" y="197"/>
                </a:cubicBezTo>
                <a:cubicBezTo>
                  <a:pt x="94" y="196"/>
                  <a:pt x="95" y="196"/>
                  <a:pt x="96" y="195"/>
                </a:cubicBezTo>
                <a:cubicBezTo>
                  <a:pt x="96" y="195"/>
                  <a:pt x="97" y="195"/>
                  <a:pt x="97" y="194"/>
                </a:cubicBezTo>
                <a:cubicBezTo>
                  <a:pt x="97" y="194"/>
                  <a:pt x="96" y="195"/>
                  <a:pt x="96" y="195"/>
                </a:cubicBezTo>
                <a:cubicBezTo>
                  <a:pt x="95" y="195"/>
                  <a:pt x="96" y="194"/>
                  <a:pt x="95" y="194"/>
                </a:cubicBezTo>
                <a:cubicBezTo>
                  <a:pt x="95" y="194"/>
                  <a:pt x="95" y="195"/>
                  <a:pt x="95" y="195"/>
                </a:cubicBezTo>
                <a:cubicBezTo>
                  <a:pt x="94" y="196"/>
                  <a:pt x="93" y="196"/>
                  <a:pt x="92" y="196"/>
                </a:cubicBezTo>
                <a:cubicBezTo>
                  <a:pt x="92" y="197"/>
                  <a:pt x="91" y="197"/>
                  <a:pt x="91" y="197"/>
                </a:cubicBezTo>
                <a:cubicBezTo>
                  <a:pt x="91" y="197"/>
                  <a:pt x="90" y="197"/>
                  <a:pt x="90" y="197"/>
                </a:cubicBezTo>
                <a:cubicBezTo>
                  <a:pt x="89" y="196"/>
                  <a:pt x="93" y="196"/>
                  <a:pt x="93" y="195"/>
                </a:cubicBezTo>
                <a:cubicBezTo>
                  <a:pt x="93" y="195"/>
                  <a:pt x="93" y="195"/>
                  <a:pt x="93" y="195"/>
                </a:cubicBezTo>
                <a:cubicBezTo>
                  <a:pt x="93" y="195"/>
                  <a:pt x="93" y="195"/>
                  <a:pt x="93" y="195"/>
                </a:cubicBezTo>
                <a:cubicBezTo>
                  <a:pt x="93" y="195"/>
                  <a:pt x="94" y="195"/>
                  <a:pt x="94" y="195"/>
                </a:cubicBezTo>
                <a:cubicBezTo>
                  <a:pt x="94" y="194"/>
                  <a:pt x="93" y="194"/>
                  <a:pt x="93" y="195"/>
                </a:cubicBezTo>
                <a:cubicBezTo>
                  <a:pt x="93" y="194"/>
                  <a:pt x="93" y="194"/>
                  <a:pt x="92" y="194"/>
                </a:cubicBezTo>
                <a:cubicBezTo>
                  <a:pt x="93" y="194"/>
                  <a:pt x="94" y="193"/>
                  <a:pt x="94" y="193"/>
                </a:cubicBezTo>
                <a:cubicBezTo>
                  <a:pt x="93" y="193"/>
                  <a:pt x="93" y="194"/>
                  <a:pt x="92" y="194"/>
                </a:cubicBezTo>
                <a:cubicBezTo>
                  <a:pt x="92" y="194"/>
                  <a:pt x="91" y="193"/>
                  <a:pt x="91" y="194"/>
                </a:cubicBezTo>
                <a:cubicBezTo>
                  <a:pt x="91" y="194"/>
                  <a:pt x="92" y="194"/>
                  <a:pt x="92" y="195"/>
                </a:cubicBezTo>
                <a:cubicBezTo>
                  <a:pt x="92" y="195"/>
                  <a:pt x="92" y="195"/>
                  <a:pt x="91" y="195"/>
                </a:cubicBezTo>
                <a:cubicBezTo>
                  <a:pt x="92" y="195"/>
                  <a:pt x="91" y="196"/>
                  <a:pt x="90" y="196"/>
                </a:cubicBezTo>
                <a:cubicBezTo>
                  <a:pt x="90" y="196"/>
                  <a:pt x="89" y="195"/>
                  <a:pt x="89" y="195"/>
                </a:cubicBezTo>
                <a:cubicBezTo>
                  <a:pt x="89" y="195"/>
                  <a:pt x="90" y="196"/>
                  <a:pt x="89" y="196"/>
                </a:cubicBezTo>
                <a:cubicBezTo>
                  <a:pt x="88" y="197"/>
                  <a:pt x="89" y="195"/>
                  <a:pt x="88" y="195"/>
                </a:cubicBezTo>
                <a:cubicBezTo>
                  <a:pt x="88" y="195"/>
                  <a:pt x="88" y="196"/>
                  <a:pt x="87" y="196"/>
                </a:cubicBezTo>
                <a:cubicBezTo>
                  <a:pt x="87" y="196"/>
                  <a:pt x="88" y="196"/>
                  <a:pt x="87" y="196"/>
                </a:cubicBezTo>
                <a:cubicBezTo>
                  <a:pt x="86" y="196"/>
                  <a:pt x="86" y="196"/>
                  <a:pt x="86" y="196"/>
                </a:cubicBezTo>
                <a:cubicBezTo>
                  <a:pt x="86" y="197"/>
                  <a:pt x="86" y="196"/>
                  <a:pt x="85" y="196"/>
                </a:cubicBezTo>
                <a:cubicBezTo>
                  <a:pt x="86" y="197"/>
                  <a:pt x="86" y="197"/>
                  <a:pt x="86" y="197"/>
                </a:cubicBezTo>
                <a:cubicBezTo>
                  <a:pt x="85" y="197"/>
                  <a:pt x="85" y="197"/>
                  <a:pt x="85" y="197"/>
                </a:cubicBezTo>
                <a:cubicBezTo>
                  <a:pt x="85" y="197"/>
                  <a:pt x="84" y="197"/>
                  <a:pt x="85" y="197"/>
                </a:cubicBezTo>
                <a:cubicBezTo>
                  <a:pt x="84" y="197"/>
                  <a:pt x="84" y="197"/>
                  <a:pt x="83" y="197"/>
                </a:cubicBezTo>
                <a:cubicBezTo>
                  <a:pt x="84" y="197"/>
                  <a:pt x="84" y="197"/>
                  <a:pt x="84" y="197"/>
                </a:cubicBezTo>
                <a:cubicBezTo>
                  <a:pt x="84" y="198"/>
                  <a:pt x="84" y="198"/>
                  <a:pt x="84" y="198"/>
                </a:cubicBezTo>
                <a:cubicBezTo>
                  <a:pt x="83" y="198"/>
                  <a:pt x="82" y="198"/>
                  <a:pt x="83" y="198"/>
                </a:cubicBezTo>
                <a:cubicBezTo>
                  <a:pt x="83" y="198"/>
                  <a:pt x="82" y="198"/>
                  <a:pt x="82" y="198"/>
                </a:cubicBezTo>
                <a:cubicBezTo>
                  <a:pt x="82" y="198"/>
                  <a:pt x="83" y="198"/>
                  <a:pt x="83" y="197"/>
                </a:cubicBezTo>
                <a:cubicBezTo>
                  <a:pt x="83" y="198"/>
                  <a:pt x="83" y="198"/>
                  <a:pt x="82" y="198"/>
                </a:cubicBezTo>
                <a:cubicBezTo>
                  <a:pt x="82" y="198"/>
                  <a:pt x="82" y="197"/>
                  <a:pt x="82" y="197"/>
                </a:cubicBezTo>
                <a:cubicBezTo>
                  <a:pt x="82" y="197"/>
                  <a:pt x="83" y="197"/>
                  <a:pt x="83" y="197"/>
                </a:cubicBezTo>
                <a:cubicBezTo>
                  <a:pt x="83" y="196"/>
                  <a:pt x="82" y="197"/>
                  <a:pt x="82" y="197"/>
                </a:cubicBezTo>
                <a:cubicBezTo>
                  <a:pt x="82" y="197"/>
                  <a:pt x="82" y="197"/>
                  <a:pt x="82" y="196"/>
                </a:cubicBezTo>
                <a:cubicBezTo>
                  <a:pt x="82" y="196"/>
                  <a:pt x="81" y="197"/>
                  <a:pt x="81" y="197"/>
                </a:cubicBezTo>
                <a:cubicBezTo>
                  <a:pt x="80" y="197"/>
                  <a:pt x="81" y="197"/>
                  <a:pt x="80" y="197"/>
                </a:cubicBezTo>
                <a:cubicBezTo>
                  <a:pt x="80" y="197"/>
                  <a:pt x="79" y="197"/>
                  <a:pt x="79" y="197"/>
                </a:cubicBezTo>
                <a:cubicBezTo>
                  <a:pt x="79" y="197"/>
                  <a:pt x="78" y="197"/>
                  <a:pt x="78" y="197"/>
                </a:cubicBezTo>
                <a:cubicBezTo>
                  <a:pt x="78" y="197"/>
                  <a:pt x="77" y="197"/>
                  <a:pt x="77" y="197"/>
                </a:cubicBezTo>
                <a:cubicBezTo>
                  <a:pt x="76" y="197"/>
                  <a:pt x="76" y="197"/>
                  <a:pt x="76" y="197"/>
                </a:cubicBezTo>
                <a:cubicBezTo>
                  <a:pt x="76" y="197"/>
                  <a:pt x="76" y="197"/>
                  <a:pt x="77" y="197"/>
                </a:cubicBezTo>
                <a:cubicBezTo>
                  <a:pt x="77" y="197"/>
                  <a:pt x="77" y="198"/>
                  <a:pt x="76" y="198"/>
                </a:cubicBezTo>
                <a:cubicBezTo>
                  <a:pt x="77" y="197"/>
                  <a:pt x="79" y="197"/>
                  <a:pt x="80" y="198"/>
                </a:cubicBezTo>
                <a:cubicBezTo>
                  <a:pt x="79" y="198"/>
                  <a:pt x="78" y="198"/>
                  <a:pt x="77" y="198"/>
                </a:cubicBezTo>
                <a:cubicBezTo>
                  <a:pt x="76" y="198"/>
                  <a:pt x="76" y="198"/>
                  <a:pt x="75" y="198"/>
                </a:cubicBezTo>
                <a:cubicBezTo>
                  <a:pt x="75" y="198"/>
                  <a:pt x="75" y="198"/>
                  <a:pt x="75" y="198"/>
                </a:cubicBezTo>
                <a:cubicBezTo>
                  <a:pt x="75" y="197"/>
                  <a:pt x="74" y="198"/>
                  <a:pt x="74" y="198"/>
                </a:cubicBezTo>
                <a:cubicBezTo>
                  <a:pt x="74" y="198"/>
                  <a:pt x="74" y="198"/>
                  <a:pt x="75" y="198"/>
                </a:cubicBezTo>
                <a:cubicBezTo>
                  <a:pt x="75" y="198"/>
                  <a:pt x="75" y="198"/>
                  <a:pt x="75" y="198"/>
                </a:cubicBezTo>
                <a:cubicBezTo>
                  <a:pt x="75" y="198"/>
                  <a:pt x="76" y="198"/>
                  <a:pt x="76" y="198"/>
                </a:cubicBezTo>
                <a:cubicBezTo>
                  <a:pt x="76" y="198"/>
                  <a:pt x="75" y="199"/>
                  <a:pt x="75" y="199"/>
                </a:cubicBezTo>
                <a:cubicBezTo>
                  <a:pt x="76" y="199"/>
                  <a:pt x="76" y="199"/>
                  <a:pt x="77" y="199"/>
                </a:cubicBezTo>
                <a:cubicBezTo>
                  <a:pt x="76" y="199"/>
                  <a:pt x="75" y="199"/>
                  <a:pt x="74" y="199"/>
                </a:cubicBezTo>
                <a:cubicBezTo>
                  <a:pt x="75" y="199"/>
                  <a:pt x="75" y="199"/>
                  <a:pt x="75" y="199"/>
                </a:cubicBezTo>
                <a:cubicBezTo>
                  <a:pt x="74" y="199"/>
                  <a:pt x="74" y="199"/>
                  <a:pt x="74" y="199"/>
                </a:cubicBezTo>
                <a:cubicBezTo>
                  <a:pt x="74" y="199"/>
                  <a:pt x="73" y="199"/>
                  <a:pt x="73" y="199"/>
                </a:cubicBezTo>
                <a:cubicBezTo>
                  <a:pt x="73" y="199"/>
                  <a:pt x="73" y="199"/>
                  <a:pt x="73" y="199"/>
                </a:cubicBezTo>
                <a:cubicBezTo>
                  <a:pt x="73" y="198"/>
                  <a:pt x="73" y="198"/>
                  <a:pt x="72" y="198"/>
                </a:cubicBezTo>
                <a:cubicBezTo>
                  <a:pt x="73" y="198"/>
                  <a:pt x="73" y="198"/>
                  <a:pt x="73" y="198"/>
                </a:cubicBezTo>
                <a:cubicBezTo>
                  <a:pt x="73" y="198"/>
                  <a:pt x="73" y="198"/>
                  <a:pt x="73" y="198"/>
                </a:cubicBezTo>
                <a:cubicBezTo>
                  <a:pt x="73" y="197"/>
                  <a:pt x="74" y="197"/>
                  <a:pt x="75" y="197"/>
                </a:cubicBezTo>
                <a:cubicBezTo>
                  <a:pt x="75" y="197"/>
                  <a:pt x="77" y="197"/>
                  <a:pt x="77" y="196"/>
                </a:cubicBezTo>
                <a:cubicBezTo>
                  <a:pt x="76" y="196"/>
                  <a:pt x="75" y="196"/>
                  <a:pt x="74" y="197"/>
                </a:cubicBezTo>
                <a:cubicBezTo>
                  <a:pt x="74" y="196"/>
                  <a:pt x="72" y="196"/>
                  <a:pt x="72" y="196"/>
                </a:cubicBezTo>
                <a:cubicBezTo>
                  <a:pt x="72" y="196"/>
                  <a:pt x="74" y="196"/>
                  <a:pt x="74" y="196"/>
                </a:cubicBezTo>
                <a:cubicBezTo>
                  <a:pt x="75" y="196"/>
                  <a:pt x="76" y="196"/>
                  <a:pt x="76" y="196"/>
                </a:cubicBezTo>
                <a:cubicBezTo>
                  <a:pt x="77" y="195"/>
                  <a:pt x="76" y="196"/>
                  <a:pt x="76" y="196"/>
                </a:cubicBezTo>
                <a:cubicBezTo>
                  <a:pt x="76" y="195"/>
                  <a:pt x="77" y="195"/>
                  <a:pt x="78" y="194"/>
                </a:cubicBezTo>
                <a:cubicBezTo>
                  <a:pt x="77" y="194"/>
                  <a:pt x="76" y="195"/>
                  <a:pt x="75" y="195"/>
                </a:cubicBezTo>
                <a:cubicBezTo>
                  <a:pt x="74" y="195"/>
                  <a:pt x="75" y="195"/>
                  <a:pt x="75" y="194"/>
                </a:cubicBezTo>
                <a:cubicBezTo>
                  <a:pt x="74" y="195"/>
                  <a:pt x="74" y="194"/>
                  <a:pt x="75" y="194"/>
                </a:cubicBezTo>
                <a:cubicBezTo>
                  <a:pt x="75" y="194"/>
                  <a:pt x="75" y="194"/>
                  <a:pt x="76" y="193"/>
                </a:cubicBezTo>
                <a:cubicBezTo>
                  <a:pt x="76" y="193"/>
                  <a:pt x="77" y="193"/>
                  <a:pt x="77" y="193"/>
                </a:cubicBezTo>
                <a:cubicBezTo>
                  <a:pt x="76" y="193"/>
                  <a:pt x="76" y="193"/>
                  <a:pt x="75" y="193"/>
                </a:cubicBezTo>
                <a:cubicBezTo>
                  <a:pt x="75" y="193"/>
                  <a:pt x="75" y="194"/>
                  <a:pt x="75" y="194"/>
                </a:cubicBezTo>
                <a:cubicBezTo>
                  <a:pt x="75" y="194"/>
                  <a:pt x="74" y="194"/>
                  <a:pt x="74" y="194"/>
                </a:cubicBezTo>
                <a:cubicBezTo>
                  <a:pt x="74" y="194"/>
                  <a:pt x="74" y="194"/>
                  <a:pt x="74" y="195"/>
                </a:cubicBezTo>
                <a:cubicBezTo>
                  <a:pt x="74" y="195"/>
                  <a:pt x="73" y="195"/>
                  <a:pt x="72" y="195"/>
                </a:cubicBezTo>
                <a:cubicBezTo>
                  <a:pt x="72" y="195"/>
                  <a:pt x="74" y="194"/>
                  <a:pt x="74" y="194"/>
                </a:cubicBezTo>
                <a:cubicBezTo>
                  <a:pt x="73" y="194"/>
                  <a:pt x="73" y="194"/>
                  <a:pt x="72" y="194"/>
                </a:cubicBezTo>
                <a:cubicBezTo>
                  <a:pt x="72" y="194"/>
                  <a:pt x="72" y="194"/>
                  <a:pt x="72" y="194"/>
                </a:cubicBezTo>
                <a:cubicBezTo>
                  <a:pt x="72" y="194"/>
                  <a:pt x="72" y="194"/>
                  <a:pt x="72" y="194"/>
                </a:cubicBezTo>
                <a:cubicBezTo>
                  <a:pt x="72" y="194"/>
                  <a:pt x="72" y="194"/>
                  <a:pt x="72" y="193"/>
                </a:cubicBezTo>
                <a:cubicBezTo>
                  <a:pt x="72" y="194"/>
                  <a:pt x="72" y="194"/>
                  <a:pt x="71" y="194"/>
                </a:cubicBezTo>
                <a:cubicBezTo>
                  <a:pt x="71" y="193"/>
                  <a:pt x="73" y="194"/>
                  <a:pt x="73" y="193"/>
                </a:cubicBezTo>
                <a:cubicBezTo>
                  <a:pt x="73" y="193"/>
                  <a:pt x="73" y="193"/>
                  <a:pt x="73" y="193"/>
                </a:cubicBezTo>
                <a:cubicBezTo>
                  <a:pt x="73" y="192"/>
                  <a:pt x="74" y="193"/>
                  <a:pt x="74" y="192"/>
                </a:cubicBezTo>
                <a:cubicBezTo>
                  <a:pt x="74" y="193"/>
                  <a:pt x="73" y="192"/>
                  <a:pt x="73" y="192"/>
                </a:cubicBezTo>
                <a:cubicBezTo>
                  <a:pt x="73" y="192"/>
                  <a:pt x="73" y="192"/>
                  <a:pt x="72" y="192"/>
                </a:cubicBezTo>
                <a:cubicBezTo>
                  <a:pt x="72" y="192"/>
                  <a:pt x="72" y="192"/>
                  <a:pt x="72" y="192"/>
                </a:cubicBezTo>
                <a:cubicBezTo>
                  <a:pt x="72" y="192"/>
                  <a:pt x="72" y="192"/>
                  <a:pt x="72" y="192"/>
                </a:cubicBezTo>
                <a:cubicBezTo>
                  <a:pt x="72" y="192"/>
                  <a:pt x="71" y="192"/>
                  <a:pt x="70" y="192"/>
                </a:cubicBezTo>
                <a:cubicBezTo>
                  <a:pt x="70" y="192"/>
                  <a:pt x="70" y="192"/>
                  <a:pt x="70" y="192"/>
                </a:cubicBezTo>
                <a:cubicBezTo>
                  <a:pt x="70" y="192"/>
                  <a:pt x="69" y="193"/>
                  <a:pt x="69" y="193"/>
                </a:cubicBezTo>
                <a:cubicBezTo>
                  <a:pt x="69" y="192"/>
                  <a:pt x="69" y="192"/>
                  <a:pt x="70" y="192"/>
                </a:cubicBezTo>
                <a:cubicBezTo>
                  <a:pt x="69" y="192"/>
                  <a:pt x="69" y="192"/>
                  <a:pt x="69" y="192"/>
                </a:cubicBezTo>
                <a:cubicBezTo>
                  <a:pt x="70" y="192"/>
                  <a:pt x="71" y="192"/>
                  <a:pt x="72" y="191"/>
                </a:cubicBezTo>
                <a:cubicBezTo>
                  <a:pt x="73" y="191"/>
                  <a:pt x="75" y="191"/>
                  <a:pt x="76" y="191"/>
                </a:cubicBezTo>
                <a:cubicBezTo>
                  <a:pt x="75" y="191"/>
                  <a:pt x="74" y="191"/>
                  <a:pt x="74" y="191"/>
                </a:cubicBezTo>
                <a:cubicBezTo>
                  <a:pt x="74" y="191"/>
                  <a:pt x="75" y="191"/>
                  <a:pt x="75" y="191"/>
                </a:cubicBezTo>
                <a:cubicBezTo>
                  <a:pt x="76" y="190"/>
                  <a:pt x="74" y="190"/>
                  <a:pt x="74" y="190"/>
                </a:cubicBezTo>
                <a:cubicBezTo>
                  <a:pt x="73" y="191"/>
                  <a:pt x="71" y="191"/>
                  <a:pt x="69" y="192"/>
                </a:cubicBezTo>
                <a:cubicBezTo>
                  <a:pt x="70" y="191"/>
                  <a:pt x="68" y="191"/>
                  <a:pt x="69" y="191"/>
                </a:cubicBezTo>
                <a:cubicBezTo>
                  <a:pt x="69" y="191"/>
                  <a:pt x="68" y="191"/>
                  <a:pt x="68" y="191"/>
                </a:cubicBezTo>
                <a:cubicBezTo>
                  <a:pt x="68" y="190"/>
                  <a:pt x="69" y="190"/>
                  <a:pt x="70" y="190"/>
                </a:cubicBezTo>
                <a:cubicBezTo>
                  <a:pt x="71" y="190"/>
                  <a:pt x="72" y="190"/>
                  <a:pt x="73" y="190"/>
                </a:cubicBezTo>
                <a:cubicBezTo>
                  <a:pt x="72" y="189"/>
                  <a:pt x="71" y="190"/>
                  <a:pt x="70" y="190"/>
                </a:cubicBezTo>
                <a:cubicBezTo>
                  <a:pt x="70" y="190"/>
                  <a:pt x="71" y="190"/>
                  <a:pt x="71" y="190"/>
                </a:cubicBezTo>
                <a:cubicBezTo>
                  <a:pt x="70" y="190"/>
                  <a:pt x="70" y="190"/>
                  <a:pt x="70" y="190"/>
                </a:cubicBezTo>
                <a:cubicBezTo>
                  <a:pt x="70" y="189"/>
                  <a:pt x="70" y="189"/>
                  <a:pt x="70" y="189"/>
                </a:cubicBezTo>
                <a:cubicBezTo>
                  <a:pt x="71" y="189"/>
                  <a:pt x="71" y="189"/>
                  <a:pt x="71" y="189"/>
                </a:cubicBezTo>
                <a:cubicBezTo>
                  <a:pt x="72" y="189"/>
                  <a:pt x="71" y="189"/>
                  <a:pt x="72" y="188"/>
                </a:cubicBezTo>
                <a:cubicBezTo>
                  <a:pt x="71" y="188"/>
                  <a:pt x="71" y="189"/>
                  <a:pt x="71" y="189"/>
                </a:cubicBezTo>
                <a:cubicBezTo>
                  <a:pt x="70" y="189"/>
                  <a:pt x="70" y="189"/>
                  <a:pt x="69" y="189"/>
                </a:cubicBezTo>
                <a:cubicBezTo>
                  <a:pt x="70" y="189"/>
                  <a:pt x="70" y="189"/>
                  <a:pt x="70" y="188"/>
                </a:cubicBezTo>
                <a:cubicBezTo>
                  <a:pt x="70" y="188"/>
                  <a:pt x="71" y="188"/>
                  <a:pt x="71" y="188"/>
                </a:cubicBezTo>
                <a:cubicBezTo>
                  <a:pt x="72" y="187"/>
                  <a:pt x="72" y="187"/>
                  <a:pt x="72" y="187"/>
                </a:cubicBezTo>
                <a:cubicBezTo>
                  <a:pt x="72" y="187"/>
                  <a:pt x="74" y="187"/>
                  <a:pt x="74" y="186"/>
                </a:cubicBezTo>
                <a:cubicBezTo>
                  <a:pt x="73" y="186"/>
                  <a:pt x="72" y="186"/>
                  <a:pt x="72" y="187"/>
                </a:cubicBezTo>
                <a:cubicBezTo>
                  <a:pt x="71" y="187"/>
                  <a:pt x="70" y="187"/>
                  <a:pt x="70" y="188"/>
                </a:cubicBezTo>
                <a:cubicBezTo>
                  <a:pt x="69" y="188"/>
                  <a:pt x="69" y="190"/>
                  <a:pt x="68" y="189"/>
                </a:cubicBezTo>
                <a:cubicBezTo>
                  <a:pt x="68" y="188"/>
                  <a:pt x="70" y="187"/>
                  <a:pt x="70" y="187"/>
                </a:cubicBezTo>
                <a:cubicBezTo>
                  <a:pt x="69" y="187"/>
                  <a:pt x="69" y="188"/>
                  <a:pt x="68" y="188"/>
                </a:cubicBezTo>
                <a:cubicBezTo>
                  <a:pt x="67" y="188"/>
                  <a:pt x="69" y="187"/>
                  <a:pt x="69" y="187"/>
                </a:cubicBezTo>
                <a:cubicBezTo>
                  <a:pt x="69" y="187"/>
                  <a:pt x="69" y="187"/>
                  <a:pt x="68" y="187"/>
                </a:cubicBezTo>
                <a:cubicBezTo>
                  <a:pt x="69" y="186"/>
                  <a:pt x="70" y="187"/>
                  <a:pt x="71" y="186"/>
                </a:cubicBezTo>
                <a:cubicBezTo>
                  <a:pt x="72" y="186"/>
                  <a:pt x="72" y="186"/>
                  <a:pt x="72" y="186"/>
                </a:cubicBezTo>
                <a:cubicBezTo>
                  <a:pt x="73" y="186"/>
                  <a:pt x="73" y="186"/>
                  <a:pt x="73" y="185"/>
                </a:cubicBezTo>
                <a:cubicBezTo>
                  <a:pt x="73" y="185"/>
                  <a:pt x="73" y="185"/>
                  <a:pt x="72" y="185"/>
                </a:cubicBezTo>
                <a:cubicBezTo>
                  <a:pt x="72" y="185"/>
                  <a:pt x="72" y="185"/>
                  <a:pt x="73" y="185"/>
                </a:cubicBezTo>
                <a:cubicBezTo>
                  <a:pt x="72" y="185"/>
                  <a:pt x="71" y="185"/>
                  <a:pt x="71" y="185"/>
                </a:cubicBezTo>
                <a:cubicBezTo>
                  <a:pt x="71" y="185"/>
                  <a:pt x="72" y="184"/>
                  <a:pt x="73" y="184"/>
                </a:cubicBezTo>
                <a:cubicBezTo>
                  <a:pt x="71" y="184"/>
                  <a:pt x="71" y="186"/>
                  <a:pt x="71" y="186"/>
                </a:cubicBezTo>
                <a:cubicBezTo>
                  <a:pt x="70" y="186"/>
                  <a:pt x="69" y="186"/>
                  <a:pt x="69" y="186"/>
                </a:cubicBezTo>
                <a:cubicBezTo>
                  <a:pt x="69" y="186"/>
                  <a:pt x="69" y="186"/>
                  <a:pt x="69" y="186"/>
                </a:cubicBezTo>
                <a:cubicBezTo>
                  <a:pt x="69" y="186"/>
                  <a:pt x="69" y="186"/>
                  <a:pt x="69" y="186"/>
                </a:cubicBezTo>
                <a:cubicBezTo>
                  <a:pt x="68" y="186"/>
                  <a:pt x="68" y="186"/>
                  <a:pt x="67" y="186"/>
                </a:cubicBezTo>
                <a:cubicBezTo>
                  <a:pt x="66" y="186"/>
                  <a:pt x="68" y="186"/>
                  <a:pt x="68" y="186"/>
                </a:cubicBezTo>
                <a:cubicBezTo>
                  <a:pt x="68" y="186"/>
                  <a:pt x="67" y="186"/>
                  <a:pt x="67" y="186"/>
                </a:cubicBezTo>
                <a:cubicBezTo>
                  <a:pt x="68" y="186"/>
                  <a:pt x="68" y="186"/>
                  <a:pt x="69" y="185"/>
                </a:cubicBezTo>
                <a:cubicBezTo>
                  <a:pt x="68" y="185"/>
                  <a:pt x="67" y="186"/>
                  <a:pt x="67" y="185"/>
                </a:cubicBezTo>
                <a:cubicBezTo>
                  <a:pt x="67" y="185"/>
                  <a:pt x="69" y="185"/>
                  <a:pt x="70" y="185"/>
                </a:cubicBezTo>
                <a:cubicBezTo>
                  <a:pt x="69" y="185"/>
                  <a:pt x="69" y="185"/>
                  <a:pt x="69" y="185"/>
                </a:cubicBezTo>
                <a:cubicBezTo>
                  <a:pt x="69" y="185"/>
                  <a:pt x="71" y="184"/>
                  <a:pt x="70" y="185"/>
                </a:cubicBezTo>
                <a:cubicBezTo>
                  <a:pt x="70" y="184"/>
                  <a:pt x="70" y="184"/>
                  <a:pt x="70" y="184"/>
                </a:cubicBezTo>
                <a:cubicBezTo>
                  <a:pt x="70" y="184"/>
                  <a:pt x="69" y="184"/>
                  <a:pt x="69" y="185"/>
                </a:cubicBezTo>
                <a:cubicBezTo>
                  <a:pt x="69" y="185"/>
                  <a:pt x="68" y="185"/>
                  <a:pt x="67" y="185"/>
                </a:cubicBezTo>
                <a:cubicBezTo>
                  <a:pt x="68" y="185"/>
                  <a:pt x="68" y="184"/>
                  <a:pt x="69" y="184"/>
                </a:cubicBezTo>
                <a:cubicBezTo>
                  <a:pt x="70" y="184"/>
                  <a:pt x="71" y="184"/>
                  <a:pt x="71" y="184"/>
                </a:cubicBezTo>
                <a:cubicBezTo>
                  <a:pt x="70" y="184"/>
                  <a:pt x="69" y="184"/>
                  <a:pt x="69" y="184"/>
                </a:cubicBezTo>
                <a:cubicBezTo>
                  <a:pt x="69" y="184"/>
                  <a:pt x="69" y="183"/>
                  <a:pt x="69" y="183"/>
                </a:cubicBezTo>
                <a:cubicBezTo>
                  <a:pt x="69" y="183"/>
                  <a:pt x="68" y="184"/>
                  <a:pt x="68" y="184"/>
                </a:cubicBezTo>
                <a:cubicBezTo>
                  <a:pt x="67" y="184"/>
                  <a:pt x="66" y="184"/>
                  <a:pt x="66" y="184"/>
                </a:cubicBezTo>
                <a:cubicBezTo>
                  <a:pt x="66" y="184"/>
                  <a:pt x="67" y="184"/>
                  <a:pt x="67" y="183"/>
                </a:cubicBezTo>
                <a:cubicBezTo>
                  <a:pt x="67" y="184"/>
                  <a:pt x="66" y="183"/>
                  <a:pt x="66" y="183"/>
                </a:cubicBezTo>
                <a:cubicBezTo>
                  <a:pt x="66" y="183"/>
                  <a:pt x="66" y="183"/>
                  <a:pt x="66" y="183"/>
                </a:cubicBezTo>
                <a:cubicBezTo>
                  <a:pt x="65" y="183"/>
                  <a:pt x="66" y="183"/>
                  <a:pt x="65" y="183"/>
                </a:cubicBezTo>
                <a:cubicBezTo>
                  <a:pt x="65" y="182"/>
                  <a:pt x="64" y="182"/>
                  <a:pt x="64" y="181"/>
                </a:cubicBezTo>
                <a:cubicBezTo>
                  <a:pt x="65" y="181"/>
                  <a:pt x="65" y="180"/>
                  <a:pt x="66" y="179"/>
                </a:cubicBezTo>
                <a:cubicBezTo>
                  <a:pt x="67" y="179"/>
                  <a:pt x="69" y="178"/>
                  <a:pt x="69" y="177"/>
                </a:cubicBezTo>
                <a:cubicBezTo>
                  <a:pt x="69" y="178"/>
                  <a:pt x="67" y="179"/>
                  <a:pt x="67" y="178"/>
                </a:cubicBezTo>
                <a:cubicBezTo>
                  <a:pt x="66" y="179"/>
                  <a:pt x="66" y="179"/>
                  <a:pt x="65" y="179"/>
                </a:cubicBezTo>
                <a:cubicBezTo>
                  <a:pt x="65" y="178"/>
                  <a:pt x="67" y="177"/>
                  <a:pt x="68" y="177"/>
                </a:cubicBezTo>
                <a:cubicBezTo>
                  <a:pt x="69" y="177"/>
                  <a:pt x="71" y="177"/>
                  <a:pt x="71" y="176"/>
                </a:cubicBezTo>
                <a:cubicBezTo>
                  <a:pt x="70" y="176"/>
                  <a:pt x="69" y="176"/>
                  <a:pt x="68" y="177"/>
                </a:cubicBezTo>
                <a:cubicBezTo>
                  <a:pt x="67" y="177"/>
                  <a:pt x="66" y="178"/>
                  <a:pt x="65" y="178"/>
                </a:cubicBezTo>
                <a:cubicBezTo>
                  <a:pt x="65" y="178"/>
                  <a:pt x="65" y="178"/>
                  <a:pt x="65" y="178"/>
                </a:cubicBezTo>
                <a:cubicBezTo>
                  <a:pt x="65" y="178"/>
                  <a:pt x="66" y="177"/>
                  <a:pt x="66" y="177"/>
                </a:cubicBezTo>
                <a:cubicBezTo>
                  <a:pt x="66" y="177"/>
                  <a:pt x="67" y="177"/>
                  <a:pt x="67" y="176"/>
                </a:cubicBezTo>
                <a:cubicBezTo>
                  <a:pt x="67" y="176"/>
                  <a:pt x="68" y="176"/>
                  <a:pt x="67" y="176"/>
                </a:cubicBezTo>
                <a:cubicBezTo>
                  <a:pt x="67" y="176"/>
                  <a:pt x="67" y="176"/>
                  <a:pt x="67" y="176"/>
                </a:cubicBezTo>
                <a:cubicBezTo>
                  <a:pt x="66" y="177"/>
                  <a:pt x="65" y="177"/>
                  <a:pt x="64" y="177"/>
                </a:cubicBezTo>
                <a:cubicBezTo>
                  <a:pt x="64" y="176"/>
                  <a:pt x="65" y="176"/>
                  <a:pt x="65" y="176"/>
                </a:cubicBezTo>
                <a:cubicBezTo>
                  <a:pt x="64" y="176"/>
                  <a:pt x="64" y="176"/>
                  <a:pt x="65" y="175"/>
                </a:cubicBezTo>
                <a:cubicBezTo>
                  <a:pt x="65" y="175"/>
                  <a:pt x="66" y="175"/>
                  <a:pt x="66" y="175"/>
                </a:cubicBezTo>
                <a:cubicBezTo>
                  <a:pt x="66" y="174"/>
                  <a:pt x="69" y="174"/>
                  <a:pt x="69" y="174"/>
                </a:cubicBezTo>
                <a:cubicBezTo>
                  <a:pt x="69" y="174"/>
                  <a:pt x="68" y="174"/>
                  <a:pt x="67" y="174"/>
                </a:cubicBezTo>
                <a:cubicBezTo>
                  <a:pt x="67" y="174"/>
                  <a:pt x="66" y="175"/>
                  <a:pt x="66" y="174"/>
                </a:cubicBezTo>
                <a:cubicBezTo>
                  <a:pt x="65" y="174"/>
                  <a:pt x="63" y="175"/>
                  <a:pt x="63" y="175"/>
                </a:cubicBezTo>
                <a:cubicBezTo>
                  <a:pt x="62" y="175"/>
                  <a:pt x="64" y="174"/>
                  <a:pt x="64" y="174"/>
                </a:cubicBezTo>
                <a:cubicBezTo>
                  <a:pt x="63" y="174"/>
                  <a:pt x="63" y="175"/>
                  <a:pt x="62" y="175"/>
                </a:cubicBezTo>
                <a:cubicBezTo>
                  <a:pt x="61" y="175"/>
                  <a:pt x="62" y="174"/>
                  <a:pt x="63" y="174"/>
                </a:cubicBezTo>
                <a:cubicBezTo>
                  <a:pt x="62" y="174"/>
                  <a:pt x="62" y="174"/>
                  <a:pt x="62" y="174"/>
                </a:cubicBezTo>
                <a:cubicBezTo>
                  <a:pt x="62" y="174"/>
                  <a:pt x="62" y="174"/>
                  <a:pt x="62" y="173"/>
                </a:cubicBezTo>
                <a:cubicBezTo>
                  <a:pt x="62" y="174"/>
                  <a:pt x="62" y="173"/>
                  <a:pt x="62" y="173"/>
                </a:cubicBezTo>
                <a:cubicBezTo>
                  <a:pt x="63" y="173"/>
                  <a:pt x="63" y="173"/>
                  <a:pt x="64" y="173"/>
                </a:cubicBezTo>
                <a:cubicBezTo>
                  <a:pt x="65" y="173"/>
                  <a:pt x="65" y="173"/>
                  <a:pt x="66" y="173"/>
                </a:cubicBezTo>
                <a:cubicBezTo>
                  <a:pt x="67" y="173"/>
                  <a:pt x="67" y="172"/>
                  <a:pt x="68" y="172"/>
                </a:cubicBezTo>
                <a:cubicBezTo>
                  <a:pt x="67" y="172"/>
                  <a:pt x="66" y="173"/>
                  <a:pt x="65" y="172"/>
                </a:cubicBezTo>
                <a:cubicBezTo>
                  <a:pt x="64" y="172"/>
                  <a:pt x="63" y="173"/>
                  <a:pt x="63" y="173"/>
                </a:cubicBezTo>
                <a:cubicBezTo>
                  <a:pt x="62" y="173"/>
                  <a:pt x="63" y="172"/>
                  <a:pt x="63" y="172"/>
                </a:cubicBezTo>
                <a:cubicBezTo>
                  <a:pt x="63" y="172"/>
                  <a:pt x="62" y="173"/>
                  <a:pt x="62" y="173"/>
                </a:cubicBezTo>
                <a:cubicBezTo>
                  <a:pt x="62" y="172"/>
                  <a:pt x="62" y="172"/>
                  <a:pt x="62" y="172"/>
                </a:cubicBezTo>
                <a:cubicBezTo>
                  <a:pt x="62" y="172"/>
                  <a:pt x="62" y="172"/>
                  <a:pt x="62" y="172"/>
                </a:cubicBezTo>
                <a:cubicBezTo>
                  <a:pt x="62" y="172"/>
                  <a:pt x="63" y="171"/>
                  <a:pt x="64" y="171"/>
                </a:cubicBezTo>
                <a:cubicBezTo>
                  <a:pt x="64" y="171"/>
                  <a:pt x="65" y="171"/>
                  <a:pt x="66" y="171"/>
                </a:cubicBezTo>
                <a:cubicBezTo>
                  <a:pt x="65" y="171"/>
                  <a:pt x="64" y="171"/>
                  <a:pt x="64" y="171"/>
                </a:cubicBezTo>
                <a:cubicBezTo>
                  <a:pt x="63" y="171"/>
                  <a:pt x="62" y="171"/>
                  <a:pt x="63" y="170"/>
                </a:cubicBezTo>
                <a:cubicBezTo>
                  <a:pt x="64" y="170"/>
                  <a:pt x="64" y="170"/>
                  <a:pt x="65" y="170"/>
                </a:cubicBezTo>
                <a:cubicBezTo>
                  <a:pt x="65" y="170"/>
                  <a:pt x="68" y="170"/>
                  <a:pt x="67" y="170"/>
                </a:cubicBezTo>
                <a:cubicBezTo>
                  <a:pt x="69" y="170"/>
                  <a:pt x="66" y="170"/>
                  <a:pt x="66" y="170"/>
                </a:cubicBezTo>
                <a:cubicBezTo>
                  <a:pt x="65" y="170"/>
                  <a:pt x="63" y="170"/>
                  <a:pt x="63" y="170"/>
                </a:cubicBezTo>
                <a:cubicBezTo>
                  <a:pt x="63" y="171"/>
                  <a:pt x="63" y="171"/>
                  <a:pt x="63" y="171"/>
                </a:cubicBezTo>
                <a:cubicBezTo>
                  <a:pt x="62" y="171"/>
                  <a:pt x="62" y="171"/>
                  <a:pt x="61" y="171"/>
                </a:cubicBezTo>
                <a:cubicBezTo>
                  <a:pt x="61" y="171"/>
                  <a:pt x="60" y="171"/>
                  <a:pt x="61" y="171"/>
                </a:cubicBezTo>
                <a:cubicBezTo>
                  <a:pt x="61" y="171"/>
                  <a:pt x="61" y="171"/>
                  <a:pt x="62" y="170"/>
                </a:cubicBezTo>
                <a:cubicBezTo>
                  <a:pt x="61" y="170"/>
                  <a:pt x="60" y="170"/>
                  <a:pt x="61" y="170"/>
                </a:cubicBezTo>
                <a:cubicBezTo>
                  <a:pt x="61" y="169"/>
                  <a:pt x="62" y="169"/>
                  <a:pt x="62" y="169"/>
                </a:cubicBezTo>
                <a:cubicBezTo>
                  <a:pt x="61" y="169"/>
                  <a:pt x="61" y="169"/>
                  <a:pt x="60" y="169"/>
                </a:cubicBezTo>
                <a:cubicBezTo>
                  <a:pt x="61" y="168"/>
                  <a:pt x="62" y="169"/>
                  <a:pt x="63" y="169"/>
                </a:cubicBezTo>
                <a:cubicBezTo>
                  <a:pt x="63" y="169"/>
                  <a:pt x="64" y="168"/>
                  <a:pt x="64" y="168"/>
                </a:cubicBezTo>
                <a:cubicBezTo>
                  <a:pt x="65" y="168"/>
                  <a:pt x="65" y="168"/>
                  <a:pt x="66" y="167"/>
                </a:cubicBezTo>
                <a:cubicBezTo>
                  <a:pt x="65" y="167"/>
                  <a:pt x="64" y="168"/>
                  <a:pt x="62" y="168"/>
                </a:cubicBezTo>
                <a:cubicBezTo>
                  <a:pt x="62" y="168"/>
                  <a:pt x="61" y="168"/>
                  <a:pt x="62" y="168"/>
                </a:cubicBezTo>
                <a:cubicBezTo>
                  <a:pt x="62" y="168"/>
                  <a:pt x="63" y="168"/>
                  <a:pt x="62" y="167"/>
                </a:cubicBezTo>
                <a:cubicBezTo>
                  <a:pt x="63" y="167"/>
                  <a:pt x="63" y="167"/>
                  <a:pt x="63" y="167"/>
                </a:cubicBezTo>
                <a:cubicBezTo>
                  <a:pt x="63" y="166"/>
                  <a:pt x="62" y="167"/>
                  <a:pt x="61" y="166"/>
                </a:cubicBezTo>
                <a:cubicBezTo>
                  <a:pt x="62" y="166"/>
                  <a:pt x="62" y="166"/>
                  <a:pt x="63" y="166"/>
                </a:cubicBezTo>
                <a:cubicBezTo>
                  <a:pt x="63" y="166"/>
                  <a:pt x="63" y="167"/>
                  <a:pt x="64" y="166"/>
                </a:cubicBezTo>
                <a:cubicBezTo>
                  <a:pt x="64" y="166"/>
                  <a:pt x="63" y="166"/>
                  <a:pt x="63" y="166"/>
                </a:cubicBezTo>
                <a:cubicBezTo>
                  <a:pt x="64" y="166"/>
                  <a:pt x="65" y="166"/>
                  <a:pt x="67" y="166"/>
                </a:cubicBezTo>
                <a:cubicBezTo>
                  <a:pt x="67" y="166"/>
                  <a:pt x="68" y="165"/>
                  <a:pt x="69" y="165"/>
                </a:cubicBezTo>
                <a:cubicBezTo>
                  <a:pt x="70" y="165"/>
                  <a:pt x="70" y="165"/>
                  <a:pt x="71" y="165"/>
                </a:cubicBezTo>
                <a:cubicBezTo>
                  <a:pt x="71" y="165"/>
                  <a:pt x="71" y="165"/>
                  <a:pt x="72" y="165"/>
                </a:cubicBezTo>
                <a:cubicBezTo>
                  <a:pt x="72" y="165"/>
                  <a:pt x="73" y="164"/>
                  <a:pt x="73" y="165"/>
                </a:cubicBezTo>
                <a:cubicBezTo>
                  <a:pt x="73" y="165"/>
                  <a:pt x="73" y="165"/>
                  <a:pt x="73" y="165"/>
                </a:cubicBezTo>
                <a:cubicBezTo>
                  <a:pt x="73" y="165"/>
                  <a:pt x="74" y="164"/>
                  <a:pt x="73" y="164"/>
                </a:cubicBezTo>
                <a:cubicBezTo>
                  <a:pt x="72" y="164"/>
                  <a:pt x="71" y="165"/>
                  <a:pt x="70" y="165"/>
                </a:cubicBezTo>
                <a:cubicBezTo>
                  <a:pt x="71" y="164"/>
                  <a:pt x="72" y="164"/>
                  <a:pt x="72" y="163"/>
                </a:cubicBezTo>
                <a:cubicBezTo>
                  <a:pt x="72" y="163"/>
                  <a:pt x="71" y="164"/>
                  <a:pt x="71" y="164"/>
                </a:cubicBezTo>
                <a:cubicBezTo>
                  <a:pt x="70" y="164"/>
                  <a:pt x="69" y="165"/>
                  <a:pt x="68" y="165"/>
                </a:cubicBezTo>
                <a:cubicBezTo>
                  <a:pt x="66" y="165"/>
                  <a:pt x="65" y="165"/>
                  <a:pt x="64" y="166"/>
                </a:cubicBezTo>
                <a:cubicBezTo>
                  <a:pt x="63" y="166"/>
                  <a:pt x="62" y="166"/>
                  <a:pt x="62" y="165"/>
                </a:cubicBezTo>
                <a:cubicBezTo>
                  <a:pt x="62" y="165"/>
                  <a:pt x="63" y="165"/>
                  <a:pt x="63" y="165"/>
                </a:cubicBezTo>
                <a:cubicBezTo>
                  <a:pt x="63" y="165"/>
                  <a:pt x="64" y="165"/>
                  <a:pt x="64" y="165"/>
                </a:cubicBezTo>
                <a:cubicBezTo>
                  <a:pt x="64" y="165"/>
                  <a:pt x="63" y="165"/>
                  <a:pt x="63" y="165"/>
                </a:cubicBezTo>
                <a:cubicBezTo>
                  <a:pt x="63" y="165"/>
                  <a:pt x="63" y="165"/>
                  <a:pt x="62" y="165"/>
                </a:cubicBezTo>
                <a:cubicBezTo>
                  <a:pt x="62" y="165"/>
                  <a:pt x="61" y="165"/>
                  <a:pt x="62" y="165"/>
                </a:cubicBezTo>
                <a:cubicBezTo>
                  <a:pt x="61" y="165"/>
                  <a:pt x="61" y="165"/>
                  <a:pt x="61" y="165"/>
                </a:cubicBezTo>
                <a:cubicBezTo>
                  <a:pt x="61" y="164"/>
                  <a:pt x="62" y="164"/>
                  <a:pt x="63" y="164"/>
                </a:cubicBezTo>
                <a:cubicBezTo>
                  <a:pt x="63" y="164"/>
                  <a:pt x="63" y="164"/>
                  <a:pt x="63" y="164"/>
                </a:cubicBezTo>
                <a:cubicBezTo>
                  <a:pt x="64" y="164"/>
                  <a:pt x="64" y="165"/>
                  <a:pt x="64" y="165"/>
                </a:cubicBezTo>
                <a:cubicBezTo>
                  <a:pt x="65" y="165"/>
                  <a:pt x="66" y="164"/>
                  <a:pt x="66" y="164"/>
                </a:cubicBezTo>
                <a:cubicBezTo>
                  <a:pt x="67" y="164"/>
                  <a:pt x="67" y="164"/>
                  <a:pt x="67" y="164"/>
                </a:cubicBezTo>
                <a:cubicBezTo>
                  <a:pt x="67" y="164"/>
                  <a:pt x="68" y="164"/>
                  <a:pt x="68" y="164"/>
                </a:cubicBezTo>
                <a:cubicBezTo>
                  <a:pt x="68" y="164"/>
                  <a:pt x="67" y="164"/>
                  <a:pt x="67" y="164"/>
                </a:cubicBezTo>
                <a:cubicBezTo>
                  <a:pt x="68" y="164"/>
                  <a:pt x="68" y="163"/>
                  <a:pt x="69" y="162"/>
                </a:cubicBezTo>
                <a:cubicBezTo>
                  <a:pt x="69" y="162"/>
                  <a:pt x="69" y="162"/>
                  <a:pt x="69" y="162"/>
                </a:cubicBezTo>
                <a:cubicBezTo>
                  <a:pt x="70" y="163"/>
                  <a:pt x="71" y="163"/>
                  <a:pt x="71" y="163"/>
                </a:cubicBezTo>
                <a:cubicBezTo>
                  <a:pt x="71" y="163"/>
                  <a:pt x="70" y="163"/>
                  <a:pt x="70" y="162"/>
                </a:cubicBezTo>
                <a:cubicBezTo>
                  <a:pt x="71" y="163"/>
                  <a:pt x="74" y="163"/>
                  <a:pt x="74" y="162"/>
                </a:cubicBezTo>
                <a:cubicBezTo>
                  <a:pt x="74" y="162"/>
                  <a:pt x="73" y="162"/>
                  <a:pt x="73" y="162"/>
                </a:cubicBezTo>
                <a:cubicBezTo>
                  <a:pt x="72" y="163"/>
                  <a:pt x="71" y="162"/>
                  <a:pt x="71" y="162"/>
                </a:cubicBezTo>
                <a:cubicBezTo>
                  <a:pt x="71" y="162"/>
                  <a:pt x="72" y="162"/>
                  <a:pt x="72" y="161"/>
                </a:cubicBezTo>
                <a:cubicBezTo>
                  <a:pt x="72" y="161"/>
                  <a:pt x="71" y="162"/>
                  <a:pt x="71" y="161"/>
                </a:cubicBezTo>
                <a:cubicBezTo>
                  <a:pt x="71" y="161"/>
                  <a:pt x="71" y="161"/>
                  <a:pt x="71" y="161"/>
                </a:cubicBezTo>
                <a:cubicBezTo>
                  <a:pt x="71" y="161"/>
                  <a:pt x="71" y="161"/>
                  <a:pt x="70" y="161"/>
                </a:cubicBezTo>
                <a:cubicBezTo>
                  <a:pt x="70" y="161"/>
                  <a:pt x="70" y="161"/>
                  <a:pt x="69" y="161"/>
                </a:cubicBezTo>
                <a:cubicBezTo>
                  <a:pt x="70" y="160"/>
                  <a:pt x="71" y="160"/>
                  <a:pt x="72" y="160"/>
                </a:cubicBezTo>
                <a:cubicBezTo>
                  <a:pt x="72" y="160"/>
                  <a:pt x="73" y="160"/>
                  <a:pt x="73" y="160"/>
                </a:cubicBezTo>
                <a:cubicBezTo>
                  <a:pt x="73" y="160"/>
                  <a:pt x="72" y="160"/>
                  <a:pt x="72" y="160"/>
                </a:cubicBezTo>
                <a:cubicBezTo>
                  <a:pt x="72" y="160"/>
                  <a:pt x="73" y="160"/>
                  <a:pt x="74" y="160"/>
                </a:cubicBezTo>
                <a:cubicBezTo>
                  <a:pt x="75" y="160"/>
                  <a:pt x="74" y="162"/>
                  <a:pt x="75" y="162"/>
                </a:cubicBezTo>
                <a:cubicBezTo>
                  <a:pt x="76" y="162"/>
                  <a:pt x="76" y="163"/>
                  <a:pt x="77" y="163"/>
                </a:cubicBezTo>
                <a:cubicBezTo>
                  <a:pt x="79" y="164"/>
                  <a:pt x="77" y="163"/>
                  <a:pt x="78" y="162"/>
                </a:cubicBezTo>
                <a:cubicBezTo>
                  <a:pt x="77" y="162"/>
                  <a:pt x="75" y="162"/>
                  <a:pt x="75" y="161"/>
                </a:cubicBezTo>
                <a:cubicBezTo>
                  <a:pt x="75" y="160"/>
                  <a:pt x="76" y="160"/>
                  <a:pt x="77" y="160"/>
                </a:cubicBezTo>
                <a:cubicBezTo>
                  <a:pt x="76" y="160"/>
                  <a:pt x="76" y="160"/>
                  <a:pt x="75" y="160"/>
                </a:cubicBezTo>
                <a:cubicBezTo>
                  <a:pt x="75" y="159"/>
                  <a:pt x="77" y="158"/>
                  <a:pt x="77" y="158"/>
                </a:cubicBezTo>
                <a:cubicBezTo>
                  <a:pt x="76" y="158"/>
                  <a:pt x="75" y="159"/>
                  <a:pt x="74" y="159"/>
                </a:cubicBezTo>
                <a:cubicBezTo>
                  <a:pt x="73" y="159"/>
                  <a:pt x="73" y="159"/>
                  <a:pt x="73" y="159"/>
                </a:cubicBezTo>
                <a:cubicBezTo>
                  <a:pt x="73" y="158"/>
                  <a:pt x="72" y="157"/>
                  <a:pt x="73" y="157"/>
                </a:cubicBezTo>
                <a:cubicBezTo>
                  <a:pt x="72" y="157"/>
                  <a:pt x="73" y="156"/>
                  <a:pt x="72" y="156"/>
                </a:cubicBezTo>
                <a:cubicBezTo>
                  <a:pt x="72" y="155"/>
                  <a:pt x="73" y="155"/>
                  <a:pt x="74" y="155"/>
                </a:cubicBezTo>
                <a:cubicBezTo>
                  <a:pt x="73" y="155"/>
                  <a:pt x="73" y="156"/>
                  <a:pt x="72" y="155"/>
                </a:cubicBezTo>
                <a:cubicBezTo>
                  <a:pt x="72" y="155"/>
                  <a:pt x="72" y="155"/>
                  <a:pt x="72" y="155"/>
                </a:cubicBezTo>
                <a:cubicBezTo>
                  <a:pt x="72" y="155"/>
                  <a:pt x="72" y="156"/>
                  <a:pt x="72" y="156"/>
                </a:cubicBezTo>
                <a:cubicBezTo>
                  <a:pt x="72" y="156"/>
                  <a:pt x="72" y="156"/>
                  <a:pt x="71" y="156"/>
                </a:cubicBezTo>
                <a:cubicBezTo>
                  <a:pt x="72" y="156"/>
                  <a:pt x="71" y="157"/>
                  <a:pt x="71" y="157"/>
                </a:cubicBezTo>
                <a:cubicBezTo>
                  <a:pt x="72" y="157"/>
                  <a:pt x="72" y="157"/>
                  <a:pt x="73" y="157"/>
                </a:cubicBezTo>
                <a:cubicBezTo>
                  <a:pt x="72" y="157"/>
                  <a:pt x="72" y="158"/>
                  <a:pt x="72" y="158"/>
                </a:cubicBezTo>
                <a:cubicBezTo>
                  <a:pt x="73" y="158"/>
                  <a:pt x="72" y="158"/>
                  <a:pt x="72" y="159"/>
                </a:cubicBezTo>
                <a:cubicBezTo>
                  <a:pt x="72" y="159"/>
                  <a:pt x="72" y="159"/>
                  <a:pt x="72" y="159"/>
                </a:cubicBezTo>
                <a:cubicBezTo>
                  <a:pt x="72" y="159"/>
                  <a:pt x="71" y="159"/>
                  <a:pt x="71" y="159"/>
                </a:cubicBezTo>
                <a:cubicBezTo>
                  <a:pt x="71" y="159"/>
                  <a:pt x="70" y="160"/>
                  <a:pt x="70" y="160"/>
                </a:cubicBezTo>
                <a:cubicBezTo>
                  <a:pt x="70" y="160"/>
                  <a:pt x="68" y="160"/>
                  <a:pt x="69" y="160"/>
                </a:cubicBezTo>
                <a:cubicBezTo>
                  <a:pt x="69" y="160"/>
                  <a:pt x="67" y="161"/>
                  <a:pt x="67" y="160"/>
                </a:cubicBezTo>
                <a:cubicBezTo>
                  <a:pt x="68" y="160"/>
                  <a:pt x="69" y="159"/>
                  <a:pt x="69" y="159"/>
                </a:cubicBezTo>
                <a:cubicBezTo>
                  <a:pt x="68" y="158"/>
                  <a:pt x="65" y="163"/>
                  <a:pt x="63" y="163"/>
                </a:cubicBezTo>
                <a:cubicBezTo>
                  <a:pt x="62" y="163"/>
                  <a:pt x="62" y="164"/>
                  <a:pt x="62" y="164"/>
                </a:cubicBezTo>
                <a:cubicBezTo>
                  <a:pt x="61" y="164"/>
                  <a:pt x="61" y="164"/>
                  <a:pt x="60" y="165"/>
                </a:cubicBezTo>
                <a:cubicBezTo>
                  <a:pt x="59" y="165"/>
                  <a:pt x="59" y="164"/>
                  <a:pt x="60" y="164"/>
                </a:cubicBezTo>
                <a:cubicBezTo>
                  <a:pt x="60" y="164"/>
                  <a:pt x="60" y="164"/>
                  <a:pt x="60" y="163"/>
                </a:cubicBezTo>
                <a:cubicBezTo>
                  <a:pt x="60" y="163"/>
                  <a:pt x="60" y="163"/>
                  <a:pt x="60" y="163"/>
                </a:cubicBezTo>
                <a:cubicBezTo>
                  <a:pt x="60" y="163"/>
                  <a:pt x="60" y="163"/>
                  <a:pt x="60" y="163"/>
                </a:cubicBezTo>
                <a:cubicBezTo>
                  <a:pt x="60" y="162"/>
                  <a:pt x="60" y="162"/>
                  <a:pt x="61" y="162"/>
                </a:cubicBezTo>
                <a:cubicBezTo>
                  <a:pt x="60" y="162"/>
                  <a:pt x="60" y="161"/>
                  <a:pt x="60" y="161"/>
                </a:cubicBezTo>
                <a:cubicBezTo>
                  <a:pt x="61" y="161"/>
                  <a:pt x="61" y="161"/>
                  <a:pt x="61" y="160"/>
                </a:cubicBezTo>
                <a:cubicBezTo>
                  <a:pt x="60" y="160"/>
                  <a:pt x="61" y="159"/>
                  <a:pt x="62" y="159"/>
                </a:cubicBezTo>
                <a:cubicBezTo>
                  <a:pt x="62" y="159"/>
                  <a:pt x="63" y="159"/>
                  <a:pt x="63" y="159"/>
                </a:cubicBezTo>
                <a:cubicBezTo>
                  <a:pt x="64" y="158"/>
                  <a:pt x="66" y="158"/>
                  <a:pt x="67" y="158"/>
                </a:cubicBezTo>
                <a:cubicBezTo>
                  <a:pt x="67" y="157"/>
                  <a:pt x="69" y="157"/>
                  <a:pt x="69" y="157"/>
                </a:cubicBezTo>
                <a:cubicBezTo>
                  <a:pt x="68" y="157"/>
                  <a:pt x="68" y="157"/>
                  <a:pt x="67" y="157"/>
                </a:cubicBezTo>
                <a:cubicBezTo>
                  <a:pt x="68" y="157"/>
                  <a:pt x="67" y="157"/>
                  <a:pt x="67" y="157"/>
                </a:cubicBezTo>
                <a:cubicBezTo>
                  <a:pt x="66" y="158"/>
                  <a:pt x="66" y="158"/>
                  <a:pt x="65" y="158"/>
                </a:cubicBezTo>
                <a:cubicBezTo>
                  <a:pt x="65" y="157"/>
                  <a:pt x="66" y="157"/>
                  <a:pt x="66" y="157"/>
                </a:cubicBezTo>
                <a:cubicBezTo>
                  <a:pt x="65" y="157"/>
                  <a:pt x="65" y="157"/>
                  <a:pt x="65" y="157"/>
                </a:cubicBezTo>
                <a:cubicBezTo>
                  <a:pt x="64" y="158"/>
                  <a:pt x="65" y="158"/>
                  <a:pt x="64" y="158"/>
                </a:cubicBezTo>
                <a:cubicBezTo>
                  <a:pt x="64" y="158"/>
                  <a:pt x="63" y="158"/>
                  <a:pt x="63" y="158"/>
                </a:cubicBezTo>
                <a:cubicBezTo>
                  <a:pt x="63" y="159"/>
                  <a:pt x="62" y="159"/>
                  <a:pt x="62" y="159"/>
                </a:cubicBezTo>
                <a:cubicBezTo>
                  <a:pt x="62" y="158"/>
                  <a:pt x="64" y="158"/>
                  <a:pt x="62" y="158"/>
                </a:cubicBezTo>
                <a:cubicBezTo>
                  <a:pt x="62" y="158"/>
                  <a:pt x="61" y="159"/>
                  <a:pt x="61" y="159"/>
                </a:cubicBezTo>
                <a:cubicBezTo>
                  <a:pt x="61" y="159"/>
                  <a:pt x="61" y="158"/>
                  <a:pt x="61" y="158"/>
                </a:cubicBezTo>
                <a:cubicBezTo>
                  <a:pt x="61" y="158"/>
                  <a:pt x="63" y="157"/>
                  <a:pt x="63" y="157"/>
                </a:cubicBezTo>
                <a:cubicBezTo>
                  <a:pt x="63" y="157"/>
                  <a:pt x="63" y="157"/>
                  <a:pt x="62" y="157"/>
                </a:cubicBezTo>
                <a:cubicBezTo>
                  <a:pt x="63" y="157"/>
                  <a:pt x="62" y="157"/>
                  <a:pt x="62" y="157"/>
                </a:cubicBezTo>
                <a:cubicBezTo>
                  <a:pt x="62" y="156"/>
                  <a:pt x="62" y="156"/>
                  <a:pt x="62" y="156"/>
                </a:cubicBezTo>
                <a:cubicBezTo>
                  <a:pt x="61" y="156"/>
                  <a:pt x="63" y="156"/>
                  <a:pt x="63" y="156"/>
                </a:cubicBezTo>
                <a:cubicBezTo>
                  <a:pt x="62" y="156"/>
                  <a:pt x="63" y="155"/>
                  <a:pt x="63" y="155"/>
                </a:cubicBezTo>
                <a:cubicBezTo>
                  <a:pt x="64" y="155"/>
                  <a:pt x="64" y="154"/>
                  <a:pt x="65" y="154"/>
                </a:cubicBezTo>
                <a:cubicBezTo>
                  <a:pt x="64" y="154"/>
                  <a:pt x="63" y="155"/>
                  <a:pt x="62" y="155"/>
                </a:cubicBezTo>
                <a:cubicBezTo>
                  <a:pt x="62" y="155"/>
                  <a:pt x="63" y="155"/>
                  <a:pt x="63" y="154"/>
                </a:cubicBezTo>
                <a:cubicBezTo>
                  <a:pt x="63" y="154"/>
                  <a:pt x="63" y="154"/>
                  <a:pt x="63" y="154"/>
                </a:cubicBezTo>
                <a:cubicBezTo>
                  <a:pt x="63" y="154"/>
                  <a:pt x="63" y="154"/>
                  <a:pt x="62" y="154"/>
                </a:cubicBezTo>
                <a:cubicBezTo>
                  <a:pt x="62" y="154"/>
                  <a:pt x="62" y="154"/>
                  <a:pt x="62" y="154"/>
                </a:cubicBezTo>
                <a:cubicBezTo>
                  <a:pt x="62" y="154"/>
                  <a:pt x="61" y="155"/>
                  <a:pt x="60" y="155"/>
                </a:cubicBezTo>
                <a:cubicBezTo>
                  <a:pt x="60" y="155"/>
                  <a:pt x="61" y="154"/>
                  <a:pt x="61" y="154"/>
                </a:cubicBezTo>
                <a:cubicBezTo>
                  <a:pt x="61" y="154"/>
                  <a:pt x="60" y="154"/>
                  <a:pt x="61" y="154"/>
                </a:cubicBezTo>
                <a:cubicBezTo>
                  <a:pt x="61" y="153"/>
                  <a:pt x="62" y="153"/>
                  <a:pt x="62" y="153"/>
                </a:cubicBezTo>
                <a:cubicBezTo>
                  <a:pt x="64" y="152"/>
                  <a:pt x="66" y="152"/>
                  <a:pt x="68" y="151"/>
                </a:cubicBezTo>
                <a:cubicBezTo>
                  <a:pt x="68" y="151"/>
                  <a:pt x="67" y="151"/>
                  <a:pt x="67" y="151"/>
                </a:cubicBezTo>
                <a:cubicBezTo>
                  <a:pt x="68" y="150"/>
                  <a:pt x="70" y="150"/>
                  <a:pt x="72" y="150"/>
                </a:cubicBezTo>
                <a:cubicBezTo>
                  <a:pt x="73" y="149"/>
                  <a:pt x="74" y="149"/>
                  <a:pt x="75" y="150"/>
                </a:cubicBezTo>
                <a:cubicBezTo>
                  <a:pt x="75" y="150"/>
                  <a:pt x="75" y="150"/>
                  <a:pt x="76" y="150"/>
                </a:cubicBezTo>
                <a:cubicBezTo>
                  <a:pt x="76" y="150"/>
                  <a:pt x="77" y="150"/>
                  <a:pt x="77" y="150"/>
                </a:cubicBezTo>
                <a:cubicBezTo>
                  <a:pt x="77" y="150"/>
                  <a:pt x="76" y="150"/>
                  <a:pt x="76" y="150"/>
                </a:cubicBezTo>
                <a:cubicBezTo>
                  <a:pt x="75" y="150"/>
                  <a:pt x="76" y="150"/>
                  <a:pt x="76" y="150"/>
                </a:cubicBezTo>
                <a:cubicBezTo>
                  <a:pt x="76" y="149"/>
                  <a:pt x="75" y="150"/>
                  <a:pt x="75" y="149"/>
                </a:cubicBezTo>
                <a:cubicBezTo>
                  <a:pt x="74" y="149"/>
                  <a:pt x="73" y="149"/>
                  <a:pt x="73" y="149"/>
                </a:cubicBezTo>
                <a:cubicBezTo>
                  <a:pt x="71" y="149"/>
                  <a:pt x="69" y="150"/>
                  <a:pt x="68" y="150"/>
                </a:cubicBezTo>
                <a:cubicBezTo>
                  <a:pt x="67" y="150"/>
                  <a:pt x="67" y="150"/>
                  <a:pt x="67" y="151"/>
                </a:cubicBezTo>
                <a:cubicBezTo>
                  <a:pt x="67" y="151"/>
                  <a:pt x="66" y="152"/>
                  <a:pt x="66" y="152"/>
                </a:cubicBezTo>
                <a:cubicBezTo>
                  <a:pt x="65" y="152"/>
                  <a:pt x="64" y="152"/>
                  <a:pt x="63" y="152"/>
                </a:cubicBezTo>
                <a:cubicBezTo>
                  <a:pt x="63" y="153"/>
                  <a:pt x="63" y="153"/>
                  <a:pt x="63" y="153"/>
                </a:cubicBezTo>
                <a:cubicBezTo>
                  <a:pt x="62" y="153"/>
                  <a:pt x="62" y="153"/>
                  <a:pt x="61" y="153"/>
                </a:cubicBezTo>
                <a:cubicBezTo>
                  <a:pt x="61" y="152"/>
                  <a:pt x="62" y="152"/>
                  <a:pt x="62" y="152"/>
                </a:cubicBezTo>
                <a:cubicBezTo>
                  <a:pt x="62" y="152"/>
                  <a:pt x="61" y="153"/>
                  <a:pt x="61" y="152"/>
                </a:cubicBezTo>
                <a:cubicBezTo>
                  <a:pt x="61" y="152"/>
                  <a:pt x="61" y="152"/>
                  <a:pt x="62" y="151"/>
                </a:cubicBezTo>
                <a:cubicBezTo>
                  <a:pt x="62" y="151"/>
                  <a:pt x="63" y="151"/>
                  <a:pt x="63" y="150"/>
                </a:cubicBezTo>
                <a:cubicBezTo>
                  <a:pt x="62" y="151"/>
                  <a:pt x="61" y="152"/>
                  <a:pt x="60" y="152"/>
                </a:cubicBezTo>
                <a:cubicBezTo>
                  <a:pt x="60" y="152"/>
                  <a:pt x="60" y="151"/>
                  <a:pt x="60" y="151"/>
                </a:cubicBezTo>
                <a:cubicBezTo>
                  <a:pt x="61" y="151"/>
                  <a:pt x="61" y="151"/>
                  <a:pt x="61" y="151"/>
                </a:cubicBezTo>
                <a:cubicBezTo>
                  <a:pt x="61" y="151"/>
                  <a:pt x="61" y="151"/>
                  <a:pt x="60" y="151"/>
                </a:cubicBezTo>
                <a:cubicBezTo>
                  <a:pt x="61" y="151"/>
                  <a:pt x="62" y="151"/>
                  <a:pt x="62" y="150"/>
                </a:cubicBezTo>
                <a:cubicBezTo>
                  <a:pt x="62" y="150"/>
                  <a:pt x="61" y="151"/>
                  <a:pt x="61" y="151"/>
                </a:cubicBezTo>
                <a:cubicBezTo>
                  <a:pt x="61" y="150"/>
                  <a:pt x="61" y="150"/>
                  <a:pt x="62" y="150"/>
                </a:cubicBezTo>
                <a:cubicBezTo>
                  <a:pt x="62" y="150"/>
                  <a:pt x="62" y="149"/>
                  <a:pt x="62" y="149"/>
                </a:cubicBezTo>
                <a:cubicBezTo>
                  <a:pt x="61" y="149"/>
                  <a:pt x="61" y="151"/>
                  <a:pt x="60" y="150"/>
                </a:cubicBezTo>
                <a:cubicBezTo>
                  <a:pt x="60" y="150"/>
                  <a:pt x="59" y="150"/>
                  <a:pt x="59" y="150"/>
                </a:cubicBezTo>
                <a:cubicBezTo>
                  <a:pt x="58" y="151"/>
                  <a:pt x="58" y="150"/>
                  <a:pt x="58" y="150"/>
                </a:cubicBezTo>
                <a:cubicBezTo>
                  <a:pt x="58" y="150"/>
                  <a:pt x="60" y="150"/>
                  <a:pt x="61" y="149"/>
                </a:cubicBezTo>
                <a:cubicBezTo>
                  <a:pt x="60" y="149"/>
                  <a:pt x="59" y="150"/>
                  <a:pt x="58" y="150"/>
                </a:cubicBezTo>
                <a:cubicBezTo>
                  <a:pt x="58" y="150"/>
                  <a:pt x="59" y="149"/>
                  <a:pt x="59" y="149"/>
                </a:cubicBezTo>
                <a:cubicBezTo>
                  <a:pt x="60" y="148"/>
                  <a:pt x="61" y="149"/>
                  <a:pt x="61" y="148"/>
                </a:cubicBezTo>
                <a:cubicBezTo>
                  <a:pt x="62" y="148"/>
                  <a:pt x="62" y="148"/>
                  <a:pt x="62" y="148"/>
                </a:cubicBezTo>
                <a:cubicBezTo>
                  <a:pt x="63" y="148"/>
                  <a:pt x="63" y="148"/>
                  <a:pt x="63" y="148"/>
                </a:cubicBezTo>
                <a:cubicBezTo>
                  <a:pt x="64" y="148"/>
                  <a:pt x="65" y="148"/>
                  <a:pt x="65" y="149"/>
                </a:cubicBezTo>
                <a:cubicBezTo>
                  <a:pt x="65" y="149"/>
                  <a:pt x="66" y="148"/>
                  <a:pt x="66" y="148"/>
                </a:cubicBezTo>
                <a:cubicBezTo>
                  <a:pt x="65" y="148"/>
                  <a:pt x="67" y="148"/>
                  <a:pt x="67" y="148"/>
                </a:cubicBezTo>
                <a:cubicBezTo>
                  <a:pt x="67" y="147"/>
                  <a:pt x="68" y="147"/>
                  <a:pt x="69" y="147"/>
                </a:cubicBezTo>
                <a:cubicBezTo>
                  <a:pt x="69" y="147"/>
                  <a:pt x="69" y="148"/>
                  <a:pt x="70" y="148"/>
                </a:cubicBezTo>
                <a:cubicBezTo>
                  <a:pt x="70" y="147"/>
                  <a:pt x="69" y="147"/>
                  <a:pt x="69" y="147"/>
                </a:cubicBezTo>
                <a:cubicBezTo>
                  <a:pt x="69" y="147"/>
                  <a:pt x="70" y="147"/>
                  <a:pt x="70" y="147"/>
                </a:cubicBezTo>
                <a:cubicBezTo>
                  <a:pt x="70" y="146"/>
                  <a:pt x="69" y="147"/>
                  <a:pt x="68" y="147"/>
                </a:cubicBezTo>
                <a:cubicBezTo>
                  <a:pt x="67" y="147"/>
                  <a:pt x="67" y="147"/>
                  <a:pt x="66" y="148"/>
                </a:cubicBezTo>
                <a:cubicBezTo>
                  <a:pt x="65" y="148"/>
                  <a:pt x="65" y="148"/>
                  <a:pt x="64" y="148"/>
                </a:cubicBezTo>
                <a:cubicBezTo>
                  <a:pt x="63" y="148"/>
                  <a:pt x="64" y="147"/>
                  <a:pt x="64" y="147"/>
                </a:cubicBezTo>
                <a:cubicBezTo>
                  <a:pt x="64" y="147"/>
                  <a:pt x="63" y="148"/>
                  <a:pt x="63" y="148"/>
                </a:cubicBezTo>
                <a:cubicBezTo>
                  <a:pt x="62" y="147"/>
                  <a:pt x="62" y="148"/>
                  <a:pt x="62" y="148"/>
                </a:cubicBezTo>
                <a:cubicBezTo>
                  <a:pt x="61" y="148"/>
                  <a:pt x="59" y="149"/>
                  <a:pt x="58" y="148"/>
                </a:cubicBezTo>
                <a:cubicBezTo>
                  <a:pt x="59" y="148"/>
                  <a:pt x="59" y="148"/>
                  <a:pt x="59" y="148"/>
                </a:cubicBezTo>
                <a:cubicBezTo>
                  <a:pt x="59" y="148"/>
                  <a:pt x="59" y="148"/>
                  <a:pt x="58" y="148"/>
                </a:cubicBezTo>
                <a:cubicBezTo>
                  <a:pt x="59" y="148"/>
                  <a:pt x="61" y="148"/>
                  <a:pt x="62" y="147"/>
                </a:cubicBezTo>
                <a:cubicBezTo>
                  <a:pt x="61" y="147"/>
                  <a:pt x="60" y="147"/>
                  <a:pt x="60" y="147"/>
                </a:cubicBezTo>
                <a:cubicBezTo>
                  <a:pt x="59" y="148"/>
                  <a:pt x="59" y="148"/>
                  <a:pt x="58" y="148"/>
                </a:cubicBezTo>
                <a:cubicBezTo>
                  <a:pt x="57" y="148"/>
                  <a:pt x="57" y="147"/>
                  <a:pt x="58" y="147"/>
                </a:cubicBezTo>
                <a:cubicBezTo>
                  <a:pt x="59" y="147"/>
                  <a:pt x="59" y="147"/>
                  <a:pt x="60" y="147"/>
                </a:cubicBezTo>
                <a:cubicBezTo>
                  <a:pt x="59" y="147"/>
                  <a:pt x="58" y="147"/>
                  <a:pt x="58" y="147"/>
                </a:cubicBezTo>
                <a:cubicBezTo>
                  <a:pt x="58" y="146"/>
                  <a:pt x="60" y="146"/>
                  <a:pt x="61" y="146"/>
                </a:cubicBezTo>
                <a:cubicBezTo>
                  <a:pt x="62" y="146"/>
                  <a:pt x="63" y="145"/>
                  <a:pt x="64" y="144"/>
                </a:cubicBezTo>
                <a:cubicBezTo>
                  <a:pt x="65" y="144"/>
                  <a:pt x="66" y="143"/>
                  <a:pt x="67" y="143"/>
                </a:cubicBezTo>
                <a:cubicBezTo>
                  <a:pt x="68" y="143"/>
                  <a:pt x="70" y="143"/>
                  <a:pt x="71" y="142"/>
                </a:cubicBezTo>
                <a:cubicBezTo>
                  <a:pt x="70" y="142"/>
                  <a:pt x="72" y="141"/>
                  <a:pt x="72" y="141"/>
                </a:cubicBezTo>
                <a:cubicBezTo>
                  <a:pt x="72" y="141"/>
                  <a:pt x="73" y="141"/>
                  <a:pt x="74" y="141"/>
                </a:cubicBezTo>
                <a:cubicBezTo>
                  <a:pt x="74" y="140"/>
                  <a:pt x="75" y="141"/>
                  <a:pt x="76" y="140"/>
                </a:cubicBezTo>
                <a:cubicBezTo>
                  <a:pt x="75" y="140"/>
                  <a:pt x="75" y="140"/>
                  <a:pt x="75" y="140"/>
                </a:cubicBezTo>
                <a:cubicBezTo>
                  <a:pt x="76" y="140"/>
                  <a:pt x="77" y="139"/>
                  <a:pt x="78" y="139"/>
                </a:cubicBezTo>
                <a:cubicBezTo>
                  <a:pt x="78" y="138"/>
                  <a:pt x="80" y="139"/>
                  <a:pt x="80" y="139"/>
                </a:cubicBezTo>
                <a:cubicBezTo>
                  <a:pt x="81" y="139"/>
                  <a:pt x="81" y="139"/>
                  <a:pt x="82" y="139"/>
                </a:cubicBezTo>
                <a:cubicBezTo>
                  <a:pt x="83" y="139"/>
                  <a:pt x="83" y="139"/>
                  <a:pt x="84" y="139"/>
                </a:cubicBezTo>
                <a:cubicBezTo>
                  <a:pt x="84" y="139"/>
                  <a:pt x="83" y="139"/>
                  <a:pt x="82" y="139"/>
                </a:cubicBezTo>
                <a:cubicBezTo>
                  <a:pt x="82" y="139"/>
                  <a:pt x="81" y="139"/>
                  <a:pt x="81" y="139"/>
                </a:cubicBezTo>
                <a:cubicBezTo>
                  <a:pt x="80" y="139"/>
                  <a:pt x="80" y="139"/>
                  <a:pt x="80" y="139"/>
                </a:cubicBezTo>
                <a:cubicBezTo>
                  <a:pt x="81" y="138"/>
                  <a:pt x="82" y="138"/>
                  <a:pt x="83" y="138"/>
                </a:cubicBezTo>
                <a:cubicBezTo>
                  <a:pt x="84" y="138"/>
                  <a:pt x="84" y="138"/>
                  <a:pt x="85" y="138"/>
                </a:cubicBezTo>
                <a:cubicBezTo>
                  <a:pt x="86" y="138"/>
                  <a:pt x="86" y="138"/>
                  <a:pt x="87" y="138"/>
                </a:cubicBezTo>
                <a:cubicBezTo>
                  <a:pt x="87" y="138"/>
                  <a:pt x="86" y="138"/>
                  <a:pt x="85" y="138"/>
                </a:cubicBezTo>
                <a:cubicBezTo>
                  <a:pt x="84" y="138"/>
                  <a:pt x="84" y="138"/>
                  <a:pt x="83" y="138"/>
                </a:cubicBezTo>
                <a:cubicBezTo>
                  <a:pt x="83" y="137"/>
                  <a:pt x="83" y="137"/>
                  <a:pt x="83" y="137"/>
                </a:cubicBezTo>
                <a:cubicBezTo>
                  <a:pt x="81" y="138"/>
                  <a:pt x="79" y="138"/>
                  <a:pt x="78" y="139"/>
                </a:cubicBezTo>
                <a:cubicBezTo>
                  <a:pt x="77" y="139"/>
                  <a:pt x="76" y="139"/>
                  <a:pt x="74" y="140"/>
                </a:cubicBezTo>
                <a:cubicBezTo>
                  <a:pt x="73" y="140"/>
                  <a:pt x="72" y="141"/>
                  <a:pt x="71" y="141"/>
                </a:cubicBezTo>
                <a:cubicBezTo>
                  <a:pt x="69" y="143"/>
                  <a:pt x="66" y="143"/>
                  <a:pt x="64" y="144"/>
                </a:cubicBezTo>
                <a:cubicBezTo>
                  <a:pt x="63" y="145"/>
                  <a:pt x="62" y="145"/>
                  <a:pt x="61" y="146"/>
                </a:cubicBezTo>
                <a:cubicBezTo>
                  <a:pt x="60" y="146"/>
                  <a:pt x="59" y="146"/>
                  <a:pt x="59" y="146"/>
                </a:cubicBezTo>
                <a:cubicBezTo>
                  <a:pt x="58" y="146"/>
                  <a:pt x="57" y="146"/>
                  <a:pt x="57" y="146"/>
                </a:cubicBezTo>
                <a:cubicBezTo>
                  <a:pt x="57" y="146"/>
                  <a:pt x="57" y="146"/>
                  <a:pt x="58" y="146"/>
                </a:cubicBezTo>
                <a:cubicBezTo>
                  <a:pt x="57" y="146"/>
                  <a:pt x="57" y="146"/>
                  <a:pt x="57" y="146"/>
                </a:cubicBezTo>
                <a:cubicBezTo>
                  <a:pt x="58" y="145"/>
                  <a:pt x="60" y="145"/>
                  <a:pt x="61" y="145"/>
                </a:cubicBezTo>
                <a:cubicBezTo>
                  <a:pt x="60" y="145"/>
                  <a:pt x="60" y="145"/>
                  <a:pt x="59" y="145"/>
                </a:cubicBezTo>
                <a:cubicBezTo>
                  <a:pt x="59" y="145"/>
                  <a:pt x="58" y="145"/>
                  <a:pt x="58" y="145"/>
                </a:cubicBezTo>
                <a:cubicBezTo>
                  <a:pt x="57" y="145"/>
                  <a:pt x="57" y="144"/>
                  <a:pt x="57" y="144"/>
                </a:cubicBezTo>
                <a:cubicBezTo>
                  <a:pt x="58" y="143"/>
                  <a:pt x="59" y="143"/>
                  <a:pt x="59" y="143"/>
                </a:cubicBezTo>
                <a:cubicBezTo>
                  <a:pt x="59" y="143"/>
                  <a:pt x="59" y="143"/>
                  <a:pt x="58" y="143"/>
                </a:cubicBezTo>
                <a:cubicBezTo>
                  <a:pt x="59" y="142"/>
                  <a:pt x="61" y="142"/>
                  <a:pt x="62" y="142"/>
                </a:cubicBezTo>
                <a:cubicBezTo>
                  <a:pt x="61" y="142"/>
                  <a:pt x="61" y="142"/>
                  <a:pt x="61" y="142"/>
                </a:cubicBezTo>
                <a:cubicBezTo>
                  <a:pt x="62" y="143"/>
                  <a:pt x="63" y="142"/>
                  <a:pt x="64" y="142"/>
                </a:cubicBezTo>
                <a:cubicBezTo>
                  <a:pt x="65" y="142"/>
                  <a:pt x="67" y="143"/>
                  <a:pt x="68" y="142"/>
                </a:cubicBezTo>
                <a:cubicBezTo>
                  <a:pt x="67" y="142"/>
                  <a:pt x="65" y="142"/>
                  <a:pt x="64" y="142"/>
                </a:cubicBezTo>
                <a:cubicBezTo>
                  <a:pt x="63" y="142"/>
                  <a:pt x="62" y="142"/>
                  <a:pt x="60" y="142"/>
                </a:cubicBezTo>
                <a:cubicBezTo>
                  <a:pt x="61" y="142"/>
                  <a:pt x="61" y="142"/>
                  <a:pt x="61" y="141"/>
                </a:cubicBezTo>
                <a:cubicBezTo>
                  <a:pt x="61" y="141"/>
                  <a:pt x="61" y="141"/>
                  <a:pt x="60" y="141"/>
                </a:cubicBezTo>
                <a:cubicBezTo>
                  <a:pt x="61" y="140"/>
                  <a:pt x="63" y="141"/>
                  <a:pt x="65" y="141"/>
                </a:cubicBezTo>
                <a:cubicBezTo>
                  <a:pt x="65" y="141"/>
                  <a:pt x="67" y="141"/>
                  <a:pt x="67" y="140"/>
                </a:cubicBezTo>
                <a:cubicBezTo>
                  <a:pt x="66" y="140"/>
                  <a:pt x="64" y="141"/>
                  <a:pt x="63" y="140"/>
                </a:cubicBezTo>
                <a:cubicBezTo>
                  <a:pt x="64" y="140"/>
                  <a:pt x="65" y="140"/>
                  <a:pt x="65" y="140"/>
                </a:cubicBezTo>
                <a:cubicBezTo>
                  <a:pt x="65" y="140"/>
                  <a:pt x="67" y="140"/>
                  <a:pt x="67" y="139"/>
                </a:cubicBezTo>
                <a:cubicBezTo>
                  <a:pt x="66" y="139"/>
                  <a:pt x="65" y="140"/>
                  <a:pt x="64" y="140"/>
                </a:cubicBezTo>
                <a:cubicBezTo>
                  <a:pt x="64" y="140"/>
                  <a:pt x="64" y="139"/>
                  <a:pt x="65" y="139"/>
                </a:cubicBezTo>
                <a:cubicBezTo>
                  <a:pt x="66" y="139"/>
                  <a:pt x="66" y="139"/>
                  <a:pt x="67" y="139"/>
                </a:cubicBezTo>
                <a:cubicBezTo>
                  <a:pt x="67" y="139"/>
                  <a:pt x="68" y="139"/>
                  <a:pt x="69" y="139"/>
                </a:cubicBezTo>
                <a:cubicBezTo>
                  <a:pt x="69" y="139"/>
                  <a:pt x="70" y="140"/>
                  <a:pt x="70" y="139"/>
                </a:cubicBezTo>
                <a:cubicBezTo>
                  <a:pt x="70" y="139"/>
                  <a:pt x="69" y="139"/>
                  <a:pt x="69" y="139"/>
                </a:cubicBezTo>
                <a:cubicBezTo>
                  <a:pt x="69" y="139"/>
                  <a:pt x="70" y="139"/>
                  <a:pt x="70" y="138"/>
                </a:cubicBezTo>
                <a:cubicBezTo>
                  <a:pt x="70" y="138"/>
                  <a:pt x="69" y="139"/>
                  <a:pt x="69" y="138"/>
                </a:cubicBezTo>
                <a:cubicBezTo>
                  <a:pt x="69" y="138"/>
                  <a:pt x="69" y="138"/>
                  <a:pt x="69" y="138"/>
                </a:cubicBezTo>
                <a:cubicBezTo>
                  <a:pt x="69" y="138"/>
                  <a:pt x="69" y="138"/>
                  <a:pt x="68" y="139"/>
                </a:cubicBezTo>
                <a:cubicBezTo>
                  <a:pt x="67" y="139"/>
                  <a:pt x="67" y="139"/>
                  <a:pt x="66" y="139"/>
                </a:cubicBezTo>
                <a:cubicBezTo>
                  <a:pt x="66" y="138"/>
                  <a:pt x="65" y="139"/>
                  <a:pt x="65" y="138"/>
                </a:cubicBezTo>
                <a:cubicBezTo>
                  <a:pt x="64" y="138"/>
                  <a:pt x="64" y="138"/>
                  <a:pt x="63" y="138"/>
                </a:cubicBezTo>
                <a:cubicBezTo>
                  <a:pt x="63" y="138"/>
                  <a:pt x="62" y="139"/>
                  <a:pt x="61" y="139"/>
                </a:cubicBezTo>
                <a:cubicBezTo>
                  <a:pt x="61" y="139"/>
                  <a:pt x="60" y="138"/>
                  <a:pt x="60" y="138"/>
                </a:cubicBezTo>
                <a:cubicBezTo>
                  <a:pt x="60" y="138"/>
                  <a:pt x="62" y="138"/>
                  <a:pt x="62" y="138"/>
                </a:cubicBezTo>
                <a:cubicBezTo>
                  <a:pt x="63" y="138"/>
                  <a:pt x="64" y="138"/>
                  <a:pt x="64" y="138"/>
                </a:cubicBezTo>
                <a:cubicBezTo>
                  <a:pt x="64" y="138"/>
                  <a:pt x="60" y="138"/>
                  <a:pt x="60" y="137"/>
                </a:cubicBezTo>
                <a:cubicBezTo>
                  <a:pt x="60" y="137"/>
                  <a:pt x="63" y="137"/>
                  <a:pt x="63" y="137"/>
                </a:cubicBezTo>
                <a:cubicBezTo>
                  <a:pt x="63" y="137"/>
                  <a:pt x="60" y="137"/>
                  <a:pt x="59" y="137"/>
                </a:cubicBezTo>
                <a:cubicBezTo>
                  <a:pt x="59" y="135"/>
                  <a:pt x="63" y="136"/>
                  <a:pt x="64" y="136"/>
                </a:cubicBezTo>
                <a:cubicBezTo>
                  <a:pt x="64" y="136"/>
                  <a:pt x="63" y="136"/>
                  <a:pt x="63" y="136"/>
                </a:cubicBezTo>
                <a:cubicBezTo>
                  <a:pt x="64" y="135"/>
                  <a:pt x="65" y="135"/>
                  <a:pt x="66" y="135"/>
                </a:cubicBezTo>
                <a:cubicBezTo>
                  <a:pt x="67" y="135"/>
                  <a:pt x="68" y="135"/>
                  <a:pt x="70" y="135"/>
                </a:cubicBezTo>
                <a:cubicBezTo>
                  <a:pt x="71" y="135"/>
                  <a:pt x="72" y="134"/>
                  <a:pt x="73" y="134"/>
                </a:cubicBezTo>
                <a:cubicBezTo>
                  <a:pt x="74" y="134"/>
                  <a:pt x="74" y="134"/>
                  <a:pt x="75" y="135"/>
                </a:cubicBezTo>
                <a:cubicBezTo>
                  <a:pt x="75" y="135"/>
                  <a:pt x="76" y="134"/>
                  <a:pt x="76" y="134"/>
                </a:cubicBezTo>
                <a:cubicBezTo>
                  <a:pt x="77" y="134"/>
                  <a:pt x="78" y="134"/>
                  <a:pt x="78" y="135"/>
                </a:cubicBezTo>
                <a:cubicBezTo>
                  <a:pt x="79" y="136"/>
                  <a:pt x="79" y="137"/>
                  <a:pt x="81" y="136"/>
                </a:cubicBezTo>
                <a:cubicBezTo>
                  <a:pt x="82" y="136"/>
                  <a:pt x="82" y="136"/>
                  <a:pt x="84" y="136"/>
                </a:cubicBezTo>
                <a:cubicBezTo>
                  <a:pt x="84" y="136"/>
                  <a:pt x="85" y="136"/>
                  <a:pt x="86" y="136"/>
                </a:cubicBezTo>
                <a:cubicBezTo>
                  <a:pt x="85" y="136"/>
                  <a:pt x="85" y="136"/>
                  <a:pt x="85" y="136"/>
                </a:cubicBezTo>
                <a:cubicBezTo>
                  <a:pt x="84" y="135"/>
                  <a:pt x="84" y="136"/>
                  <a:pt x="84" y="136"/>
                </a:cubicBezTo>
                <a:cubicBezTo>
                  <a:pt x="83" y="136"/>
                  <a:pt x="82" y="136"/>
                  <a:pt x="81" y="136"/>
                </a:cubicBezTo>
                <a:cubicBezTo>
                  <a:pt x="79" y="137"/>
                  <a:pt x="79" y="135"/>
                  <a:pt x="78" y="134"/>
                </a:cubicBezTo>
                <a:cubicBezTo>
                  <a:pt x="79" y="134"/>
                  <a:pt x="80" y="134"/>
                  <a:pt x="81" y="134"/>
                </a:cubicBezTo>
                <a:cubicBezTo>
                  <a:pt x="80" y="133"/>
                  <a:pt x="79" y="134"/>
                  <a:pt x="77" y="134"/>
                </a:cubicBezTo>
                <a:cubicBezTo>
                  <a:pt x="76" y="134"/>
                  <a:pt x="74" y="134"/>
                  <a:pt x="72" y="134"/>
                </a:cubicBezTo>
                <a:cubicBezTo>
                  <a:pt x="71" y="134"/>
                  <a:pt x="70" y="134"/>
                  <a:pt x="68" y="135"/>
                </a:cubicBezTo>
                <a:cubicBezTo>
                  <a:pt x="68" y="135"/>
                  <a:pt x="65" y="135"/>
                  <a:pt x="66" y="134"/>
                </a:cubicBezTo>
                <a:cubicBezTo>
                  <a:pt x="65" y="134"/>
                  <a:pt x="65" y="135"/>
                  <a:pt x="64" y="135"/>
                </a:cubicBezTo>
                <a:cubicBezTo>
                  <a:pt x="63" y="135"/>
                  <a:pt x="62" y="136"/>
                  <a:pt x="61" y="136"/>
                </a:cubicBezTo>
                <a:cubicBezTo>
                  <a:pt x="61" y="135"/>
                  <a:pt x="60" y="136"/>
                  <a:pt x="61" y="135"/>
                </a:cubicBezTo>
                <a:cubicBezTo>
                  <a:pt x="61" y="135"/>
                  <a:pt x="62" y="134"/>
                  <a:pt x="62" y="134"/>
                </a:cubicBezTo>
                <a:cubicBezTo>
                  <a:pt x="64" y="133"/>
                  <a:pt x="66" y="133"/>
                  <a:pt x="68" y="132"/>
                </a:cubicBezTo>
                <a:cubicBezTo>
                  <a:pt x="68" y="132"/>
                  <a:pt x="67" y="132"/>
                  <a:pt x="67" y="132"/>
                </a:cubicBezTo>
                <a:cubicBezTo>
                  <a:pt x="68" y="132"/>
                  <a:pt x="69" y="132"/>
                  <a:pt x="70" y="131"/>
                </a:cubicBezTo>
                <a:cubicBezTo>
                  <a:pt x="69" y="131"/>
                  <a:pt x="69" y="131"/>
                  <a:pt x="68" y="131"/>
                </a:cubicBezTo>
                <a:cubicBezTo>
                  <a:pt x="68" y="131"/>
                  <a:pt x="70" y="131"/>
                  <a:pt x="70" y="131"/>
                </a:cubicBezTo>
                <a:cubicBezTo>
                  <a:pt x="71" y="131"/>
                  <a:pt x="72" y="131"/>
                  <a:pt x="73" y="131"/>
                </a:cubicBezTo>
                <a:cubicBezTo>
                  <a:pt x="72" y="131"/>
                  <a:pt x="71" y="131"/>
                  <a:pt x="71" y="131"/>
                </a:cubicBezTo>
                <a:cubicBezTo>
                  <a:pt x="71" y="131"/>
                  <a:pt x="72" y="131"/>
                  <a:pt x="72" y="131"/>
                </a:cubicBezTo>
                <a:cubicBezTo>
                  <a:pt x="73" y="131"/>
                  <a:pt x="73" y="130"/>
                  <a:pt x="73" y="130"/>
                </a:cubicBezTo>
                <a:cubicBezTo>
                  <a:pt x="74" y="130"/>
                  <a:pt x="74" y="131"/>
                  <a:pt x="75" y="131"/>
                </a:cubicBezTo>
                <a:cubicBezTo>
                  <a:pt x="75" y="131"/>
                  <a:pt x="76" y="131"/>
                  <a:pt x="76" y="131"/>
                </a:cubicBezTo>
                <a:cubicBezTo>
                  <a:pt x="77" y="131"/>
                  <a:pt x="77" y="131"/>
                  <a:pt x="77" y="131"/>
                </a:cubicBezTo>
                <a:cubicBezTo>
                  <a:pt x="77" y="132"/>
                  <a:pt x="77" y="132"/>
                  <a:pt x="78" y="132"/>
                </a:cubicBezTo>
                <a:cubicBezTo>
                  <a:pt x="79" y="132"/>
                  <a:pt x="80" y="131"/>
                  <a:pt x="81" y="131"/>
                </a:cubicBezTo>
                <a:cubicBezTo>
                  <a:pt x="82" y="131"/>
                  <a:pt x="83" y="132"/>
                  <a:pt x="84" y="132"/>
                </a:cubicBezTo>
                <a:cubicBezTo>
                  <a:pt x="84" y="133"/>
                  <a:pt x="85" y="133"/>
                  <a:pt x="86" y="133"/>
                </a:cubicBezTo>
                <a:cubicBezTo>
                  <a:pt x="87" y="133"/>
                  <a:pt x="88" y="133"/>
                  <a:pt x="89" y="133"/>
                </a:cubicBezTo>
                <a:cubicBezTo>
                  <a:pt x="89" y="133"/>
                  <a:pt x="89" y="133"/>
                  <a:pt x="88" y="133"/>
                </a:cubicBezTo>
                <a:cubicBezTo>
                  <a:pt x="88" y="133"/>
                  <a:pt x="87" y="133"/>
                  <a:pt x="87" y="133"/>
                </a:cubicBezTo>
                <a:cubicBezTo>
                  <a:pt x="86" y="133"/>
                  <a:pt x="86" y="133"/>
                  <a:pt x="85" y="133"/>
                </a:cubicBezTo>
                <a:cubicBezTo>
                  <a:pt x="85" y="133"/>
                  <a:pt x="84" y="132"/>
                  <a:pt x="84" y="132"/>
                </a:cubicBezTo>
                <a:cubicBezTo>
                  <a:pt x="84" y="132"/>
                  <a:pt x="84" y="132"/>
                  <a:pt x="85" y="132"/>
                </a:cubicBezTo>
                <a:cubicBezTo>
                  <a:pt x="84" y="132"/>
                  <a:pt x="84" y="132"/>
                  <a:pt x="83" y="132"/>
                </a:cubicBezTo>
                <a:cubicBezTo>
                  <a:pt x="83" y="132"/>
                  <a:pt x="84" y="132"/>
                  <a:pt x="84" y="131"/>
                </a:cubicBezTo>
                <a:cubicBezTo>
                  <a:pt x="84" y="131"/>
                  <a:pt x="83" y="132"/>
                  <a:pt x="83" y="131"/>
                </a:cubicBezTo>
                <a:cubicBezTo>
                  <a:pt x="82" y="131"/>
                  <a:pt x="82" y="131"/>
                  <a:pt x="81" y="131"/>
                </a:cubicBezTo>
                <a:cubicBezTo>
                  <a:pt x="82" y="131"/>
                  <a:pt x="83" y="131"/>
                  <a:pt x="83" y="131"/>
                </a:cubicBezTo>
                <a:cubicBezTo>
                  <a:pt x="84" y="131"/>
                  <a:pt x="85" y="131"/>
                  <a:pt x="85" y="130"/>
                </a:cubicBezTo>
                <a:cubicBezTo>
                  <a:pt x="86" y="130"/>
                  <a:pt x="87" y="130"/>
                  <a:pt x="88" y="130"/>
                </a:cubicBezTo>
                <a:cubicBezTo>
                  <a:pt x="88" y="130"/>
                  <a:pt x="89" y="130"/>
                  <a:pt x="89" y="130"/>
                </a:cubicBezTo>
                <a:cubicBezTo>
                  <a:pt x="89" y="130"/>
                  <a:pt x="88" y="130"/>
                  <a:pt x="88" y="129"/>
                </a:cubicBezTo>
                <a:cubicBezTo>
                  <a:pt x="88" y="130"/>
                  <a:pt x="87" y="129"/>
                  <a:pt x="87" y="129"/>
                </a:cubicBezTo>
                <a:cubicBezTo>
                  <a:pt x="86" y="129"/>
                  <a:pt x="86" y="129"/>
                  <a:pt x="85" y="130"/>
                </a:cubicBezTo>
                <a:cubicBezTo>
                  <a:pt x="86" y="130"/>
                  <a:pt x="86" y="129"/>
                  <a:pt x="87" y="130"/>
                </a:cubicBezTo>
                <a:cubicBezTo>
                  <a:pt x="86" y="130"/>
                  <a:pt x="86" y="130"/>
                  <a:pt x="86" y="130"/>
                </a:cubicBezTo>
                <a:cubicBezTo>
                  <a:pt x="86" y="130"/>
                  <a:pt x="85" y="130"/>
                  <a:pt x="85" y="130"/>
                </a:cubicBezTo>
                <a:cubicBezTo>
                  <a:pt x="85" y="130"/>
                  <a:pt x="85" y="130"/>
                  <a:pt x="85" y="130"/>
                </a:cubicBezTo>
                <a:cubicBezTo>
                  <a:pt x="84" y="130"/>
                  <a:pt x="84" y="130"/>
                  <a:pt x="84" y="130"/>
                </a:cubicBezTo>
                <a:cubicBezTo>
                  <a:pt x="83" y="130"/>
                  <a:pt x="82" y="131"/>
                  <a:pt x="82" y="130"/>
                </a:cubicBezTo>
                <a:cubicBezTo>
                  <a:pt x="83" y="130"/>
                  <a:pt x="82" y="129"/>
                  <a:pt x="82" y="129"/>
                </a:cubicBezTo>
                <a:cubicBezTo>
                  <a:pt x="82" y="129"/>
                  <a:pt x="83" y="129"/>
                  <a:pt x="84" y="129"/>
                </a:cubicBezTo>
                <a:cubicBezTo>
                  <a:pt x="85" y="130"/>
                  <a:pt x="84" y="129"/>
                  <a:pt x="85" y="128"/>
                </a:cubicBezTo>
                <a:cubicBezTo>
                  <a:pt x="84" y="129"/>
                  <a:pt x="83" y="128"/>
                  <a:pt x="83" y="129"/>
                </a:cubicBezTo>
                <a:cubicBezTo>
                  <a:pt x="82" y="129"/>
                  <a:pt x="81" y="129"/>
                  <a:pt x="81" y="129"/>
                </a:cubicBezTo>
                <a:cubicBezTo>
                  <a:pt x="81" y="129"/>
                  <a:pt x="82" y="130"/>
                  <a:pt x="82" y="130"/>
                </a:cubicBezTo>
                <a:cubicBezTo>
                  <a:pt x="81" y="130"/>
                  <a:pt x="81" y="131"/>
                  <a:pt x="80" y="131"/>
                </a:cubicBezTo>
                <a:cubicBezTo>
                  <a:pt x="80" y="131"/>
                  <a:pt x="80" y="131"/>
                  <a:pt x="80" y="131"/>
                </a:cubicBezTo>
                <a:cubicBezTo>
                  <a:pt x="80" y="130"/>
                  <a:pt x="79" y="131"/>
                  <a:pt x="78" y="131"/>
                </a:cubicBezTo>
                <a:cubicBezTo>
                  <a:pt x="78" y="131"/>
                  <a:pt x="77" y="131"/>
                  <a:pt x="78" y="131"/>
                </a:cubicBezTo>
                <a:cubicBezTo>
                  <a:pt x="78" y="130"/>
                  <a:pt x="79" y="131"/>
                  <a:pt x="79" y="130"/>
                </a:cubicBezTo>
                <a:cubicBezTo>
                  <a:pt x="79" y="130"/>
                  <a:pt x="77" y="131"/>
                  <a:pt x="77" y="131"/>
                </a:cubicBezTo>
                <a:cubicBezTo>
                  <a:pt x="76" y="130"/>
                  <a:pt x="76" y="130"/>
                  <a:pt x="75" y="130"/>
                </a:cubicBezTo>
                <a:cubicBezTo>
                  <a:pt x="75" y="130"/>
                  <a:pt x="75" y="130"/>
                  <a:pt x="75" y="130"/>
                </a:cubicBezTo>
                <a:cubicBezTo>
                  <a:pt x="76" y="129"/>
                  <a:pt x="77" y="129"/>
                  <a:pt x="79" y="129"/>
                </a:cubicBezTo>
                <a:cubicBezTo>
                  <a:pt x="79" y="129"/>
                  <a:pt x="81" y="129"/>
                  <a:pt x="81" y="128"/>
                </a:cubicBezTo>
                <a:cubicBezTo>
                  <a:pt x="80" y="129"/>
                  <a:pt x="79" y="129"/>
                  <a:pt x="78" y="129"/>
                </a:cubicBezTo>
                <a:cubicBezTo>
                  <a:pt x="76" y="129"/>
                  <a:pt x="75" y="129"/>
                  <a:pt x="74" y="130"/>
                </a:cubicBezTo>
                <a:cubicBezTo>
                  <a:pt x="73" y="130"/>
                  <a:pt x="73" y="130"/>
                  <a:pt x="72" y="130"/>
                </a:cubicBezTo>
                <a:cubicBezTo>
                  <a:pt x="71" y="130"/>
                  <a:pt x="70" y="130"/>
                  <a:pt x="69" y="131"/>
                </a:cubicBezTo>
                <a:cubicBezTo>
                  <a:pt x="67" y="131"/>
                  <a:pt x="66" y="132"/>
                  <a:pt x="64" y="133"/>
                </a:cubicBezTo>
                <a:cubicBezTo>
                  <a:pt x="64" y="133"/>
                  <a:pt x="63" y="133"/>
                  <a:pt x="63" y="132"/>
                </a:cubicBezTo>
                <a:cubicBezTo>
                  <a:pt x="64" y="132"/>
                  <a:pt x="65" y="132"/>
                  <a:pt x="65" y="132"/>
                </a:cubicBezTo>
                <a:cubicBezTo>
                  <a:pt x="65" y="132"/>
                  <a:pt x="64" y="132"/>
                  <a:pt x="64" y="132"/>
                </a:cubicBezTo>
                <a:cubicBezTo>
                  <a:pt x="65" y="131"/>
                  <a:pt x="65" y="131"/>
                  <a:pt x="65" y="131"/>
                </a:cubicBezTo>
                <a:cubicBezTo>
                  <a:pt x="66" y="130"/>
                  <a:pt x="65" y="130"/>
                  <a:pt x="65" y="130"/>
                </a:cubicBezTo>
                <a:cubicBezTo>
                  <a:pt x="65" y="130"/>
                  <a:pt x="66" y="130"/>
                  <a:pt x="67" y="130"/>
                </a:cubicBezTo>
                <a:cubicBezTo>
                  <a:pt x="67" y="130"/>
                  <a:pt x="66" y="130"/>
                  <a:pt x="66" y="130"/>
                </a:cubicBezTo>
                <a:cubicBezTo>
                  <a:pt x="67" y="130"/>
                  <a:pt x="67" y="130"/>
                  <a:pt x="68" y="130"/>
                </a:cubicBezTo>
                <a:cubicBezTo>
                  <a:pt x="68" y="130"/>
                  <a:pt x="67" y="130"/>
                  <a:pt x="67" y="130"/>
                </a:cubicBezTo>
                <a:cubicBezTo>
                  <a:pt x="67" y="130"/>
                  <a:pt x="67" y="130"/>
                  <a:pt x="67" y="129"/>
                </a:cubicBezTo>
                <a:cubicBezTo>
                  <a:pt x="67" y="129"/>
                  <a:pt x="67" y="129"/>
                  <a:pt x="67" y="129"/>
                </a:cubicBezTo>
                <a:cubicBezTo>
                  <a:pt x="67" y="129"/>
                  <a:pt x="68" y="129"/>
                  <a:pt x="68" y="129"/>
                </a:cubicBezTo>
                <a:cubicBezTo>
                  <a:pt x="68" y="130"/>
                  <a:pt x="68" y="130"/>
                  <a:pt x="68" y="130"/>
                </a:cubicBezTo>
                <a:cubicBezTo>
                  <a:pt x="68" y="130"/>
                  <a:pt x="68" y="130"/>
                  <a:pt x="69" y="130"/>
                </a:cubicBezTo>
                <a:cubicBezTo>
                  <a:pt x="68" y="130"/>
                  <a:pt x="68" y="130"/>
                  <a:pt x="68" y="130"/>
                </a:cubicBezTo>
                <a:cubicBezTo>
                  <a:pt x="69" y="129"/>
                  <a:pt x="69" y="129"/>
                  <a:pt x="70" y="129"/>
                </a:cubicBezTo>
                <a:cubicBezTo>
                  <a:pt x="69" y="129"/>
                  <a:pt x="69" y="129"/>
                  <a:pt x="68" y="129"/>
                </a:cubicBezTo>
                <a:cubicBezTo>
                  <a:pt x="69" y="129"/>
                  <a:pt x="70" y="128"/>
                  <a:pt x="71" y="128"/>
                </a:cubicBezTo>
                <a:cubicBezTo>
                  <a:pt x="71" y="128"/>
                  <a:pt x="70" y="128"/>
                  <a:pt x="69" y="128"/>
                </a:cubicBezTo>
                <a:cubicBezTo>
                  <a:pt x="69" y="128"/>
                  <a:pt x="70" y="128"/>
                  <a:pt x="70" y="128"/>
                </a:cubicBezTo>
                <a:cubicBezTo>
                  <a:pt x="71" y="128"/>
                  <a:pt x="72" y="128"/>
                  <a:pt x="72" y="128"/>
                </a:cubicBezTo>
                <a:cubicBezTo>
                  <a:pt x="73" y="129"/>
                  <a:pt x="74" y="129"/>
                  <a:pt x="75" y="129"/>
                </a:cubicBezTo>
                <a:cubicBezTo>
                  <a:pt x="76" y="129"/>
                  <a:pt x="77" y="129"/>
                  <a:pt x="77" y="128"/>
                </a:cubicBezTo>
                <a:cubicBezTo>
                  <a:pt x="75" y="129"/>
                  <a:pt x="72" y="129"/>
                  <a:pt x="70" y="127"/>
                </a:cubicBezTo>
                <a:cubicBezTo>
                  <a:pt x="70" y="127"/>
                  <a:pt x="71" y="127"/>
                  <a:pt x="71" y="127"/>
                </a:cubicBezTo>
                <a:cubicBezTo>
                  <a:pt x="71" y="127"/>
                  <a:pt x="69" y="127"/>
                  <a:pt x="70" y="127"/>
                </a:cubicBezTo>
                <a:cubicBezTo>
                  <a:pt x="69" y="127"/>
                  <a:pt x="69" y="127"/>
                  <a:pt x="68" y="127"/>
                </a:cubicBezTo>
                <a:cubicBezTo>
                  <a:pt x="69" y="126"/>
                  <a:pt x="70" y="126"/>
                  <a:pt x="71" y="127"/>
                </a:cubicBezTo>
                <a:cubicBezTo>
                  <a:pt x="72" y="127"/>
                  <a:pt x="74" y="128"/>
                  <a:pt x="75" y="128"/>
                </a:cubicBezTo>
                <a:cubicBezTo>
                  <a:pt x="75" y="127"/>
                  <a:pt x="74" y="127"/>
                  <a:pt x="73" y="127"/>
                </a:cubicBezTo>
                <a:cubicBezTo>
                  <a:pt x="73" y="126"/>
                  <a:pt x="75" y="127"/>
                  <a:pt x="76" y="127"/>
                </a:cubicBezTo>
                <a:cubicBezTo>
                  <a:pt x="78" y="128"/>
                  <a:pt x="79" y="128"/>
                  <a:pt x="81" y="128"/>
                </a:cubicBezTo>
                <a:cubicBezTo>
                  <a:pt x="82" y="128"/>
                  <a:pt x="83" y="127"/>
                  <a:pt x="84" y="128"/>
                </a:cubicBezTo>
                <a:cubicBezTo>
                  <a:pt x="85" y="128"/>
                  <a:pt x="86" y="128"/>
                  <a:pt x="86" y="129"/>
                </a:cubicBezTo>
                <a:cubicBezTo>
                  <a:pt x="87" y="129"/>
                  <a:pt x="87" y="129"/>
                  <a:pt x="88" y="129"/>
                </a:cubicBezTo>
                <a:cubicBezTo>
                  <a:pt x="89" y="129"/>
                  <a:pt x="90" y="129"/>
                  <a:pt x="91" y="129"/>
                </a:cubicBezTo>
                <a:cubicBezTo>
                  <a:pt x="90" y="129"/>
                  <a:pt x="88" y="129"/>
                  <a:pt x="88" y="128"/>
                </a:cubicBezTo>
                <a:cubicBezTo>
                  <a:pt x="88" y="128"/>
                  <a:pt x="87" y="128"/>
                  <a:pt x="87" y="128"/>
                </a:cubicBezTo>
                <a:cubicBezTo>
                  <a:pt x="87" y="128"/>
                  <a:pt x="87" y="128"/>
                  <a:pt x="87" y="128"/>
                </a:cubicBezTo>
                <a:cubicBezTo>
                  <a:pt x="87" y="128"/>
                  <a:pt x="86" y="128"/>
                  <a:pt x="85" y="127"/>
                </a:cubicBezTo>
                <a:cubicBezTo>
                  <a:pt x="86" y="127"/>
                  <a:pt x="86" y="127"/>
                  <a:pt x="86" y="127"/>
                </a:cubicBezTo>
                <a:cubicBezTo>
                  <a:pt x="86" y="127"/>
                  <a:pt x="85" y="127"/>
                  <a:pt x="85" y="127"/>
                </a:cubicBezTo>
                <a:cubicBezTo>
                  <a:pt x="85" y="127"/>
                  <a:pt x="85" y="127"/>
                  <a:pt x="85" y="127"/>
                </a:cubicBezTo>
                <a:cubicBezTo>
                  <a:pt x="84" y="127"/>
                  <a:pt x="83" y="127"/>
                  <a:pt x="83" y="126"/>
                </a:cubicBezTo>
                <a:cubicBezTo>
                  <a:pt x="83" y="126"/>
                  <a:pt x="86" y="127"/>
                  <a:pt x="86" y="126"/>
                </a:cubicBezTo>
                <a:cubicBezTo>
                  <a:pt x="86" y="126"/>
                  <a:pt x="84" y="126"/>
                  <a:pt x="84" y="126"/>
                </a:cubicBezTo>
                <a:cubicBezTo>
                  <a:pt x="84" y="126"/>
                  <a:pt x="86" y="125"/>
                  <a:pt x="86" y="125"/>
                </a:cubicBezTo>
                <a:cubicBezTo>
                  <a:pt x="85" y="124"/>
                  <a:pt x="89" y="124"/>
                  <a:pt x="89" y="124"/>
                </a:cubicBezTo>
                <a:cubicBezTo>
                  <a:pt x="89" y="123"/>
                  <a:pt x="87" y="124"/>
                  <a:pt x="86" y="124"/>
                </a:cubicBezTo>
                <a:cubicBezTo>
                  <a:pt x="86" y="124"/>
                  <a:pt x="85" y="124"/>
                  <a:pt x="85" y="124"/>
                </a:cubicBezTo>
                <a:cubicBezTo>
                  <a:pt x="84" y="124"/>
                  <a:pt x="83" y="124"/>
                  <a:pt x="83" y="124"/>
                </a:cubicBezTo>
                <a:cubicBezTo>
                  <a:pt x="83" y="125"/>
                  <a:pt x="83" y="125"/>
                  <a:pt x="84" y="125"/>
                </a:cubicBezTo>
                <a:cubicBezTo>
                  <a:pt x="84" y="125"/>
                  <a:pt x="85" y="125"/>
                  <a:pt x="85" y="125"/>
                </a:cubicBezTo>
                <a:cubicBezTo>
                  <a:pt x="85" y="126"/>
                  <a:pt x="82" y="126"/>
                  <a:pt x="82" y="126"/>
                </a:cubicBezTo>
                <a:cubicBezTo>
                  <a:pt x="81" y="126"/>
                  <a:pt x="80" y="126"/>
                  <a:pt x="79" y="126"/>
                </a:cubicBezTo>
                <a:cubicBezTo>
                  <a:pt x="78" y="126"/>
                  <a:pt x="77" y="127"/>
                  <a:pt x="75" y="127"/>
                </a:cubicBezTo>
                <a:cubicBezTo>
                  <a:pt x="76" y="126"/>
                  <a:pt x="75" y="126"/>
                  <a:pt x="76" y="126"/>
                </a:cubicBezTo>
                <a:cubicBezTo>
                  <a:pt x="75" y="126"/>
                  <a:pt x="74" y="126"/>
                  <a:pt x="74" y="126"/>
                </a:cubicBezTo>
                <a:cubicBezTo>
                  <a:pt x="74" y="126"/>
                  <a:pt x="74" y="126"/>
                  <a:pt x="74" y="126"/>
                </a:cubicBezTo>
                <a:cubicBezTo>
                  <a:pt x="74" y="127"/>
                  <a:pt x="73" y="126"/>
                  <a:pt x="73" y="126"/>
                </a:cubicBezTo>
                <a:cubicBezTo>
                  <a:pt x="73" y="126"/>
                  <a:pt x="73" y="126"/>
                  <a:pt x="73" y="126"/>
                </a:cubicBezTo>
                <a:cubicBezTo>
                  <a:pt x="73" y="126"/>
                  <a:pt x="73" y="126"/>
                  <a:pt x="73" y="126"/>
                </a:cubicBezTo>
                <a:cubicBezTo>
                  <a:pt x="73" y="125"/>
                  <a:pt x="75" y="125"/>
                  <a:pt x="75" y="125"/>
                </a:cubicBezTo>
                <a:cubicBezTo>
                  <a:pt x="74" y="125"/>
                  <a:pt x="73" y="125"/>
                  <a:pt x="72" y="125"/>
                </a:cubicBezTo>
                <a:cubicBezTo>
                  <a:pt x="72" y="126"/>
                  <a:pt x="72" y="126"/>
                  <a:pt x="71" y="125"/>
                </a:cubicBezTo>
                <a:cubicBezTo>
                  <a:pt x="71" y="125"/>
                  <a:pt x="70" y="126"/>
                  <a:pt x="70" y="126"/>
                </a:cubicBezTo>
                <a:cubicBezTo>
                  <a:pt x="70" y="125"/>
                  <a:pt x="70" y="125"/>
                  <a:pt x="70" y="125"/>
                </a:cubicBezTo>
                <a:cubicBezTo>
                  <a:pt x="70" y="125"/>
                  <a:pt x="71" y="125"/>
                  <a:pt x="71" y="125"/>
                </a:cubicBezTo>
                <a:cubicBezTo>
                  <a:pt x="72" y="126"/>
                  <a:pt x="73" y="125"/>
                  <a:pt x="74" y="125"/>
                </a:cubicBezTo>
                <a:cubicBezTo>
                  <a:pt x="74" y="124"/>
                  <a:pt x="76" y="124"/>
                  <a:pt x="76" y="124"/>
                </a:cubicBezTo>
                <a:cubicBezTo>
                  <a:pt x="77" y="124"/>
                  <a:pt x="77" y="124"/>
                  <a:pt x="78" y="123"/>
                </a:cubicBezTo>
                <a:cubicBezTo>
                  <a:pt x="77" y="123"/>
                  <a:pt x="76" y="124"/>
                  <a:pt x="76" y="123"/>
                </a:cubicBezTo>
                <a:cubicBezTo>
                  <a:pt x="77" y="123"/>
                  <a:pt x="78" y="123"/>
                  <a:pt x="79" y="123"/>
                </a:cubicBezTo>
                <a:cubicBezTo>
                  <a:pt x="79" y="123"/>
                  <a:pt x="80" y="123"/>
                  <a:pt x="80" y="123"/>
                </a:cubicBezTo>
                <a:cubicBezTo>
                  <a:pt x="81" y="123"/>
                  <a:pt x="81" y="123"/>
                  <a:pt x="82" y="123"/>
                </a:cubicBezTo>
                <a:cubicBezTo>
                  <a:pt x="82" y="123"/>
                  <a:pt x="81" y="123"/>
                  <a:pt x="81" y="123"/>
                </a:cubicBezTo>
                <a:cubicBezTo>
                  <a:pt x="81" y="123"/>
                  <a:pt x="81" y="123"/>
                  <a:pt x="82" y="123"/>
                </a:cubicBezTo>
                <a:cubicBezTo>
                  <a:pt x="82" y="123"/>
                  <a:pt x="83" y="123"/>
                  <a:pt x="83" y="123"/>
                </a:cubicBezTo>
                <a:cubicBezTo>
                  <a:pt x="83" y="123"/>
                  <a:pt x="85" y="123"/>
                  <a:pt x="84" y="123"/>
                </a:cubicBezTo>
                <a:cubicBezTo>
                  <a:pt x="85" y="123"/>
                  <a:pt x="85" y="123"/>
                  <a:pt x="85" y="123"/>
                </a:cubicBezTo>
                <a:cubicBezTo>
                  <a:pt x="85" y="123"/>
                  <a:pt x="86" y="123"/>
                  <a:pt x="86" y="123"/>
                </a:cubicBezTo>
                <a:cubicBezTo>
                  <a:pt x="86" y="123"/>
                  <a:pt x="87" y="123"/>
                  <a:pt x="87" y="123"/>
                </a:cubicBezTo>
                <a:cubicBezTo>
                  <a:pt x="87" y="123"/>
                  <a:pt x="87" y="123"/>
                  <a:pt x="88" y="123"/>
                </a:cubicBezTo>
                <a:cubicBezTo>
                  <a:pt x="88" y="122"/>
                  <a:pt x="88" y="122"/>
                  <a:pt x="88" y="122"/>
                </a:cubicBezTo>
                <a:cubicBezTo>
                  <a:pt x="88" y="122"/>
                  <a:pt x="88" y="122"/>
                  <a:pt x="89" y="122"/>
                </a:cubicBezTo>
                <a:cubicBezTo>
                  <a:pt x="89" y="122"/>
                  <a:pt x="89" y="122"/>
                  <a:pt x="90" y="122"/>
                </a:cubicBezTo>
                <a:cubicBezTo>
                  <a:pt x="89" y="122"/>
                  <a:pt x="89" y="122"/>
                  <a:pt x="89" y="122"/>
                </a:cubicBezTo>
                <a:cubicBezTo>
                  <a:pt x="89" y="121"/>
                  <a:pt x="89" y="121"/>
                  <a:pt x="89" y="121"/>
                </a:cubicBezTo>
                <a:cubicBezTo>
                  <a:pt x="90" y="121"/>
                  <a:pt x="91" y="121"/>
                  <a:pt x="91" y="121"/>
                </a:cubicBezTo>
                <a:cubicBezTo>
                  <a:pt x="91" y="120"/>
                  <a:pt x="90" y="121"/>
                  <a:pt x="90" y="121"/>
                </a:cubicBezTo>
                <a:cubicBezTo>
                  <a:pt x="89" y="121"/>
                  <a:pt x="88" y="122"/>
                  <a:pt x="87" y="121"/>
                </a:cubicBezTo>
                <a:cubicBezTo>
                  <a:pt x="87" y="121"/>
                  <a:pt x="87" y="121"/>
                  <a:pt x="87" y="121"/>
                </a:cubicBezTo>
                <a:cubicBezTo>
                  <a:pt x="88" y="121"/>
                  <a:pt x="88" y="120"/>
                  <a:pt x="88" y="120"/>
                </a:cubicBezTo>
                <a:cubicBezTo>
                  <a:pt x="88" y="120"/>
                  <a:pt x="89" y="120"/>
                  <a:pt x="90" y="120"/>
                </a:cubicBezTo>
                <a:cubicBezTo>
                  <a:pt x="90" y="120"/>
                  <a:pt x="88" y="120"/>
                  <a:pt x="88" y="120"/>
                </a:cubicBezTo>
                <a:cubicBezTo>
                  <a:pt x="88" y="120"/>
                  <a:pt x="89" y="119"/>
                  <a:pt x="89" y="119"/>
                </a:cubicBezTo>
                <a:cubicBezTo>
                  <a:pt x="89" y="119"/>
                  <a:pt x="89" y="119"/>
                  <a:pt x="89" y="119"/>
                </a:cubicBezTo>
                <a:cubicBezTo>
                  <a:pt x="89" y="119"/>
                  <a:pt x="90" y="118"/>
                  <a:pt x="90" y="118"/>
                </a:cubicBezTo>
                <a:cubicBezTo>
                  <a:pt x="90" y="118"/>
                  <a:pt x="90" y="118"/>
                  <a:pt x="91" y="118"/>
                </a:cubicBezTo>
                <a:cubicBezTo>
                  <a:pt x="91" y="118"/>
                  <a:pt x="92" y="118"/>
                  <a:pt x="92" y="118"/>
                </a:cubicBezTo>
                <a:cubicBezTo>
                  <a:pt x="92" y="118"/>
                  <a:pt x="90" y="118"/>
                  <a:pt x="90" y="119"/>
                </a:cubicBezTo>
                <a:cubicBezTo>
                  <a:pt x="91" y="119"/>
                  <a:pt x="92" y="118"/>
                  <a:pt x="92" y="118"/>
                </a:cubicBezTo>
                <a:cubicBezTo>
                  <a:pt x="93" y="118"/>
                  <a:pt x="93" y="118"/>
                  <a:pt x="93" y="119"/>
                </a:cubicBezTo>
                <a:cubicBezTo>
                  <a:pt x="93" y="119"/>
                  <a:pt x="93" y="119"/>
                  <a:pt x="93" y="119"/>
                </a:cubicBezTo>
                <a:cubicBezTo>
                  <a:pt x="93" y="120"/>
                  <a:pt x="95" y="120"/>
                  <a:pt x="94" y="119"/>
                </a:cubicBezTo>
                <a:cubicBezTo>
                  <a:pt x="94" y="119"/>
                  <a:pt x="94" y="119"/>
                  <a:pt x="94" y="119"/>
                </a:cubicBezTo>
                <a:cubicBezTo>
                  <a:pt x="93" y="118"/>
                  <a:pt x="94" y="119"/>
                  <a:pt x="94" y="119"/>
                </a:cubicBezTo>
                <a:cubicBezTo>
                  <a:pt x="95" y="119"/>
                  <a:pt x="95" y="118"/>
                  <a:pt x="95" y="118"/>
                </a:cubicBezTo>
                <a:cubicBezTo>
                  <a:pt x="95" y="119"/>
                  <a:pt x="95" y="119"/>
                  <a:pt x="95" y="119"/>
                </a:cubicBezTo>
                <a:cubicBezTo>
                  <a:pt x="95" y="119"/>
                  <a:pt x="96" y="119"/>
                  <a:pt x="96" y="119"/>
                </a:cubicBezTo>
                <a:cubicBezTo>
                  <a:pt x="96" y="118"/>
                  <a:pt x="94" y="118"/>
                  <a:pt x="94" y="118"/>
                </a:cubicBezTo>
                <a:cubicBezTo>
                  <a:pt x="94" y="118"/>
                  <a:pt x="93" y="118"/>
                  <a:pt x="93" y="118"/>
                </a:cubicBezTo>
                <a:cubicBezTo>
                  <a:pt x="93" y="117"/>
                  <a:pt x="95" y="118"/>
                  <a:pt x="95" y="118"/>
                </a:cubicBezTo>
                <a:cubicBezTo>
                  <a:pt x="96" y="118"/>
                  <a:pt x="97" y="118"/>
                  <a:pt x="97" y="117"/>
                </a:cubicBezTo>
                <a:cubicBezTo>
                  <a:pt x="96" y="117"/>
                  <a:pt x="96" y="117"/>
                  <a:pt x="95" y="117"/>
                </a:cubicBezTo>
                <a:cubicBezTo>
                  <a:pt x="94" y="117"/>
                  <a:pt x="96" y="116"/>
                  <a:pt x="96" y="116"/>
                </a:cubicBezTo>
                <a:cubicBezTo>
                  <a:pt x="96" y="116"/>
                  <a:pt x="95" y="116"/>
                  <a:pt x="95" y="116"/>
                </a:cubicBezTo>
                <a:cubicBezTo>
                  <a:pt x="94" y="116"/>
                  <a:pt x="94" y="117"/>
                  <a:pt x="94" y="117"/>
                </a:cubicBezTo>
                <a:cubicBezTo>
                  <a:pt x="94" y="117"/>
                  <a:pt x="93" y="117"/>
                  <a:pt x="93" y="117"/>
                </a:cubicBezTo>
                <a:cubicBezTo>
                  <a:pt x="92" y="117"/>
                  <a:pt x="92" y="117"/>
                  <a:pt x="92" y="117"/>
                </a:cubicBezTo>
                <a:cubicBezTo>
                  <a:pt x="91" y="117"/>
                  <a:pt x="91" y="117"/>
                  <a:pt x="90" y="117"/>
                </a:cubicBezTo>
                <a:cubicBezTo>
                  <a:pt x="90" y="116"/>
                  <a:pt x="92" y="117"/>
                  <a:pt x="92" y="116"/>
                </a:cubicBezTo>
                <a:cubicBezTo>
                  <a:pt x="92" y="116"/>
                  <a:pt x="92" y="116"/>
                  <a:pt x="92" y="116"/>
                </a:cubicBezTo>
                <a:cubicBezTo>
                  <a:pt x="92" y="116"/>
                  <a:pt x="93" y="116"/>
                  <a:pt x="93" y="116"/>
                </a:cubicBezTo>
                <a:cubicBezTo>
                  <a:pt x="93" y="116"/>
                  <a:pt x="93" y="116"/>
                  <a:pt x="93" y="115"/>
                </a:cubicBezTo>
                <a:cubicBezTo>
                  <a:pt x="93" y="115"/>
                  <a:pt x="93" y="115"/>
                  <a:pt x="93" y="115"/>
                </a:cubicBezTo>
                <a:cubicBezTo>
                  <a:pt x="94" y="115"/>
                  <a:pt x="94" y="114"/>
                  <a:pt x="95" y="114"/>
                </a:cubicBezTo>
                <a:cubicBezTo>
                  <a:pt x="95" y="115"/>
                  <a:pt x="96" y="115"/>
                  <a:pt x="96" y="114"/>
                </a:cubicBezTo>
                <a:cubicBezTo>
                  <a:pt x="97" y="114"/>
                  <a:pt x="97" y="114"/>
                  <a:pt x="98" y="114"/>
                </a:cubicBezTo>
                <a:cubicBezTo>
                  <a:pt x="98" y="114"/>
                  <a:pt x="97" y="114"/>
                  <a:pt x="96" y="114"/>
                </a:cubicBezTo>
                <a:cubicBezTo>
                  <a:pt x="96" y="114"/>
                  <a:pt x="96" y="114"/>
                  <a:pt x="95" y="114"/>
                </a:cubicBezTo>
                <a:cubicBezTo>
                  <a:pt x="95" y="114"/>
                  <a:pt x="94" y="114"/>
                  <a:pt x="95" y="114"/>
                </a:cubicBezTo>
                <a:cubicBezTo>
                  <a:pt x="95" y="114"/>
                  <a:pt x="93" y="114"/>
                  <a:pt x="93" y="114"/>
                </a:cubicBezTo>
                <a:cubicBezTo>
                  <a:pt x="93" y="114"/>
                  <a:pt x="94" y="114"/>
                  <a:pt x="94" y="114"/>
                </a:cubicBezTo>
                <a:cubicBezTo>
                  <a:pt x="94" y="113"/>
                  <a:pt x="94" y="113"/>
                  <a:pt x="95" y="113"/>
                </a:cubicBezTo>
                <a:cubicBezTo>
                  <a:pt x="95" y="113"/>
                  <a:pt x="96" y="113"/>
                  <a:pt x="97" y="113"/>
                </a:cubicBezTo>
                <a:cubicBezTo>
                  <a:pt x="97" y="113"/>
                  <a:pt x="96" y="113"/>
                  <a:pt x="96" y="113"/>
                </a:cubicBezTo>
                <a:cubicBezTo>
                  <a:pt x="96" y="113"/>
                  <a:pt x="94" y="113"/>
                  <a:pt x="95" y="112"/>
                </a:cubicBezTo>
                <a:cubicBezTo>
                  <a:pt x="96" y="112"/>
                  <a:pt x="96" y="112"/>
                  <a:pt x="97" y="112"/>
                </a:cubicBezTo>
                <a:cubicBezTo>
                  <a:pt x="98" y="112"/>
                  <a:pt x="98" y="112"/>
                  <a:pt x="99" y="112"/>
                </a:cubicBezTo>
                <a:cubicBezTo>
                  <a:pt x="99" y="111"/>
                  <a:pt x="99" y="111"/>
                  <a:pt x="99" y="111"/>
                </a:cubicBezTo>
                <a:cubicBezTo>
                  <a:pt x="99" y="111"/>
                  <a:pt x="98" y="111"/>
                  <a:pt x="98" y="111"/>
                </a:cubicBezTo>
                <a:cubicBezTo>
                  <a:pt x="98" y="111"/>
                  <a:pt x="97" y="110"/>
                  <a:pt x="98" y="110"/>
                </a:cubicBezTo>
                <a:cubicBezTo>
                  <a:pt x="99" y="110"/>
                  <a:pt x="100" y="110"/>
                  <a:pt x="100" y="110"/>
                </a:cubicBezTo>
                <a:cubicBezTo>
                  <a:pt x="101" y="109"/>
                  <a:pt x="99" y="109"/>
                  <a:pt x="99" y="109"/>
                </a:cubicBezTo>
                <a:cubicBezTo>
                  <a:pt x="99" y="109"/>
                  <a:pt x="99" y="109"/>
                  <a:pt x="98" y="109"/>
                </a:cubicBezTo>
                <a:cubicBezTo>
                  <a:pt x="96" y="110"/>
                  <a:pt x="95" y="110"/>
                  <a:pt x="93" y="110"/>
                </a:cubicBezTo>
                <a:cubicBezTo>
                  <a:pt x="93" y="110"/>
                  <a:pt x="94" y="110"/>
                  <a:pt x="95" y="109"/>
                </a:cubicBezTo>
                <a:cubicBezTo>
                  <a:pt x="95" y="109"/>
                  <a:pt x="95" y="110"/>
                  <a:pt x="96" y="109"/>
                </a:cubicBezTo>
                <a:cubicBezTo>
                  <a:pt x="96" y="109"/>
                  <a:pt x="95" y="109"/>
                  <a:pt x="95" y="109"/>
                </a:cubicBezTo>
                <a:cubicBezTo>
                  <a:pt x="95" y="109"/>
                  <a:pt x="95" y="109"/>
                  <a:pt x="94" y="109"/>
                </a:cubicBezTo>
                <a:cubicBezTo>
                  <a:pt x="94" y="109"/>
                  <a:pt x="94" y="109"/>
                  <a:pt x="93" y="109"/>
                </a:cubicBezTo>
                <a:cubicBezTo>
                  <a:pt x="93" y="110"/>
                  <a:pt x="92" y="110"/>
                  <a:pt x="92" y="110"/>
                </a:cubicBezTo>
                <a:cubicBezTo>
                  <a:pt x="91" y="110"/>
                  <a:pt x="91" y="110"/>
                  <a:pt x="91" y="110"/>
                </a:cubicBezTo>
                <a:cubicBezTo>
                  <a:pt x="90" y="109"/>
                  <a:pt x="90" y="110"/>
                  <a:pt x="89" y="110"/>
                </a:cubicBezTo>
                <a:cubicBezTo>
                  <a:pt x="88" y="110"/>
                  <a:pt x="88" y="109"/>
                  <a:pt x="88" y="109"/>
                </a:cubicBezTo>
                <a:cubicBezTo>
                  <a:pt x="87" y="109"/>
                  <a:pt x="87" y="109"/>
                  <a:pt x="86" y="109"/>
                </a:cubicBezTo>
                <a:cubicBezTo>
                  <a:pt x="86" y="109"/>
                  <a:pt x="85" y="109"/>
                  <a:pt x="85" y="108"/>
                </a:cubicBezTo>
                <a:cubicBezTo>
                  <a:pt x="84" y="107"/>
                  <a:pt x="84" y="107"/>
                  <a:pt x="83" y="107"/>
                </a:cubicBezTo>
                <a:cubicBezTo>
                  <a:pt x="81" y="106"/>
                  <a:pt x="79" y="107"/>
                  <a:pt x="77" y="106"/>
                </a:cubicBezTo>
                <a:cubicBezTo>
                  <a:pt x="77" y="106"/>
                  <a:pt x="76" y="106"/>
                  <a:pt x="76" y="106"/>
                </a:cubicBezTo>
                <a:cubicBezTo>
                  <a:pt x="75" y="105"/>
                  <a:pt x="75" y="105"/>
                  <a:pt x="75" y="105"/>
                </a:cubicBezTo>
                <a:cubicBezTo>
                  <a:pt x="75" y="104"/>
                  <a:pt x="74" y="104"/>
                  <a:pt x="73" y="104"/>
                </a:cubicBezTo>
                <a:cubicBezTo>
                  <a:pt x="74" y="103"/>
                  <a:pt x="75" y="103"/>
                  <a:pt x="76" y="102"/>
                </a:cubicBezTo>
                <a:cubicBezTo>
                  <a:pt x="77" y="102"/>
                  <a:pt x="79" y="102"/>
                  <a:pt x="80" y="102"/>
                </a:cubicBezTo>
                <a:cubicBezTo>
                  <a:pt x="83" y="103"/>
                  <a:pt x="85" y="102"/>
                  <a:pt x="88" y="103"/>
                </a:cubicBezTo>
                <a:cubicBezTo>
                  <a:pt x="89" y="104"/>
                  <a:pt x="90" y="104"/>
                  <a:pt x="91" y="105"/>
                </a:cubicBezTo>
                <a:cubicBezTo>
                  <a:pt x="92" y="105"/>
                  <a:pt x="92" y="105"/>
                  <a:pt x="93" y="106"/>
                </a:cubicBezTo>
                <a:cubicBezTo>
                  <a:pt x="94" y="106"/>
                  <a:pt x="94" y="106"/>
                  <a:pt x="95" y="106"/>
                </a:cubicBezTo>
                <a:cubicBezTo>
                  <a:pt x="95" y="106"/>
                  <a:pt x="96" y="106"/>
                  <a:pt x="96" y="106"/>
                </a:cubicBezTo>
                <a:cubicBezTo>
                  <a:pt x="97" y="106"/>
                  <a:pt x="98" y="106"/>
                  <a:pt x="98" y="107"/>
                </a:cubicBezTo>
                <a:cubicBezTo>
                  <a:pt x="99" y="107"/>
                  <a:pt x="99" y="107"/>
                  <a:pt x="100" y="107"/>
                </a:cubicBezTo>
                <a:cubicBezTo>
                  <a:pt x="100" y="106"/>
                  <a:pt x="99" y="106"/>
                  <a:pt x="99" y="106"/>
                </a:cubicBezTo>
                <a:cubicBezTo>
                  <a:pt x="99" y="106"/>
                  <a:pt x="101" y="105"/>
                  <a:pt x="101" y="105"/>
                </a:cubicBezTo>
                <a:cubicBezTo>
                  <a:pt x="101" y="105"/>
                  <a:pt x="97" y="107"/>
                  <a:pt x="97" y="106"/>
                </a:cubicBezTo>
                <a:cubicBezTo>
                  <a:pt x="97" y="105"/>
                  <a:pt x="98" y="105"/>
                  <a:pt x="98" y="105"/>
                </a:cubicBezTo>
                <a:cubicBezTo>
                  <a:pt x="97" y="105"/>
                  <a:pt x="96" y="105"/>
                  <a:pt x="96" y="105"/>
                </a:cubicBezTo>
                <a:cubicBezTo>
                  <a:pt x="96" y="104"/>
                  <a:pt x="97" y="104"/>
                  <a:pt x="97" y="104"/>
                </a:cubicBezTo>
                <a:cubicBezTo>
                  <a:pt x="97" y="104"/>
                  <a:pt x="98" y="105"/>
                  <a:pt x="98" y="105"/>
                </a:cubicBezTo>
                <a:cubicBezTo>
                  <a:pt x="98" y="105"/>
                  <a:pt x="98" y="105"/>
                  <a:pt x="98" y="105"/>
                </a:cubicBezTo>
                <a:cubicBezTo>
                  <a:pt x="99" y="104"/>
                  <a:pt x="99" y="105"/>
                  <a:pt x="99" y="105"/>
                </a:cubicBezTo>
                <a:cubicBezTo>
                  <a:pt x="99" y="105"/>
                  <a:pt x="99" y="104"/>
                  <a:pt x="99" y="104"/>
                </a:cubicBezTo>
                <a:cubicBezTo>
                  <a:pt x="99" y="104"/>
                  <a:pt x="98" y="104"/>
                  <a:pt x="98" y="104"/>
                </a:cubicBezTo>
                <a:cubicBezTo>
                  <a:pt x="99" y="104"/>
                  <a:pt x="99" y="104"/>
                  <a:pt x="100" y="104"/>
                </a:cubicBezTo>
                <a:cubicBezTo>
                  <a:pt x="100" y="104"/>
                  <a:pt x="100" y="104"/>
                  <a:pt x="101" y="104"/>
                </a:cubicBezTo>
                <a:cubicBezTo>
                  <a:pt x="101" y="104"/>
                  <a:pt x="100" y="103"/>
                  <a:pt x="100" y="103"/>
                </a:cubicBezTo>
                <a:cubicBezTo>
                  <a:pt x="99" y="103"/>
                  <a:pt x="98" y="104"/>
                  <a:pt x="98" y="104"/>
                </a:cubicBezTo>
                <a:cubicBezTo>
                  <a:pt x="98" y="103"/>
                  <a:pt x="98" y="103"/>
                  <a:pt x="98" y="103"/>
                </a:cubicBezTo>
                <a:cubicBezTo>
                  <a:pt x="97" y="103"/>
                  <a:pt x="97" y="104"/>
                  <a:pt x="96" y="103"/>
                </a:cubicBezTo>
                <a:cubicBezTo>
                  <a:pt x="95" y="103"/>
                  <a:pt x="97" y="103"/>
                  <a:pt x="97" y="102"/>
                </a:cubicBezTo>
                <a:cubicBezTo>
                  <a:pt x="98" y="102"/>
                  <a:pt x="100" y="104"/>
                  <a:pt x="101" y="103"/>
                </a:cubicBezTo>
                <a:cubicBezTo>
                  <a:pt x="101" y="103"/>
                  <a:pt x="100" y="103"/>
                  <a:pt x="100" y="102"/>
                </a:cubicBezTo>
                <a:cubicBezTo>
                  <a:pt x="100" y="102"/>
                  <a:pt x="100" y="102"/>
                  <a:pt x="100" y="102"/>
                </a:cubicBezTo>
                <a:cubicBezTo>
                  <a:pt x="100" y="102"/>
                  <a:pt x="99" y="102"/>
                  <a:pt x="99" y="102"/>
                </a:cubicBezTo>
                <a:cubicBezTo>
                  <a:pt x="98" y="102"/>
                  <a:pt x="98" y="101"/>
                  <a:pt x="97" y="101"/>
                </a:cubicBezTo>
                <a:cubicBezTo>
                  <a:pt x="96" y="101"/>
                  <a:pt x="96" y="101"/>
                  <a:pt x="95" y="101"/>
                </a:cubicBezTo>
                <a:cubicBezTo>
                  <a:pt x="95" y="101"/>
                  <a:pt x="94" y="101"/>
                  <a:pt x="94" y="100"/>
                </a:cubicBezTo>
                <a:cubicBezTo>
                  <a:pt x="95" y="100"/>
                  <a:pt x="96" y="100"/>
                  <a:pt x="98" y="101"/>
                </a:cubicBezTo>
                <a:cubicBezTo>
                  <a:pt x="98" y="101"/>
                  <a:pt x="100" y="101"/>
                  <a:pt x="101" y="100"/>
                </a:cubicBezTo>
                <a:cubicBezTo>
                  <a:pt x="100" y="100"/>
                  <a:pt x="99" y="100"/>
                  <a:pt x="98" y="100"/>
                </a:cubicBezTo>
                <a:cubicBezTo>
                  <a:pt x="98" y="100"/>
                  <a:pt x="97" y="100"/>
                  <a:pt x="97" y="100"/>
                </a:cubicBezTo>
                <a:cubicBezTo>
                  <a:pt x="97" y="100"/>
                  <a:pt x="98" y="100"/>
                  <a:pt x="98" y="100"/>
                </a:cubicBezTo>
                <a:cubicBezTo>
                  <a:pt x="97" y="100"/>
                  <a:pt x="99" y="99"/>
                  <a:pt x="99" y="99"/>
                </a:cubicBezTo>
                <a:cubicBezTo>
                  <a:pt x="98" y="99"/>
                  <a:pt x="97" y="100"/>
                  <a:pt x="96" y="100"/>
                </a:cubicBezTo>
                <a:cubicBezTo>
                  <a:pt x="95" y="99"/>
                  <a:pt x="95" y="99"/>
                  <a:pt x="94" y="99"/>
                </a:cubicBezTo>
                <a:cubicBezTo>
                  <a:pt x="94" y="100"/>
                  <a:pt x="93" y="100"/>
                  <a:pt x="92" y="100"/>
                </a:cubicBezTo>
                <a:cubicBezTo>
                  <a:pt x="92" y="99"/>
                  <a:pt x="95" y="98"/>
                  <a:pt x="95" y="98"/>
                </a:cubicBezTo>
                <a:cubicBezTo>
                  <a:pt x="96" y="98"/>
                  <a:pt x="97" y="98"/>
                  <a:pt x="97" y="98"/>
                </a:cubicBezTo>
                <a:cubicBezTo>
                  <a:pt x="98" y="98"/>
                  <a:pt x="98" y="98"/>
                  <a:pt x="97" y="98"/>
                </a:cubicBezTo>
                <a:cubicBezTo>
                  <a:pt x="97" y="97"/>
                  <a:pt x="97" y="97"/>
                  <a:pt x="97" y="97"/>
                </a:cubicBezTo>
                <a:cubicBezTo>
                  <a:pt x="96" y="97"/>
                  <a:pt x="96" y="98"/>
                  <a:pt x="95" y="98"/>
                </a:cubicBezTo>
                <a:cubicBezTo>
                  <a:pt x="94" y="99"/>
                  <a:pt x="93" y="99"/>
                  <a:pt x="92" y="99"/>
                </a:cubicBezTo>
                <a:cubicBezTo>
                  <a:pt x="92" y="99"/>
                  <a:pt x="90" y="99"/>
                  <a:pt x="90" y="99"/>
                </a:cubicBezTo>
                <a:cubicBezTo>
                  <a:pt x="90" y="99"/>
                  <a:pt x="91" y="99"/>
                  <a:pt x="91" y="99"/>
                </a:cubicBezTo>
                <a:cubicBezTo>
                  <a:pt x="92" y="98"/>
                  <a:pt x="92" y="98"/>
                  <a:pt x="93" y="98"/>
                </a:cubicBezTo>
                <a:cubicBezTo>
                  <a:pt x="93" y="97"/>
                  <a:pt x="93" y="97"/>
                  <a:pt x="94" y="97"/>
                </a:cubicBezTo>
                <a:cubicBezTo>
                  <a:pt x="95" y="97"/>
                  <a:pt x="96" y="97"/>
                  <a:pt x="97" y="97"/>
                </a:cubicBezTo>
                <a:cubicBezTo>
                  <a:pt x="98" y="96"/>
                  <a:pt x="100" y="97"/>
                  <a:pt x="100" y="96"/>
                </a:cubicBezTo>
                <a:cubicBezTo>
                  <a:pt x="100" y="96"/>
                  <a:pt x="98" y="96"/>
                  <a:pt x="98" y="96"/>
                </a:cubicBezTo>
                <a:cubicBezTo>
                  <a:pt x="97" y="96"/>
                  <a:pt x="96" y="96"/>
                  <a:pt x="95" y="97"/>
                </a:cubicBezTo>
                <a:cubicBezTo>
                  <a:pt x="93" y="97"/>
                  <a:pt x="90" y="98"/>
                  <a:pt x="89" y="97"/>
                </a:cubicBezTo>
                <a:cubicBezTo>
                  <a:pt x="89" y="96"/>
                  <a:pt x="90" y="96"/>
                  <a:pt x="91" y="96"/>
                </a:cubicBezTo>
                <a:cubicBezTo>
                  <a:pt x="92" y="96"/>
                  <a:pt x="93" y="95"/>
                  <a:pt x="94" y="95"/>
                </a:cubicBezTo>
                <a:cubicBezTo>
                  <a:pt x="95" y="95"/>
                  <a:pt x="96" y="95"/>
                  <a:pt x="97" y="95"/>
                </a:cubicBezTo>
                <a:cubicBezTo>
                  <a:pt x="97" y="95"/>
                  <a:pt x="100" y="95"/>
                  <a:pt x="99" y="94"/>
                </a:cubicBezTo>
                <a:cubicBezTo>
                  <a:pt x="99" y="94"/>
                  <a:pt x="98" y="94"/>
                  <a:pt x="98" y="94"/>
                </a:cubicBezTo>
                <a:cubicBezTo>
                  <a:pt x="98" y="95"/>
                  <a:pt x="97" y="95"/>
                  <a:pt x="96" y="95"/>
                </a:cubicBezTo>
                <a:cubicBezTo>
                  <a:pt x="96" y="95"/>
                  <a:pt x="92" y="95"/>
                  <a:pt x="93" y="94"/>
                </a:cubicBezTo>
                <a:cubicBezTo>
                  <a:pt x="92" y="94"/>
                  <a:pt x="91" y="94"/>
                  <a:pt x="90" y="94"/>
                </a:cubicBezTo>
                <a:cubicBezTo>
                  <a:pt x="90" y="94"/>
                  <a:pt x="88" y="94"/>
                  <a:pt x="88" y="94"/>
                </a:cubicBezTo>
                <a:cubicBezTo>
                  <a:pt x="89" y="93"/>
                  <a:pt x="91" y="93"/>
                  <a:pt x="91" y="93"/>
                </a:cubicBezTo>
                <a:cubicBezTo>
                  <a:pt x="92" y="93"/>
                  <a:pt x="92" y="93"/>
                  <a:pt x="92" y="92"/>
                </a:cubicBezTo>
                <a:cubicBezTo>
                  <a:pt x="92" y="92"/>
                  <a:pt x="93" y="92"/>
                  <a:pt x="94" y="91"/>
                </a:cubicBezTo>
                <a:cubicBezTo>
                  <a:pt x="93" y="91"/>
                  <a:pt x="91" y="92"/>
                  <a:pt x="91" y="92"/>
                </a:cubicBezTo>
                <a:cubicBezTo>
                  <a:pt x="91" y="93"/>
                  <a:pt x="91" y="93"/>
                  <a:pt x="90" y="93"/>
                </a:cubicBezTo>
                <a:cubicBezTo>
                  <a:pt x="89" y="93"/>
                  <a:pt x="89" y="94"/>
                  <a:pt x="88" y="94"/>
                </a:cubicBezTo>
                <a:cubicBezTo>
                  <a:pt x="88" y="93"/>
                  <a:pt x="89" y="93"/>
                  <a:pt x="89" y="93"/>
                </a:cubicBezTo>
                <a:cubicBezTo>
                  <a:pt x="89" y="93"/>
                  <a:pt x="89" y="92"/>
                  <a:pt x="89" y="92"/>
                </a:cubicBezTo>
                <a:cubicBezTo>
                  <a:pt x="89" y="91"/>
                  <a:pt x="89" y="91"/>
                  <a:pt x="88" y="91"/>
                </a:cubicBezTo>
                <a:cubicBezTo>
                  <a:pt x="88" y="90"/>
                  <a:pt x="88" y="90"/>
                  <a:pt x="88" y="90"/>
                </a:cubicBezTo>
                <a:cubicBezTo>
                  <a:pt x="88" y="90"/>
                  <a:pt x="88" y="89"/>
                  <a:pt x="88" y="89"/>
                </a:cubicBezTo>
                <a:cubicBezTo>
                  <a:pt x="88" y="88"/>
                  <a:pt x="89" y="89"/>
                  <a:pt x="90" y="88"/>
                </a:cubicBezTo>
                <a:cubicBezTo>
                  <a:pt x="89" y="88"/>
                  <a:pt x="88" y="88"/>
                  <a:pt x="87" y="88"/>
                </a:cubicBezTo>
                <a:cubicBezTo>
                  <a:pt x="87" y="89"/>
                  <a:pt x="87" y="89"/>
                  <a:pt x="87" y="89"/>
                </a:cubicBezTo>
                <a:cubicBezTo>
                  <a:pt x="88" y="89"/>
                  <a:pt x="87" y="90"/>
                  <a:pt x="87" y="90"/>
                </a:cubicBezTo>
                <a:cubicBezTo>
                  <a:pt x="87" y="91"/>
                  <a:pt x="88" y="91"/>
                  <a:pt x="88" y="92"/>
                </a:cubicBezTo>
                <a:cubicBezTo>
                  <a:pt x="88" y="92"/>
                  <a:pt x="88" y="93"/>
                  <a:pt x="88" y="93"/>
                </a:cubicBezTo>
                <a:cubicBezTo>
                  <a:pt x="87" y="93"/>
                  <a:pt x="87" y="94"/>
                  <a:pt x="86" y="94"/>
                </a:cubicBezTo>
                <a:cubicBezTo>
                  <a:pt x="85" y="94"/>
                  <a:pt x="84" y="94"/>
                  <a:pt x="84" y="94"/>
                </a:cubicBezTo>
                <a:cubicBezTo>
                  <a:pt x="85" y="94"/>
                  <a:pt x="85" y="95"/>
                  <a:pt x="84" y="95"/>
                </a:cubicBezTo>
                <a:cubicBezTo>
                  <a:pt x="84" y="95"/>
                  <a:pt x="83" y="95"/>
                  <a:pt x="83" y="95"/>
                </a:cubicBezTo>
                <a:cubicBezTo>
                  <a:pt x="83" y="94"/>
                  <a:pt x="83" y="94"/>
                  <a:pt x="83" y="94"/>
                </a:cubicBezTo>
                <a:cubicBezTo>
                  <a:pt x="83" y="94"/>
                  <a:pt x="82" y="95"/>
                  <a:pt x="82" y="95"/>
                </a:cubicBezTo>
                <a:cubicBezTo>
                  <a:pt x="83" y="95"/>
                  <a:pt x="84" y="95"/>
                  <a:pt x="83" y="96"/>
                </a:cubicBezTo>
                <a:cubicBezTo>
                  <a:pt x="82" y="97"/>
                  <a:pt x="81" y="97"/>
                  <a:pt x="80" y="97"/>
                </a:cubicBezTo>
                <a:cubicBezTo>
                  <a:pt x="80" y="97"/>
                  <a:pt x="79" y="97"/>
                  <a:pt x="78" y="97"/>
                </a:cubicBezTo>
                <a:cubicBezTo>
                  <a:pt x="78" y="97"/>
                  <a:pt x="78" y="97"/>
                  <a:pt x="77" y="97"/>
                </a:cubicBezTo>
                <a:cubicBezTo>
                  <a:pt x="76" y="97"/>
                  <a:pt x="75" y="98"/>
                  <a:pt x="75" y="97"/>
                </a:cubicBezTo>
                <a:cubicBezTo>
                  <a:pt x="75" y="97"/>
                  <a:pt x="73" y="97"/>
                  <a:pt x="73" y="96"/>
                </a:cubicBezTo>
                <a:cubicBezTo>
                  <a:pt x="73" y="96"/>
                  <a:pt x="74" y="97"/>
                  <a:pt x="74" y="97"/>
                </a:cubicBezTo>
                <a:cubicBezTo>
                  <a:pt x="73" y="97"/>
                  <a:pt x="73" y="97"/>
                  <a:pt x="72" y="97"/>
                </a:cubicBezTo>
                <a:cubicBezTo>
                  <a:pt x="72" y="97"/>
                  <a:pt x="71" y="97"/>
                  <a:pt x="71" y="96"/>
                </a:cubicBezTo>
                <a:cubicBezTo>
                  <a:pt x="71" y="96"/>
                  <a:pt x="71" y="95"/>
                  <a:pt x="71" y="95"/>
                </a:cubicBezTo>
                <a:cubicBezTo>
                  <a:pt x="71" y="95"/>
                  <a:pt x="72" y="95"/>
                  <a:pt x="72" y="95"/>
                </a:cubicBezTo>
                <a:cubicBezTo>
                  <a:pt x="71" y="95"/>
                  <a:pt x="71" y="95"/>
                  <a:pt x="70" y="94"/>
                </a:cubicBezTo>
                <a:cubicBezTo>
                  <a:pt x="71" y="94"/>
                  <a:pt x="72" y="94"/>
                  <a:pt x="72" y="94"/>
                </a:cubicBezTo>
                <a:cubicBezTo>
                  <a:pt x="73" y="94"/>
                  <a:pt x="73" y="93"/>
                  <a:pt x="74" y="93"/>
                </a:cubicBezTo>
                <a:cubicBezTo>
                  <a:pt x="74" y="93"/>
                  <a:pt x="74" y="94"/>
                  <a:pt x="75" y="94"/>
                </a:cubicBezTo>
                <a:cubicBezTo>
                  <a:pt x="74" y="93"/>
                  <a:pt x="77" y="93"/>
                  <a:pt x="77" y="93"/>
                </a:cubicBezTo>
                <a:cubicBezTo>
                  <a:pt x="78" y="93"/>
                  <a:pt x="79" y="92"/>
                  <a:pt x="81" y="92"/>
                </a:cubicBezTo>
                <a:cubicBezTo>
                  <a:pt x="82" y="91"/>
                  <a:pt x="82" y="90"/>
                  <a:pt x="83" y="90"/>
                </a:cubicBezTo>
                <a:cubicBezTo>
                  <a:pt x="83" y="89"/>
                  <a:pt x="82" y="90"/>
                  <a:pt x="82" y="91"/>
                </a:cubicBezTo>
                <a:cubicBezTo>
                  <a:pt x="81" y="91"/>
                  <a:pt x="80" y="91"/>
                  <a:pt x="79" y="92"/>
                </a:cubicBezTo>
                <a:cubicBezTo>
                  <a:pt x="79" y="92"/>
                  <a:pt x="78" y="92"/>
                  <a:pt x="77" y="92"/>
                </a:cubicBezTo>
                <a:cubicBezTo>
                  <a:pt x="76" y="92"/>
                  <a:pt x="75" y="92"/>
                  <a:pt x="74" y="92"/>
                </a:cubicBezTo>
                <a:cubicBezTo>
                  <a:pt x="75" y="91"/>
                  <a:pt x="75" y="91"/>
                  <a:pt x="76" y="91"/>
                </a:cubicBezTo>
                <a:cubicBezTo>
                  <a:pt x="76" y="91"/>
                  <a:pt x="76" y="91"/>
                  <a:pt x="76" y="91"/>
                </a:cubicBezTo>
                <a:cubicBezTo>
                  <a:pt x="76" y="90"/>
                  <a:pt x="77" y="90"/>
                  <a:pt x="78" y="90"/>
                </a:cubicBezTo>
                <a:cubicBezTo>
                  <a:pt x="78" y="90"/>
                  <a:pt x="80" y="90"/>
                  <a:pt x="80" y="89"/>
                </a:cubicBezTo>
                <a:cubicBezTo>
                  <a:pt x="80" y="89"/>
                  <a:pt x="80" y="88"/>
                  <a:pt x="80" y="88"/>
                </a:cubicBezTo>
                <a:cubicBezTo>
                  <a:pt x="81" y="88"/>
                  <a:pt x="82" y="89"/>
                  <a:pt x="82" y="88"/>
                </a:cubicBezTo>
                <a:cubicBezTo>
                  <a:pt x="82" y="88"/>
                  <a:pt x="81" y="88"/>
                  <a:pt x="81" y="88"/>
                </a:cubicBezTo>
                <a:cubicBezTo>
                  <a:pt x="81" y="88"/>
                  <a:pt x="81" y="88"/>
                  <a:pt x="81" y="88"/>
                </a:cubicBezTo>
                <a:cubicBezTo>
                  <a:pt x="80" y="88"/>
                  <a:pt x="79" y="89"/>
                  <a:pt x="78" y="88"/>
                </a:cubicBezTo>
                <a:cubicBezTo>
                  <a:pt x="78" y="88"/>
                  <a:pt x="78" y="88"/>
                  <a:pt x="79" y="87"/>
                </a:cubicBezTo>
                <a:cubicBezTo>
                  <a:pt x="78" y="87"/>
                  <a:pt x="78" y="88"/>
                  <a:pt x="78" y="88"/>
                </a:cubicBezTo>
                <a:cubicBezTo>
                  <a:pt x="78" y="88"/>
                  <a:pt x="77" y="88"/>
                  <a:pt x="77" y="88"/>
                </a:cubicBezTo>
                <a:cubicBezTo>
                  <a:pt x="75" y="88"/>
                  <a:pt x="77" y="87"/>
                  <a:pt x="78" y="87"/>
                </a:cubicBezTo>
                <a:cubicBezTo>
                  <a:pt x="79" y="87"/>
                  <a:pt x="81" y="87"/>
                  <a:pt x="82" y="87"/>
                </a:cubicBezTo>
                <a:cubicBezTo>
                  <a:pt x="83" y="87"/>
                  <a:pt x="83" y="87"/>
                  <a:pt x="84" y="87"/>
                </a:cubicBezTo>
                <a:cubicBezTo>
                  <a:pt x="85" y="87"/>
                  <a:pt x="85" y="87"/>
                  <a:pt x="85" y="87"/>
                </a:cubicBezTo>
                <a:cubicBezTo>
                  <a:pt x="85" y="87"/>
                  <a:pt x="82" y="88"/>
                  <a:pt x="82" y="87"/>
                </a:cubicBezTo>
                <a:cubicBezTo>
                  <a:pt x="82" y="87"/>
                  <a:pt x="80" y="87"/>
                  <a:pt x="81" y="86"/>
                </a:cubicBezTo>
                <a:cubicBezTo>
                  <a:pt x="82" y="86"/>
                  <a:pt x="82" y="86"/>
                  <a:pt x="83" y="86"/>
                </a:cubicBezTo>
                <a:cubicBezTo>
                  <a:pt x="83" y="86"/>
                  <a:pt x="84" y="86"/>
                  <a:pt x="84" y="86"/>
                </a:cubicBezTo>
                <a:cubicBezTo>
                  <a:pt x="84" y="86"/>
                  <a:pt x="83" y="86"/>
                  <a:pt x="83" y="86"/>
                </a:cubicBezTo>
                <a:cubicBezTo>
                  <a:pt x="82" y="86"/>
                  <a:pt x="83" y="86"/>
                  <a:pt x="83" y="86"/>
                </a:cubicBezTo>
                <a:cubicBezTo>
                  <a:pt x="83" y="86"/>
                  <a:pt x="83" y="85"/>
                  <a:pt x="84" y="85"/>
                </a:cubicBezTo>
                <a:cubicBezTo>
                  <a:pt x="84" y="85"/>
                  <a:pt x="84" y="85"/>
                  <a:pt x="85" y="85"/>
                </a:cubicBezTo>
                <a:cubicBezTo>
                  <a:pt x="84" y="85"/>
                  <a:pt x="84" y="85"/>
                  <a:pt x="84" y="85"/>
                </a:cubicBezTo>
                <a:cubicBezTo>
                  <a:pt x="84" y="85"/>
                  <a:pt x="85" y="85"/>
                  <a:pt x="86" y="85"/>
                </a:cubicBezTo>
                <a:cubicBezTo>
                  <a:pt x="85" y="84"/>
                  <a:pt x="84" y="85"/>
                  <a:pt x="83" y="85"/>
                </a:cubicBezTo>
                <a:cubicBezTo>
                  <a:pt x="84" y="84"/>
                  <a:pt x="85" y="85"/>
                  <a:pt x="85" y="84"/>
                </a:cubicBezTo>
                <a:cubicBezTo>
                  <a:pt x="85" y="84"/>
                  <a:pt x="85" y="84"/>
                  <a:pt x="85" y="83"/>
                </a:cubicBezTo>
                <a:cubicBezTo>
                  <a:pt x="85" y="83"/>
                  <a:pt x="85" y="83"/>
                  <a:pt x="85" y="83"/>
                </a:cubicBezTo>
                <a:cubicBezTo>
                  <a:pt x="85" y="83"/>
                  <a:pt x="85" y="83"/>
                  <a:pt x="85" y="83"/>
                </a:cubicBezTo>
                <a:cubicBezTo>
                  <a:pt x="85" y="83"/>
                  <a:pt x="83" y="83"/>
                  <a:pt x="83" y="83"/>
                </a:cubicBezTo>
                <a:cubicBezTo>
                  <a:pt x="83" y="82"/>
                  <a:pt x="84" y="82"/>
                  <a:pt x="84" y="82"/>
                </a:cubicBezTo>
                <a:cubicBezTo>
                  <a:pt x="83" y="82"/>
                  <a:pt x="83" y="83"/>
                  <a:pt x="83" y="83"/>
                </a:cubicBezTo>
                <a:cubicBezTo>
                  <a:pt x="82" y="82"/>
                  <a:pt x="82" y="82"/>
                  <a:pt x="82" y="82"/>
                </a:cubicBezTo>
                <a:cubicBezTo>
                  <a:pt x="81" y="82"/>
                  <a:pt x="81" y="82"/>
                  <a:pt x="81" y="82"/>
                </a:cubicBezTo>
                <a:cubicBezTo>
                  <a:pt x="80" y="82"/>
                  <a:pt x="79" y="82"/>
                  <a:pt x="79" y="82"/>
                </a:cubicBezTo>
                <a:cubicBezTo>
                  <a:pt x="79" y="81"/>
                  <a:pt x="81" y="82"/>
                  <a:pt x="81" y="82"/>
                </a:cubicBezTo>
                <a:cubicBezTo>
                  <a:pt x="81" y="82"/>
                  <a:pt x="82" y="81"/>
                  <a:pt x="82" y="81"/>
                </a:cubicBezTo>
                <a:cubicBezTo>
                  <a:pt x="82" y="81"/>
                  <a:pt x="82" y="81"/>
                  <a:pt x="82" y="81"/>
                </a:cubicBezTo>
                <a:cubicBezTo>
                  <a:pt x="82" y="80"/>
                  <a:pt x="84" y="82"/>
                  <a:pt x="84" y="81"/>
                </a:cubicBezTo>
                <a:cubicBezTo>
                  <a:pt x="84" y="81"/>
                  <a:pt x="82" y="80"/>
                  <a:pt x="82" y="80"/>
                </a:cubicBezTo>
                <a:cubicBezTo>
                  <a:pt x="82" y="80"/>
                  <a:pt x="83" y="80"/>
                  <a:pt x="83" y="80"/>
                </a:cubicBezTo>
                <a:cubicBezTo>
                  <a:pt x="83" y="80"/>
                  <a:pt x="84" y="79"/>
                  <a:pt x="84" y="79"/>
                </a:cubicBezTo>
                <a:cubicBezTo>
                  <a:pt x="84" y="79"/>
                  <a:pt x="85" y="79"/>
                  <a:pt x="85" y="80"/>
                </a:cubicBezTo>
                <a:cubicBezTo>
                  <a:pt x="85" y="80"/>
                  <a:pt x="85" y="79"/>
                  <a:pt x="85" y="79"/>
                </a:cubicBezTo>
                <a:cubicBezTo>
                  <a:pt x="85" y="79"/>
                  <a:pt x="84" y="79"/>
                  <a:pt x="84" y="79"/>
                </a:cubicBezTo>
                <a:cubicBezTo>
                  <a:pt x="83" y="79"/>
                  <a:pt x="83" y="79"/>
                  <a:pt x="83" y="78"/>
                </a:cubicBezTo>
                <a:cubicBezTo>
                  <a:pt x="83" y="77"/>
                  <a:pt x="82" y="78"/>
                  <a:pt x="82" y="78"/>
                </a:cubicBezTo>
                <a:cubicBezTo>
                  <a:pt x="82" y="78"/>
                  <a:pt x="82" y="77"/>
                  <a:pt x="82" y="77"/>
                </a:cubicBezTo>
                <a:cubicBezTo>
                  <a:pt x="82" y="77"/>
                  <a:pt x="81" y="77"/>
                  <a:pt x="80" y="77"/>
                </a:cubicBezTo>
                <a:cubicBezTo>
                  <a:pt x="81" y="77"/>
                  <a:pt x="82" y="77"/>
                  <a:pt x="82" y="77"/>
                </a:cubicBezTo>
                <a:cubicBezTo>
                  <a:pt x="82" y="76"/>
                  <a:pt x="81" y="77"/>
                  <a:pt x="81" y="77"/>
                </a:cubicBezTo>
                <a:cubicBezTo>
                  <a:pt x="81" y="76"/>
                  <a:pt x="81" y="76"/>
                  <a:pt x="82" y="76"/>
                </a:cubicBezTo>
                <a:cubicBezTo>
                  <a:pt x="81" y="76"/>
                  <a:pt x="82" y="76"/>
                  <a:pt x="82" y="76"/>
                </a:cubicBezTo>
                <a:cubicBezTo>
                  <a:pt x="83" y="76"/>
                  <a:pt x="83" y="77"/>
                  <a:pt x="84" y="76"/>
                </a:cubicBezTo>
                <a:cubicBezTo>
                  <a:pt x="83" y="76"/>
                  <a:pt x="83" y="76"/>
                  <a:pt x="82" y="75"/>
                </a:cubicBezTo>
                <a:cubicBezTo>
                  <a:pt x="83" y="75"/>
                  <a:pt x="83" y="75"/>
                  <a:pt x="84" y="75"/>
                </a:cubicBezTo>
                <a:cubicBezTo>
                  <a:pt x="85" y="75"/>
                  <a:pt x="84" y="75"/>
                  <a:pt x="84" y="75"/>
                </a:cubicBezTo>
                <a:cubicBezTo>
                  <a:pt x="83" y="75"/>
                  <a:pt x="83" y="75"/>
                  <a:pt x="82" y="74"/>
                </a:cubicBezTo>
                <a:cubicBezTo>
                  <a:pt x="82" y="74"/>
                  <a:pt x="83" y="74"/>
                  <a:pt x="83" y="74"/>
                </a:cubicBezTo>
                <a:cubicBezTo>
                  <a:pt x="83" y="74"/>
                  <a:pt x="81" y="73"/>
                  <a:pt x="81" y="73"/>
                </a:cubicBezTo>
                <a:cubicBezTo>
                  <a:pt x="81" y="73"/>
                  <a:pt x="82" y="73"/>
                  <a:pt x="82" y="73"/>
                </a:cubicBezTo>
                <a:cubicBezTo>
                  <a:pt x="82" y="73"/>
                  <a:pt x="82" y="73"/>
                  <a:pt x="82" y="73"/>
                </a:cubicBezTo>
                <a:cubicBezTo>
                  <a:pt x="82" y="73"/>
                  <a:pt x="82" y="73"/>
                  <a:pt x="82" y="72"/>
                </a:cubicBezTo>
                <a:cubicBezTo>
                  <a:pt x="83" y="72"/>
                  <a:pt x="83" y="72"/>
                  <a:pt x="84" y="72"/>
                </a:cubicBezTo>
                <a:cubicBezTo>
                  <a:pt x="83" y="71"/>
                  <a:pt x="83" y="72"/>
                  <a:pt x="82" y="72"/>
                </a:cubicBezTo>
                <a:cubicBezTo>
                  <a:pt x="81" y="72"/>
                  <a:pt x="81" y="72"/>
                  <a:pt x="80" y="73"/>
                </a:cubicBezTo>
                <a:cubicBezTo>
                  <a:pt x="79" y="73"/>
                  <a:pt x="78" y="73"/>
                  <a:pt x="77" y="73"/>
                </a:cubicBezTo>
                <a:cubicBezTo>
                  <a:pt x="76" y="73"/>
                  <a:pt x="76" y="73"/>
                  <a:pt x="75" y="73"/>
                </a:cubicBezTo>
                <a:cubicBezTo>
                  <a:pt x="75" y="72"/>
                  <a:pt x="76" y="73"/>
                  <a:pt x="76" y="73"/>
                </a:cubicBezTo>
                <a:cubicBezTo>
                  <a:pt x="76" y="72"/>
                  <a:pt x="77" y="72"/>
                  <a:pt x="77" y="72"/>
                </a:cubicBezTo>
                <a:cubicBezTo>
                  <a:pt x="78" y="72"/>
                  <a:pt x="79" y="72"/>
                  <a:pt x="80" y="72"/>
                </a:cubicBezTo>
                <a:cubicBezTo>
                  <a:pt x="80" y="72"/>
                  <a:pt x="81" y="72"/>
                  <a:pt x="81" y="72"/>
                </a:cubicBezTo>
                <a:cubicBezTo>
                  <a:pt x="82" y="72"/>
                  <a:pt x="82" y="72"/>
                  <a:pt x="83" y="71"/>
                </a:cubicBezTo>
                <a:cubicBezTo>
                  <a:pt x="82" y="71"/>
                  <a:pt x="82" y="71"/>
                  <a:pt x="81" y="71"/>
                </a:cubicBezTo>
                <a:cubicBezTo>
                  <a:pt x="81" y="71"/>
                  <a:pt x="81" y="71"/>
                  <a:pt x="81" y="71"/>
                </a:cubicBezTo>
                <a:cubicBezTo>
                  <a:pt x="81" y="71"/>
                  <a:pt x="81" y="71"/>
                  <a:pt x="80" y="71"/>
                </a:cubicBezTo>
                <a:cubicBezTo>
                  <a:pt x="82" y="70"/>
                  <a:pt x="83" y="71"/>
                  <a:pt x="84" y="71"/>
                </a:cubicBezTo>
                <a:cubicBezTo>
                  <a:pt x="85" y="70"/>
                  <a:pt x="83" y="70"/>
                  <a:pt x="83" y="70"/>
                </a:cubicBezTo>
                <a:cubicBezTo>
                  <a:pt x="82" y="70"/>
                  <a:pt x="81" y="71"/>
                  <a:pt x="81" y="70"/>
                </a:cubicBezTo>
                <a:cubicBezTo>
                  <a:pt x="81" y="70"/>
                  <a:pt x="82" y="70"/>
                  <a:pt x="83" y="70"/>
                </a:cubicBezTo>
                <a:cubicBezTo>
                  <a:pt x="84" y="70"/>
                  <a:pt x="84" y="70"/>
                  <a:pt x="85" y="70"/>
                </a:cubicBezTo>
                <a:cubicBezTo>
                  <a:pt x="84" y="70"/>
                  <a:pt x="85" y="69"/>
                  <a:pt x="85" y="69"/>
                </a:cubicBezTo>
                <a:cubicBezTo>
                  <a:pt x="84" y="69"/>
                  <a:pt x="83" y="69"/>
                  <a:pt x="83" y="69"/>
                </a:cubicBezTo>
                <a:cubicBezTo>
                  <a:pt x="83" y="69"/>
                  <a:pt x="84" y="69"/>
                  <a:pt x="84" y="68"/>
                </a:cubicBezTo>
                <a:cubicBezTo>
                  <a:pt x="83" y="68"/>
                  <a:pt x="82" y="69"/>
                  <a:pt x="82" y="68"/>
                </a:cubicBezTo>
                <a:cubicBezTo>
                  <a:pt x="82" y="68"/>
                  <a:pt x="81" y="68"/>
                  <a:pt x="81" y="68"/>
                </a:cubicBezTo>
                <a:cubicBezTo>
                  <a:pt x="81" y="68"/>
                  <a:pt x="80" y="68"/>
                  <a:pt x="81" y="68"/>
                </a:cubicBezTo>
                <a:cubicBezTo>
                  <a:pt x="80" y="68"/>
                  <a:pt x="80" y="67"/>
                  <a:pt x="80" y="68"/>
                </a:cubicBezTo>
                <a:cubicBezTo>
                  <a:pt x="80" y="67"/>
                  <a:pt x="81" y="67"/>
                  <a:pt x="82" y="67"/>
                </a:cubicBezTo>
                <a:cubicBezTo>
                  <a:pt x="83" y="67"/>
                  <a:pt x="82" y="67"/>
                  <a:pt x="82" y="67"/>
                </a:cubicBezTo>
                <a:cubicBezTo>
                  <a:pt x="82" y="66"/>
                  <a:pt x="81" y="66"/>
                  <a:pt x="81" y="66"/>
                </a:cubicBezTo>
                <a:cubicBezTo>
                  <a:pt x="80" y="66"/>
                  <a:pt x="80" y="66"/>
                  <a:pt x="79" y="65"/>
                </a:cubicBezTo>
                <a:cubicBezTo>
                  <a:pt x="79" y="65"/>
                  <a:pt x="76" y="65"/>
                  <a:pt x="75" y="65"/>
                </a:cubicBezTo>
                <a:cubicBezTo>
                  <a:pt x="76" y="64"/>
                  <a:pt x="79" y="64"/>
                  <a:pt x="76" y="64"/>
                </a:cubicBezTo>
                <a:cubicBezTo>
                  <a:pt x="76" y="64"/>
                  <a:pt x="75" y="63"/>
                  <a:pt x="75" y="63"/>
                </a:cubicBezTo>
                <a:cubicBezTo>
                  <a:pt x="75" y="62"/>
                  <a:pt x="76" y="63"/>
                  <a:pt x="76" y="62"/>
                </a:cubicBezTo>
                <a:cubicBezTo>
                  <a:pt x="76" y="62"/>
                  <a:pt x="76" y="62"/>
                  <a:pt x="77" y="62"/>
                </a:cubicBezTo>
                <a:cubicBezTo>
                  <a:pt x="76" y="61"/>
                  <a:pt x="75" y="62"/>
                  <a:pt x="74" y="62"/>
                </a:cubicBezTo>
                <a:cubicBezTo>
                  <a:pt x="74" y="62"/>
                  <a:pt x="76" y="62"/>
                  <a:pt x="77" y="62"/>
                </a:cubicBezTo>
                <a:cubicBezTo>
                  <a:pt x="77" y="61"/>
                  <a:pt x="78" y="61"/>
                  <a:pt x="78" y="61"/>
                </a:cubicBezTo>
                <a:cubicBezTo>
                  <a:pt x="78" y="61"/>
                  <a:pt x="77" y="61"/>
                  <a:pt x="77" y="60"/>
                </a:cubicBezTo>
                <a:cubicBezTo>
                  <a:pt x="77" y="60"/>
                  <a:pt x="78" y="60"/>
                  <a:pt x="78" y="60"/>
                </a:cubicBezTo>
                <a:cubicBezTo>
                  <a:pt x="78" y="60"/>
                  <a:pt x="77" y="60"/>
                  <a:pt x="77" y="60"/>
                </a:cubicBezTo>
                <a:cubicBezTo>
                  <a:pt x="77" y="59"/>
                  <a:pt x="78" y="59"/>
                  <a:pt x="78" y="59"/>
                </a:cubicBezTo>
                <a:cubicBezTo>
                  <a:pt x="78" y="59"/>
                  <a:pt x="76" y="59"/>
                  <a:pt x="76" y="59"/>
                </a:cubicBezTo>
                <a:cubicBezTo>
                  <a:pt x="75" y="59"/>
                  <a:pt x="74" y="59"/>
                  <a:pt x="74" y="59"/>
                </a:cubicBezTo>
                <a:cubicBezTo>
                  <a:pt x="74" y="59"/>
                  <a:pt x="74" y="59"/>
                  <a:pt x="74" y="59"/>
                </a:cubicBezTo>
                <a:cubicBezTo>
                  <a:pt x="74" y="59"/>
                  <a:pt x="73" y="59"/>
                  <a:pt x="73" y="59"/>
                </a:cubicBezTo>
                <a:cubicBezTo>
                  <a:pt x="73" y="59"/>
                  <a:pt x="74" y="59"/>
                  <a:pt x="73" y="58"/>
                </a:cubicBezTo>
                <a:cubicBezTo>
                  <a:pt x="73" y="58"/>
                  <a:pt x="75" y="58"/>
                  <a:pt x="74" y="58"/>
                </a:cubicBezTo>
                <a:cubicBezTo>
                  <a:pt x="73" y="58"/>
                  <a:pt x="72" y="58"/>
                  <a:pt x="72" y="58"/>
                </a:cubicBezTo>
                <a:cubicBezTo>
                  <a:pt x="71" y="58"/>
                  <a:pt x="70" y="59"/>
                  <a:pt x="70" y="58"/>
                </a:cubicBezTo>
                <a:cubicBezTo>
                  <a:pt x="70" y="58"/>
                  <a:pt x="72" y="58"/>
                  <a:pt x="72" y="58"/>
                </a:cubicBezTo>
                <a:cubicBezTo>
                  <a:pt x="71" y="57"/>
                  <a:pt x="70" y="58"/>
                  <a:pt x="69" y="57"/>
                </a:cubicBezTo>
                <a:cubicBezTo>
                  <a:pt x="70" y="57"/>
                  <a:pt x="69" y="57"/>
                  <a:pt x="69" y="57"/>
                </a:cubicBezTo>
                <a:cubicBezTo>
                  <a:pt x="70" y="57"/>
                  <a:pt x="69" y="56"/>
                  <a:pt x="68" y="56"/>
                </a:cubicBezTo>
                <a:cubicBezTo>
                  <a:pt x="68" y="56"/>
                  <a:pt x="68" y="56"/>
                  <a:pt x="67" y="56"/>
                </a:cubicBezTo>
                <a:cubicBezTo>
                  <a:pt x="67" y="57"/>
                  <a:pt x="67" y="56"/>
                  <a:pt x="67" y="56"/>
                </a:cubicBezTo>
                <a:cubicBezTo>
                  <a:pt x="67" y="56"/>
                  <a:pt x="66" y="56"/>
                  <a:pt x="66" y="57"/>
                </a:cubicBezTo>
                <a:cubicBezTo>
                  <a:pt x="65" y="57"/>
                  <a:pt x="64" y="57"/>
                  <a:pt x="65" y="56"/>
                </a:cubicBezTo>
                <a:cubicBezTo>
                  <a:pt x="65" y="56"/>
                  <a:pt x="65" y="56"/>
                  <a:pt x="65" y="56"/>
                </a:cubicBezTo>
                <a:cubicBezTo>
                  <a:pt x="65" y="56"/>
                  <a:pt x="66" y="56"/>
                  <a:pt x="65" y="55"/>
                </a:cubicBezTo>
                <a:cubicBezTo>
                  <a:pt x="64" y="55"/>
                  <a:pt x="63" y="55"/>
                  <a:pt x="63" y="55"/>
                </a:cubicBezTo>
                <a:cubicBezTo>
                  <a:pt x="62" y="55"/>
                  <a:pt x="61" y="55"/>
                  <a:pt x="60" y="55"/>
                </a:cubicBezTo>
                <a:cubicBezTo>
                  <a:pt x="59" y="55"/>
                  <a:pt x="58" y="55"/>
                  <a:pt x="57" y="55"/>
                </a:cubicBezTo>
                <a:cubicBezTo>
                  <a:pt x="58" y="54"/>
                  <a:pt x="57" y="54"/>
                  <a:pt x="56" y="55"/>
                </a:cubicBezTo>
                <a:cubicBezTo>
                  <a:pt x="56" y="55"/>
                  <a:pt x="55" y="54"/>
                  <a:pt x="54" y="55"/>
                </a:cubicBezTo>
                <a:cubicBezTo>
                  <a:pt x="54" y="55"/>
                  <a:pt x="54" y="55"/>
                  <a:pt x="53" y="55"/>
                </a:cubicBezTo>
                <a:cubicBezTo>
                  <a:pt x="53" y="55"/>
                  <a:pt x="53" y="55"/>
                  <a:pt x="53" y="55"/>
                </a:cubicBezTo>
                <a:cubicBezTo>
                  <a:pt x="54" y="54"/>
                  <a:pt x="53" y="54"/>
                  <a:pt x="52" y="54"/>
                </a:cubicBezTo>
                <a:cubicBezTo>
                  <a:pt x="50" y="54"/>
                  <a:pt x="49" y="54"/>
                  <a:pt x="47" y="55"/>
                </a:cubicBezTo>
                <a:cubicBezTo>
                  <a:pt x="46" y="55"/>
                  <a:pt x="46" y="56"/>
                  <a:pt x="45" y="56"/>
                </a:cubicBezTo>
                <a:cubicBezTo>
                  <a:pt x="44" y="56"/>
                  <a:pt x="45" y="54"/>
                  <a:pt x="45" y="54"/>
                </a:cubicBezTo>
                <a:cubicBezTo>
                  <a:pt x="45" y="53"/>
                  <a:pt x="43" y="55"/>
                  <a:pt x="43" y="55"/>
                </a:cubicBezTo>
                <a:cubicBezTo>
                  <a:pt x="42" y="55"/>
                  <a:pt x="41" y="54"/>
                  <a:pt x="42" y="55"/>
                </a:cubicBezTo>
                <a:cubicBezTo>
                  <a:pt x="41" y="55"/>
                  <a:pt x="41" y="55"/>
                  <a:pt x="41" y="55"/>
                </a:cubicBezTo>
                <a:cubicBezTo>
                  <a:pt x="41" y="55"/>
                  <a:pt x="41" y="56"/>
                  <a:pt x="41" y="56"/>
                </a:cubicBezTo>
                <a:cubicBezTo>
                  <a:pt x="40" y="56"/>
                  <a:pt x="40" y="55"/>
                  <a:pt x="40" y="55"/>
                </a:cubicBezTo>
                <a:cubicBezTo>
                  <a:pt x="40" y="55"/>
                  <a:pt x="39" y="55"/>
                  <a:pt x="39" y="55"/>
                </a:cubicBezTo>
                <a:cubicBezTo>
                  <a:pt x="39" y="55"/>
                  <a:pt x="39" y="56"/>
                  <a:pt x="38" y="56"/>
                </a:cubicBezTo>
                <a:cubicBezTo>
                  <a:pt x="38" y="56"/>
                  <a:pt x="37" y="56"/>
                  <a:pt x="37" y="56"/>
                </a:cubicBezTo>
                <a:cubicBezTo>
                  <a:pt x="37" y="55"/>
                  <a:pt x="37" y="55"/>
                  <a:pt x="38" y="55"/>
                </a:cubicBezTo>
                <a:cubicBezTo>
                  <a:pt x="37" y="55"/>
                  <a:pt x="37" y="56"/>
                  <a:pt x="36" y="56"/>
                </a:cubicBezTo>
                <a:cubicBezTo>
                  <a:pt x="36" y="57"/>
                  <a:pt x="35" y="57"/>
                  <a:pt x="34" y="57"/>
                </a:cubicBezTo>
                <a:cubicBezTo>
                  <a:pt x="34" y="57"/>
                  <a:pt x="33" y="56"/>
                  <a:pt x="33" y="56"/>
                </a:cubicBezTo>
                <a:cubicBezTo>
                  <a:pt x="33" y="56"/>
                  <a:pt x="33" y="56"/>
                  <a:pt x="34" y="56"/>
                </a:cubicBezTo>
                <a:cubicBezTo>
                  <a:pt x="34" y="56"/>
                  <a:pt x="34" y="55"/>
                  <a:pt x="35" y="55"/>
                </a:cubicBezTo>
                <a:cubicBezTo>
                  <a:pt x="34" y="55"/>
                  <a:pt x="36" y="55"/>
                  <a:pt x="36" y="55"/>
                </a:cubicBezTo>
                <a:cubicBezTo>
                  <a:pt x="35" y="54"/>
                  <a:pt x="34" y="54"/>
                  <a:pt x="34" y="55"/>
                </a:cubicBezTo>
                <a:cubicBezTo>
                  <a:pt x="33" y="55"/>
                  <a:pt x="33" y="55"/>
                  <a:pt x="32" y="54"/>
                </a:cubicBezTo>
                <a:cubicBezTo>
                  <a:pt x="32" y="54"/>
                  <a:pt x="32" y="55"/>
                  <a:pt x="31" y="55"/>
                </a:cubicBezTo>
                <a:cubicBezTo>
                  <a:pt x="31" y="55"/>
                  <a:pt x="30" y="55"/>
                  <a:pt x="30" y="56"/>
                </a:cubicBezTo>
                <a:cubicBezTo>
                  <a:pt x="29" y="56"/>
                  <a:pt x="30" y="56"/>
                  <a:pt x="29" y="56"/>
                </a:cubicBezTo>
                <a:cubicBezTo>
                  <a:pt x="28" y="56"/>
                  <a:pt x="28" y="56"/>
                  <a:pt x="28" y="55"/>
                </a:cubicBezTo>
                <a:cubicBezTo>
                  <a:pt x="28" y="55"/>
                  <a:pt x="28" y="55"/>
                  <a:pt x="28" y="55"/>
                </a:cubicBezTo>
                <a:cubicBezTo>
                  <a:pt x="28" y="55"/>
                  <a:pt x="27" y="54"/>
                  <a:pt x="26" y="55"/>
                </a:cubicBezTo>
                <a:cubicBezTo>
                  <a:pt x="25" y="55"/>
                  <a:pt x="26" y="55"/>
                  <a:pt x="25" y="55"/>
                </a:cubicBezTo>
                <a:cubicBezTo>
                  <a:pt x="25" y="55"/>
                  <a:pt x="24" y="55"/>
                  <a:pt x="24" y="55"/>
                </a:cubicBezTo>
                <a:cubicBezTo>
                  <a:pt x="24" y="56"/>
                  <a:pt x="26" y="55"/>
                  <a:pt x="25" y="56"/>
                </a:cubicBezTo>
                <a:cubicBezTo>
                  <a:pt x="25" y="56"/>
                  <a:pt x="27" y="57"/>
                  <a:pt x="28" y="57"/>
                </a:cubicBezTo>
                <a:cubicBezTo>
                  <a:pt x="28" y="57"/>
                  <a:pt x="25" y="57"/>
                  <a:pt x="24" y="57"/>
                </a:cubicBezTo>
                <a:cubicBezTo>
                  <a:pt x="23" y="56"/>
                  <a:pt x="21" y="57"/>
                  <a:pt x="20" y="56"/>
                </a:cubicBezTo>
                <a:cubicBezTo>
                  <a:pt x="19" y="56"/>
                  <a:pt x="16" y="56"/>
                  <a:pt x="16" y="56"/>
                </a:cubicBezTo>
                <a:cubicBezTo>
                  <a:pt x="16" y="56"/>
                  <a:pt x="16" y="56"/>
                  <a:pt x="17" y="56"/>
                </a:cubicBezTo>
                <a:cubicBezTo>
                  <a:pt x="16" y="55"/>
                  <a:pt x="15" y="55"/>
                  <a:pt x="14" y="55"/>
                </a:cubicBezTo>
                <a:cubicBezTo>
                  <a:pt x="15" y="55"/>
                  <a:pt x="14" y="55"/>
                  <a:pt x="14" y="55"/>
                </a:cubicBezTo>
                <a:cubicBezTo>
                  <a:pt x="13" y="55"/>
                  <a:pt x="13" y="54"/>
                  <a:pt x="12" y="54"/>
                </a:cubicBezTo>
                <a:cubicBezTo>
                  <a:pt x="11" y="54"/>
                  <a:pt x="10" y="54"/>
                  <a:pt x="11" y="53"/>
                </a:cubicBezTo>
                <a:cubicBezTo>
                  <a:pt x="12" y="53"/>
                  <a:pt x="13" y="53"/>
                  <a:pt x="14" y="53"/>
                </a:cubicBezTo>
                <a:cubicBezTo>
                  <a:pt x="15" y="53"/>
                  <a:pt x="15" y="53"/>
                  <a:pt x="16" y="53"/>
                </a:cubicBezTo>
                <a:cubicBezTo>
                  <a:pt x="16" y="52"/>
                  <a:pt x="18" y="52"/>
                  <a:pt x="17" y="52"/>
                </a:cubicBezTo>
                <a:cubicBezTo>
                  <a:pt x="18" y="52"/>
                  <a:pt x="20" y="52"/>
                  <a:pt x="22" y="52"/>
                </a:cubicBezTo>
                <a:cubicBezTo>
                  <a:pt x="22" y="52"/>
                  <a:pt x="24" y="52"/>
                  <a:pt x="23" y="51"/>
                </a:cubicBezTo>
                <a:cubicBezTo>
                  <a:pt x="23" y="51"/>
                  <a:pt x="23" y="51"/>
                  <a:pt x="24" y="51"/>
                </a:cubicBezTo>
                <a:cubicBezTo>
                  <a:pt x="23" y="51"/>
                  <a:pt x="23" y="51"/>
                  <a:pt x="22" y="51"/>
                </a:cubicBezTo>
                <a:cubicBezTo>
                  <a:pt x="21" y="51"/>
                  <a:pt x="21" y="51"/>
                  <a:pt x="20" y="51"/>
                </a:cubicBezTo>
                <a:cubicBezTo>
                  <a:pt x="18" y="51"/>
                  <a:pt x="16" y="51"/>
                  <a:pt x="15" y="51"/>
                </a:cubicBezTo>
                <a:cubicBezTo>
                  <a:pt x="14" y="51"/>
                  <a:pt x="13" y="51"/>
                  <a:pt x="12" y="51"/>
                </a:cubicBezTo>
                <a:cubicBezTo>
                  <a:pt x="12" y="51"/>
                  <a:pt x="11" y="50"/>
                  <a:pt x="11" y="50"/>
                </a:cubicBezTo>
                <a:cubicBezTo>
                  <a:pt x="12" y="49"/>
                  <a:pt x="13" y="49"/>
                  <a:pt x="14" y="49"/>
                </a:cubicBezTo>
                <a:cubicBezTo>
                  <a:pt x="15" y="49"/>
                  <a:pt x="15" y="49"/>
                  <a:pt x="16" y="48"/>
                </a:cubicBezTo>
                <a:cubicBezTo>
                  <a:pt x="15" y="48"/>
                  <a:pt x="14" y="49"/>
                  <a:pt x="13" y="49"/>
                </a:cubicBezTo>
                <a:cubicBezTo>
                  <a:pt x="12" y="49"/>
                  <a:pt x="11" y="49"/>
                  <a:pt x="10" y="50"/>
                </a:cubicBezTo>
                <a:cubicBezTo>
                  <a:pt x="9" y="50"/>
                  <a:pt x="8" y="50"/>
                  <a:pt x="7" y="50"/>
                </a:cubicBezTo>
                <a:cubicBezTo>
                  <a:pt x="7" y="50"/>
                  <a:pt x="7" y="50"/>
                  <a:pt x="7" y="50"/>
                </a:cubicBezTo>
                <a:cubicBezTo>
                  <a:pt x="7" y="49"/>
                  <a:pt x="6" y="49"/>
                  <a:pt x="6" y="49"/>
                </a:cubicBezTo>
                <a:cubicBezTo>
                  <a:pt x="6" y="49"/>
                  <a:pt x="8" y="49"/>
                  <a:pt x="8" y="49"/>
                </a:cubicBezTo>
                <a:cubicBezTo>
                  <a:pt x="8" y="49"/>
                  <a:pt x="8" y="49"/>
                  <a:pt x="7" y="49"/>
                </a:cubicBezTo>
                <a:cubicBezTo>
                  <a:pt x="7" y="49"/>
                  <a:pt x="7" y="49"/>
                  <a:pt x="7" y="49"/>
                </a:cubicBezTo>
                <a:cubicBezTo>
                  <a:pt x="6" y="49"/>
                  <a:pt x="4" y="49"/>
                  <a:pt x="5" y="48"/>
                </a:cubicBezTo>
                <a:cubicBezTo>
                  <a:pt x="5" y="48"/>
                  <a:pt x="7" y="47"/>
                  <a:pt x="7" y="47"/>
                </a:cubicBezTo>
                <a:cubicBezTo>
                  <a:pt x="8" y="47"/>
                  <a:pt x="9" y="47"/>
                  <a:pt x="10" y="47"/>
                </a:cubicBezTo>
                <a:cubicBezTo>
                  <a:pt x="10" y="47"/>
                  <a:pt x="9" y="47"/>
                  <a:pt x="9" y="47"/>
                </a:cubicBezTo>
                <a:cubicBezTo>
                  <a:pt x="11" y="46"/>
                  <a:pt x="14" y="46"/>
                  <a:pt x="17" y="47"/>
                </a:cubicBezTo>
                <a:cubicBezTo>
                  <a:pt x="20" y="47"/>
                  <a:pt x="22" y="47"/>
                  <a:pt x="25" y="47"/>
                </a:cubicBezTo>
                <a:cubicBezTo>
                  <a:pt x="27" y="47"/>
                  <a:pt x="28" y="47"/>
                  <a:pt x="29" y="47"/>
                </a:cubicBezTo>
                <a:cubicBezTo>
                  <a:pt x="31" y="47"/>
                  <a:pt x="32" y="47"/>
                  <a:pt x="34" y="47"/>
                </a:cubicBezTo>
                <a:cubicBezTo>
                  <a:pt x="34" y="47"/>
                  <a:pt x="35" y="47"/>
                  <a:pt x="35" y="47"/>
                </a:cubicBezTo>
                <a:cubicBezTo>
                  <a:pt x="36" y="47"/>
                  <a:pt x="37" y="48"/>
                  <a:pt x="37" y="47"/>
                </a:cubicBezTo>
                <a:cubicBezTo>
                  <a:pt x="37" y="47"/>
                  <a:pt x="39" y="47"/>
                  <a:pt x="39" y="47"/>
                </a:cubicBezTo>
                <a:cubicBezTo>
                  <a:pt x="38" y="46"/>
                  <a:pt x="37" y="47"/>
                  <a:pt x="36" y="47"/>
                </a:cubicBezTo>
                <a:cubicBezTo>
                  <a:pt x="34" y="47"/>
                  <a:pt x="33" y="47"/>
                  <a:pt x="31" y="47"/>
                </a:cubicBezTo>
                <a:cubicBezTo>
                  <a:pt x="29" y="47"/>
                  <a:pt x="28" y="47"/>
                  <a:pt x="26" y="47"/>
                </a:cubicBezTo>
                <a:cubicBezTo>
                  <a:pt x="25" y="47"/>
                  <a:pt x="25" y="47"/>
                  <a:pt x="24" y="47"/>
                </a:cubicBezTo>
                <a:cubicBezTo>
                  <a:pt x="23" y="47"/>
                  <a:pt x="22" y="47"/>
                  <a:pt x="22" y="46"/>
                </a:cubicBezTo>
                <a:cubicBezTo>
                  <a:pt x="22" y="46"/>
                  <a:pt x="23" y="46"/>
                  <a:pt x="23" y="46"/>
                </a:cubicBezTo>
                <a:cubicBezTo>
                  <a:pt x="24" y="46"/>
                  <a:pt x="25" y="46"/>
                  <a:pt x="26" y="46"/>
                </a:cubicBezTo>
                <a:cubicBezTo>
                  <a:pt x="27" y="45"/>
                  <a:pt x="29" y="45"/>
                  <a:pt x="31" y="45"/>
                </a:cubicBezTo>
                <a:cubicBezTo>
                  <a:pt x="32" y="45"/>
                  <a:pt x="34" y="45"/>
                  <a:pt x="36" y="45"/>
                </a:cubicBezTo>
                <a:cubicBezTo>
                  <a:pt x="37" y="46"/>
                  <a:pt x="38" y="47"/>
                  <a:pt x="39" y="46"/>
                </a:cubicBezTo>
                <a:cubicBezTo>
                  <a:pt x="39" y="46"/>
                  <a:pt x="37" y="46"/>
                  <a:pt x="38" y="45"/>
                </a:cubicBezTo>
                <a:cubicBezTo>
                  <a:pt x="38" y="45"/>
                  <a:pt x="39" y="45"/>
                  <a:pt x="40" y="45"/>
                </a:cubicBezTo>
                <a:cubicBezTo>
                  <a:pt x="41" y="45"/>
                  <a:pt x="41" y="45"/>
                  <a:pt x="42" y="44"/>
                </a:cubicBezTo>
                <a:cubicBezTo>
                  <a:pt x="42" y="44"/>
                  <a:pt x="41" y="44"/>
                  <a:pt x="42" y="44"/>
                </a:cubicBezTo>
                <a:cubicBezTo>
                  <a:pt x="42" y="44"/>
                  <a:pt x="42" y="44"/>
                  <a:pt x="41" y="44"/>
                </a:cubicBezTo>
                <a:cubicBezTo>
                  <a:pt x="42" y="44"/>
                  <a:pt x="42" y="44"/>
                  <a:pt x="42" y="43"/>
                </a:cubicBezTo>
                <a:cubicBezTo>
                  <a:pt x="42" y="43"/>
                  <a:pt x="39" y="43"/>
                  <a:pt x="40" y="43"/>
                </a:cubicBezTo>
                <a:cubicBezTo>
                  <a:pt x="40" y="42"/>
                  <a:pt x="39" y="43"/>
                  <a:pt x="38" y="43"/>
                </a:cubicBezTo>
                <a:cubicBezTo>
                  <a:pt x="38" y="43"/>
                  <a:pt x="37" y="43"/>
                  <a:pt x="37" y="43"/>
                </a:cubicBezTo>
                <a:cubicBezTo>
                  <a:pt x="36" y="43"/>
                  <a:pt x="36" y="43"/>
                  <a:pt x="36" y="44"/>
                </a:cubicBezTo>
                <a:cubicBezTo>
                  <a:pt x="35" y="44"/>
                  <a:pt x="34" y="44"/>
                  <a:pt x="34" y="44"/>
                </a:cubicBezTo>
                <a:cubicBezTo>
                  <a:pt x="32" y="44"/>
                  <a:pt x="31" y="44"/>
                  <a:pt x="30" y="44"/>
                </a:cubicBezTo>
                <a:cubicBezTo>
                  <a:pt x="30" y="44"/>
                  <a:pt x="28" y="45"/>
                  <a:pt x="28" y="44"/>
                </a:cubicBezTo>
                <a:cubicBezTo>
                  <a:pt x="29" y="44"/>
                  <a:pt x="27" y="43"/>
                  <a:pt x="26" y="43"/>
                </a:cubicBezTo>
                <a:cubicBezTo>
                  <a:pt x="26" y="44"/>
                  <a:pt x="27" y="44"/>
                  <a:pt x="26" y="44"/>
                </a:cubicBezTo>
                <a:cubicBezTo>
                  <a:pt x="25" y="44"/>
                  <a:pt x="23" y="45"/>
                  <a:pt x="22" y="45"/>
                </a:cubicBezTo>
                <a:cubicBezTo>
                  <a:pt x="21" y="45"/>
                  <a:pt x="20" y="44"/>
                  <a:pt x="19" y="44"/>
                </a:cubicBezTo>
                <a:cubicBezTo>
                  <a:pt x="18" y="44"/>
                  <a:pt x="17" y="44"/>
                  <a:pt x="16" y="44"/>
                </a:cubicBezTo>
                <a:cubicBezTo>
                  <a:pt x="17" y="43"/>
                  <a:pt x="19" y="43"/>
                  <a:pt x="20" y="43"/>
                </a:cubicBezTo>
                <a:cubicBezTo>
                  <a:pt x="20" y="43"/>
                  <a:pt x="21" y="43"/>
                  <a:pt x="21" y="43"/>
                </a:cubicBezTo>
                <a:cubicBezTo>
                  <a:pt x="21" y="43"/>
                  <a:pt x="22" y="43"/>
                  <a:pt x="22" y="43"/>
                </a:cubicBezTo>
                <a:cubicBezTo>
                  <a:pt x="22" y="43"/>
                  <a:pt x="22" y="42"/>
                  <a:pt x="23" y="42"/>
                </a:cubicBezTo>
                <a:cubicBezTo>
                  <a:pt x="22" y="42"/>
                  <a:pt x="22" y="43"/>
                  <a:pt x="21" y="43"/>
                </a:cubicBezTo>
                <a:cubicBezTo>
                  <a:pt x="20" y="43"/>
                  <a:pt x="20" y="43"/>
                  <a:pt x="19" y="43"/>
                </a:cubicBezTo>
                <a:cubicBezTo>
                  <a:pt x="18" y="43"/>
                  <a:pt x="16" y="43"/>
                  <a:pt x="15" y="43"/>
                </a:cubicBezTo>
                <a:cubicBezTo>
                  <a:pt x="15" y="42"/>
                  <a:pt x="17" y="42"/>
                  <a:pt x="17" y="42"/>
                </a:cubicBezTo>
                <a:cubicBezTo>
                  <a:pt x="18" y="42"/>
                  <a:pt x="18" y="42"/>
                  <a:pt x="19" y="42"/>
                </a:cubicBezTo>
                <a:cubicBezTo>
                  <a:pt x="19" y="42"/>
                  <a:pt x="20" y="42"/>
                  <a:pt x="20" y="42"/>
                </a:cubicBezTo>
                <a:cubicBezTo>
                  <a:pt x="18" y="41"/>
                  <a:pt x="16" y="42"/>
                  <a:pt x="13" y="42"/>
                </a:cubicBezTo>
                <a:cubicBezTo>
                  <a:pt x="13" y="42"/>
                  <a:pt x="11" y="42"/>
                  <a:pt x="11" y="42"/>
                </a:cubicBezTo>
                <a:cubicBezTo>
                  <a:pt x="11" y="42"/>
                  <a:pt x="13" y="42"/>
                  <a:pt x="13" y="41"/>
                </a:cubicBezTo>
                <a:cubicBezTo>
                  <a:pt x="13" y="41"/>
                  <a:pt x="11" y="41"/>
                  <a:pt x="10" y="41"/>
                </a:cubicBezTo>
                <a:cubicBezTo>
                  <a:pt x="11" y="41"/>
                  <a:pt x="10" y="41"/>
                  <a:pt x="10" y="41"/>
                </a:cubicBezTo>
                <a:cubicBezTo>
                  <a:pt x="9" y="41"/>
                  <a:pt x="8" y="41"/>
                  <a:pt x="7" y="41"/>
                </a:cubicBezTo>
                <a:cubicBezTo>
                  <a:pt x="8" y="40"/>
                  <a:pt x="7" y="40"/>
                  <a:pt x="8" y="40"/>
                </a:cubicBezTo>
                <a:cubicBezTo>
                  <a:pt x="7" y="40"/>
                  <a:pt x="6" y="40"/>
                  <a:pt x="6" y="40"/>
                </a:cubicBezTo>
                <a:cubicBezTo>
                  <a:pt x="5" y="39"/>
                  <a:pt x="5" y="39"/>
                  <a:pt x="4" y="39"/>
                </a:cubicBezTo>
                <a:cubicBezTo>
                  <a:pt x="5" y="39"/>
                  <a:pt x="5" y="39"/>
                  <a:pt x="6" y="39"/>
                </a:cubicBezTo>
                <a:cubicBezTo>
                  <a:pt x="6" y="39"/>
                  <a:pt x="6" y="39"/>
                  <a:pt x="6" y="39"/>
                </a:cubicBezTo>
                <a:cubicBezTo>
                  <a:pt x="7" y="38"/>
                  <a:pt x="8" y="38"/>
                  <a:pt x="9" y="38"/>
                </a:cubicBezTo>
                <a:cubicBezTo>
                  <a:pt x="8" y="38"/>
                  <a:pt x="7" y="38"/>
                  <a:pt x="7" y="38"/>
                </a:cubicBezTo>
                <a:cubicBezTo>
                  <a:pt x="7" y="37"/>
                  <a:pt x="8" y="37"/>
                  <a:pt x="9" y="37"/>
                </a:cubicBezTo>
                <a:cubicBezTo>
                  <a:pt x="9" y="37"/>
                  <a:pt x="9" y="37"/>
                  <a:pt x="9" y="37"/>
                </a:cubicBezTo>
                <a:cubicBezTo>
                  <a:pt x="9" y="37"/>
                  <a:pt x="9" y="37"/>
                  <a:pt x="10" y="36"/>
                </a:cubicBezTo>
                <a:cubicBezTo>
                  <a:pt x="9" y="36"/>
                  <a:pt x="11" y="36"/>
                  <a:pt x="12" y="36"/>
                </a:cubicBezTo>
                <a:cubicBezTo>
                  <a:pt x="13" y="36"/>
                  <a:pt x="15" y="36"/>
                  <a:pt x="16" y="35"/>
                </a:cubicBezTo>
                <a:cubicBezTo>
                  <a:pt x="18" y="35"/>
                  <a:pt x="19" y="35"/>
                  <a:pt x="21" y="35"/>
                </a:cubicBezTo>
                <a:cubicBezTo>
                  <a:pt x="21" y="35"/>
                  <a:pt x="22" y="35"/>
                  <a:pt x="22" y="35"/>
                </a:cubicBezTo>
                <a:cubicBezTo>
                  <a:pt x="23" y="35"/>
                  <a:pt x="24" y="35"/>
                  <a:pt x="24" y="35"/>
                </a:cubicBezTo>
                <a:cubicBezTo>
                  <a:pt x="25" y="35"/>
                  <a:pt x="28" y="35"/>
                  <a:pt x="28" y="34"/>
                </a:cubicBezTo>
                <a:cubicBezTo>
                  <a:pt x="28" y="34"/>
                  <a:pt x="30" y="34"/>
                  <a:pt x="30" y="34"/>
                </a:cubicBezTo>
                <a:cubicBezTo>
                  <a:pt x="31" y="34"/>
                  <a:pt x="31" y="34"/>
                  <a:pt x="32" y="34"/>
                </a:cubicBezTo>
                <a:cubicBezTo>
                  <a:pt x="33" y="34"/>
                  <a:pt x="33" y="33"/>
                  <a:pt x="34" y="33"/>
                </a:cubicBezTo>
                <a:cubicBezTo>
                  <a:pt x="35" y="33"/>
                  <a:pt x="35" y="34"/>
                  <a:pt x="36" y="34"/>
                </a:cubicBezTo>
                <a:cubicBezTo>
                  <a:pt x="36" y="33"/>
                  <a:pt x="36" y="33"/>
                  <a:pt x="35" y="33"/>
                </a:cubicBezTo>
                <a:cubicBezTo>
                  <a:pt x="35" y="33"/>
                  <a:pt x="34" y="33"/>
                  <a:pt x="35" y="33"/>
                </a:cubicBezTo>
                <a:cubicBezTo>
                  <a:pt x="35" y="32"/>
                  <a:pt x="36" y="32"/>
                  <a:pt x="37" y="32"/>
                </a:cubicBezTo>
                <a:cubicBezTo>
                  <a:pt x="38" y="32"/>
                  <a:pt x="39" y="32"/>
                  <a:pt x="41" y="32"/>
                </a:cubicBezTo>
                <a:cubicBezTo>
                  <a:pt x="41" y="32"/>
                  <a:pt x="42" y="32"/>
                  <a:pt x="43" y="32"/>
                </a:cubicBezTo>
                <a:cubicBezTo>
                  <a:pt x="43" y="32"/>
                  <a:pt x="44" y="32"/>
                  <a:pt x="44" y="32"/>
                </a:cubicBezTo>
                <a:cubicBezTo>
                  <a:pt x="44" y="32"/>
                  <a:pt x="46" y="31"/>
                  <a:pt x="46" y="31"/>
                </a:cubicBezTo>
                <a:cubicBezTo>
                  <a:pt x="47" y="31"/>
                  <a:pt x="47" y="31"/>
                  <a:pt x="48" y="31"/>
                </a:cubicBezTo>
                <a:cubicBezTo>
                  <a:pt x="48" y="31"/>
                  <a:pt x="49" y="31"/>
                  <a:pt x="49" y="31"/>
                </a:cubicBezTo>
                <a:cubicBezTo>
                  <a:pt x="49" y="31"/>
                  <a:pt x="50" y="31"/>
                  <a:pt x="50" y="32"/>
                </a:cubicBezTo>
                <a:cubicBezTo>
                  <a:pt x="50" y="31"/>
                  <a:pt x="50" y="31"/>
                  <a:pt x="51" y="31"/>
                </a:cubicBezTo>
                <a:cubicBezTo>
                  <a:pt x="51" y="31"/>
                  <a:pt x="50" y="31"/>
                  <a:pt x="50" y="31"/>
                </a:cubicBezTo>
                <a:cubicBezTo>
                  <a:pt x="51" y="32"/>
                  <a:pt x="52" y="31"/>
                  <a:pt x="53" y="31"/>
                </a:cubicBezTo>
                <a:cubicBezTo>
                  <a:pt x="53" y="31"/>
                  <a:pt x="53" y="31"/>
                  <a:pt x="53" y="31"/>
                </a:cubicBezTo>
                <a:cubicBezTo>
                  <a:pt x="53" y="32"/>
                  <a:pt x="54" y="32"/>
                  <a:pt x="54" y="32"/>
                </a:cubicBezTo>
                <a:cubicBezTo>
                  <a:pt x="54" y="32"/>
                  <a:pt x="55" y="32"/>
                  <a:pt x="55" y="31"/>
                </a:cubicBezTo>
                <a:cubicBezTo>
                  <a:pt x="55" y="31"/>
                  <a:pt x="56" y="31"/>
                  <a:pt x="56" y="31"/>
                </a:cubicBezTo>
                <a:cubicBezTo>
                  <a:pt x="56" y="31"/>
                  <a:pt x="57" y="31"/>
                  <a:pt x="57" y="31"/>
                </a:cubicBezTo>
                <a:cubicBezTo>
                  <a:pt x="57" y="31"/>
                  <a:pt x="58" y="31"/>
                  <a:pt x="58" y="31"/>
                </a:cubicBezTo>
                <a:cubicBezTo>
                  <a:pt x="59" y="30"/>
                  <a:pt x="59" y="30"/>
                  <a:pt x="59" y="30"/>
                </a:cubicBezTo>
                <a:cubicBezTo>
                  <a:pt x="60" y="30"/>
                  <a:pt x="61" y="30"/>
                  <a:pt x="62" y="30"/>
                </a:cubicBezTo>
                <a:cubicBezTo>
                  <a:pt x="63" y="29"/>
                  <a:pt x="64" y="29"/>
                  <a:pt x="65" y="29"/>
                </a:cubicBezTo>
                <a:cubicBezTo>
                  <a:pt x="65" y="28"/>
                  <a:pt x="67" y="27"/>
                  <a:pt x="66" y="27"/>
                </a:cubicBezTo>
                <a:cubicBezTo>
                  <a:pt x="66" y="27"/>
                  <a:pt x="66" y="27"/>
                  <a:pt x="66" y="27"/>
                </a:cubicBezTo>
                <a:cubicBezTo>
                  <a:pt x="66" y="27"/>
                  <a:pt x="66" y="26"/>
                  <a:pt x="67" y="26"/>
                </a:cubicBezTo>
                <a:cubicBezTo>
                  <a:pt x="67" y="26"/>
                  <a:pt x="66" y="26"/>
                  <a:pt x="67" y="26"/>
                </a:cubicBezTo>
                <a:cubicBezTo>
                  <a:pt x="66" y="26"/>
                  <a:pt x="68" y="25"/>
                  <a:pt x="68" y="25"/>
                </a:cubicBezTo>
                <a:cubicBezTo>
                  <a:pt x="68" y="25"/>
                  <a:pt x="68" y="25"/>
                  <a:pt x="68" y="25"/>
                </a:cubicBezTo>
                <a:cubicBezTo>
                  <a:pt x="68" y="24"/>
                  <a:pt x="69" y="24"/>
                  <a:pt x="69" y="24"/>
                </a:cubicBezTo>
                <a:cubicBezTo>
                  <a:pt x="70" y="24"/>
                  <a:pt x="71" y="24"/>
                  <a:pt x="71" y="24"/>
                </a:cubicBezTo>
                <a:cubicBezTo>
                  <a:pt x="72" y="24"/>
                  <a:pt x="73" y="24"/>
                  <a:pt x="74" y="24"/>
                </a:cubicBezTo>
                <a:cubicBezTo>
                  <a:pt x="75" y="24"/>
                  <a:pt x="76" y="24"/>
                  <a:pt x="76" y="24"/>
                </a:cubicBezTo>
                <a:cubicBezTo>
                  <a:pt x="76" y="23"/>
                  <a:pt x="75" y="24"/>
                  <a:pt x="75" y="23"/>
                </a:cubicBezTo>
                <a:cubicBezTo>
                  <a:pt x="74" y="23"/>
                  <a:pt x="75" y="23"/>
                  <a:pt x="75" y="23"/>
                </a:cubicBezTo>
                <a:cubicBezTo>
                  <a:pt x="74" y="23"/>
                  <a:pt x="73" y="24"/>
                  <a:pt x="72" y="24"/>
                </a:cubicBezTo>
                <a:cubicBezTo>
                  <a:pt x="71" y="24"/>
                  <a:pt x="69" y="24"/>
                  <a:pt x="68" y="24"/>
                </a:cubicBezTo>
                <a:cubicBezTo>
                  <a:pt x="67" y="24"/>
                  <a:pt x="66" y="24"/>
                  <a:pt x="65" y="24"/>
                </a:cubicBezTo>
                <a:cubicBezTo>
                  <a:pt x="64" y="25"/>
                  <a:pt x="62" y="25"/>
                  <a:pt x="62" y="24"/>
                </a:cubicBezTo>
                <a:cubicBezTo>
                  <a:pt x="61" y="24"/>
                  <a:pt x="58" y="24"/>
                  <a:pt x="57" y="24"/>
                </a:cubicBezTo>
                <a:cubicBezTo>
                  <a:pt x="57" y="24"/>
                  <a:pt x="56" y="24"/>
                  <a:pt x="56" y="24"/>
                </a:cubicBezTo>
                <a:cubicBezTo>
                  <a:pt x="56" y="23"/>
                  <a:pt x="55" y="24"/>
                  <a:pt x="55" y="23"/>
                </a:cubicBezTo>
                <a:cubicBezTo>
                  <a:pt x="55" y="23"/>
                  <a:pt x="55" y="23"/>
                  <a:pt x="56" y="22"/>
                </a:cubicBezTo>
                <a:cubicBezTo>
                  <a:pt x="56" y="22"/>
                  <a:pt x="57" y="22"/>
                  <a:pt x="58" y="22"/>
                </a:cubicBezTo>
                <a:cubicBezTo>
                  <a:pt x="59" y="22"/>
                  <a:pt x="61" y="22"/>
                  <a:pt x="62" y="21"/>
                </a:cubicBezTo>
                <a:cubicBezTo>
                  <a:pt x="61" y="21"/>
                  <a:pt x="62" y="21"/>
                  <a:pt x="62" y="21"/>
                </a:cubicBezTo>
                <a:cubicBezTo>
                  <a:pt x="63" y="20"/>
                  <a:pt x="64" y="20"/>
                  <a:pt x="65" y="20"/>
                </a:cubicBezTo>
                <a:cubicBezTo>
                  <a:pt x="66" y="20"/>
                  <a:pt x="66" y="20"/>
                  <a:pt x="67" y="20"/>
                </a:cubicBezTo>
                <a:cubicBezTo>
                  <a:pt x="68" y="20"/>
                  <a:pt x="69" y="20"/>
                  <a:pt x="70" y="20"/>
                </a:cubicBezTo>
                <a:cubicBezTo>
                  <a:pt x="70" y="20"/>
                  <a:pt x="69" y="20"/>
                  <a:pt x="69" y="20"/>
                </a:cubicBezTo>
                <a:cubicBezTo>
                  <a:pt x="69" y="19"/>
                  <a:pt x="74" y="19"/>
                  <a:pt x="74" y="19"/>
                </a:cubicBezTo>
                <a:cubicBezTo>
                  <a:pt x="75" y="18"/>
                  <a:pt x="75" y="18"/>
                  <a:pt x="76" y="18"/>
                </a:cubicBezTo>
                <a:cubicBezTo>
                  <a:pt x="76" y="18"/>
                  <a:pt x="77" y="18"/>
                  <a:pt x="77" y="18"/>
                </a:cubicBezTo>
                <a:cubicBezTo>
                  <a:pt x="77" y="18"/>
                  <a:pt x="77" y="18"/>
                  <a:pt x="77" y="18"/>
                </a:cubicBezTo>
                <a:cubicBezTo>
                  <a:pt x="77" y="17"/>
                  <a:pt x="77" y="17"/>
                  <a:pt x="78" y="17"/>
                </a:cubicBezTo>
                <a:cubicBezTo>
                  <a:pt x="79" y="17"/>
                  <a:pt x="80" y="17"/>
                  <a:pt x="81" y="17"/>
                </a:cubicBezTo>
                <a:cubicBezTo>
                  <a:pt x="82" y="17"/>
                  <a:pt x="83" y="16"/>
                  <a:pt x="84" y="16"/>
                </a:cubicBezTo>
                <a:cubicBezTo>
                  <a:pt x="86" y="16"/>
                  <a:pt x="85" y="17"/>
                  <a:pt x="85" y="18"/>
                </a:cubicBezTo>
                <a:cubicBezTo>
                  <a:pt x="86" y="18"/>
                  <a:pt x="87" y="19"/>
                  <a:pt x="87" y="19"/>
                </a:cubicBezTo>
                <a:cubicBezTo>
                  <a:pt x="87" y="19"/>
                  <a:pt x="87" y="19"/>
                  <a:pt x="87" y="18"/>
                </a:cubicBezTo>
                <a:cubicBezTo>
                  <a:pt x="86" y="18"/>
                  <a:pt x="86" y="18"/>
                  <a:pt x="86" y="17"/>
                </a:cubicBezTo>
                <a:cubicBezTo>
                  <a:pt x="87" y="16"/>
                  <a:pt x="88" y="16"/>
                  <a:pt x="90" y="16"/>
                </a:cubicBezTo>
                <a:cubicBezTo>
                  <a:pt x="92" y="16"/>
                  <a:pt x="94" y="16"/>
                  <a:pt x="95" y="16"/>
                </a:cubicBezTo>
                <a:cubicBezTo>
                  <a:pt x="96" y="17"/>
                  <a:pt x="97" y="17"/>
                  <a:pt x="98" y="17"/>
                </a:cubicBezTo>
                <a:cubicBezTo>
                  <a:pt x="99" y="16"/>
                  <a:pt x="100" y="16"/>
                  <a:pt x="101" y="16"/>
                </a:cubicBezTo>
                <a:cubicBezTo>
                  <a:pt x="101" y="16"/>
                  <a:pt x="100" y="16"/>
                  <a:pt x="100" y="15"/>
                </a:cubicBezTo>
                <a:cubicBezTo>
                  <a:pt x="100" y="15"/>
                  <a:pt x="100" y="15"/>
                  <a:pt x="100" y="15"/>
                </a:cubicBezTo>
                <a:cubicBezTo>
                  <a:pt x="101" y="15"/>
                  <a:pt x="102" y="15"/>
                  <a:pt x="103" y="14"/>
                </a:cubicBezTo>
                <a:cubicBezTo>
                  <a:pt x="103" y="14"/>
                  <a:pt x="104" y="14"/>
                  <a:pt x="104" y="14"/>
                </a:cubicBezTo>
                <a:cubicBezTo>
                  <a:pt x="104" y="14"/>
                  <a:pt x="103" y="14"/>
                  <a:pt x="103" y="13"/>
                </a:cubicBezTo>
                <a:cubicBezTo>
                  <a:pt x="103" y="13"/>
                  <a:pt x="102" y="13"/>
                  <a:pt x="102" y="12"/>
                </a:cubicBezTo>
                <a:cubicBezTo>
                  <a:pt x="103" y="11"/>
                  <a:pt x="104" y="12"/>
                  <a:pt x="106" y="11"/>
                </a:cubicBezTo>
                <a:cubicBezTo>
                  <a:pt x="107" y="11"/>
                  <a:pt x="109" y="11"/>
                  <a:pt x="111" y="11"/>
                </a:cubicBezTo>
                <a:cubicBezTo>
                  <a:pt x="112" y="11"/>
                  <a:pt x="114" y="11"/>
                  <a:pt x="115" y="11"/>
                </a:cubicBezTo>
                <a:cubicBezTo>
                  <a:pt x="116" y="11"/>
                  <a:pt x="117" y="11"/>
                  <a:pt x="117" y="11"/>
                </a:cubicBezTo>
                <a:cubicBezTo>
                  <a:pt x="118" y="11"/>
                  <a:pt x="118" y="12"/>
                  <a:pt x="118" y="12"/>
                </a:cubicBezTo>
                <a:cubicBezTo>
                  <a:pt x="118" y="12"/>
                  <a:pt x="117" y="12"/>
                  <a:pt x="118" y="12"/>
                </a:cubicBezTo>
                <a:cubicBezTo>
                  <a:pt x="118" y="13"/>
                  <a:pt x="119" y="13"/>
                  <a:pt x="120" y="13"/>
                </a:cubicBezTo>
                <a:cubicBezTo>
                  <a:pt x="121" y="13"/>
                  <a:pt x="122" y="13"/>
                  <a:pt x="123" y="13"/>
                </a:cubicBezTo>
                <a:cubicBezTo>
                  <a:pt x="124" y="13"/>
                  <a:pt x="124" y="14"/>
                  <a:pt x="125" y="14"/>
                </a:cubicBezTo>
                <a:cubicBezTo>
                  <a:pt x="125" y="14"/>
                  <a:pt x="125" y="14"/>
                  <a:pt x="125" y="14"/>
                </a:cubicBezTo>
                <a:cubicBezTo>
                  <a:pt x="125" y="15"/>
                  <a:pt x="126" y="14"/>
                  <a:pt x="126" y="14"/>
                </a:cubicBezTo>
                <a:cubicBezTo>
                  <a:pt x="127" y="15"/>
                  <a:pt x="128" y="15"/>
                  <a:pt x="129" y="15"/>
                </a:cubicBezTo>
                <a:cubicBezTo>
                  <a:pt x="128" y="14"/>
                  <a:pt x="127" y="14"/>
                  <a:pt x="126" y="14"/>
                </a:cubicBezTo>
                <a:cubicBezTo>
                  <a:pt x="126" y="14"/>
                  <a:pt x="126" y="14"/>
                  <a:pt x="125" y="14"/>
                </a:cubicBezTo>
                <a:cubicBezTo>
                  <a:pt x="125" y="13"/>
                  <a:pt x="125" y="13"/>
                  <a:pt x="124" y="13"/>
                </a:cubicBezTo>
                <a:cubicBezTo>
                  <a:pt x="123" y="13"/>
                  <a:pt x="122" y="13"/>
                  <a:pt x="121" y="13"/>
                </a:cubicBezTo>
                <a:cubicBezTo>
                  <a:pt x="121" y="12"/>
                  <a:pt x="120" y="12"/>
                  <a:pt x="120" y="11"/>
                </a:cubicBezTo>
                <a:cubicBezTo>
                  <a:pt x="119" y="11"/>
                  <a:pt x="119" y="11"/>
                  <a:pt x="118" y="11"/>
                </a:cubicBezTo>
                <a:cubicBezTo>
                  <a:pt x="117" y="11"/>
                  <a:pt x="116" y="11"/>
                  <a:pt x="115" y="10"/>
                </a:cubicBezTo>
                <a:cubicBezTo>
                  <a:pt x="118" y="10"/>
                  <a:pt x="121" y="10"/>
                  <a:pt x="124" y="9"/>
                </a:cubicBezTo>
                <a:cubicBezTo>
                  <a:pt x="126" y="9"/>
                  <a:pt x="128" y="9"/>
                  <a:pt x="130" y="9"/>
                </a:cubicBezTo>
                <a:cubicBezTo>
                  <a:pt x="131" y="9"/>
                  <a:pt x="132" y="9"/>
                  <a:pt x="134" y="9"/>
                </a:cubicBezTo>
                <a:cubicBezTo>
                  <a:pt x="134" y="9"/>
                  <a:pt x="135" y="9"/>
                  <a:pt x="136" y="9"/>
                </a:cubicBezTo>
                <a:cubicBezTo>
                  <a:pt x="136" y="9"/>
                  <a:pt x="137" y="9"/>
                  <a:pt x="138" y="9"/>
                </a:cubicBezTo>
                <a:cubicBezTo>
                  <a:pt x="139" y="9"/>
                  <a:pt x="141" y="8"/>
                  <a:pt x="141" y="9"/>
                </a:cubicBezTo>
                <a:cubicBezTo>
                  <a:pt x="140" y="9"/>
                  <a:pt x="141" y="9"/>
                  <a:pt x="142" y="9"/>
                </a:cubicBezTo>
                <a:cubicBezTo>
                  <a:pt x="142" y="9"/>
                  <a:pt x="142" y="9"/>
                  <a:pt x="142" y="9"/>
                </a:cubicBezTo>
                <a:cubicBezTo>
                  <a:pt x="142" y="9"/>
                  <a:pt x="140" y="8"/>
                  <a:pt x="140" y="8"/>
                </a:cubicBezTo>
                <a:cubicBezTo>
                  <a:pt x="141" y="8"/>
                  <a:pt x="142" y="8"/>
                  <a:pt x="143" y="8"/>
                </a:cubicBezTo>
                <a:cubicBezTo>
                  <a:pt x="144" y="8"/>
                  <a:pt x="145" y="8"/>
                  <a:pt x="146" y="8"/>
                </a:cubicBezTo>
                <a:cubicBezTo>
                  <a:pt x="147" y="8"/>
                  <a:pt x="148" y="8"/>
                  <a:pt x="149" y="8"/>
                </a:cubicBezTo>
                <a:cubicBezTo>
                  <a:pt x="149" y="9"/>
                  <a:pt x="150" y="9"/>
                  <a:pt x="150" y="10"/>
                </a:cubicBezTo>
                <a:cubicBezTo>
                  <a:pt x="150" y="10"/>
                  <a:pt x="150" y="10"/>
                  <a:pt x="150" y="10"/>
                </a:cubicBezTo>
                <a:cubicBezTo>
                  <a:pt x="150" y="10"/>
                  <a:pt x="150" y="11"/>
                  <a:pt x="150" y="11"/>
                </a:cubicBezTo>
                <a:cubicBezTo>
                  <a:pt x="150" y="11"/>
                  <a:pt x="149" y="12"/>
                  <a:pt x="148" y="12"/>
                </a:cubicBezTo>
                <a:cubicBezTo>
                  <a:pt x="148" y="12"/>
                  <a:pt x="147" y="12"/>
                  <a:pt x="146" y="13"/>
                </a:cubicBezTo>
                <a:cubicBezTo>
                  <a:pt x="146" y="13"/>
                  <a:pt x="146" y="13"/>
                  <a:pt x="146" y="13"/>
                </a:cubicBezTo>
                <a:cubicBezTo>
                  <a:pt x="146" y="14"/>
                  <a:pt x="147" y="14"/>
                  <a:pt x="147" y="14"/>
                </a:cubicBezTo>
                <a:cubicBezTo>
                  <a:pt x="147" y="14"/>
                  <a:pt x="147" y="14"/>
                  <a:pt x="147" y="14"/>
                </a:cubicBezTo>
                <a:cubicBezTo>
                  <a:pt x="147" y="13"/>
                  <a:pt x="148" y="14"/>
                  <a:pt x="148" y="13"/>
                </a:cubicBezTo>
                <a:cubicBezTo>
                  <a:pt x="148" y="12"/>
                  <a:pt x="149" y="12"/>
                  <a:pt x="149" y="12"/>
                </a:cubicBezTo>
                <a:cubicBezTo>
                  <a:pt x="150" y="12"/>
                  <a:pt x="151" y="12"/>
                  <a:pt x="152" y="11"/>
                </a:cubicBezTo>
                <a:cubicBezTo>
                  <a:pt x="153" y="11"/>
                  <a:pt x="153" y="11"/>
                  <a:pt x="153" y="11"/>
                </a:cubicBezTo>
                <a:cubicBezTo>
                  <a:pt x="153" y="10"/>
                  <a:pt x="153" y="10"/>
                  <a:pt x="154" y="10"/>
                </a:cubicBezTo>
                <a:cubicBezTo>
                  <a:pt x="156" y="10"/>
                  <a:pt x="157" y="11"/>
                  <a:pt x="159" y="11"/>
                </a:cubicBezTo>
                <a:cubicBezTo>
                  <a:pt x="162" y="11"/>
                  <a:pt x="164" y="12"/>
                  <a:pt x="167" y="12"/>
                </a:cubicBezTo>
                <a:cubicBezTo>
                  <a:pt x="168" y="12"/>
                  <a:pt x="167" y="13"/>
                  <a:pt x="168" y="13"/>
                </a:cubicBezTo>
                <a:cubicBezTo>
                  <a:pt x="169" y="13"/>
                  <a:pt x="170" y="13"/>
                  <a:pt x="171" y="13"/>
                </a:cubicBezTo>
                <a:cubicBezTo>
                  <a:pt x="170" y="13"/>
                  <a:pt x="170" y="13"/>
                  <a:pt x="169" y="13"/>
                </a:cubicBezTo>
                <a:cubicBezTo>
                  <a:pt x="169" y="12"/>
                  <a:pt x="170" y="12"/>
                  <a:pt x="169" y="12"/>
                </a:cubicBezTo>
                <a:cubicBezTo>
                  <a:pt x="169" y="12"/>
                  <a:pt x="168" y="12"/>
                  <a:pt x="168" y="12"/>
                </a:cubicBezTo>
                <a:cubicBezTo>
                  <a:pt x="168" y="12"/>
                  <a:pt x="166" y="12"/>
                  <a:pt x="166" y="11"/>
                </a:cubicBezTo>
                <a:cubicBezTo>
                  <a:pt x="165" y="11"/>
                  <a:pt x="164" y="11"/>
                  <a:pt x="164" y="11"/>
                </a:cubicBezTo>
                <a:cubicBezTo>
                  <a:pt x="165" y="11"/>
                  <a:pt x="166" y="11"/>
                  <a:pt x="166" y="11"/>
                </a:cubicBezTo>
                <a:cubicBezTo>
                  <a:pt x="167" y="11"/>
                  <a:pt x="168" y="11"/>
                  <a:pt x="169" y="11"/>
                </a:cubicBezTo>
                <a:cubicBezTo>
                  <a:pt x="171" y="11"/>
                  <a:pt x="172" y="12"/>
                  <a:pt x="173" y="11"/>
                </a:cubicBezTo>
                <a:cubicBezTo>
                  <a:pt x="172" y="10"/>
                  <a:pt x="170" y="10"/>
                  <a:pt x="168" y="9"/>
                </a:cubicBezTo>
                <a:cubicBezTo>
                  <a:pt x="168" y="9"/>
                  <a:pt x="168" y="9"/>
                  <a:pt x="168" y="8"/>
                </a:cubicBezTo>
                <a:cubicBezTo>
                  <a:pt x="168" y="8"/>
                  <a:pt x="167" y="8"/>
                  <a:pt x="167" y="8"/>
                </a:cubicBezTo>
                <a:cubicBezTo>
                  <a:pt x="167" y="7"/>
                  <a:pt x="167" y="7"/>
                  <a:pt x="167" y="7"/>
                </a:cubicBezTo>
                <a:cubicBezTo>
                  <a:pt x="169" y="7"/>
                  <a:pt x="171" y="7"/>
                  <a:pt x="172" y="7"/>
                </a:cubicBezTo>
                <a:cubicBezTo>
                  <a:pt x="173" y="7"/>
                  <a:pt x="174" y="7"/>
                  <a:pt x="175" y="7"/>
                </a:cubicBezTo>
                <a:cubicBezTo>
                  <a:pt x="176" y="7"/>
                  <a:pt x="177" y="7"/>
                  <a:pt x="178" y="7"/>
                </a:cubicBezTo>
                <a:cubicBezTo>
                  <a:pt x="179" y="7"/>
                  <a:pt x="179" y="8"/>
                  <a:pt x="180" y="8"/>
                </a:cubicBezTo>
                <a:cubicBezTo>
                  <a:pt x="181" y="8"/>
                  <a:pt x="182" y="8"/>
                  <a:pt x="183" y="8"/>
                </a:cubicBezTo>
                <a:cubicBezTo>
                  <a:pt x="183" y="8"/>
                  <a:pt x="186" y="9"/>
                  <a:pt x="186" y="9"/>
                </a:cubicBezTo>
                <a:cubicBezTo>
                  <a:pt x="187" y="9"/>
                  <a:pt x="188" y="9"/>
                  <a:pt x="190" y="9"/>
                </a:cubicBezTo>
                <a:cubicBezTo>
                  <a:pt x="191" y="10"/>
                  <a:pt x="193" y="10"/>
                  <a:pt x="194" y="10"/>
                </a:cubicBezTo>
                <a:cubicBezTo>
                  <a:pt x="194" y="10"/>
                  <a:pt x="194" y="11"/>
                  <a:pt x="193" y="11"/>
                </a:cubicBezTo>
                <a:cubicBezTo>
                  <a:pt x="194" y="11"/>
                  <a:pt x="195" y="11"/>
                  <a:pt x="196" y="11"/>
                </a:cubicBezTo>
                <a:cubicBezTo>
                  <a:pt x="197" y="11"/>
                  <a:pt x="198" y="12"/>
                  <a:pt x="199" y="12"/>
                </a:cubicBezTo>
                <a:cubicBezTo>
                  <a:pt x="200" y="12"/>
                  <a:pt x="202" y="11"/>
                  <a:pt x="204" y="11"/>
                </a:cubicBezTo>
                <a:cubicBezTo>
                  <a:pt x="203" y="11"/>
                  <a:pt x="203" y="11"/>
                  <a:pt x="202" y="11"/>
                </a:cubicBezTo>
                <a:cubicBezTo>
                  <a:pt x="203" y="11"/>
                  <a:pt x="202" y="11"/>
                  <a:pt x="202" y="11"/>
                </a:cubicBezTo>
                <a:cubicBezTo>
                  <a:pt x="202" y="11"/>
                  <a:pt x="202" y="11"/>
                  <a:pt x="201" y="11"/>
                </a:cubicBezTo>
                <a:cubicBezTo>
                  <a:pt x="201" y="11"/>
                  <a:pt x="202" y="11"/>
                  <a:pt x="202" y="11"/>
                </a:cubicBezTo>
                <a:cubicBezTo>
                  <a:pt x="202" y="11"/>
                  <a:pt x="201" y="11"/>
                  <a:pt x="200" y="10"/>
                </a:cubicBezTo>
                <a:cubicBezTo>
                  <a:pt x="200" y="10"/>
                  <a:pt x="203" y="10"/>
                  <a:pt x="204" y="10"/>
                </a:cubicBezTo>
                <a:cubicBezTo>
                  <a:pt x="204" y="10"/>
                  <a:pt x="202" y="9"/>
                  <a:pt x="202" y="9"/>
                </a:cubicBezTo>
                <a:cubicBezTo>
                  <a:pt x="203" y="8"/>
                  <a:pt x="205" y="8"/>
                  <a:pt x="206" y="8"/>
                </a:cubicBezTo>
                <a:cubicBezTo>
                  <a:pt x="208" y="8"/>
                  <a:pt x="209" y="9"/>
                  <a:pt x="211" y="9"/>
                </a:cubicBezTo>
                <a:cubicBezTo>
                  <a:pt x="213" y="9"/>
                  <a:pt x="214" y="9"/>
                  <a:pt x="216" y="9"/>
                </a:cubicBezTo>
                <a:cubicBezTo>
                  <a:pt x="215" y="8"/>
                  <a:pt x="213" y="9"/>
                  <a:pt x="211" y="8"/>
                </a:cubicBezTo>
                <a:cubicBezTo>
                  <a:pt x="210" y="8"/>
                  <a:pt x="209" y="8"/>
                  <a:pt x="209" y="8"/>
                </a:cubicBezTo>
                <a:cubicBezTo>
                  <a:pt x="208" y="8"/>
                  <a:pt x="209" y="8"/>
                  <a:pt x="209" y="8"/>
                </a:cubicBezTo>
                <a:cubicBezTo>
                  <a:pt x="208" y="7"/>
                  <a:pt x="208" y="7"/>
                  <a:pt x="207" y="7"/>
                </a:cubicBezTo>
                <a:cubicBezTo>
                  <a:pt x="206" y="7"/>
                  <a:pt x="206" y="7"/>
                  <a:pt x="205" y="7"/>
                </a:cubicBezTo>
                <a:cubicBezTo>
                  <a:pt x="204" y="6"/>
                  <a:pt x="203" y="6"/>
                  <a:pt x="203" y="6"/>
                </a:cubicBezTo>
                <a:cubicBezTo>
                  <a:pt x="202" y="6"/>
                  <a:pt x="201" y="6"/>
                  <a:pt x="200" y="5"/>
                </a:cubicBezTo>
                <a:cubicBezTo>
                  <a:pt x="199" y="5"/>
                  <a:pt x="200" y="5"/>
                  <a:pt x="200" y="5"/>
                </a:cubicBezTo>
                <a:cubicBezTo>
                  <a:pt x="203" y="5"/>
                  <a:pt x="206" y="5"/>
                  <a:pt x="209" y="5"/>
                </a:cubicBezTo>
                <a:cubicBezTo>
                  <a:pt x="213" y="5"/>
                  <a:pt x="217" y="5"/>
                  <a:pt x="220" y="5"/>
                </a:cubicBezTo>
                <a:cubicBezTo>
                  <a:pt x="220" y="5"/>
                  <a:pt x="220" y="6"/>
                  <a:pt x="220" y="6"/>
                </a:cubicBezTo>
                <a:cubicBezTo>
                  <a:pt x="220" y="6"/>
                  <a:pt x="222" y="6"/>
                  <a:pt x="221" y="7"/>
                </a:cubicBezTo>
                <a:cubicBezTo>
                  <a:pt x="221" y="7"/>
                  <a:pt x="222" y="7"/>
                  <a:pt x="222" y="7"/>
                </a:cubicBezTo>
                <a:cubicBezTo>
                  <a:pt x="222" y="7"/>
                  <a:pt x="222" y="7"/>
                  <a:pt x="222" y="7"/>
                </a:cubicBezTo>
                <a:cubicBezTo>
                  <a:pt x="222" y="6"/>
                  <a:pt x="222" y="6"/>
                  <a:pt x="223" y="6"/>
                </a:cubicBezTo>
                <a:cubicBezTo>
                  <a:pt x="222" y="6"/>
                  <a:pt x="222" y="6"/>
                  <a:pt x="221" y="6"/>
                </a:cubicBezTo>
                <a:cubicBezTo>
                  <a:pt x="223" y="5"/>
                  <a:pt x="225" y="6"/>
                  <a:pt x="226" y="6"/>
                </a:cubicBezTo>
                <a:cubicBezTo>
                  <a:pt x="227" y="6"/>
                  <a:pt x="228" y="7"/>
                  <a:pt x="229" y="7"/>
                </a:cubicBezTo>
                <a:cubicBezTo>
                  <a:pt x="229" y="7"/>
                  <a:pt x="230" y="6"/>
                  <a:pt x="230" y="7"/>
                </a:cubicBezTo>
                <a:cubicBezTo>
                  <a:pt x="231" y="7"/>
                  <a:pt x="231" y="7"/>
                  <a:pt x="231" y="7"/>
                </a:cubicBezTo>
                <a:cubicBezTo>
                  <a:pt x="231" y="7"/>
                  <a:pt x="230" y="7"/>
                  <a:pt x="231" y="8"/>
                </a:cubicBezTo>
                <a:cubicBezTo>
                  <a:pt x="231" y="8"/>
                  <a:pt x="232" y="8"/>
                  <a:pt x="232" y="8"/>
                </a:cubicBezTo>
                <a:cubicBezTo>
                  <a:pt x="231" y="7"/>
                  <a:pt x="232" y="7"/>
                  <a:pt x="233" y="7"/>
                </a:cubicBezTo>
                <a:cubicBezTo>
                  <a:pt x="232" y="7"/>
                  <a:pt x="232" y="7"/>
                  <a:pt x="232" y="7"/>
                </a:cubicBezTo>
                <a:cubicBezTo>
                  <a:pt x="232" y="6"/>
                  <a:pt x="232" y="6"/>
                  <a:pt x="233" y="6"/>
                </a:cubicBezTo>
                <a:cubicBezTo>
                  <a:pt x="233" y="6"/>
                  <a:pt x="232" y="6"/>
                  <a:pt x="232" y="6"/>
                </a:cubicBezTo>
                <a:cubicBezTo>
                  <a:pt x="231" y="6"/>
                  <a:pt x="230" y="6"/>
                  <a:pt x="229" y="6"/>
                </a:cubicBezTo>
                <a:cubicBezTo>
                  <a:pt x="228" y="5"/>
                  <a:pt x="226" y="5"/>
                  <a:pt x="225" y="5"/>
                </a:cubicBezTo>
                <a:cubicBezTo>
                  <a:pt x="223" y="5"/>
                  <a:pt x="222" y="5"/>
                  <a:pt x="220" y="5"/>
                </a:cubicBezTo>
                <a:cubicBezTo>
                  <a:pt x="218" y="5"/>
                  <a:pt x="215" y="5"/>
                  <a:pt x="212" y="5"/>
                </a:cubicBezTo>
                <a:cubicBezTo>
                  <a:pt x="211" y="5"/>
                  <a:pt x="209" y="5"/>
                  <a:pt x="208" y="5"/>
                </a:cubicBezTo>
                <a:cubicBezTo>
                  <a:pt x="207" y="5"/>
                  <a:pt x="207" y="5"/>
                  <a:pt x="206" y="5"/>
                </a:cubicBezTo>
                <a:cubicBezTo>
                  <a:pt x="206" y="5"/>
                  <a:pt x="205" y="4"/>
                  <a:pt x="204" y="4"/>
                </a:cubicBezTo>
                <a:cubicBezTo>
                  <a:pt x="205" y="5"/>
                  <a:pt x="205" y="5"/>
                  <a:pt x="205" y="5"/>
                </a:cubicBezTo>
                <a:cubicBezTo>
                  <a:pt x="204" y="5"/>
                  <a:pt x="204" y="5"/>
                  <a:pt x="203" y="5"/>
                </a:cubicBezTo>
                <a:cubicBezTo>
                  <a:pt x="202" y="5"/>
                  <a:pt x="201" y="5"/>
                  <a:pt x="200" y="5"/>
                </a:cubicBezTo>
                <a:cubicBezTo>
                  <a:pt x="198" y="5"/>
                  <a:pt x="196" y="4"/>
                  <a:pt x="194" y="4"/>
                </a:cubicBezTo>
                <a:cubicBezTo>
                  <a:pt x="195" y="4"/>
                  <a:pt x="195" y="4"/>
                  <a:pt x="196" y="4"/>
                </a:cubicBezTo>
                <a:cubicBezTo>
                  <a:pt x="197" y="4"/>
                  <a:pt x="198" y="4"/>
                  <a:pt x="199" y="4"/>
                </a:cubicBezTo>
                <a:cubicBezTo>
                  <a:pt x="198" y="4"/>
                  <a:pt x="196" y="4"/>
                  <a:pt x="195" y="4"/>
                </a:cubicBezTo>
                <a:cubicBezTo>
                  <a:pt x="196" y="3"/>
                  <a:pt x="197" y="3"/>
                  <a:pt x="198" y="3"/>
                </a:cubicBezTo>
                <a:cubicBezTo>
                  <a:pt x="199" y="3"/>
                  <a:pt x="200" y="3"/>
                  <a:pt x="201" y="3"/>
                </a:cubicBezTo>
                <a:cubicBezTo>
                  <a:pt x="202" y="4"/>
                  <a:pt x="202" y="4"/>
                  <a:pt x="203" y="4"/>
                </a:cubicBezTo>
                <a:cubicBezTo>
                  <a:pt x="203" y="4"/>
                  <a:pt x="205" y="4"/>
                  <a:pt x="204" y="4"/>
                </a:cubicBezTo>
                <a:cubicBezTo>
                  <a:pt x="205" y="4"/>
                  <a:pt x="206" y="4"/>
                  <a:pt x="206" y="4"/>
                </a:cubicBezTo>
                <a:cubicBezTo>
                  <a:pt x="207" y="4"/>
                  <a:pt x="208" y="4"/>
                  <a:pt x="209" y="4"/>
                </a:cubicBezTo>
                <a:cubicBezTo>
                  <a:pt x="210" y="4"/>
                  <a:pt x="212" y="4"/>
                  <a:pt x="214" y="4"/>
                </a:cubicBezTo>
                <a:cubicBezTo>
                  <a:pt x="213" y="4"/>
                  <a:pt x="212" y="4"/>
                  <a:pt x="211" y="4"/>
                </a:cubicBezTo>
                <a:cubicBezTo>
                  <a:pt x="210" y="4"/>
                  <a:pt x="209" y="4"/>
                  <a:pt x="208" y="4"/>
                </a:cubicBezTo>
                <a:cubicBezTo>
                  <a:pt x="207" y="4"/>
                  <a:pt x="206" y="4"/>
                  <a:pt x="205" y="4"/>
                </a:cubicBezTo>
                <a:cubicBezTo>
                  <a:pt x="204" y="4"/>
                  <a:pt x="203" y="3"/>
                  <a:pt x="203" y="3"/>
                </a:cubicBezTo>
                <a:cubicBezTo>
                  <a:pt x="203" y="3"/>
                  <a:pt x="204" y="3"/>
                  <a:pt x="204" y="3"/>
                </a:cubicBezTo>
                <a:cubicBezTo>
                  <a:pt x="205" y="3"/>
                  <a:pt x="206" y="3"/>
                  <a:pt x="206" y="3"/>
                </a:cubicBezTo>
                <a:cubicBezTo>
                  <a:pt x="207" y="3"/>
                  <a:pt x="207" y="3"/>
                  <a:pt x="207" y="3"/>
                </a:cubicBezTo>
                <a:cubicBezTo>
                  <a:pt x="208" y="3"/>
                  <a:pt x="209" y="3"/>
                  <a:pt x="209" y="3"/>
                </a:cubicBezTo>
                <a:cubicBezTo>
                  <a:pt x="210" y="3"/>
                  <a:pt x="212" y="3"/>
                  <a:pt x="213" y="3"/>
                </a:cubicBezTo>
                <a:cubicBezTo>
                  <a:pt x="214" y="3"/>
                  <a:pt x="215" y="3"/>
                  <a:pt x="215" y="3"/>
                </a:cubicBezTo>
                <a:cubicBezTo>
                  <a:pt x="216" y="3"/>
                  <a:pt x="217" y="3"/>
                  <a:pt x="218" y="3"/>
                </a:cubicBezTo>
                <a:cubicBezTo>
                  <a:pt x="216" y="2"/>
                  <a:pt x="214" y="3"/>
                  <a:pt x="212" y="3"/>
                </a:cubicBezTo>
                <a:cubicBezTo>
                  <a:pt x="214" y="2"/>
                  <a:pt x="216" y="3"/>
                  <a:pt x="218" y="2"/>
                </a:cubicBezTo>
                <a:cubicBezTo>
                  <a:pt x="218" y="2"/>
                  <a:pt x="217" y="2"/>
                  <a:pt x="217" y="2"/>
                </a:cubicBezTo>
                <a:cubicBezTo>
                  <a:pt x="217" y="2"/>
                  <a:pt x="217" y="2"/>
                  <a:pt x="218" y="2"/>
                </a:cubicBezTo>
                <a:cubicBezTo>
                  <a:pt x="217" y="2"/>
                  <a:pt x="216" y="2"/>
                  <a:pt x="216" y="2"/>
                </a:cubicBezTo>
                <a:cubicBezTo>
                  <a:pt x="217" y="2"/>
                  <a:pt x="219" y="2"/>
                  <a:pt x="221" y="2"/>
                </a:cubicBezTo>
                <a:cubicBezTo>
                  <a:pt x="221" y="3"/>
                  <a:pt x="224" y="2"/>
                  <a:pt x="225" y="3"/>
                </a:cubicBezTo>
                <a:cubicBezTo>
                  <a:pt x="224" y="3"/>
                  <a:pt x="224" y="3"/>
                  <a:pt x="223" y="3"/>
                </a:cubicBezTo>
                <a:cubicBezTo>
                  <a:pt x="224" y="3"/>
                  <a:pt x="226" y="3"/>
                  <a:pt x="227" y="3"/>
                </a:cubicBezTo>
                <a:cubicBezTo>
                  <a:pt x="228" y="4"/>
                  <a:pt x="229" y="4"/>
                  <a:pt x="231" y="4"/>
                </a:cubicBezTo>
                <a:cubicBezTo>
                  <a:pt x="232" y="4"/>
                  <a:pt x="233" y="4"/>
                  <a:pt x="234" y="4"/>
                </a:cubicBezTo>
                <a:cubicBezTo>
                  <a:pt x="236" y="4"/>
                  <a:pt x="237" y="4"/>
                  <a:pt x="239" y="4"/>
                </a:cubicBezTo>
                <a:cubicBezTo>
                  <a:pt x="239" y="5"/>
                  <a:pt x="240" y="5"/>
                  <a:pt x="240" y="5"/>
                </a:cubicBezTo>
                <a:cubicBezTo>
                  <a:pt x="240" y="5"/>
                  <a:pt x="240" y="5"/>
                  <a:pt x="241" y="5"/>
                </a:cubicBezTo>
                <a:cubicBezTo>
                  <a:pt x="241" y="5"/>
                  <a:pt x="241" y="5"/>
                  <a:pt x="242" y="5"/>
                </a:cubicBezTo>
                <a:cubicBezTo>
                  <a:pt x="241" y="5"/>
                  <a:pt x="240" y="5"/>
                  <a:pt x="240" y="5"/>
                </a:cubicBezTo>
                <a:cubicBezTo>
                  <a:pt x="240" y="4"/>
                  <a:pt x="239" y="4"/>
                  <a:pt x="239" y="4"/>
                </a:cubicBezTo>
                <a:cubicBezTo>
                  <a:pt x="239" y="3"/>
                  <a:pt x="242" y="4"/>
                  <a:pt x="243" y="4"/>
                </a:cubicBezTo>
                <a:cubicBezTo>
                  <a:pt x="245" y="4"/>
                  <a:pt x="247" y="4"/>
                  <a:pt x="249" y="4"/>
                </a:cubicBezTo>
                <a:cubicBezTo>
                  <a:pt x="247" y="3"/>
                  <a:pt x="244" y="4"/>
                  <a:pt x="241" y="3"/>
                </a:cubicBezTo>
                <a:cubicBezTo>
                  <a:pt x="242" y="3"/>
                  <a:pt x="242" y="3"/>
                  <a:pt x="243" y="3"/>
                </a:cubicBezTo>
                <a:cubicBezTo>
                  <a:pt x="244" y="3"/>
                  <a:pt x="245" y="3"/>
                  <a:pt x="246" y="3"/>
                </a:cubicBezTo>
                <a:cubicBezTo>
                  <a:pt x="248" y="3"/>
                  <a:pt x="250" y="3"/>
                  <a:pt x="252" y="3"/>
                </a:cubicBezTo>
                <a:cubicBezTo>
                  <a:pt x="251" y="3"/>
                  <a:pt x="249" y="3"/>
                  <a:pt x="248" y="3"/>
                </a:cubicBezTo>
                <a:cubicBezTo>
                  <a:pt x="249" y="3"/>
                  <a:pt x="248" y="3"/>
                  <a:pt x="247" y="3"/>
                </a:cubicBezTo>
                <a:cubicBezTo>
                  <a:pt x="247" y="3"/>
                  <a:pt x="246" y="3"/>
                  <a:pt x="246" y="3"/>
                </a:cubicBezTo>
                <a:cubicBezTo>
                  <a:pt x="247" y="2"/>
                  <a:pt x="246" y="2"/>
                  <a:pt x="246" y="2"/>
                </a:cubicBezTo>
                <a:cubicBezTo>
                  <a:pt x="245" y="2"/>
                  <a:pt x="245" y="2"/>
                  <a:pt x="244" y="2"/>
                </a:cubicBezTo>
                <a:cubicBezTo>
                  <a:pt x="243" y="3"/>
                  <a:pt x="242" y="2"/>
                  <a:pt x="241" y="2"/>
                </a:cubicBezTo>
                <a:cubicBezTo>
                  <a:pt x="242" y="2"/>
                  <a:pt x="242" y="2"/>
                  <a:pt x="242" y="2"/>
                </a:cubicBezTo>
                <a:cubicBezTo>
                  <a:pt x="242" y="2"/>
                  <a:pt x="242" y="2"/>
                  <a:pt x="242" y="2"/>
                </a:cubicBezTo>
                <a:cubicBezTo>
                  <a:pt x="242" y="1"/>
                  <a:pt x="242" y="1"/>
                  <a:pt x="243" y="1"/>
                </a:cubicBezTo>
                <a:cubicBezTo>
                  <a:pt x="242" y="1"/>
                  <a:pt x="242" y="1"/>
                  <a:pt x="242" y="1"/>
                </a:cubicBezTo>
                <a:cubicBezTo>
                  <a:pt x="243" y="1"/>
                  <a:pt x="244" y="1"/>
                  <a:pt x="245" y="1"/>
                </a:cubicBezTo>
                <a:cubicBezTo>
                  <a:pt x="246" y="1"/>
                  <a:pt x="247" y="2"/>
                  <a:pt x="248" y="1"/>
                </a:cubicBezTo>
                <a:cubicBezTo>
                  <a:pt x="248" y="1"/>
                  <a:pt x="247" y="1"/>
                  <a:pt x="247" y="1"/>
                </a:cubicBezTo>
                <a:cubicBezTo>
                  <a:pt x="248" y="1"/>
                  <a:pt x="249" y="1"/>
                  <a:pt x="250" y="1"/>
                </a:cubicBezTo>
                <a:cubicBezTo>
                  <a:pt x="251" y="1"/>
                  <a:pt x="251" y="1"/>
                  <a:pt x="251" y="1"/>
                </a:cubicBezTo>
                <a:cubicBezTo>
                  <a:pt x="251" y="1"/>
                  <a:pt x="252" y="1"/>
                  <a:pt x="253" y="1"/>
                </a:cubicBezTo>
                <a:cubicBezTo>
                  <a:pt x="254" y="1"/>
                  <a:pt x="255" y="2"/>
                  <a:pt x="256" y="1"/>
                </a:cubicBezTo>
                <a:cubicBezTo>
                  <a:pt x="255" y="1"/>
                  <a:pt x="255" y="1"/>
                  <a:pt x="255" y="1"/>
                </a:cubicBezTo>
                <a:cubicBezTo>
                  <a:pt x="255" y="1"/>
                  <a:pt x="255" y="1"/>
                  <a:pt x="256" y="1"/>
                </a:cubicBezTo>
                <a:cubicBezTo>
                  <a:pt x="255" y="1"/>
                  <a:pt x="254" y="1"/>
                  <a:pt x="254" y="1"/>
                </a:cubicBezTo>
                <a:cubicBezTo>
                  <a:pt x="254" y="1"/>
                  <a:pt x="254" y="1"/>
                  <a:pt x="254" y="1"/>
                </a:cubicBezTo>
                <a:cubicBezTo>
                  <a:pt x="254" y="1"/>
                  <a:pt x="255" y="0"/>
                  <a:pt x="256" y="0"/>
                </a:cubicBezTo>
                <a:cubicBezTo>
                  <a:pt x="256" y="0"/>
                  <a:pt x="257" y="0"/>
                  <a:pt x="258" y="0"/>
                </a:cubicBezTo>
                <a:cubicBezTo>
                  <a:pt x="260" y="0"/>
                  <a:pt x="262" y="1"/>
                  <a:pt x="263" y="0"/>
                </a:cubicBezTo>
                <a:cubicBezTo>
                  <a:pt x="264" y="0"/>
                  <a:pt x="265" y="0"/>
                  <a:pt x="266" y="0"/>
                </a:cubicBezTo>
                <a:cubicBezTo>
                  <a:pt x="267" y="0"/>
                  <a:pt x="267" y="1"/>
                  <a:pt x="268" y="0"/>
                </a:cubicBezTo>
                <a:cubicBezTo>
                  <a:pt x="269" y="0"/>
                  <a:pt x="270" y="1"/>
                  <a:pt x="271" y="1"/>
                </a:cubicBezTo>
                <a:cubicBezTo>
                  <a:pt x="271" y="0"/>
                  <a:pt x="270" y="1"/>
                  <a:pt x="270" y="0"/>
                </a:cubicBezTo>
                <a:cubicBezTo>
                  <a:pt x="272" y="0"/>
                  <a:pt x="274" y="0"/>
                  <a:pt x="275" y="0"/>
                </a:cubicBezTo>
                <a:cubicBezTo>
                  <a:pt x="276" y="0"/>
                  <a:pt x="277" y="0"/>
                  <a:pt x="278" y="0"/>
                </a:cubicBezTo>
                <a:cubicBezTo>
                  <a:pt x="279" y="0"/>
                  <a:pt x="279" y="0"/>
                  <a:pt x="279" y="0"/>
                </a:cubicBezTo>
                <a:cubicBezTo>
                  <a:pt x="280" y="0"/>
                  <a:pt x="281" y="0"/>
                  <a:pt x="280" y="0"/>
                </a:cubicBezTo>
                <a:cubicBezTo>
                  <a:pt x="281" y="0"/>
                  <a:pt x="282" y="0"/>
                  <a:pt x="283" y="0"/>
                </a:cubicBezTo>
                <a:cubicBezTo>
                  <a:pt x="284" y="0"/>
                  <a:pt x="285" y="0"/>
                  <a:pt x="286" y="0"/>
                </a:cubicBezTo>
                <a:cubicBezTo>
                  <a:pt x="288" y="0"/>
                  <a:pt x="290" y="0"/>
                  <a:pt x="292" y="0"/>
                </a:cubicBezTo>
                <a:cubicBezTo>
                  <a:pt x="293" y="0"/>
                  <a:pt x="294" y="0"/>
                  <a:pt x="295" y="0"/>
                </a:cubicBezTo>
                <a:cubicBezTo>
                  <a:pt x="295" y="0"/>
                  <a:pt x="296" y="0"/>
                  <a:pt x="296" y="0"/>
                </a:cubicBezTo>
                <a:cubicBezTo>
                  <a:pt x="297" y="0"/>
                  <a:pt x="297" y="0"/>
                  <a:pt x="297" y="1"/>
                </a:cubicBezTo>
                <a:cubicBezTo>
                  <a:pt x="297" y="1"/>
                  <a:pt x="297" y="1"/>
                  <a:pt x="297" y="1"/>
                </a:cubicBezTo>
                <a:cubicBezTo>
                  <a:pt x="298" y="1"/>
                  <a:pt x="298" y="1"/>
                  <a:pt x="299" y="1"/>
                </a:cubicBezTo>
                <a:cubicBezTo>
                  <a:pt x="299" y="0"/>
                  <a:pt x="300" y="0"/>
                  <a:pt x="301" y="1"/>
                </a:cubicBezTo>
                <a:cubicBezTo>
                  <a:pt x="301" y="1"/>
                  <a:pt x="300" y="1"/>
                  <a:pt x="299" y="1"/>
                </a:cubicBezTo>
                <a:cubicBezTo>
                  <a:pt x="300" y="1"/>
                  <a:pt x="302" y="1"/>
                  <a:pt x="303" y="1"/>
                </a:cubicBezTo>
                <a:cubicBezTo>
                  <a:pt x="303" y="1"/>
                  <a:pt x="302" y="1"/>
                  <a:pt x="302" y="1"/>
                </a:cubicBezTo>
                <a:cubicBezTo>
                  <a:pt x="304" y="0"/>
                  <a:pt x="307" y="1"/>
                  <a:pt x="309" y="1"/>
                </a:cubicBezTo>
                <a:cubicBezTo>
                  <a:pt x="312" y="1"/>
                  <a:pt x="314" y="1"/>
                  <a:pt x="317" y="2"/>
                </a:cubicBezTo>
                <a:cubicBezTo>
                  <a:pt x="316" y="3"/>
                  <a:pt x="314" y="2"/>
                  <a:pt x="313" y="3"/>
                </a:cubicBezTo>
                <a:cubicBezTo>
                  <a:pt x="311" y="3"/>
                  <a:pt x="309" y="3"/>
                  <a:pt x="307" y="3"/>
                </a:cubicBezTo>
                <a:cubicBezTo>
                  <a:pt x="303" y="3"/>
                  <a:pt x="299" y="3"/>
                  <a:pt x="295" y="3"/>
                </a:cubicBezTo>
                <a:cubicBezTo>
                  <a:pt x="291" y="3"/>
                  <a:pt x="287" y="3"/>
                  <a:pt x="283" y="3"/>
                </a:cubicBezTo>
                <a:cubicBezTo>
                  <a:pt x="281" y="3"/>
                  <a:pt x="279" y="3"/>
                  <a:pt x="277" y="3"/>
                </a:cubicBezTo>
                <a:cubicBezTo>
                  <a:pt x="276" y="3"/>
                  <a:pt x="274" y="3"/>
                  <a:pt x="272" y="3"/>
                </a:cubicBezTo>
                <a:cubicBezTo>
                  <a:pt x="273" y="3"/>
                  <a:pt x="274" y="3"/>
                  <a:pt x="275" y="3"/>
                </a:cubicBezTo>
                <a:cubicBezTo>
                  <a:pt x="276" y="3"/>
                  <a:pt x="276" y="3"/>
                  <a:pt x="277" y="4"/>
                </a:cubicBezTo>
                <a:cubicBezTo>
                  <a:pt x="274" y="4"/>
                  <a:pt x="271" y="4"/>
                  <a:pt x="268" y="4"/>
                </a:cubicBezTo>
                <a:cubicBezTo>
                  <a:pt x="265" y="4"/>
                  <a:pt x="262" y="4"/>
                  <a:pt x="259" y="4"/>
                </a:cubicBezTo>
                <a:cubicBezTo>
                  <a:pt x="259" y="4"/>
                  <a:pt x="260" y="4"/>
                  <a:pt x="260" y="4"/>
                </a:cubicBezTo>
                <a:cubicBezTo>
                  <a:pt x="260" y="5"/>
                  <a:pt x="258" y="5"/>
                  <a:pt x="258" y="5"/>
                </a:cubicBezTo>
                <a:cubicBezTo>
                  <a:pt x="259" y="6"/>
                  <a:pt x="260" y="5"/>
                  <a:pt x="260" y="5"/>
                </a:cubicBezTo>
                <a:cubicBezTo>
                  <a:pt x="262" y="4"/>
                  <a:pt x="263" y="4"/>
                  <a:pt x="264" y="4"/>
                </a:cubicBezTo>
                <a:cubicBezTo>
                  <a:pt x="265" y="4"/>
                  <a:pt x="267" y="4"/>
                  <a:pt x="268" y="4"/>
                </a:cubicBezTo>
                <a:cubicBezTo>
                  <a:pt x="268" y="4"/>
                  <a:pt x="269" y="5"/>
                  <a:pt x="268" y="5"/>
                </a:cubicBezTo>
                <a:cubicBezTo>
                  <a:pt x="268" y="5"/>
                  <a:pt x="269" y="5"/>
                  <a:pt x="269" y="5"/>
                </a:cubicBezTo>
                <a:cubicBezTo>
                  <a:pt x="269" y="4"/>
                  <a:pt x="272" y="4"/>
                  <a:pt x="272" y="4"/>
                </a:cubicBezTo>
                <a:cubicBezTo>
                  <a:pt x="275" y="4"/>
                  <a:pt x="277" y="4"/>
                  <a:pt x="280" y="4"/>
                </a:cubicBezTo>
                <a:cubicBezTo>
                  <a:pt x="280" y="4"/>
                  <a:pt x="281" y="4"/>
                  <a:pt x="282" y="4"/>
                </a:cubicBezTo>
                <a:cubicBezTo>
                  <a:pt x="283" y="4"/>
                  <a:pt x="284" y="4"/>
                  <a:pt x="285" y="3"/>
                </a:cubicBezTo>
                <a:cubicBezTo>
                  <a:pt x="287" y="3"/>
                  <a:pt x="288" y="3"/>
                  <a:pt x="289" y="3"/>
                </a:cubicBezTo>
                <a:cubicBezTo>
                  <a:pt x="290" y="3"/>
                  <a:pt x="292" y="3"/>
                  <a:pt x="293" y="3"/>
                </a:cubicBezTo>
                <a:cubicBezTo>
                  <a:pt x="295" y="3"/>
                  <a:pt x="298" y="3"/>
                  <a:pt x="300" y="3"/>
                </a:cubicBezTo>
                <a:cubicBezTo>
                  <a:pt x="302" y="3"/>
                  <a:pt x="304" y="3"/>
                  <a:pt x="306" y="3"/>
                </a:cubicBezTo>
                <a:cubicBezTo>
                  <a:pt x="309" y="3"/>
                  <a:pt x="311" y="3"/>
                  <a:pt x="313" y="3"/>
                </a:cubicBezTo>
                <a:cubicBezTo>
                  <a:pt x="315" y="3"/>
                  <a:pt x="316" y="3"/>
                  <a:pt x="317" y="3"/>
                </a:cubicBezTo>
                <a:cubicBezTo>
                  <a:pt x="318" y="3"/>
                  <a:pt x="320" y="3"/>
                  <a:pt x="321" y="3"/>
                </a:cubicBezTo>
                <a:cubicBezTo>
                  <a:pt x="321" y="3"/>
                  <a:pt x="320" y="3"/>
                  <a:pt x="320" y="3"/>
                </a:cubicBezTo>
                <a:cubicBezTo>
                  <a:pt x="320" y="4"/>
                  <a:pt x="321" y="4"/>
                  <a:pt x="321" y="4"/>
                </a:cubicBezTo>
                <a:cubicBezTo>
                  <a:pt x="321" y="4"/>
                  <a:pt x="320" y="4"/>
                  <a:pt x="320" y="4"/>
                </a:cubicBezTo>
                <a:cubicBezTo>
                  <a:pt x="319" y="4"/>
                  <a:pt x="319" y="5"/>
                  <a:pt x="318" y="5"/>
                </a:cubicBezTo>
                <a:cubicBezTo>
                  <a:pt x="317" y="5"/>
                  <a:pt x="315" y="5"/>
                  <a:pt x="314" y="5"/>
                </a:cubicBezTo>
                <a:cubicBezTo>
                  <a:pt x="318" y="6"/>
                  <a:pt x="322" y="4"/>
                  <a:pt x="326" y="4"/>
                </a:cubicBezTo>
                <a:cubicBezTo>
                  <a:pt x="326" y="5"/>
                  <a:pt x="325" y="5"/>
                  <a:pt x="325" y="5"/>
                </a:cubicBezTo>
                <a:cubicBezTo>
                  <a:pt x="325" y="5"/>
                  <a:pt x="325" y="5"/>
                  <a:pt x="325" y="5"/>
                </a:cubicBezTo>
                <a:cubicBezTo>
                  <a:pt x="325" y="5"/>
                  <a:pt x="325" y="5"/>
                  <a:pt x="325" y="5"/>
                </a:cubicBezTo>
                <a:cubicBezTo>
                  <a:pt x="326" y="5"/>
                  <a:pt x="327" y="5"/>
                  <a:pt x="328" y="5"/>
                </a:cubicBezTo>
                <a:cubicBezTo>
                  <a:pt x="329" y="5"/>
                  <a:pt x="329" y="5"/>
                  <a:pt x="330" y="5"/>
                </a:cubicBezTo>
                <a:cubicBezTo>
                  <a:pt x="331" y="5"/>
                  <a:pt x="331" y="5"/>
                  <a:pt x="332" y="5"/>
                </a:cubicBezTo>
                <a:cubicBezTo>
                  <a:pt x="333" y="5"/>
                  <a:pt x="335" y="5"/>
                  <a:pt x="336" y="6"/>
                </a:cubicBezTo>
                <a:cubicBezTo>
                  <a:pt x="337" y="6"/>
                  <a:pt x="337" y="6"/>
                  <a:pt x="338" y="6"/>
                </a:cubicBezTo>
                <a:cubicBezTo>
                  <a:pt x="338" y="6"/>
                  <a:pt x="339" y="6"/>
                  <a:pt x="340" y="6"/>
                </a:cubicBezTo>
                <a:cubicBezTo>
                  <a:pt x="340" y="6"/>
                  <a:pt x="338" y="7"/>
                  <a:pt x="338" y="7"/>
                </a:cubicBezTo>
                <a:cubicBezTo>
                  <a:pt x="336" y="7"/>
                  <a:pt x="335" y="7"/>
                  <a:pt x="334" y="8"/>
                </a:cubicBezTo>
                <a:cubicBezTo>
                  <a:pt x="334" y="8"/>
                  <a:pt x="332" y="8"/>
                  <a:pt x="332" y="8"/>
                </a:cubicBezTo>
                <a:cubicBezTo>
                  <a:pt x="331" y="8"/>
                  <a:pt x="330" y="8"/>
                  <a:pt x="329" y="8"/>
                </a:cubicBezTo>
                <a:cubicBezTo>
                  <a:pt x="327" y="8"/>
                  <a:pt x="325" y="8"/>
                  <a:pt x="322" y="9"/>
                </a:cubicBezTo>
                <a:cubicBezTo>
                  <a:pt x="317" y="9"/>
                  <a:pt x="313" y="9"/>
                  <a:pt x="308" y="9"/>
                </a:cubicBezTo>
                <a:cubicBezTo>
                  <a:pt x="303" y="9"/>
                  <a:pt x="298" y="9"/>
                  <a:pt x="293" y="9"/>
                </a:cubicBezTo>
                <a:cubicBezTo>
                  <a:pt x="291" y="9"/>
                  <a:pt x="289" y="9"/>
                  <a:pt x="287" y="9"/>
                </a:cubicBezTo>
                <a:cubicBezTo>
                  <a:pt x="287" y="9"/>
                  <a:pt x="288" y="10"/>
                  <a:pt x="288" y="10"/>
                </a:cubicBezTo>
                <a:cubicBezTo>
                  <a:pt x="285" y="10"/>
                  <a:pt x="281" y="10"/>
                  <a:pt x="278" y="11"/>
                </a:cubicBezTo>
                <a:cubicBezTo>
                  <a:pt x="275" y="11"/>
                  <a:pt x="271" y="11"/>
                  <a:pt x="268" y="12"/>
                </a:cubicBezTo>
                <a:cubicBezTo>
                  <a:pt x="269" y="12"/>
                  <a:pt x="269" y="12"/>
                  <a:pt x="269" y="12"/>
                </a:cubicBezTo>
                <a:cubicBezTo>
                  <a:pt x="269" y="12"/>
                  <a:pt x="268" y="12"/>
                  <a:pt x="268" y="13"/>
                </a:cubicBezTo>
                <a:cubicBezTo>
                  <a:pt x="270" y="13"/>
                  <a:pt x="271" y="12"/>
                  <a:pt x="273" y="12"/>
                </a:cubicBezTo>
                <a:cubicBezTo>
                  <a:pt x="275" y="12"/>
                  <a:pt x="276" y="12"/>
                  <a:pt x="278" y="11"/>
                </a:cubicBezTo>
                <a:cubicBezTo>
                  <a:pt x="280" y="11"/>
                  <a:pt x="281" y="11"/>
                  <a:pt x="283" y="11"/>
                </a:cubicBezTo>
                <a:cubicBezTo>
                  <a:pt x="285" y="11"/>
                  <a:pt x="287" y="11"/>
                  <a:pt x="289" y="11"/>
                </a:cubicBezTo>
                <a:cubicBezTo>
                  <a:pt x="288" y="11"/>
                  <a:pt x="288" y="11"/>
                  <a:pt x="288" y="11"/>
                </a:cubicBezTo>
                <a:cubicBezTo>
                  <a:pt x="288" y="11"/>
                  <a:pt x="292" y="11"/>
                  <a:pt x="292" y="10"/>
                </a:cubicBezTo>
                <a:cubicBezTo>
                  <a:pt x="294" y="10"/>
                  <a:pt x="295" y="10"/>
                  <a:pt x="297" y="10"/>
                </a:cubicBezTo>
                <a:cubicBezTo>
                  <a:pt x="300" y="10"/>
                  <a:pt x="303" y="10"/>
                  <a:pt x="306" y="10"/>
                </a:cubicBezTo>
                <a:cubicBezTo>
                  <a:pt x="307" y="10"/>
                  <a:pt x="309" y="10"/>
                  <a:pt x="311" y="10"/>
                </a:cubicBezTo>
                <a:cubicBezTo>
                  <a:pt x="311" y="10"/>
                  <a:pt x="315" y="11"/>
                  <a:pt x="315" y="10"/>
                </a:cubicBezTo>
                <a:cubicBezTo>
                  <a:pt x="315" y="10"/>
                  <a:pt x="315" y="11"/>
                  <a:pt x="315" y="11"/>
                </a:cubicBezTo>
                <a:cubicBezTo>
                  <a:pt x="315" y="11"/>
                  <a:pt x="315" y="11"/>
                  <a:pt x="315" y="11"/>
                </a:cubicBezTo>
                <a:cubicBezTo>
                  <a:pt x="314" y="12"/>
                  <a:pt x="314" y="12"/>
                  <a:pt x="313" y="12"/>
                </a:cubicBezTo>
                <a:cubicBezTo>
                  <a:pt x="312" y="12"/>
                  <a:pt x="310" y="12"/>
                  <a:pt x="309" y="13"/>
                </a:cubicBezTo>
                <a:cubicBezTo>
                  <a:pt x="307" y="13"/>
                  <a:pt x="305" y="13"/>
                  <a:pt x="304" y="13"/>
                </a:cubicBezTo>
                <a:cubicBezTo>
                  <a:pt x="303" y="13"/>
                  <a:pt x="299" y="14"/>
                  <a:pt x="299" y="14"/>
                </a:cubicBezTo>
                <a:cubicBezTo>
                  <a:pt x="299" y="14"/>
                  <a:pt x="302" y="14"/>
                  <a:pt x="301" y="14"/>
                </a:cubicBezTo>
                <a:cubicBezTo>
                  <a:pt x="301" y="15"/>
                  <a:pt x="300" y="14"/>
                  <a:pt x="299" y="15"/>
                </a:cubicBezTo>
                <a:cubicBezTo>
                  <a:pt x="301" y="15"/>
                  <a:pt x="303" y="14"/>
                  <a:pt x="304" y="14"/>
                </a:cubicBezTo>
                <a:cubicBezTo>
                  <a:pt x="306" y="14"/>
                  <a:pt x="308" y="14"/>
                  <a:pt x="311" y="13"/>
                </a:cubicBezTo>
                <a:cubicBezTo>
                  <a:pt x="313" y="13"/>
                  <a:pt x="315" y="13"/>
                  <a:pt x="317" y="12"/>
                </a:cubicBezTo>
                <a:cubicBezTo>
                  <a:pt x="318" y="12"/>
                  <a:pt x="319" y="12"/>
                  <a:pt x="320" y="12"/>
                </a:cubicBezTo>
                <a:cubicBezTo>
                  <a:pt x="320" y="12"/>
                  <a:pt x="321" y="12"/>
                  <a:pt x="321" y="12"/>
                </a:cubicBezTo>
                <a:cubicBezTo>
                  <a:pt x="321" y="12"/>
                  <a:pt x="321" y="11"/>
                  <a:pt x="321" y="11"/>
                </a:cubicBezTo>
                <a:cubicBezTo>
                  <a:pt x="321" y="11"/>
                  <a:pt x="321" y="11"/>
                  <a:pt x="321" y="11"/>
                </a:cubicBezTo>
                <a:cubicBezTo>
                  <a:pt x="322" y="10"/>
                  <a:pt x="325" y="10"/>
                  <a:pt x="327" y="10"/>
                </a:cubicBezTo>
                <a:cubicBezTo>
                  <a:pt x="328" y="10"/>
                  <a:pt x="329" y="10"/>
                  <a:pt x="330" y="10"/>
                </a:cubicBezTo>
                <a:cubicBezTo>
                  <a:pt x="331" y="10"/>
                  <a:pt x="332" y="10"/>
                  <a:pt x="333" y="10"/>
                </a:cubicBezTo>
                <a:cubicBezTo>
                  <a:pt x="334" y="10"/>
                  <a:pt x="334" y="11"/>
                  <a:pt x="333" y="11"/>
                </a:cubicBezTo>
                <a:cubicBezTo>
                  <a:pt x="333" y="12"/>
                  <a:pt x="333" y="13"/>
                  <a:pt x="332" y="13"/>
                </a:cubicBezTo>
                <a:cubicBezTo>
                  <a:pt x="331" y="14"/>
                  <a:pt x="330" y="14"/>
                  <a:pt x="330" y="15"/>
                </a:cubicBezTo>
                <a:cubicBezTo>
                  <a:pt x="328" y="15"/>
                  <a:pt x="327" y="15"/>
                  <a:pt x="326" y="15"/>
                </a:cubicBezTo>
                <a:cubicBezTo>
                  <a:pt x="326" y="15"/>
                  <a:pt x="327" y="15"/>
                  <a:pt x="327" y="15"/>
                </a:cubicBezTo>
                <a:cubicBezTo>
                  <a:pt x="327" y="16"/>
                  <a:pt x="326" y="16"/>
                  <a:pt x="326" y="16"/>
                </a:cubicBezTo>
                <a:cubicBezTo>
                  <a:pt x="325" y="16"/>
                  <a:pt x="324" y="16"/>
                  <a:pt x="323" y="17"/>
                </a:cubicBezTo>
                <a:cubicBezTo>
                  <a:pt x="322" y="17"/>
                  <a:pt x="320" y="18"/>
                  <a:pt x="319" y="18"/>
                </a:cubicBezTo>
                <a:cubicBezTo>
                  <a:pt x="319" y="19"/>
                  <a:pt x="319" y="19"/>
                  <a:pt x="319" y="19"/>
                </a:cubicBezTo>
                <a:cubicBezTo>
                  <a:pt x="318" y="19"/>
                  <a:pt x="317" y="19"/>
                  <a:pt x="315" y="20"/>
                </a:cubicBezTo>
                <a:cubicBezTo>
                  <a:pt x="316" y="20"/>
                  <a:pt x="317" y="20"/>
                  <a:pt x="317" y="20"/>
                </a:cubicBezTo>
                <a:cubicBezTo>
                  <a:pt x="317" y="20"/>
                  <a:pt x="316" y="20"/>
                  <a:pt x="316" y="20"/>
                </a:cubicBezTo>
                <a:cubicBezTo>
                  <a:pt x="315" y="20"/>
                  <a:pt x="314" y="20"/>
                  <a:pt x="314" y="21"/>
                </a:cubicBezTo>
                <a:cubicBezTo>
                  <a:pt x="316" y="21"/>
                  <a:pt x="318" y="20"/>
                  <a:pt x="319" y="20"/>
                </a:cubicBezTo>
                <a:cubicBezTo>
                  <a:pt x="320" y="19"/>
                  <a:pt x="320" y="19"/>
                  <a:pt x="320" y="19"/>
                </a:cubicBezTo>
                <a:cubicBezTo>
                  <a:pt x="321" y="19"/>
                  <a:pt x="322" y="19"/>
                  <a:pt x="321" y="18"/>
                </a:cubicBezTo>
                <a:cubicBezTo>
                  <a:pt x="322" y="18"/>
                  <a:pt x="323" y="18"/>
                  <a:pt x="324" y="18"/>
                </a:cubicBezTo>
                <a:cubicBezTo>
                  <a:pt x="325" y="18"/>
                  <a:pt x="326" y="17"/>
                  <a:pt x="327" y="17"/>
                </a:cubicBezTo>
                <a:cubicBezTo>
                  <a:pt x="329" y="16"/>
                  <a:pt x="331" y="16"/>
                  <a:pt x="333" y="15"/>
                </a:cubicBezTo>
                <a:cubicBezTo>
                  <a:pt x="334" y="15"/>
                  <a:pt x="334" y="15"/>
                  <a:pt x="335" y="15"/>
                </a:cubicBezTo>
                <a:cubicBezTo>
                  <a:pt x="335" y="15"/>
                  <a:pt x="335" y="14"/>
                  <a:pt x="336" y="14"/>
                </a:cubicBezTo>
                <a:cubicBezTo>
                  <a:pt x="337" y="14"/>
                  <a:pt x="338" y="14"/>
                  <a:pt x="339" y="14"/>
                </a:cubicBezTo>
                <a:cubicBezTo>
                  <a:pt x="340" y="13"/>
                  <a:pt x="341" y="13"/>
                  <a:pt x="342" y="13"/>
                </a:cubicBezTo>
                <a:cubicBezTo>
                  <a:pt x="343" y="13"/>
                  <a:pt x="344" y="12"/>
                  <a:pt x="345" y="13"/>
                </a:cubicBezTo>
                <a:cubicBezTo>
                  <a:pt x="345" y="13"/>
                  <a:pt x="344" y="13"/>
                  <a:pt x="343" y="13"/>
                </a:cubicBezTo>
                <a:cubicBezTo>
                  <a:pt x="343" y="13"/>
                  <a:pt x="342" y="14"/>
                  <a:pt x="343" y="14"/>
                </a:cubicBezTo>
                <a:cubicBezTo>
                  <a:pt x="343" y="14"/>
                  <a:pt x="344" y="14"/>
                  <a:pt x="344" y="14"/>
                </a:cubicBezTo>
                <a:cubicBezTo>
                  <a:pt x="345" y="14"/>
                  <a:pt x="346" y="14"/>
                  <a:pt x="347" y="14"/>
                </a:cubicBezTo>
                <a:cubicBezTo>
                  <a:pt x="348" y="13"/>
                  <a:pt x="349" y="13"/>
                  <a:pt x="350" y="13"/>
                </a:cubicBezTo>
                <a:cubicBezTo>
                  <a:pt x="350" y="14"/>
                  <a:pt x="351" y="14"/>
                  <a:pt x="351" y="14"/>
                </a:cubicBezTo>
                <a:cubicBezTo>
                  <a:pt x="352" y="13"/>
                  <a:pt x="353" y="14"/>
                  <a:pt x="354" y="14"/>
                </a:cubicBezTo>
                <a:cubicBezTo>
                  <a:pt x="354" y="14"/>
                  <a:pt x="355" y="14"/>
                  <a:pt x="356" y="14"/>
                </a:cubicBezTo>
                <a:cubicBezTo>
                  <a:pt x="356" y="14"/>
                  <a:pt x="356" y="14"/>
                  <a:pt x="356" y="13"/>
                </a:cubicBezTo>
                <a:cubicBezTo>
                  <a:pt x="356" y="13"/>
                  <a:pt x="356" y="13"/>
                  <a:pt x="355" y="13"/>
                </a:cubicBezTo>
                <a:cubicBezTo>
                  <a:pt x="356" y="13"/>
                  <a:pt x="358" y="14"/>
                  <a:pt x="358" y="13"/>
                </a:cubicBezTo>
                <a:cubicBezTo>
                  <a:pt x="358" y="13"/>
                  <a:pt x="358" y="13"/>
                  <a:pt x="359" y="13"/>
                </a:cubicBezTo>
                <a:cubicBezTo>
                  <a:pt x="358" y="13"/>
                  <a:pt x="357" y="13"/>
                  <a:pt x="358" y="12"/>
                </a:cubicBezTo>
                <a:cubicBezTo>
                  <a:pt x="358" y="12"/>
                  <a:pt x="358" y="12"/>
                  <a:pt x="359" y="12"/>
                </a:cubicBezTo>
                <a:cubicBezTo>
                  <a:pt x="360" y="12"/>
                  <a:pt x="360" y="12"/>
                  <a:pt x="361" y="12"/>
                </a:cubicBezTo>
                <a:cubicBezTo>
                  <a:pt x="360" y="12"/>
                  <a:pt x="360" y="12"/>
                  <a:pt x="360" y="12"/>
                </a:cubicBezTo>
                <a:cubicBezTo>
                  <a:pt x="360" y="12"/>
                  <a:pt x="360" y="12"/>
                  <a:pt x="360" y="11"/>
                </a:cubicBezTo>
                <a:cubicBezTo>
                  <a:pt x="360" y="11"/>
                  <a:pt x="361" y="12"/>
                  <a:pt x="362" y="11"/>
                </a:cubicBezTo>
                <a:cubicBezTo>
                  <a:pt x="362" y="11"/>
                  <a:pt x="364" y="12"/>
                  <a:pt x="364" y="11"/>
                </a:cubicBezTo>
                <a:cubicBezTo>
                  <a:pt x="364" y="11"/>
                  <a:pt x="364" y="11"/>
                  <a:pt x="364" y="11"/>
                </a:cubicBezTo>
                <a:cubicBezTo>
                  <a:pt x="364" y="11"/>
                  <a:pt x="369" y="11"/>
                  <a:pt x="370" y="11"/>
                </a:cubicBezTo>
                <a:cubicBezTo>
                  <a:pt x="371" y="11"/>
                  <a:pt x="372" y="11"/>
                  <a:pt x="374" y="11"/>
                </a:cubicBezTo>
                <a:cubicBezTo>
                  <a:pt x="375" y="11"/>
                  <a:pt x="377" y="11"/>
                  <a:pt x="378" y="11"/>
                </a:cubicBezTo>
                <a:cubicBezTo>
                  <a:pt x="380" y="11"/>
                  <a:pt x="383" y="12"/>
                  <a:pt x="385" y="12"/>
                </a:cubicBezTo>
                <a:cubicBezTo>
                  <a:pt x="386" y="12"/>
                  <a:pt x="387" y="12"/>
                  <a:pt x="389" y="12"/>
                </a:cubicBezTo>
                <a:cubicBezTo>
                  <a:pt x="390" y="13"/>
                  <a:pt x="391" y="13"/>
                  <a:pt x="392" y="13"/>
                </a:cubicBezTo>
                <a:close/>
                <a:moveTo>
                  <a:pt x="279" y="9"/>
                </a:moveTo>
                <a:cubicBezTo>
                  <a:pt x="279" y="9"/>
                  <a:pt x="280" y="9"/>
                  <a:pt x="281" y="9"/>
                </a:cubicBezTo>
                <a:cubicBezTo>
                  <a:pt x="282" y="9"/>
                  <a:pt x="283" y="9"/>
                  <a:pt x="283" y="9"/>
                </a:cubicBezTo>
                <a:cubicBezTo>
                  <a:pt x="284" y="9"/>
                  <a:pt x="284" y="9"/>
                  <a:pt x="284" y="9"/>
                </a:cubicBezTo>
                <a:cubicBezTo>
                  <a:pt x="282" y="9"/>
                  <a:pt x="281" y="9"/>
                  <a:pt x="279" y="9"/>
                </a:cubicBezTo>
                <a:close/>
                <a:moveTo>
                  <a:pt x="85" y="137"/>
                </a:moveTo>
                <a:cubicBezTo>
                  <a:pt x="85" y="137"/>
                  <a:pt x="85" y="137"/>
                  <a:pt x="85" y="137"/>
                </a:cubicBezTo>
                <a:cubicBezTo>
                  <a:pt x="85" y="137"/>
                  <a:pt x="85" y="137"/>
                  <a:pt x="85" y="137"/>
                </a:cubicBezTo>
                <a:close/>
                <a:moveTo>
                  <a:pt x="91" y="131"/>
                </a:moveTo>
                <a:cubicBezTo>
                  <a:pt x="90" y="131"/>
                  <a:pt x="90" y="131"/>
                  <a:pt x="89" y="131"/>
                </a:cubicBezTo>
                <a:cubicBezTo>
                  <a:pt x="89" y="131"/>
                  <a:pt x="88" y="131"/>
                  <a:pt x="87" y="131"/>
                </a:cubicBezTo>
                <a:cubicBezTo>
                  <a:pt x="87" y="131"/>
                  <a:pt x="87" y="131"/>
                  <a:pt x="86" y="131"/>
                </a:cubicBezTo>
                <a:cubicBezTo>
                  <a:pt x="87" y="131"/>
                  <a:pt x="87" y="131"/>
                  <a:pt x="88" y="131"/>
                </a:cubicBezTo>
                <a:cubicBezTo>
                  <a:pt x="88" y="131"/>
                  <a:pt x="89" y="131"/>
                  <a:pt x="89" y="131"/>
                </a:cubicBezTo>
                <a:cubicBezTo>
                  <a:pt x="90" y="131"/>
                  <a:pt x="90" y="131"/>
                  <a:pt x="90" y="131"/>
                </a:cubicBezTo>
                <a:cubicBezTo>
                  <a:pt x="90" y="131"/>
                  <a:pt x="91" y="131"/>
                  <a:pt x="91" y="131"/>
                </a:cubicBezTo>
                <a:close/>
                <a:moveTo>
                  <a:pt x="313" y="53"/>
                </a:moveTo>
                <a:cubicBezTo>
                  <a:pt x="313" y="53"/>
                  <a:pt x="315" y="53"/>
                  <a:pt x="315" y="53"/>
                </a:cubicBezTo>
                <a:cubicBezTo>
                  <a:pt x="315" y="53"/>
                  <a:pt x="316" y="53"/>
                  <a:pt x="316" y="53"/>
                </a:cubicBezTo>
                <a:cubicBezTo>
                  <a:pt x="316" y="53"/>
                  <a:pt x="316" y="53"/>
                  <a:pt x="316" y="53"/>
                </a:cubicBezTo>
                <a:cubicBezTo>
                  <a:pt x="315" y="53"/>
                  <a:pt x="315" y="53"/>
                  <a:pt x="315" y="53"/>
                </a:cubicBezTo>
                <a:cubicBezTo>
                  <a:pt x="314" y="53"/>
                  <a:pt x="314" y="52"/>
                  <a:pt x="313" y="53"/>
                </a:cubicBezTo>
                <a:cubicBezTo>
                  <a:pt x="314" y="53"/>
                  <a:pt x="313" y="53"/>
                  <a:pt x="313" y="53"/>
                </a:cubicBezTo>
                <a:close/>
                <a:moveTo>
                  <a:pt x="89" y="201"/>
                </a:moveTo>
                <a:cubicBezTo>
                  <a:pt x="90" y="201"/>
                  <a:pt x="90" y="201"/>
                  <a:pt x="90" y="200"/>
                </a:cubicBezTo>
                <a:cubicBezTo>
                  <a:pt x="90" y="200"/>
                  <a:pt x="91" y="200"/>
                  <a:pt x="91" y="200"/>
                </a:cubicBezTo>
                <a:cubicBezTo>
                  <a:pt x="90" y="200"/>
                  <a:pt x="89" y="200"/>
                  <a:pt x="89" y="200"/>
                </a:cubicBezTo>
                <a:cubicBezTo>
                  <a:pt x="89" y="200"/>
                  <a:pt x="90" y="201"/>
                  <a:pt x="89" y="20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0" name="Greece"/>
          <p:cNvSpPr>
            <a:spLocks noEditPoints="1"/>
          </p:cNvSpPr>
          <p:nvPr/>
        </p:nvSpPr>
        <p:spPr bwMode="auto">
          <a:xfrm>
            <a:off x="6453058" y="3007000"/>
            <a:ext cx="288990" cy="271990"/>
          </a:xfrm>
          <a:custGeom>
            <a:avLst/>
            <a:gdLst/>
            <a:ahLst/>
            <a:cxnLst>
              <a:cxn ang="0">
                <a:pos x="54" y="14"/>
              </a:cxn>
              <a:cxn ang="0">
                <a:pos x="37" y="28"/>
              </a:cxn>
              <a:cxn ang="0">
                <a:pos x="59" y="29"/>
              </a:cxn>
              <a:cxn ang="0">
                <a:pos x="36" y="41"/>
              </a:cxn>
              <a:cxn ang="0">
                <a:pos x="53" y="50"/>
              </a:cxn>
              <a:cxn ang="0">
                <a:pos x="54" y="59"/>
              </a:cxn>
              <a:cxn ang="0">
                <a:pos x="50" y="47"/>
              </a:cxn>
              <a:cxn ang="0">
                <a:pos x="51" y="21"/>
              </a:cxn>
              <a:cxn ang="0">
                <a:pos x="49" y="21"/>
              </a:cxn>
              <a:cxn ang="0">
                <a:pos x="3" y="24"/>
              </a:cxn>
              <a:cxn ang="0">
                <a:pos x="11" y="33"/>
              </a:cxn>
              <a:cxn ang="0">
                <a:pos x="59" y="39"/>
              </a:cxn>
              <a:cxn ang="0">
                <a:pos x="9" y="37"/>
              </a:cxn>
              <a:cxn ang="0">
                <a:pos x="43" y="40"/>
              </a:cxn>
              <a:cxn ang="0">
                <a:pos x="37" y="32"/>
              </a:cxn>
              <a:cxn ang="0">
                <a:pos x="33" y="31"/>
              </a:cxn>
              <a:cxn ang="0">
                <a:pos x="42" y="38"/>
              </a:cxn>
              <a:cxn ang="0">
                <a:pos x="69" y="43"/>
              </a:cxn>
              <a:cxn ang="0">
                <a:pos x="80" y="58"/>
              </a:cxn>
              <a:cxn ang="0">
                <a:pos x="64" y="70"/>
              </a:cxn>
              <a:cxn ang="0">
                <a:pos x="51" y="69"/>
              </a:cxn>
              <a:cxn ang="0">
                <a:pos x="41" y="68"/>
              </a:cxn>
              <a:cxn ang="0">
                <a:pos x="48" y="73"/>
              </a:cxn>
              <a:cxn ang="0">
                <a:pos x="36" y="43"/>
              </a:cxn>
              <a:cxn ang="0">
                <a:pos x="13" y="43"/>
              </a:cxn>
              <a:cxn ang="0">
                <a:pos x="45" y="44"/>
              </a:cxn>
              <a:cxn ang="0">
                <a:pos x="72" y="65"/>
              </a:cxn>
              <a:cxn ang="0">
                <a:pos x="46" y="12"/>
              </a:cxn>
              <a:cxn ang="0">
                <a:pos x="69" y="51"/>
              </a:cxn>
              <a:cxn ang="0">
                <a:pos x="70" y="54"/>
              </a:cxn>
              <a:cxn ang="0">
                <a:pos x="40" y="44"/>
              </a:cxn>
              <a:cxn ang="0">
                <a:pos x="34" y="34"/>
              </a:cxn>
              <a:cxn ang="0">
                <a:pos x="29" y="31"/>
              </a:cxn>
              <a:cxn ang="0">
                <a:pos x="31" y="27"/>
              </a:cxn>
              <a:cxn ang="0">
                <a:pos x="27" y="16"/>
              </a:cxn>
              <a:cxn ang="0">
                <a:pos x="33" y="16"/>
              </a:cxn>
              <a:cxn ang="0">
                <a:pos x="39" y="19"/>
              </a:cxn>
              <a:cxn ang="0">
                <a:pos x="43" y="18"/>
              </a:cxn>
              <a:cxn ang="0">
                <a:pos x="43" y="9"/>
              </a:cxn>
              <a:cxn ang="0">
                <a:pos x="55" y="10"/>
              </a:cxn>
              <a:cxn ang="0">
                <a:pos x="60" y="8"/>
              </a:cxn>
              <a:cxn ang="0">
                <a:pos x="58" y="2"/>
              </a:cxn>
              <a:cxn ang="0">
                <a:pos x="46" y="4"/>
              </a:cxn>
              <a:cxn ang="0">
                <a:pos x="38" y="3"/>
              </a:cxn>
              <a:cxn ang="0">
                <a:pos x="23" y="6"/>
              </a:cxn>
              <a:cxn ang="0">
                <a:pos x="13" y="12"/>
              </a:cxn>
              <a:cxn ang="0">
                <a:pos x="7" y="22"/>
              </a:cxn>
              <a:cxn ang="0">
                <a:pos x="7" y="27"/>
              </a:cxn>
              <a:cxn ang="0">
                <a:pos x="13" y="29"/>
              </a:cxn>
              <a:cxn ang="0">
                <a:pos x="13" y="33"/>
              </a:cxn>
              <a:cxn ang="0">
                <a:pos x="16" y="37"/>
              </a:cxn>
              <a:cxn ang="0">
                <a:pos x="25" y="37"/>
              </a:cxn>
              <a:cxn ang="0">
                <a:pos x="31" y="39"/>
              </a:cxn>
              <a:cxn ang="0">
                <a:pos x="30" y="41"/>
              </a:cxn>
              <a:cxn ang="0">
                <a:pos x="17" y="40"/>
              </a:cxn>
              <a:cxn ang="0">
                <a:pos x="20" y="52"/>
              </a:cxn>
              <a:cxn ang="0">
                <a:pos x="27" y="55"/>
              </a:cxn>
              <a:cxn ang="0">
                <a:pos x="29" y="54"/>
              </a:cxn>
              <a:cxn ang="0">
                <a:pos x="33" y="54"/>
              </a:cxn>
              <a:cxn ang="0">
                <a:pos x="33" y="48"/>
              </a:cxn>
              <a:cxn ang="0">
                <a:pos x="35" y="46"/>
              </a:cxn>
              <a:cxn ang="0">
                <a:pos x="37" y="40"/>
              </a:cxn>
            </a:cxnLst>
            <a:rect l="0" t="0" r="r" b="b"/>
            <a:pathLst>
              <a:path w="80" h="75">
                <a:moveTo>
                  <a:pt x="53" y="55"/>
                </a:moveTo>
                <a:cubicBezTo>
                  <a:pt x="53" y="55"/>
                  <a:pt x="53" y="54"/>
                  <a:pt x="53" y="54"/>
                </a:cubicBezTo>
                <a:cubicBezTo>
                  <a:pt x="54" y="54"/>
                  <a:pt x="55" y="55"/>
                  <a:pt x="54" y="56"/>
                </a:cubicBezTo>
                <a:cubicBezTo>
                  <a:pt x="54" y="55"/>
                  <a:pt x="53" y="55"/>
                  <a:pt x="53" y="55"/>
                </a:cubicBezTo>
                <a:close/>
                <a:moveTo>
                  <a:pt x="56" y="51"/>
                </a:moveTo>
                <a:cubicBezTo>
                  <a:pt x="56" y="51"/>
                  <a:pt x="56" y="50"/>
                  <a:pt x="55" y="50"/>
                </a:cubicBezTo>
                <a:cubicBezTo>
                  <a:pt x="55" y="49"/>
                  <a:pt x="54" y="50"/>
                  <a:pt x="54" y="51"/>
                </a:cubicBezTo>
                <a:cubicBezTo>
                  <a:pt x="54" y="51"/>
                  <a:pt x="54" y="52"/>
                  <a:pt x="55" y="53"/>
                </a:cubicBezTo>
                <a:cubicBezTo>
                  <a:pt x="55" y="52"/>
                  <a:pt x="56" y="52"/>
                  <a:pt x="56" y="51"/>
                </a:cubicBezTo>
                <a:close/>
                <a:moveTo>
                  <a:pt x="54" y="14"/>
                </a:moveTo>
                <a:cubicBezTo>
                  <a:pt x="55" y="13"/>
                  <a:pt x="53" y="13"/>
                  <a:pt x="52" y="14"/>
                </a:cubicBezTo>
                <a:cubicBezTo>
                  <a:pt x="52" y="14"/>
                  <a:pt x="54" y="15"/>
                  <a:pt x="54" y="14"/>
                </a:cubicBezTo>
                <a:close/>
                <a:moveTo>
                  <a:pt x="52" y="46"/>
                </a:moveTo>
                <a:cubicBezTo>
                  <a:pt x="53" y="46"/>
                  <a:pt x="52" y="45"/>
                  <a:pt x="52" y="45"/>
                </a:cubicBezTo>
                <a:cubicBezTo>
                  <a:pt x="51" y="45"/>
                  <a:pt x="51" y="45"/>
                  <a:pt x="50" y="44"/>
                </a:cubicBezTo>
                <a:cubicBezTo>
                  <a:pt x="50" y="44"/>
                  <a:pt x="50" y="45"/>
                  <a:pt x="51" y="45"/>
                </a:cubicBezTo>
                <a:cubicBezTo>
                  <a:pt x="51" y="45"/>
                  <a:pt x="52" y="46"/>
                  <a:pt x="52" y="46"/>
                </a:cubicBezTo>
                <a:close/>
                <a:moveTo>
                  <a:pt x="38" y="29"/>
                </a:moveTo>
                <a:cubicBezTo>
                  <a:pt x="38" y="29"/>
                  <a:pt x="38" y="29"/>
                  <a:pt x="38" y="28"/>
                </a:cubicBezTo>
                <a:cubicBezTo>
                  <a:pt x="38" y="28"/>
                  <a:pt x="37" y="28"/>
                  <a:pt x="37" y="28"/>
                </a:cubicBezTo>
                <a:cubicBezTo>
                  <a:pt x="37" y="27"/>
                  <a:pt x="37" y="28"/>
                  <a:pt x="37" y="28"/>
                </a:cubicBezTo>
                <a:cubicBezTo>
                  <a:pt x="37" y="29"/>
                  <a:pt x="38" y="29"/>
                  <a:pt x="38" y="29"/>
                </a:cubicBezTo>
                <a:close/>
                <a:moveTo>
                  <a:pt x="62" y="27"/>
                </a:moveTo>
                <a:cubicBezTo>
                  <a:pt x="62" y="27"/>
                  <a:pt x="61" y="27"/>
                  <a:pt x="62" y="27"/>
                </a:cubicBezTo>
                <a:cubicBezTo>
                  <a:pt x="62" y="26"/>
                  <a:pt x="61" y="26"/>
                  <a:pt x="61" y="26"/>
                </a:cubicBezTo>
                <a:cubicBezTo>
                  <a:pt x="60" y="26"/>
                  <a:pt x="60" y="26"/>
                  <a:pt x="60" y="26"/>
                </a:cubicBezTo>
                <a:cubicBezTo>
                  <a:pt x="59" y="26"/>
                  <a:pt x="59" y="26"/>
                  <a:pt x="59" y="27"/>
                </a:cubicBezTo>
                <a:cubicBezTo>
                  <a:pt x="58" y="27"/>
                  <a:pt x="57" y="27"/>
                  <a:pt x="57" y="27"/>
                </a:cubicBezTo>
                <a:cubicBezTo>
                  <a:pt x="57" y="27"/>
                  <a:pt x="57" y="28"/>
                  <a:pt x="57" y="28"/>
                </a:cubicBezTo>
                <a:cubicBezTo>
                  <a:pt x="58" y="29"/>
                  <a:pt x="59" y="29"/>
                  <a:pt x="59" y="29"/>
                </a:cubicBezTo>
                <a:cubicBezTo>
                  <a:pt x="59" y="28"/>
                  <a:pt x="60" y="28"/>
                  <a:pt x="60" y="28"/>
                </a:cubicBezTo>
                <a:cubicBezTo>
                  <a:pt x="62" y="27"/>
                  <a:pt x="59" y="29"/>
                  <a:pt x="59" y="29"/>
                </a:cubicBezTo>
                <a:cubicBezTo>
                  <a:pt x="59" y="29"/>
                  <a:pt x="60" y="29"/>
                  <a:pt x="60" y="30"/>
                </a:cubicBezTo>
                <a:cubicBezTo>
                  <a:pt x="61" y="30"/>
                  <a:pt x="62" y="30"/>
                  <a:pt x="62" y="30"/>
                </a:cubicBezTo>
                <a:cubicBezTo>
                  <a:pt x="63" y="30"/>
                  <a:pt x="64" y="30"/>
                  <a:pt x="63" y="29"/>
                </a:cubicBezTo>
                <a:cubicBezTo>
                  <a:pt x="63" y="29"/>
                  <a:pt x="62" y="28"/>
                  <a:pt x="63" y="29"/>
                </a:cubicBezTo>
                <a:cubicBezTo>
                  <a:pt x="63" y="29"/>
                  <a:pt x="63" y="29"/>
                  <a:pt x="63" y="30"/>
                </a:cubicBezTo>
                <a:cubicBezTo>
                  <a:pt x="64" y="30"/>
                  <a:pt x="64" y="29"/>
                  <a:pt x="64" y="29"/>
                </a:cubicBezTo>
                <a:cubicBezTo>
                  <a:pt x="63" y="28"/>
                  <a:pt x="63" y="28"/>
                  <a:pt x="62" y="27"/>
                </a:cubicBezTo>
                <a:close/>
                <a:moveTo>
                  <a:pt x="36" y="41"/>
                </a:moveTo>
                <a:cubicBezTo>
                  <a:pt x="36" y="41"/>
                  <a:pt x="36" y="41"/>
                  <a:pt x="36" y="41"/>
                </a:cubicBezTo>
                <a:cubicBezTo>
                  <a:pt x="36" y="41"/>
                  <a:pt x="36" y="41"/>
                  <a:pt x="36" y="41"/>
                </a:cubicBezTo>
                <a:cubicBezTo>
                  <a:pt x="36" y="41"/>
                  <a:pt x="35" y="42"/>
                  <a:pt x="36" y="42"/>
                </a:cubicBezTo>
                <a:cubicBezTo>
                  <a:pt x="36" y="42"/>
                  <a:pt x="37" y="42"/>
                  <a:pt x="37" y="41"/>
                </a:cubicBezTo>
                <a:cubicBezTo>
                  <a:pt x="37" y="41"/>
                  <a:pt x="37" y="41"/>
                  <a:pt x="36" y="41"/>
                </a:cubicBezTo>
                <a:cubicBezTo>
                  <a:pt x="36" y="41"/>
                  <a:pt x="36" y="41"/>
                  <a:pt x="36" y="41"/>
                </a:cubicBezTo>
                <a:close/>
                <a:moveTo>
                  <a:pt x="52" y="52"/>
                </a:moveTo>
                <a:cubicBezTo>
                  <a:pt x="53" y="51"/>
                  <a:pt x="53" y="51"/>
                  <a:pt x="53" y="51"/>
                </a:cubicBezTo>
                <a:cubicBezTo>
                  <a:pt x="53" y="51"/>
                  <a:pt x="53" y="50"/>
                  <a:pt x="53" y="50"/>
                </a:cubicBezTo>
                <a:cubicBezTo>
                  <a:pt x="53" y="50"/>
                  <a:pt x="53" y="50"/>
                  <a:pt x="53" y="50"/>
                </a:cubicBezTo>
                <a:cubicBezTo>
                  <a:pt x="53" y="50"/>
                  <a:pt x="53" y="50"/>
                  <a:pt x="53" y="50"/>
                </a:cubicBezTo>
                <a:cubicBezTo>
                  <a:pt x="52" y="50"/>
                  <a:pt x="52" y="50"/>
                  <a:pt x="52" y="51"/>
                </a:cubicBezTo>
                <a:cubicBezTo>
                  <a:pt x="51" y="52"/>
                  <a:pt x="52" y="52"/>
                  <a:pt x="52" y="52"/>
                </a:cubicBezTo>
                <a:close/>
                <a:moveTo>
                  <a:pt x="47" y="51"/>
                </a:moveTo>
                <a:cubicBezTo>
                  <a:pt x="47" y="51"/>
                  <a:pt x="48" y="53"/>
                  <a:pt x="48" y="53"/>
                </a:cubicBezTo>
                <a:cubicBezTo>
                  <a:pt x="48" y="52"/>
                  <a:pt x="48" y="51"/>
                  <a:pt x="47" y="51"/>
                </a:cubicBezTo>
                <a:close/>
                <a:moveTo>
                  <a:pt x="55" y="59"/>
                </a:moveTo>
                <a:cubicBezTo>
                  <a:pt x="56" y="59"/>
                  <a:pt x="55" y="58"/>
                  <a:pt x="55" y="58"/>
                </a:cubicBezTo>
                <a:cubicBezTo>
                  <a:pt x="55" y="58"/>
                  <a:pt x="54" y="57"/>
                  <a:pt x="54" y="57"/>
                </a:cubicBezTo>
                <a:cubicBezTo>
                  <a:pt x="54" y="58"/>
                  <a:pt x="55" y="59"/>
                  <a:pt x="54" y="59"/>
                </a:cubicBezTo>
                <a:cubicBezTo>
                  <a:pt x="55" y="59"/>
                  <a:pt x="55" y="59"/>
                  <a:pt x="55" y="59"/>
                </a:cubicBezTo>
                <a:close/>
                <a:moveTo>
                  <a:pt x="59" y="46"/>
                </a:moveTo>
                <a:cubicBezTo>
                  <a:pt x="60" y="46"/>
                  <a:pt x="61" y="46"/>
                  <a:pt x="61" y="45"/>
                </a:cubicBezTo>
                <a:cubicBezTo>
                  <a:pt x="62" y="45"/>
                  <a:pt x="63" y="44"/>
                  <a:pt x="62" y="44"/>
                </a:cubicBezTo>
                <a:cubicBezTo>
                  <a:pt x="62" y="44"/>
                  <a:pt x="62" y="44"/>
                  <a:pt x="61" y="45"/>
                </a:cubicBezTo>
                <a:cubicBezTo>
                  <a:pt x="61" y="45"/>
                  <a:pt x="60" y="45"/>
                  <a:pt x="60" y="45"/>
                </a:cubicBezTo>
                <a:cubicBezTo>
                  <a:pt x="60" y="45"/>
                  <a:pt x="59" y="46"/>
                  <a:pt x="59" y="46"/>
                </a:cubicBezTo>
                <a:close/>
                <a:moveTo>
                  <a:pt x="49" y="46"/>
                </a:moveTo>
                <a:cubicBezTo>
                  <a:pt x="49" y="46"/>
                  <a:pt x="49" y="47"/>
                  <a:pt x="49" y="48"/>
                </a:cubicBezTo>
                <a:cubicBezTo>
                  <a:pt x="50" y="47"/>
                  <a:pt x="50" y="47"/>
                  <a:pt x="50" y="47"/>
                </a:cubicBezTo>
                <a:cubicBezTo>
                  <a:pt x="50" y="47"/>
                  <a:pt x="50" y="46"/>
                  <a:pt x="49" y="46"/>
                </a:cubicBezTo>
                <a:close/>
                <a:moveTo>
                  <a:pt x="46" y="32"/>
                </a:moveTo>
                <a:cubicBezTo>
                  <a:pt x="46" y="32"/>
                  <a:pt x="47" y="33"/>
                  <a:pt x="47" y="32"/>
                </a:cubicBezTo>
                <a:cubicBezTo>
                  <a:pt x="47" y="32"/>
                  <a:pt x="46" y="32"/>
                  <a:pt x="46" y="31"/>
                </a:cubicBezTo>
                <a:cubicBezTo>
                  <a:pt x="45" y="31"/>
                  <a:pt x="46" y="31"/>
                  <a:pt x="45" y="30"/>
                </a:cubicBezTo>
                <a:cubicBezTo>
                  <a:pt x="45" y="29"/>
                  <a:pt x="44" y="31"/>
                  <a:pt x="45" y="31"/>
                </a:cubicBezTo>
                <a:cubicBezTo>
                  <a:pt x="45" y="31"/>
                  <a:pt x="46" y="32"/>
                  <a:pt x="46" y="32"/>
                </a:cubicBezTo>
                <a:cubicBezTo>
                  <a:pt x="45" y="32"/>
                  <a:pt x="45" y="32"/>
                  <a:pt x="46" y="32"/>
                </a:cubicBezTo>
                <a:close/>
                <a:moveTo>
                  <a:pt x="50" y="21"/>
                </a:moveTo>
                <a:cubicBezTo>
                  <a:pt x="50" y="21"/>
                  <a:pt x="50" y="21"/>
                  <a:pt x="51" y="21"/>
                </a:cubicBezTo>
                <a:cubicBezTo>
                  <a:pt x="51" y="21"/>
                  <a:pt x="50" y="20"/>
                  <a:pt x="51" y="20"/>
                </a:cubicBezTo>
                <a:cubicBezTo>
                  <a:pt x="50" y="20"/>
                  <a:pt x="52" y="20"/>
                  <a:pt x="51" y="20"/>
                </a:cubicBezTo>
                <a:cubicBezTo>
                  <a:pt x="51" y="21"/>
                  <a:pt x="52" y="21"/>
                  <a:pt x="52" y="21"/>
                </a:cubicBezTo>
                <a:cubicBezTo>
                  <a:pt x="52" y="21"/>
                  <a:pt x="52" y="20"/>
                  <a:pt x="52" y="20"/>
                </a:cubicBezTo>
                <a:cubicBezTo>
                  <a:pt x="52" y="19"/>
                  <a:pt x="52" y="19"/>
                  <a:pt x="53" y="18"/>
                </a:cubicBezTo>
                <a:cubicBezTo>
                  <a:pt x="52" y="19"/>
                  <a:pt x="52" y="19"/>
                  <a:pt x="52" y="19"/>
                </a:cubicBezTo>
                <a:cubicBezTo>
                  <a:pt x="51" y="19"/>
                  <a:pt x="51" y="19"/>
                  <a:pt x="50" y="19"/>
                </a:cubicBezTo>
                <a:cubicBezTo>
                  <a:pt x="50" y="19"/>
                  <a:pt x="49" y="19"/>
                  <a:pt x="49" y="19"/>
                </a:cubicBezTo>
                <a:cubicBezTo>
                  <a:pt x="49" y="19"/>
                  <a:pt x="49" y="20"/>
                  <a:pt x="49" y="20"/>
                </a:cubicBezTo>
                <a:cubicBezTo>
                  <a:pt x="49" y="20"/>
                  <a:pt x="49" y="20"/>
                  <a:pt x="49" y="21"/>
                </a:cubicBezTo>
                <a:cubicBezTo>
                  <a:pt x="49" y="21"/>
                  <a:pt x="50" y="20"/>
                  <a:pt x="50" y="21"/>
                </a:cubicBezTo>
                <a:close/>
                <a:moveTo>
                  <a:pt x="4" y="24"/>
                </a:moveTo>
                <a:cubicBezTo>
                  <a:pt x="3" y="24"/>
                  <a:pt x="3" y="23"/>
                  <a:pt x="3" y="23"/>
                </a:cubicBezTo>
                <a:cubicBezTo>
                  <a:pt x="3" y="23"/>
                  <a:pt x="3" y="23"/>
                  <a:pt x="3" y="22"/>
                </a:cubicBezTo>
                <a:cubicBezTo>
                  <a:pt x="3" y="22"/>
                  <a:pt x="3" y="22"/>
                  <a:pt x="4" y="22"/>
                </a:cubicBezTo>
                <a:cubicBezTo>
                  <a:pt x="4" y="21"/>
                  <a:pt x="3" y="21"/>
                  <a:pt x="2" y="21"/>
                </a:cubicBezTo>
                <a:cubicBezTo>
                  <a:pt x="2" y="21"/>
                  <a:pt x="0" y="21"/>
                  <a:pt x="1" y="22"/>
                </a:cubicBezTo>
                <a:cubicBezTo>
                  <a:pt x="1" y="22"/>
                  <a:pt x="1" y="22"/>
                  <a:pt x="1" y="22"/>
                </a:cubicBezTo>
                <a:cubicBezTo>
                  <a:pt x="1" y="22"/>
                  <a:pt x="2" y="23"/>
                  <a:pt x="2" y="23"/>
                </a:cubicBezTo>
                <a:cubicBezTo>
                  <a:pt x="2" y="23"/>
                  <a:pt x="3" y="24"/>
                  <a:pt x="3" y="24"/>
                </a:cubicBezTo>
                <a:cubicBezTo>
                  <a:pt x="3" y="25"/>
                  <a:pt x="4" y="25"/>
                  <a:pt x="5" y="26"/>
                </a:cubicBezTo>
                <a:cubicBezTo>
                  <a:pt x="6" y="25"/>
                  <a:pt x="4" y="25"/>
                  <a:pt x="4" y="24"/>
                </a:cubicBezTo>
                <a:close/>
                <a:moveTo>
                  <a:pt x="11" y="31"/>
                </a:moveTo>
                <a:cubicBezTo>
                  <a:pt x="11" y="31"/>
                  <a:pt x="11" y="31"/>
                  <a:pt x="11" y="31"/>
                </a:cubicBezTo>
                <a:cubicBezTo>
                  <a:pt x="11" y="31"/>
                  <a:pt x="11" y="31"/>
                  <a:pt x="11" y="31"/>
                </a:cubicBezTo>
                <a:close/>
                <a:moveTo>
                  <a:pt x="9" y="34"/>
                </a:moveTo>
                <a:cubicBezTo>
                  <a:pt x="10" y="34"/>
                  <a:pt x="10" y="34"/>
                  <a:pt x="10" y="34"/>
                </a:cubicBezTo>
                <a:cubicBezTo>
                  <a:pt x="10" y="34"/>
                  <a:pt x="10" y="34"/>
                  <a:pt x="10" y="34"/>
                </a:cubicBezTo>
                <a:cubicBezTo>
                  <a:pt x="10" y="34"/>
                  <a:pt x="11" y="34"/>
                  <a:pt x="11" y="34"/>
                </a:cubicBezTo>
                <a:cubicBezTo>
                  <a:pt x="11" y="34"/>
                  <a:pt x="11" y="33"/>
                  <a:pt x="11" y="33"/>
                </a:cubicBezTo>
                <a:cubicBezTo>
                  <a:pt x="11" y="33"/>
                  <a:pt x="11" y="32"/>
                  <a:pt x="11" y="32"/>
                </a:cubicBezTo>
                <a:cubicBezTo>
                  <a:pt x="11" y="32"/>
                  <a:pt x="11" y="32"/>
                  <a:pt x="11" y="31"/>
                </a:cubicBezTo>
                <a:cubicBezTo>
                  <a:pt x="10" y="32"/>
                  <a:pt x="9" y="34"/>
                  <a:pt x="9" y="34"/>
                </a:cubicBezTo>
                <a:close/>
                <a:moveTo>
                  <a:pt x="60" y="35"/>
                </a:moveTo>
                <a:cubicBezTo>
                  <a:pt x="59" y="35"/>
                  <a:pt x="59" y="34"/>
                  <a:pt x="59" y="34"/>
                </a:cubicBezTo>
                <a:cubicBezTo>
                  <a:pt x="58" y="34"/>
                  <a:pt x="58" y="34"/>
                  <a:pt x="58" y="34"/>
                </a:cubicBezTo>
                <a:cubicBezTo>
                  <a:pt x="57" y="34"/>
                  <a:pt x="58" y="35"/>
                  <a:pt x="58" y="36"/>
                </a:cubicBezTo>
                <a:cubicBezTo>
                  <a:pt x="58" y="36"/>
                  <a:pt x="59" y="37"/>
                  <a:pt x="58" y="37"/>
                </a:cubicBezTo>
                <a:cubicBezTo>
                  <a:pt x="58" y="38"/>
                  <a:pt x="58" y="37"/>
                  <a:pt x="58" y="38"/>
                </a:cubicBezTo>
                <a:cubicBezTo>
                  <a:pt x="57" y="38"/>
                  <a:pt x="59" y="39"/>
                  <a:pt x="59" y="39"/>
                </a:cubicBezTo>
                <a:cubicBezTo>
                  <a:pt x="59" y="39"/>
                  <a:pt x="60" y="38"/>
                  <a:pt x="60" y="38"/>
                </a:cubicBezTo>
                <a:cubicBezTo>
                  <a:pt x="60" y="38"/>
                  <a:pt x="60" y="38"/>
                  <a:pt x="60" y="37"/>
                </a:cubicBezTo>
                <a:cubicBezTo>
                  <a:pt x="60" y="37"/>
                  <a:pt x="60" y="36"/>
                  <a:pt x="60" y="35"/>
                </a:cubicBezTo>
                <a:cubicBezTo>
                  <a:pt x="60" y="35"/>
                  <a:pt x="60" y="34"/>
                  <a:pt x="60" y="35"/>
                </a:cubicBezTo>
                <a:close/>
                <a:moveTo>
                  <a:pt x="12" y="40"/>
                </a:moveTo>
                <a:cubicBezTo>
                  <a:pt x="12" y="40"/>
                  <a:pt x="12" y="39"/>
                  <a:pt x="12" y="39"/>
                </a:cubicBezTo>
                <a:cubicBezTo>
                  <a:pt x="11" y="39"/>
                  <a:pt x="11" y="38"/>
                  <a:pt x="11" y="38"/>
                </a:cubicBezTo>
                <a:cubicBezTo>
                  <a:pt x="11" y="38"/>
                  <a:pt x="11" y="38"/>
                  <a:pt x="11" y="38"/>
                </a:cubicBezTo>
                <a:cubicBezTo>
                  <a:pt x="10" y="38"/>
                  <a:pt x="10" y="35"/>
                  <a:pt x="10" y="36"/>
                </a:cubicBezTo>
                <a:cubicBezTo>
                  <a:pt x="9" y="36"/>
                  <a:pt x="10" y="37"/>
                  <a:pt x="9" y="37"/>
                </a:cubicBezTo>
                <a:cubicBezTo>
                  <a:pt x="9" y="37"/>
                  <a:pt x="8" y="37"/>
                  <a:pt x="8" y="37"/>
                </a:cubicBezTo>
                <a:cubicBezTo>
                  <a:pt x="8" y="37"/>
                  <a:pt x="7" y="39"/>
                  <a:pt x="8" y="39"/>
                </a:cubicBezTo>
                <a:cubicBezTo>
                  <a:pt x="9" y="39"/>
                  <a:pt x="8" y="38"/>
                  <a:pt x="9" y="38"/>
                </a:cubicBezTo>
                <a:cubicBezTo>
                  <a:pt x="9" y="38"/>
                  <a:pt x="9" y="39"/>
                  <a:pt x="9" y="39"/>
                </a:cubicBezTo>
                <a:cubicBezTo>
                  <a:pt x="9" y="39"/>
                  <a:pt x="9" y="39"/>
                  <a:pt x="9" y="39"/>
                </a:cubicBezTo>
                <a:cubicBezTo>
                  <a:pt x="9" y="39"/>
                  <a:pt x="9" y="40"/>
                  <a:pt x="10" y="40"/>
                </a:cubicBezTo>
                <a:cubicBezTo>
                  <a:pt x="11" y="39"/>
                  <a:pt x="11" y="40"/>
                  <a:pt x="12" y="40"/>
                </a:cubicBezTo>
                <a:close/>
                <a:moveTo>
                  <a:pt x="42" y="38"/>
                </a:moveTo>
                <a:cubicBezTo>
                  <a:pt x="42" y="38"/>
                  <a:pt x="42" y="38"/>
                  <a:pt x="42" y="38"/>
                </a:cubicBezTo>
                <a:cubicBezTo>
                  <a:pt x="43" y="39"/>
                  <a:pt x="43" y="39"/>
                  <a:pt x="43" y="40"/>
                </a:cubicBezTo>
                <a:cubicBezTo>
                  <a:pt x="43" y="40"/>
                  <a:pt x="44" y="40"/>
                  <a:pt x="44" y="40"/>
                </a:cubicBezTo>
                <a:cubicBezTo>
                  <a:pt x="44" y="41"/>
                  <a:pt x="44" y="41"/>
                  <a:pt x="44" y="41"/>
                </a:cubicBezTo>
                <a:cubicBezTo>
                  <a:pt x="45" y="40"/>
                  <a:pt x="45" y="41"/>
                  <a:pt x="46" y="41"/>
                </a:cubicBezTo>
                <a:cubicBezTo>
                  <a:pt x="46" y="41"/>
                  <a:pt x="47" y="39"/>
                  <a:pt x="46" y="39"/>
                </a:cubicBezTo>
                <a:cubicBezTo>
                  <a:pt x="45" y="39"/>
                  <a:pt x="43" y="39"/>
                  <a:pt x="43" y="38"/>
                </a:cubicBezTo>
                <a:cubicBezTo>
                  <a:pt x="43" y="38"/>
                  <a:pt x="43" y="37"/>
                  <a:pt x="42" y="36"/>
                </a:cubicBezTo>
                <a:cubicBezTo>
                  <a:pt x="42" y="36"/>
                  <a:pt x="43" y="35"/>
                  <a:pt x="43" y="35"/>
                </a:cubicBezTo>
                <a:cubicBezTo>
                  <a:pt x="43" y="35"/>
                  <a:pt x="41" y="34"/>
                  <a:pt x="42" y="34"/>
                </a:cubicBezTo>
                <a:cubicBezTo>
                  <a:pt x="41" y="33"/>
                  <a:pt x="39" y="34"/>
                  <a:pt x="38" y="32"/>
                </a:cubicBezTo>
                <a:cubicBezTo>
                  <a:pt x="38" y="32"/>
                  <a:pt x="38" y="32"/>
                  <a:pt x="37" y="32"/>
                </a:cubicBezTo>
                <a:cubicBezTo>
                  <a:pt x="37" y="32"/>
                  <a:pt x="37" y="32"/>
                  <a:pt x="37" y="32"/>
                </a:cubicBezTo>
                <a:cubicBezTo>
                  <a:pt x="36" y="32"/>
                  <a:pt x="36" y="32"/>
                  <a:pt x="36" y="31"/>
                </a:cubicBezTo>
                <a:cubicBezTo>
                  <a:pt x="35" y="31"/>
                  <a:pt x="35" y="30"/>
                  <a:pt x="34" y="30"/>
                </a:cubicBezTo>
                <a:cubicBezTo>
                  <a:pt x="34" y="29"/>
                  <a:pt x="33" y="30"/>
                  <a:pt x="33" y="30"/>
                </a:cubicBezTo>
                <a:cubicBezTo>
                  <a:pt x="32" y="30"/>
                  <a:pt x="32" y="30"/>
                  <a:pt x="32" y="30"/>
                </a:cubicBezTo>
                <a:cubicBezTo>
                  <a:pt x="32" y="31"/>
                  <a:pt x="32" y="31"/>
                  <a:pt x="31" y="31"/>
                </a:cubicBezTo>
                <a:cubicBezTo>
                  <a:pt x="31" y="31"/>
                  <a:pt x="30" y="31"/>
                  <a:pt x="30" y="31"/>
                </a:cubicBezTo>
                <a:cubicBezTo>
                  <a:pt x="30" y="32"/>
                  <a:pt x="31" y="32"/>
                  <a:pt x="31" y="32"/>
                </a:cubicBezTo>
                <a:cubicBezTo>
                  <a:pt x="31" y="32"/>
                  <a:pt x="31" y="31"/>
                  <a:pt x="31" y="31"/>
                </a:cubicBezTo>
                <a:cubicBezTo>
                  <a:pt x="32" y="31"/>
                  <a:pt x="32" y="31"/>
                  <a:pt x="33" y="31"/>
                </a:cubicBezTo>
                <a:cubicBezTo>
                  <a:pt x="33" y="32"/>
                  <a:pt x="34" y="32"/>
                  <a:pt x="34" y="33"/>
                </a:cubicBezTo>
                <a:cubicBezTo>
                  <a:pt x="35" y="33"/>
                  <a:pt x="36" y="34"/>
                  <a:pt x="36" y="34"/>
                </a:cubicBezTo>
                <a:cubicBezTo>
                  <a:pt x="37" y="35"/>
                  <a:pt x="37" y="34"/>
                  <a:pt x="37" y="35"/>
                </a:cubicBezTo>
                <a:cubicBezTo>
                  <a:pt x="37" y="36"/>
                  <a:pt x="37" y="36"/>
                  <a:pt x="38" y="36"/>
                </a:cubicBezTo>
                <a:cubicBezTo>
                  <a:pt x="38" y="36"/>
                  <a:pt x="38" y="36"/>
                  <a:pt x="39" y="36"/>
                </a:cubicBezTo>
                <a:cubicBezTo>
                  <a:pt x="39" y="36"/>
                  <a:pt x="40" y="36"/>
                  <a:pt x="41" y="36"/>
                </a:cubicBezTo>
                <a:cubicBezTo>
                  <a:pt x="41" y="36"/>
                  <a:pt x="42" y="37"/>
                  <a:pt x="41" y="37"/>
                </a:cubicBezTo>
                <a:cubicBezTo>
                  <a:pt x="41" y="37"/>
                  <a:pt x="42" y="37"/>
                  <a:pt x="42" y="37"/>
                </a:cubicBezTo>
                <a:cubicBezTo>
                  <a:pt x="42" y="38"/>
                  <a:pt x="42" y="38"/>
                  <a:pt x="42" y="38"/>
                </a:cubicBezTo>
                <a:cubicBezTo>
                  <a:pt x="42" y="38"/>
                  <a:pt x="42" y="38"/>
                  <a:pt x="42" y="38"/>
                </a:cubicBezTo>
                <a:cubicBezTo>
                  <a:pt x="42" y="38"/>
                  <a:pt x="42" y="38"/>
                  <a:pt x="42" y="38"/>
                </a:cubicBezTo>
                <a:close/>
                <a:moveTo>
                  <a:pt x="69" y="43"/>
                </a:moveTo>
                <a:cubicBezTo>
                  <a:pt x="69" y="43"/>
                  <a:pt x="68" y="43"/>
                  <a:pt x="68" y="43"/>
                </a:cubicBezTo>
                <a:cubicBezTo>
                  <a:pt x="68" y="43"/>
                  <a:pt x="68" y="43"/>
                  <a:pt x="68" y="43"/>
                </a:cubicBezTo>
                <a:cubicBezTo>
                  <a:pt x="67" y="43"/>
                  <a:pt x="67" y="43"/>
                  <a:pt x="66" y="43"/>
                </a:cubicBezTo>
                <a:cubicBezTo>
                  <a:pt x="65" y="43"/>
                  <a:pt x="64" y="43"/>
                  <a:pt x="64" y="44"/>
                </a:cubicBezTo>
                <a:cubicBezTo>
                  <a:pt x="64" y="44"/>
                  <a:pt x="65" y="44"/>
                  <a:pt x="65" y="44"/>
                </a:cubicBezTo>
                <a:cubicBezTo>
                  <a:pt x="66" y="44"/>
                  <a:pt x="66" y="45"/>
                  <a:pt x="67" y="45"/>
                </a:cubicBezTo>
                <a:cubicBezTo>
                  <a:pt x="67" y="45"/>
                  <a:pt x="68" y="44"/>
                  <a:pt x="69" y="44"/>
                </a:cubicBezTo>
                <a:cubicBezTo>
                  <a:pt x="69" y="44"/>
                  <a:pt x="68" y="43"/>
                  <a:pt x="69" y="43"/>
                </a:cubicBezTo>
                <a:close/>
                <a:moveTo>
                  <a:pt x="80" y="58"/>
                </a:moveTo>
                <a:cubicBezTo>
                  <a:pt x="80" y="58"/>
                  <a:pt x="79" y="58"/>
                  <a:pt x="79" y="58"/>
                </a:cubicBezTo>
                <a:cubicBezTo>
                  <a:pt x="79" y="58"/>
                  <a:pt x="78" y="59"/>
                  <a:pt x="78" y="59"/>
                </a:cubicBezTo>
                <a:cubicBezTo>
                  <a:pt x="77" y="59"/>
                  <a:pt x="77" y="59"/>
                  <a:pt x="77" y="60"/>
                </a:cubicBezTo>
                <a:cubicBezTo>
                  <a:pt x="76" y="60"/>
                  <a:pt x="76" y="61"/>
                  <a:pt x="76" y="61"/>
                </a:cubicBezTo>
                <a:cubicBezTo>
                  <a:pt x="77" y="62"/>
                  <a:pt x="76" y="63"/>
                  <a:pt x="76" y="64"/>
                </a:cubicBezTo>
                <a:cubicBezTo>
                  <a:pt x="77" y="64"/>
                  <a:pt x="78" y="63"/>
                  <a:pt x="78" y="63"/>
                </a:cubicBezTo>
                <a:cubicBezTo>
                  <a:pt x="78" y="62"/>
                  <a:pt x="79" y="62"/>
                  <a:pt x="79" y="62"/>
                </a:cubicBezTo>
                <a:cubicBezTo>
                  <a:pt x="79" y="61"/>
                  <a:pt x="80" y="60"/>
                  <a:pt x="80" y="59"/>
                </a:cubicBezTo>
                <a:cubicBezTo>
                  <a:pt x="80" y="59"/>
                  <a:pt x="80" y="58"/>
                  <a:pt x="80" y="58"/>
                </a:cubicBezTo>
                <a:close/>
                <a:moveTo>
                  <a:pt x="50" y="43"/>
                </a:moveTo>
                <a:cubicBezTo>
                  <a:pt x="50" y="43"/>
                  <a:pt x="50" y="43"/>
                  <a:pt x="50" y="42"/>
                </a:cubicBezTo>
                <a:cubicBezTo>
                  <a:pt x="50" y="42"/>
                  <a:pt x="50" y="42"/>
                  <a:pt x="49" y="42"/>
                </a:cubicBezTo>
                <a:cubicBezTo>
                  <a:pt x="49" y="42"/>
                  <a:pt x="49" y="42"/>
                  <a:pt x="48" y="41"/>
                </a:cubicBezTo>
                <a:cubicBezTo>
                  <a:pt x="48" y="41"/>
                  <a:pt x="48" y="41"/>
                  <a:pt x="47" y="41"/>
                </a:cubicBezTo>
                <a:cubicBezTo>
                  <a:pt x="47" y="41"/>
                  <a:pt x="47" y="42"/>
                  <a:pt x="48" y="42"/>
                </a:cubicBezTo>
                <a:cubicBezTo>
                  <a:pt x="48" y="42"/>
                  <a:pt x="49" y="44"/>
                  <a:pt x="50" y="44"/>
                </a:cubicBezTo>
                <a:cubicBezTo>
                  <a:pt x="50" y="44"/>
                  <a:pt x="50" y="44"/>
                  <a:pt x="50" y="43"/>
                </a:cubicBezTo>
                <a:cubicBezTo>
                  <a:pt x="50" y="43"/>
                  <a:pt x="50" y="43"/>
                  <a:pt x="50" y="43"/>
                </a:cubicBezTo>
                <a:close/>
                <a:moveTo>
                  <a:pt x="64" y="70"/>
                </a:moveTo>
                <a:cubicBezTo>
                  <a:pt x="63" y="70"/>
                  <a:pt x="63" y="71"/>
                  <a:pt x="62" y="71"/>
                </a:cubicBezTo>
                <a:cubicBezTo>
                  <a:pt x="61" y="71"/>
                  <a:pt x="61" y="71"/>
                  <a:pt x="60" y="72"/>
                </a:cubicBezTo>
                <a:cubicBezTo>
                  <a:pt x="60" y="72"/>
                  <a:pt x="59" y="73"/>
                  <a:pt x="59" y="72"/>
                </a:cubicBezTo>
                <a:cubicBezTo>
                  <a:pt x="58" y="72"/>
                  <a:pt x="59" y="71"/>
                  <a:pt x="58" y="71"/>
                </a:cubicBezTo>
                <a:cubicBezTo>
                  <a:pt x="58" y="71"/>
                  <a:pt x="58" y="70"/>
                  <a:pt x="59" y="70"/>
                </a:cubicBezTo>
                <a:cubicBezTo>
                  <a:pt x="59" y="70"/>
                  <a:pt x="58" y="70"/>
                  <a:pt x="58" y="70"/>
                </a:cubicBezTo>
                <a:cubicBezTo>
                  <a:pt x="57" y="70"/>
                  <a:pt x="57" y="70"/>
                  <a:pt x="56" y="70"/>
                </a:cubicBezTo>
                <a:cubicBezTo>
                  <a:pt x="55" y="70"/>
                  <a:pt x="55" y="70"/>
                  <a:pt x="54" y="70"/>
                </a:cubicBezTo>
                <a:cubicBezTo>
                  <a:pt x="54" y="70"/>
                  <a:pt x="53" y="70"/>
                  <a:pt x="53" y="70"/>
                </a:cubicBezTo>
                <a:cubicBezTo>
                  <a:pt x="52" y="70"/>
                  <a:pt x="52" y="69"/>
                  <a:pt x="51" y="69"/>
                </a:cubicBezTo>
                <a:cubicBezTo>
                  <a:pt x="50" y="69"/>
                  <a:pt x="49" y="69"/>
                  <a:pt x="48" y="69"/>
                </a:cubicBezTo>
                <a:cubicBezTo>
                  <a:pt x="47" y="70"/>
                  <a:pt x="46" y="70"/>
                  <a:pt x="45" y="70"/>
                </a:cubicBezTo>
                <a:cubicBezTo>
                  <a:pt x="45" y="70"/>
                  <a:pt x="45" y="70"/>
                  <a:pt x="45" y="69"/>
                </a:cubicBezTo>
                <a:cubicBezTo>
                  <a:pt x="45" y="69"/>
                  <a:pt x="45" y="68"/>
                  <a:pt x="44" y="69"/>
                </a:cubicBezTo>
                <a:cubicBezTo>
                  <a:pt x="44" y="69"/>
                  <a:pt x="43" y="69"/>
                  <a:pt x="43" y="68"/>
                </a:cubicBezTo>
                <a:cubicBezTo>
                  <a:pt x="43" y="68"/>
                  <a:pt x="44" y="68"/>
                  <a:pt x="44" y="68"/>
                </a:cubicBezTo>
                <a:cubicBezTo>
                  <a:pt x="44" y="68"/>
                  <a:pt x="44" y="67"/>
                  <a:pt x="44" y="67"/>
                </a:cubicBezTo>
                <a:cubicBezTo>
                  <a:pt x="43" y="67"/>
                  <a:pt x="43" y="67"/>
                  <a:pt x="43" y="68"/>
                </a:cubicBezTo>
                <a:cubicBezTo>
                  <a:pt x="43" y="68"/>
                  <a:pt x="42" y="68"/>
                  <a:pt x="42" y="68"/>
                </a:cubicBezTo>
                <a:cubicBezTo>
                  <a:pt x="42" y="68"/>
                  <a:pt x="41" y="68"/>
                  <a:pt x="41" y="68"/>
                </a:cubicBezTo>
                <a:cubicBezTo>
                  <a:pt x="40" y="68"/>
                  <a:pt x="40" y="67"/>
                  <a:pt x="40" y="66"/>
                </a:cubicBezTo>
                <a:cubicBezTo>
                  <a:pt x="40" y="66"/>
                  <a:pt x="40" y="67"/>
                  <a:pt x="40" y="67"/>
                </a:cubicBezTo>
                <a:cubicBezTo>
                  <a:pt x="40" y="67"/>
                  <a:pt x="40" y="68"/>
                  <a:pt x="40" y="68"/>
                </a:cubicBezTo>
                <a:cubicBezTo>
                  <a:pt x="39" y="69"/>
                  <a:pt x="39" y="67"/>
                  <a:pt x="39" y="67"/>
                </a:cubicBezTo>
                <a:cubicBezTo>
                  <a:pt x="38" y="67"/>
                  <a:pt x="39" y="70"/>
                  <a:pt x="38" y="70"/>
                </a:cubicBezTo>
                <a:cubicBezTo>
                  <a:pt x="38" y="71"/>
                  <a:pt x="40" y="71"/>
                  <a:pt x="41" y="71"/>
                </a:cubicBezTo>
                <a:cubicBezTo>
                  <a:pt x="41" y="71"/>
                  <a:pt x="42" y="71"/>
                  <a:pt x="43" y="71"/>
                </a:cubicBezTo>
                <a:cubicBezTo>
                  <a:pt x="43" y="72"/>
                  <a:pt x="44" y="71"/>
                  <a:pt x="44" y="72"/>
                </a:cubicBezTo>
                <a:cubicBezTo>
                  <a:pt x="45" y="72"/>
                  <a:pt x="46" y="71"/>
                  <a:pt x="46" y="72"/>
                </a:cubicBezTo>
                <a:cubicBezTo>
                  <a:pt x="47" y="72"/>
                  <a:pt x="48" y="72"/>
                  <a:pt x="48" y="73"/>
                </a:cubicBezTo>
                <a:cubicBezTo>
                  <a:pt x="49" y="73"/>
                  <a:pt x="49" y="72"/>
                  <a:pt x="49" y="73"/>
                </a:cubicBezTo>
                <a:cubicBezTo>
                  <a:pt x="50" y="73"/>
                  <a:pt x="50" y="74"/>
                  <a:pt x="49" y="74"/>
                </a:cubicBezTo>
                <a:cubicBezTo>
                  <a:pt x="50" y="75"/>
                  <a:pt x="51" y="74"/>
                  <a:pt x="51" y="74"/>
                </a:cubicBezTo>
                <a:cubicBezTo>
                  <a:pt x="52" y="74"/>
                  <a:pt x="53" y="74"/>
                  <a:pt x="53" y="74"/>
                </a:cubicBezTo>
                <a:cubicBezTo>
                  <a:pt x="54" y="74"/>
                  <a:pt x="55" y="74"/>
                  <a:pt x="56" y="74"/>
                </a:cubicBezTo>
                <a:cubicBezTo>
                  <a:pt x="57" y="74"/>
                  <a:pt x="57" y="74"/>
                  <a:pt x="58" y="74"/>
                </a:cubicBezTo>
                <a:cubicBezTo>
                  <a:pt x="59" y="73"/>
                  <a:pt x="60" y="73"/>
                  <a:pt x="62" y="74"/>
                </a:cubicBezTo>
                <a:cubicBezTo>
                  <a:pt x="63" y="74"/>
                  <a:pt x="63" y="72"/>
                  <a:pt x="64" y="72"/>
                </a:cubicBezTo>
                <a:cubicBezTo>
                  <a:pt x="63" y="72"/>
                  <a:pt x="64" y="70"/>
                  <a:pt x="64" y="70"/>
                </a:cubicBezTo>
                <a:close/>
                <a:moveTo>
                  <a:pt x="36" y="43"/>
                </a:moveTo>
                <a:cubicBezTo>
                  <a:pt x="36" y="43"/>
                  <a:pt x="36" y="44"/>
                  <a:pt x="36" y="44"/>
                </a:cubicBezTo>
                <a:cubicBezTo>
                  <a:pt x="37" y="44"/>
                  <a:pt x="37" y="44"/>
                  <a:pt x="37" y="43"/>
                </a:cubicBezTo>
                <a:cubicBezTo>
                  <a:pt x="37" y="43"/>
                  <a:pt x="36" y="43"/>
                  <a:pt x="36" y="43"/>
                </a:cubicBezTo>
                <a:close/>
                <a:moveTo>
                  <a:pt x="45" y="47"/>
                </a:moveTo>
                <a:cubicBezTo>
                  <a:pt x="45" y="48"/>
                  <a:pt x="45" y="48"/>
                  <a:pt x="45" y="48"/>
                </a:cubicBezTo>
                <a:cubicBezTo>
                  <a:pt x="45" y="49"/>
                  <a:pt x="45" y="47"/>
                  <a:pt x="46" y="47"/>
                </a:cubicBezTo>
                <a:cubicBezTo>
                  <a:pt x="46" y="47"/>
                  <a:pt x="45" y="47"/>
                  <a:pt x="45" y="46"/>
                </a:cubicBezTo>
                <a:cubicBezTo>
                  <a:pt x="45" y="46"/>
                  <a:pt x="45" y="47"/>
                  <a:pt x="45" y="47"/>
                </a:cubicBezTo>
                <a:cubicBezTo>
                  <a:pt x="45" y="47"/>
                  <a:pt x="45" y="47"/>
                  <a:pt x="45" y="47"/>
                </a:cubicBezTo>
                <a:close/>
                <a:moveTo>
                  <a:pt x="13" y="43"/>
                </a:moveTo>
                <a:cubicBezTo>
                  <a:pt x="12" y="42"/>
                  <a:pt x="12" y="43"/>
                  <a:pt x="12" y="42"/>
                </a:cubicBezTo>
                <a:cubicBezTo>
                  <a:pt x="11" y="42"/>
                  <a:pt x="11" y="42"/>
                  <a:pt x="11" y="42"/>
                </a:cubicBezTo>
                <a:cubicBezTo>
                  <a:pt x="10" y="42"/>
                  <a:pt x="11" y="43"/>
                  <a:pt x="11" y="43"/>
                </a:cubicBezTo>
                <a:cubicBezTo>
                  <a:pt x="11" y="44"/>
                  <a:pt x="12" y="44"/>
                  <a:pt x="13" y="45"/>
                </a:cubicBezTo>
                <a:cubicBezTo>
                  <a:pt x="13" y="44"/>
                  <a:pt x="13" y="44"/>
                  <a:pt x="13" y="44"/>
                </a:cubicBezTo>
                <a:cubicBezTo>
                  <a:pt x="13" y="44"/>
                  <a:pt x="14" y="44"/>
                  <a:pt x="14" y="44"/>
                </a:cubicBezTo>
                <a:cubicBezTo>
                  <a:pt x="14" y="44"/>
                  <a:pt x="13" y="43"/>
                  <a:pt x="13" y="43"/>
                </a:cubicBezTo>
                <a:close/>
                <a:moveTo>
                  <a:pt x="45" y="44"/>
                </a:moveTo>
                <a:cubicBezTo>
                  <a:pt x="44" y="44"/>
                  <a:pt x="44" y="45"/>
                  <a:pt x="44" y="46"/>
                </a:cubicBezTo>
                <a:cubicBezTo>
                  <a:pt x="44" y="46"/>
                  <a:pt x="45" y="45"/>
                  <a:pt x="45" y="44"/>
                </a:cubicBezTo>
                <a:close/>
                <a:moveTo>
                  <a:pt x="72" y="65"/>
                </a:moveTo>
                <a:cubicBezTo>
                  <a:pt x="72" y="64"/>
                  <a:pt x="71" y="65"/>
                  <a:pt x="71" y="65"/>
                </a:cubicBezTo>
                <a:cubicBezTo>
                  <a:pt x="71" y="66"/>
                  <a:pt x="71" y="66"/>
                  <a:pt x="71" y="66"/>
                </a:cubicBezTo>
                <a:cubicBezTo>
                  <a:pt x="70" y="67"/>
                  <a:pt x="71" y="67"/>
                  <a:pt x="71" y="68"/>
                </a:cubicBezTo>
                <a:cubicBezTo>
                  <a:pt x="71" y="68"/>
                  <a:pt x="71" y="68"/>
                  <a:pt x="71" y="69"/>
                </a:cubicBezTo>
                <a:cubicBezTo>
                  <a:pt x="71" y="69"/>
                  <a:pt x="71" y="69"/>
                  <a:pt x="71" y="69"/>
                </a:cubicBezTo>
                <a:cubicBezTo>
                  <a:pt x="72" y="69"/>
                  <a:pt x="71" y="69"/>
                  <a:pt x="71" y="69"/>
                </a:cubicBezTo>
                <a:cubicBezTo>
                  <a:pt x="72" y="68"/>
                  <a:pt x="72" y="68"/>
                  <a:pt x="72" y="68"/>
                </a:cubicBezTo>
                <a:cubicBezTo>
                  <a:pt x="72" y="68"/>
                  <a:pt x="71" y="67"/>
                  <a:pt x="71" y="67"/>
                </a:cubicBezTo>
                <a:cubicBezTo>
                  <a:pt x="71" y="66"/>
                  <a:pt x="72" y="66"/>
                  <a:pt x="72" y="65"/>
                </a:cubicBezTo>
                <a:close/>
                <a:moveTo>
                  <a:pt x="47" y="55"/>
                </a:moveTo>
                <a:cubicBezTo>
                  <a:pt x="47" y="54"/>
                  <a:pt x="46" y="55"/>
                  <a:pt x="46" y="54"/>
                </a:cubicBezTo>
                <a:cubicBezTo>
                  <a:pt x="45" y="54"/>
                  <a:pt x="46" y="55"/>
                  <a:pt x="45" y="55"/>
                </a:cubicBezTo>
                <a:cubicBezTo>
                  <a:pt x="45" y="55"/>
                  <a:pt x="45" y="54"/>
                  <a:pt x="45" y="55"/>
                </a:cubicBezTo>
                <a:cubicBezTo>
                  <a:pt x="45" y="55"/>
                  <a:pt x="45" y="55"/>
                  <a:pt x="45" y="55"/>
                </a:cubicBezTo>
                <a:cubicBezTo>
                  <a:pt x="45" y="55"/>
                  <a:pt x="47" y="56"/>
                  <a:pt x="47" y="55"/>
                </a:cubicBezTo>
                <a:close/>
                <a:moveTo>
                  <a:pt x="45" y="10"/>
                </a:moveTo>
                <a:cubicBezTo>
                  <a:pt x="44" y="10"/>
                  <a:pt x="43" y="12"/>
                  <a:pt x="44" y="12"/>
                </a:cubicBezTo>
                <a:cubicBezTo>
                  <a:pt x="45" y="12"/>
                  <a:pt x="45" y="12"/>
                  <a:pt x="45" y="12"/>
                </a:cubicBezTo>
                <a:cubicBezTo>
                  <a:pt x="45" y="13"/>
                  <a:pt x="46" y="12"/>
                  <a:pt x="46" y="12"/>
                </a:cubicBezTo>
                <a:cubicBezTo>
                  <a:pt x="47" y="12"/>
                  <a:pt x="46" y="10"/>
                  <a:pt x="45" y="10"/>
                </a:cubicBezTo>
                <a:close/>
                <a:moveTo>
                  <a:pt x="32" y="60"/>
                </a:moveTo>
                <a:cubicBezTo>
                  <a:pt x="32" y="60"/>
                  <a:pt x="32" y="61"/>
                  <a:pt x="33" y="61"/>
                </a:cubicBezTo>
                <a:cubicBezTo>
                  <a:pt x="34" y="61"/>
                  <a:pt x="33" y="60"/>
                  <a:pt x="34" y="60"/>
                </a:cubicBezTo>
                <a:cubicBezTo>
                  <a:pt x="34" y="60"/>
                  <a:pt x="32" y="59"/>
                  <a:pt x="32" y="58"/>
                </a:cubicBezTo>
                <a:cubicBezTo>
                  <a:pt x="32" y="58"/>
                  <a:pt x="32" y="60"/>
                  <a:pt x="32" y="60"/>
                </a:cubicBezTo>
                <a:close/>
                <a:moveTo>
                  <a:pt x="69" y="52"/>
                </a:moveTo>
                <a:cubicBezTo>
                  <a:pt x="69" y="52"/>
                  <a:pt x="69" y="52"/>
                  <a:pt x="69" y="52"/>
                </a:cubicBezTo>
                <a:cubicBezTo>
                  <a:pt x="69" y="52"/>
                  <a:pt x="69" y="52"/>
                  <a:pt x="69" y="52"/>
                </a:cubicBezTo>
                <a:cubicBezTo>
                  <a:pt x="69" y="52"/>
                  <a:pt x="69" y="52"/>
                  <a:pt x="69" y="51"/>
                </a:cubicBezTo>
                <a:cubicBezTo>
                  <a:pt x="68" y="51"/>
                  <a:pt x="68" y="51"/>
                  <a:pt x="68" y="51"/>
                </a:cubicBezTo>
                <a:cubicBezTo>
                  <a:pt x="68" y="51"/>
                  <a:pt x="68" y="51"/>
                  <a:pt x="68" y="52"/>
                </a:cubicBezTo>
                <a:cubicBezTo>
                  <a:pt x="68" y="52"/>
                  <a:pt x="68" y="52"/>
                  <a:pt x="69" y="52"/>
                </a:cubicBezTo>
                <a:close/>
                <a:moveTo>
                  <a:pt x="54" y="47"/>
                </a:moveTo>
                <a:cubicBezTo>
                  <a:pt x="54" y="46"/>
                  <a:pt x="53" y="47"/>
                  <a:pt x="54" y="47"/>
                </a:cubicBezTo>
                <a:cubicBezTo>
                  <a:pt x="54" y="47"/>
                  <a:pt x="54" y="47"/>
                  <a:pt x="54" y="47"/>
                </a:cubicBezTo>
                <a:cubicBezTo>
                  <a:pt x="55" y="46"/>
                  <a:pt x="54" y="46"/>
                  <a:pt x="54" y="47"/>
                </a:cubicBezTo>
                <a:close/>
                <a:moveTo>
                  <a:pt x="70" y="53"/>
                </a:moveTo>
                <a:cubicBezTo>
                  <a:pt x="69" y="54"/>
                  <a:pt x="67" y="55"/>
                  <a:pt x="69" y="55"/>
                </a:cubicBezTo>
                <a:cubicBezTo>
                  <a:pt x="68" y="54"/>
                  <a:pt x="70" y="55"/>
                  <a:pt x="70" y="54"/>
                </a:cubicBezTo>
                <a:cubicBezTo>
                  <a:pt x="70" y="54"/>
                  <a:pt x="72" y="53"/>
                  <a:pt x="72" y="53"/>
                </a:cubicBezTo>
                <a:cubicBezTo>
                  <a:pt x="72" y="52"/>
                  <a:pt x="70" y="53"/>
                  <a:pt x="70" y="53"/>
                </a:cubicBezTo>
                <a:close/>
                <a:moveTo>
                  <a:pt x="77" y="57"/>
                </a:moveTo>
                <a:cubicBezTo>
                  <a:pt x="77" y="57"/>
                  <a:pt x="77" y="56"/>
                  <a:pt x="77" y="56"/>
                </a:cubicBezTo>
                <a:cubicBezTo>
                  <a:pt x="76" y="56"/>
                  <a:pt x="77" y="56"/>
                  <a:pt x="77" y="56"/>
                </a:cubicBezTo>
                <a:cubicBezTo>
                  <a:pt x="76" y="55"/>
                  <a:pt x="76" y="56"/>
                  <a:pt x="76" y="56"/>
                </a:cubicBezTo>
                <a:cubicBezTo>
                  <a:pt x="76" y="56"/>
                  <a:pt x="77" y="57"/>
                  <a:pt x="77" y="57"/>
                </a:cubicBezTo>
                <a:close/>
                <a:moveTo>
                  <a:pt x="39" y="43"/>
                </a:moveTo>
                <a:cubicBezTo>
                  <a:pt x="39" y="43"/>
                  <a:pt x="39" y="43"/>
                  <a:pt x="40" y="43"/>
                </a:cubicBezTo>
                <a:cubicBezTo>
                  <a:pt x="40" y="43"/>
                  <a:pt x="40" y="43"/>
                  <a:pt x="40" y="44"/>
                </a:cubicBezTo>
                <a:cubicBezTo>
                  <a:pt x="41" y="44"/>
                  <a:pt x="42" y="45"/>
                  <a:pt x="42" y="44"/>
                </a:cubicBezTo>
                <a:cubicBezTo>
                  <a:pt x="42" y="43"/>
                  <a:pt x="40" y="39"/>
                  <a:pt x="41" y="39"/>
                </a:cubicBezTo>
                <a:cubicBezTo>
                  <a:pt x="42" y="39"/>
                  <a:pt x="41" y="38"/>
                  <a:pt x="41" y="38"/>
                </a:cubicBezTo>
                <a:cubicBezTo>
                  <a:pt x="40" y="37"/>
                  <a:pt x="39" y="37"/>
                  <a:pt x="39" y="37"/>
                </a:cubicBezTo>
                <a:cubicBezTo>
                  <a:pt x="38" y="37"/>
                  <a:pt x="37" y="37"/>
                  <a:pt x="37" y="36"/>
                </a:cubicBezTo>
                <a:cubicBezTo>
                  <a:pt x="37" y="35"/>
                  <a:pt x="37" y="35"/>
                  <a:pt x="36" y="35"/>
                </a:cubicBezTo>
                <a:cubicBezTo>
                  <a:pt x="36" y="35"/>
                  <a:pt x="35" y="35"/>
                  <a:pt x="35" y="35"/>
                </a:cubicBezTo>
                <a:cubicBezTo>
                  <a:pt x="35" y="35"/>
                  <a:pt x="35" y="35"/>
                  <a:pt x="35" y="35"/>
                </a:cubicBezTo>
                <a:cubicBezTo>
                  <a:pt x="35" y="35"/>
                  <a:pt x="34" y="34"/>
                  <a:pt x="34" y="35"/>
                </a:cubicBezTo>
                <a:cubicBezTo>
                  <a:pt x="34" y="34"/>
                  <a:pt x="35" y="34"/>
                  <a:pt x="34" y="34"/>
                </a:cubicBezTo>
                <a:cubicBezTo>
                  <a:pt x="34" y="33"/>
                  <a:pt x="33" y="33"/>
                  <a:pt x="33" y="33"/>
                </a:cubicBezTo>
                <a:cubicBezTo>
                  <a:pt x="33" y="34"/>
                  <a:pt x="33" y="34"/>
                  <a:pt x="33" y="34"/>
                </a:cubicBezTo>
                <a:cubicBezTo>
                  <a:pt x="32" y="34"/>
                  <a:pt x="32" y="33"/>
                  <a:pt x="32" y="33"/>
                </a:cubicBezTo>
                <a:cubicBezTo>
                  <a:pt x="32" y="32"/>
                  <a:pt x="31" y="32"/>
                  <a:pt x="31" y="32"/>
                </a:cubicBezTo>
                <a:cubicBezTo>
                  <a:pt x="30" y="32"/>
                  <a:pt x="30" y="32"/>
                  <a:pt x="30" y="32"/>
                </a:cubicBezTo>
                <a:cubicBezTo>
                  <a:pt x="30" y="32"/>
                  <a:pt x="30" y="32"/>
                  <a:pt x="30" y="32"/>
                </a:cubicBezTo>
                <a:cubicBezTo>
                  <a:pt x="30" y="32"/>
                  <a:pt x="29" y="32"/>
                  <a:pt x="29" y="32"/>
                </a:cubicBezTo>
                <a:cubicBezTo>
                  <a:pt x="29" y="31"/>
                  <a:pt x="28" y="32"/>
                  <a:pt x="28" y="32"/>
                </a:cubicBezTo>
                <a:cubicBezTo>
                  <a:pt x="28" y="32"/>
                  <a:pt x="27" y="31"/>
                  <a:pt x="27" y="31"/>
                </a:cubicBezTo>
                <a:cubicBezTo>
                  <a:pt x="27" y="30"/>
                  <a:pt x="28" y="31"/>
                  <a:pt x="29" y="31"/>
                </a:cubicBezTo>
                <a:cubicBezTo>
                  <a:pt x="29" y="31"/>
                  <a:pt x="29" y="31"/>
                  <a:pt x="30" y="31"/>
                </a:cubicBezTo>
                <a:cubicBezTo>
                  <a:pt x="30" y="31"/>
                  <a:pt x="30" y="31"/>
                  <a:pt x="30" y="31"/>
                </a:cubicBezTo>
                <a:cubicBezTo>
                  <a:pt x="30" y="30"/>
                  <a:pt x="31" y="31"/>
                  <a:pt x="31" y="30"/>
                </a:cubicBezTo>
                <a:cubicBezTo>
                  <a:pt x="31" y="30"/>
                  <a:pt x="32" y="30"/>
                  <a:pt x="32" y="29"/>
                </a:cubicBezTo>
                <a:cubicBezTo>
                  <a:pt x="32" y="29"/>
                  <a:pt x="31" y="30"/>
                  <a:pt x="31" y="30"/>
                </a:cubicBezTo>
                <a:cubicBezTo>
                  <a:pt x="31" y="29"/>
                  <a:pt x="31" y="28"/>
                  <a:pt x="31" y="28"/>
                </a:cubicBezTo>
                <a:cubicBezTo>
                  <a:pt x="31" y="29"/>
                  <a:pt x="30" y="28"/>
                  <a:pt x="30" y="28"/>
                </a:cubicBezTo>
                <a:cubicBezTo>
                  <a:pt x="30" y="28"/>
                  <a:pt x="30" y="28"/>
                  <a:pt x="30" y="28"/>
                </a:cubicBezTo>
                <a:cubicBezTo>
                  <a:pt x="30" y="28"/>
                  <a:pt x="30" y="28"/>
                  <a:pt x="30" y="27"/>
                </a:cubicBezTo>
                <a:cubicBezTo>
                  <a:pt x="29" y="27"/>
                  <a:pt x="30" y="27"/>
                  <a:pt x="31" y="27"/>
                </a:cubicBezTo>
                <a:cubicBezTo>
                  <a:pt x="30" y="26"/>
                  <a:pt x="31" y="26"/>
                  <a:pt x="32" y="26"/>
                </a:cubicBezTo>
                <a:cubicBezTo>
                  <a:pt x="32" y="26"/>
                  <a:pt x="33" y="27"/>
                  <a:pt x="33" y="28"/>
                </a:cubicBezTo>
                <a:cubicBezTo>
                  <a:pt x="33" y="28"/>
                  <a:pt x="32" y="29"/>
                  <a:pt x="32" y="29"/>
                </a:cubicBezTo>
                <a:cubicBezTo>
                  <a:pt x="33" y="28"/>
                  <a:pt x="32" y="29"/>
                  <a:pt x="32" y="29"/>
                </a:cubicBezTo>
                <a:cubicBezTo>
                  <a:pt x="32" y="29"/>
                  <a:pt x="33" y="29"/>
                  <a:pt x="33" y="28"/>
                </a:cubicBezTo>
                <a:cubicBezTo>
                  <a:pt x="33" y="28"/>
                  <a:pt x="34" y="28"/>
                  <a:pt x="34" y="28"/>
                </a:cubicBezTo>
                <a:cubicBezTo>
                  <a:pt x="35" y="27"/>
                  <a:pt x="33" y="25"/>
                  <a:pt x="33" y="25"/>
                </a:cubicBezTo>
                <a:cubicBezTo>
                  <a:pt x="32" y="24"/>
                  <a:pt x="30" y="24"/>
                  <a:pt x="30" y="22"/>
                </a:cubicBezTo>
                <a:cubicBezTo>
                  <a:pt x="30" y="21"/>
                  <a:pt x="29" y="20"/>
                  <a:pt x="28" y="19"/>
                </a:cubicBezTo>
                <a:cubicBezTo>
                  <a:pt x="27" y="18"/>
                  <a:pt x="26" y="17"/>
                  <a:pt x="27" y="16"/>
                </a:cubicBezTo>
                <a:cubicBezTo>
                  <a:pt x="27" y="15"/>
                  <a:pt x="28" y="15"/>
                  <a:pt x="27" y="15"/>
                </a:cubicBezTo>
                <a:cubicBezTo>
                  <a:pt x="27" y="14"/>
                  <a:pt x="27" y="14"/>
                  <a:pt x="27" y="14"/>
                </a:cubicBezTo>
                <a:cubicBezTo>
                  <a:pt x="28" y="14"/>
                  <a:pt x="27" y="13"/>
                  <a:pt x="27" y="13"/>
                </a:cubicBezTo>
                <a:cubicBezTo>
                  <a:pt x="28" y="13"/>
                  <a:pt x="28" y="13"/>
                  <a:pt x="28" y="13"/>
                </a:cubicBezTo>
                <a:cubicBezTo>
                  <a:pt x="28" y="12"/>
                  <a:pt x="29" y="13"/>
                  <a:pt x="29" y="12"/>
                </a:cubicBezTo>
                <a:cubicBezTo>
                  <a:pt x="29" y="11"/>
                  <a:pt x="30" y="12"/>
                  <a:pt x="30" y="13"/>
                </a:cubicBezTo>
                <a:cubicBezTo>
                  <a:pt x="30" y="14"/>
                  <a:pt x="29" y="13"/>
                  <a:pt x="29" y="13"/>
                </a:cubicBezTo>
                <a:cubicBezTo>
                  <a:pt x="29" y="14"/>
                  <a:pt x="30" y="14"/>
                  <a:pt x="30" y="15"/>
                </a:cubicBezTo>
                <a:cubicBezTo>
                  <a:pt x="30" y="14"/>
                  <a:pt x="31" y="15"/>
                  <a:pt x="31" y="16"/>
                </a:cubicBezTo>
                <a:cubicBezTo>
                  <a:pt x="32" y="16"/>
                  <a:pt x="33" y="16"/>
                  <a:pt x="33" y="16"/>
                </a:cubicBezTo>
                <a:cubicBezTo>
                  <a:pt x="34" y="17"/>
                  <a:pt x="34" y="17"/>
                  <a:pt x="34" y="18"/>
                </a:cubicBezTo>
                <a:cubicBezTo>
                  <a:pt x="34" y="18"/>
                  <a:pt x="34" y="19"/>
                  <a:pt x="34" y="19"/>
                </a:cubicBezTo>
                <a:cubicBezTo>
                  <a:pt x="34" y="19"/>
                  <a:pt x="35" y="19"/>
                  <a:pt x="36" y="19"/>
                </a:cubicBezTo>
                <a:cubicBezTo>
                  <a:pt x="36" y="20"/>
                  <a:pt x="37" y="20"/>
                  <a:pt x="37" y="20"/>
                </a:cubicBezTo>
                <a:cubicBezTo>
                  <a:pt x="37" y="19"/>
                  <a:pt x="36" y="19"/>
                  <a:pt x="35" y="18"/>
                </a:cubicBezTo>
                <a:cubicBezTo>
                  <a:pt x="35" y="18"/>
                  <a:pt x="34" y="17"/>
                  <a:pt x="34" y="17"/>
                </a:cubicBezTo>
                <a:cubicBezTo>
                  <a:pt x="33" y="16"/>
                  <a:pt x="34" y="16"/>
                  <a:pt x="34" y="16"/>
                </a:cubicBezTo>
                <a:cubicBezTo>
                  <a:pt x="36" y="16"/>
                  <a:pt x="37" y="16"/>
                  <a:pt x="37" y="17"/>
                </a:cubicBezTo>
                <a:cubicBezTo>
                  <a:pt x="38" y="18"/>
                  <a:pt x="38" y="18"/>
                  <a:pt x="38" y="19"/>
                </a:cubicBezTo>
                <a:cubicBezTo>
                  <a:pt x="38" y="19"/>
                  <a:pt x="38" y="19"/>
                  <a:pt x="39" y="19"/>
                </a:cubicBezTo>
                <a:cubicBezTo>
                  <a:pt x="39" y="19"/>
                  <a:pt x="39" y="20"/>
                  <a:pt x="40" y="19"/>
                </a:cubicBezTo>
                <a:cubicBezTo>
                  <a:pt x="39" y="19"/>
                  <a:pt x="40" y="19"/>
                  <a:pt x="40" y="19"/>
                </a:cubicBezTo>
                <a:cubicBezTo>
                  <a:pt x="40" y="18"/>
                  <a:pt x="40" y="19"/>
                  <a:pt x="40" y="18"/>
                </a:cubicBezTo>
                <a:cubicBezTo>
                  <a:pt x="40" y="18"/>
                  <a:pt x="40" y="18"/>
                  <a:pt x="40" y="18"/>
                </a:cubicBezTo>
                <a:cubicBezTo>
                  <a:pt x="40" y="17"/>
                  <a:pt x="39" y="17"/>
                  <a:pt x="39" y="17"/>
                </a:cubicBezTo>
                <a:cubicBezTo>
                  <a:pt x="38" y="17"/>
                  <a:pt x="37" y="17"/>
                  <a:pt x="37" y="16"/>
                </a:cubicBezTo>
                <a:cubicBezTo>
                  <a:pt x="37" y="15"/>
                  <a:pt x="38" y="15"/>
                  <a:pt x="39" y="15"/>
                </a:cubicBezTo>
                <a:cubicBezTo>
                  <a:pt x="39" y="15"/>
                  <a:pt x="39" y="15"/>
                  <a:pt x="40" y="16"/>
                </a:cubicBezTo>
                <a:cubicBezTo>
                  <a:pt x="40" y="16"/>
                  <a:pt x="41" y="16"/>
                  <a:pt x="41" y="16"/>
                </a:cubicBezTo>
                <a:cubicBezTo>
                  <a:pt x="42" y="16"/>
                  <a:pt x="42" y="18"/>
                  <a:pt x="43" y="18"/>
                </a:cubicBezTo>
                <a:cubicBezTo>
                  <a:pt x="43" y="18"/>
                  <a:pt x="43" y="17"/>
                  <a:pt x="43" y="17"/>
                </a:cubicBezTo>
                <a:cubicBezTo>
                  <a:pt x="42" y="16"/>
                  <a:pt x="42" y="15"/>
                  <a:pt x="41" y="15"/>
                </a:cubicBezTo>
                <a:cubicBezTo>
                  <a:pt x="41" y="15"/>
                  <a:pt x="40" y="15"/>
                  <a:pt x="39" y="14"/>
                </a:cubicBezTo>
                <a:cubicBezTo>
                  <a:pt x="40" y="15"/>
                  <a:pt x="39" y="15"/>
                  <a:pt x="38" y="14"/>
                </a:cubicBezTo>
                <a:cubicBezTo>
                  <a:pt x="37" y="14"/>
                  <a:pt x="38" y="13"/>
                  <a:pt x="39" y="13"/>
                </a:cubicBezTo>
                <a:cubicBezTo>
                  <a:pt x="38" y="13"/>
                  <a:pt x="37" y="12"/>
                  <a:pt x="37" y="12"/>
                </a:cubicBezTo>
                <a:cubicBezTo>
                  <a:pt x="36" y="11"/>
                  <a:pt x="37" y="11"/>
                  <a:pt x="37" y="10"/>
                </a:cubicBezTo>
                <a:cubicBezTo>
                  <a:pt x="38" y="10"/>
                  <a:pt x="39" y="11"/>
                  <a:pt x="39" y="11"/>
                </a:cubicBezTo>
                <a:cubicBezTo>
                  <a:pt x="40" y="11"/>
                  <a:pt x="41" y="10"/>
                  <a:pt x="42" y="10"/>
                </a:cubicBezTo>
                <a:cubicBezTo>
                  <a:pt x="42" y="10"/>
                  <a:pt x="43" y="9"/>
                  <a:pt x="43" y="9"/>
                </a:cubicBezTo>
                <a:cubicBezTo>
                  <a:pt x="43" y="8"/>
                  <a:pt x="44" y="8"/>
                  <a:pt x="44" y="8"/>
                </a:cubicBezTo>
                <a:cubicBezTo>
                  <a:pt x="44" y="8"/>
                  <a:pt x="45" y="9"/>
                  <a:pt x="44" y="9"/>
                </a:cubicBezTo>
                <a:cubicBezTo>
                  <a:pt x="45" y="9"/>
                  <a:pt x="45" y="10"/>
                  <a:pt x="46" y="9"/>
                </a:cubicBezTo>
                <a:cubicBezTo>
                  <a:pt x="47" y="9"/>
                  <a:pt x="47" y="9"/>
                  <a:pt x="48" y="9"/>
                </a:cubicBezTo>
                <a:cubicBezTo>
                  <a:pt x="48" y="8"/>
                  <a:pt x="48" y="8"/>
                  <a:pt x="49" y="8"/>
                </a:cubicBezTo>
                <a:cubicBezTo>
                  <a:pt x="49" y="8"/>
                  <a:pt x="49" y="8"/>
                  <a:pt x="49" y="8"/>
                </a:cubicBezTo>
                <a:cubicBezTo>
                  <a:pt x="49" y="8"/>
                  <a:pt x="49" y="8"/>
                  <a:pt x="49" y="8"/>
                </a:cubicBezTo>
                <a:cubicBezTo>
                  <a:pt x="50" y="9"/>
                  <a:pt x="50" y="8"/>
                  <a:pt x="51" y="9"/>
                </a:cubicBezTo>
                <a:cubicBezTo>
                  <a:pt x="51" y="9"/>
                  <a:pt x="52" y="9"/>
                  <a:pt x="53" y="9"/>
                </a:cubicBezTo>
                <a:cubicBezTo>
                  <a:pt x="54" y="9"/>
                  <a:pt x="54" y="10"/>
                  <a:pt x="55" y="10"/>
                </a:cubicBezTo>
                <a:cubicBezTo>
                  <a:pt x="56" y="10"/>
                  <a:pt x="57" y="9"/>
                  <a:pt x="57" y="10"/>
                </a:cubicBezTo>
                <a:cubicBezTo>
                  <a:pt x="57" y="10"/>
                  <a:pt x="57" y="10"/>
                  <a:pt x="58" y="10"/>
                </a:cubicBezTo>
                <a:cubicBezTo>
                  <a:pt x="57" y="10"/>
                  <a:pt x="57" y="10"/>
                  <a:pt x="57" y="10"/>
                </a:cubicBezTo>
                <a:cubicBezTo>
                  <a:pt x="58" y="10"/>
                  <a:pt x="58" y="11"/>
                  <a:pt x="58" y="11"/>
                </a:cubicBezTo>
                <a:cubicBezTo>
                  <a:pt x="58" y="10"/>
                  <a:pt x="59" y="10"/>
                  <a:pt x="59" y="10"/>
                </a:cubicBezTo>
                <a:cubicBezTo>
                  <a:pt x="59" y="9"/>
                  <a:pt x="59" y="9"/>
                  <a:pt x="59" y="9"/>
                </a:cubicBezTo>
                <a:cubicBezTo>
                  <a:pt x="59" y="9"/>
                  <a:pt x="60" y="9"/>
                  <a:pt x="60" y="9"/>
                </a:cubicBezTo>
                <a:cubicBezTo>
                  <a:pt x="60" y="9"/>
                  <a:pt x="60" y="8"/>
                  <a:pt x="60" y="8"/>
                </a:cubicBezTo>
                <a:cubicBezTo>
                  <a:pt x="60" y="8"/>
                  <a:pt x="60" y="8"/>
                  <a:pt x="60" y="8"/>
                </a:cubicBezTo>
                <a:cubicBezTo>
                  <a:pt x="60" y="8"/>
                  <a:pt x="60" y="8"/>
                  <a:pt x="60" y="8"/>
                </a:cubicBezTo>
                <a:cubicBezTo>
                  <a:pt x="60" y="7"/>
                  <a:pt x="60" y="7"/>
                  <a:pt x="60" y="7"/>
                </a:cubicBezTo>
                <a:cubicBezTo>
                  <a:pt x="60" y="6"/>
                  <a:pt x="59" y="5"/>
                  <a:pt x="60" y="5"/>
                </a:cubicBezTo>
                <a:cubicBezTo>
                  <a:pt x="60" y="5"/>
                  <a:pt x="60" y="5"/>
                  <a:pt x="61" y="5"/>
                </a:cubicBezTo>
                <a:cubicBezTo>
                  <a:pt x="61" y="4"/>
                  <a:pt x="61" y="4"/>
                  <a:pt x="61" y="4"/>
                </a:cubicBezTo>
                <a:cubicBezTo>
                  <a:pt x="62" y="4"/>
                  <a:pt x="62" y="4"/>
                  <a:pt x="62" y="3"/>
                </a:cubicBezTo>
                <a:cubicBezTo>
                  <a:pt x="62" y="2"/>
                  <a:pt x="62" y="1"/>
                  <a:pt x="61" y="1"/>
                </a:cubicBezTo>
                <a:cubicBezTo>
                  <a:pt x="60" y="0"/>
                  <a:pt x="59" y="0"/>
                  <a:pt x="59" y="0"/>
                </a:cubicBezTo>
                <a:cubicBezTo>
                  <a:pt x="58" y="0"/>
                  <a:pt x="58" y="0"/>
                  <a:pt x="57" y="0"/>
                </a:cubicBezTo>
                <a:cubicBezTo>
                  <a:pt x="57" y="0"/>
                  <a:pt x="57" y="1"/>
                  <a:pt x="58" y="1"/>
                </a:cubicBezTo>
                <a:cubicBezTo>
                  <a:pt x="58" y="1"/>
                  <a:pt x="58" y="2"/>
                  <a:pt x="58" y="2"/>
                </a:cubicBezTo>
                <a:cubicBezTo>
                  <a:pt x="58" y="2"/>
                  <a:pt x="58" y="2"/>
                  <a:pt x="58" y="3"/>
                </a:cubicBezTo>
                <a:cubicBezTo>
                  <a:pt x="58" y="3"/>
                  <a:pt x="58" y="3"/>
                  <a:pt x="58" y="3"/>
                </a:cubicBezTo>
                <a:cubicBezTo>
                  <a:pt x="58" y="4"/>
                  <a:pt x="58" y="4"/>
                  <a:pt x="57" y="4"/>
                </a:cubicBezTo>
                <a:cubicBezTo>
                  <a:pt x="57" y="4"/>
                  <a:pt x="56" y="4"/>
                  <a:pt x="56" y="5"/>
                </a:cubicBezTo>
                <a:cubicBezTo>
                  <a:pt x="55" y="4"/>
                  <a:pt x="55" y="4"/>
                  <a:pt x="54" y="5"/>
                </a:cubicBezTo>
                <a:cubicBezTo>
                  <a:pt x="54" y="5"/>
                  <a:pt x="53" y="4"/>
                  <a:pt x="53" y="5"/>
                </a:cubicBezTo>
                <a:cubicBezTo>
                  <a:pt x="52" y="5"/>
                  <a:pt x="50" y="6"/>
                  <a:pt x="50" y="5"/>
                </a:cubicBezTo>
                <a:cubicBezTo>
                  <a:pt x="49" y="5"/>
                  <a:pt x="49" y="4"/>
                  <a:pt x="48" y="4"/>
                </a:cubicBezTo>
                <a:cubicBezTo>
                  <a:pt x="48" y="4"/>
                  <a:pt x="47" y="4"/>
                  <a:pt x="47" y="4"/>
                </a:cubicBezTo>
                <a:cubicBezTo>
                  <a:pt x="46" y="4"/>
                  <a:pt x="46" y="3"/>
                  <a:pt x="46" y="4"/>
                </a:cubicBezTo>
                <a:cubicBezTo>
                  <a:pt x="46" y="4"/>
                  <a:pt x="45" y="4"/>
                  <a:pt x="45" y="3"/>
                </a:cubicBezTo>
                <a:cubicBezTo>
                  <a:pt x="45" y="3"/>
                  <a:pt x="44" y="3"/>
                  <a:pt x="44" y="3"/>
                </a:cubicBezTo>
                <a:cubicBezTo>
                  <a:pt x="44" y="3"/>
                  <a:pt x="44" y="2"/>
                  <a:pt x="44" y="2"/>
                </a:cubicBezTo>
                <a:cubicBezTo>
                  <a:pt x="43" y="2"/>
                  <a:pt x="41" y="3"/>
                  <a:pt x="41" y="2"/>
                </a:cubicBezTo>
                <a:cubicBezTo>
                  <a:pt x="41" y="2"/>
                  <a:pt x="41" y="2"/>
                  <a:pt x="41" y="2"/>
                </a:cubicBezTo>
                <a:cubicBezTo>
                  <a:pt x="40" y="2"/>
                  <a:pt x="40" y="2"/>
                  <a:pt x="40" y="2"/>
                </a:cubicBezTo>
                <a:cubicBezTo>
                  <a:pt x="39" y="2"/>
                  <a:pt x="40" y="3"/>
                  <a:pt x="39" y="3"/>
                </a:cubicBezTo>
                <a:cubicBezTo>
                  <a:pt x="39" y="3"/>
                  <a:pt x="39" y="3"/>
                  <a:pt x="39" y="3"/>
                </a:cubicBezTo>
                <a:cubicBezTo>
                  <a:pt x="38" y="3"/>
                  <a:pt x="38" y="3"/>
                  <a:pt x="38" y="3"/>
                </a:cubicBezTo>
                <a:cubicBezTo>
                  <a:pt x="38" y="3"/>
                  <a:pt x="38" y="3"/>
                  <a:pt x="38" y="3"/>
                </a:cubicBezTo>
                <a:cubicBezTo>
                  <a:pt x="37" y="3"/>
                  <a:pt x="37" y="3"/>
                  <a:pt x="36" y="4"/>
                </a:cubicBezTo>
                <a:cubicBezTo>
                  <a:pt x="35" y="4"/>
                  <a:pt x="35" y="3"/>
                  <a:pt x="34" y="3"/>
                </a:cubicBezTo>
                <a:cubicBezTo>
                  <a:pt x="34" y="4"/>
                  <a:pt x="33" y="4"/>
                  <a:pt x="33" y="4"/>
                </a:cubicBezTo>
                <a:cubicBezTo>
                  <a:pt x="32" y="3"/>
                  <a:pt x="32" y="4"/>
                  <a:pt x="32" y="4"/>
                </a:cubicBezTo>
                <a:cubicBezTo>
                  <a:pt x="31" y="5"/>
                  <a:pt x="30" y="4"/>
                  <a:pt x="29" y="4"/>
                </a:cubicBezTo>
                <a:cubicBezTo>
                  <a:pt x="28" y="4"/>
                  <a:pt x="28" y="4"/>
                  <a:pt x="28" y="5"/>
                </a:cubicBezTo>
                <a:cubicBezTo>
                  <a:pt x="28" y="5"/>
                  <a:pt x="28" y="6"/>
                  <a:pt x="28" y="6"/>
                </a:cubicBezTo>
                <a:cubicBezTo>
                  <a:pt x="28" y="7"/>
                  <a:pt x="27" y="6"/>
                  <a:pt x="27" y="6"/>
                </a:cubicBezTo>
                <a:cubicBezTo>
                  <a:pt x="27" y="6"/>
                  <a:pt x="27" y="7"/>
                  <a:pt x="26" y="7"/>
                </a:cubicBezTo>
                <a:cubicBezTo>
                  <a:pt x="25" y="7"/>
                  <a:pt x="24" y="6"/>
                  <a:pt x="23" y="6"/>
                </a:cubicBezTo>
                <a:cubicBezTo>
                  <a:pt x="22" y="7"/>
                  <a:pt x="22" y="6"/>
                  <a:pt x="22" y="6"/>
                </a:cubicBezTo>
                <a:cubicBezTo>
                  <a:pt x="21" y="6"/>
                  <a:pt x="21" y="7"/>
                  <a:pt x="20" y="7"/>
                </a:cubicBezTo>
                <a:cubicBezTo>
                  <a:pt x="20" y="8"/>
                  <a:pt x="20" y="8"/>
                  <a:pt x="20" y="8"/>
                </a:cubicBezTo>
                <a:cubicBezTo>
                  <a:pt x="19" y="8"/>
                  <a:pt x="20" y="9"/>
                  <a:pt x="19" y="9"/>
                </a:cubicBezTo>
                <a:cubicBezTo>
                  <a:pt x="19" y="9"/>
                  <a:pt x="19" y="9"/>
                  <a:pt x="18" y="9"/>
                </a:cubicBezTo>
                <a:cubicBezTo>
                  <a:pt x="17" y="9"/>
                  <a:pt x="17" y="9"/>
                  <a:pt x="16" y="9"/>
                </a:cubicBezTo>
                <a:cubicBezTo>
                  <a:pt x="16" y="9"/>
                  <a:pt x="15" y="10"/>
                  <a:pt x="15" y="9"/>
                </a:cubicBezTo>
                <a:cubicBezTo>
                  <a:pt x="14" y="9"/>
                  <a:pt x="13" y="9"/>
                  <a:pt x="13" y="9"/>
                </a:cubicBezTo>
                <a:cubicBezTo>
                  <a:pt x="12" y="9"/>
                  <a:pt x="12" y="10"/>
                  <a:pt x="12" y="10"/>
                </a:cubicBezTo>
                <a:cubicBezTo>
                  <a:pt x="12" y="11"/>
                  <a:pt x="13" y="11"/>
                  <a:pt x="13" y="12"/>
                </a:cubicBezTo>
                <a:cubicBezTo>
                  <a:pt x="13" y="12"/>
                  <a:pt x="13" y="13"/>
                  <a:pt x="12" y="13"/>
                </a:cubicBezTo>
                <a:cubicBezTo>
                  <a:pt x="12" y="14"/>
                  <a:pt x="11" y="13"/>
                  <a:pt x="11" y="14"/>
                </a:cubicBezTo>
                <a:cubicBezTo>
                  <a:pt x="11" y="15"/>
                  <a:pt x="10" y="15"/>
                  <a:pt x="10" y="16"/>
                </a:cubicBezTo>
                <a:cubicBezTo>
                  <a:pt x="10" y="16"/>
                  <a:pt x="10" y="17"/>
                  <a:pt x="10" y="17"/>
                </a:cubicBezTo>
                <a:cubicBezTo>
                  <a:pt x="10" y="17"/>
                  <a:pt x="10" y="18"/>
                  <a:pt x="10" y="18"/>
                </a:cubicBezTo>
                <a:cubicBezTo>
                  <a:pt x="9" y="18"/>
                  <a:pt x="9" y="18"/>
                  <a:pt x="8" y="18"/>
                </a:cubicBezTo>
                <a:cubicBezTo>
                  <a:pt x="8" y="18"/>
                  <a:pt x="8" y="18"/>
                  <a:pt x="7" y="19"/>
                </a:cubicBezTo>
                <a:cubicBezTo>
                  <a:pt x="7" y="19"/>
                  <a:pt x="7" y="19"/>
                  <a:pt x="7" y="19"/>
                </a:cubicBezTo>
                <a:cubicBezTo>
                  <a:pt x="7" y="19"/>
                  <a:pt x="7" y="20"/>
                  <a:pt x="8" y="20"/>
                </a:cubicBezTo>
                <a:cubicBezTo>
                  <a:pt x="8" y="22"/>
                  <a:pt x="6" y="20"/>
                  <a:pt x="7" y="22"/>
                </a:cubicBezTo>
                <a:cubicBezTo>
                  <a:pt x="7" y="22"/>
                  <a:pt x="6" y="23"/>
                  <a:pt x="6" y="23"/>
                </a:cubicBezTo>
                <a:cubicBezTo>
                  <a:pt x="5" y="23"/>
                  <a:pt x="5" y="22"/>
                  <a:pt x="4" y="22"/>
                </a:cubicBezTo>
                <a:cubicBezTo>
                  <a:pt x="5" y="22"/>
                  <a:pt x="5" y="23"/>
                  <a:pt x="6" y="23"/>
                </a:cubicBezTo>
                <a:cubicBezTo>
                  <a:pt x="6" y="24"/>
                  <a:pt x="5" y="24"/>
                  <a:pt x="5" y="24"/>
                </a:cubicBezTo>
                <a:cubicBezTo>
                  <a:pt x="6" y="24"/>
                  <a:pt x="6" y="24"/>
                  <a:pt x="6" y="24"/>
                </a:cubicBezTo>
                <a:cubicBezTo>
                  <a:pt x="6" y="24"/>
                  <a:pt x="6" y="24"/>
                  <a:pt x="6" y="24"/>
                </a:cubicBezTo>
                <a:cubicBezTo>
                  <a:pt x="6" y="24"/>
                  <a:pt x="6" y="24"/>
                  <a:pt x="6" y="24"/>
                </a:cubicBezTo>
                <a:cubicBezTo>
                  <a:pt x="7" y="24"/>
                  <a:pt x="6" y="24"/>
                  <a:pt x="6" y="24"/>
                </a:cubicBezTo>
                <a:cubicBezTo>
                  <a:pt x="7" y="25"/>
                  <a:pt x="6" y="25"/>
                  <a:pt x="6" y="25"/>
                </a:cubicBezTo>
                <a:cubicBezTo>
                  <a:pt x="6" y="25"/>
                  <a:pt x="7" y="26"/>
                  <a:pt x="7" y="27"/>
                </a:cubicBezTo>
                <a:cubicBezTo>
                  <a:pt x="8" y="27"/>
                  <a:pt x="8" y="27"/>
                  <a:pt x="8" y="27"/>
                </a:cubicBezTo>
                <a:cubicBezTo>
                  <a:pt x="9" y="27"/>
                  <a:pt x="9" y="27"/>
                  <a:pt x="9" y="28"/>
                </a:cubicBezTo>
                <a:cubicBezTo>
                  <a:pt x="9" y="28"/>
                  <a:pt x="11" y="29"/>
                  <a:pt x="11" y="30"/>
                </a:cubicBezTo>
                <a:cubicBezTo>
                  <a:pt x="11" y="30"/>
                  <a:pt x="11" y="30"/>
                  <a:pt x="11" y="30"/>
                </a:cubicBezTo>
                <a:cubicBezTo>
                  <a:pt x="11" y="30"/>
                  <a:pt x="12" y="30"/>
                  <a:pt x="12" y="30"/>
                </a:cubicBezTo>
                <a:cubicBezTo>
                  <a:pt x="12" y="30"/>
                  <a:pt x="11" y="30"/>
                  <a:pt x="11" y="30"/>
                </a:cubicBezTo>
                <a:cubicBezTo>
                  <a:pt x="11" y="29"/>
                  <a:pt x="12" y="29"/>
                  <a:pt x="11" y="29"/>
                </a:cubicBezTo>
                <a:cubicBezTo>
                  <a:pt x="11" y="29"/>
                  <a:pt x="12" y="29"/>
                  <a:pt x="12" y="29"/>
                </a:cubicBezTo>
                <a:cubicBezTo>
                  <a:pt x="12" y="29"/>
                  <a:pt x="12" y="30"/>
                  <a:pt x="12" y="29"/>
                </a:cubicBezTo>
                <a:cubicBezTo>
                  <a:pt x="12" y="29"/>
                  <a:pt x="13" y="29"/>
                  <a:pt x="13" y="29"/>
                </a:cubicBezTo>
                <a:cubicBezTo>
                  <a:pt x="13" y="29"/>
                  <a:pt x="14" y="30"/>
                  <a:pt x="14" y="30"/>
                </a:cubicBezTo>
                <a:cubicBezTo>
                  <a:pt x="13" y="29"/>
                  <a:pt x="15" y="29"/>
                  <a:pt x="15" y="30"/>
                </a:cubicBezTo>
                <a:cubicBezTo>
                  <a:pt x="15" y="30"/>
                  <a:pt x="15" y="31"/>
                  <a:pt x="15" y="31"/>
                </a:cubicBezTo>
                <a:cubicBezTo>
                  <a:pt x="15" y="31"/>
                  <a:pt x="14" y="30"/>
                  <a:pt x="14" y="31"/>
                </a:cubicBezTo>
                <a:cubicBezTo>
                  <a:pt x="14" y="31"/>
                  <a:pt x="14" y="30"/>
                  <a:pt x="13" y="30"/>
                </a:cubicBezTo>
                <a:cubicBezTo>
                  <a:pt x="13" y="30"/>
                  <a:pt x="12" y="31"/>
                  <a:pt x="12" y="30"/>
                </a:cubicBezTo>
                <a:cubicBezTo>
                  <a:pt x="12" y="31"/>
                  <a:pt x="11" y="31"/>
                  <a:pt x="11" y="30"/>
                </a:cubicBezTo>
                <a:cubicBezTo>
                  <a:pt x="11" y="31"/>
                  <a:pt x="11" y="31"/>
                  <a:pt x="12" y="31"/>
                </a:cubicBezTo>
                <a:cubicBezTo>
                  <a:pt x="11" y="31"/>
                  <a:pt x="11" y="33"/>
                  <a:pt x="12" y="32"/>
                </a:cubicBezTo>
                <a:cubicBezTo>
                  <a:pt x="12" y="32"/>
                  <a:pt x="13" y="32"/>
                  <a:pt x="13" y="33"/>
                </a:cubicBezTo>
                <a:cubicBezTo>
                  <a:pt x="13" y="34"/>
                  <a:pt x="13" y="33"/>
                  <a:pt x="13" y="33"/>
                </a:cubicBezTo>
                <a:cubicBezTo>
                  <a:pt x="14" y="34"/>
                  <a:pt x="14" y="34"/>
                  <a:pt x="14" y="34"/>
                </a:cubicBezTo>
                <a:cubicBezTo>
                  <a:pt x="14" y="34"/>
                  <a:pt x="14" y="35"/>
                  <a:pt x="14" y="35"/>
                </a:cubicBezTo>
                <a:cubicBezTo>
                  <a:pt x="14" y="35"/>
                  <a:pt x="14" y="35"/>
                  <a:pt x="14" y="35"/>
                </a:cubicBezTo>
                <a:cubicBezTo>
                  <a:pt x="15" y="35"/>
                  <a:pt x="14" y="36"/>
                  <a:pt x="15" y="36"/>
                </a:cubicBezTo>
                <a:cubicBezTo>
                  <a:pt x="15" y="36"/>
                  <a:pt x="15" y="36"/>
                  <a:pt x="14" y="36"/>
                </a:cubicBezTo>
                <a:cubicBezTo>
                  <a:pt x="14" y="36"/>
                  <a:pt x="15" y="37"/>
                  <a:pt x="15" y="37"/>
                </a:cubicBezTo>
                <a:cubicBezTo>
                  <a:pt x="14" y="37"/>
                  <a:pt x="15" y="37"/>
                  <a:pt x="14" y="37"/>
                </a:cubicBezTo>
                <a:cubicBezTo>
                  <a:pt x="15" y="37"/>
                  <a:pt x="15" y="38"/>
                  <a:pt x="15" y="37"/>
                </a:cubicBezTo>
                <a:cubicBezTo>
                  <a:pt x="16" y="37"/>
                  <a:pt x="16" y="37"/>
                  <a:pt x="16" y="37"/>
                </a:cubicBezTo>
                <a:cubicBezTo>
                  <a:pt x="16" y="37"/>
                  <a:pt x="17" y="37"/>
                  <a:pt x="17" y="36"/>
                </a:cubicBezTo>
                <a:cubicBezTo>
                  <a:pt x="17" y="36"/>
                  <a:pt x="16" y="36"/>
                  <a:pt x="16" y="35"/>
                </a:cubicBezTo>
                <a:cubicBezTo>
                  <a:pt x="16" y="35"/>
                  <a:pt x="17" y="36"/>
                  <a:pt x="17" y="36"/>
                </a:cubicBezTo>
                <a:cubicBezTo>
                  <a:pt x="18" y="37"/>
                  <a:pt x="17" y="37"/>
                  <a:pt x="18" y="37"/>
                </a:cubicBezTo>
                <a:cubicBezTo>
                  <a:pt x="18" y="37"/>
                  <a:pt x="18" y="37"/>
                  <a:pt x="18" y="37"/>
                </a:cubicBezTo>
                <a:cubicBezTo>
                  <a:pt x="19" y="37"/>
                  <a:pt x="20" y="36"/>
                  <a:pt x="20" y="37"/>
                </a:cubicBezTo>
                <a:cubicBezTo>
                  <a:pt x="21" y="37"/>
                  <a:pt x="21" y="37"/>
                  <a:pt x="21" y="37"/>
                </a:cubicBezTo>
                <a:cubicBezTo>
                  <a:pt x="21" y="36"/>
                  <a:pt x="22" y="37"/>
                  <a:pt x="22" y="37"/>
                </a:cubicBezTo>
                <a:cubicBezTo>
                  <a:pt x="22" y="36"/>
                  <a:pt x="23" y="36"/>
                  <a:pt x="24" y="37"/>
                </a:cubicBezTo>
                <a:cubicBezTo>
                  <a:pt x="24" y="37"/>
                  <a:pt x="24" y="37"/>
                  <a:pt x="25" y="37"/>
                </a:cubicBezTo>
                <a:cubicBezTo>
                  <a:pt x="25" y="37"/>
                  <a:pt x="26" y="37"/>
                  <a:pt x="26" y="37"/>
                </a:cubicBezTo>
                <a:cubicBezTo>
                  <a:pt x="27" y="37"/>
                  <a:pt x="26" y="36"/>
                  <a:pt x="26" y="36"/>
                </a:cubicBezTo>
                <a:cubicBezTo>
                  <a:pt x="27" y="36"/>
                  <a:pt x="27" y="37"/>
                  <a:pt x="28" y="37"/>
                </a:cubicBezTo>
                <a:cubicBezTo>
                  <a:pt x="28" y="38"/>
                  <a:pt x="28" y="37"/>
                  <a:pt x="28" y="37"/>
                </a:cubicBezTo>
                <a:cubicBezTo>
                  <a:pt x="28" y="37"/>
                  <a:pt x="28" y="37"/>
                  <a:pt x="28" y="37"/>
                </a:cubicBezTo>
                <a:cubicBezTo>
                  <a:pt x="29" y="36"/>
                  <a:pt x="29" y="37"/>
                  <a:pt x="29" y="37"/>
                </a:cubicBezTo>
                <a:cubicBezTo>
                  <a:pt x="29" y="38"/>
                  <a:pt x="30" y="37"/>
                  <a:pt x="30" y="38"/>
                </a:cubicBezTo>
                <a:cubicBezTo>
                  <a:pt x="30" y="38"/>
                  <a:pt x="30" y="38"/>
                  <a:pt x="30" y="38"/>
                </a:cubicBezTo>
                <a:cubicBezTo>
                  <a:pt x="30" y="38"/>
                  <a:pt x="30" y="38"/>
                  <a:pt x="30" y="38"/>
                </a:cubicBezTo>
                <a:cubicBezTo>
                  <a:pt x="31" y="38"/>
                  <a:pt x="31" y="39"/>
                  <a:pt x="31" y="39"/>
                </a:cubicBezTo>
                <a:cubicBezTo>
                  <a:pt x="31" y="39"/>
                  <a:pt x="31" y="38"/>
                  <a:pt x="31" y="38"/>
                </a:cubicBezTo>
                <a:cubicBezTo>
                  <a:pt x="31" y="38"/>
                  <a:pt x="32" y="38"/>
                  <a:pt x="32" y="39"/>
                </a:cubicBezTo>
                <a:cubicBezTo>
                  <a:pt x="32" y="39"/>
                  <a:pt x="33" y="38"/>
                  <a:pt x="33" y="39"/>
                </a:cubicBezTo>
                <a:cubicBezTo>
                  <a:pt x="33" y="39"/>
                  <a:pt x="34" y="39"/>
                  <a:pt x="34" y="39"/>
                </a:cubicBezTo>
                <a:cubicBezTo>
                  <a:pt x="34" y="39"/>
                  <a:pt x="34" y="39"/>
                  <a:pt x="33" y="39"/>
                </a:cubicBezTo>
                <a:cubicBezTo>
                  <a:pt x="34" y="39"/>
                  <a:pt x="34" y="39"/>
                  <a:pt x="34" y="40"/>
                </a:cubicBezTo>
                <a:cubicBezTo>
                  <a:pt x="34" y="40"/>
                  <a:pt x="33" y="40"/>
                  <a:pt x="33" y="40"/>
                </a:cubicBezTo>
                <a:cubicBezTo>
                  <a:pt x="32" y="40"/>
                  <a:pt x="31" y="40"/>
                  <a:pt x="31" y="40"/>
                </a:cubicBezTo>
                <a:cubicBezTo>
                  <a:pt x="31" y="40"/>
                  <a:pt x="32" y="41"/>
                  <a:pt x="31" y="41"/>
                </a:cubicBezTo>
                <a:cubicBezTo>
                  <a:pt x="31" y="42"/>
                  <a:pt x="30" y="41"/>
                  <a:pt x="30" y="41"/>
                </a:cubicBezTo>
                <a:cubicBezTo>
                  <a:pt x="29" y="40"/>
                  <a:pt x="28" y="39"/>
                  <a:pt x="27" y="39"/>
                </a:cubicBezTo>
                <a:cubicBezTo>
                  <a:pt x="27" y="39"/>
                  <a:pt x="26" y="39"/>
                  <a:pt x="26" y="39"/>
                </a:cubicBezTo>
                <a:cubicBezTo>
                  <a:pt x="25" y="39"/>
                  <a:pt x="25" y="39"/>
                  <a:pt x="24" y="38"/>
                </a:cubicBezTo>
                <a:cubicBezTo>
                  <a:pt x="24" y="38"/>
                  <a:pt x="23" y="37"/>
                  <a:pt x="22" y="37"/>
                </a:cubicBezTo>
                <a:cubicBezTo>
                  <a:pt x="21" y="37"/>
                  <a:pt x="20" y="38"/>
                  <a:pt x="20" y="38"/>
                </a:cubicBezTo>
                <a:cubicBezTo>
                  <a:pt x="20" y="39"/>
                  <a:pt x="19" y="39"/>
                  <a:pt x="19" y="39"/>
                </a:cubicBezTo>
                <a:cubicBezTo>
                  <a:pt x="18" y="39"/>
                  <a:pt x="18" y="39"/>
                  <a:pt x="18" y="38"/>
                </a:cubicBezTo>
                <a:cubicBezTo>
                  <a:pt x="17" y="38"/>
                  <a:pt x="17" y="38"/>
                  <a:pt x="17" y="39"/>
                </a:cubicBezTo>
                <a:cubicBezTo>
                  <a:pt x="17" y="39"/>
                  <a:pt x="17" y="38"/>
                  <a:pt x="17" y="38"/>
                </a:cubicBezTo>
                <a:cubicBezTo>
                  <a:pt x="17" y="39"/>
                  <a:pt x="17" y="39"/>
                  <a:pt x="17" y="40"/>
                </a:cubicBezTo>
                <a:cubicBezTo>
                  <a:pt x="17" y="40"/>
                  <a:pt x="17" y="40"/>
                  <a:pt x="16" y="41"/>
                </a:cubicBezTo>
                <a:cubicBezTo>
                  <a:pt x="17" y="40"/>
                  <a:pt x="17" y="40"/>
                  <a:pt x="17" y="40"/>
                </a:cubicBezTo>
                <a:cubicBezTo>
                  <a:pt x="17" y="41"/>
                  <a:pt x="16" y="41"/>
                  <a:pt x="15" y="41"/>
                </a:cubicBezTo>
                <a:cubicBezTo>
                  <a:pt x="15" y="42"/>
                  <a:pt x="15" y="42"/>
                  <a:pt x="15" y="42"/>
                </a:cubicBezTo>
                <a:cubicBezTo>
                  <a:pt x="15" y="43"/>
                  <a:pt x="16" y="43"/>
                  <a:pt x="16" y="43"/>
                </a:cubicBezTo>
                <a:cubicBezTo>
                  <a:pt x="17" y="43"/>
                  <a:pt x="17" y="44"/>
                  <a:pt x="17" y="45"/>
                </a:cubicBezTo>
                <a:cubicBezTo>
                  <a:pt x="17" y="44"/>
                  <a:pt x="19" y="45"/>
                  <a:pt x="19" y="46"/>
                </a:cubicBezTo>
                <a:cubicBezTo>
                  <a:pt x="19" y="46"/>
                  <a:pt x="20" y="47"/>
                  <a:pt x="20" y="48"/>
                </a:cubicBezTo>
                <a:cubicBezTo>
                  <a:pt x="21" y="49"/>
                  <a:pt x="20" y="49"/>
                  <a:pt x="19" y="50"/>
                </a:cubicBezTo>
                <a:cubicBezTo>
                  <a:pt x="19" y="51"/>
                  <a:pt x="20" y="51"/>
                  <a:pt x="20" y="52"/>
                </a:cubicBezTo>
                <a:cubicBezTo>
                  <a:pt x="20" y="52"/>
                  <a:pt x="21" y="52"/>
                  <a:pt x="21" y="53"/>
                </a:cubicBezTo>
                <a:cubicBezTo>
                  <a:pt x="21" y="53"/>
                  <a:pt x="21" y="54"/>
                  <a:pt x="21" y="54"/>
                </a:cubicBezTo>
                <a:cubicBezTo>
                  <a:pt x="21" y="54"/>
                  <a:pt x="22" y="54"/>
                  <a:pt x="22" y="54"/>
                </a:cubicBezTo>
                <a:cubicBezTo>
                  <a:pt x="22" y="54"/>
                  <a:pt x="22" y="54"/>
                  <a:pt x="22" y="55"/>
                </a:cubicBezTo>
                <a:cubicBezTo>
                  <a:pt x="23" y="55"/>
                  <a:pt x="23" y="54"/>
                  <a:pt x="23" y="54"/>
                </a:cubicBezTo>
                <a:cubicBezTo>
                  <a:pt x="23" y="54"/>
                  <a:pt x="23" y="53"/>
                  <a:pt x="23" y="52"/>
                </a:cubicBezTo>
                <a:cubicBezTo>
                  <a:pt x="23" y="52"/>
                  <a:pt x="23" y="51"/>
                  <a:pt x="24" y="51"/>
                </a:cubicBezTo>
                <a:cubicBezTo>
                  <a:pt x="25" y="51"/>
                  <a:pt x="25" y="52"/>
                  <a:pt x="25" y="52"/>
                </a:cubicBezTo>
                <a:cubicBezTo>
                  <a:pt x="25" y="53"/>
                  <a:pt x="25" y="53"/>
                  <a:pt x="26" y="53"/>
                </a:cubicBezTo>
                <a:cubicBezTo>
                  <a:pt x="26" y="54"/>
                  <a:pt x="26" y="54"/>
                  <a:pt x="27" y="55"/>
                </a:cubicBezTo>
                <a:cubicBezTo>
                  <a:pt x="27" y="55"/>
                  <a:pt x="27" y="56"/>
                  <a:pt x="27" y="56"/>
                </a:cubicBezTo>
                <a:cubicBezTo>
                  <a:pt x="27" y="57"/>
                  <a:pt x="27" y="57"/>
                  <a:pt x="27" y="57"/>
                </a:cubicBezTo>
                <a:cubicBezTo>
                  <a:pt x="28" y="58"/>
                  <a:pt x="28" y="58"/>
                  <a:pt x="28" y="58"/>
                </a:cubicBezTo>
                <a:cubicBezTo>
                  <a:pt x="28" y="58"/>
                  <a:pt x="28" y="57"/>
                  <a:pt x="28" y="57"/>
                </a:cubicBezTo>
                <a:cubicBezTo>
                  <a:pt x="28" y="56"/>
                  <a:pt x="28" y="56"/>
                  <a:pt x="28" y="56"/>
                </a:cubicBezTo>
                <a:cubicBezTo>
                  <a:pt x="28" y="56"/>
                  <a:pt x="28" y="55"/>
                  <a:pt x="28" y="55"/>
                </a:cubicBezTo>
                <a:cubicBezTo>
                  <a:pt x="28" y="55"/>
                  <a:pt x="28" y="55"/>
                  <a:pt x="28" y="55"/>
                </a:cubicBezTo>
                <a:cubicBezTo>
                  <a:pt x="29" y="55"/>
                  <a:pt x="28" y="55"/>
                  <a:pt x="28" y="55"/>
                </a:cubicBezTo>
                <a:cubicBezTo>
                  <a:pt x="28" y="55"/>
                  <a:pt x="29" y="55"/>
                  <a:pt x="29" y="54"/>
                </a:cubicBezTo>
                <a:cubicBezTo>
                  <a:pt x="29" y="54"/>
                  <a:pt x="29" y="54"/>
                  <a:pt x="29" y="54"/>
                </a:cubicBezTo>
                <a:cubicBezTo>
                  <a:pt x="29" y="54"/>
                  <a:pt x="30" y="54"/>
                  <a:pt x="31" y="54"/>
                </a:cubicBezTo>
                <a:cubicBezTo>
                  <a:pt x="31" y="54"/>
                  <a:pt x="31" y="55"/>
                  <a:pt x="31" y="55"/>
                </a:cubicBezTo>
                <a:cubicBezTo>
                  <a:pt x="31" y="55"/>
                  <a:pt x="32" y="56"/>
                  <a:pt x="32" y="56"/>
                </a:cubicBezTo>
                <a:cubicBezTo>
                  <a:pt x="32" y="56"/>
                  <a:pt x="32" y="57"/>
                  <a:pt x="33" y="57"/>
                </a:cubicBezTo>
                <a:cubicBezTo>
                  <a:pt x="33" y="57"/>
                  <a:pt x="33" y="57"/>
                  <a:pt x="33" y="57"/>
                </a:cubicBezTo>
                <a:cubicBezTo>
                  <a:pt x="34" y="58"/>
                  <a:pt x="34" y="58"/>
                  <a:pt x="34" y="58"/>
                </a:cubicBezTo>
                <a:cubicBezTo>
                  <a:pt x="35" y="58"/>
                  <a:pt x="35" y="58"/>
                  <a:pt x="34" y="57"/>
                </a:cubicBezTo>
                <a:cubicBezTo>
                  <a:pt x="34" y="57"/>
                  <a:pt x="34" y="57"/>
                  <a:pt x="34" y="57"/>
                </a:cubicBezTo>
                <a:cubicBezTo>
                  <a:pt x="33" y="56"/>
                  <a:pt x="32" y="56"/>
                  <a:pt x="33" y="55"/>
                </a:cubicBezTo>
                <a:cubicBezTo>
                  <a:pt x="32" y="55"/>
                  <a:pt x="33" y="55"/>
                  <a:pt x="33" y="54"/>
                </a:cubicBezTo>
                <a:cubicBezTo>
                  <a:pt x="34" y="54"/>
                  <a:pt x="33" y="53"/>
                  <a:pt x="33" y="53"/>
                </a:cubicBezTo>
                <a:cubicBezTo>
                  <a:pt x="33" y="52"/>
                  <a:pt x="33" y="52"/>
                  <a:pt x="32" y="51"/>
                </a:cubicBezTo>
                <a:cubicBezTo>
                  <a:pt x="32" y="50"/>
                  <a:pt x="31" y="50"/>
                  <a:pt x="31" y="50"/>
                </a:cubicBezTo>
                <a:cubicBezTo>
                  <a:pt x="32" y="49"/>
                  <a:pt x="29" y="47"/>
                  <a:pt x="30" y="45"/>
                </a:cubicBezTo>
                <a:cubicBezTo>
                  <a:pt x="30" y="45"/>
                  <a:pt x="31" y="46"/>
                  <a:pt x="31" y="46"/>
                </a:cubicBezTo>
                <a:cubicBezTo>
                  <a:pt x="31" y="46"/>
                  <a:pt x="32" y="46"/>
                  <a:pt x="32" y="47"/>
                </a:cubicBezTo>
                <a:cubicBezTo>
                  <a:pt x="33" y="46"/>
                  <a:pt x="33" y="47"/>
                  <a:pt x="33" y="47"/>
                </a:cubicBezTo>
                <a:cubicBezTo>
                  <a:pt x="33" y="47"/>
                  <a:pt x="33" y="47"/>
                  <a:pt x="33" y="47"/>
                </a:cubicBezTo>
                <a:cubicBezTo>
                  <a:pt x="33" y="47"/>
                  <a:pt x="33" y="47"/>
                  <a:pt x="33" y="48"/>
                </a:cubicBezTo>
                <a:cubicBezTo>
                  <a:pt x="33" y="48"/>
                  <a:pt x="33" y="48"/>
                  <a:pt x="33" y="48"/>
                </a:cubicBezTo>
                <a:cubicBezTo>
                  <a:pt x="33" y="48"/>
                  <a:pt x="33" y="48"/>
                  <a:pt x="33" y="48"/>
                </a:cubicBezTo>
                <a:cubicBezTo>
                  <a:pt x="33" y="48"/>
                  <a:pt x="34" y="48"/>
                  <a:pt x="34" y="48"/>
                </a:cubicBezTo>
                <a:cubicBezTo>
                  <a:pt x="33" y="49"/>
                  <a:pt x="34" y="48"/>
                  <a:pt x="34" y="48"/>
                </a:cubicBezTo>
                <a:cubicBezTo>
                  <a:pt x="34" y="48"/>
                  <a:pt x="34" y="48"/>
                  <a:pt x="35" y="48"/>
                </a:cubicBezTo>
                <a:cubicBezTo>
                  <a:pt x="34" y="47"/>
                  <a:pt x="36" y="47"/>
                  <a:pt x="36" y="47"/>
                </a:cubicBezTo>
                <a:cubicBezTo>
                  <a:pt x="38" y="47"/>
                  <a:pt x="36" y="46"/>
                  <a:pt x="36" y="46"/>
                </a:cubicBezTo>
                <a:cubicBezTo>
                  <a:pt x="36" y="46"/>
                  <a:pt x="36" y="46"/>
                  <a:pt x="36" y="46"/>
                </a:cubicBezTo>
                <a:cubicBezTo>
                  <a:pt x="36" y="45"/>
                  <a:pt x="36" y="45"/>
                  <a:pt x="36" y="45"/>
                </a:cubicBezTo>
                <a:cubicBezTo>
                  <a:pt x="36" y="45"/>
                  <a:pt x="35" y="45"/>
                  <a:pt x="35" y="45"/>
                </a:cubicBezTo>
                <a:cubicBezTo>
                  <a:pt x="35" y="45"/>
                  <a:pt x="36" y="46"/>
                  <a:pt x="35" y="46"/>
                </a:cubicBezTo>
                <a:cubicBezTo>
                  <a:pt x="35" y="46"/>
                  <a:pt x="34" y="45"/>
                  <a:pt x="34" y="45"/>
                </a:cubicBezTo>
                <a:cubicBezTo>
                  <a:pt x="34" y="45"/>
                  <a:pt x="33" y="43"/>
                  <a:pt x="33" y="43"/>
                </a:cubicBezTo>
                <a:cubicBezTo>
                  <a:pt x="34" y="43"/>
                  <a:pt x="33" y="42"/>
                  <a:pt x="33" y="42"/>
                </a:cubicBezTo>
                <a:cubicBezTo>
                  <a:pt x="33" y="42"/>
                  <a:pt x="32" y="43"/>
                  <a:pt x="32" y="42"/>
                </a:cubicBezTo>
                <a:cubicBezTo>
                  <a:pt x="32" y="42"/>
                  <a:pt x="32" y="42"/>
                  <a:pt x="32" y="42"/>
                </a:cubicBezTo>
                <a:cubicBezTo>
                  <a:pt x="32" y="42"/>
                  <a:pt x="33" y="42"/>
                  <a:pt x="33" y="42"/>
                </a:cubicBezTo>
                <a:cubicBezTo>
                  <a:pt x="33" y="41"/>
                  <a:pt x="34" y="41"/>
                  <a:pt x="34" y="41"/>
                </a:cubicBezTo>
                <a:cubicBezTo>
                  <a:pt x="35" y="41"/>
                  <a:pt x="35" y="41"/>
                  <a:pt x="36" y="41"/>
                </a:cubicBezTo>
                <a:cubicBezTo>
                  <a:pt x="35" y="41"/>
                  <a:pt x="36" y="40"/>
                  <a:pt x="36" y="40"/>
                </a:cubicBezTo>
                <a:cubicBezTo>
                  <a:pt x="37" y="40"/>
                  <a:pt x="37" y="40"/>
                  <a:pt x="37" y="40"/>
                </a:cubicBezTo>
                <a:cubicBezTo>
                  <a:pt x="37" y="41"/>
                  <a:pt x="37" y="41"/>
                  <a:pt x="37" y="41"/>
                </a:cubicBezTo>
                <a:cubicBezTo>
                  <a:pt x="37" y="41"/>
                  <a:pt x="38" y="41"/>
                  <a:pt x="38" y="41"/>
                </a:cubicBezTo>
                <a:cubicBezTo>
                  <a:pt x="38" y="41"/>
                  <a:pt x="39" y="42"/>
                  <a:pt x="39" y="43"/>
                </a:cubicBezTo>
                <a:close/>
                <a:moveTo>
                  <a:pt x="18" y="37"/>
                </a:moveTo>
                <a:cubicBezTo>
                  <a:pt x="18" y="37"/>
                  <a:pt x="18" y="37"/>
                  <a:pt x="18" y="37"/>
                </a:cubicBezTo>
                <a:cubicBezTo>
                  <a:pt x="18" y="37"/>
                  <a:pt x="18" y="37"/>
                  <a:pt x="18" y="37"/>
                </a:cubicBezTo>
                <a:cubicBezTo>
                  <a:pt x="18" y="37"/>
                  <a:pt x="18" y="37"/>
                  <a:pt x="18" y="3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1" name="Ghana"/>
          <p:cNvSpPr>
            <a:spLocks/>
          </p:cNvSpPr>
          <p:nvPr/>
        </p:nvSpPr>
        <p:spPr bwMode="auto">
          <a:xfrm>
            <a:off x="5680087" y="4218953"/>
            <a:ext cx="154994" cy="259991"/>
          </a:xfrm>
          <a:custGeom>
            <a:avLst/>
            <a:gdLst/>
            <a:ahLst/>
            <a:cxnLst>
              <a:cxn ang="0">
                <a:pos x="39" y="52"/>
              </a:cxn>
              <a:cxn ang="0">
                <a:pos x="37" y="48"/>
              </a:cxn>
              <a:cxn ang="0">
                <a:pos x="38" y="44"/>
              </a:cxn>
              <a:cxn ang="0">
                <a:pos x="37" y="40"/>
              </a:cxn>
              <a:cxn ang="0">
                <a:pos x="38" y="35"/>
              </a:cxn>
              <a:cxn ang="0">
                <a:pos x="38" y="30"/>
              </a:cxn>
              <a:cxn ang="0">
                <a:pos x="36" y="27"/>
              </a:cxn>
              <a:cxn ang="0">
                <a:pos x="37" y="22"/>
              </a:cxn>
              <a:cxn ang="0">
                <a:pos x="37" y="20"/>
              </a:cxn>
              <a:cxn ang="0">
                <a:pos x="34" y="19"/>
              </a:cxn>
              <a:cxn ang="0">
                <a:pos x="35" y="18"/>
              </a:cxn>
              <a:cxn ang="0">
                <a:pos x="35" y="17"/>
              </a:cxn>
              <a:cxn ang="0">
                <a:pos x="35" y="14"/>
              </a:cxn>
              <a:cxn ang="0">
                <a:pos x="35" y="10"/>
              </a:cxn>
              <a:cxn ang="0">
                <a:pos x="35" y="9"/>
              </a:cxn>
              <a:cxn ang="0">
                <a:pos x="31" y="6"/>
              </a:cxn>
              <a:cxn ang="0">
                <a:pos x="32" y="2"/>
              </a:cxn>
              <a:cxn ang="0">
                <a:pos x="29" y="1"/>
              </a:cxn>
              <a:cxn ang="0">
                <a:pos x="27" y="3"/>
              </a:cxn>
              <a:cxn ang="0">
                <a:pos x="24" y="2"/>
              </a:cxn>
              <a:cxn ang="0">
                <a:pos x="21" y="2"/>
              </a:cxn>
              <a:cxn ang="0">
                <a:pos x="13" y="2"/>
              </a:cxn>
              <a:cxn ang="0">
                <a:pos x="5" y="3"/>
              </a:cxn>
              <a:cxn ang="0">
                <a:pos x="4" y="8"/>
              </a:cxn>
              <a:cxn ang="0">
                <a:pos x="5" y="10"/>
              </a:cxn>
              <a:cxn ang="0">
                <a:pos x="5" y="16"/>
              </a:cxn>
              <a:cxn ang="0">
                <a:pos x="6" y="19"/>
              </a:cxn>
              <a:cxn ang="0">
                <a:pos x="5" y="22"/>
              </a:cxn>
              <a:cxn ang="0">
                <a:pos x="6" y="27"/>
              </a:cxn>
              <a:cxn ang="0">
                <a:pos x="7" y="34"/>
              </a:cxn>
              <a:cxn ang="0">
                <a:pos x="4" y="38"/>
              </a:cxn>
              <a:cxn ang="0">
                <a:pos x="3" y="44"/>
              </a:cxn>
              <a:cxn ang="0">
                <a:pos x="0" y="49"/>
              </a:cxn>
              <a:cxn ang="0">
                <a:pos x="1" y="54"/>
              </a:cxn>
              <a:cxn ang="0">
                <a:pos x="2" y="60"/>
              </a:cxn>
              <a:cxn ang="0">
                <a:pos x="5" y="63"/>
              </a:cxn>
              <a:cxn ang="0">
                <a:pos x="5" y="67"/>
              </a:cxn>
              <a:cxn ang="0">
                <a:pos x="3" y="68"/>
              </a:cxn>
              <a:cxn ang="0">
                <a:pos x="12" y="71"/>
              </a:cxn>
              <a:cxn ang="0">
                <a:pos x="15" y="69"/>
              </a:cxn>
              <a:cxn ang="0">
                <a:pos x="22" y="66"/>
              </a:cxn>
              <a:cxn ang="0">
                <a:pos x="31" y="62"/>
              </a:cxn>
              <a:cxn ang="0">
                <a:pos x="38" y="60"/>
              </a:cxn>
              <a:cxn ang="0">
                <a:pos x="34" y="56"/>
              </a:cxn>
              <a:cxn ang="0">
                <a:pos x="38" y="60"/>
              </a:cxn>
              <a:cxn ang="0">
                <a:pos x="43" y="57"/>
              </a:cxn>
            </a:cxnLst>
            <a:rect l="0" t="0" r="r" b="b"/>
            <a:pathLst>
              <a:path w="43" h="72">
                <a:moveTo>
                  <a:pt x="42" y="56"/>
                </a:moveTo>
                <a:cubicBezTo>
                  <a:pt x="42" y="56"/>
                  <a:pt x="42" y="55"/>
                  <a:pt x="42" y="54"/>
                </a:cubicBezTo>
                <a:cubicBezTo>
                  <a:pt x="41" y="53"/>
                  <a:pt x="39" y="53"/>
                  <a:pt x="39" y="52"/>
                </a:cubicBezTo>
                <a:cubicBezTo>
                  <a:pt x="38" y="51"/>
                  <a:pt x="39" y="51"/>
                  <a:pt x="38" y="51"/>
                </a:cubicBezTo>
                <a:cubicBezTo>
                  <a:pt x="38" y="50"/>
                  <a:pt x="38" y="50"/>
                  <a:pt x="38" y="49"/>
                </a:cubicBezTo>
                <a:cubicBezTo>
                  <a:pt x="38" y="49"/>
                  <a:pt x="37" y="49"/>
                  <a:pt x="37" y="48"/>
                </a:cubicBezTo>
                <a:cubicBezTo>
                  <a:pt x="37" y="48"/>
                  <a:pt x="37" y="47"/>
                  <a:pt x="37" y="47"/>
                </a:cubicBezTo>
                <a:cubicBezTo>
                  <a:pt x="36" y="46"/>
                  <a:pt x="37" y="47"/>
                  <a:pt x="38" y="46"/>
                </a:cubicBezTo>
                <a:cubicBezTo>
                  <a:pt x="38" y="45"/>
                  <a:pt x="38" y="45"/>
                  <a:pt x="38" y="44"/>
                </a:cubicBezTo>
                <a:cubicBezTo>
                  <a:pt x="38" y="44"/>
                  <a:pt x="38" y="43"/>
                  <a:pt x="38" y="42"/>
                </a:cubicBezTo>
                <a:cubicBezTo>
                  <a:pt x="38" y="42"/>
                  <a:pt x="37" y="42"/>
                  <a:pt x="37" y="42"/>
                </a:cubicBezTo>
                <a:cubicBezTo>
                  <a:pt x="37" y="42"/>
                  <a:pt x="37" y="41"/>
                  <a:pt x="37" y="40"/>
                </a:cubicBezTo>
                <a:cubicBezTo>
                  <a:pt x="37" y="40"/>
                  <a:pt x="37" y="40"/>
                  <a:pt x="37" y="39"/>
                </a:cubicBezTo>
                <a:cubicBezTo>
                  <a:pt x="37" y="39"/>
                  <a:pt x="38" y="39"/>
                  <a:pt x="38" y="38"/>
                </a:cubicBezTo>
                <a:cubicBezTo>
                  <a:pt x="38" y="37"/>
                  <a:pt x="38" y="36"/>
                  <a:pt x="38" y="35"/>
                </a:cubicBezTo>
                <a:cubicBezTo>
                  <a:pt x="38" y="35"/>
                  <a:pt x="38" y="34"/>
                  <a:pt x="37" y="33"/>
                </a:cubicBezTo>
                <a:cubicBezTo>
                  <a:pt x="37" y="33"/>
                  <a:pt x="38" y="33"/>
                  <a:pt x="39" y="32"/>
                </a:cubicBezTo>
                <a:cubicBezTo>
                  <a:pt x="39" y="32"/>
                  <a:pt x="38" y="31"/>
                  <a:pt x="38" y="30"/>
                </a:cubicBezTo>
                <a:cubicBezTo>
                  <a:pt x="38" y="30"/>
                  <a:pt x="37" y="29"/>
                  <a:pt x="36" y="29"/>
                </a:cubicBezTo>
                <a:cubicBezTo>
                  <a:pt x="36" y="28"/>
                  <a:pt x="36" y="28"/>
                  <a:pt x="35" y="27"/>
                </a:cubicBezTo>
                <a:cubicBezTo>
                  <a:pt x="35" y="27"/>
                  <a:pt x="36" y="27"/>
                  <a:pt x="36" y="27"/>
                </a:cubicBezTo>
                <a:cubicBezTo>
                  <a:pt x="37" y="26"/>
                  <a:pt x="37" y="26"/>
                  <a:pt x="37" y="25"/>
                </a:cubicBezTo>
                <a:cubicBezTo>
                  <a:pt x="36" y="24"/>
                  <a:pt x="36" y="24"/>
                  <a:pt x="36" y="23"/>
                </a:cubicBezTo>
                <a:cubicBezTo>
                  <a:pt x="36" y="23"/>
                  <a:pt x="37" y="23"/>
                  <a:pt x="37" y="22"/>
                </a:cubicBezTo>
                <a:cubicBezTo>
                  <a:pt x="37" y="22"/>
                  <a:pt x="37" y="22"/>
                  <a:pt x="37" y="21"/>
                </a:cubicBezTo>
                <a:cubicBezTo>
                  <a:pt x="37" y="21"/>
                  <a:pt x="37" y="21"/>
                  <a:pt x="37" y="20"/>
                </a:cubicBezTo>
                <a:cubicBezTo>
                  <a:pt x="37" y="20"/>
                  <a:pt x="37" y="20"/>
                  <a:pt x="37" y="20"/>
                </a:cubicBezTo>
                <a:cubicBezTo>
                  <a:pt x="37" y="19"/>
                  <a:pt x="37" y="19"/>
                  <a:pt x="36" y="19"/>
                </a:cubicBezTo>
                <a:cubicBezTo>
                  <a:pt x="36" y="19"/>
                  <a:pt x="35" y="19"/>
                  <a:pt x="35" y="19"/>
                </a:cubicBezTo>
                <a:cubicBezTo>
                  <a:pt x="35" y="19"/>
                  <a:pt x="34" y="20"/>
                  <a:pt x="34" y="19"/>
                </a:cubicBezTo>
                <a:cubicBezTo>
                  <a:pt x="34" y="19"/>
                  <a:pt x="35" y="19"/>
                  <a:pt x="35" y="19"/>
                </a:cubicBezTo>
                <a:cubicBezTo>
                  <a:pt x="34" y="19"/>
                  <a:pt x="34" y="19"/>
                  <a:pt x="34" y="19"/>
                </a:cubicBezTo>
                <a:cubicBezTo>
                  <a:pt x="34" y="18"/>
                  <a:pt x="35" y="18"/>
                  <a:pt x="35" y="18"/>
                </a:cubicBezTo>
                <a:cubicBezTo>
                  <a:pt x="35" y="18"/>
                  <a:pt x="36" y="18"/>
                  <a:pt x="35" y="18"/>
                </a:cubicBezTo>
                <a:cubicBezTo>
                  <a:pt x="35" y="18"/>
                  <a:pt x="35" y="18"/>
                  <a:pt x="34" y="17"/>
                </a:cubicBezTo>
                <a:cubicBezTo>
                  <a:pt x="34" y="17"/>
                  <a:pt x="34" y="17"/>
                  <a:pt x="35" y="17"/>
                </a:cubicBezTo>
                <a:cubicBezTo>
                  <a:pt x="35" y="18"/>
                  <a:pt x="35" y="17"/>
                  <a:pt x="35" y="16"/>
                </a:cubicBezTo>
                <a:cubicBezTo>
                  <a:pt x="35" y="16"/>
                  <a:pt x="35" y="15"/>
                  <a:pt x="35" y="15"/>
                </a:cubicBezTo>
                <a:cubicBezTo>
                  <a:pt x="35" y="15"/>
                  <a:pt x="35" y="14"/>
                  <a:pt x="35" y="14"/>
                </a:cubicBezTo>
                <a:cubicBezTo>
                  <a:pt x="36" y="14"/>
                  <a:pt x="35" y="13"/>
                  <a:pt x="36" y="13"/>
                </a:cubicBezTo>
                <a:cubicBezTo>
                  <a:pt x="36" y="13"/>
                  <a:pt x="35" y="12"/>
                  <a:pt x="35" y="12"/>
                </a:cubicBezTo>
                <a:cubicBezTo>
                  <a:pt x="35" y="11"/>
                  <a:pt x="35" y="11"/>
                  <a:pt x="35" y="10"/>
                </a:cubicBezTo>
                <a:cubicBezTo>
                  <a:pt x="35" y="10"/>
                  <a:pt x="36" y="10"/>
                  <a:pt x="36" y="10"/>
                </a:cubicBezTo>
                <a:cubicBezTo>
                  <a:pt x="36" y="10"/>
                  <a:pt x="35" y="10"/>
                  <a:pt x="35" y="10"/>
                </a:cubicBezTo>
                <a:cubicBezTo>
                  <a:pt x="35" y="10"/>
                  <a:pt x="35" y="9"/>
                  <a:pt x="35" y="9"/>
                </a:cubicBezTo>
                <a:cubicBezTo>
                  <a:pt x="35" y="9"/>
                  <a:pt x="34" y="9"/>
                  <a:pt x="34" y="9"/>
                </a:cubicBezTo>
                <a:cubicBezTo>
                  <a:pt x="33" y="9"/>
                  <a:pt x="33" y="8"/>
                  <a:pt x="33" y="7"/>
                </a:cubicBezTo>
                <a:cubicBezTo>
                  <a:pt x="32" y="7"/>
                  <a:pt x="31" y="7"/>
                  <a:pt x="31" y="6"/>
                </a:cubicBezTo>
                <a:cubicBezTo>
                  <a:pt x="31" y="5"/>
                  <a:pt x="32" y="5"/>
                  <a:pt x="32" y="4"/>
                </a:cubicBezTo>
                <a:cubicBezTo>
                  <a:pt x="32" y="4"/>
                  <a:pt x="32" y="3"/>
                  <a:pt x="32" y="3"/>
                </a:cubicBezTo>
                <a:cubicBezTo>
                  <a:pt x="32" y="2"/>
                  <a:pt x="32" y="2"/>
                  <a:pt x="32" y="2"/>
                </a:cubicBezTo>
                <a:cubicBezTo>
                  <a:pt x="32" y="1"/>
                  <a:pt x="32" y="1"/>
                  <a:pt x="31" y="1"/>
                </a:cubicBezTo>
                <a:cubicBezTo>
                  <a:pt x="31" y="1"/>
                  <a:pt x="30" y="0"/>
                  <a:pt x="29" y="1"/>
                </a:cubicBezTo>
                <a:cubicBezTo>
                  <a:pt x="29" y="1"/>
                  <a:pt x="29" y="1"/>
                  <a:pt x="29" y="1"/>
                </a:cubicBezTo>
                <a:cubicBezTo>
                  <a:pt x="29" y="1"/>
                  <a:pt x="28" y="2"/>
                  <a:pt x="28" y="1"/>
                </a:cubicBezTo>
                <a:cubicBezTo>
                  <a:pt x="28" y="1"/>
                  <a:pt x="28" y="2"/>
                  <a:pt x="27" y="2"/>
                </a:cubicBezTo>
                <a:cubicBezTo>
                  <a:pt x="27" y="2"/>
                  <a:pt x="27" y="2"/>
                  <a:pt x="27" y="3"/>
                </a:cubicBezTo>
                <a:cubicBezTo>
                  <a:pt x="26" y="3"/>
                  <a:pt x="26" y="3"/>
                  <a:pt x="26" y="3"/>
                </a:cubicBezTo>
                <a:cubicBezTo>
                  <a:pt x="26" y="3"/>
                  <a:pt x="26" y="3"/>
                  <a:pt x="25" y="3"/>
                </a:cubicBezTo>
                <a:cubicBezTo>
                  <a:pt x="25" y="2"/>
                  <a:pt x="25" y="2"/>
                  <a:pt x="24" y="2"/>
                </a:cubicBezTo>
                <a:cubicBezTo>
                  <a:pt x="24" y="2"/>
                  <a:pt x="24" y="2"/>
                  <a:pt x="24" y="3"/>
                </a:cubicBezTo>
                <a:cubicBezTo>
                  <a:pt x="23" y="3"/>
                  <a:pt x="23" y="2"/>
                  <a:pt x="23" y="2"/>
                </a:cubicBezTo>
                <a:cubicBezTo>
                  <a:pt x="23" y="2"/>
                  <a:pt x="22" y="2"/>
                  <a:pt x="21" y="2"/>
                </a:cubicBezTo>
                <a:cubicBezTo>
                  <a:pt x="20" y="2"/>
                  <a:pt x="20" y="2"/>
                  <a:pt x="19" y="2"/>
                </a:cubicBezTo>
                <a:cubicBezTo>
                  <a:pt x="18" y="2"/>
                  <a:pt x="18" y="2"/>
                  <a:pt x="17" y="2"/>
                </a:cubicBezTo>
                <a:cubicBezTo>
                  <a:pt x="16" y="2"/>
                  <a:pt x="14" y="2"/>
                  <a:pt x="13" y="2"/>
                </a:cubicBezTo>
                <a:cubicBezTo>
                  <a:pt x="11" y="2"/>
                  <a:pt x="9" y="2"/>
                  <a:pt x="8" y="2"/>
                </a:cubicBezTo>
                <a:cubicBezTo>
                  <a:pt x="7" y="2"/>
                  <a:pt x="6" y="3"/>
                  <a:pt x="5" y="2"/>
                </a:cubicBezTo>
                <a:cubicBezTo>
                  <a:pt x="4" y="2"/>
                  <a:pt x="5" y="3"/>
                  <a:pt x="5" y="3"/>
                </a:cubicBezTo>
                <a:cubicBezTo>
                  <a:pt x="5" y="3"/>
                  <a:pt x="3" y="5"/>
                  <a:pt x="4" y="6"/>
                </a:cubicBezTo>
                <a:cubicBezTo>
                  <a:pt x="4" y="6"/>
                  <a:pt x="4" y="7"/>
                  <a:pt x="4" y="7"/>
                </a:cubicBezTo>
                <a:cubicBezTo>
                  <a:pt x="4" y="8"/>
                  <a:pt x="4" y="8"/>
                  <a:pt x="4" y="8"/>
                </a:cubicBezTo>
                <a:cubicBezTo>
                  <a:pt x="4" y="9"/>
                  <a:pt x="5" y="9"/>
                  <a:pt x="5" y="9"/>
                </a:cubicBezTo>
                <a:cubicBezTo>
                  <a:pt x="5" y="9"/>
                  <a:pt x="4" y="9"/>
                  <a:pt x="4" y="10"/>
                </a:cubicBezTo>
                <a:cubicBezTo>
                  <a:pt x="4" y="10"/>
                  <a:pt x="5" y="10"/>
                  <a:pt x="5" y="10"/>
                </a:cubicBezTo>
                <a:cubicBezTo>
                  <a:pt x="5" y="11"/>
                  <a:pt x="5" y="11"/>
                  <a:pt x="5" y="11"/>
                </a:cubicBezTo>
                <a:cubicBezTo>
                  <a:pt x="5" y="12"/>
                  <a:pt x="5" y="13"/>
                  <a:pt x="5" y="13"/>
                </a:cubicBezTo>
                <a:cubicBezTo>
                  <a:pt x="5" y="14"/>
                  <a:pt x="6" y="15"/>
                  <a:pt x="5" y="16"/>
                </a:cubicBezTo>
                <a:cubicBezTo>
                  <a:pt x="5" y="16"/>
                  <a:pt x="5" y="16"/>
                  <a:pt x="5" y="17"/>
                </a:cubicBezTo>
                <a:cubicBezTo>
                  <a:pt x="5" y="17"/>
                  <a:pt x="5" y="18"/>
                  <a:pt x="5" y="18"/>
                </a:cubicBezTo>
                <a:cubicBezTo>
                  <a:pt x="5" y="19"/>
                  <a:pt x="6" y="19"/>
                  <a:pt x="6" y="19"/>
                </a:cubicBezTo>
                <a:cubicBezTo>
                  <a:pt x="6" y="20"/>
                  <a:pt x="6" y="20"/>
                  <a:pt x="6" y="21"/>
                </a:cubicBezTo>
                <a:cubicBezTo>
                  <a:pt x="6" y="21"/>
                  <a:pt x="6" y="21"/>
                  <a:pt x="6" y="22"/>
                </a:cubicBezTo>
                <a:cubicBezTo>
                  <a:pt x="6" y="22"/>
                  <a:pt x="5" y="22"/>
                  <a:pt x="5" y="22"/>
                </a:cubicBezTo>
                <a:cubicBezTo>
                  <a:pt x="5" y="23"/>
                  <a:pt x="5" y="24"/>
                  <a:pt x="5" y="24"/>
                </a:cubicBezTo>
                <a:cubicBezTo>
                  <a:pt x="5" y="24"/>
                  <a:pt x="6" y="24"/>
                  <a:pt x="6" y="24"/>
                </a:cubicBezTo>
                <a:cubicBezTo>
                  <a:pt x="6" y="24"/>
                  <a:pt x="7" y="26"/>
                  <a:pt x="6" y="27"/>
                </a:cubicBezTo>
                <a:cubicBezTo>
                  <a:pt x="7" y="27"/>
                  <a:pt x="7" y="31"/>
                  <a:pt x="7" y="32"/>
                </a:cubicBezTo>
                <a:cubicBezTo>
                  <a:pt x="8" y="32"/>
                  <a:pt x="8" y="33"/>
                  <a:pt x="7" y="33"/>
                </a:cubicBezTo>
                <a:cubicBezTo>
                  <a:pt x="7" y="33"/>
                  <a:pt x="6" y="34"/>
                  <a:pt x="7" y="34"/>
                </a:cubicBezTo>
                <a:cubicBezTo>
                  <a:pt x="7" y="35"/>
                  <a:pt x="6" y="35"/>
                  <a:pt x="6" y="35"/>
                </a:cubicBezTo>
                <a:cubicBezTo>
                  <a:pt x="6" y="35"/>
                  <a:pt x="5" y="36"/>
                  <a:pt x="5" y="36"/>
                </a:cubicBezTo>
                <a:cubicBezTo>
                  <a:pt x="5" y="36"/>
                  <a:pt x="5" y="37"/>
                  <a:pt x="4" y="38"/>
                </a:cubicBezTo>
                <a:cubicBezTo>
                  <a:pt x="4" y="38"/>
                  <a:pt x="4" y="39"/>
                  <a:pt x="4" y="39"/>
                </a:cubicBezTo>
                <a:cubicBezTo>
                  <a:pt x="3" y="40"/>
                  <a:pt x="3" y="41"/>
                  <a:pt x="3" y="43"/>
                </a:cubicBezTo>
                <a:cubicBezTo>
                  <a:pt x="3" y="43"/>
                  <a:pt x="3" y="44"/>
                  <a:pt x="3" y="44"/>
                </a:cubicBezTo>
                <a:cubicBezTo>
                  <a:pt x="3" y="45"/>
                  <a:pt x="2" y="45"/>
                  <a:pt x="2" y="45"/>
                </a:cubicBezTo>
                <a:cubicBezTo>
                  <a:pt x="2" y="46"/>
                  <a:pt x="1" y="46"/>
                  <a:pt x="1" y="47"/>
                </a:cubicBezTo>
                <a:cubicBezTo>
                  <a:pt x="1" y="47"/>
                  <a:pt x="0" y="48"/>
                  <a:pt x="0" y="49"/>
                </a:cubicBezTo>
                <a:cubicBezTo>
                  <a:pt x="0" y="49"/>
                  <a:pt x="1" y="49"/>
                  <a:pt x="1" y="50"/>
                </a:cubicBezTo>
                <a:cubicBezTo>
                  <a:pt x="0" y="50"/>
                  <a:pt x="0" y="50"/>
                  <a:pt x="0" y="51"/>
                </a:cubicBezTo>
                <a:cubicBezTo>
                  <a:pt x="0" y="52"/>
                  <a:pt x="0" y="53"/>
                  <a:pt x="1" y="54"/>
                </a:cubicBezTo>
                <a:cubicBezTo>
                  <a:pt x="1" y="55"/>
                  <a:pt x="2" y="56"/>
                  <a:pt x="2" y="57"/>
                </a:cubicBezTo>
                <a:cubicBezTo>
                  <a:pt x="2" y="58"/>
                  <a:pt x="2" y="58"/>
                  <a:pt x="2" y="59"/>
                </a:cubicBezTo>
                <a:cubicBezTo>
                  <a:pt x="2" y="59"/>
                  <a:pt x="2" y="60"/>
                  <a:pt x="2" y="60"/>
                </a:cubicBezTo>
                <a:cubicBezTo>
                  <a:pt x="2" y="61"/>
                  <a:pt x="3" y="60"/>
                  <a:pt x="3" y="61"/>
                </a:cubicBezTo>
                <a:cubicBezTo>
                  <a:pt x="3" y="62"/>
                  <a:pt x="4" y="61"/>
                  <a:pt x="4" y="61"/>
                </a:cubicBezTo>
                <a:cubicBezTo>
                  <a:pt x="5" y="62"/>
                  <a:pt x="5" y="63"/>
                  <a:pt x="5" y="63"/>
                </a:cubicBezTo>
                <a:cubicBezTo>
                  <a:pt x="5" y="64"/>
                  <a:pt x="6" y="64"/>
                  <a:pt x="5" y="64"/>
                </a:cubicBezTo>
                <a:cubicBezTo>
                  <a:pt x="5" y="65"/>
                  <a:pt x="5" y="64"/>
                  <a:pt x="5" y="65"/>
                </a:cubicBezTo>
                <a:cubicBezTo>
                  <a:pt x="5" y="65"/>
                  <a:pt x="5" y="66"/>
                  <a:pt x="5" y="67"/>
                </a:cubicBezTo>
                <a:cubicBezTo>
                  <a:pt x="5" y="68"/>
                  <a:pt x="4" y="67"/>
                  <a:pt x="4" y="67"/>
                </a:cubicBezTo>
                <a:cubicBezTo>
                  <a:pt x="3" y="67"/>
                  <a:pt x="2" y="67"/>
                  <a:pt x="1" y="67"/>
                </a:cubicBezTo>
                <a:cubicBezTo>
                  <a:pt x="1" y="67"/>
                  <a:pt x="3" y="68"/>
                  <a:pt x="3" y="68"/>
                </a:cubicBezTo>
                <a:cubicBezTo>
                  <a:pt x="4" y="68"/>
                  <a:pt x="6" y="68"/>
                  <a:pt x="7" y="69"/>
                </a:cubicBezTo>
                <a:cubicBezTo>
                  <a:pt x="8" y="69"/>
                  <a:pt x="9" y="69"/>
                  <a:pt x="10" y="70"/>
                </a:cubicBezTo>
                <a:cubicBezTo>
                  <a:pt x="11" y="71"/>
                  <a:pt x="11" y="72"/>
                  <a:pt x="12" y="71"/>
                </a:cubicBezTo>
                <a:cubicBezTo>
                  <a:pt x="13" y="71"/>
                  <a:pt x="13" y="70"/>
                  <a:pt x="13" y="70"/>
                </a:cubicBezTo>
                <a:cubicBezTo>
                  <a:pt x="14" y="70"/>
                  <a:pt x="14" y="70"/>
                  <a:pt x="14" y="70"/>
                </a:cubicBezTo>
                <a:cubicBezTo>
                  <a:pt x="15" y="69"/>
                  <a:pt x="15" y="69"/>
                  <a:pt x="15" y="69"/>
                </a:cubicBezTo>
                <a:cubicBezTo>
                  <a:pt x="16" y="69"/>
                  <a:pt x="16" y="68"/>
                  <a:pt x="16" y="68"/>
                </a:cubicBezTo>
                <a:cubicBezTo>
                  <a:pt x="17" y="68"/>
                  <a:pt x="18" y="68"/>
                  <a:pt x="19" y="67"/>
                </a:cubicBezTo>
                <a:cubicBezTo>
                  <a:pt x="20" y="67"/>
                  <a:pt x="21" y="66"/>
                  <a:pt x="22" y="66"/>
                </a:cubicBezTo>
                <a:cubicBezTo>
                  <a:pt x="23" y="66"/>
                  <a:pt x="24" y="66"/>
                  <a:pt x="25" y="65"/>
                </a:cubicBezTo>
                <a:cubicBezTo>
                  <a:pt x="25" y="64"/>
                  <a:pt x="26" y="65"/>
                  <a:pt x="27" y="64"/>
                </a:cubicBezTo>
                <a:cubicBezTo>
                  <a:pt x="28" y="63"/>
                  <a:pt x="30" y="62"/>
                  <a:pt x="31" y="62"/>
                </a:cubicBezTo>
                <a:cubicBezTo>
                  <a:pt x="32" y="61"/>
                  <a:pt x="33" y="61"/>
                  <a:pt x="33" y="60"/>
                </a:cubicBezTo>
                <a:cubicBezTo>
                  <a:pt x="34" y="60"/>
                  <a:pt x="35" y="60"/>
                  <a:pt x="37" y="60"/>
                </a:cubicBezTo>
                <a:cubicBezTo>
                  <a:pt x="37" y="60"/>
                  <a:pt x="38" y="60"/>
                  <a:pt x="38" y="60"/>
                </a:cubicBezTo>
                <a:cubicBezTo>
                  <a:pt x="38" y="59"/>
                  <a:pt x="38" y="59"/>
                  <a:pt x="38" y="58"/>
                </a:cubicBezTo>
                <a:cubicBezTo>
                  <a:pt x="37" y="58"/>
                  <a:pt x="36" y="56"/>
                  <a:pt x="35" y="57"/>
                </a:cubicBezTo>
                <a:cubicBezTo>
                  <a:pt x="35" y="58"/>
                  <a:pt x="34" y="56"/>
                  <a:pt x="34" y="56"/>
                </a:cubicBezTo>
                <a:cubicBezTo>
                  <a:pt x="34" y="56"/>
                  <a:pt x="34" y="57"/>
                  <a:pt x="35" y="57"/>
                </a:cubicBezTo>
                <a:cubicBezTo>
                  <a:pt x="36" y="57"/>
                  <a:pt x="36" y="56"/>
                  <a:pt x="36" y="57"/>
                </a:cubicBezTo>
                <a:cubicBezTo>
                  <a:pt x="38" y="57"/>
                  <a:pt x="38" y="59"/>
                  <a:pt x="38" y="60"/>
                </a:cubicBezTo>
                <a:cubicBezTo>
                  <a:pt x="38" y="61"/>
                  <a:pt x="41" y="60"/>
                  <a:pt x="41" y="59"/>
                </a:cubicBezTo>
                <a:cubicBezTo>
                  <a:pt x="41" y="59"/>
                  <a:pt x="41" y="58"/>
                  <a:pt x="42" y="58"/>
                </a:cubicBezTo>
                <a:cubicBezTo>
                  <a:pt x="42" y="57"/>
                  <a:pt x="42" y="57"/>
                  <a:pt x="43" y="57"/>
                </a:cubicBezTo>
                <a:cubicBezTo>
                  <a:pt x="43" y="56"/>
                  <a:pt x="43" y="55"/>
                  <a:pt x="42" y="5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2" name="Germany"/>
          <p:cNvSpPr>
            <a:spLocks noEditPoints="1"/>
          </p:cNvSpPr>
          <p:nvPr/>
        </p:nvSpPr>
        <p:spPr bwMode="auto">
          <a:xfrm>
            <a:off x="6020074" y="2490020"/>
            <a:ext cx="277990" cy="299988"/>
          </a:xfrm>
          <a:custGeom>
            <a:avLst/>
            <a:gdLst/>
            <a:ahLst/>
            <a:cxnLst>
              <a:cxn ang="0">
                <a:pos x="45" y="7"/>
              </a:cxn>
              <a:cxn ang="0">
                <a:pos x="61" y="9"/>
              </a:cxn>
              <a:cxn ang="0">
                <a:pos x="65" y="9"/>
              </a:cxn>
              <a:cxn ang="0">
                <a:pos x="60" y="6"/>
              </a:cxn>
              <a:cxn ang="0">
                <a:pos x="62" y="6"/>
              </a:cxn>
              <a:cxn ang="0">
                <a:pos x="61" y="7"/>
              </a:cxn>
              <a:cxn ang="0">
                <a:pos x="61" y="7"/>
              </a:cxn>
              <a:cxn ang="0">
                <a:pos x="74" y="45"/>
              </a:cxn>
              <a:cxn ang="0">
                <a:pos x="71" y="44"/>
              </a:cxn>
              <a:cxn ang="0">
                <a:pos x="63" y="47"/>
              </a:cxn>
              <a:cxn ang="0">
                <a:pos x="57" y="50"/>
              </a:cxn>
              <a:cxn ang="0">
                <a:pos x="53" y="52"/>
              </a:cxn>
              <a:cxn ang="0">
                <a:pos x="56" y="58"/>
              </a:cxn>
              <a:cxn ang="0">
                <a:pos x="66" y="66"/>
              </a:cxn>
              <a:cxn ang="0">
                <a:pos x="63" y="71"/>
              </a:cxn>
              <a:cxn ang="0">
                <a:pos x="59" y="79"/>
              </a:cxn>
              <a:cxn ang="0">
                <a:pos x="51" y="79"/>
              </a:cxn>
              <a:cxn ang="0">
                <a:pos x="43" y="81"/>
              </a:cxn>
              <a:cxn ang="0">
                <a:pos x="38" y="81"/>
              </a:cxn>
              <a:cxn ang="0">
                <a:pos x="31" y="80"/>
              </a:cxn>
              <a:cxn ang="0">
                <a:pos x="23" y="78"/>
              </a:cxn>
              <a:cxn ang="0">
                <a:pos x="17" y="80"/>
              </a:cxn>
              <a:cxn ang="0">
                <a:pos x="14" y="74"/>
              </a:cxn>
              <a:cxn ang="0">
                <a:pos x="18" y="67"/>
              </a:cxn>
              <a:cxn ang="0">
                <a:pos x="9" y="62"/>
              </a:cxn>
              <a:cxn ang="0">
                <a:pos x="4" y="58"/>
              </a:cxn>
              <a:cxn ang="0">
                <a:pos x="2" y="52"/>
              </a:cxn>
              <a:cxn ang="0">
                <a:pos x="3" y="47"/>
              </a:cxn>
              <a:cxn ang="0">
                <a:pos x="0" y="43"/>
              </a:cxn>
              <a:cxn ang="0">
                <a:pos x="2" y="37"/>
              </a:cxn>
              <a:cxn ang="0">
                <a:pos x="4" y="34"/>
              </a:cxn>
              <a:cxn ang="0">
                <a:pos x="9" y="31"/>
              </a:cxn>
              <a:cxn ang="0">
                <a:pos x="8" y="26"/>
              </a:cxn>
              <a:cxn ang="0">
                <a:pos x="10" y="17"/>
              </a:cxn>
              <a:cxn ang="0">
                <a:pos x="19" y="17"/>
              </a:cxn>
              <a:cxn ang="0">
                <a:pos x="22" y="17"/>
              </a:cxn>
              <a:cxn ang="0">
                <a:pos x="26" y="14"/>
              </a:cxn>
              <a:cxn ang="0">
                <a:pos x="31" y="16"/>
              </a:cxn>
              <a:cxn ang="0">
                <a:pos x="25" y="10"/>
              </a:cxn>
              <a:cxn ang="0">
                <a:pos x="23" y="8"/>
              </a:cxn>
              <a:cxn ang="0">
                <a:pos x="21" y="4"/>
              </a:cxn>
              <a:cxn ang="0">
                <a:pos x="29" y="3"/>
              </a:cxn>
              <a:cxn ang="0">
                <a:pos x="34" y="5"/>
              </a:cxn>
              <a:cxn ang="0">
                <a:pos x="36" y="8"/>
              </a:cxn>
              <a:cxn ang="0">
                <a:pos x="43" y="8"/>
              </a:cxn>
              <a:cxn ang="0">
                <a:pos x="47" y="12"/>
              </a:cxn>
              <a:cxn ang="0">
                <a:pos x="52" y="10"/>
              </a:cxn>
              <a:cxn ang="0">
                <a:pos x="54" y="9"/>
              </a:cxn>
              <a:cxn ang="0">
                <a:pos x="60" y="9"/>
              </a:cxn>
              <a:cxn ang="0">
                <a:pos x="65" y="10"/>
              </a:cxn>
              <a:cxn ang="0">
                <a:pos x="66" y="12"/>
              </a:cxn>
              <a:cxn ang="0">
                <a:pos x="65" y="11"/>
              </a:cxn>
              <a:cxn ang="0">
                <a:pos x="70" y="17"/>
              </a:cxn>
              <a:cxn ang="0">
                <a:pos x="69" y="24"/>
              </a:cxn>
              <a:cxn ang="0">
                <a:pos x="74" y="33"/>
              </a:cxn>
              <a:cxn ang="0">
                <a:pos x="22" y="18"/>
              </a:cxn>
            </a:cxnLst>
            <a:rect l="0" t="0" r="r" b="b"/>
            <a:pathLst>
              <a:path w="77" h="83">
                <a:moveTo>
                  <a:pt x="15" y="14"/>
                </a:moveTo>
                <a:cubicBezTo>
                  <a:pt x="15" y="14"/>
                  <a:pt x="14" y="15"/>
                  <a:pt x="14" y="15"/>
                </a:cubicBezTo>
                <a:cubicBezTo>
                  <a:pt x="14" y="14"/>
                  <a:pt x="14" y="14"/>
                  <a:pt x="14" y="14"/>
                </a:cubicBezTo>
                <a:cubicBezTo>
                  <a:pt x="14" y="14"/>
                  <a:pt x="15" y="14"/>
                  <a:pt x="15" y="14"/>
                </a:cubicBezTo>
                <a:close/>
                <a:moveTo>
                  <a:pt x="43" y="7"/>
                </a:moveTo>
                <a:cubicBezTo>
                  <a:pt x="44" y="8"/>
                  <a:pt x="44" y="7"/>
                  <a:pt x="45" y="7"/>
                </a:cubicBezTo>
                <a:cubicBezTo>
                  <a:pt x="45" y="7"/>
                  <a:pt x="45" y="7"/>
                  <a:pt x="45" y="7"/>
                </a:cubicBezTo>
                <a:cubicBezTo>
                  <a:pt x="45" y="7"/>
                  <a:pt x="44" y="6"/>
                  <a:pt x="44" y="6"/>
                </a:cubicBezTo>
                <a:cubicBezTo>
                  <a:pt x="43" y="6"/>
                  <a:pt x="42" y="7"/>
                  <a:pt x="43" y="7"/>
                </a:cubicBezTo>
                <a:cubicBezTo>
                  <a:pt x="43" y="7"/>
                  <a:pt x="43" y="7"/>
                  <a:pt x="43" y="7"/>
                </a:cubicBezTo>
                <a:close/>
                <a:moveTo>
                  <a:pt x="60" y="9"/>
                </a:moveTo>
                <a:cubicBezTo>
                  <a:pt x="60" y="9"/>
                  <a:pt x="60" y="9"/>
                  <a:pt x="60" y="9"/>
                </a:cubicBezTo>
                <a:cubicBezTo>
                  <a:pt x="61" y="8"/>
                  <a:pt x="61" y="9"/>
                  <a:pt x="62" y="9"/>
                </a:cubicBezTo>
                <a:cubicBezTo>
                  <a:pt x="62" y="9"/>
                  <a:pt x="62" y="9"/>
                  <a:pt x="61" y="9"/>
                </a:cubicBezTo>
                <a:cubicBezTo>
                  <a:pt x="62" y="9"/>
                  <a:pt x="62" y="10"/>
                  <a:pt x="62" y="9"/>
                </a:cubicBezTo>
                <a:cubicBezTo>
                  <a:pt x="62" y="9"/>
                  <a:pt x="62" y="9"/>
                  <a:pt x="62" y="9"/>
                </a:cubicBezTo>
                <a:cubicBezTo>
                  <a:pt x="62" y="9"/>
                  <a:pt x="63" y="8"/>
                  <a:pt x="63" y="8"/>
                </a:cubicBezTo>
                <a:cubicBezTo>
                  <a:pt x="63" y="8"/>
                  <a:pt x="64" y="8"/>
                  <a:pt x="64" y="8"/>
                </a:cubicBezTo>
                <a:cubicBezTo>
                  <a:pt x="64" y="8"/>
                  <a:pt x="64" y="8"/>
                  <a:pt x="65" y="8"/>
                </a:cubicBezTo>
                <a:cubicBezTo>
                  <a:pt x="65" y="8"/>
                  <a:pt x="64" y="9"/>
                  <a:pt x="64" y="9"/>
                </a:cubicBezTo>
                <a:cubicBezTo>
                  <a:pt x="64" y="9"/>
                  <a:pt x="65" y="9"/>
                  <a:pt x="65" y="9"/>
                </a:cubicBezTo>
                <a:cubicBezTo>
                  <a:pt x="65" y="9"/>
                  <a:pt x="65" y="8"/>
                  <a:pt x="65" y="8"/>
                </a:cubicBezTo>
                <a:cubicBezTo>
                  <a:pt x="65" y="8"/>
                  <a:pt x="64" y="8"/>
                  <a:pt x="64" y="7"/>
                </a:cubicBezTo>
                <a:cubicBezTo>
                  <a:pt x="64" y="7"/>
                  <a:pt x="63" y="7"/>
                  <a:pt x="64" y="7"/>
                </a:cubicBezTo>
                <a:cubicBezTo>
                  <a:pt x="64" y="7"/>
                  <a:pt x="65" y="6"/>
                  <a:pt x="64" y="6"/>
                </a:cubicBezTo>
                <a:cubicBezTo>
                  <a:pt x="64" y="6"/>
                  <a:pt x="61" y="6"/>
                  <a:pt x="62" y="5"/>
                </a:cubicBezTo>
                <a:cubicBezTo>
                  <a:pt x="62" y="5"/>
                  <a:pt x="61" y="5"/>
                  <a:pt x="61" y="5"/>
                </a:cubicBezTo>
                <a:cubicBezTo>
                  <a:pt x="61" y="5"/>
                  <a:pt x="61" y="6"/>
                  <a:pt x="60" y="6"/>
                </a:cubicBezTo>
                <a:cubicBezTo>
                  <a:pt x="60" y="6"/>
                  <a:pt x="61" y="5"/>
                  <a:pt x="61" y="5"/>
                </a:cubicBezTo>
                <a:cubicBezTo>
                  <a:pt x="61" y="5"/>
                  <a:pt x="61" y="6"/>
                  <a:pt x="61" y="6"/>
                </a:cubicBezTo>
                <a:cubicBezTo>
                  <a:pt x="61" y="6"/>
                  <a:pt x="62" y="5"/>
                  <a:pt x="62" y="5"/>
                </a:cubicBezTo>
                <a:cubicBezTo>
                  <a:pt x="62" y="6"/>
                  <a:pt x="63" y="6"/>
                  <a:pt x="63" y="6"/>
                </a:cubicBezTo>
                <a:cubicBezTo>
                  <a:pt x="63" y="6"/>
                  <a:pt x="63" y="7"/>
                  <a:pt x="63" y="7"/>
                </a:cubicBezTo>
                <a:cubicBezTo>
                  <a:pt x="62" y="7"/>
                  <a:pt x="62" y="6"/>
                  <a:pt x="62" y="6"/>
                </a:cubicBezTo>
                <a:cubicBezTo>
                  <a:pt x="62" y="6"/>
                  <a:pt x="62" y="6"/>
                  <a:pt x="62" y="6"/>
                </a:cubicBezTo>
                <a:cubicBezTo>
                  <a:pt x="62" y="6"/>
                  <a:pt x="62" y="6"/>
                  <a:pt x="62" y="6"/>
                </a:cubicBezTo>
                <a:cubicBezTo>
                  <a:pt x="62" y="6"/>
                  <a:pt x="61" y="6"/>
                  <a:pt x="61" y="6"/>
                </a:cubicBezTo>
                <a:cubicBezTo>
                  <a:pt x="61" y="6"/>
                  <a:pt x="60" y="6"/>
                  <a:pt x="60" y="6"/>
                </a:cubicBezTo>
                <a:cubicBezTo>
                  <a:pt x="60" y="6"/>
                  <a:pt x="61" y="7"/>
                  <a:pt x="61" y="7"/>
                </a:cubicBezTo>
                <a:cubicBezTo>
                  <a:pt x="61" y="7"/>
                  <a:pt x="61" y="7"/>
                  <a:pt x="61" y="7"/>
                </a:cubicBezTo>
                <a:cubicBezTo>
                  <a:pt x="61" y="7"/>
                  <a:pt x="61" y="7"/>
                  <a:pt x="61" y="7"/>
                </a:cubicBezTo>
                <a:cubicBezTo>
                  <a:pt x="61" y="7"/>
                  <a:pt x="61" y="7"/>
                  <a:pt x="61" y="7"/>
                </a:cubicBezTo>
                <a:cubicBezTo>
                  <a:pt x="61" y="7"/>
                  <a:pt x="61" y="7"/>
                  <a:pt x="61" y="7"/>
                </a:cubicBezTo>
                <a:cubicBezTo>
                  <a:pt x="61" y="7"/>
                  <a:pt x="60" y="7"/>
                  <a:pt x="60" y="7"/>
                </a:cubicBezTo>
                <a:cubicBezTo>
                  <a:pt x="61" y="7"/>
                  <a:pt x="61" y="8"/>
                  <a:pt x="61" y="8"/>
                </a:cubicBezTo>
                <a:cubicBezTo>
                  <a:pt x="61" y="8"/>
                  <a:pt x="59" y="8"/>
                  <a:pt x="60" y="9"/>
                </a:cubicBezTo>
                <a:close/>
                <a:moveTo>
                  <a:pt x="61" y="7"/>
                </a:moveTo>
                <a:cubicBezTo>
                  <a:pt x="61" y="7"/>
                  <a:pt x="61" y="7"/>
                  <a:pt x="61" y="7"/>
                </a:cubicBezTo>
                <a:cubicBezTo>
                  <a:pt x="61" y="7"/>
                  <a:pt x="61" y="7"/>
                  <a:pt x="61" y="7"/>
                </a:cubicBezTo>
                <a:cubicBezTo>
                  <a:pt x="61" y="7"/>
                  <a:pt x="61" y="7"/>
                  <a:pt x="61" y="7"/>
                </a:cubicBezTo>
                <a:close/>
                <a:moveTo>
                  <a:pt x="43" y="8"/>
                </a:moveTo>
                <a:cubicBezTo>
                  <a:pt x="43" y="8"/>
                  <a:pt x="43" y="8"/>
                  <a:pt x="43" y="8"/>
                </a:cubicBezTo>
                <a:cubicBezTo>
                  <a:pt x="42" y="8"/>
                  <a:pt x="42" y="8"/>
                  <a:pt x="43" y="8"/>
                </a:cubicBezTo>
                <a:close/>
                <a:moveTo>
                  <a:pt x="77" y="41"/>
                </a:moveTo>
                <a:cubicBezTo>
                  <a:pt x="76" y="42"/>
                  <a:pt x="76" y="43"/>
                  <a:pt x="75" y="44"/>
                </a:cubicBezTo>
                <a:cubicBezTo>
                  <a:pt x="75" y="44"/>
                  <a:pt x="75" y="45"/>
                  <a:pt x="74" y="45"/>
                </a:cubicBezTo>
                <a:cubicBezTo>
                  <a:pt x="74" y="45"/>
                  <a:pt x="73" y="45"/>
                  <a:pt x="73" y="45"/>
                </a:cubicBezTo>
                <a:cubicBezTo>
                  <a:pt x="73" y="45"/>
                  <a:pt x="74" y="44"/>
                  <a:pt x="73" y="44"/>
                </a:cubicBezTo>
                <a:cubicBezTo>
                  <a:pt x="73" y="44"/>
                  <a:pt x="73" y="44"/>
                  <a:pt x="73" y="44"/>
                </a:cubicBezTo>
                <a:cubicBezTo>
                  <a:pt x="73" y="44"/>
                  <a:pt x="73" y="44"/>
                  <a:pt x="73" y="43"/>
                </a:cubicBezTo>
                <a:cubicBezTo>
                  <a:pt x="73" y="43"/>
                  <a:pt x="72" y="43"/>
                  <a:pt x="72" y="43"/>
                </a:cubicBezTo>
                <a:cubicBezTo>
                  <a:pt x="71" y="43"/>
                  <a:pt x="71" y="43"/>
                  <a:pt x="70" y="43"/>
                </a:cubicBezTo>
                <a:cubicBezTo>
                  <a:pt x="70" y="43"/>
                  <a:pt x="71" y="44"/>
                  <a:pt x="71" y="44"/>
                </a:cubicBezTo>
                <a:cubicBezTo>
                  <a:pt x="70" y="44"/>
                  <a:pt x="72" y="44"/>
                  <a:pt x="71" y="44"/>
                </a:cubicBezTo>
                <a:cubicBezTo>
                  <a:pt x="71" y="45"/>
                  <a:pt x="70" y="44"/>
                  <a:pt x="70" y="45"/>
                </a:cubicBezTo>
                <a:cubicBezTo>
                  <a:pt x="70" y="45"/>
                  <a:pt x="69" y="45"/>
                  <a:pt x="69" y="45"/>
                </a:cubicBezTo>
                <a:cubicBezTo>
                  <a:pt x="68" y="45"/>
                  <a:pt x="68" y="45"/>
                  <a:pt x="67" y="46"/>
                </a:cubicBezTo>
                <a:cubicBezTo>
                  <a:pt x="67" y="46"/>
                  <a:pt x="66" y="46"/>
                  <a:pt x="66" y="46"/>
                </a:cubicBezTo>
                <a:cubicBezTo>
                  <a:pt x="65" y="46"/>
                  <a:pt x="64" y="46"/>
                  <a:pt x="64" y="47"/>
                </a:cubicBezTo>
                <a:cubicBezTo>
                  <a:pt x="64" y="47"/>
                  <a:pt x="63" y="48"/>
                  <a:pt x="63" y="47"/>
                </a:cubicBezTo>
                <a:cubicBezTo>
                  <a:pt x="63" y="47"/>
                  <a:pt x="63" y="47"/>
                  <a:pt x="63" y="47"/>
                </a:cubicBezTo>
                <a:cubicBezTo>
                  <a:pt x="62" y="48"/>
                  <a:pt x="62" y="48"/>
                  <a:pt x="62" y="48"/>
                </a:cubicBezTo>
                <a:cubicBezTo>
                  <a:pt x="61" y="48"/>
                  <a:pt x="61" y="49"/>
                  <a:pt x="61" y="49"/>
                </a:cubicBezTo>
                <a:cubicBezTo>
                  <a:pt x="60" y="49"/>
                  <a:pt x="60" y="48"/>
                  <a:pt x="60" y="49"/>
                </a:cubicBezTo>
                <a:cubicBezTo>
                  <a:pt x="60" y="49"/>
                  <a:pt x="60" y="49"/>
                  <a:pt x="59" y="50"/>
                </a:cubicBezTo>
                <a:cubicBezTo>
                  <a:pt x="59" y="50"/>
                  <a:pt x="58" y="49"/>
                  <a:pt x="58" y="49"/>
                </a:cubicBezTo>
                <a:cubicBezTo>
                  <a:pt x="58" y="49"/>
                  <a:pt x="57" y="50"/>
                  <a:pt x="57" y="50"/>
                </a:cubicBezTo>
                <a:cubicBezTo>
                  <a:pt x="57" y="50"/>
                  <a:pt x="56" y="50"/>
                  <a:pt x="56" y="50"/>
                </a:cubicBezTo>
                <a:cubicBezTo>
                  <a:pt x="56" y="50"/>
                  <a:pt x="55" y="50"/>
                  <a:pt x="55" y="50"/>
                </a:cubicBezTo>
                <a:cubicBezTo>
                  <a:pt x="54" y="51"/>
                  <a:pt x="54" y="51"/>
                  <a:pt x="54" y="52"/>
                </a:cubicBezTo>
                <a:cubicBezTo>
                  <a:pt x="54" y="53"/>
                  <a:pt x="53" y="51"/>
                  <a:pt x="53" y="51"/>
                </a:cubicBezTo>
                <a:cubicBezTo>
                  <a:pt x="53" y="51"/>
                  <a:pt x="53" y="51"/>
                  <a:pt x="53" y="51"/>
                </a:cubicBezTo>
                <a:cubicBezTo>
                  <a:pt x="53" y="50"/>
                  <a:pt x="52" y="50"/>
                  <a:pt x="52" y="50"/>
                </a:cubicBezTo>
                <a:cubicBezTo>
                  <a:pt x="53" y="51"/>
                  <a:pt x="52" y="51"/>
                  <a:pt x="53" y="52"/>
                </a:cubicBezTo>
                <a:cubicBezTo>
                  <a:pt x="53" y="52"/>
                  <a:pt x="53" y="53"/>
                  <a:pt x="53" y="53"/>
                </a:cubicBezTo>
                <a:cubicBezTo>
                  <a:pt x="54" y="54"/>
                  <a:pt x="55" y="54"/>
                  <a:pt x="55" y="54"/>
                </a:cubicBezTo>
                <a:cubicBezTo>
                  <a:pt x="55" y="54"/>
                  <a:pt x="55" y="54"/>
                  <a:pt x="55" y="54"/>
                </a:cubicBezTo>
                <a:cubicBezTo>
                  <a:pt x="55" y="55"/>
                  <a:pt x="56" y="55"/>
                  <a:pt x="56" y="55"/>
                </a:cubicBezTo>
                <a:cubicBezTo>
                  <a:pt x="56" y="55"/>
                  <a:pt x="54" y="56"/>
                  <a:pt x="55" y="57"/>
                </a:cubicBezTo>
                <a:cubicBezTo>
                  <a:pt x="55" y="57"/>
                  <a:pt x="55" y="57"/>
                  <a:pt x="55" y="57"/>
                </a:cubicBezTo>
                <a:cubicBezTo>
                  <a:pt x="56" y="57"/>
                  <a:pt x="56" y="58"/>
                  <a:pt x="56" y="58"/>
                </a:cubicBezTo>
                <a:cubicBezTo>
                  <a:pt x="56" y="58"/>
                  <a:pt x="57" y="59"/>
                  <a:pt x="57" y="59"/>
                </a:cubicBezTo>
                <a:cubicBezTo>
                  <a:pt x="57" y="60"/>
                  <a:pt x="58" y="61"/>
                  <a:pt x="58" y="61"/>
                </a:cubicBezTo>
                <a:cubicBezTo>
                  <a:pt x="59" y="61"/>
                  <a:pt x="59" y="61"/>
                  <a:pt x="59" y="61"/>
                </a:cubicBezTo>
                <a:cubicBezTo>
                  <a:pt x="61" y="61"/>
                  <a:pt x="61" y="63"/>
                  <a:pt x="62" y="63"/>
                </a:cubicBezTo>
                <a:cubicBezTo>
                  <a:pt x="63" y="64"/>
                  <a:pt x="63" y="64"/>
                  <a:pt x="63" y="65"/>
                </a:cubicBezTo>
                <a:cubicBezTo>
                  <a:pt x="64" y="65"/>
                  <a:pt x="64" y="65"/>
                  <a:pt x="65" y="65"/>
                </a:cubicBezTo>
                <a:cubicBezTo>
                  <a:pt x="65" y="65"/>
                  <a:pt x="66" y="66"/>
                  <a:pt x="66" y="66"/>
                </a:cubicBezTo>
                <a:cubicBezTo>
                  <a:pt x="66" y="66"/>
                  <a:pt x="67" y="66"/>
                  <a:pt x="67" y="67"/>
                </a:cubicBezTo>
                <a:cubicBezTo>
                  <a:pt x="67" y="67"/>
                  <a:pt x="67" y="67"/>
                  <a:pt x="67" y="68"/>
                </a:cubicBezTo>
                <a:cubicBezTo>
                  <a:pt x="67" y="68"/>
                  <a:pt x="67" y="68"/>
                  <a:pt x="67" y="68"/>
                </a:cubicBezTo>
                <a:cubicBezTo>
                  <a:pt x="67" y="69"/>
                  <a:pt x="66" y="69"/>
                  <a:pt x="66" y="69"/>
                </a:cubicBezTo>
                <a:cubicBezTo>
                  <a:pt x="66" y="70"/>
                  <a:pt x="66" y="70"/>
                  <a:pt x="66" y="69"/>
                </a:cubicBezTo>
                <a:cubicBezTo>
                  <a:pt x="65" y="69"/>
                  <a:pt x="64" y="69"/>
                  <a:pt x="64" y="70"/>
                </a:cubicBezTo>
                <a:cubicBezTo>
                  <a:pt x="64" y="70"/>
                  <a:pt x="64" y="71"/>
                  <a:pt x="63" y="71"/>
                </a:cubicBezTo>
                <a:cubicBezTo>
                  <a:pt x="63" y="72"/>
                  <a:pt x="62" y="72"/>
                  <a:pt x="61" y="72"/>
                </a:cubicBezTo>
                <a:cubicBezTo>
                  <a:pt x="61" y="72"/>
                  <a:pt x="57" y="74"/>
                  <a:pt x="58" y="75"/>
                </a:cubicBezTo>
                <a:cubicBezTo>
                  <a:pt x="59" y="75"/>
                  <a:pt x="60" y="76"/>
                  <a:pt x="60" y="77"/>
                </a:cubicBezTo>
                <a:cubicBezTo>
                  <a:pt x="60" y="77"/>
                  <a:pt x="60" y="78"/>
                  <a:pt x="59" y="78"/>
                </a:cubicBezTo>
                <a:cubicBezTo>
                  <a:pt x="59" y="78"/>
                  <a:pt x="60" y="78"/>
                  <a:pt x="60" y="78"/>
                </a:cubicBezTo>
                <a:cubicBezTo>
                  <a:pt x="61" y="79"/>
                  <a:pt x="61" y="81"/>
                  <a:pt x="60" y="81"/>
                </a:cubicBezTo>
                <a:cubicBezTo>
                  <a:pt x="60" y="81"/>
                  <a:pt x="58" y="79"/>
                  <a:pt x="59" y="79"/>
                </a:cubicBezTo>
                <a:cubicBezTo>
                  <a:pt x="58" y="79"/>
                  <a:pt x="58" y="79"/>
                  <a:pt x="57" y="79"/>
                </a:cubicBezTo>
                <a:cubicBezTo>
                  <a:pt x="57" y="79"/>
                  <a:pt x="56" y="79"/>
                  <a:pt x="56" y="79"/>
                </a:cubicBezTo>
                <a:cubicBezTo>
                  <a:pt x="55" y="79"/>
                  <a:pt x="55" y="79"/>
                  <a:pt x="55" y="78"/>
                </a:cubicBezTo>
                <a:cubicBezTo>
                  <a:pt x="54" y="78"/>
                  <a:pt x="53" y="79"/>
                  <a:pt x="54" y="78"/>
                </a:cubicBezTo>
                <a:cubicBezTo>
                  <a:pt x="53" y="78"/>
                  <a:pt x="53" y="78"/>
                  <a:pt x="53" y="79"/>
                </a:cubicBezTo>
                <a:cubicBezTo>
                  <a:pt x="53" y="79"/>
                  <a:pt x="53" y="79"/>
                  <a:pt x="53" y="79"/>
                </a:cubicBezTo>
                <a:cubicBezTo>
                  <a:pt x="52" y="79"/>
                  <a:pt x="52" y="79"/>
                  <a:pt x="51" y="79"/>
                </a:cubicBezTo>
                <a:cubicBezTo>
                  <a:pt x="51" y="80"/>
                  <a:pt x="50" y="80"/>
                  <a:pt x="50" y="80"/>
                </a:cubicBezTo>
                <a:cubicBezTo>
                  <a:pt x="49" y="80"/>
                  <a:pt x="48" y="79"/>
                  <a:pt x="48" y="80"/>
                </a:cubicBezTo>
                <a:cubicBezTo>
                  <a:pt x="48" y="80"/>
                  <a:pt x="48" y="80"/>
                  <a:pt x="48" y="80"/>
                </a:cubicBezTo>
                <a:cubicBezTo>
                  <a:pt x="47" y="80"/>
                  <a:pt x="46" y="81"/>
                  <a:pt x="47" y="81"/>
                </a:cubicBezTo>
                <a:cubicBezTo>
                  <a:pt x="46" y="81"/>
                  <a:pt x="46" y="82"/>
                  <a:pt x="45" y="82"/>
                </a:cubicBezTo>
                <a:cubicBezTo>
                  <a:pt x="45" y="82"/>
                  <a:pt x="45" y="81"/>
                  <a:pt x="44" y="81"/>
                </a:cubicBezTo>
                <a:cubicBezTo>
                  <a:pt x="44" y="82"/>
                  <a:pt x="43" y="82"/>
                  <a:pt x="43" y="81"/>
                </a:cubicBezTo>
                <a:cubicBezTo>
                  <a:pt x="43" y="81"/>
                  <a:pt x="42" y="81"/>
                  <a:pt x="42" y="81"/>
                </a:cubicBezTo>
                <a:cubicBezTo>
                  <a:pt x="42" y="81"/>
                  <a:pt x="42" y="80"/>
                  <a:pt x="42" y="80"/>
                </a:cubicBezTo>
                <a:cubicBezTo>
                  <a:pt x="42" y="80"/>
                  <a:pt x="42" y="80"/>
                  <a:pt x="41" y="80"/>
                </a:cubicBezTo>
                <a:cubicBezTo>
                  <a:pt x="41" y="80"/>
                  <a:pt x="40" y="80"/>
                  <a:pt x="40" y="80"/>
                </a:cubicBezTo>
                <a:cubicBezTo>
                  <a:pt x="39" y="80"/>
                  <a:pt x="39" y="80"/>
                  <a:pt x="39" y="80"/>
                </a:cubicBezTo>
                <a:cubicBezTo>
                  <a:pt x="38" y="80"/>
                  <a:pt x="39" y="80"/>
                  <a:pt x="39" y="80"/>
                </a:cubicBezTo>
                <a:cubicBezTo>
                  <a:pt x="38" y="79"/>
                  <a:pt x="38" y="81"/>
                  <a:pt x="38" y="81"/>
                </a:cubicBezTo>
                <a:cubicBezTo>
                  <a:pt x="38" y="82"/>
                  <a:pt x="37" y="83"/>
                  <a:pt x="36" y="83"/>
                </a:cubicBezTo>
                <a:cubicBezTo>
                  <a:pt x="36" y="83"/>
                  <a:pt x="37" y="82"/>
                  <a:pt x="36" y="82"/>
                </a:cubicBezTo>
                <a:cubicBezTo>
                  <a:pt x="36" y="82"/>
                  <a:pt x="35" y="82"/>
                  <a:pt x="35" y="82"/>
                </a:cubicBezTo>
                <a:cubicBezTo>
                  <a:pt x="35" y="81"/>
                  <a:pt x="34" y="80"/>
                  <a:pt x="34" y="80"/>
                </a:cubicBezTo>
                <a:cubicBezTo>
                  <a:pt x="34" y="80"/>
                  <a:pt x="33" y="80"/>
                  <a:pt x="33" y="80"/>
                </a:cubicBezTo>
                <a:cubicBezTo>
                  <a:pt x="33" y="80"/>
                  <a:pt x="33" y="79"/>
                  <a:pt x="33" y="80"/>
                </a:cubicBezTo>
                <a:cubicBezTo>
                  <a:pt x="32" y="80"/>
                  <a:pt x="32" y="80"/>
                  <a:pt x="31" y="80"/>
                </a:cubicBezTo>
                <a:cubicBezTo>
                  <a:pt x="30" y="80"/>
                  <a:pt x="29" y="79"/>
                  <a:pt x="28" y="79"/>
                </a:cubicBezTo>
                <a:cubicBezTo>
                  <a:pt x="27" y="79"/>
                  <a:pt x="27" y="79"/>
                  <a:pt x="26" y="79"/>
                </a:cubicBezTo>
                <a:cubicBezTo>
                  <a:pt x="25" y="79"/>
                  <a:pt x="24" y="79"/>
                  <a:pt x="25" y="78"/>
                </a:cubicBezTo>
                <a:cubicBezTo>
                  <a:pt x="24" y="78"/>
                  <a:pt x="24" y="78"/>
                  <a:pt x="24" y="79"/>
                </a:cubicBezTo>
                <a:cubicBezTo>
                  <a:pt x="24" y="79"/>
                  <a:pt x="24" y="79"/>
                  <a:pt x="24" y="78"/>
                </a:cubicBezTo>
                <a:cubicBezTo>
                  <a:pt x="24" y="78"/>
                  <a:pt x="24" y="78"/>
                  <a:pt x="24" y="78"/>
                </a:cubicBezTo>
                <a:cubicBezTo>
                  <a:pt x="23" y="78"/>
                  <a:pt x="23" y="77"/>
                  <a:pt x="23" y="78"/>
                </a:cubicBezTo>
                <a:cubicBezTo>
                  <a:pt x="23" y="77"/>
                  <a:pt x="21" y="78"/>
                  <a:pt x="21" y="79"/>
                </a:cubicBezTo>
                <a:cubicBezTo>
                  <a:pt x="21" y="79"/>
                  <a:pt x="22" y="79"/>
                  <a:pt x="22" y="79"/>
                </a:cubicBezTo>
                <a:cubicBezTo>
                  <a:pt x="23" y="79"/>
                  <a:pt x="23" y="79"/>
                  <a:pt x="22" y="80"/>
                </a:cubicBezTo>
                <a:cubicBezTo>
                  <a:pt x="22" y="79"/>
                  <a:pt x="21" y="79"/>
                  <a:pt x="22" y="80"/>
                </a:cubicBezTo>
                <a:cubicBezTo>
                  <a:pt x="21" y="80"/>
                  <a:pt x="20" y="80"/>
                  <a:pt x="19" y="79"/>
                </a:cubicBezTo>
                <a:cubicBezTo>
                  <a:pt x="19" y="79"/>
                  <a:pt x="18" y="80"/>
                  <a:pt x="18" y="80"/>
                </a:cubicBezTo>
                <a:cubicBezTo>
                  <a:pt x="17" y="80"/>
                  <a:pt x="17" y="80"/>
                  <a:pt x="17" y="80"/>
                </a:cubicBezTo>
                <a:cubicBezTo>
                  <a:pt x="16" y="80"/>
                  <a:pt x="16" y="80"/>
                  <a:pt x="16" y="80"/>
                </a:cubicBezTo>
                <a:cubicBezTo>
                  <a:pt x="15" y="80"/>
                  <a:pt x="15" y="80"/>
                  <a:pt x="14" y="80"/>
                </a:cubicBezTo>
                <a:cubicBezTo>
                  <a:pt x="14" y="80"/>
                  <a:pt x="15" y="80"/>
                  <a:pt x="15" y="79"/>
                </a:cubicBezTo>
                <a:cubicBezTo>
                  <a:pt x="14" y="79"/>
                  <a:pt x="14" y="80"/>
                  <a:pt x="14" y="80"/>
                </a:cubicBezTo>
                <a:cubicBezTo>
                  <a:pt x="14" y="79"/>
                  <a:pt x="13" y="79"/>
                  <a:pt x="13" y="78"/>
                </a:cubicBezTo>
                <a:cubicBezTo>
                  <a:pt x="14" y="78"/>
                  <a:pt x="13" y="77"/>
                  <a:pt x="14" y="76"/>
                </a:cubicBezTo>
                <a:cubicBezTo>
                  <a:pt x="14" y="75"/>
                  <a:pt x="14" y="75"/>
                  <a:pt x="14" y="74"/>
                </a:cubicBezTo>
                <a:cubicBezTo>
                  <a:pt x="14" y="74"/>
                  <a:pt x="14" y="73"/>
                  <a:pt x="14" y="73"/>
                </a:cubicBezTo>
                <a:cubicBezTo>
                  <a:pt x="15" y="72"/>
                  <a:pt x="15" y="72"/>
                  <a:pt x="15" y="72"/>
                </a:cubicBezTo>
                <a:cubicBezTo>
                  <a:pt x="15" y="72"/>
                  <a:pt x="15" y="71"/>
                  <a:pt x="15" y="71"/>
                </a:cubicBezTo>
                <a:cubicBezTo>
                  <a:pt x="15" y="70"/>
                  <a:pt x="16" y="70"/>
                  <a:pt x="16" y="70"/>
                </a:cubicBezTo>
                <a:cubicBezTo>
                  <a:pt x="16" y="69"/>
                  <a:pt x="16" y="68"/>
                  <a:pt x="17" y="68"/>
                </a:cubicBezTo>
                <a:cubicBezTo>
                  <a:pt x="17" y="68"/>
                  <a:pt x="17" y="67"/>
                  <a:pt x="17" y="67"/>
                </a:cubicBezTo>
                <a:cubicBezTo>
                  <a:pt x="17" y="67"/>
                  <a:pt x="18" y="67"/>
                  <a:pt x="18" y="67"/>
                </a:cubicBezTo>
                <a:cubicBezTo>
                  <a:pt x="19" y="66"/>
                  <a:pt x="19" y="65"/>
                  <a:pt x="19" y="65"/>
                </a:cubicBezTo>
                <a:cubicBezTo>
                  <a:pt x="18" y="65"/>
                  <a:pt x="17" y="64"/>
                  <a:pt x="16" y="64"/>
                </a:cubicBezTo>
                <a:cubicBezTo>
                  <a:pt x="16" y="64"/>
                  <a:pt x="14" y="64"/>
                  <a:pt x="14" y="64"/>
                </a:cubicBezTo>
                <a:cubicBezTo>
                  <a:pt x="13" y="63"/>
                  <a:pt x="13" y="62"/>
                  <a:pt x="12" y="63"/>
                </a:cubicBezTo>
                <a:cubicBezTo>
                  <a:pt x="11" y="64"/>
                  <a:pt x="11" y="63"/>
                  <a:pt x="10" y="63"/>
                </a:cubicBezTo>
                <a:cubicBezTo>
                  <a:pt x="10" y="63"/>
                  <a:pt x="9" y="63"/>
                  <a:pt x="9" y="63"/>
                </a:cubicBezTo>
                <a:cubicBezTo>
                  <a:pt x="9" y="63"/>
                  <a:pt x="9" y="62"/>
                  <a:pt x="9" y="62"/>
                </a:cubicBezTo>
                <a:cubicBezTo>
                  <a:pt x="8" y="62"/>
                  <a:pt x="8" y="62"/>
                  <a:pt x="8" y="63"/>
                </a:cubicBezTo>
                <a:cubicBezTo>
                  <a:pt x="8" y="63"/>
                  <a:pt x="7" y="63"/>
                  <a:pt x="7" y="63"/>
                </a:cubicBezTo>
                <a:cubicBezTo>
                  <a:pt x="7" y="63"/>
                  <a:pt x="7" y="62"/>
                  <a:pt x="7" y="62"/>
                </a:cubicBezTo>
                <a:cubicBezTo>
                  <a:pt x="6" y="62"/>
                  <a:pt x="6" y="62"/>
                  <a:pt x="6" y="61"/>
                </a:cubicBezTo>
                <a:cubicBezTo>
                  <a:pt x="5" y="61"/>
                  <a:pt x="5" y="61"/>
                  <a:pt x="5" y="60"/>
                </a:cubicBezTo>
                <a:cubicBezTo>
                  <a:pt x="5" y="60"/>
                  <a:pt x="4" y="59"/>
                  <a:pt x="4" y="60"/>
                </a:cubicBezTo>
                <a:cubicBezTo>
                  <a:pt x="4" y="59"/>
                  <a:pt x="4" y="59"/>
                  <a:pt x="4" y="58"/>
                </a:cubicBezTo>
                <a:cubicBezTo>
                  <a:pt x="4" y="58"/>
                  <a:pt x="4" y="58"/>
                  <a:pt x="4" y="57"/>
                </a:cubicBezTo>
                <a:cubicBezTo>
                  <a:pt x="5" y="57"/>
                  <a:pt x="5" y="57"/>
                  <a:pt x="5" y="57"/>
                </a:cubicBezTo>
                <a:cubicBezTo>
                  <a:pt x="5" y="57"/>
                  <a:pt x="5" y="56"/>
                  <a:pt x="5" y="56"/>
                </a:cubicBezTo>
                <a:cubicBezTo>
                  <a:pt x="5" y="56"/>
                  <a:pt x="4" y="56"/>
                  <a:pt x="4" y="56"/>
                </a:cubicBezTo>
                <a:cubicBezTo>
                  <a:pt x="3" y="55"/>
                  <a:pt x="2" y="54"/>
                  <a:pt x="2" y="54"/>
                </a:cubicBezTo>
                <a:cubicBezTo>
                  <a:pt x="2" y="53"/>
                  <a:pt x="2" y="53"/>
                  <a:pt x="2" y="52"/>
                </a:cubicBezTo>
                <a:cubicBezTo>
                  <a:pt x="2" y="52"/>
                  <a:pt x="2" y="52"/>
                  <a:pt x="2" y="52"/>
                </a:cubicBezTo>
                <a:cubicBezTo>
                  <a:pt x="3" y="51"/>
                  <a:pt x="2" y="52"/>
                  <a:pt x="3" y="51"/>
                </a:cubicBezTo>
                <a:cubicBezTo>
                  <a:pt x="3" y="51"/>
                  <a:pt x="3" y="51"/>
                  <a:pt x="3" y="51"/>
                </a:cubicBezTo>
                <a:cubicBezTo>
                  <a:pt x="4" y="51"/>
                  <a:pt x="4" y="51"/>
                  <a:pt x="4" y="50"/>
                </a:cubicBezTo>
                <a:cubicBezTo>
                  <a:pt x="4" y="50"/>
                  <a:pt x="4" y="49"/>
                  <a:pt x="4" y="49"/>
                </a:cubicBezTo>
                <a:cubicBezTo>
                  <a:pt x="4" y="49"/>
                  <a:pt x="4" y="49"/>
                  <a:pt x="4" y="49"/>
                </a:cubicBezTo>
                <a:cubicBezTo>
                  <a:pt x="3" y="49"/>
                  <a:pt x="3" y="49"/>
                  <a:pt x="3" y="48"/>
                </a:cubicBezTo>
                <a:cubicBezTo>
                  <a:pt x="2" y="48"/>
                  <a:pt x="3" y="48"/>
                  <a:pt x="3" y="47"/>
                </a:cubicBezTo>
                <a:cubicBezTo>
                  <a:pt x="3" y="47"/>
                  <a:pt x="2" y="47"/>
                  <a:pt x="2" y="47"/>
                </a:cubicBezTo>
                <a:cubicBezTo>
                  <a:pt x="2" y="46"/>
                  <a:pt x="2" y="46"/>
                  <a:pt x="2" y="46"/>
                </a:cubicBezTo>
                <a:cubicBezTo>
                  <a:pt x="1" y="46"/>
                  <a:pt x="1" y="46"/>
                  <a:pt x="1" y="45"/>
                </a:cubicBezTo>
                <a:cubicBezTo>
                  <a:pt x="1" y="45"/>
                  <a:pt x="2" y="45"/>
                  <a:pt x="2" y="45"/>
                </a:cubicBezTo>
                <a:cubicBezTo>
                  <a:pt x="2" y="44"/>
                  <a:pt x="1" y="44"/>
                  <a:pt x="1" y="44"/>
                </a:cubicBezTo>
                <a:cubicBezTo>
                  <a:pt x="1" y="43"/>
                  <a:pt x="0" y="43"/>
                  <a:pt x="0" y="44"/>
                </a:cubicBezTo>
                <a:cubicBezTo>
                  <a:pt x="0" y="43"/>
                  <a:pt x="0" y="43"/>
                  <a:pt x="0" y="43"/>
                </a:cubicBezTo>
                <a:cubicBezTo>
                  <a:pt x="0" y="42"/>
                  <a:pt x="0" y="43"/>
                  <a:pt x="0" y="43"/>
                </a:cubicBezTo>
                <a:cubicBezTo>
                  <a:pt x="1" y="43"/>
                  <a:pt x="2" y="42"/>
                  <a:pt x="2" y="42"/>
                </a:cubicBezTo>
                <a:cubicBezTo>
                  <a:pt x="2" y="41"/>
                  <a:pt x="2" y="41"/>
                  <a:pt x="2" y="41"/>
                </a:cubicBezTo>
                <a:cubicBezTo>
                  <a:pt x="2" y="41"/>
                  <a:pt x="2" y="42"/>
                  <a:pt x="2" y="41"/>
                </a:cubicBezTo>
                <a:cubicBezTo>
                  <a:pt x="2" y="41"/>
                  <a:pt x="2" y="41"/>
                  <a:pt x="2" y="41"/>
                </a:cubicBezTo>
                <a:cubicBezTo>
                  <a:pt x="3" y="40"/>
                  <a:pt x="3" y="39"/>
                  <a:pt x="3" y="38"/>
                </a:cubicBezTo>
                <a:cubicBezTo>
                  <a:pt x="3" y="38"/>
                  <a:pt x="2" y="37"/>
                  <a:pt x="2" y="37"/>
                </a:cubicBezTo>
                <a:cubicBezTo>
                  <a:pt x="2" y="37"/>
                  <a:pt x="2" y="37"/>
                  <a:pt x="2" y="36"/>
                </a:cubicBezTo>
                <a:cubicBezTo>
                  <a:pt x="2" y="36"/>
                  <a:pt x="1" y="36"/>
                  <a:pt x="1" y="36"/>
                </a:cubicBezTo>
                <a:cubicBezTo>
                  <a:pt x="2" y="36"/>
                  <a:pt x="1" y="36"/>
                  <a:pt x="1" y="35"/>
                </a:cubicBezTo>
                <a:cubicBezTo>
                  <a:pt x="1" y="35"/>
                  <a:pt x="1" y="35"/>
                  <a:pt x="1" y="35"/>
                </a:cubicBezTo>
                <a:cubicBezTo>
                  <a:pt x="1" y="34"/>
                  <a:pt x="2" y="34"/>
                  <a:pt x="2" y="34"/>
                </a:cubicBezTo>
                <a:cubicBezTo>
                  <a:pt x="3" y="35"/>
                  <a:pt x="2" y="34"/>
                  <a:pt x="2" y="34"/>
                </a:cubicBezTo>
                <a:cubicBezTo>
                  <a:pt x="3" y="34"/>
                  <a:pt x="4" y="34"/>
                  <a:pt x="4" y="34"/>
                </a:cubicBezTo>
                <a:cubicBezTo>
                  <a:pt x="4" y="34"/>
                  <a:pt x="5" y="35"/>
                  <a:pt x="5" y="34"/>
                </a:cubicBezTo>
                <a:cubicBezTo>
                  <a:pt x="5" y="34"/>
                  <a:pt x="5" y="34"/>
                  <a:pt x="6" y="34"/>
                </a:cubicBezTo>
                <a:cubicBezTo>
                  <a:pt x="6" y="34"/>
                  <a:pt x="7" y="34"/>
                  <a:pt x="7" y="34"/>
                </a:cubicBezTo>
                <a:cubicBezTo>
                  <a:pt x="9" y="33"/>
                  <a:pt x="8" y="33"/>
                  <a:pt x="7" y="32"/>
                </a:cubicBezTo>
                <a:cubicBezTo>
                  <a:pt x="7" y="32"/>
                  <a:pt x="7" y="32"/>
                  <a:pt x="7" y="32"/>
                </a:cubicBezTo>
                <a:cubicBezTo>
                  <a:pt x="8" y="31"/>
                  <a:pt x="8" y="32"/>
                  <a:pt x="8" y="31"/>
                </a:cubicBezTo>
                <a:cubicBezTo>
                  <a:pt x="9" y="31"/>
                  <a:pt x="9" y="31"/>
                  <a:pt x="9" y="31"/>
                </a:cubicBezTo>
                <a:cubicBezTo>
                  <a:pt x="9" y="31"/>
                  <a:pt x="10" y="30"/>
                  <a:pt x="10" y="30"/>
                </a:cubicBezTo>
                <a:cubicBezTo>
                  <a:pt x="10" y="30"/>
                  <a:pt x="10" y="30"/>
                  <a:pt x="10" y="30"/>
                </a:cubicBezTo>
                <a:cubicBezTo>
                  <a:pt x="10" y="30"/>
                  <a:pt x="10" y="29"/>
                  <a:pt x="10" y="29"/>
                </a:cubicBezTo>
                <a:cubicBezTo>
                  <a:pt x="10" y="29"/>
                  <a:pt x="10" y="28"/>
                  <a:pt x="9" y="28"/>
                </a:cubicBezTo>
                <a:cubicBezTo>
                  <a:pt x="9" y="28"/>
                  <a:pt x="8" y="28"/>
                  <a:pt x="8" y="28"/>
                </a:cubicBezTo>
                <a:cubicBezTo>
                  <a:pt x="7" y="28"/>
                  <a:pt x="7" y="27"/>
                  <a:pt x="8" y="27"/>
                </a:cubicBezTo>
                <a:cubicBezTo>
                  <a:pt x="7" y="26"/>
                  <a:pt x="7" y="26"/>
                  <a:pt x="8" y="26"/>
                </a:cubicBezTo>
                <a:cubicBezTo>
                  <a:pt x="9" y="26"/>
                  <a:pt x="9" y="26"/>
                  <a:pt x="10" y="26"/>
                </a:cubicBezTo>
                <a:cubicBezTo>
                  <a:pt x="10" y="26"/>
                  <a:pt x="10" y="26"/>
                  <a:pt x="10" y="25"/>
                </a:cubicBezTo>
                <a:cubicBezTo>
                  <a:pt x="10" y="25"/>
                  <a:pt x="10" y="24"/>
                  <a:pt x="11" y="24"/>
                </a:cubicBezTo>
                <a:cubicBezTo>
                  <a:pt x="11" y="23"/>
                  <a:pt x="12" y="22"/>
                  <a:pt x="11" y="21"/>
                </a:cubicBezTo>
                <a:cubicBezTo>
                  <a:pt x="11" y="20"/>
                  <a:pt x="12" y="18"/>
                  <a:pt x="13" y="19"/>
                </a:cubicBezTo>
                <a:cubicBezTo>
                  <a:pt x="12" y="18"/>
                  <a:pt x="11" y="19"/>
                  <a:pt x="10" y="19"/>
                </a:cubicBezTo>
                <a:cubicBezTo>
                  <a:pt x="10" y="18"/>
                  <a:pt x="10" y="18"/>
                  <a:pt x="10" y="17"/>
                </a:cubicBezTo>
                <a:cubicBezTo>
                  <a:pt x="10" y="17"/>
                  <a:pt x="11" y="17"/>
                  <a:pt x="11" y="16"/>
                </a:cubicBezTo>
                <a:cubicBezTo>
                  <a:pt x="10" y="16"/>
                  <a:pt x="11" y="16"/>
                  <a:pt x="11" y="15"/>
                </a:cubicBezTo>
                <a:cubicBezTo>
                  <a:pt x="12" y="15"/>
                  <a:pt x="13" y="15"/>
                  <a:pt x="14" y="15"/>
                </a:cubicBezTo>
                <a:cubicBezTo>
                  <a:pt x="14" y="15"/>
                  <a:pt x="15" y="15"/>
                  <a:pt x="16" y="15"/>
                </a:cubicBezTo>
                <a:cubicBezTo>
                  <a:pt x="17" y="15"/>
                  <a:pt x="18" y="15"/>
                  <a:pt x="18" y="15"/>
                </a:cubicBezTo>
                <a:cubicBezTo>
                  <a:pt x="18" y="15"/>
                  <a:pt x="19" y="16"/>
                  <a:pt x="19" y="16"/>
                </a:cubicBezTo>
                <a:cubicBezTo>
                  <a:pt x="19" y="16"/>
                  <a:pt x="19" y="16"/>
                  <a:pt x="19" y="17"/>
                </a:cubicBezTo>
                <a:cubicBezTo>
                  <a:pt x="19" y="17"/>
                  <a:pt x="19" y="17"/>
                  <a:pt x="19" y="17"/>
                </a:cubicBezTo>
                <a:cubicBezTo>
                  <a:pt x="19" y="17"/>
                  <a:pt x="19" y="17"/>
                  <a:pt x="19" y="17"/>
                </a:cubicBezTo>
                <a:cubicBezTo>
                  <a:pt x="19" y="18"/>
                  <a:pt x="19" y="17"/>
                  <a:pt x="19" y="17"/>
                </a:cubicBezTo>
                <a:cubicBezTo>
                  <a:pt x="20" y="18"/>
                  <a:pt x="20" y="18"/>
                  <a:pt x="20" y="18"/>
                </a:cubicBezTo>
                <a:cubicBezTo>
                  <a:pt x="21" y="17"/>
                  <a:pt x="21" y="17"/>
                  <a:pt x="20" y="17"/>
                </a:cubicBezTo>
                <a:cubicBezTo>
                  <a:pt x="20" y="17"/>
                  <a:pt x="20" y="16"/>
                  <a:pt x="21" y="16"/>
                </a:cubicBezTo>
                <a:cubicBezTo>
                  <a:pt x="21" y="16"/>
                  <a:pt x="22" y="16"/>
                  <a:pt x="22" y="17"/>
                </a:cubicBezTo>
                <a:cubicBezTo>
                  <a:pt x="22" y="16"/>
                  <a:pt x="22" y="17"/>
                  <a:pt x="22" y="17"/>
                </a:cubicBezTo>
                <a:cubicBezTo>
                  <a:pt x="22" y="17"/>
                  <a:pt x="23" y="17"/>
                  <a:pt x="23" y="16"/>
                </a:cubicBezTo>
                <a:cubicBezTo>
                  <a:pt x="23" y="16"/>
                  <a:pt x="22" y="15"/>
                  <a:pt x="22" y="15"/>
                </a:cubicBezTo>
                <a:cubicBezTo>
                  <a:pt x="22" y="15"/>
                  <a:pt x="22" y="14"/>
                  <a:pt x="22" y="14"/>
                </a:cubicBezTo>
                <a:cubicBezTo>
                  <a:pt x="23" y="13"/>
                  <a:pt x="23" y="13"/>
                  <a:pt x="23" y="13"/>
                </a:cubicBezTo>
                <a:cubicBezTo>
                  <a:pt x="24" y="13"/>
                  <a:pt x="24" y="13"/>
                  <a:pt x="24" y="13"/>
                </a:cubicBezTo>
                <a:cubicBezTo>
                  <a:pt x="25" y="13"/>
                  <a:pt x="25" y="14"/>
                  <a:pt x="26" y="14"/>
                </a:cubicBezTo>
                <a:cubicBezTo>
                  <a:pt x="26" y="13"/>
                  <a:pt x="27" y="13"/>
                  <a:pt x="28" y="13"/>
                </a:cubicBezTo>
                <a:cubicBezTo>
                  <a:pt x="29" y="13"/>
                  <a:pt x="29" y="14"/>
                  <a:pt x="30" y="14"/>
                </a:cubicBezTo>
                <a:cubicBezTo>
                  <a:pt x="30" y="15"/>
                  <a:pt x="30" y="16"/>
                  <a:pt x="31" y="16"/>
                </a:cubicBezTo>
                <a:cubicBezTo>
                  <a:pt x="32" y="16"/>
                  <a:pt x="32" y="16"/>
                  <a:pt x="32" y="16"/>
                </a:cubicBezTo>
                <a:cubicBezTo>
                  <a:pt x="32" y="16"/>
                  <a:pt x="33" y="17"/>
                  <a:pt x="33" y="17"/>
                </a:cubicBezTo>
                <a:cubicBezTo>
                  <a:pt x="33" y="16"/>
                  <a:pt x="32" y="16"/>
                  <a:pt x="32" y="16"/>
                </a:cubicBezTo>
                <a:cubicBezTo>
                  <a:pt x="31" y="16"/>
                  <a:pt x="31" y="16"/>
                  <a:pt x="31" y="16"/>
                </a:cubicBezTo>
                <a:cubicBezTo>
                  <a:pt x="31" y="16"/>
                  <a:pt x="30" y="15"/>
                  <a:pt x="31" y="16"/>
                </a:cubicBezTo>
                <a:cubicBezTo>
                  <a:pt x="31" y="15"/>
                  <a:pt x="30" y="15"/>
                  <a:pt x="30" y="14"/>
                </a:cubicBezTo>
                <a:cubicBezTo>
                  <a:pt x="29" y="14"/>
                  <a:pt x="29" y="13"/>
                  <a:pt x="28" y="13"/>
                </a:cubicBezTo>
                <a:cubicBezTo>
                  <a:pt x="27" y="13"/>
                  <a:pt x="26" y="13"/>
                  <a:pt x="25" y="12"/>
                </a:cubicBezTo>
                <a:cubicBezTo>
                  <a:pt x="25" y="11"/>
                  <a:pt x="26" y="11"/>
                  <a:pt x="26" y="12"/>
                </a:cubicBezTo>
                <a:cubicBezTo>
                  <a:pt x="27" y="12"/>
                  <a:pt x="26" y="10"/>
                  <a:pt x="26" y="10"/>
                </a:cubicBezTo>
                <a:cubicBezTo>
                  <a:pt x="25" y="10"/>
                  <a:pt x="25" y="10"/>
                  <a:pt x="25" y="10"/>
                </a:cubicBezTo>
                <a:cubicBezTo>
                  <a:pt x="25" y="10"/>
                  <a:pt x="25" y="9"/>
                  <a:pt x="25" y="9"/>
                </a:cubicBezTo>
                <a:cubicBezTo>
                  <a:pt x="25" y="9"/>
                  <a:pt x="26" y="9"/>
                  <a:pt x="26" y="9"/>
                </a:cubicBezTo>
                <a:cubicBezTo>
                  <a:pt x="26" y="9"/>
                  <a:pt x="26" y="9"/>
                  <a:pt x="26" y="8"/>
                </a:cubicBezTo>
                <a:cubicBezTo>
                  <a:pt x="25" y="9"/>
                  <a:pt x="25" y="9"/>
                  <a:pt x="24" y="9"/>
                </a:cubicBezTo>
                <a:cubicBezTo>
                  <a:pt x="24" y="9"/>
                  <a:pt x="23" y="9"/>
                  <a:pt x="23" y="8"/>
                </a:cubicBezTo>
                <a:cubicBezTo>
                  <a:pt x="23" y="8"/>
                  <a:pt x="24" y="8"/>
                  <a:pt x="24" y="8"/>
                </a:cubicBezTo>
                <a:cubicBezTo>
                  <a:pt x="24" y="8"/>
                  <a:pt x="23" y="8"/>
                  <a:pt x="23" y="8"/>
                </a:cubicBezTo>
                <a:cubicBezTo>
                  <a:pt x="24" y="7"/>
                  <a:pt x="25" y="8"/>
                  <a:pt x="26" y="7"/>
                </a:cubicBezTo>
                <a:cubicBezTo>
                  <a:pt x="26" y="7"/>
                  <a:pt x="27" y="7"/>
                  <a:pt x="26" y="6"/>
                </a:cubicBezTo>
                <a:cubicBezTo>
                  <a:pt x="26" y="6"/>
                  <a:pt x="25" y="5"/>
                  <a:pt x="25" y="5"/>
                </a:cubicBezTo>
                <a:cubicBezTo>
                  <a:pt x="26" y="5"/>
                  <a:pt x="24" y="4"/>
                  <a:pt x="24" y="4"/>
                </a:cubicBezTo>
                <a:cubicBezTo>
                  <a:pt x="24" y="4"/>
                  <a:pt x="23" y="3"/>
                  <a:pt x="23" y="3"/>
                </a:cubicBezTo>
                <a:cubicBezTo>
                  <a:pt x="23" y="2"/>
                  <a:pt x="22" y="3"/>
                  <a:pt x="21" y="3"/>
                </a:cubicBezTo>
                <a:cubicBezTo>
                  <a:pt x="20" y="2"/>
                  <a:pt x="21" y="4"/>
                  <a:pt x="21" y="4"/>
                </a:cubicBezTo>
                <a:cubicBezTo>
                  <a:pt x="20" y="3"/>
                  <a:pt x="21" y="0"/>
                  <a:pt x="22" y="1"/>
                </a:cubicBezTo>
                <a:cubicBezTo>
                  <a:pt x="22" y="1"/>
                  <a:pt x="22" y="1"/>
                  <a:pt x="22" y="1"/>
                </a:cubicBezTo>
                <a:cubicBezTo>
                  <a:pt x="22" y="1"/>
                  <a:pt x="20" y="2"/>
                  <a:pt x="21" y="3"/>
                </a:cubicBezTo>
                <a:cubicBezTo>
                  <a:pt x="22" y="3"/>
                  <a:pt x="24" y="3"/>
                  <a:pt x="24" y="2"/>
                </a:cubicBezTo>
                <a:cubicBezTo>
                  <a:pt x="24" y="3"/>
                  <a:pt x="25" y="2"/>
                  <a:pt x="25" y="2"/>
                </a:cubicBezTo>
                <a:cubicBezTo>
                  <a:pt x="26" y="2"/>
                  <a:pt x="27" y="3"/>
                  <a:pt x="28" y="3"/>
                </a:cubicBezTo>
                <a:cubicBezTo>
                  <a:pt x="28" y="3"/>
                  <a:pt x="28" y="3"/>
                  <a:pt x="29" y="3"/>
                </a:cubicBezTo>
                <a:cubicBezTo>
                  <a:pt x="29" y="3"/>
                  <a:pt x="30" y="3"/>
                  <a:pt x="30" y="3"/>
                </a:cubicBezTo>
                <a:cubicBezTo>
                  <a:pt x="30" y="3"/>
                  <a:pt x="31" y="3"/>
                  <a:pt x="31" y="3"/>
                </a:cubicBezTo>
                <a:cubicBezTo>
                  <a:pt x="31" y="3"/>
                  <a:pt x="32" y="3"/>
                  <a:pt x="32" y="3"/>
                </a:cubicBezTo>
                <a:cubicBezTo>
                  <a:pt x="32" y="3"/>
                  <a:pt x="33" y="4"/>
                  <a:pt x="33" y="4"/>
                </a:cubicBezTo>
                <a:cubicBezTo>
                  <a:pt x="34" y="4"/>
                  <a:pt x="34" y="3"/>
                  <a:pt x="34" y="4"/>
                </a:cubicBezTo>
                <a:cubicBezTo>
                  <a:pt x="34" y="4"/>
                  <a:pt x="35" y="4"/>
                  <a:pt x="34" y="5"/>
                </a:cubicBezTo>
                <a:cubicBezTo>
                  <a:pt x="34" y="5"/>
                  <a:pt x="34" y="5"/>
                  <a:pt x="34" y="5"/>
                </a:cubicBezTo>
                <a:cubicBezTo>
                  <a:pt x="35" y="5"/>
                  <a:pt x="35" y="5"/>
                  <a:pt x="35" y="6"/>
                </a:cubicBezTo>
                <a:cubicBezTo>
                  <a:pt x="35" y="6"/>
                  <a:pt x="34" y="6"/>
                  <a:pt x="34" y="7"/>
                </a:cubicBezTo>
                <a:cubicBezTo>
                  <a:pt x="34" y="7"/>
                  <a:pt x="33" y="7"/>
                  <a:pt x="33" y="7"/>
                </a:cubicBezTo>
                <a:cubicBezTo>
                  <a:pt x="33" y="7"/>
                  <a:pt x="34" y="7"/>
                  <a:pt x="34" y="7"/>
                </a:cubicBezTo>
                <a:cubicBezTo>
                  <a:pt x="35" y="7"/>
                  <a:pt x="35" y="7"/>
                  <a:pt x="36" y="7"/>
                </a:cubicBezTo>
                <a:cubicBezTo>
                  <a:pt x="36" y="7"/>
                  <a:pt x="36" y="8"/>
                  <a:pt x="36" y="8"/>
                </a:cubicBezTo>
                <a:cubicBezTo>
                  <a:pt x="36" y="8"/>
                  <a:pt x="36" y="8"/>
                  <a:pt x="36" y="8"/>
                </a:cubicBezTo>
                <a:cubicBezTo>
                  <a:pt x="36" y="8"/>
                  <a:pt x="36" y="7"/>
                  <a:pt x="37" y="7"/>
                </a:cubicBezTo>
                <a:cubicBezTo>
                  <a:pt x="38" y="7"/>
                  <a:pt x="38" y="8"/>
                  <a:pt x="39" y="8"/>
                </a:cubicBezTo>
                <a:cubicBezTo>
                  <a:pt x="40" y="8"/>
                  <a:pt x="40" y="9"/>
                  <a:pt x="41" y="8"/>
                </a:cubicBezTo>
                <a:cubicBezTo>
                  <a:pt x="42" y="8"/>
                  <a:pt x="42" y="8"/>
                  <a:pt x="43" y="8"/>
                </a:cubicBezTo>
                <a:cubicBezTo>
                  <a:pt x="43" y="8"/>
                  <a:pt x="43" y="8"/>
                  <a:pt x="43" y="8"/>
                </a:cubicBezTo>
                <a:cubicBezTo>
                  <a:pt x="43" y="8"/>
                  <a:pt x="44" y="8"/>
                  <a:pt x="44" y="8"/>
                </a:cubicBezTo>
                <a:cubicBezTo>
                  <a:pt x="44" y="8"/>
                  <a:pt x="43" y="8"/>
                  <a:pt x="43" y="8"/>
                </a:cubicBezTo>
                <a:cubicBezTo>
                  <a:pt x="44" y="10"/>
                  <a:pt x="43" y="10"/>
                  <a:pt x="41" y="11"/>
                </a:cubicBezTo>
                <a:cubicBezTo>
                  <a:pt x="40" y="11"/>
                  <a:pt x="41" y="12"/>
                  <a:pt x="41" y="12"/>
                </a:cubicBezTo>
                <a:cubicBezTo>
                  <a:pt x="42" y="12"/>
                  <a:pt x="42" y="12"/>
                  <a:pt x="42" y="12"/>
                </a:cubicBezTo>
                <a:cubicBezTo>
                  <a:pt x="42" y="12"/>
                  <a:pt x="43" y="12"/>
                  <a:pt x="43" y="12"/>
                </a:cubicBezTo>
                <a:cubicBezTo>
                  <a:pt x="44" y="11"/>
                  <a:pt x="44" y="12"/>
                  <a:pt x="45" y="12"/>
                </a:cubicBezTo>
                <a:cubicBezTo>
                  <a:pt x="45" y="12"/>
                  <a:pt x="46" y="13"/>
                  <a:pt x="46" y="13"/>
                </a:cubicBezTo>
                <a:cubicBezTo>
                  <a:pt x="46" y="13"/>
                  <a:pt x="46" y="13"/>
                  <a:pt x="47" y="12"/>
                </a:cubicBezTo>
                <a:cubicBezTo>
                  <a:pt x="47" y="12"/>
                  <a:pt x="47" y="12"/>
                  <a:pt x="47" y="11"/>
                </a:cubicBezTo>
                <a:cubicBezTo>
                  <a:pt x="47" y="11"/>
                  <a:pt x="48" y="11"/>
                  <a:pt x="48" y="11"/>
                </a:cubicBezTo>
                <a:cubicBezTo>
                  <a:pt x="48" y="11"/>
                  <a:pt x="47" y="11"/>
                  <a:pt x="47" y="11"/>
                </a:cubicBezTo>
                <a:cubicBezTo>
                  <a:pt x="47" y="10"/>
                  <a:pt x="49" y="10"/>
                  <a:pt x="50" y="10"/>
                </a:cubicBezTo>
                <a:cubicBezTo>
                  <a:pt x="50" y="10"/>
                  <a:pt x="51" y="10"/>
                  <a:pt x="51" y="10"/>
                </a:cubicBezTo>
                <a:cubicBezTo>
                  <a:pt x="52" y="10"/>
                  <a:pt x="51" y="10"/>
                  <a:pt x="52" y="11"/>
                </a:cubicBezTo>
                <a:cubicBezTo>
                  <a:pt x="52" y="10"/>
                  <a:pt x="52" y="10"/>
                  <a:pt x="52" y="10"/>
                </a:cubicBezTo>
                <a:cubicBezTo>
                  <a:pt x="52" y="10"/>
                  <a:pt x="52" y="9"/>
                  <a:pt x="53" y="9"/>
                </a:cubicBezTo>
                <a:cubicBezTo>
                  <a:pt x="53" y="9"/>
                  <a:pt x="53" y="9"/>
                  <a:pt x="54" y="9"/>
                </a:cubicBezTo>
                <a:cubicBezTo>
                  <a:pt x="54" y="8"/>
                  <a:pt x="54" y="7"/>
                  <a:pt x="55" y="7"/>
                </a:cubicBezTo>
                <a:cubicBezTo>
                  <a:pt x="55" y="7"/>
                  <a:pt x="58" y="7"/>
                  <a:pt x="58" y="7"/>
                </a:cubicBezTo>
                <a:cubicBezTo>
                  <a:pt x="58" y="8"/>
                  <a:pt x="55" y="7"/>
                  <a:pt x="56" y="8"/>
                </a:cubicBezTo>
                <a:cubicBezTo>
                  <a:pt x="55" y="8"/>
                  <a:pt x="54" y="8"/>
                  <a:pt x="54" y="8"/>
                </a:cubicBezTo>
                <a:cubicBezTo>
                  <a:pt x="54" y="9"/>
                  <a:pt x="54" y="9"/>
                  <a:pt x="54" y="9"/>
                </a:cubicBezTo>
                <a:cubicBezTo>
                  <a:pt x="54" y="9"/>
                  <a:pt x="55" y="8"/>
                  <a:pt x="55" y="8"/>
                </a:cubicBezTo>
                <a:cubicBezTo>
                  <a:pt x="55" y="8"/>
                  <a:pt x="56" y="8"/>
                  <a:pt x="56" y="8"/>
                </a:cubicBezTo>
                <a:cubicBezTo>
                  <a:pt x="56" y="8"/>
                  <a:pt x="57" y="7"/>
                  <a:pt x="56" y="8"/>
                </a:cubicBezTo>
                <a:cubicBezTo>
                  <a:pt x="57" y="8"/>
                  <a:pt x="57" y="8"/>
                  <a:pt x="57" y="8"/>
                </a:cubicBezTo>
                <a:cubicBezTo>
                  <a:pt x="58" y="8"/>
                  <a:pt x="58" y="7"/>
                  <a:pt x="59" y="7"/>
                </a:cubicBezTo>
                <a:cubicBezTo>
                  <a:pt x="59" y="7"/>
                  <a:pt x="60" y="8"/>
                  <a:pt x="60" y="8"/>
                </a:cubicBezTo>
                <a:cubicBezTo>
                  <a:pt x="60" y="8"/>
                  <a:pt x="60" y="8"/>
                  <a:pt x="60" y="9"/>
                </a:cubicBezTo>
                <a:cubicBezTo>
                  <a:pt x="60" y="9"/>
                  <a:pt x="60" y="9"/>
                  <a:pt x="60" y="9"/>
                </a:cubicBezTo>
                <a:cubicBezTo>
                  <a:pt x="61" y="9"/>
                  <a:pt x="62" y="9"/>
                  <a:pt x="62" y="10"/>
                </a:cubicBezTo>
                <a:cubicBezTo>
                  <a:pt x="62" y="10"/>
                  <a:pt x="62" y="10"/>
                  <a:pt x="62" y="10"/>
                </a:cubicBezTo>
                <a:cubicBezTo>
                  <a:pt x="63" y="10"/>
                  <a:pt x="63" y="11"/>
                  <a:pt x="63" y="11"/>
                </a:cubicBezTo>
                <a:cubicBezTo>
                  <a:pt x="64" y="10"/>
                  <a:pt x="64" y="10"/>
                  <a:pt x="65" y="10"/>
                </a:cubicBezTo>
                <a:cubicBezTo>
                  <a:pt x="65" y="10"/>
                  <a:pt x="65" y="10"/>
                  <a:pt x="66" y="11"/>
                </a:cubicBezTo>
                <a:cubicBezTo>
                  <a:pt x="66" y="11"/>
                  <a:pt x="66" y="11"/>
                  <a:pt x="65" y="10"/>
                </a:cubicBezTo>
                <a:cubicBezTo>
                  <a:pt x="65" y="10"/>
                  <a:pt x="65" y="10"/>
                  <a:pt x="66" y="10"/>
                </a:cubicBezTo>
                <a:cubicBezTo>
                  <a:pt x="66" y="11"/>
                  <a:pt x="67" y="11"/>
                  <a:pt x="67" y="11"/>
                </a:cubicBezTo>
                <a:cubicBezTo>
                  <a:pt x="68" y="12"/>
                  <a:pt x="68" y="12"/>
                  <a:pt x="69" y="12"/>
                </a:cubicBezTo>
                <a:cubicBezTo>
                  <a:pt x="69" y="13"/>
                  <a:pt x="69" y="13"/>
                  <a:pt x="69" y="13"/>
                </a:cubicBezTo>
                <a:cubicBezTo>
                  <a:pt x="68" y="13"/>
                  <a:pt x="68" y="13"/>
                  <a:pt x="67" y="13"/>
                </a:cubicBezTo>
                <a:cubicBezTo>
                  <a:pt x="67" y="13"/>
                  <a:pt x="65" y="13"/>
                  <a:pt x="66" y="13"/>
                </a:cubicBezTo>
                <a:cubicBezTo>
                  <a:pt x="66" y="13"/>
                  <a:pt x="67" y="13"/>
                  <a:pt x="66" y="12"/>
                </a:cubicBezTo>
                <a:cubicBezTo>
                  <a:pt x="66" y="12"/>
                  <a:pt x="67" y="12"/>
                  <a:pt x="67" y="12"/>
                </a:cubicBezTo>
                <a:cubicBezTo>
                  <a:pt x="67" y="12"/>
                  <a:pt x="67" y="12"/>
                  <a:pt x="68" y="12"/>
                </a:cubicBezTo>
                <a:cubicBezTo>
                  <a:pt x="68" y="12"/>
                  <a:pt x="67" y="12"/>
                  <a:pt x="67" y="11"/>
                </a:cubicBezTo>
                <a:cubicBezTo>
                  <a:pt x="66" y="11"/>
                  <a:pt x="67" y="12"/>
                  <a:pt x="66" y="12"/>
                </a:cubicBezTo>
                <a:cubicBezTo>
                  <a:pt x="66" y="12"/>
                  <a:pt x="66" y="11"/>
                  <a:pt x="66" y="11"/>
                </a:cubicBezTo>
                <a:cubicBezTo>
                  <a:pt x="66" y="11"/>
                  <a:pt x="65" y="12"/>
                  <a:pt x="65" y="12"/>
                </a:cubicBezTo>
                <a:cubicBezTo>
                  <a:pt x="65" y="11"/>
                  <a:pt x="65" y="11"/>
                  <a:pt x="65" y="11"/>
                </a:cubicBezTo>
                <a:cubicBezTo>
                  <a:pt x="65" y="11"/>
                  <a:pt x="65" y="11"/>
                  <a:pt x="65" y="11"/>
                </a:cubicBezTo>
                <a:cubicBezTo>
                  <a:pt x="65" y="12"/>
                  <a:pt x="66" y="12"/>
                  <a:pt x="66" y="12"/>
                </a:cubicBezTo>
                <a:cubicBezTo>
                  <a:pt x="67" y="13"/>
                  <a:pt x="66" y="13"/>
                  <a:pt x="66" y="13"/>
                </a:cubicBezTo>
                <a:cubicBezTo>
                  <a:pt x="65" y="14"/>
                  <a:pt x="68" y="14"/>
                  <a:pt x="68" y="14"/>
                </a:cubicBezTo>
                <a:cubicBezTo>
                  <a:pt x="68" y="14"/>
                  <a:pt x="69" y="15"/>
                  <a:pt x="69" y="14"/>
                </a:cubicBezTo>
                <a:cubicBezTo>
                  <a:pt x="69" y="14"/>
                  <a:pt x="69" y="15"/>
                  <a:pt x="69" y="15"/>
                </a:cubicBezTo>
                <a:cubicBezTo>
                  <a:pt x="70" y="15"/>
                  <a:pt x="70" y="16"/>
                  <a:pt x="70" y="17"/>
                </a:cubicBezTo>
                <a:cubicBezTo>
                  <a:pt x="70" y="17"/>
                  <a:pt x="71" y="18"/>
                  <a:pt x="71" y="18"/>
                </a:cubicBezTo>
                <a:cubicBezTo>
                  <a:pt x="71" y="19"/>
                  <a:pt x="71" y="19"/>
                  <a:pt x="71" y="20"/>
                </a:cubicBezTo>
                <a:cubicBezTo>
                  <a:pt x="71" y="20"/>
                  <a:pt x="71" y="20"/>
                  <a:pt x="71" y="20"/>
                </a:cubicBezTo>
                <a:cubicBezTo>
                  <a:pt x="70" y="20"/>
                  <a:pt x="71" y="21"/>
                  <a:pt x="71" y="21"/>
                </a:cubicBezTo>
                <a:cubicBezTo>
                  <a:pt x="70" y="22"/>
                  <a:pt x="70" y="22"/>
                  <a:pt x="69" y="22"/>
                </a:cubicBezTo>
                <a:cubicBezTo>
                  <a:pt x="69" y="22"/>
                  <a:pt x="69" y="23"/>
                  <a:pt x="69" y="23"/>
                </a:cubicBezTo>
                <a:cubicBezTo>
                  <a:pt x="69" y="23"/>
                  <a:pt x="68" y="24"/>
                  <a:pt x="69" y="24"/>
                </a:cubicBezTo>
                <a:cubicBezTo>
                  <a:pt x="69" y="24"/>
                  <a:pt x="70" y="25"/>
                  <a:pt x="71" y="25"/>
                </a:cubicBezTo>
                <a:cubicBezTo>
                  <a:pt x="72" y="26"/>
                  <a:pt x="72" y="26"/>
                  <a:pt x="73" y="26"/>
                </a:cubicBezTo>
                <a:cubicBezTo>
                  <a:pt x="73" y="27"/>
                  <a:pt x="73" y="27"/>
                  <a:pt x="73" y="27"/>
                </a:cubicBezTo>
                <a:cubicBezTo>
                  <a:pt x="73" y="28"/>
                  <a:pt x="72" y="28"/>
                  <a:pt x="72" y="29"/>
                </a:cubicBezTo>
                <a:cubicBezTo>
                  <a:pt x="73" y="30"/>
                  <a:pt x="73" y="30"/>
                  <a:pt x="73" y="31"/>
                </a:cubicBezTo>
                <a:cubicBezTo>
                  <a:pt x="73" y="31"/>
                  <a:pt x="73" y="31"/>
                  <a:pt x="74" y="32"/>
                </a:cubicBezTo>
                <a:cubicBezTo>
                  <a:pt x="74" y="32"/>
                  <a:pt x="74" y="32"/>
                  <a:pt x="74" y="33"/>
                </a:cubicBezTo>
                <a:cubicBezTo>
                  <a:pt x="74" y="33"/>
                  <a:pt x="74" y="33"/>
                  <a:pt x="73" y="34"/>
                </a:cubicBezTo>
                <a:cubicBezTo>
                  <a:pt x="73" y="34"/>
                  <a:pt x="73" y="34"/>
                  <a:pt x="73" y="35"/>
                </a:cubicBezTo>
                <a:cubicBezTo>
                  <a:pt x="73" y="36"/>
                  <a:pt x="74" y="36"/>
                  <a:pt x="74" y="37"/>
                </a:cubicBezTo>
                <a:cubicBezTo>
                  <a:pt x="73" y="38"/>
                  <a:pt x="75" y="38"/>
                  <a:pt x="75" y="38"/>
                </a:cubicBezTo>
                <a:cubicBezTo>
                  <a:pt x="76" y="38"/>
                  <a:pt x="76" y="39"/>
                  <a:pt x="76" y="39"/>
                </a:cubicBezTo>
                <a:cubicBezTo>
                  <a:pt x="76" y="40"/>
                  <a:pt x="77" y="40"/>
                  <a:pt x="77" y="41"/>
                </a:cubicBezTo>
                <a:close/>
                <a:moveTo>
                  <a:pt x="22" y="18"/>
                </a:moveTo>
                <a:cubicBezTo>
                  <a:pt x="22" y="18"/>
                  <a:pt x="22" y="18"/>
                  <a:pt x="22" y="18"/>
                </a:cubicBezTo>
                <a:cubicBezTo>
                  <a:pt x="22" y="18"/>
                  <a:pt x="22" y="18"/>
                  <a:pt x="22" y="18"/>
                </a:cubicBezTo>
                <a:close/>
                <a:moveTo>
                  <a:pt x="13" y="15"/>
                </a:moveTo>
                <a:cubicBezTo>
                  <a:pt x="12" y="14"/>
                  <a:pt x="11" y="15"/>
                  <a:pt x="11" y="15"/>
                </a:cubicBezTo>
                <a:cubicBezTo>
                  <a:pt x="11" y="15"/>
                  <a:pt x="11" y="15"/>
                  <a:pt x="11" y="15"/>
                </a:cubicBezTo>
                <a:cubicBezTo>
                  <a:pt x="12" y="15"/>
                  <a:pt x="12" y="15"/>
                  <a:pt x="13" y="1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3" name="Georgia"/>
          <p:cNvSpPr>
            <a:spLocks/>
          </p:cNvSpPr>
          <p:nvPr/>
        </p:nvSpPr>
        <p:spPr bwMode="auto">
          <a:xfrm>
            <a:off x="7096034" y="2935003"/>
            <a:ext cx="227991" cy="100996"/>
          </a:xfrm>
          <a:custGeom>
            <a:avLst/>
            <a:gdLst/>
            <a:ahLst/>
            <a:cxnLst>
              <a:cxn ang="0">
                <a:pos x="59" y="22"/>
              </a:cxn>
              <a:cxn ang="0">
                <a:pos x="58" y="20"/>
              </a:cxn>
              <a:cxn ang="0">
                <a:pos x="58" y="18"/>
              </a:cxn>
              <a:cxn ang="0">
                <a:pos x="56" y="17"/>
              </a:cxn>
              <a:cxn ang="0">
                <a:pos x="54" y="16"/>
              </a:cxn>
              <a:cxn ang="0">
                <a:pos x="52" y="12"/>
              </a:cxn>
              <a:cxn ang="0">
                <a:pos x="47" y="10"/>
              </a:cxn>
              <a:cxn ang="0">
                <a:pos x="44" y="9"/>
              </a:cxn>
              <a:cxn ang="0">
                <a:pos x="42" y="9"/>
              </a:cxn>
              <a:cxn ang="0">
                <a:pos x="39" y="9"/>
              </a:cxn>
              <a:cxn ang="0">
                <a:pos x="36" y="11"/>
              </a:cxn>
              <a:cxn ang="0">
                <a:pos x="34" y="10"/>
              </a:cxn>
              <a:cxn ang="0">
                <a:pos x="31" y="8"/>
              </a:cxn>
              <a:cxn ang="0">
                <a:pos x="27" y="5"/>
              </a:cxn>
              <a:cxn ang="0">
                <a:pos x="23" y="4"/>
              </a:cxn>
              <a:cxn ang="0">
                <a:pos x="20" y="4"/>
              </a:cxn>
              <a:cxn ang="0">
                <a:pos x="17" y="4"/>
              </a:cxn>
              <a:cxn ang="0">
                <a:pos x="12" y="2"/>
              </a:cxn>
              <a:cxn ang="0">
                <a:pos x="9" y="2"/>
              </a:cxn>
              <a:cxn ang="0">
                <a:pos x="5" y="0"/>
              </a:cxn>
              <a:cxn ang="0">
                <a:pos x="2" y="0"/>
              </a:cxn>
              <a:cxn ang="0">
                <a:pos x="2" y="3"/>
              </a:cxn>
              <a:cxn ang="0">
                <a:pos x="4" y="5"/>
              </a:cxn>
              <a:cxn ang="0">
                <a:pos x="8" y="5"/>
              </a:cxn>
              <a:cxn ang="0">
                <a:pos x="10" y="7"/>
              </a:cxn>
              <a:cxn ang="0">
                <a:pos x="14" y="9"/>
              </a:cxn>
              <a:cxn ang="0">
                <a:pos x="16" y="14"/>
              </a:cxn>
              <a:cxn ang="0">
                <a:pos x="17" y="15"/>
              </a:cxn>
              <a:cxn ang="0">
                <a:pos x="18" y="17"/>
              </a:cxn>
              <a:cxn ang="0">
                <a:pos x="19" y="23"/>
              </a:cxn>
              <a:cxn ang="0">
                <a:pos x="21" y="22"/>
              </a:cxn>
              <a:cxn ang="0">
                <a:pos x="25" y="22"/>
              </a:cxn>
              <a:cxn ang="0">
                <a:pos x="28" y="23"/>
              </a:cxn>
              <a:cxn ang="0">
                <a:pos x="29" y="23"/>
              </a:cxn>
              <a:cxn ang="0">
                <a:pos x="32" y="25"/>
              </a:cxn>
              <a:cxn ang="0">
                <a:pos x="33" y="26"/>
              </a:cxn>
              <a:cxn ang="0">
                <a:pos x="35" y="26"/>
              </a:cxn>
              <a:cxn ang="0">
                <a:pos x="38" y="26"/>
              </a:cxn>
              <a:cxn ang="0">
                <a:pos x="40" y="26"/>
              </a:cxn>
              <a:cxn ang="0">
                <a:pos x="42" y="26"/>
              </a:cxn>
              <a:cxn ang="0">
                <a:pos x="44" y="26"/>
              </a:cxn>
              <a:cxn ang="0">
                <a:pos x="45" y="25"/>
              </a:cxn>
              <a:cxn ang="0">
                <a:pos x="46" y="25"/>
              </a:cxn>
              <a:cxn ang="0">
                <a:pos x="49" y="24"/>
              </a:cxn>
              <a:cxn ang="0">
                <a:pos x="51" y="23"/>
              </a:cxn>
              <a:cxn ang="0">
                <a:pos x="54" y="25"/>
              </a:cxn>
              <a:cxn ang="0">
                <a:pos x="57" y="26"/>
              </a:cxn>
              <a:cxn ang="0">
                <a:pos x="61" y="27"/>
              </a:cxn>
              <a:cxn ang="0">
                <a:pos x="62" y="27"/>
              </a:cxn>
              <a:cxn ang="0">
                <a:pos x="60" y="23"/>
              </a:cxn>
            </a:cxnLst>
            <a:rect l="0" t="0" r="r" b="b"/>
            <a:pathLst>
              <a:path w="63" h="28">
                <a:moveTo>
                  <a:pt x="60" y="23"/>
                </a:moveTo>
                <a:cubicBezTo>
                  <a:pt x="59" y="23"/>
                  <a:pt x="59" y="22"/>
                  <a:pt x="59" y="22"/>
                </a:cubicBezTo>
                <a:cubicBezTo>
                  <a:pt x="58" y="21"/>
                  <a:pt x="58" y="21"/>
                  <a:pt x="58" y="21"/>
                </a:cubicBezTo>
                <a:cubicBezTo>
                  <a:pt x="57" y="21"/>
                  <a:pt x="57" y="20"/>
                  <a:pt x="58" y="20"/>
                </a:cubicBezTo>
                <a:cubicBezTo>
                  <a:pt x="58" y="20"/>
                  <a:pt x="59" y="20"/>
                  <a:pt x="59" y="19"/>
                </a:cubicBezTo>
                <a:cubicBezTo>
                  <a:pt x="60" y="18"/>
                  <a:pt x="59" y="18"/>
                  <a:pt x="58" y="18"/>
                </a:cubicBezTo>
                <a:cubicBezTo>
                  <a:pt x="58" y="17"/>
                  <a:pt x="58" y="17"/>
                  <a:pt x="57" y="17"/>
                </a:cubicBezTo>
                <a:cubicBezTo>
                  <a:pt x="56" y="17"/>
                  <a:pt x="56" y="17"/>
                  <a:pt x="56" y="17"/>
                </a:cubicBezTo>
                <a:cubicBezTo>
                  <a:pt x="55" y="17"/>
                  <a:pt x="55" y="17"/>
                  <a:pt x="55" y="17"/>
                </a:cubicBezTo>
                <a:cubicBezTo>
                  <a:pt x="54" y="16"/>
                  <a:pt x="54" y="16"/>
                  <a:pt x="54" y="16"/>
                </a:cubicBezTo>
                <a:cubicBezTo>
                  <a:pt x="53" y="16"/>
                  <a:pt x="51" y="15"/>
                  <a:pt x="52" y="14"/>
                </a:cubicBezTo>
                <a:cubicBezTo>
                  <a:pt x="52" y="13"/>
                  <a:pt x="52" y="13"/>
                  <a:pt x="52" y="12"/>
                </a:cubicBezTo>
                <a:cubicBezTo>
                  <a:pt x="52" y="11"/>
                  <a:pt x="50" y="11"/>
                  <a:pt x="49" y="11"/>
                </a:cubicBezTo>
                <a:cubicBezTo>
                  <a:pt x="48" y="11"/>
                  <a:pt x="48" y="11"/>
                  <a:pt x="47" y="10"/>
                </a:cubicBezTo>
                <a:cubicBezTo>
                  <a:pt x="47" y="9"/>
                  <a:pt x="46" y="9"/>
                  <a:pt x="46" y="9"/>
                </a:cubicBezTo>
                <a:cubicBezTo>
                  <a:pt x="45" y="9"/>
                  <a:pt x="45" y="9"/>
                  <a:pt x="44" y="9"/>
                </a:cubicBezTo>
                <a:cubicBezTo>
                  <a:pt x="43" y="8"/>
                  <a:pt x="44" y="10"/>
                  <a:pt x="43" y="10"/>
                </a:cubicBezTo>
                <a:cubicBezTo>
                  <a:pt x="43" y="10"/>
                  <a:pt x="42" y="9"/>
                  <a:pt x="42" y="9"/>
                </a:cubicBezTo>
                <a:cubicBezTo>
                  <a:pt x="41" y="9"/>
                  <a:pt x="41" y="9"/>
                  <a:pt x="40" y="9"/>
                </a:cubicBezTo>
                <a:cubicBezTo>
                  <a:pt x="40" y="9"/>
                  <a:pt x="39" y="9"/>
                  <a:pt x="39" y="9"/>
                </a:cubicBezTo>
                <a:cubicBezTo>
                  <a:pt x="38" y="10"/>
                  <a:pt x="38" y="10"/>
                  <a:pt x="38" y="10"/>
                </a:cubicBezTo>
                <a:cubicBezTo>
                  <a:pt x="37" y="10"/>
                  <a:pt x="37" y="11"/>
                  <a:pt x="36" y="11"/>
                </a:cubicBezTo>
                <a:cubicBezTo>
                  <a:pt x="36" y="11"/>
                  <a:pt x="35" y="11"/>
                  <a:pt x="35" y="11"/>
                </a:cubicBezTo>
                <a:cubicBezTo>
                  <a:pt x="35" y="10"/>
                  <a:pt x="34" y="10"/>
                  <a:pt x="34" y="10"/>
                </a:cubicBezTo>
                <a:cubicBezTo>
                  <a:pt x="35" y="9"/>
                  <a:pt x="34" y="8"/>
                  <a:pt x="33" y="8"/>
                </a:cubicBezTo>
                <a:cubicBezTo>
                  <a:pt x="32" y="8"/>
                  <a:pt x="32" y="8"/>
                  <a:pt x="31" y="8"/>
                </a:cubicBezTo>
                <a:cubicBezTo>
                  <a:pt x="31" y="7"/>
                  <a:pt x="30" y="7"/>
                  <a:pt x="30" y="7"/>
                </a:cubicBezTo>
                <a:cubicBezTo>
                  <a:pt x="29" y="7"/>
                  <a:pt x="27" y="6"/>
                  <a:pt x="27" y="5"/>
                </a:cubicBezTo>
                <a:cubicBezTo>
                  <a:pt x="27" y="5"/>
                  <a:pt x="25" y="4"/>
                  <a:pt x="24" y="4"/>
                </a:cubicBezTo>
                <a:cubicBezTo>
                  <a:pt x="24" y="4"/>
                  <a:pt x="24" y="5"/>
                  <a:pt x="23" y="4"/>
                </a:cubicBezTo>
                <a:cubicBezTo>
                  <a:pt x="23" y="4"/>
                  <a:pt x="22" y="4"/>
                  <a:pt x="22" y="4"/>
                </a:cubicBezTo>
                <a:cubicBezTo>
                  <a:pt x="21" y="4"/>
                  <a:pt x="21" y="4"/>
                  <a:pt x="20" y="4"/>
                </a:cubicBezTo>
                <a:cubicBezTo>
                  <a:pt x="19" y="4"/>
                  <a:pt x="19" y="4"/>
                  <a:pt x="19" y="4"/>
                </a:cubicBezTo>
                <a:cubicBezTo>
                  <a:pt x="18" y="4"/>
                  <a:pt x="18" y="4"/>
                  <a:pt x="17" y="4"/>
                </a:cubicBezTo>
                <a:cubicBezTo>
                  <a:pt x="16" y="4"/>
                  <a:pt x="16" y="4"/>
                  <a:pt x="15" y="4"/>
                </a:cubicBezTo>
                <a:cubicBezTo>
                  <a:pt x="14" y="4"/>
                  <a:pt x="13" y="3"/>
                  <a:pt x="12" y="2"/>
                </a:cubicBezTo>
                <a:cubicBezTo>
                  <a:pt x="11" y="2"/>
                  <a:pt x="11" y="2"/>
                  <a:pt x="10" y="2"/>
                </a:cubicBezTo>
                <a:cubicBezTo>
                  <a:pt x="9" y="2"/>
                  <a:pt x="9" y="2"/>
                  <a:pt x="9" y="2"/>
                </a:cubicBezTo>
                <a:cubicBezTo>
                  <a:pt x="8" y="1"/>
                  <a:pt x="7" y="1"/>
                  <a:pt x="7" y="1"/>
                </a:cubicBezTo>
                <a:cubicBezTo>
                  <a:pt x="6" y="1"/>
                  <a:pt x="6" y="0"/>
                  <a:pt x="5" y="0"/>
                </a:cubicBezTo>
                <a:cubicBezTo>
                  <a:pt x="5" y="1"/>
                  <a:pt x="4" y="1"/>
                  <a:pt x="4" y="0"/>
                </a:cubicBezTo>
                <a:cubicBezTo>
                  <a:pt x="3" y="0"/>
                  <a:pt x="2" y="0"/>
                  <a:pt x="2" y="0"/>
                </a:cubicBezTo>
                <a:cubicBezTo>
                  <a:pt x="0" y="0"/>
                  <a:pt x="0" y="1"/>
                  <a:pt x="0" y="2"/>
                </a:cubicBezTo>
                <a:cubicBezTo>
                  <a:pt x="1" y="2"/>
                  <a:pt x="2" y="2"/>
                  <a:pt x="2" y="3"/>
                </a:cubicBezTo>
                <a:cubicBezTo>
                  <a:pt x="3" y="3"/>
                  <a:pt x="3" y="4"/>
                  <a:pt x="3" y="4"/>
                </a:cubicBezTo>
                <a:cubicBezTo>
                  <a:pt x="3" y="5"/>
                  <a:pt x="4" y="4"/>
                  <a:pt x="4" y="5"/>
                </a:cubicBezTo>
                <a:cubicBezTo>
                  <a:pt x="5" y="5"/>
                  <a:pt x="5" y="5"/>
                  <a:pt x="6" y="5"/>
                </a:cubicBezTo>
                <a:cubicBezTo>
                  <a:pt x="6" y="5"/>
                  <a:pt x="7" y="5"/>
                  <a:pt x="8" y="5"/>
                </a:cubicBezTo>
                <a:cubicBezTo>
                  <a:pt x="8" y="6"/>
                  <a:pt x="8" y="6"/>
                  <a:pt x="9" y="6"/>
                </a:cubicBezTo>
                <a:cubicBezTo>
                  <a:pt x="9" y="7"/>
                  <a:pt x="10" y="6"/>
                  <a:pt x="10" y="7"/>
                </a:cubicBezTo>
                <a:cubicBezTo>
                  <a:pt x="10" y="7"/>
                  <a:pt x="10" y="8"/>
                  <a:pt x="11" y="8"/>
                </a:cubicBezTo>
                <a:cubicBezTo>
                  <a:pt x="11" y="9"/>
                  <a:pt x="13" y="9"/>
                  <a:pt x="14" y="9"/>
                </a:cubicBezTo>
                <a:cubicBezTo>
                  <a:pt x="14" y="10"/>
                  <a:pt x="15" y="11"/>
                  <a:pt x="15" y="12"/>
                </a:cubicBezTo>
                <a:cubicBezTo>
                  <a:pt x="15" y="13"/>
                  <a:pt x="16" y="13"/>
                  <a:pt x="16" y="14"/>
                </a:cubicBezTo>
                <a:cubicBezTo>
                  <a:pt x="16" y="15"/>
                  <a:pt x="16" y="15"/>
                  <a:pt x="16" y="15"/>
                </a:cubicBezTo>
                <a:cubicBezTo>
                  <a:pt x="17" y="16"/>
                  <a:pt x="17" y="16"/>
                  <a:pt x="17" y="15"/>
                </a:cubicBezTo>
                <a:cubicBezTo>
                  <a:pt x="18" y="15"/>
                  <a:pt x="17" y="16"/>
                  <a:pt x="17" y="16"/>
                </a:cubicBezTo>
                <a:cubicBezTo>
                  <a:pt x="17" y="16"/>
                  <a:pt x="18" y="17"/>
                  <a:pt x="18" y="17"/>
                </a:cubicBezTo>
                <a:cubicBezTo>
                  <a:pt x="18" y="19"/>
                  <a:pt x="17" y="21"/>
                  <a:pt x="16" y="22"/>
                </a:cubicBezTo>
                <a:cubicBezTo>
                  <a:pt x="17" y="22"/>
                  <a:pt x="18" y="23"/>
                  <a:pt x="19" y="23"/>
                </a:cubicBezTo>
                <a:cubicBezTo>
                  <a:pt x="19" y="23"/>
                  <a:pt x="20" y="23"/>
                  <a:pt x="20" y="23"/>
                </a:cubicBezTo>
                <a:cubicBezTo>
                  <a:pt x="20" y="22"/>
                  <a:pt x="20" y="22"/>
                  <a:pt x="21" y="22"/>
                </a:cubicBezTo>
                <a:cubicBezTo>
                  <a:pt x="22" y="23"/>
                  <a:pt x="23" y="22"/>
                  <a:pt x="24" y="23"/>
                </a:cubicBezTo>
                <a:cubicBezTo>
                  <a:pt x="25" y="23"/>
                  <a:pt x="25" y="23"/>
                  <a:pt x="25" y="22"/>
                </a:cubicBezTo>
                <a:cubicBezTo>
                  <a:pt x="26" y="21"/>
                  <a:pt x="27" y="22"/>
                  <a:pt x="28" y="22"/>
                </a:cubicBezTo>
                <a:cubicBezTo>
                  <a:pt x="28" y="22"/>
                  <a:pt x="27" y="23"/>
                  <a:pt x="28" y="23"/>
                </a:cubicBezTo>
                <a:cubicBezTo>
                  <a:pt x="28" y="23"/>
                  <a:pt x="28" y="23"/>
                  <a:pt x="28" y="22"/>
                </a:cubicBezTo>
                <a:cubicBezTo>
                  <a:pt x="28" y="22"/>
                  <a:pt x="29" y="23"/>
                  <a:pt x="29" y="23"/>
                </a:cubicBezTo>
                <a:cubicBezTo>
                  <a:pt x="30" y="24"/>
                  <a:pt x="30" y="24"/>
                  <a:pt x="31" y="24"/>
                </a:cubicBezTo>
                <a:cubicBezTo>
                  <a:pt x="31" y="24"/>
                  <a:pt x="31" y="24"/>
                  <a:pt x="32" y="25"/>
                </a:cubicBezTo>
                <a:cubicBezTo>
                  <a:pt x="32" y="25"/>
                  <a:pt x="31" y="25"/>
                  <a:pt x="31" y="25"/>
                </a:cubicBezTo>
                <a:cubicBezTo>
                  <a:pt x="32" y="25"/>
                  <a:pt x="32" y="27"/>
                  <a:pt x="33" y="26"/>
                </a:cubicBezTo>
                <a:cubicBezTo>
                  <a:pt x="33" y="26"/>
                  <a:pt x="34" y="26"/>
                  <a:pt x="34" y="27"/>
                </a:cubicBezTo>
                <a:cubicBezTo>
                  <a:pt x="34" y="27"/>
                  <a:pt x="35" y="26"/>
                  <a:pt x="35" y="26"/>
                </a:cubicBezTo>
                <a:cubicBezTo>
                  <a:pt x="36" y="27"/>
                  <a:pt x="36" y="27"/>
                  <a:pt x="37" y="27"/>
                </a:cubicBezTo>
                <a:cubicBezTo>
                  <a:pt x="37" y="27"/>
                  <a:pt x="37" y="26"/>
                  <a:pt x="38" y="26"/>
                </a:cubicBezTo>
                <a:cubicBezTo>
                  <a:pt x="38" y="26"/>
                  <a:pt x="39" y="26"/>
                  <a:pt x="39" y="26"/>
                </a:cubicBezTo>
                <a:cubicBezTo>
                  <a:pt x="40" y="26"/>
                  <a:pt x="40" y="26"/>
                  <a:pt x="40" y="26"/>
                </a:cubicBezTo>
                <a:cubicBezTo>
                  <a:pt x="41" y="25"/>
                  <a:pt x="41" y="25"/>
                  <a:pt x="41" y="26"/>
                </a:cubicBezTo>
                <a:cubicBezTo>
                  <a:pt x="41" y="26"/>
                  <a:pt x="42" y="26"/>
                  <a:pt x="42" y="26"/>
                </a:cubicBezTo>
                <a:cubicBezTo>
                  <a:pt x="42" y="25"/>
                  <a:pt x="43" y="26"/>
                  <a:pt x="43" y="26"/>
                </a:cubicBezTo>
                <a:cubicBezTo>
                  <a:pt x="43" y="26"/>
                  <a:pt x="43" y="26"/>
                  <a:pt x="44" y="26"/>
                </a:cubicBezTo>
                <a:cubicBezTo>
                  <a:pt x="44" y="26"/>
                  <a:pt x="44" y="26"/>
                  <a:pt x="44" y="26"/>
                </a:cubicBezTo>
                <a:cubicBezTo>
                  <a:pt x="44" y="25"/>
                  <a:pt x="44" y="25"/>
                  <a:pt x="45" y="25"/>
                </a:cubicBezTo>
                <a:cubicBezTo>
                  <a:pt x="45" y="25"/>
                  <a:pt x="46" y="26"/>
                  <a:pt x="47" y="26"/>
                </a:cubicBezTo>
                <a:cubicBezTo>
                  <a:pt x="47" y="26"/>
                  <a:pt x="46" y="25"/>
                  <a:pt x="46" y="25"/>
                </a:cubicBezTo>
                <a:cubicBezTo>
                  <a:pt x="46" y="25"/>
                  <a:pt x="47" y="25"/>
                  <a:pt x="47" y="25"/>
                </a:cubicBezTo>
                <a:cubicBezTo>
                  <a:pt x="48" y="25"/>
                  <a:pt x="48" y="24"/>
                  <a:pt x="49" y="24"/>
                </a:cubicBezTo>
                <a:cubicBezTo>
                  <a:pt x="49" y="24"/>
                  <a:pt x="49" y="23"/>
                  <a:pt x="50" y="23"/>
                </a:cubicBezTo>
                <a:cubicBezTo>
                  <a:pt x="50" y="23"/>
                  <a:pt x="51" y="23"/>
                  <a:pt x="51" y="23"/>
                </a:cubicBezTo>
                <a:cubicBezTo>
                  <a:pt x="51" y="23"/>
                  <a:pt x="54" y="24"/>
                  <a:pt x="54" y="24"/>
                </a:cubicBezTo>
                <a:cubicBezTo>
                  <a:pt x="54" y="25"/>
                  <a:pt x="53" y="24"/>
                  <a:pt x="54" y="25"/>
                </a:cubicBezTo>
                <a:cubicBezTo>
                  <a:pt x="54" y="25"/>
                  <a:pt x="55" y="26"/>
                  <a:pt x="55" y="26"/>
                </a:cubicBezTo>
                <a:cubicBezTo>
                  <a:pt x="56" y="26"/>
                  <a:pt x="57" y="26"/>
                  <a:pt x="57" y="26"/>
                </a:cubicBezTo>
                <a:cubicBezTo>
                  <a:pt x="58" y="26"/>
                  <a:pt x="58" y="26"/>
                  <a:pt x="59" y="26"/>
                </a:cubicBezTo>
                <a:cubicBezTo>
                  <a:pt x="59" y="26"/>
                  <a:pt x="61" y="28"/>
                  <a:pt x="61" y="27"/>
                </a:cubicBezTo>
                <a:cubicBezTo>
                  <a:pt x="62" y="27"/>
                  <a:pt x="61" y="27"/>
                  <a:pt x="62" y="27"/>
                </a:cubicBezTo>
                <a:cubicBezTo>
                  <a:pt x="62" y="27"/>
                  <a:pt x="62" y="27"/>
                  <a:pt x="62" y="27"/>
                </a:cubicBezTo>
                <a:cubicBezTo>
                  <a:pt x="62" y="26"/>
                  <a:pt x="63" y="25"/>
                  <a:pt x="63" y="25"/>
                </a:cubicBezTo>
                <a:cubicBezTo>
                  <a:pt x="63" y="24"/>
                  <a:pt x="60" y="23"/>
                  <a:pt x="60" y="2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4" name="The Gambia"/>
          <p:cNvSpPr>
            <a:spLocks/>
          </p:cNvSpPr>
          <p:nvPr/>
        </p:nvSpPr>
        <p:spPr bwMode="auto">
          <a:xfrm>
            <a:off x="5210105" y="4113958"/>
            <a:ext cx="108996" cy="32999"/>
          </a:xfrm>
          <a:custGeom>
            <a:avLst/>
            <a:gdLst/>
            <a:ahLst/>
            <a:cxnLst>
              <a:cxn ang="0">
                <a:pos x="28" y="3"/>
              </a:cxn>
              <a:cxn ang="0">
                <a:pos x="25" y="4"/>
              </a:cxn>
              <a:cxn ang="0">
                <a:pos x="23" y="3"/>
              </a:cxn>
              <a:cxn ang="0">
                <a:pos x="22" y="2"/>
              </a:cxn>
              <a:cxn ang="0">
                <a:pos x="20" y="3"/>
              </a:cxn>
              <a:cxn ang="0">
                <a:pos x="18" y="1"/>
              </a:cxn>
              <a:cxn ang="0">
                <a:pos x="17" y="1"/>
              </a:cxn>
              <a:cxn ang="0">
                <a:pos x="15" y="1"/>
              </a:cxn>
              <a:cxn ang="0">
                <a:pos x="13" y="2"/>
              </a:cxn>
              <a:cxn ang="0">
                <a:pos x="7" y="3"/>
              </a:cxn>
              <a:cxn ang="0">
                <a:pos x="3" y="3"/>
              </a:cxn>
              <a:cxn ang="0">
                <a:pos x="3" y="5"/>
              </a:cxn>
              <a:cxn ang="0">
                <a:pos x="3" y="5"/>
              </a:cxn>
              <a:cxn ang="0">
                <a:pos x="5" y="6"/>
              </a:cxn>
              <a:cxn ang="0">
                <a:pos x="5" y="5"/>
              </a:cxn>
              <a:cxn ang="0">
                <a:pos x="7" y="4"/>
              </a:cxn>
              <a:cxn ang="0">
                <a:pos x="10" y="4"/>
              </a:cxn>
              <a:cxn ang="0">
                <a:pos x="12" y="4"/>
              </a:cxn>
              <a:cxn ang="0">
                <a:pos x="13" y="4"/>
              </a:cxn>
              <a:cxn ang="0">
                <a:pos x="15" y="4"/>
              </a:cxn>
              <a:cxn ang="0">
                <a:pos x="13" y="4"/>
              </a:cxn>
              <a:cxn ang="0">
                <a:pos x="12" y="4"/>
              </a:cxn>
              <a:cxn ang="0">
                <a:pos x="11" y="4"/>
              </a:cxn>
              <a:cxn ang="0">
                <a:pos x="7" y="5"/>
              </a:cxn>
              <a:cxn ang="0">
                <a:pos x="7" y="6"/>
              </a:cxn>
              <a:cxn ang="0">
                <a:pos x="6" y="6"/>
              </a:cxn>
              <a:cxn ang="0">
                <a:pos x="5" y="6"/>
              </a:cxn>
              <a:cxn ang="0">
                <a:pos x="4" y="6"/>
              </a:cxn>
              <a:cxn ang="0">
                <a:pos x="4" y="7"/>
              </a:cxn>
              <a:cxn ang="0">
                <a:pos x="4" y="7"/>
              </a:cxn>
              <a:cxn ang="0">
                <a:pos x="3" y="6"/>
              </a:cxn>
              <a:cxn ang="0">
                <a:pos x="2" y="6"/>
              </a:cxn>
              <a:cxn ang="0">
                <a:pos x="2" y="5"/>
              </a:cxn>
              <a:cxn ang="0">
                <a:pos x="2" y="4"/>
              </a:cxn>
              <a:cxn ang="0">
                <a:pos x="1" y="5"/>
              </a:cxn>
              <a:cxn ang="0">
                <a:pos x="0" y="6"/>
              </a:cxn>
              <a:cxn ang="0">
                <a:pos x="1" y="9"/>
              </a:cxn>
              <a:cxn ang="0">
                <a:pos x="1" y="8"/>
              </a:cxn>
              <a:cxn ang="0">
                <a:pos x="3" y="8"/>
              </a:cxn>
              <a:cxn ang="0">
                <a:pos x="8" y="8"/>
              </a:cxn>
              <a:cxn ang="0">
                <a:pos x="10" y="7"/>
              </a:cxn>
              <a:cxn ang="0">
                <a:pos x="10" y="6"/>
              </a:cxn>
              <a:cxn ang="0">
                <a:pos x="12" y="5"/>
              </a:cxn>
              <a:cxn ang="0">
                <a:pos x="13" y="5"/>
              </a:cxn>
              <a:cxn ang="0">
                <a:pos x="15" y="5"/>
              </a:cxn>
              <a:cxn ang="0">
                <a:pos x="16" y="4"/>
              </a:cxn>
              <a:cxn ang="0">
                <a:pos x="17" y="4"/>
              </a:cxn>
              <a:cxn ang="0">
                <a:pos x="19" y="4"/>
              </a:cxn>
              <a:cxn ang="0">
                <a:pos x="20" y="5"/>
              </a:cxn>
              <a:cxn ang="0">
                <a:pos x="22" y="6"/>
              </a:cxn>
              <a:cxn ang="0">
                <a:pos x="23" y="7"/>
              </a:cxn>
              <a:cxn ang="0">
                <a:pos x="25" y="7"/>
              </a:cxn>
              <a:cxn ang="0">
                <a:pos x="27" y="6"/>
              </a:cxn>
              <a:cxn ang="0">
                <a:pos x="29" y="6"/>
              </a:cxn>
              <a:cxn ang="0">
                <a:pos x="28" y="3"/>
              </a:cxn>
            </a:cxnLst>
            <a:rect l="0" t="0" r="r" b="b"/>
            <a:pathLst>
              <a:path w="30" h="9">
                <a:moveTo>
                  <a:pt x="28" y="3"/>
                </a:moveTo>
                <a:cubicBezTo>
                  <a:pt x="27" y="2"/>
                  <a:pt x="25" y="4"/>
                  <a:pt x="25" y="4"/>
                </a:cubicBezTo>
                <a:cubicBezTo>
                  <a:pt x="23" y="5"/>
                  <a:pt x="23" y="4"/>
                  <a:pt x="23" y="3"/>
                </a:cubicBezTo>
                <a:cubicBezTo>
                  <a:pt x="22" y="2"/>
                  <a:pt x="22" y="2"/>
                  <a:pt x="22" y="2"/>
                </a:cubicBezTo>
                <a:cubicBezTo>
                  <a:pt x="21" y="2"/>
                  <a:pt x="21" y="3"/>
                  <a:pt x="20" y="3"/>
                </a:cubicBezTo>
                <a:cubicBezTo>
                  <a:pt x="19" y="2"/>
                  <a:pt x="20" y="1"/>
                  <a:pt x="18" y="1"/>
                </a:cubicBezTo>
                <a:cubicBezTo>
                  <a:pt x="18" y="1"/>
                  <a:pt x="17" y="0"/>
                  <a:pt x="17" y="1"/>
                </a:cubicBezTo>
                <a:cubicBezTo>
                  <a:pt x="16" y="1"/>
                  <a:pt x="16" y="1"/>
                  <a:pt x="15" y="1"/>
                </a:cubicBezTo>
                <a:cubicBezTo>
                  <a:pt x="14" y="0"/>
                  <a:pt x="13" y="1"/>
                  <a:pt x="13" y="2"/>
                </a:cubicBezTo>
                <a:cubicBezTo>
                  <a:pt x="13" y="3"/>
                  <a:pt x="8" y="3"/>
                  <a:pt x="7" y="3"/>
                </a:cubicBezTo>
                <a:cubicBezTo>
                  <a:pt x="5" y="3"/>
                  <a:pt x="5" y="3"/>
                  <a:pt x="3" y="3"/>
                </a:cubicBezTo>
                <a:cubicBezTo>
                  <a:pt x="3" y="3"/>
                  <a:pt x="3" y="4"/>
                  <a:pt x="3" y="5"/>
                </a:cubicBezTo>
                <a:cubicBezTo>
                  <a:pt x="3" y="5"/>
                  <a:pt x="3" y="5"/>
                  <a:pt x="3" y="5"/>
                </a:cubicBezTo>
                <a:cubicBezTo>
                  <a:pt x="4" y="6"/>
                  <a:pt x="4" y="6"/>
                  <a:pt x="5" y="6"/>
                </a:cubicBezTo>
                <a:cubicBezTo>
                  <a:pt x="5" y="6"/>
                  <a:pt x="5" y="5"/>
                  <a:pt x="5" y="5"/>
                </a:cubicBezTo>
                <a:cubicBezTo>
                  <a:pt x="5" y="6"/>
                  <a:pt x="6" y="4"/>
                  <a:pt x="7" y="4"/>
                </a:cubicBezTo>
                <a:cubicBezTo>
                  <a:pt x="8" y="5"/>
                  <a:pt x="9" y="5"/>
                  <a:pt x="10" y="4"/>
                </a:cubicBezTo>
                <a:cubicBezTo>
                  <a:pt x="11" y="4"/>
                  <a:pt x="11" y="4"/>
                  <a:pt x="12" y="4"/>
                </a:cubicBezTo>
                <a:cubicBezTo>
                  <a:pt x="12" y="4"/>
                  <a:pt x="12" y="3"/>
                  <a:pt x="13" y="4"/>
                </a:cubicBezTo>
                <a:cubicBezTo>
                  <a:pt x="13" y="4"/>
                  <a:pt x="15" y="5"/>
                  <a:pt x="15" y="4"/>
                </a:cubicBezTo>
                <a:cubicBezTo>
                  <a:pt x="15" y="5"/>
                  <a:pt x="14" y="4"/>
                  <a:pt x="13" y="4"/>
                </a:cubicBezTo>
                <a:cubicBezTo>
                  <a:pt x="13" y="4"/>
                  <a:pt x="13" y="4"/>
                  <a:pt x="12" y="4"/>
                </a:cubicBezTo>
                <a:cubicBezTo>
                  <a:pt x="12" y="5"/>
                  <a:pt x="11" y="4"/>
                  <a:pt x="11" y="4"/>
                </a:cubicBezTo>
                <a:cubicBezTo>
                  <a:pt x="10" y="5"/>
                  <a:pt x="8" y="5"/>
                  <a:pt x="7" y="5"/>
                </a:cubicBezTo>
                <a:cubicBezTo>
                  <a:pt x="5" y="5"/>
                  <a:pt x="6" y="7"/>
                  <a:pt x="7" y="6"/>
                </a:cubicBezTo>
                <a:cubicBezTo>
                  <a:pt x="6" y="7"/>
                  <a:pt x="6" y="6"/>
                  <a:pt x="6" y="6"/>
                </a:cubicBezTo>
                <a:cubicBezTo>
                  <a:pt x="5" y="6"/>
                  <a:pt x="5" y="6"/>
                  <a:pt x="5" y="6"/>
                </a:cubicBezTo>
                <a:cubicBezTo>
                  <a:pt x="4" y="6"/>
                  <a:pt x="4" y="6"/>
                  <a:pt x="4" y="6"/>
                </a:cubicBezTo>
                <a:cubicBezTo>
                  <a:pt x="4" y="7"/>
                  <a:pt x="4" y="7"/>
                  <a:pt x="4" y="7"/>
                </a:cubicBezTo>
                <a:cubicBezTo>
                  <a:pt x="4" y="7"/>
                  <a:pt x="4" y="7"/>
                  <a:pt x="4" y="7"/>
                </a:cubicBezTo>
                <a:cubicBezTo>
                  <a:pt x="4" y="6"/>
                  <a:pt x="3" y="6"/>
                  <a:pt x="3" y="6"/>
                </a:cubicBezTo>
                <a:cubicBezTo>
                  <a:pt x="3" y="6"/>
                  <a:pt x="3" y="6"/>
                  <a:pt x="2" y="6"/>
                </a:cubicBezTo>
                <a:cubicBezTo>
                  <a:pt x="2" y="5"/>
                  <a:pt x="2" y="5"/>
                  <a:pt x="2" y="5"/>
                </a:cubicBezTo>
                <a:cubicBezTo>
                  <a:pt x="3" y="4"/>
                  <a:pt x="2" y="4"/>
                  <a:pt x="2" y="4"/>
                </a:cubicBezTo>
                <a:cubicBezTo>
                  <a:pt x="1" y="4"/>
                  <a:pt x="1" y="4"/>
                  <a:pt x="1" y="5"/>
                </a:cubicBezTo>
                <a:cubicBezTo>
                  <a:pt x="0" y="5"/>
                  <a:pt x="0" y="5"/>
                  <a:pt x="0" y="6"/>
                </a:cubicBezTo>
                <a:cubicBezTo>
                  <a:pt x="0" y="7"/>
                  <a:pt x="0" y="8"/>
                  <a:pt x="1" y="9"/>
                </a:cubicBezTo>
                <a:cubicBezTo>
                  <a:pt x="1" y="8"/>
                  <a:pt x="1" y="8"/>
                  <a:pt x="1" y="8"/>
                </a:cubicBezTo>
                <a:cubicBezTo>
                  <a:pt x="2" y="7"/>
                  <a:pt x="3" y="8"/>
                  <a:pt x="3" y="8"/>
                </a:cubicBezTo>
                <a:cubicBezTo>
                  <a:pt x="5" y="8"/>
                  <a:pt x="7" y="8"/>
                  <a:pt x="8" y="8"/>
                </a:cubicBezTo>
                <a:cubicBezTo>
                  <a:pt x="9" y="8"/>
                  <a:pt x="10" y="8"/>
                  <a:pt x="10" y="7"/>
                </a:cubicBezTo>
                <a:cubicBezTo>
                  <a:pt x="10" y="7"/>
                  <a:pt x="10" y="6"/>
                  <a:pt x="10" y="6"/>
                </a:cubicBezTo>
                <a:cubicBezTo>
                  <a:pt x="10" y="5"/>
                  <a:pt x="11" y="5"/>
                  <a:pt x="12" y="5"/>
                </a:cubicBezTo>
                <a:cubicBezTo>
                  <a:pt x="12" y="6"/>
                  <a:pt x="13" y="5"/>
                  <a:pt x="13" y="5"/>
                </a:cubicBezTo>
                <a:cubicBezTo>
                  <a:pt x="14" y="5"/>
                  <a:pt x="14" y="6"/>
                  <a:pt x="15" y="5"/>
                </a:cubicBezTo>
                <a:cubicBezTo>
                  <a:pt x="16" y="5"/>
                  <a:pt x="16" y="4"/>
                  <a:pt x="16" y="4"/>
                </a:cubicBezTo>
                <a:cubicBezTo>
                  <a:pt x="16" y="3"/>
                  <a:pt x="17" y="3"/>
                  <a:pt x="17" y="4"/>
                </a:cubicBezTo>
                <a:cubicBezTo>
                  <a:pt x="18" y="4"/>
                  <a:pt x="18" y="4"/>
                  <a:pt x="19" y="4"/>
                </a:cubicBezTo>
                <a:cubicBezTo>
                  <a:pt x="20" y="5"/>
                  <a:pt x="20" y="5"/>
                  <a:pt x="20" y="5"/>
                </a:cubicBezTo>
                <a:cubicBezTo>
                  <a:pt x="21" y="6"/>
                  <a:pt x="22" y="5"/>
                  <a:pt x="22" y="6"/>
                </a:cubicBezTo>
                <a:cubicBezTo>
                  <a:pt x="22" y="6"/>
                  <a:pt x="23" y="6"/>
                  <a:pt x="23" y="7"/>
                </a:cubicBezTo>
                <a:cubicBezTo>
                  <a:pt x="24" y="7"/>
                  <a:pt x="25" y="7"/>
                  <a:pt x="25" y="7"/>
                </a:cubicBezTo>
                <a:cubicBezTo>
                  <a:pt x="26" y="7"/>
                  <a:pt x="26" y="6"/>
                  <a:pt x="27" y="6"/>
                </a:cubicBezTo>
                <a:cubicBezTo>
                  <a:pt x="27" y="6"/>
                  <a:pt x="28" y="6"/>
                  <a:pt x="29" y="6"/>
                </a:cubicBezTo>
                <a:cubicBezTo>
                  <a:pt x="30" y="5"/>
                  <a:pt x="29" y="4"/>
                  <a:pt x="28" y="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5" name="Gabon"/>
          <p:cNvSpPr>
            <a:spLocks/>
          </p:cNvSpPr>
          <p:nvPr/>
        </p:nvSpPr>
        <p:spPr bwMode="auto">
          <a:xfrm>
            <a:off x="6099071" y="4569941"/>
            <a:ext cx="201993" cy="248991"/>
          </a:xfrm>
          <a:custGeom>
            <a:avLst/>
            <a:gdLst/>
            <a:ahLst/>
            <a:cxnLst>
              <a:cxn ang="0">
                <a:pos x="56" y="40"/>
              </a:cxn>
              <a:cxn ang="0">
                <a:pos x="56" y="34"/>
              </a:cxn>
              <a:cxn ang="0">
                <a:pos x="52" y="29"/>
              </a:cxn>
              <a:cxn ang="0">
                <a:pos x="52" y="22"/>
              </a:cxn>
              <a:cxn ang="0">
                <a:pos x="56" y="17"/>
              </a:cxn>
              <a:cxn ang="0">
                <a:pos x="52" y="11"/>
              </a:cxn>
              <a:cxn ang="0">
                <a:pos x="45" y="12"/>
              </a:cxn>
              <a:cxn ang="0">
                <a:pos x="43" y="9"/>
              </a:cxn>
              <a:cxn ang="0">
                <a:pos x="44" y="3"/>
              </a:cxn>
              <a:cxn ang="0">
                <a:pos x="38" y="1"/>
              </a:cxn>
              <a:cxn ang="0">
                <a:pos x="26" y="1"/>
              </a:cxn>
              <a:cxn ang="0">
                <a:pos x="25" y="15"/>
              </a:cxn>
              <a:cxn ang="0">
                <a:pos x="12" y="16"/>
              </a:cxn>
              <a:cxn ang="0">
                <a:pos x="9" y="20"/>
              </a:cxn>
              <a:cxn ang="0">
                <a:pos x="8" y="19"/>
              </a:cxn>
              <a:cxn ang="0">
                <a:pos x="6" y="20"/>
              </a:cxn>
              <a:cxn ang="0">
                <a:pos x="11" y="24"/>
              </a:cxn>
              <a:cxn ang="0">
                <a:pos x="10" y="25"/>
              </a:cxn>
              <a:cxn ang="0">
                <a:pos x="8" y="25"/>
              </a:cxn>
              <a:cxn ang="0">
                <a:pos x="6" y="24"/>
              </a:cxn>
              <a:cxn ang="0">
                <a:pos x="5" y="31"/>
              </a:cxn>
              <a:cxn ang="0">
                <a:pos x="2" y="34"/>
              </a:cxn>
              <a:cxn ang="0">
                <a:pos x="1" y="34"/>
              </a:cxn>
              <a:cxn ang="0">
                <a:pos x="2" y="37"/>
              </a:cxn>
              <a:cxn ang="0">
                <a:pos x="4" y="41"/>
              </a:cxn>
              <a:cxn ang="0">
                <a:pos x="6" y="42"/>
              </a:cxn>
              <a:cxn ang="0">
                <a:pos x="7" y="43"/>
              </a:cxn>
              <a:cxn ang="0">
                <a:pos x="6" y="45"/>
              </a:cxn>
              <a:cxn ang="0">
                <a:pos x="3" y="41"/>
              </a:cxn>
              <a:cxn ang="0">
                <a:pos x="6" y="47"/>
              </a:cxn>
              <a:cxn ang="0">
                <a:pos x="8" y="48"/>
              </a:cxn>
              <a:cxn ang="0">
                <a:pos x="6" y="47"/>
              </a:cxn>
              <a:cxn ang="0">
                <a:pos x="9" y="52"/>
              </a:cxn>
              <a:cxn ang="0">
                <a:pos x="12" y="53"/>
              </a:cxn>
              <a:cxn ang="0">
                <a:pos x="13" y="54"/>
              </a:cxn>
              <a:cxn ang="0">
                <a:pos x="11" y="53"/>
              </a:cxn>
              <a:cxn ang="0">
                <a:pos x="19" y="63"/>
              </a:cxn>
              <a:cxn ang="0">
                <a:pos x="24" y="69"/>
              </a:cxn>
              <a:cxn ang="0">
                <a:pos x="29" y="67"/>
              </a:cxn>
              <a:cxn ang="0">
                <a:pos x="31" y="63"/>
              </a:cxn>
              <a:cxn ang="0">
                <a:pos x="30" y="60"/>
              </a:cxn>
              <a:cxn ang="0">
                <a:pos x="28" y="55"/>
              </a:cxn>
              <a:cxn ang="0">
                <a:pos x="31" y="52"/>
              </a:cxn>
              <a:cxn ang="0">
                <a:pos x="37" y="49"/>
              </a:cxn>
              <a:cxn ang="0">
                <a:pos x="41" y="50"/>
              </a:cxn>
              <a:cxn ang="0">
                <a:pos x="45" y="53"/>
              </a:cxn>
              <a:cxn ang="0">
                <a:pos x="50" y="51"/>
              </a:cxn>
              <a:cxn ang="0">
                <a:pos x="52" y="53"/>
              </a:cxn>
              <a:cxn ang="0">
                <a:pos x="54" y="48"/>
              </a:cxn>
              <a:cxn ang="0">
                <a:pos x="56" y="43"/>
              </a:cxn>
            </a:cxnLst>
            <a:rect l="0" t="0" r="r" b="b"/>
            <a:pathLst>
              <a:path w="56" h="69">
                <a:moveTo>
                  <a:pt x="56" y="43"/>
                </a:moveTo>
                <a:cubicBezTo>
                  <a:pt x="55" y="42"/>
                  <a:pt x="56" y="42"/>
                  <a:pt x="56" y="42"/>
                </a:cubicBezTo>
                <a:cubicBezTo>
                  <a:pt x="56" y="41"/>
                  <a:pt x="56" y="41"/>
                  <a:pt x="56" y="41"/>
                </a:cubicBezTo>
                <a:cubicBezTo>
                  <a:pt x="56" y="40"/>
                  <a:pt x="56" y="40"/>
                  <a:pt x="56" y="40"/>
                </a:cubicBezTo>
                <a:cubicBezTo>
                  <a:pt x="56" y="39"/>
                  <a:pt x="56" y="39"/>
                  <a:pt x="56" y="39"/>
                </a:cubicBezTo>
                <a:cubicBezTo>
                  <a:pt x="56" y="38"/>
                  <a:pt x="55" y="38"/>
                  <a:pt x="55" y="37"/>
                </a:cubicBezTo>
                <a:cubicBezTo>
                  <a:pt x="55" y="37"/>
                  <a:pt x="56" y="36"/>
                  <a:pt x="56" y="36"/>
                </a:cubicBezTo>
                <a:cubicBezTo>
                  <a:pt x="56" y="35"/>
                  <a:pt x="56" y="35"/>
                  <a:pt x="56" y="34"/>
                </a:cubicBezTo>
                <a:cubicBezTo>
                  <a:pt x="56" y="33"/>
                  <a:pt x="56" y="32"/>
                  <a:pt x="55" y="31"/>
                </a:cubicBezTo>
                <a:cubicBezTo>
                  <a:pt x="55" y="31"/>
                  <a:pt x="54" y="31"/>
                  <a:pt x="54" y="31"/>
                </a:cubicBezTo>
                <a:cubicBezTo>
                  <a:pt x="53" y="31"/>
                  <a:pt x="53" y="31"/>
                  <a:pt x="53" y="30"/>
                </a:cubicBezTo>
                <a:cubicBezTo>
                  <a:pt x="53" y="29"/>
                  <a:pt x="52" y="29"/>
                  <a:pt x="52" y="29"/>
                </a:cubicBezTo>
                <a:cubicBezTo>
                  <a:pt x="51" y="29"/>
                  <a:pt x="51" y="29"/>
                  <a:pt x="51" y="29"/>
                </a:cubicBezTo>
                <a:cubicBezTo>
                  <a:pt x="49" y="29"/>
                  <a:pt x="50" y="27"/>
                  <a:pt x="51" y="27"/>
                </a:cubicBezTo>
                <a:cubicBezTo>
                  <a:pt x="51" y="26"/>
                  <a:pt x="50" y="25"/>
                  <a:pt x="50" y="23"/>
                </a:cubicBezTo>
                <a:cubicBezTo>
                  <a:pt x="51" y="23"/>
                  <a:pt x="51" y="22"/>
                  <a:pt x="52" y="22"/>
                </a:cubicBezTo>
                <a:cubicBezTo>
                  <a:pt x="52" y="21"/>
                  <a:pt x="52" y="21"/>
                  <a:pt x="52" y="20"/>
                </a:cubicBezTo>
                <a:cubicBezTo>
                  <a:pt x="53" y="20"/>
                  <a:pt x="53" y="20"/>
                  <a:pt x="54" y="20"/>
                </a:cubicBezTo>
                <a:cubicBezTo>
                  <a:pt x="55" y="20"/>
                  <a:pt x="55" y="19"/>
                  <a:pt x="55" y="19"/>
                </a:cubicBezTo>
                <a:cubicBezTo>
                  <a:pt x="55" y="18"/>
                  <a:pt x="56" y="18"/>
                  <a:pt x="56" y="17"/>
                </a:cubicBezTo>
                <a:cubicBezTo>
                  <a:pt x="56" y="16"/>
                  <a:pt x="55" y="16"/>
                  <a:pt x="55" y="15"/>
                </a:cubicBezTo>
                <a:cubicBezTo>
                  <a:pt x="55" y="14"/>
                  <a:pt x="54" y="14"/>
                  <a:pt x="54" y="14"/>
                </a:cubicBezTo>
                <a:cubicBezTo>
                  <a:pt x="54" y="13"/>
                  <a:pt x="54" y="12"/>
                  <a:pt x="54" y="12"/>
                </a:cubicBezTo>
                <a:cubicBezTo>
                  <a:pt x="53" y="11"/>
                  <a:pt x="53" y="11"/>
                  <a:pt x="52" y="11"/>
                </a:cubicBezTo>
                <a:cubicBezTo>
                  <a:pt x="51" y="11"/>
                  <a:pt x="51" y="11"/>
                  <a:pt x="50" y="10"/>
                </a:cubicBezTo>
                <a:cubicBezTo>
                  <a:pt x="49" y="10"/>
                  <a:pt x="50" y="11"/>
                  <a:pt x="49" y="11"/>
                </a:cubicBezTo>
                <a:cubicBezTo>
                  <a:pt x="49" y="11"/>
                  <a:pt x="48" y="11"/>
                  <a:pt x="47" y="12"/>
                </a:cubicBezTo>
                <a:cubicBezTo>
                  <a:pt x="47" y="12"/>
                  <a:pt x="46" y="12"/>
                  <a:pt x="45" y="12"/>
                </a:cubicBezTo>
                <a:cubicBezTo>
                  <a:pt x="45" y="12"/>
                  <a:pt x="45" y="13"/>
                  <a:pt x="44" y="13"/>
                </a:cubicBezTo>
                <a:cubicBezTo>
                  <a:pt x="43" y="13"/>
                  <a:pt x="43" y="12"/>
                  <a:pt x="44" y="12"/>
                </a:cubicBezTo>
                <a:cubicBezTo>
                  <a:pt x="44" y="11"/>
                  <a:pt x="44" y="11"/>
                  <a:pt x="44" y="10"/>
                </a:cubicBezTo>
                <a:cubicBezTo>
                  <a:pt x="43" y="10"/>
                  <a:pt x="43" y="9"/>
                  <a:pt x="43" y="9"/>
                </a:cubicBezTo>
                <a:cubicBezTo>
                  <a:pt x="43" y="8"/>
                  <a:pt x="43" y="7"/>
                  <a:pt x="43" y="6"/>
                </a:cubicBezTo>
                <a:cubicBezTo>
                  <a:pt x="43" y="6"/>
                  <a:pt x="43" y="6"/>
                  <a:pt x="43" y="5"/>
                </a:cubicBezTo>
                <a:cubicBezTo>
                  <a:pt x="43" y="5"/>
                  <a:pt x="44" y="5"/>
                  <a:pt x="44" y="5"/>
                </a:cubicBezTo>
                <a:cubicBezTo>
                  <a:pt x="44" y="4"/>
                  <a:pt x="44" y="4"/>
                  <a:pt x="44" y="3"/>
                </a:cubicBezTo>
                <a:cubicBezTo>
                  <a:pt x="45" y="3"/>
                  <a:pt x="45" y="2"/>
                  <a:pt x="44" y="2"/>
                </a:cubicBezTo>
                <a:cubicBezTo>
                  <a:pt x="43" y="1"/>
                  <a:pt x="43" y="2"/>
                  <a:pt x="42" y="2"/>
                </a:cubicBezTo>
                <a:cubicBezTo>
                  <a:pt x="41" y="2"/>
                  <a:pt x="41" y="1"/>
                  <a:pt x="40" y="2"/>
                </a:cubicBezTo>
                <a:cubicBezTo>
                  <a:pt x="39" y="2"/>
                  <a:pt x="38" y="2"/>
                  <a:pt x="38" y="1"/>
                </a:cubicBezTo>
                <a:cubicBezTo>
                  <a:pt x="36" y="1"/>
                  <a:pt x="34" y="1"/>
                  <a:pt x="32" y="1"/>
                </a:cubicBezTo>
                <a:cubicBezTo>
                  <a:pt x="32" y="1"/>
                  <a:pt x="31" y="1"/>
                  <a:pt x="30" y="1"/>
                </a:cubicBezTo>
                <a:cubicBezTo>
                  <a:pt x="29" y="1"/>
                  <a:pt x="29" y="0"/>
                  <a:pt x="28" y="1"/>
                </a:cubicBezTo>
                <a:cubicBezTo>
                  <a:pt x="28" y="1"/>
                  <a:pt x="26" y="0"/>
                  <a:pt x="26" y="1"/>
                </a:cubicBezTo>
                <a:cubicBezTo>
                  <a:pt x="25" y="3"/>
                  <a:pt x="25" y="4"/>
                  <a:pt x="26" y="6"/>
                </a:cubicBezTo>
                <a:cubicBezTo>
                  <a:pt x="26" y="8"/>
                  <a:pt x="26" y="10"/>
                  <a:pt x="26" y="12"/>
                </a:cubicBezTo>
                <a:cubicBezTo>
                  <a:pt x="26" y="13"/>
                  <a:pt x="26" y="13"/>
                  <a:pt x="26" y="14"/>
                </a:cubicBezTo>
                <a:cubicBezTo>
                  <a:pt x="26" y="15"/>
                  <a:pt x="26" y="15"/>
                  <a:pt x="25" y="15"/>
                </a:cubicBezTo>
                <a:cubicBezTo>
                  <a:pt x="24" y="16"/>
                  <a:pt x="22" y="15"/>
                  <a:pt x="20" y="15"/>
                </a:cubicBezTo>
                <a:cubicBezTo>
                  <a:pt x="19" y="15"/>
                  <a:pt x="17" y="15"/>
                  <a:pt x="15" y="15"/>
                </a:cubicBezTo>
                <a:cubicBezTo>
                  <a:pt x="14" y="15"/>
                  <a:pt x="13" y="15"/>
                  <a:pt x="13" y="15"/>
                </a:cubicBezTo>
                <a:cubicBezTo>
                  <a:pt x="12" y="15"/>
                  <a:pt x="13" y="16"/>
                  <a:pt x="12" y="16"/>
                </a:cubicBezTo>
                <a:cubicBezTo>
                  <a:pt x="12" y="16"/>
                  <a:pt x="11" y="15"/>
                  <a:pt x="10" y="16"/>
                </a:cubicBezTo>
                <a:cubicBezTo>
                  <a:pt x="10" y="14"/>
                  <a:pt x="8" y="15"/>
                  <a:pt x="8" y="16"/>
                </a:cubicBezTo>
                <a:cubicBezTo>
                  <a:pt x="9" y="17"/>
                  <a:pt x="9" y="18"/>
                  <a:pt x="9" y="19"/>
                </a:cubicBezTo>
                <a:cubicBezTo>
                  <a:pt x="9" y="19"/>
                  <a:pt x="9" y="20"/>
                  <a:pt x="9" y="20"/>
                </a:cubicBezTo>
                <a:cubicBezTo>
                  <a:pt x="9" y="20"/>
                  <a:pt x="9" y="21"/>
                  <a:pt x="9" y="21"/>
                </a:cubicBezTo>
                <a:cubicBezTo>
                  <a:pt x="8" y="21"/>
                  <a:pt x="9" y="20"/>
                  <a:pt x="8" y="20"/>
                </a:cubicBezTo>
                <a:cubicBezTo>
                  <a:pt x="8" y="20"/>
                  <a:pt x="8" y="20"/>
                  <a:pt x="7" y="20"/>
                </a:cubicBezTo>
                <a:cubicBezTo>
                  <a:pt x="8" y="19"/>
                  <a:pt x="8" y="20"/>
                  <a:pt x="8" y="19"/>
                </a:cubicBezTo>
                <a:cubicBezTo>
                  <a:pt x="8" y="19"/>
                  <a:pt x="8" y="19"/>
                  <a:pt x="8" y="19"/>
                </a:cubicBezTo>
                <a:cubicBezTo>
                  <a:pt x="8" y="19"/>
                  <a:pt x="7" y="19"/>
                  <a:pt x="7" y="19"/>
                </a:cubicBezTo>
                <a:cubicBezTo>
                  <a:pt x="7" y="19"/>
                  <a:pt x="6" y="19"/>
                  <a:pt x="6" y="19"/>
                </a:cubicBezTo>
                <a:cubicBezTo>
                  <a:pt x="6" y="19"/>
                  <a:pt x="6" y="20"/>
                  <a:pt x="6" y="20"/>
                </a:cubicBezTo>
                <a:cubicBezTo>
                  <a:pt x="7" y="21"/>
                  <a:pt x="7" y="21"/>
                  <a:pt x="7" y="22"/>
                </a:cubicBezTo>
                <a:cubicBezTo>
                  <a:pt x="7" y="22"/>
                  <a:pt x="7" y="23"/>
                  <a:pt x="8" y="23"/>
                </a:cubicBezTo>
                <a:cubicBezTo>
                  <a:pt x="8" y="23"/>
                  <a:pt x="9" y="23"/>
                  <a:pt x="9" y="24"/>
                </a:cubicBezTo>
                <a:cubicBezTo>
                  <a:pt x="10" y="24"/>
                  <a:pt x="10" y="24"/>
                  <a:pt x="11" y="24"/>
                </a:cubicBezTo>
                <a:cubicBezTo>
                  <a:pt x="12" y="24"/>
                  <a:pt x="12" y="24"/>
                  <a:pt x="13" y="24"/>
                </a:cubicBezTo>
                <a:cubicBezTo>
                  <a:pt x="12" y="25"/>
                  <a:pt x="12" y="24"/>
                  <a:pt x="11" y="24"/>
                </a:cubicBezTo>
                <a:cubicBezTo>
                  <a:pt x="11" y="25"/>
                  <a:pt x="11" y="25"/>
                  <a:pt x="11" y="25"/>
                </a:cubicBezTo>
                <a:cubicBezTo>
                  <a:pt x="11" y="25"/>
                  <a:pt x="10" y="25"/>
                  <a:pt x="10" y="25"/>
                </a:cubicBezTo>
                <a:cubicBezTo>
                  <a:pt x="10" y="25"/>
                  <a:pt x="11" y="26"/>
                  <a:pt x="11" y="26"/>
                </a:cubicBezTo>
                <a:cubicBezTo>
                  <a:pt x="10" y="26"/>
                  <a:pt x="10" y="25"/>
                  <a:pt x="10" y="25"/>
                </a:cubicBezTo>
                <a:cubicBezTo>
                  <a:pt x="9" y="25"/>
                  <a:pt x="9" y="25"/>
                  <a:pt x="9" y="25"/>
                </a:cubicBezTo>
                <a:cubicBezTo>
                  <a:pt x="9" y="25"/>
                  <a:pt x="9" y="25"/>
                  <a:pt x="8" y="25"/>
                </a:cubicBezTo>
                <a:cubicBezTo>
                  <a:pt x="8" y="25"/>
                  <a:pt x="8" y="24"/>
                  <a:pt x="8" y="24"/>
                </a:cubicBezTo>
                <a:cubicBezTo>
                  <a:pt x="7" y="24"/>
                  <a:pt x="8" y="25"/>
                  <a:pt x="7" y="25"/>
                </a:cubicBezTo>
                <a:cubicBezTo>
                  <a:pt x="7" y="25"/>
                  <a:pt x="7" y="24"/>
                  <a:pt x="7" y="24"/>
                </a:cubicBezTo>
                <a:cubicBezTo>
                  <a:pt x="6" y="24"/>
                  <a:pt x="7" y="24"/>
                  <a:pt x="6" y="24"/>
                </a:cubicBezTo>
                <a:cubicBezTo>
                  <a:pt x="7" y="24"/>
                  <a:pt x="6" y="22"/>
                  <a:pt x="6" y="23"/>
                </a:cubicBezTo>
                <a:cubicBezTo>
                  <a:pt x="5" y="24"/>
                  <a:pt x="6" y="25"/>
                  <a:pt x="6" y="26"/>
                </a:cubicBezTo>
                <a:cubicBezTo>
                  <a:pt x="6" y="27"/>
                  <a:pt x="6" y="28"/>
                  <a:pt x="6" y="29"/>
                </a:cubicBezTo>
                <a:cubicBezTo>
                  <a:pt x="6" y="30"/>
                  <a:pt x="6" y="30"/>
                  <a:pt x="5" y="31"/>
                </a:cubicBezTo>
                <a:cubicBezTo>
                  <a:pt x="5" y="32"/>
                  <a:pt x="4" y="32"/>
                  <a:pt x="4" y="34"/>
                </a:cubicBezTo>
                <a:cubicBezTo>
                  <a:pt x="4" y="33"/>
                  <a:pt x="3" y="36"/>
                  <a:pt x="3" y="36"/>
                </a:cubicBezTo>
                <a:cubicBezTo>
                  <a:pt x="3" y="35"/>
                  <a:pt x="3" y="35"/>
                  <a:pt x="2" y="35"/>
                </a:cubicBezTo>
                <a:cubicBezTo>
                  <a:pt x="2" y="34"/>
                  <a:pt x="2" y="34"/>
                  <a:pt x="2" y="34"/>
                </a:cubicBezTo>
                <a:cubicBezTo>
                  <a:pt x="2" y="34"/>
                  <a:pt x="2" y="34"/>
                  <a:pt x="2" y="34"/>
                </a:cubicBezTo>
                <a:cubicBezTo>
                  <a:pt x="1" y="34"/>
                  <a:pt x="1" y="35"/>
                  <a:pt x="1" y="35"/>
                </a:cubicBezTo>
                <a:cubicBezTo>
                  <a:pt x="1" y="35"/>
                  <a:pt x="1" y="35"/>
                  <a:pt x="1" y="34"/>
                </a:cubicBezTo>
                <a:cubicBezTo>
                  <a:pt x="1" y="34"/>
                  <a:pt x="1" y="34"/>
                  <a:pt x="1" y="34"/>
                </a:cubicBezTo>
                <a:cubicBezTo>
                  <a:pt x="1" y="33"/>
                  <a:pt x="0" y="33"/>
                  <a:pt x="0" y="33"/>
                </a:cubicBezTo>
                <a:cubicBezTo>
                  <a:pt x="0" y="33"/>
                  <a:pt x="1" y="37"/>
                  <a:pt x="2" y="37"/>
                </a:cubicBezTo>
                <a:cubicBezTo>
                  <a:pt x="2" y="37"/>
                  <a:pt x="2" y="37"/>
                  <a:pt x="2" y="37"/>
                </a:cubicBezTo>
                <a:cubicBezTo>
                  <a:pt x="2" y="37"/>
                  <a:pt x="2" y="37"/>
                  <a:pt x="2" y="37"/>
                </a:cubicBezTo>
                <a:cubicBezTo>
                  <a:pt x="2" y="38"/>
                  <a:pt x="3" y="39"/>
                  <a:pt x="3" y="40"/>
                </a:cubicBezTo>
                <a:cubicBezTo>
                  <a:pt x="3" y="39"/>
                  <a:pt x="3" y="39"/>
                  <a:pt x="3" y="39"/>
                </a:cubicBezTo>
                <a:cubicBezTo>
                  <a:pt x="3" y="39"/>
                  <a:pt x="3" y="40"/>
                  <a:pt x="3" y="41"/>
                </a:cubicBezTo>
                <a:cubicBezTo>
                  <a:pt x="3" y="41"/>
                  <a:pt x="4" y="41"/>
                  <a:pt x="4" y="41"/>
                </a:cubicBezTo>
                <a:cubicBezTo>
                  <a:pt x="4" y="42"/>
                  <a:pt x="5" y="41"/>
                  <a:pt x="5" y="41"/>
                </a:cubicBezTo>
                <a:cubicBezTo>
                  <a:pt x="5" y="41"/>
                  <a:pt x="6" y="42"/>
                  <a:pt x="6" y="41"/>
                </a:cubicBezTo>
                <a:cubicBezTo>
                  <a:pt x="6" y="41"/>
                  <a:pt x="6" y="41"/>
                  <a:pt x="6" y="40"/>
                </a:cubicBezTo>
                <a:cubicBezTo>
                  <a:pt x="6" y="41"/>
                  <a:pt x="6" y="41"/>
                  <a:pt x="6" y="42"/>
                </a:cubicBezTo>
                <a:cubicBezTo>
                  <a:pt x="6" y="42"/>
                  <a:pt x="6" y="42"/>
                  <a:pt x="5" y="42"/>
                </a:cubicBezTo>
                <a:cubicBezTo>
                  <a:pt x="5" y="42"/>
                  <a:pt x="6" y="44"/>
                  <a:pt x="6" y="44"/>
                </a:cubicBezTo>
                <a:cubicBezTo>
                  <a:pt x="7" y="44"/>
                  <a:pt x="7" y="42"/>
                  <a:pt x="7" y="42"/>
                </a:cubicBezTo>
                <a:cubicBezTo>
                  <a:pt x="7" y="43"/>
                  <a:pt x="7" y="43"/>
                  <a:pt x="7" y="43"/>
                </a:cubicBezTo>
                <a:cubicBezTo>
                  <a:pt x="8" y="44"/>
                  <a:pt x="8" y="44"/>
                  <a:pt x="8" y="44"/>
                </a:cubicBezTo>
                <a:cubicBezTo>
                  <a:pt x="8" y="44"/>
                  <a:pt x="7" y="44"/>
                  <a:pt x="7" y="44"/>
                </a:cubicBezTo>
                <a:cubicBezTo>
                  <a:pt x="7" y="44"/>
                  <a:pt x="7" y="45"/>
                  <a:pt x="7" y="44"/>
                </a:cubicBezTo>
                <a:cubicBezTo>
                  <a:pt x="7" y="44"/>
                  <a:pt x="6" y="44"/>
                  <a:pt x="6" y="45"/>
                </a:cubicBezTo>
                <a:cubicBezTo>
                  <a:pt x="6" y="45"/>
                  <a:pt x="5" y="44"/>
                  <a:pt x="5" y="44"/>
                </a:cubicBezTo>
                <a:cubicBezTo>
                  <a:pt x="5" y="43"/>
                  <a:pt x="5" y="43"/>
                  <a:pt x="5" y="43"/>
                </a:cubicBezTo>
                <a:cubicBezTo>
                  <a:pt x="4" y="42"/>
                  <a:pt x="4" y="42"/>
                  <a:pt x="4" y="41"/>
                </a:cubicBezTo>
                <a:cubicBezTo>
                  <a:pt x="3" y="41"/>
                  <a:pt x="3" y="41"/>
                  <a:pt x="3" y="41"/>
                </a:cubicBezTo>
                <a:cubicBezTo>
                  <a:pt x="3" y="42"/>
                  <a:pt x="4" y="42"/>
                  <a:pt x="5" y="43"/>
                </a:cubicBezTo>
                <a:cubicBezTo>
                  <a:pt x="5" y="44"/>
                  <a:pt x="5" y="44"/>
                  <a:pt x="5" y="45"/>
                </a:cubicBezTo>
                <a:cubicBezTo>
                  <a:pt x="5" y="45"/>
                  <a:pt x="5" y="46"/>
                  <a:pt x="5" y="46"/>
                </a:cubicBezTo>
                <a:cubicBezTo>
                  <a:pt x="5" y="46"/>
                  <a:pt x="6" y="47"/>
                  <a:pt x="6" y="47"/>
                </a:cubicBezTo>
                <a:cubicBezTo>
                  <a:pt x="6" y="47"/>
                  <a:pt x="6" y="47"/>
                  <a:pt x="6" y="46"/>
                </a:cubicBezTo>
                <a:cubicBezTo>
                  <a:pt x="7" y="46"/>
                  <a:pt x="7" y="47"/>
                  <a:pt x="7" y="47"/>
                </a:cubicBezTo>
                <a:cubicBezTo>
                  <a:pt x="7" y="47"/>
                  <a:pt x="7" y="47"/>
                  <a:pt x="7" y="47"/>
                </a:cubicBezTo>
                <a:cubicBezTo>
                  <a:pt x="8" y="47"/>
                  <a:pt x="8" y="47"/>
                  <a:pt x="8" y="48"/>
                </a:cubicBezTo>
                <a:cubicBezTo>
                  <a:pt x="8" y="48"/>
                  <a:pt x="9" y="49"/>
                  <a:pt x="8" y="49"/>
                </a:cubicBezTo>
                <a:cubicBezTo>
                  <a:pt x="8" y="49"/>
                  <a:pt x="7" y="48"/>
                  <a:pt x="7" y="48"/>
                </a:cubicBezTo>
                <a:cubicBezTo>
                  <a:pt x="7" y="48"/>
                  <a:pt x="7" y="47"/>
                  <a:pt x="6" y="47"/>
                </a:cubicBezTo>
                <a:cubicBezTo>
                  <a:pt x="6" y="47"/>
                  <a:pt x="6" y="47"/>
                  <a:pt x="6" y="47"/>
                </a:cubicBezTo>
                <a:cubicBezTo>
                  <a:pt x="6" y="48"/>
                  <a:pt x="6" y="47"/>
                  <a:pt x="5" y="47"/>
                </a:cubicBezTo>
                <a:cubicBezTo>
                  <a:pt x="5" y="48"/>
                  <a:pt x="7" y="49"/>
                  <a:pt x="7" y="49"/>
                </a:cubicBezTo>
                <a:cubicBezTo>
                  <a:pt x="8" y="50"/>
                  <a:pt x="8" y="52"/>
                  <a:pt x="9" y="53"/>
                </a:cubicBezTo>
                <a:cubicBezTo>
                  <a:pt x="9" y="53"/>
                  <a:pt x="9" y="53"/>
                  <a:pt x="9" y="52"/>
                </a:cubicBezTo>
                <a:cubicBezTo>
                  <a:pt x="9" y="52"/>
                  <a:pt x="9" y="53"/>
                  <a:pt x="10" y="53"/>
                </a:cubicBezTo>
                <a:cubicBezTo>
                  <a:pt x="10" y="53"/>
                  <a:pt x="9" y="52"/>
                  <a:pt x="10" y="52"/>
                </a:cubicBezTo>
                <a:cubicBezTo>
                  <a:pt x="10" y="53"/>
                  <a:pt x="10" y="54"/>
                  <a:pt x="11" y="53"/>
                </a:cubicBezTo>
                <a:cubicBezTo>
                  <a:pt x="11" y="53"/>
                  <a:pt x="11" y="53"/>
                  <a:pt x="12" y="53"/>
                </a:cubicBezTo>
                <a:cubicBezTo>
                  <a:pt x="12" y="54"/>
                  <a:pt x="12" y="53"/>
                  <a:pt x="12" y="54"/>
                </a:cubicBezTo>
                <a:cubicBezTo>
                  <a:pt x="12" y="54"/>
                  <a:pt x="12" y="55"/>
                  <a:pt x="13" y="54"/>
                </a:cubicBezTo>
                <a:cubicBezTo>
                  <a:pt x="13" y="54"/>
                  <a:pt x="13" y="54"/>
                  <a:pt x="13" y="54"/>
                </a:cubicBezTo>
                <a:cubicBezTo>
                  <a:pt x="13" y="54"/>
                  <a:pt x="13" y="54"/>
                  <a:pt x="13" y="54"/>
                </a:cubicBezTo>
                <a:cubicBezTo>
                  <a:pt x="14" y="54"/>
                  <a:pt x="14" y="55"/>
                  <a:pt x="13" y="55"/>
                </a:cubicBezTo>
                <a:cubicBezTo>
                  <a:pt x="13" y="55"/>
                  <a:pt x="13" y="55"/>
                  <a:pt x="12" y="55"/>
                </a:cubicBezTo>
                <a:cubicBezTo>
                  <a:pt x="12" y="55"/>
                  <a:pt x="12" y="54"/>
                  <a:pt x="12" y="54"/>
                </a:cubicBezTo>
                <a:cubicBezTo>
                  <a:pt x="11" y="54"/>
                  <a:pt x="11" y="54"/>
                  <a:pt x="11" y="53"/>
                </a:cubicBezTo>
                <a:cubicBezTo>
                  <a:pt x="10" y="54"/>
                  <a:pt x="10" y="54"/>
                  <a:pt x="10" y="53"/>
                </a:cubicBezTo>
                <a:cubicBezTo>
                  <a:pt x="10" y="55"/>
                  <a:pt x="12" y="56"/>
                  <a:pt x="14" y="57"/>
                </a:cubicBezTo>
                <a:cubicBezTo>
                  <a:pt x="15" y="59"/>
                  <a:pt x="16" y="60"/>
                  <a:pt x="18" y="62"/>
                </a:cubicBezTo>
                <a:cubicBezTo>
                  <a:pt x="18" y="62"/>
                  <a:pt x="18" y="62"/>
                  <a:pt x="19" y="63"/>
                </a:cubicBezTo>
                <a:cubicBezTo>
                  <a:pt x="19" y="63"/>
                  <a:pt x="19" y="63"/>
                  <a:pt x="19" y="64"/>
                </a:cubicBezTo>
                <a:cubicBezTo>
                  <a:pt x="19" y="64"/>
                  <a:pt x="20" y="65"/>
                  <a:pt x="20" y="65"/>
                </a:cubicBezTo>
                <a:cubicBezTo>
                  <a:pt x="21" y="66"/>
                  <a:pt x="22" y="66"/>
                  <a:pt x="22" y="67"/>
                </a:cubicBezTo>
                <a:cubicBezTo>
                  <a:pt x="22" y="68"/>
                  <a:pt x="23" y="69"/>
                  <a:pt x="24" y="69"/>
                </a:cubicBezTo>
                <a:cubicBezTo>
                  <a:pt x="24" y="68"/>
                  <a:pt x="24" y="67"/>
                  <a:pt x="25" y="66"/>
                </a:cubicBezTo>
                <a:cubicBezTo>
                  <a:pt x="25" y="66"/>
                  <a:pt x="26" y="66"/>
                  <a:pt x="26" y="66"/>
                </a:cubicBezTo>
                <a:cubicBezTo>
                  <a:pt x="27" y="65"/>
                  <a:pt x="27" y="65"/>
                  <a:pt x="27" y="65"/>
                </a:cubicBezTo>
                <a:cubicBezTo>
                  <a:pt x="28" y="65"/>
                  <a:pt x="28" y="66"/>
                  <a:pt x="29" y="67"/>
                </a:cubicBezTo>
                <a:cubicBezTo>
                  <a:pt x="29" y="67"/>
                  <a:pt x="30" y="67"/>
                  <a:pt x="31" y="67"/>
                </a:cubicBezTo>
                <a:cubicBezTo>
                  <a:pt x="31" y="67"/>
                  <a:pt x="31" y="66"/>
                  <a:pt x="31" y="66"/>
                </a:cubicBezTo>
                <a:cubicBezTo>
                  <a:pt x="30" y="65"/>
                  <a:pt x="30" y="65"/>
                  <a:pt x="31" y="65"/>
                </a:cubicBezTo>
                <a:cubicBezTo>
                  <a:pt x="31" y="64"/>
                  <a:pt x="31" y="64"/>
                  <a:pt x="31" y="63"/>
                </a:cubicBezTo>
                <a:cubicBezTo>
                  <a:pt x="32" y="63"/>
                  <a:pt x="32" y="63"/>
                  <a:pt x="31" y="62"/>
                </a:cubicBezTo>
                <a:cubicBezTo>
                  <a:pt x="31" y="62"/>
                  <a:pt x="30" y="62"/>
                  <a:pt x="30" y="62"/>
                </a:cubicBezTo>
                <a:cubicBezTo>
                  <a:pt x="29" y="61"/>
                  <a:pt x="29" y="61"/>
                  <a:pt x="29" y="60"/>
                </a:cubicBezTo>
                <a:cubicBezTo>
                  <a:pt x="29" y="60"/>
                  <a:pt x="30" y="60"/>
                  <a:pt x="30" y="60"/>
                </a:cubicBezTo>
                <a:cubicBezTo>
                  <a:pt x="30" y="59"/>
                  <a:pt x="29" y="58"/>
                  <a:pt x="29" y="57"/>
                </a:cubicBezTo>
                <a:cubicBezTo>
                  <a:pt x="28" y="57"/>
                  <a:pt x="28" y="58"/>
                  <a:pt x="27" y="58"/>
                </a:cubicBezTo>
                <a:cubicBezTo>
                  <a:pt x="27" y="57"/>
                  <a:pt x="28" y="57"/>
                  <a:pt x="28" y="57"/>
                </a:cubicBezTo>
                <a:cubicBezTo>
                  <a:pt x="28" y="56"/>
                  <a:pt x="28" y="55"/>
                  <a:pt x="28" y="55"/>
                </a:cubicBezTo>
                <a:cubicBezTo>
                  <a:pt x="28" y="54"/>
                  <a:pt x="28" y="54"/>
                  <a:pt x="28" y="53"/>
                </a:cubicBezTo>
                <a:cubicBezTo>
                  <a:pt x="28" y="53"/>
                  <a:pt x="28" y="51"/>
                  <a:pt x="29" y="52"/>
                </a:cubicBezTo>
                <a:cubicBezTo>
                  <a:pt x="29" y="53"/>
                  <a:pt x="29" y="53"/>
                  <a:pt x="30" y="52"/>
                </a:cubicBezTo>
                <a:cubicBezTo>
                  <a:pt x="30" y="52"/>
                  <a:pt x="31" y="52"/>
                  <a:pt x="31" y="52"/>
                </a:cubicBezTo>
                <a:cubicBezTo>
                  <a:pt x="32" y="52"/>
                  <a:pt x="32" y="53"/>
                  <a:pt x="32" y="53"/>
                </a:cubicBezTo>
                <a:cubicBezTo>
                  <a:pt x="33" y="53"/>
                  <a:pt x="33" y="53"/>
                  <a:pt x="34" y="52"/>
                </a:cubicBezTo>
                <a:cubicBezTo>
                  <a:pt x="35" y="52"/>
                  <a:pt x="35" y="52"/>
                  <a:pt x="36" y="52"/>
                </a:cubicBezTo>
                <a:cubicBezTo>
                  <a:pt x="37" y="52"/>
                  <a:pt x="37" y="49"/>
                  <a:pt x="37" y="49"/>
                </a:cubicBezTo>
                <a:cubicBezTo>
                  <a:pt x="36" y="49"/>
                  <a:pt x="36" y="47"/>
                  <a:pt x="36" y="47"/>
                </a:cubicBezTo>
                <a:cubicBezTo>
                  <a:pt x="37" y="48"/>
                  <a:pt x="37" y="47"/>
                  <a:pt x="38" y="46"/>
                </a:cubicBezTo>
                <a:cubicBezTo>
                  <a:pt x="38" y="46"/>
                  <a:pt x="40" y="47"/>
                  <a:pt x="40" y="48"/>
                </a:cubicBezTo>
                <a:cubicBezTo>
                  <a:pt x="40" y="48"/>
                  <a:pt x="41" y="50"/>
                  <a:pt x="41" y="50"/>
                </a:cubicBezTo>
                <a:cubicBezTo>
                  <a:pt x="42" y="50"/>
                  <a:pt x="42" y="52"/>
                  <a:pt x="41" y="52"/>
                </a:cubicBezTo>
                <a:cubicBezTo>
                  <a:pt x="42" y="52"/>
                  <a:pt x="42" y="52"/>
                  <a:pt x="42" y="52"/>
                </a:cubicBezTo>
                <a:cubicBezTo>
                  <a:pt x="43" y="52"/>
                  <a:pt x="43" y="52"/>
                  <a:pt x="43" y="52"/>
                </a:cubicBezTo>
                <a:cubicBezTo>
                  <a:pt x="44" y="52"/>
                  <a:pt x="45" y="53"/>
                  <a:pt x="45" y="53"/>
                </a:cubicBezTo>
                <a:cubicBezTo>
                  <a:pt x="46" y="53"/>
                  <a:pt x="46" y="53"/>
                  <a:pt x="46" y="53"/>
                </a:cubicBezTo>
                <a:cubicBezTo>
                  <a:pt x="47" y="53"/>
                  <a:pt x="47" y="52"/>
                  <a:pt x="47" y="52"/>
                </a:cubicBezTo>
                <a:cubicBezTo>
                  <a:pt x="48" y="51"/>
                  <a:pt x="48" y="50"/>
                  <a:pt x="49" y="49"/>
                </a:cubicBezTo>
                <a:cubicBezTo>
                  <a:pt x="49" y="49"/>
                  <a:pt x="50" y="50"/>
                  <a:pt x="50" y="51"/>
                </a:cubicBezTo>
                <a:cubicBezTo>
                  <a:pt x="50" y="51"/>
                  <a:pt x="50" y="52"/>
                  <a:pt x="51" y="52"/>
                </a:cubicBezTo>
                <a:cubicBezTo>
                  <a:pt x="51" y="52"/>
                  <a:pt x="50" y="53"/>
                  <a:pt x="50" y="53"/>
                </a:cubicBezTo>
                <a:cubicBezTo>
                  <a:pt x="50" y="54"/>
                  <a:pt x="51" y="53"/>
                  <a:pt x="51" y="53"/>
                </a:cubicBezTo>
                <a:cubicBezTo>
                  <a:pt x="51" y="54"/>
                  <a:pt x="52" y="54"/>
                  <a:pt x="52" y="53"/>
                </a:cubicBezTo>
                <a:cubicBezTo>
                  <a:pt x="53" y="53"/>
                  <a:pt x="53" y="52"/>
                  <a:pt x="53" y="52"/>
                </a:cubicBezTo>
                <a:cubicBezTo>
                  <a:pt x="54" y="52"/>
                  <a:pt x="54" y="52"/>
                  <a:pt x="53" y="51"/>
                </a:cubicBezTo>
                <a:cubicBezTo>
                  <a:pt x="53" y="51"/>
                  <a:pt x="53" y="51"/>
                  <a:pt x="53" y="50"/>
                </a:cubicBezTo>
                <a:cubicBezTo>
                  <a:pt x="54" y="50"/>
                  <a:pt x="53" y="48"/>
                  <a:pt x="54" y="48"/>
                </a:cubicBezTo>
                <a:cubicBezTo>
                  <a:pt x="55" y="47"/>
                  <a:pt x="55" y="47"/>
                  <a:pt x="55" y="46"/>
                </a:cubicBezTo>
                <a:cubicBezTo>
                  <a:pt x="55" y="46"/>
                  <a:pt x="56" y="45"/>
                  <a:pt x="56" y="45"/>
                </a:cubicBezTo>
                <a:cubicBezTo>
                  <a:pt x="56" y="45"/>
                  <a:pt x="55" y="44"/>
                  <a:pt x="55" y="44"/>
                </a:cubicBezTo>
                <a:cubicBezTo>
                  <a:pt x="55" y="44"/>
                  <a:pt x="56" y="43"/>
                  <a:pt x="56" y="4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6" name="French Guiana"/>
          <p:cNvSpPr>
            <a:spLocks/>
          </p:cNvSpPr>
          <p:nvPr/>
        </p:nvSpPr>
        <p:spPr bwMode="auto">
          <a:xfrm>
            <a:off x="3881155" y="4435946"/>
            <a:ext cx="104996" cy="144995"/>
          </a:xfrm>
          <a:custGeom>
            <a:avLst/>
            <a:gdLst/>
            <a:ahLst/>
            <a:cxnLst>
              <a:cxn ang="0">
                <a:pos x="28" y="15"/>
              </a:cxn>
              <a:cxn ang="0">
                <a:pos x="26" y="12"/>
              </a:cxn>
              <a:cxn ang="0">
                <a:pos x="26" y="13"/>
              </a:cxn>
              <a:cxn ang="0">
                <a:pos x="23" y="10"/>
              </a:cxn>
              <a:cxn ang="0">
                <a:pos x="23" y="10"/>
              </a:cxn>
              <a:cxn ang="0">
                <a:pos x="21" y="8"/>
              </a:cxn>
              <a:cxn ang="0">
                <a:pos x="18" y="5"/>
              </a:cxn>
              <a:cxn ang="0">
                <a:pos x="14" y="3"/>
              </a:cxn>
              <a:cxn ang="0">
                <a:pos x="9" y="1"/>
              </a:cxn>
              <a:cxn ang="0">
                <a:pos x="5" y="4"/>
              </a:cxn>
              <a:cxn ang="0">
                <a:pos x="2" y="7"/>
              </a:cxn>
              <a:cxn ang="0">
                <a:pos x="1" y="11"/>
              </a:cxn>
              <a:cxn ang="0">
                <a:pos x="2" y="14"/>
              </a:cxn>
              <a:cxn ang="0">
                <a:pos x="2" y="17"/>
              </a:cxn>
              <a:cxn ang="0">
                <a:pos x="3" y="19"/>
              </a:cxn>
              <a:cxn ang="0">
                <a:pos x="5" y="22"/>
              </a:cxn>
              <a:cxn ang="0">
                <a:pos x="6" y="25"/>
              </a:cxn>
              <a:cxn ang="0">
                <a:pos x="4" y="29"/>
              </a:cxn>
              <a:cxn ang="0">
                <a:pos x="2" y="34"/>
              </a:cxn>
              <a:cxn ang="0">
                <a:pos x="0" y="37"/>
              </a:cxn>
              <a:cxn ang="0">
                <a:pos x="1" y="39"/>
              </a:cxn>
              <a:cxn ang="0">
                <a:pos x="4" y="40"/>
              </a:cxn>
              <a:cxn ang="0">
                <a:pos x="6" y="39"/>
              </a:cxn>
              <a:cxn ang="0">
                <a:pos x="8" y="37"/>
              </a:cxn>
              <a:cxn ang="0">
                <a:pos x="11" y="38"/>
              </a:cxn>
              <a:cxn ang="0">
                <a:pos x="13" y="39"/>
              </a:cxn>
              <a:cxn ang="0">
                <a:pos x="15" y="39"/>
              </a:cxn>
              <a:cxn ang="0">
                <a:pos x="17" y="38"/>
              </a:cxn>
              <a:cxn ang="0">
                <a:pos x="19" y="35"/>
              </a:cxn>
              <a:cxn ang="0">
                <a:pos x="20" y="33"/>
              </a:cxn>
              <a:cxn ang="0">
                <a:pos x="21" y="31"/>
              </a:cxn>
              <a:cxn ang="0">
                <a:pos x="22" y="28"/>
              </a:cxn>
              <a:cxn ang="0">
                <a:pos x="26" y="22"/>
              </a:cxn>
              <a:cxn ang="0">
                <a:pos x="28" y="19"/>
              </a:cxn>
              <a:cxn ang="0">
                <a:pos x="28" y="16"/>
              </a:cxn>
            </a:cxnLst>
            <a:rect l="0" t="0" r="r" b="b"/>
            <a:pathLst>
              <a:path w="29" h="40">
                <a:moveTo>
                  <a:pt x="28" y="16"/>
                </a:moveTo>
                <a:cubicBezTo>
                  <a:pt x="28" y="16"/>
                  <a:pt x="28" y="15"/>
                  <a:pt x="28" y="15"/>
                </a:cubicBezTo>
                <a:cubicBezTo>
                  <a:pt x="28" y="15"/>
                  <a:pt x="28" y="14"/>
                  <a:pt x="28" y="14"/>
                </a:cubicBezTo>
                <a:cubicBezTo>
                  <a:pt x="28" y="14"/>
                  <a:pt x="27" y="11"/>
                  <a:pt x="26" y="12"/>
                </a:cubicBezTo>
                <a:cubicBezTo>
                  <a:pt x="26" y="13"/>
                  <a:pt x="27" y="16"/>
                  <a:pt x="25" y="15"/>
                </a:cubicBezTo>
                <a:cubicBezTo>
                  <a:pt x="26" y="15"/>
                  <a:pt x="26" y="14"/>
                  <a:pt x="26" y="13"/>
                </a:cubicBezTo>
                <a:cubicBezTo>
                  <a:pt x="25" y="12"/>
                  <a:pt x="25" y="12"/>
                  <a:pt x="25" y="11"/>
                </a:cubicBezTo>
                <a:cubicBezTo>
                  <a:pt x="24" y="11"/>
                  <a:pt x="24" y="10"/>
                  <a:pt x="23" y="10"/>
                </a:cubicBezTo>
                <a:cubicBezTo>
                  <a:pt x="23" y="9"/>
                  <a:pt x="22" y="11"/>
                  <a:pt x="22" y="11"/>
                </a:cubicBezTo>
                <a:cubicBezTo>
                  <a:pt x="22" y="11"/>
                  <a:pt x="23" y="10"/>
                  <a:pt x="23" y="10"/>
                </a:cubicBezTo>
                <a:cubicBezTo>
                  <a:pt x="23" y="8"/>
                  <a:pt x="22" y="9"/>
                  <a:pt x="22" y="9"/>
                </a:cubicBezTo>
                <a:cubicBezTo>
                  <a:pt x="22" y="9"/>
                  <a:pt x="21" y="8"/>
                  <a:pt x="21" y="8"/>
                </a:cubicBezTo>
                <a:cubicBezTo>
                  <a:pt x="20" y="7"/>
                  <a:pt x="20" y="7"/>
                  <a:pt x="19" y="6"/>
                </a:cubicBezTo>
                <a:cubicBezTo>
                  <a:pt x="19" y="6"/>
                  <a:pt x="18" y="5"/>
                  <a:pt x="18" y="5"/>
                </a:cubicBezTo>
                <a:cubicBezTo>
                  <a:pt x="17" y="4"/>
                  <a:pt x="17" y="4"/>
                  <a:pt x="17" y="3"/>
                </a:cubicBezTo>
                <a:cubicBezTo>
                  <a:pt x="16" y="3"/>
                  <a:pt x="15" y="3"/>
                  <a:pt x="14" y="3"/>
                </a:cubicBezTo>
                <a:cubicBezTo>
                  <a:pt x="13" y="3"/>
                  <a:pt x="12" y="2"/>
                  <a:pt x="11" y="2"/>
                </a:cubicBezTo>
                <a:cubicBezTo>
                  <a:pt x="11" y="1"/>
                  <a:pt x="10" y="1"/>
                  <a:pt x="9" y="1"/>
                </a:cubicBezTo>
                <a:cubicBezTo>
                  <a:pt x="8" y="0"/>
                  <a:pt x="6" y="0"/>
                  <a:pt x="6" y="2"/>
                </a:cubicBezTo>
                <a:cubicBezTo>
                  <a:pt x="6" y="3"/>
                  <a:pt x="6" y="3"/>
                  <a:pt x="5" y="4"/>
                </a:cubicBezTo>
                <a:cubicBezTo>
                  <a:pt x="5" y="4"/>
                  <a:pt x="4" y="5"/>
                  <a:pt x="4" y="5"/>
                </a:cubicBezTo>
                <a:cubicBezTo>
                  <a:pt x="3" y="6"/>
                  <a:pt x="3" y="7"/>
                  <a:pt x="2" y="7"/>
                </a:cubicBezTo>
                <a:cubicBezTo>
                  <a:pt x="2" y="8"/>
                  <a:pt x="2" y="8"/>
                  <a:pt x="2" y="9"/>
                </a:cubicBezTo>
                <a:cubicBezTo>
                  <a:pt x="1" y="10"/>
                  <a:pt x="1" y="10"/>
                  <a:pt x="1" y="11"/>
                </a:cubicBezTo>
                <a:cubicBezTo>
                  <a:pt x="1" y="11"/>
                  <a:pt x="2" y="12"/>
                  <a:pt x="2" y="12"/>
                </a:cubicBezTo>
                <a:cubicBezTo>
                  <a:pt x="2" y="13"/>
                  <a:pt x="2" y="14"/>
                  <a:pt x="2" y="14"/>
                </a:cubicBezTo>
                <a:cubicBezTo>
                  <a:pt x="2" y="15"/>
                  <a:pt x="2" y="16"/>
                  <a:pt x="2" y="17"/>
                </a:cubicBezTo>
                <a:cubicBezTo>
                  <a:pt x="2" y="17"/>
                  <a:pt x="2" y="17"/>
                  <a:pt x="2" y="17"/>
                </a:cubicBezTo>
                <a:cubicBezTo>
                  <a:pt x="2" y="18"/>
                  <a:pt x="2" y="17"/>
                  <a:pt x="3" y="18"/>
                </a:cubicBezTo>
                <a:cubicBezTo>
                  <a:pt x="3" y="18"/>
                  <a:pt x="2" y="19"/>
                  <a:pt x="3" y="19"/>
                </a:cubicBezTo>
                <a:cubicBezTo>
                  <a:pt x="3" y="20"/>
                  <a:pt x="3" y="20"/>
                  <a:pt x="4" y="21"/>
                </a:cubicBezTo>
                <a:cubicBezTo>
                  <a:pt x="4" y="21"/>
                  <a:pt x="4" y="22"/>
                  <a:pt x="5" y="22"/>
                </a:cubicBezTo>
                <a:cubicBezTo>
                  <a:pt x="5" y="23"/>
                  <a:pt x="5" y="23"/>
                  <a:pt x="5" y="23"/>
                </a:cubicBezTo>
                <a:cubicBezTo>
                  <a:pt x="6" y="23"/>
                  <a:pt x="6" y="25"/>
                  <a:pt x="6" y="25"/>
                </a:cubicBezTo>
                <a:cubicBezTo>
                  <a:pt x="5" y="26"/>
                  <a:pt x="5" y="26"/>
                  <a:pt x="5" y="27"/>
                </a:cubicBezTo>
                <a:cubicBezTo>
                  <a:pt x="4" y="28"/>
                  <a:pt x="4" y="28"/>
                  <a:pt x="4" y="29"/>
                </a:cubicBezTo>
                <a:cubicBezTo>
                  <a:pt x="4" y="29"/>
                  <a:pt x="4" y="31"/>
                  <a:pt x="4" y="31"/>
                </a:cubicBezTo>
                <a:cubicBezTo>
                  <a:pt x="4" y="33"/>
                  <a:pt x="3" y="33"/>
                  <a:pt x="2" y="34"/>
                </a:cubicBezTo>
                <a:cubicBezTo>
                  <a:pt x="2" y="35"/>
                  <a:pt x="2" y="36"/>
                  <a:pt x="1" y="36"/>
                </a:cubicBezTo>
                <a:cubicBezTo>
                  <a:pt x="1" y="37"/>
                  <a:pt x="1" y="37"/>
                  <a:pt x="0" y="37"/>
                </a:cubicBezTo>
                <a:cubicBezTo>
                  <a:pt x="0" y="38"/>
                  <a:pt x="0" y="37"/>
                  <a:pt x="0" y="38"/>
                </a:cubicBezTo>
                <a:cubicBezTo>
                  <a:pt x="0" y="38"/>
                  <a:pt x="0" y="39"/>
                  <a:pt x="1" y="39"/>
                </a:cubicBezTo>
                <a:cubicBezTo>
                  <a:pt x="2" y="39"/>
                  <a:pt x="2" y="40"/>
                  <a:pt x="3" y="40"/>
                </a:cubicBezTo>
                <a:cubicBezTo>
                  <a:pt x="4" y="39"/>
                  <a:pt x="4" y="39"/>
                  <a:pt x="4" y="40"/>
                </a:cubicBezTo>
                <a:cubicBezTo>
                  <a:pt x="4" y="40"/>
                  <a:pt x="5" y="40"/>
                  <a:pt x="5" y="40"/>
                </a:cubicBezTo>
                <a:cubicBezTo>
                  <a:pt x="5" y="39"/>
                  <a:pt x="6" y="39"/>
                  <a:pt x="6" y="39"/>
                </a:cubicBezTo>
                <a:cubicBezTo>
                  <a:pt x="6" y="38"/>
                  <a:pt x="7" y="38"/>
                  <a:pt x="7" y="38"/>
                </a:cubicBezTo>
                <a:cubicBezTo>
                  <a:pt x="7" y="37"/>
                  <a:pt x="7" y="37"/>
                  <a:pt x="8" y="37"/>
                </a:cubicBezTo>
                <a:cubicBezTo>
                  <a:pt x="8" y="37"/>
                  <a:pt x="8" y="37"/>
                  <a:pt x="8" y="38"/>
                </a:cubicBezTo>
                <a:cubicBezTo>
                  <a:pt x="9" y="38"/>
                  <a:pt x="10" y="39"/>
                  <a:pt x="11" y="38"/>
                </a:cubicBezTo>
                <a:cubicBezTo>
                  <a:pt x="11" y="38"/>
                  <a:pt x="12" y="37"/>
                  <a:pt x="12" y="37"/>
                </a:cubicBezTo>
                <a:cubicBezTo>
                  <a:pt x="12" y="37"/>
                  <a:pt x="13" y="38"/>
                  <a:pt x="13" y="39"/>
                </a:cubicBezTo>
                <a:cubicBezTo>
                  <a:pt x="13" y="39"/>
                  <a:pt x="12" y="39"/>
                  <a:pt x="12" y="39"/>
                </a:cubicBezTo>
                <a:cubicBezTo>
                  <a:pt x="13" y="39"/>
                  <a:pt x="14" y="39"/>
                  <a:pt x="15" y="39"/>
                </a:cubicBezTo>
                <a:cubicBezTo>
                  <a:pt x="16" y="39"/>
                  <a:pt x="16" y="39"/>
                  <a:pt x="16" y="39"/>
                </a:cubicBezTo>
                <a:cubicBezTo>
                  <a:pt x="16" y="38"/>
                  <a:pt x="17" y="38"/>
                  <a:pt x="17" y="38"/>
                </a:cubicBezTo>
                <a:cubicBezTo>
                  <a:pt x="18" y="37"/>
                  <a:pt x="18" y="37"/>
                  <a:pt x="19" y="36"/>
                </a:cubicBezTo>
                <a:cubicBezTo>
                  <a:pt x="19" y="36"/>
                  <a:pt x="19" y="36"/>
                  <a:pt x="19" y="35"/>
                </a:cubicBezTo>
                <a:cubicBezTo>
                  <a:pt x="20" y="35"/>
                  <a:pt x="19" y="34"/>
                  <a:pt x="20" y="34"/>
                </a:cubicBezTo>
                <a:cubicBezTo>
                  <a:pt x="20" y="33"/>
                  <a:pt x="20" y="33"/>
                  <a:pt x="20" y="33"/>
                </a:cubicBezTo>
                <a:cubicBezTo>
                  <a:pt x="21" y="32"/>
                  <a:pt x="21" y="32"/>
                  <a:pt x="21" y="31"/>
                </a:cubicBezTo>
                <a:cubicBezTo>
                  <a:pt x="21" y="31"/>
                  <a:pt x="21" y="31"/>
                  <a:pt x="21" y="31"/>
                </a:cubicBezTo>
                <a:cubicBezTo>
                  <a:pt x="21" y="31"/>
                  <a:pt x="21" y="31"/>
                  <a:pt x="21" y="30"/>
                </a:cubicBezTo>
                <a:cubicBezTo>
                  <a:pt x="22" y="29"/>
                  <a:pt x="21" y="28"/>
                  <a:pt x="22" y="28"/>
                </a:cubicBezTo>
                <a:cubicBezTo>
                  <a:pt x="23" y="27"/>
                  <a:pt x="24" y="25"/>
                  <a:pt x="25" y="24"/>
                </a:cubicBezTo>
                <a:cubicBezTo>
                  <a:pt x="25" y="24"/>
                  <a:pt x="25" y="23"/>
                  <a:pt x="26" y="22"/>
                </a:cubicBezTo>
                <a:cubicBezTo>
                  <a:pt x="26" y="21"/>
                  <a:pt x="27" y="21"/>
                  <a:pt x="27" y="20"/>
                </a:cubicBezTo>
                <a:cubicBezTo>
                  <a:pt x="27" y="19"/>
                  <a:pt x="28" y="19"/>
                  <a:pt x="28" y="19"/>
                </a:cubicBezTo>
                <a:cubicBezTo>
                  <a:pt x="29" y="19"/>
                  <a:pt x="29" y="18"/>
                  <a:pt x="29" y="18"/>
                </a:cubicBezTo>
                <a:cubicBezTo>
                  <a:pt x="29" y="17"/>
                  <a:pt x="28" y="17"/>
                  <a:pt x="28" y="1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7" name="France"/>
          <p:cNvSpPr>
            <a:spLocks noEditPoints="1"/>
          </p:cNvSpPr>
          <p:nvPr/>
        </p:nvSpPr>
        <p:spPr bwMode="auto">
          <a:xfrm>
            <a:off x="5680087" y="2642013"/>
            <a:ext cx="451983" cy="379986"/>
          </a:xfrm>
          <a:custGeom>
            <a:avLst/>
            <a:gdLst/>
            <a:ahLst/>
            <a:cxnLst>
              <a:cxn ang="0">
                <a:pos x="112" y="24"/>
              </a:cxn>
              <a:cxn ang="0">
                <a:pos x="107" y="37"/>
              </a:cxn>
              <a:cxn ang="0">
                <a:pos x="102" y="40"/>
              </a:cxn>
              <a:cxn ang="0">
                <a:pos x="98" y="46"/>
              </a:cxn>
              <a:cxn ang="0">
                <a:pos x="96" y="52"/>
              </a:cxn>
              <a:cxn ang="0">
                <a:pos x="102" y="54"/>
              </a:cxn>
              <a:cxn ang="0">
                <a:pos x="103" y="63"/>
              </a:cxn>
              <a:cxn ang="0">
                <a:pos x="103" y="68"/>
              </a:cxn>
              <a:cxn ang="0">
                <a:pos x="108" y="74"/>
              </a:cxn>
              <a:cxn ang="0">
                <a:pos x="100" y="83"/>
              </a:cxn>
              <a:cxn ang="0">
                <a:pos x="94" y="87"/>
              </a:cxn>
              <a:cxn ang="0">
                <a:pos x="88" y="84"/>
              </a:cxn>
              <a:cxn ang="0">
                <a:pos x="85" y="83"/>
              </a:cxn>
              <a:cxn ang="0">
                <a:pos x="79" y="82"/>
              </a:cxn>
              <a:cxn ang="0">
                <a:pos x="67" y="86"/>
              </a:cxn>
              <a:cxn ang="0">
                <a:pos x="67" y="91"/>
              </a:cxn>
              <a:cxn ang="0">
                <a:pos x="57" y="93"/>
              </a:cxn>
              <a:cxn ang="0">
                <a:pos x="50" y="90"/>
              </a:cxn>
              <a:cxn ang="0">
                <a:pos x="38" y="89"/>
              </a:cxn>
              <a:cxn ang="0">
                <a:pos x="28" y="85"/>
              </a:cxn>
              <a:cxn ang="0">
                <a:pos x="30" y="74"/>
              </a:cxn>
              <a:cxn ang="0">
                <a:pos x="35" y="62"/>
              </a:cxn>
              <a:cxn ang="0">
                <a:pos x="35" y="61"/>
              </a:cxn>
              <a:cxn ang="0">
                <a:pos x="32" y="53"/>
              </a:cxn>
              <a:cxn ang="0">
                <a:pos x="27" y="49"/>
              </a:cxn>
              <a:cxn ang="0">
                <a:pos x="25" y="41"/>
              </a:cxn>
              <a:cxn ang="0">
                <a:pos x="22" y="41"/>
              </a:cxn>
              <a:cxn ang="0">
                <a:pos x="20" y="38"/>
              </a:cxn>
              <a:cxn ang="0">
                <a:pos x="18" y="38"/>
              </a:cxn>
              <a:cxn ang="0">
                <a:pos x="15" y="37"/>
              </a:cxn>
              <a:cxn ang="0">
                <a:pos x="9" y="35"/>
              </a:cxn>
              <a:cxn ang="0">
                <a:pos x="5" y="34"/>
              </a:cxn>
              <a:cxn ang="0">
                <a:pos x="5" y="30"/>
              </a:cxn>
              <a:cxn ang="0">
                <a:pos x="3" y="29"/>
              </a:cxn>
              <a:cxn ang="0">
                <a:pos x="8" y="26"/>
              </a:cxn>
              <a:cxn ang="0">
                <a:pos x="13" y="26"/>
              </a:cxn>
              <a:cxn ang="0">
                <a:pos x="18" y="24"/>
              </a:cxn>
              <a:cxn ang="0">
                <a:pos x="24" y="26"/>
              </a:cxn>
              <a:cxn ang="0">
                <a:pos x="28" y="26"/>
              </a:cxn>
              <a:cxn ang="0">
                <a:pos x="30" y="21"/>
              </a:cxn>
              <a:cxn ang="0">
                <a:pos x="31" y="15"/>
              </a:cxn>
              <a:cxn ang="0">
                <a:pos x="48" y="17"/>
              </a:cxn>
              <a:cxn ang="0">
                <a:pos x="58" y="8"/>
              </a:cxn>
              <a:cxn ang="0">
                <a:pos x="67" y="2"/>
              </a:cxn>
              <a:cxn ang="0">
                <a:pos x="74" y="6"/>
              </a:cxn>
              <a:cxn ang="0">
                <a:pos x="79" y="10"/>
              </a:cxn>
              <a:cxn ang="0">
                <a:pos x="85" y="12"/>
              </a:cxn>
              <a:cxn ang="0">
                <a:pos x="92" y="17"/>
              </a:cxn>
              <a:cxn ang="0">
                <a:pos x="102" y="20"/>
              </a:cxn>
              <a:cxn ang="0">
                <a:pos x="58" y="93"/>
              </a:cxn>
              <a:cxn ang="0">
                <a:pos x="0" y="28"/>
              </a:cxn>
              <a:cxn ang="0">
                <a:pos x="123" y="90"/>
              </a:cxn>
              <a:cxn ang="0">
                <a:pos x="117" y="95"/>
              </a:cxn>
              <a:cxn ang="0">
                <a:pos x="117" y="100"/>
              </a:cxn>
              <a:cxn ang="0">
                <a:pos x="120" y="104"/>
              </a:cxn>
              <a:cxn ang="0">
                <a:pos x="123" y="101"/>
              </a:cxn>
              <a:cxn ang="0">
                <a:pos x="15" y="41"/>
              </a:cxn>
              <a:cxn ang="0">
                <a:pos x="30" y="55"/>
              </a:cxn>
            </a:cxnLst>
            <a:rect l="0" t="0" r="r" b="b"/>
            <a:pathLst>
              <a:path w="125" h="105">
                <a:moveTo>
                  <a:pt x="24" y="45"/>
                </a:moveTo>
                <a:cubicBezTo>
                  <a:pt x="24" y="45"/>
                  <a:pt x="22" y="44"/>
                  <a:pt x="23" y="44"/>
                </a:cubicBezTo>
                <a:cubicBezTo>
                  <a:pt x="24" y="44"/>
                  <a:pt x="24" y="45"/>
                  <a:pt x="24" y="45"/>
                </a:cubicBezTo>
                <a:close/>
                <a:moveTo>
                  <a:pt x="23" y="47"/>
                </a:moveTo>
                <a:cubicBezTo>
                  <a:pt x="23" y="47"/>
                  <a:pt x="21" y="47"/>
                  <a:pt x="23" y="47"/>
                </a:cubicBezTo>
                <a:close/>
                <a:moveTo>
                  <a:pt x="110" y="22"/>
                </a:moveTo>
                <a:cubicBezTo>
                  <a:pt x="111" y="22"/>
                  <a:pt x="112" y="23"/>
                  <a:pt x="113" y="23"/>
                </a:cubicBezTo>
                <a:cubicBezTo>
                  <a:pt x="113" y="23"/>
                  <a:pt x="113" y="24"/>
                  <a:pt x="112" y="24"/>
                </a:cubicBezTo>
                <a:cubicBezTo>
                  <a:pt x="112" y="25"/>
                  <a:pt x="112" y="25"/>
                  <a:pt x="111" y="25"/>
                </a:cubicBezTo>
                <a:cubicBezTo>
                  <a:pt x="111" y="25"/>
                  <a:pt x="111" y="26"/>
                  <a:pt x="110" y="26"/>
                </a:cubicBezTo>
                <a:cubicBezTo>
                  <a:pt x="110" y="27"/>
                  <a:pt x="109" y="28"/>
                  <a:pt x="109" y="29"/>
                </a:cubicBezTo>
                <a:cubicBezTo>
                  <a:pt x="109" y="29"/>
                  <a:pt x="109" y="30"/>
                  <a:pt x="109" y="30"/>
                </a:cubicBezTo>
                <a:cubicBezTo>
                  <a:pt x="109" y="30"/>
                  <a:pt x="109" y="31"/>
                  <a:pt x="108" y="31"/>
                </a:cubicBezTo>
                <a:cubicBezTo>
                  <a:pt x="108" y="32"/>
                  <a:pt x="107" y="32"/>
                  <a:pt x="108" y="33"/>
                </a:cubicBezTo>
                <a:cubicBezTo>
                  <a:pt x="108" y="34"/>
                  <a:pt x="108" y="35"/>
                  <a:pt x="108" y="35"/>
                </a:cubicBezTo>
                <a:cubicBezTo>
                  <a:pt x="107" y="35"/>
                  <a:pt x="107" y="37"/>
                  <a:pt x="107" y="37"/>
                </a:cubicBezTo>
                <a:cubicBezTo>
                  <a:pt x="108" y="38"/>
                  <a:pt x="108" y="38"/>
                  <a:pt x="107" y="38"/>
                </a:cubicBezTo>
                <a:cubicBezTo>
                  <a:pt x="108" y="38"/>
                  <a:pt x="107" y="39"/>
                  <a:pt x="107" y="39"/>
                </a:cubicBezTo>
                <a:cubicBezTo>
                  <a:pt x="106" y="39"/>
                  <a:pt x="107" y="39"/>
                  <a:pt x="106" y="39"/>
                </a:cubicBezTo>
                <a:cubicBezTo>
                  <a:pt x="106" y="39"/>
                  <a:pt x="106" y="39"/>
                  <a:pt x="105" y="39"/>
                </a:cubicBezTo>
                <a:cubicBezTo>
                  <a:pt x="105" y="39"/>
                  <a:pt x="104" y="39"/>
                  <a:pt x="104" y="39"/>
                </a:cubicBezTo>
                <a:cubicBezTo>
                  <a:pt x="104" y="39"/>
                  <a:pt x="103" y="39"/>
                  <a:pt x="103" y="39"/>
                </a:cubicBezTo>
                <a:cubicBezTo>
                  <a:pt x="103" y="39"/>
                  <a:pt x="103" y="39"/>
                  <a:pt x="103" y="39"/>
                </a:cubicBezTo>
                <a:cubicBezTo>
                  <a:pt x="103" y="39"/>
                  <a:pt x="101" y="40"/>
                  <a:pt x="102" y="40"/>
                </a:cubicBezTo>
                <a:cubicBezTo>
                  <a:pt x="102" y="40"/>
                  <a:pt x="103" y="40"/>
                  <a:pt x="103" y="40"/>
                </a:cubicBezTo>
                <a:cubicBezTo>
                  <a:pt x="103" y="40"/>
                  <a:pt x="103" y="41"/>
                  <a:pt x="102" y="41"/>
                </a:cubicBezTo>
                <a:cubicBezTo>
                  <a:pt x="102" y="41"/>
                  <a:pt x="102" y="41"/>
                  <a:pt x="102" y="41"/>
                </a:cubicBezTo>
                <a:cubicBezTo>
                  <a:pt x="102" y="41"/>
                  <a:pt x="102" y="42"/>
                  <a:pt x="102" y="42"/>
                </a:cubicBezTo>
                <a:cubicBezTo>
                  <a:pt x="101" y="42"/>
                  <a:pt x="101" y="42"/>
                  <a:pt x="100" y="43"/>
                </a:cubicBezTo>
                <a:cubicBezTo>
                  <a:pt x="100" y="43"/>
                  <a:pt x="100" y="44"/>
                  <a:pt x="100" y="44"/>
                </a:cubicBezTo>
                <a:cubicBezTo>
                  <a:pt x="99" y="44"/>
                  <a:pt x="99" y="44"/>
                  <a:pt x="98" y="44"/>
                </a:cubicBezTo>
                <a:cubicBezTo>
                  <a:pt x="98" y="45"/>
                  <a:pt x="98" y="46"/>
                  <a:pt x="98" y="46"/>
                </a:cubicBezTo>
                <a:cubicBezTo>
                  <a:pt x="97" y="47"/>
                  <a:pt x="96" y="47"/>
                  <a:pt x="96" y="48"/>
                </a:cubicBezTo>
                <a:cubicBezTo>
                  <a:pt x="95" y="48"/>
                  <a:pt x="95" y="48"/>
                  <a:pt x="95" y="49"/>
                </a:cubicBezTo>
                <a:cubicBezTo>
                  <a:pt x="95" y="49"/>
                  <a:pt x="95" y="50"/>
                  <a:pt x="95" y="50"/>
                </a:cubicBezTo>
                <a:cubicBezTo>
                  <a:pt x="95" y="50"/>
                  <a:pt x="95" y="51"/>
                  <a:pt x="95" y="52"/>
                </a:cubicBezTo>
                <a:cubicBezTo>
                  <a:pt x="95" y="52"/>
                  <a:pt x="94" y="52"/>
                  <a:pt x="94" y="52"/>
                </a:cubicBezTo>
                <a:cubicBezTo>
                  <a:pt x="94" y="53"/>
                  <a:pt x="94" y="53"/>
                  <a:pt x="94" y="53"/>
                </a:cubicBezTo>
                <a:cubicBezTo>
                  <a:pt x="94" y="53"/>
                  <a:pt x="95" y="53"/>
                  <a:pt x="95" y="53"/>
                </a:cubicBezTo>
                <a:cubicBezTo>
                  <a:pt x="96" y="53"/>
                  <a:pt x="96" y="52"/>
                  <a:pt x="96" y="52"/>
                </a:cubicBezTo>
                <a:cubicBezTo>
                  <a:pt x="97" y="52"/>
                  <a:pt x="96" y="52"/>
                  <a:pt x="96" y="51"/>
                </a:cubicBezTo>
                <a:cubicBezTo>
                  <a:pt x="96" y="51"/>
                  <a:pt x="97" y="50"/>
                  <a:pt x="97" y="50"/>
                </a:cubicBezTo>
                <a:cubicBezTo>
                  <a:pt x="98" y="50"/>
                  <a:pt x="99" y="49"/>
                  <a:pt x="101" y="50"/>
                </a:cubicBezTo>
                <a:cubicBezTo>
                  <a:pt x="101" y="50"/>
                  <a:pt x="101" y="51"/>
                  <a:pt x="101" y="51"/>
                </a:cubicBezTo>
                <a:cubicBezTo>
                  <a:pt x="101" y="51"/>
                  <a:pt x="101" y="51"/>
                  <a:pt x="101" y="51"/>
                </a:cubicBezTo>
                <a:cubicBezTo>
                  <a:pt x="101" y="52"/>
                  <a:pt x="101" y="52"/>
                  <a:pt x="101" y="52"/>
                </a:cubicBezTo>
                <a:cubicBezTo>
                  <a:pt x="101" y="53"/>
                  <a:pt x="101" y="53"/>
                  <a:pt x="101" y="53"/>
                </a:cubicBezTo>
                <a:cubicBezTo>
                  <a:pt x="102" y="53"/>
                  <a:pt x="101" y="54"/>
                  <a:pt x="102" y="54"/>
                </a:cubicBezTo>
                <a:cubicBezTo>
                  <a:pt x="102" y="54"/>
                  <a:pt x="103" y="55"/>
                  <a:pt x="103" y="55"/>
                </a:cubicBezTo>
                <a:cubicBezTo>
                  <a:pt x="103" y="56"/>
                  <a:pt x="102" y="56"/>
                  <a:pt x="102" y="56"/>
                </a:cubicBezTo>
                <a:cubicBezTo>
                  <a:pt x="101" y="56"/>
                  <a:pt x="101" y="56"/>
                  <a:pt x="101" y="57"/>
                </a:cubicBezTo>
                <a:cubicBezTo>
                  <a:pt x="101" y="57"/>
                  <a:pt x="101" y="58"/>
                  <a:pt x="102" y="58"/>
                </a:cubicBezTo>
                <a:cubicBezTo>
                  <a:pt x="102" y="59"/>
                  <a:pt x="102" y="58"/>
                  <a:pt x="102" y="59"/>
                </a:cubicBezTo>
                <a:cubicBezTo>
                  <a:pt x="102" y="60"/>
                  <a:pt x="103" y="60"/>
                  <a:pt x="104" y="61"/>
                </a:cubicBezTo>
                <a:cubicBezTo>
                  <a:pt x="104" y="61"/>
                  <a:pt x="104" y="61"/>
                  <a:pt x="104" y="62"/>
                </a:cubicBezTo>
                <a:cubicBezTo>
                  <a:pt x="103" y="62"/>
                  <a:pt x="104" y="63"/>
                  <a:pt x="103" y="63"/>
                </a:cubicBezTo>
                <a:cubicBezTo>
                  <a:pt x="103" y="63"/>
                  <a:pt x="102" y="63"/>
                  <a:pt x="102" y="63"/>
                </a:cubicBezTo>
                <a:cubicBezTo>
                  <a:pt x="102" y="64"/>
                  <a:pt x="102" y="64"/>
                  <a:pt x="101" y="64"/>
                </a:cubicBezTo>
                <a:cubicBezTo>
                  <a:pt x="101" y="64"/>
                  <a:pt x="101" y="64"/>
                  <a:pt x="100" y="64"/>
                </a:cubicBezTo>
                <a:cubicBezTo>
                  <a:pt x="99" y="64"/>
                  <a:pt x="99" y="64"/>
                  <a:pt x="99" y="64"/>
                </a:cubicBezTo>
                <a:cubicBezTo>
                  <a:pt x="99" y="65"/>
                  <a:pt x="100" y="65"/>
                  <a:pt x="100" y="66"/>
                </a:cubicBezTo>
                <a:cubicBezTo>
                  <a:pt x="100" y="67"/>
                  <a:pt x="101" y="67"/>
                  <a:pt x="102" y="67"/>
                </a:cubicBezTo>
                <a:cubicBezTo>
                  <a:pt x="102" y="67"/>
                  <a:pt x="102" y="67"/>
                  <a:pt x="102" y="67"/>
                </a:cubicBezTo>
                <a:cubicBezTo>
                  <a:pt x="103" y="67"/>
                  <a:pt x="102" y="68"/>
                  <a:pt x="103" y="68"/>
                </a:cubicBezTo>
                <a:cubicBezTo>
                  <a:pt x="103" y="68"/>
                  <a:pt x="103" y="69"/>
                  <a:pt x="102" y="69"/>
                </a:cubicBezTo>
                <a:cubicBezTo>
                  <a:pt x="102" y="69"/>
                  <a:pt x="102" y="70"/>
                  <a:pt x="101" y="70"/>
                </a:cubicBezTo>
                <a:cubicBezTo>
                  <a:pt x="101" y="71"/>
                  <a:pt x="101" y="71"/>
                  <a:pt x="102" y="71"/>
                </a:cubicBezTo>
                <a:cubicBezTo>
                  <a:pt x="102" y="72"/>
                  <a:pt x="101" y="72"/>
                  <a:pt x="101" y="72"/>
                </a:cubicBezTo>
                <a:cubicBezTo>
                  <a:pt x="102" y="73"/>
                  <a:pt x="102" y="73"/>
                  <a:pt x="103" y="74"/>
                </a:cubicBezTo>
                <a:cubicBezTo>
                  <a:pt x="103" y="74"/>
                  <a:pt x="104" y="74"/>
                  <a:pt x="104" y="74"/>
                </a:cubicBezTo>
                <a:cubicBezTo>
                  <a:pt x="105" y="75"/>
                  <a:pt x="106" y="75"/>
                  <a:pt x="106" y="75"/>
                </a:cubicBezTo>
                <a:cubicBezTo>
                  <a:pt x="107" y="75"/>
                  <a:pt x="108" y="74"/>
                  <a:pt x="108" y="74"/>
                </a:cubicBezTo>
                <a:cubicBezTo>
                  <a:pt x="108" y="75"/>
                  <a:pt x="109" y="76"/>
                  <a:pt x="108" y="76"/>
                </a:cubicBezTo>
                <a:cubicBezTo>
                  <a:pt x="107" y="77"/>
                  <a:pt x="106" y="78"/>
                  <a:pt x="107" y="79"/>
                </a:cubicBezTo>
                <a:cubicBezTo>
                  <a:pt x="106" y="78"/>
                  <a:pt x="106" y="79"/>
                  <a:pt x="106" y="79"/>
                </a:cubicBezTo>
                <a:cubicBezTo>
                  <a:pt x="106" y="79"/>
                  <a:pt x="106" y="79"/>
                  <a:pt x="105" y="79"/>
                </a:cubicBezTo>
                <a:cubicBezTo>
                  <a:pt x="105" y="80"/>
                  <a:pt x="105" y="79"/>
                  <a:pt x="104" y="80"/>
                </a:cubicBezTo>
                <a:cubicBezTo>
                  <a:pt x="103" y="80"/>
                  <a:pt x="103" y="80"/>
                  <a:pt x="103" y="81"/>
                </a:cubicBezTo>
                <a:cubicBezTo>
                  <a:pt x="102" y="80"/>
                  <a:pt x="102" y="82"/>
                  <a:pt x="101" y="83"/>
                </a:cubicBezTo>
                <a:cubicBezTo>
                  <a:pt x="100" y="83"/>
                  <a:pt x="100" y="82"/>
                  <a:pt x="100" y="83"/>
                </a:cubicBezTo>
                <a:cubicBezTo>
                  <a:pt x="100" y="84"/>
                  <a:pt x="99" y="84"/>
                  <a:pt x="99" y="84"/>
                </a:cubicBezTo>
                <a:cubicBezTo>
                  <a:pt x="99" y="84"/>
                  <a:pt x="100" y="84"/>
                  <a:pt x="99" y="85"/>
                </a:cubicBezTo>
                <a:cubicBezTo>
                  <a:pt x="99" y="85"/>
                  <a:pt x="99" y="85"/>
                  <a:pt x="98" y="85"/>
                </a:cubicBezTo>
                <a:cubicBezTo>
                  <a:pt x="98" y="85"/>
                  <a:pt x="97" y="85"/>
                  <a:pt x="97" y="86"/>
                </a:cubicBezTo>
                <a:cubicBezTo>
                  <a:pt x="96" y="86"/>
                  <a:pt x="97" y="86"/>
                  <a:pt x="96" y="86"/>
                </a:cubicBezTo>
                <a:cubicBezTo>
                  <a:pt x="96" y="86"/>
                  <a:pt x="96" y="86"/>
                  <a:pt x="96" y="86"/>
                </a:cubicBezTo>
                <a:cubicBezTo>
                  <a:pt x="96" y="86"/>
                  <a:pt x="95" y="86"/>
                  <a:pt x="95" y="86"/>
                </a:cubicBezTo>
                <a:cubicBezTo>
                  <a:pt x="94" y="86"/>
                  <a:pt x="95" y="87"/>
                  <a:pt x="94" y="87"/>
                </a:cubicBezTo>
                <a:cubicBezTo>
                  <a:pt x="95" y="86"/>
                  <a:pt x="94" y="86"/>
                  <a:pt x="94" y="86"/>
                </a:cubicBezTo>
                <a:cubicBezTo>
                  <a:pt x="93" y="86"/>
                  <a:pt x="93" y="86"/>
                  <a:pt x="92" y="86"/>
                </a:cubicBezTo>
                <a:cubicBezTo>
                  <a:pt x="92" y="86"/>
                  <a:pt x="93" y="86"/>
                  <a:pt x="93" y="86"/>
                </a:cubicBezTo>
                <a:cubicBezTo>
                  <a:pt x="92" y="86"/>
                  <a:pt x="92" y="87"/>
                  <a:pt x="92" y="86"/>
                </a:cubicBezTo>
                <a:cubicBezTo>
                  <a:pt x="91" y="86"/>
                  <a:pt x="91" y="86"/>
                  <a:pt x="92" y="86"/>
                </a:cubicBezTo>
                <a:cubicBezTo>
                  <a:pt x="91" y="86"/>
                  <a:pt x="91" y="85"/>
                  <a:pt x="90" y="85"/>
                </a:cubicBezTo>
                <a:cubicBezTo>
                  <a:pt x="90" y="85"/>
                  <a:pt x="89" y="85"/>
                  <a:pt x="89" y="85"/>
                </a:cubicBezTo>
                <a:cubicBezTo>
                  <a:pt x="89" y="85"/>
                  <a:pt x="88" y="85"/>
                  <a:pt x="88" y="84"/>
                </a:cubicBezTo>
                <a:cubicBezTo>
                  <a:pt x="88" y="83"/>
                  <a:pt x="87" y="83"/>
                  <a:pt x="86" y="83"/>
                </a:cubicBezTo>
                <a:cubicBezTo>
                  <a:pt x="86" y="84"/>
                  <a:pt x="85" y="84"/>
                  <a:pt x="85" y="83"/>
                </a:cubicBezTo>
                <a:cubicBezTo>
                  <a:pt x="84" y="83"/>
                  <a:pt x="85" y="83"/>
                  <a:pt x="85" y="83"/>
                </a:cubicBezTo>
                <a:cubicBezTo>
                  <a:pt x="85" y="83"/>
                  <a:pt x="86" y="83"/>
                  <a:pt x="86" y="83"/>
                </a:cubicBezTo>
                <a:cubicBezTo>
                  <a:pt x="86" y="82"/>
                  <a:pt x="87" y="82"/>
                  <a:pt x="86" y="82"/>
                </a:cubicBezTo>
                <a:cubicBezTo>
                  <a:pt x="86" y="82"/>
                  <a:pt x="86" y="82"/>
                  <a:pt x="86" y="82"/>
                </a:cubicBezTo>
                <a:cubicBezTo>
                  <a:pt x="86" y="81"/>
                  <a:pt x="85" y="81"/>
                  <a:pt x="85" y="81"/>
                </a:cubicBezTo>
                <a:cubicBezTo>
                  <a:pt x="84" y="81"/>
                  <a:pt x="86" y="83"/>
                  <a:pt x="85" y="83"/>
                </a:cubicBezTo>
                <a:cubicBezTo>
                  <a:pt x="84" y="83"/>
                  <a:pt x="84" y="82"/>
                  <a:pt x="84" y="82"/>
                </a:cubicBezTo>
                <a:cubicBezTo>
                  <a:pt x="83" y="82"/>
                  <a:pt x="83" y="83"/>
                  <a:pt x="83" y="83"/>
                </a:cubicBezTo>
                <a:cubicBezTo>
                  <a:pt x="83" y="83"/>
                  <a:pt x="83" y="83"/>
                  <a:pt x="83" y="83"/>
                </a:cubicBezTo>
                <a:cubicBezTo>
                  <a:pt x="83" y="83"/>
                  <a:pt x="83" y="83"/>
                  <a:pt x="83" y="83"/>
                </a:cubicBezTo>
                <a:cubicBezTo>
                  <a:pt x="83" y="84"/>
                  <a:pt x="81" y="83"/>
                  <a:pt x="81" y="83"/>
                </a:cubicBezTo>
                <a:cubicBezTo>
                  <a:pt x="81" y="83"/>
                  <a:pt x="81" y="83"/>
                  <a:pt x="81" y="82"/>
                </a:cubicBezTo>
                <a:cubicBezTo>
                  <a:pt x="81" y="82"/>
                  <a:pt x="80" y="82"/>
                  <a:pt x="80" y="82"/>
                </a:cubicBezTo>
                <a:cubicBezTo>
                  <a:pt x="79" y="82"/>
                  <a:pt x="78" y="82"/>
                  <a:pt x="79" y="82"/>
                </a:cubicBezTo>
                <a:cubicBezTo>
                  <a:pt x="79" y="81"/>
                  <a:pt x="77" y="82"/>
                  <a:pt x="78" y="82"/>
                </a:cubicBezTo>
                <a:cubicBezTo>
                  <a:pt x="78" y="82"/>
                  <a:pt x="77" y="82"/>
                  <a:pt x="77" y="82"/>
                </a:cubicBezTo>
                <a:cubicBezTo>
                  <a:pt x="77" y="81"/>
                  <a:pt x="77" y="81"/>
                  <a:pt x="76" y="81"/>
                </a:cubicBezTo>
                <a:cubicBezTo>
                  <a:pt x="75" y="81"/>
                  <a:pt x="75" y="82"/>
                  <a:pt x="74" y="82"/>
                </a:cubicBezTo>
                <a:cubicBezTo>
                  <a:pt x="73" y="83"/>
                  <a:pt x="72" y="84"/>
                  <a:pt x="71" y="84"/>
                </a:cubicBezTo>
                <a:cubicBezTo>
                  <a:pt x="71" y="84"/>
                  <a:pt x="71" y="84"/>
                  <a:pt x="70" y="84"/>
                </a:cubicBezTo>
                <a:cubicBezTo>
                  <a:pt x="69" y="84"/>
                  <a:pt x="69" y="85"/>
                  <a:pt x="68" y="85"/>
                </a:cubicBezTo>
                <a:cubicBezTo>
                  <a:pt x="68" y="86"/>
                  <a:pt x="67" y="87"/>
                  <a:pt x="67" y="86"/>
                </a:cubicBezTo>
                <a:cubicBezTo>
                  <a:pt x="67" y="87"/>
                  <a:pt x="68" y="86"/>
                  <a:pt x="68" y="87"/>
                </a:cubicBezTo>
                <a:cubicBezTo>
                  <a:pt x="68" y="87"/>
                  <a:pt x="67" y="88"/>
                  <a:pt x="67" y="88"/>
                </a:cubicBezTo>
                <a:cubicBezTo>
                  <a:pt x="67" y="88"/>
                  <a:pt x="67" y="88"/>
                  <a:pt x="67" y="88"/>
                </a:cubicBezTo>
                <a:cubicBezTo>
                  <a:pt x="67" y="88"/>
                  <a:pt x="68" y="88"/>
                  <a:pt x="67" y="88"/>
                </a:cubicBezTo>
                <a:cubicBezTo>
                  <a:pt x="67" y="88"/>
                  <a:pt x="67" y="88"/>
                  <a:pt x="67" y="88"/>
                </a:cubicBezTo>
                <a:cubicBezTo>
                  <a:pt x="67" y="88"/>
                  <a:pt x="66" y="89"/>
                  <a:pt x="67" y="89"/>
                </a:cubicBezTo>
                <a:cubicBezTo>
                  <a:pt x="67" y="90"/>
                  <a:pt x="67" y="89"/>
                  <a:pt x="67" y="89"/>
                </a:cubicBezTo>
                <a:cubicBezTo>
                  <a:pt x="67" y="89"/>
                  <a:pt x="67" y="90"/>
                  <a:pt x="67" y="91"/>
                </a:cubicBezTo>
                <a:cubicBezTo>
                  <a:pt x="67" y="92"/>
                  <a:pt x="67" y="92"/>
                  <a:pt x="68" y="92"/>
                </a:cubicBezTo>
                <a:cubicBezTo>
                  <a:pt x="68" y="92"/>
                  <a:pt x="68" y="93"/>
                  <a:pt x="68" y="93"/>
                </a:cubicBezTo>
                <a:cubicBezTo>
                  <a:pt x="67" y="93"/>
                  <a:pt x="67" y="93"/>
                  <a:pt x="66" y="93"/>
                </a:cubicBezTo>
                <a:cubicBezTo>
                  <a:pt x="65" y="93"/>
                  <a:pt x="63" y="94"/>
                  <a:pt x="64" y="94"/>
                </a:cubicBezTo>
                <a:cubicBezTo>
                  <a:pt x="62" y="94"/>
                  <a:pt x="62" y="94"/>
                  <a:pt x="61" y="93"/>
                </a:cubicBezTo>
                <a:cubicBezTo>
                  <a:pt x="60" y="93"/>
                  <a:pt x="60" y="93"/>
                  <a:pt x="59" y="93"/>
                </a:cubicBezTo>
                <a:cubicBezTo>
                  <a:pt x="59" y="93"/>
                  <a:pt x="59" y="94"/>
                  <a:pt x="58" y="94"/>
                </a:cubicBezTo>
                <a:cubicBezTo>
                  <a:pt x="58" y="94"/>
                  <a:pt x="58" y="94"/>
                  <a:pt x="57" y="93"/>
                </a:cubicBezTo>
                <a:cubicBezTo>
                  <a:pt x="57" y="93"/>
                  <a:pt x="57" y="93"/>
                  <a:pt x="56" y="93"/>
                </a:cubicBezTo>
                <a:cubicBezTo>
                  <a:pt x="56" y="93"/>
                  <a:pt x="55" y="93"/>
                  <a:pt x="55" y="92"/>
                </a:cubicBezTo>
                <a:cubicBezTo>
                  <a:pt x="55" y="92"/>
                  <a:pt x="56" y="92"/>
                  <a:pt x="56" y="92"/>
                </a:cubicBezTo>
                <a:cubicBezTo>
                  <a:pt x="56" y="91"/>
                  <a:pt x="54" y="91"/>
                  <a:pt x="54" y="91"/>
                </a:cubicBezTo>
                <a:cubicBezTo>
                  <a:pt x="54" y="91"/>
                  <a:pt x="53" y="91"/>
                  <a:pt x="53" y="91"/>
                </a:cubicBezTo>
                <a:cubicBezTo>
                  <a:pt x="53" y="91"/>
                  <a:pt x="53" y="91"/>
                  <a:pt x="52" y="90"/>
                </a:cubicBezTo>
                <a:cubicBezTo>
                  <a:pt x="52" y="90"/>
                  <a:pt x="51" y="90"/>
                  <a:pt x="51" y="90"/>
                </a:cubicBezTo>
                <a:cubicBezTo>
                  <a:pt x="50" y="90"/>
                  <a:pt x="50" y="90"/>
                  <a:pt x="50" y="90"/>
                </a:cubicBezTo>
                <a:cubicBezTo>
                  <a:pt x="50" y="89"/>
                  <a:pt x="49" y="89"/>
                  <a:pt x="49" y="89"/>
                </a:cubicBezTo>
                <a:cubicBezTo>
                  <a:pt x="48" y="89"/>
                  <a:pt x="47" y="89"/>
                  <a:pt x="47" y="89"/>
                </a:cubicBezTo>
                <a:cubicBezTo>
                  <a:pt x="46" y="89"/>
                  <a:pt x="46" y="90"/>
                  <a:pt x="46" y="91"/>
                </a:cubicBezTo>
                <a:cubicBezTo>
                  <a:pt x="45" y="90"/>
                  <a:pt x="45" y="90"/>
                  <a:pt x="44" y="90"/>
                </a:cubicBezTo>
                <a:cubicBezTo>
                  <a:pt x="43" y="90"/>
                  <a:pt x="43" y="91"/>
                  <a:pt x="42" y="90"/>
                </a:cubicBezTo>
                <a:cubicBezTo>
                  <a:pt x="42" y="90"/>
                  <a:pt x="41" y="91"/>
                  <a:pt x="40" y="91"/>
                </a:cubicBezTo>
                <a:cubicBezTo>
                  <a:pt x="40" y="91"/>
                  <a:pt x="39" y="90"/>
                  <a:pt x="39" y="89"/>
                </a:cubicBezTo>
                <a:cubicBezTo>
                  <a:pt x="39" y="90"/>
                  <a:pt x="38" y="89"/>
                  <a:pt x="38" y="89"/>
                </a:cubicBezTo>
                <a:cubicBezTo>
                  <a:pt x="37" y="89"/>
                  <a:pt x="37" y="89"/>
                  <a:pt x="36" y="89"/>
                </a:cubicBezTo>
                <a:cubicBezTo>
                  <a:pt x="35" y="89"/>
                  <a:pt x="35" y="89"/>
                  <a:pt x="35" y="89"/>
                </a:cubicBezTo>
                <a:cubicBezTo>
                  <a:pt x="35" y="89"/>
                  <a:pt x="34" y="89"/>
                  <a:pt x="34" y="88"/>
                </a:cubicBezTo>
                <a:cubicBezTo>
                  <a:pt x="34" y="87"/>
                  <a:pt x="33" y="88"/>
                  <a:pt x="33" y="88"/>
                </a:cubicBezTo>
                <a:cubicBezTo>
                  <a:pt x="32" y="88"/>
                  <a:pt x="32" y="87"/>
                  <a:pt x="31" y="87"/>
                </a:cubicBezTo>
                <a:cubicBezTo>
                  <a:pt x="31" y="87"/>
                  <a:pt x="29" y="86"/>
                  <a:pt x="29" y="86"/>
                </a:cubicBezTo>
                <a:cubicBezTo>
                  <a:pt x="29" y="86"/>
                  <a:pt x="29" y="87"/>
                  <a:pt x="28" y="87"/>
                </a:cubicBezTo>
                <a:cubicBezTo>
                  <a:pt x="27" y="87"/>
                  <a:pt x="28" y="85"/>
                  <a:pt x="28" y="85"/>
                </a:cubicBezTo>
                <a:cubicBezTo>
                  <a:pt x="29" y="84"/>
                  <a:pt x="27" y="84"/>
                  <a:pt x="27" y="84"/>
                </a:cubicBezTo>
                <a:cubicBezTo>
                  <a:pt x="27" y="84"/>
                  <a:pt x="26" y="84"/>
                  <a:pt x="26" y="84"/>
                </a:cubicBezTo>
                <a:cubicBezTo>
                  <a:pt x="26" y="84"/>
                  <a:pt x="26" y="84"/>
                  <a:pt x="25" y="84"/>
                </a:cubicBezTo>
                <a:cubicBezTo>
                  <a:pt x="25" y="84"/>
                  <a:pt x="25" y="83"/>
                  <a:pt x="25" y="83"/>
                </a:cubicBezTo>
                <a:cubicBezTo>
                  <a:pt x="25" y="83"/>
                  <a:pt x="26" y="83"/>
                  <a:pt x="26" y="83"/>
                </a:cubicBezTo>
                <a:cubicBezTo>
                  <a:pt x="27" y="83"/>
                  <a:pt x="27" y="81"/>
                  <a:pt x="28" y="81"/>
                </a:cubicBezTo>
                <a:cubicBezTo>
                  <a:pt x="28" y="80"/>
                  <a:pt x="29" y="78"/>
                  <a:pt x="29" y="77"/>
                </a:cubicBezTo>
                <a:cubicBezTo>
                  <a:pt x="29" y="76"/>
                  <a:pt x="29" y="75"/>
                  <a:pt x="30" y="74"/>
                </a:cubicBezTo>
                <a:cubicBezTo>
                  <a:pt x="30" y="73"/>
                  <a:pt x="30" y="72"/>
                  <a:pt x="30" y="72"/>
                </a:cubicBezTo>
                <a:cubicBezTo>
                  <a:pt x="30" y="71"/>
                  <a:pt x="30" y="71"/>
                  <a:pt x="30" y="71"/>
                </a:cubicBezTo>
                <a:cubicBezTo>
                  <a:pt x="30" y="70"/>
                  <a:pt x="31" y="69"/>
                  <a:pt x="31" y="69"/>
                </a:cubicBezTo>
                <a:cubicBezTo>
                  <a:pt x="32" y="69"/>
                  <a:pt x="32" y="69"/>
                  <a:pt x="32" y="68"/>
                </a:cubicBezTo>
                <a:cubicBezTo>
                  <a:pt x="31" y="68"/>
                  <a:pt x="30" y="69"/>
                  <a:pt x="30" y="69"/>
                </a:cubicBezTo>
                <a:cubicBezTo>
                  <a:pt x="30" y="68"/>
                  <a:pt x="32" y="59"/>
                  <a:pt x="32" y="59"/>
                </a:cubicBezTo>
                <a:cubicBezTo>
                  <a:pt x="33" y="59"/>
                  <a:pt x="33" y="60"/>
                  <a:pt x="33" y="60"/>
                </a:cubicBezTo>
                <a:cubicBezTo>
                  <a:pt x="34" y="61"/>
                  <a:pt x="35" y="61"/>
                  <a:pt x="35" y="62"/>
                </a:cubicBezTo>
                <a:cubicBezTo>
                  <a:pt x="35" y="63"/>
                  <a:pt x="35" y="64"/>
                  <a:pt x="36" y="65"/>
                </a:cubicBezTo>
                <a:cubicBezTo>
                  <a:pt x="36" y="65"/>
                  <a:pt x="36" y="65"/>
                  <a:pt x="36" y="65"/>
                </a:cubicBezTo>
                <a:cubicBezTo>
                  <a:pt x="37" y="66"/>
                  <a:pt x="36" y="66"/>
                  <a:pt x="37" y="67"/>
                </a:cubicBezTo>
                <a:cubicBezTo>
                  <a:pt x="37" y="66"/>
                  <a:pt x="37" y="66"/>
                  <a:pt x="36" y="65"/>
                </a:cubicBezTo>
                <a:cubicBezTo>
                  <a:pt x="37" y="65"/>
                  <a:pt x="37" y="65"/>
                  <a:pt x="37" y="65"/>
                </a:cubicBezTo>
                <a:cubicBezTo>
                  <a:pt x="37" y="65"/>
                  <a:pt x="37" y="65"/>
                  <a:pt x="36" y="65"/>
                </a:cubicBezTo>
                <a:cubicBezTo>
                  <a:pt x="36" y="65"/>
                  <a:pt x="36" y="64"/>
                  <a:pt x="36" y="63"/>
                </a:cubicBezTo>
                <a:cubicBezTo>
                  <a:pt x="36" y="62"/>
                  <a:pt x="35" y="62"/>
                  <a:pt x="35" y="61"/>
                </a:cubicBezTo>
                <a:cubicBezTo>
                  <a:pt x="35" y="60"/>
                  <a:pt x="34" y="60"/>
                  <a:pt x="34" y="59"/>
                </a:cubicBezTo>
                <a:cubicBezTo>
                  <a:pt x="33" y="59"/>
                  <a:pt x="33" y="58"/>
                  <a:pt x="32" y="58"/>
                </a:cubicBezTo>
                <a:cubicBezTo>
                  <a:pt x="32" y="58"/>
                  <a:pt x="31" y="58"/>
                  <a:pt x="31" y="58"/>
                </a:cubicBezTo>
                <a:cubicBezTo>
                  <a:pt x="31" y="56"/>
                  <a:pt x="32" y="58"/>
                  <a:pt x="33" y="58"/>
                </a:cubicBezTo>
                <a:cubicBezTo>
                  <a:pt x="33" y="57"/>
                  <a:pt x="32" y="57"/>
                  <a:pt x="32" y="57"/>
                </a:cubicBezTo>
                <a:cubicBezTo>
                  <a:pt x="32" y="56"/>
                  <a:pt x="32" y="56"/>
                  <a:pt x="32" y="56"/>
                </a:cubicBezTo>
                <a:cubicBezTo>
                  <a:pt x="33" y="56"/>
                  <a:pt x="32" y="55"/>
                  <a:pt x="33" y="55"/>
                </a:cubicBezTo>
                <a:cubicBezTo>
                  <a:pt x="33" y="54"/>
                  <a:pt x="32" y="53"/>
                  <a:pt x="32" y="53"/>
                </a:cubicBezTo>
                <a:cubicBezTo>
                  <a:pt x="32" y="53"/>
                  <a:pt x="32" y="53"/>
                  <a:pt x="32" y="53"/>
                </a:cubicBezTo>
                <a:cubicBezTo>
                  <a:pt x="32" y="52"/>
                  <a:pt x="32" y="52"/>
                  <a:pt x="33" y="52"/>
                </a:cubicBezTo>
                <a:cubicBezTo>
                  <a:pt x="33" y="52"/>
                  <a:pt x="33" y="51"/>
                  <a:pt x="32" y="51"/>
                </a:cubicBezTo>
                <a:cubicBezTo>
                  <a:pt x="32" y="51"/>
                  <a:pt x="32" y="52"/>
                  <a:pt x="32" y="52"/>
                </a:cubicBezTo>
                <a:cubicBezTo>
                  <a:pt x="31" y="52"/>
                  <a:pt x="31" y="51"/>
                  <a:pt x="31" y="51"/>
                </a:cubicBezTo>
                <a:cubicBezTo>
                  <a:pt x="31" y="51"/>
                  <a:pt x="30" y="51"/>
                  <a:pt x="30" y="51"/>
                </a:cubicBezTo>
                <a:cubicBezTo>
                  <a:pt x="29" y="51"/>
                  <a:pt x="29" y="50"/>
                  <a:pt x="29" y="50"/>
                </a:cubicBezTo>
                <a:cubicBezTo>
                  <a:pt x="28" y="50"/>
                  <a:pt x="27" y="49"/>
                  <a:pt x="27" y="49"/>
                </a:cubicBezTo>
                <a:cubicBezTo>
                  <a:pt x="27" y="49"/>
                  <a:pt x="27" y="49"/>
                  <a:pt x="27" y="49"/>
                </a:cubicBezTo>
                <a:cubicBezTo>
                  <a:pt x="27" y="49"/>
                  <a:pt x="27" y="48"/>
                  <a:pt x="26" y="48"/>
                </a:cubicBezTo>
                <a:cubicBezTo>
                  <a:pt x="26" y="48"/>
                  <a:pt x="26" y="47"/>
                  <a:pt x="26" y="47"/>
                </a:cubicBezTo>
                <a:cubicBezTo>
                  <a:pt x="25" y="47"/>
                  <a:pt x="24" y="46"/>
                  <a:pt x="24" y="46"/>
                </a:cubicBezTo>
                <a:cubicBezTo>
                  <a:pt x="24" y="45"/>
                  <a:pt x="25" y="44"/>
                  <a:pt x="25" y="44"/>
                </a:cubicBezTo>
                <a:cubicBezTo>
                  <a:pt x="26" y="43"/>
                  <a:pt x="24" y="43"/>
                  <a:pt x="23" y="42"/>
                </a:cubicBezTo>
                <a:cubicBezTo>
                  <a:pt x="24" y="42"/>
                  <a:pt x="24" y="42"/>
                  <a:pt x="24" y="41"/>
                </a:cubicBezTo>
                <a:cubicBezTo>
                  <a:pt x="24" y="41"/>
                  <a:pt x="25" y="41"/>
                  <a:pt x="25" y="41"/>
                </a:cubicBezTo>
                <a:cubicBezTo>
                  <a:pt x="26" y="41"/>
                  <a:pt x="26" y="41"/>
                  <a:pt x="26" y="41"/>
                </a:cubicBezTo>
                <a:cubicBezTo>
                  <a:pt x="27" y="41"/>
                  <a:pt x="27" y="42"/>
                  <a:pt x="28" y="42"/>
                </a:cubicBezTo>
                <a:cubicBezTo>
                  <a:pt x="27" y="42"/>
                  <a:pt x="27" y="41"/>
                  <a:pt x="26" y="41"/>
                </a:cubicBezTo>
                <a:cubicBezTo>
                  <a:pt x="25" y="40"/>
                  <a:pt x="25" y="40"/>
                  <a:pt x="24" y="41"/>
                </a:cubicBezTo>
                <a:cubicBezTo>
                  <a:pt x="23" y="41"/>
                  <a:pt x="23" y="41"/>
                  <a:pt x="22" y="41"/>
                </a:cubicBezTo>
                <a:cubicBezTo>
                  <a:pt x="22" y="41"/>
                  <a:pt x="22" y="41"/>
                  <a:pt x="22" y="41"/>
                </a:cubicBezTo>
                <a:cubicBezTo>
                  <a:pt x="22" y="41"/>
                  <a:pt x="21" y="41"/>
                  <a:pt x="21" y="41"/>
                </a:cubicBezTo>
                <a:cubicBezTo>
                  <a:pt x="21" y="41"/>
                  <a:pt x="22" y="41"/>
                  <a:pt x="22" y="41"/>
                </a:cubicBezTo>
                <a:cubicBezTo>
                  <a:pt x="22" y="41"/>
                  <a:pt x="21" y="40"/>
                  <a:pt x="21" y="41"/>
                </a:cubicBezTo>
                <a:cubicBezTo>
                  <a:pt x="21" y="40"/>
                  <a:pt x="21" y="40"/>
                  <a:pt x="21" y="40"/>
                </a:cubicBezTo>
                <a:cubicBezTo>
                  <a:pt x="21" y="40"/>
                  <a:pt x="22" y="40"/>
                  <a:pt x="22" y="39"/>
                </a:cubicBezTo>
                <a:cubicBezTo>
                  <a:pt x="22" y="39"/>
                  <a:pt x="21" y="39"/>
                  <a:pt x="21" y="39"/>
                </a:cubicBezTo>
                <a:cubicBezTo>
                  <a:pt x="21" y="38"/>
                  <a:pt x="22" y="39"/>
                  <a:pt x="23" y="39"/>
                </a:cubicBezTo>
                <a:cubicBezTo>
                  <a:pt x="22" y="38"/>
                  <a:pt x="21" y="38"/>
                  <a:pt x="20" y="38"/>
                </a:cubicBezTo>
                <a:cubicBezTo>
                  <a:pt x="20" y="38"/>
                  <a:pt x="21" y="38"/>
                  <a:pt x="21" y="38"/>
                </a:cubicBezTo>
                <a:cubicBezTo>
                  <a:pt x="20" y="38"/>
                  <a:pt x="20" y="38"/>
                  <a:pt x="20" y="38"/>
                </a:cubicBezTo>
                <a:cubicBezTo>
                  <a:pt x="19" y="39"/>
                  <a:pt x="19" y="39"/>
                  <a:pt x="18" y="38"/>
                </a:cubicBezTo>
                <a:cubicBezTo>
                  <a:pt x="18" y="38"/>
                  <a:pt x="19" y="38"/>
                  <a:pt x="19" y="38"/>
                </a:cubicBezTo>
                <a:cubicBezTo>
                  <a:pt x="19" y="38"/>
                  <a:pt x="20" y="38"/>
                  <a:pt x="20" y="37"/>
                </a:cubicBezTo>
                <a:cubicBezTo>
                  <a:pt x="20" y="38"/>
                  <a:pt x="19" y="37"/>
                  <a:pt x="19" y="37"/>
                </a:cubicBezTo>
                <a:cubicBezTo>
                  <a:pt x="20" y="37"/>
                  <a:pt x="19" y="37"/>
                  <a:pt x="19" y="37"/>
                </a:cubicBezTo>
                <a:cubicBezTo>
                  <a:pt x="19" y="37"/>
                  <a:pt x="19" y="37"/>
                  <a:pt x="19" y="37"/>
                </a:cubicBezTo>
                <a:cubicBezTo>
                  <a:pt x="18" y="38"/>
                  <a:pt x="18" y="37"/>
                  <a:pt x="17" y="37"/>
                </a:cubicBezTo>
                <a:cubicBezTo>
                  <a:pt x="17" y="37"/>
                  <a:pt x="18" y="38"/>
                  <a:pt x="18" y="38"/>
                </a:cubicBezTo>
                <a:cubicBezTo>
                  <a:pt x="18" y="38"/>
                  <a:pt x="17" y="38"/>
                  <a:pt x="17" y="37"/>
                </a:cubicBezTo>
                <a:cubicBezTo>
                  <a:pt x="17" y="38"/>
                  <a:pt x="16" y="38"/>
                  <a:pt x="16" y="38"/>
                </a:cubicBezTo>
                <a:cubicBezTo>
                  <a:pt x="16" y="38"/>
                  <a:pt x="16" y="39"/>
                  <a:pt x="16" y="39"/>
                </a:cubicBezTo>
                <a:cubicBezTo>
                  <a:pt x="16" y="39"/>
                  <a:pt x="16" y="38"/>
                  <a:pt x="16" y="38"/>
                </a:cubicBezTo>
                <a:cubicBezTo>
                  <a:pt x="16" y="38"/>
                  <a:pt x="16" y="38"/>
                  <a:pt x="16" y="37"/>
                </a:cubicBezTo>
                <a:cubicBezTo>
                  <a:pt x="15" y="37"/>
                  <a:pt x="16" y="37"/>
                  <a:pt x="16" y="36"/>
                </a:cubicBezTo>
                <a:cubicBezTo>
                  <a:pt x="16" y="36"/>
                  <a:pt x="16" y="36"/>
                  <a:pt x="16" y="36"/>
                </a:cubicBezTo>
                <a:cubicBezTo>
                  <a:pt x="16" y="36"/>
                  <a:pt x="15" y="37"/>
                  <a:pt x="15" y="37"/>
                </a:cubicBezTo>
                <a:cubicBezTo>
                  <a:pt x="15" y="37"/>
                  <a:pt x="14" y="36"/>
                  <a:pt x="14" y="37"/>
                </a:cubicBezTo>
                <a:cubicBezTo>
                  <a:pt x="14" y="36"/>
                  <a:pt x="15" y="36"/>
                  <a:pt x="15" y="37"/>
                </a:cubicBezTo>
                <a:cubicBezTo>
                  <a:pt x="15" y="36"/>
                  <a:pt x="14" y="36"/>
                  <a:pt x="14" y="36"/>
                </a:cubicBezTo>
                <a:cubicBezTo>
                  <a:pt x="14" y="36"/>
                  <a:pt x="15" y="36"/>
                  <a:pt x="15" y="36"/>
                </a:cubicBezTo>
                <a:cubicBezTo>
                  <a:pt x="15" y="36"/>
                  <a:pt x="14" y="36"/>
                  <a:pt x="14" y="36"/>
                </a:cubicBezTo>
                <a:cubicBezTo>
                  <a:pt x="14" y="36"/>
                  <a:pt x="13" y="36"/>
                  <a:pt x="13" y="36"/>
                </a:cubicBezTo>
                <a:cubicBezTo>
                  <a:pt x="13" y="36"/>
                  <a:pt x="11" y="35"/>
                  <a:pt x="11" y="35"/>
                </a:cubicBezTo>
                <a:cubicBezTo>
                  <a:pt x="10" y="35"/>
                  <a:pt x="10" y="35"/>
                  <a:pt x="9" y="35"/>
                </a:cubicBezTo>
                <a:cubicBezTo>
                  <a:pt x="9" y="34"/>
                  <a:pt x="9" y="35"/>
                  <a:pt x="9" y="35"/>
                </a:cubicBezTo>
                <a:cubicBezTo>
                  <a:pt x="9" y="35"/>
                  <a:pt x="8" y="35"/>
                  <a:pt x="8" y="34"/>
                </a:cubicBezTo>
                <a:cubicBezTo>
                  <a:pt x="8" y="34"/>
                  <a:pt x="8" y="34"/>
                  <a:pt x="8" y="35"/>
                </a:cubicBezTo>
                <a:cubicBezTo>
                  <a:pt x="8" y="35"/>
                  <a:pt x="7" y="35"/>
                  <a:pt x="7" y="35"/>
                </a:cubicBezTo>
                <a:cubicBezTo>
                  <a:pt x="7" y="35"/>
                  <a:pt x="8" y="35"/>
                  <a:pt x="7" y="35"/>
                </a:cubicBezTo>
                <a:cubicBezTo>
                  <a:pt x="7" y="35"/>
                  <a:pt x="6" y="36"/>
                  <a:pt x="6" y="35"/>
                </a:cubicBezTo>
                <a:cubicBezTo>
                  <a:pt x="5" y="35"/>
                  <a:pt x="6" y="35"/>
                  <a:pt x="6" y="35"/>
                </a:cubicBezTo>
                <a:cubicBezTo>
                  <a:pt x="6" y="34"/>
                  <a:pt x="6" y="34"/>
                  <a:pt x="5" y="34"/>
                </a:cubicBezTo>
                <a:cubicBezTo>
                  <a:pt x="5" y="33"/>
                  <a:pt x="4" y="33"/>
                  <a:pt x="3" y="33"/>
                </a:cubicBezTo>
                <a:cubicBezTo>
                  <a:pt x="3" y="32"/>
                  <a:pt x="6" y="32"/>
                  <a:pt x="6" y="32"/>
                </a:cubicBezTo>
                <a:cubicBezTo>
                  <a:pt x="7" y="32"/>
                  <a:pt x="6" y="31"/>
                  <a:pt x="6" y="31"/>
                </a:cubicBezTo>
                <a:cubicBezTo>
                  <a:pt x="6" y="31"/>
                  <a:pt x="5" y="31"/>
                  <a:pt x="5" y="31"/>
                </a:cubicBezTo>
                <a:cubicBezTo>
                  <a:pt x="5" y="31"/>
                  <a:pt x="5" y="31"/>
                  <a:pt x="4" y="31"/>
                </a:cubicBezTo>
                <a:cubicBezTo>
                  <a:pt x="4" y="31"/>
                  <a:pt x="4" y="31"/>
                  <a:pt x="4" y="31"/>
                </a:cubicBezTo>
                <a:cubicBezTo>
                  <a:pt x="4" y="30"/>
                  <a:pt x="4" y="31"/>
                  <a:pt x="4" y="30"/>
                </a:cubicBezTo>
                <a:cubicBezTo>
                  <a:pt x="4" y="30"/>
                  <a:pt x="5" y="30"/>
                  <a:pt x="5" y="30"/>
                </a:cubicBezTo>
                <a:cubicBezTo>
                  <a:pt x="4" y="30"/>
                  <a:pt x="7" y="30"/>
                  <a:pt x="7" y="30"/>
                </a:cubicBezTo>
                <a:cubicBezTo>
                  <a:pt x="7" y="30"/>
                  <a:pt x="7" y="30"/>
                  <a:pt x="7" y="30"/>
                </a:cubicBezTo>
                <a:cubicBezTo>
                  <a:pt x="7" y="30"/>
                  <a:pt x="7" y="30"/>
                  <a:pt x="8" y="30"/>
                </a:cubicBezTo>
                <a:cubicBezTo>
                  <a:pt x="7" y="30"/>
                  <a:pt x="7" y="30"/>
                  <a:pt x="6" y="30"/>
                </a:cubicBezTo>
                <a:cubicBezTo>
                  <a:pt x="7" y="30"/>
                  <a:pt x="7" y="30"/>
                  <a:pt x="7" y="29"/>
                </a:cubicBezTo>
                <a:cubicBezTo>
                  <a:pt x="6" y="29"/>
                  <a:pt x="6" y="29"/>
                  <a:pt x="5" y="30"/>
                </a:cubicBezTo>
                <a:cubicBezTo>
                  <a:pt x="5" y="29"/>
                  <a:pt x="6" y="29"/>
                  <a:pt x="7" y="29"/>
                </a:cubicBezTo>
                <a:cubicBezTo>
                  <a:pt x="6" y="29"/>
                  <a:pt x="2" y="30"/>
                  <a:pt x="3" y="29"/>
                </a:cubicBezTo>
                <a:cubicBezTo>
                  <a:pt x="3" y="29"/>
                  <a:pt x="3" y="29"/>
                  <a:pt x="3" y="29"/>
                </a:cubicBezTo>
                <a:cubicBezTo>
                  <a:pt x="3" y="28"/>
                  <a:pt x="3" y="28"/>
                  <a:pt x="3" y="28"/>
                </a:cubicBezTo>
                <a:cubicBezTo>
                  <a:pt x="3" y="27"/>
                  <a:pt x="4" y="27"/>
                  <a:pt x="4" y="27"/>
                </a:cubicBezTo>
                <a:cubicBezTo>
                  <a:pt x="4" y="27"/>
                  <a:pt x="5" y="27"/>
                  <a:pt x="5" y="27"/>
                </a:cubicBezTo>
                <a:cubicBezTo>
                  <a:pt x="4" y="26"/>
                  <a:pt x="6" y="26"/>
                  <a:pt x="6" y="26"/>
                </a:cubicBezTo>
                <a:cubicBezTo>
                  <a:pt x="6" y="26"/>
                  <a:pt x="7" y="26"/>
                  <a:pt x="7" y="26"/>
                </a:cubicBezTo>
                <a:cubicBezTo>
                  <a:pt x="7" y="26"/>
                  <a:pt x="7" y="26"/>
                  <a:pt x="8" y="26"/>
                </a:cubicBezTo>
                <a:cubicBezTo>
                  <a:pt x="7" y="26"/>
                  <a:pt x="8" y="26"/>
                  <a:pt x="8" y="26"/>
                </a:cubicBezTo>
                <a:cubicBezTo>
                  <a:pt x="9" y="26"/>
                  <a:pt x="9" y="26"/>
                  <a:pt x="10" y="25"/>
                </a:cubicBezTo>
                <a:cubicBezTo>
                  <a:pt x="10" y="26"/>
                  <a:pt x="10" y="26"/>
                  <a:pt x="10" y="26"/>
                </a:cubicBezTo>
                <a:cubicBezTo>
                  <a:pt x="10" y="26"/>
                  <a:pt x="10" y="26"/>
                  <a:pt x="10" y="26"/>
                </a:cubicBezTo>
                <a:cubicBezTo>
                  <a:pt x="10" y="26"/>
                  <a:pt x="10" y="26"/>
                  <a:pt x="11" y="26"/>
                </a:cubicBezTo>
                <a:cubicBezTo>
                  <a:pt x="11" y="26"/>
                  <a:pt x="11" y="26"/>
                  <a:pt x="11" y="26"/>
                </a:cubicBezTo>
                <a:cubicBezTo>
                  <a:pt x="11" y="26"/>
                  <a:pt x="11" y="26"/>
                  <a:pt x="11" y="26"/>
                </a:cubicBezTo>
                <a:cubicBezTo>
                  <a:pt x="11" y="25"/>
                  <a:pt x="12" y="26"/>
                  <a:pt x="12" y="26"/>
                </a:cubicBezTo>
                <a:cubicBezTo>
                  <a:pt x="12" y="26"/>
                  <a:pt x="13" y="26"/>
                  <a:pt x="13" y="26"/>
                </a:cubicBezTo>
                <a:cubicBezTo>
                  <a:pt x="13" y="26"/>
                  <a:pt x="13" y="25"/>
                  <a:pt x="13" y="25"/>
                </a:cubicBezTo>
                <a:cubicBezTo>
                  <a:pt x="13" y="25"/>
                  <a:pt x="13" y="24"/>
                  <a:pt x="14" y="24"/>
                </a:cubicBezTo>
                <a:cubicBezTo>
                  <a:pt x="14" y="24"/>
                  <a:pt x="14" y="24"/>
                  <a:pt x="14" y="25"/>
                </a:cubicBezTo>
                <a:cubicBezTo>
                  <a:pt x="15" y="25"/>
                  <a:pt x="16" y="24"/>
                  <a:pt x="16" y="24"/>
                </a:cubicBezTo>
                <a:cubicBezTo>
                  <a:pt x="16" y="24"/>
                  <a:pt x="16" y="25"/>
                  <a:pt x="16" y="25"/>
                </a:cubicBezTo>
                <a:cubicBezTo>
                  <a:pt x="16" y="24"/>
                  <a:pt x="17" y="24"/>
                  <a:pt x="17" y="24"/>
                </a:cubicBezTo>
                <a:cubicBezTo>
                  <a:pt x="17" y="24"/>
                  <a:pt x="17" y="25"/>
                  <a:pt x="17" y="25"/>
                </a:cubicBezTo>
                <a:cubicBezTo>
                  <a:pt x="17" y="25"/>
                  <a:pt x="17" y="25"/>
                  <a:pt x="18" y="24"/>
                </a:cubicBezTo>
                <a:cubicBezTo>
                  <a:pt x="18" y="24"/>
                  <a:pt x="18" y="25"/>
                  <a:pt x="18" y="25"/>
                </a:cubicBezTo>
                <a:cubicBezTo>
                  <a:pt x="18" y="25"/>
                  <a:pt x="18" y="25"/>
                  <a:pt x="18" y="25"/>
                </a:cubicBezTo>
                <a:cubicBezTo>
                  <a:pt x="18" y="25"/>
                  <a:pt x="19" y="26"/>
                  <a:pt x="19" y="26"/>
                </a:cubicBezTo>
                <a:cubicBezTo>
                  <a:pt x="20" y="26"/>
                  <a:pt x="20" y="27"/>
                  <a:pt x="21" y="28"/>
                </a:cubicBezTo>
                <a:cubicBezTo>
                  <a:pt x="21" y="27"/>
                  <a:pt x="23" y="27"/>
                  <a:pt x="22" y="26"/>
                </a:cubicBezTo>
                <a:cubicBezTo>
                  <a:pt x="23" y="26"/>
                  <a:pt x="23" y="26"/>
                  <a:pt x="24" y="26"/>
                </a:cubicBezTo>
                <a:cubicBezTo>
                  <a:pt x="24" y="26"/>
                  <a:pt x="24" y="26"/>
                  <a:pt x="24" y="26"/>
                </a:cubicBezTo>
                <a:cubicBezTo>
                  <a:pt x="24" y="27"/>
                  <a:pt x="24" y="26"/>
                  <a:pt x="24" y="26"/>
                </a:cubicBezTo>
                <a:cubicBezTo>
                  <a:pt x="24" y="26"/>
                  <a:pt x="25" y="27"/>
                  <a:pt x="25" y="27"/>
                </a:cubicBezTo>
                <a:cubicBezTo>
                  <a:pt x="25" y="26"/>
                  <a:pt x="25" y="27"/>
                  <a:pt x="25" y="27"/>
                </a:cubicBezTo>
                <a:cubicBezTo>
                  <a:pt x="25" y="27"/>
                  <a:pt x="25" y="27"/>
                  <a:pt x="25" y="27"/>
                </a:cubicBezTo>
                <a:cubicBezTo>
                  <a:pt x="25" y="26"/>
                  <a:pt x="25" y="26"/>
                  <a:pt x="26" y="26"/>
                </a:cubicBezTo>
                <a:cubicBezTo>
                  <a:pt x="26" y="26"/>
                  <a:pt x="27" y="27"/>
                  <a:pt x="27" y="28"/>
                </a:cubicBezTo>
                <a:cubicBezTo>
                  <a:pt x="27" y="27"/>
                  <a:pt x="26" y="27"/>
                  <a:pt x="27" y="27"/>
                </a:cubicBezTo>
                <a:cubicBezTo>
                  <a:pt x="26" y="27"/>
                  <a:pt x="26" y="26"/>
                  <a:pt x="27" y="26"/>
                </a:cubicBezTo>
                <a:cubicBezTo>
                  <a:pt x="27" y="26"/>
                  <a:pt x="27" y="26"/>
                  <a:pt x="28" y="26"/>
                </a:cubicBezTo>
                <a:cubicBezTo>
                  <a:pt x="28" y="26"/>
                  <a:pt x="28" y="26"/>
                  <a:pt x="28" y="26"/>
                </a:cubicBezTo>
                <a:cubicBezTo>
                  <a:pt x="28" y="27"/>
                  <a:pt x="28" y="27"/>
                  <a:pt x="29" y="27"/>
                </a:cubicBezTo>
                <a:cubicBezTo>
                  <a:pt x="30" y="27"/>
                  <a:pt x="31" y="26"/>
                  <a:pt x="32" y="26"/>
                </a:cubicBezTo>
                <a:cubicBezTo>
                  <a:pt x="32" y="26"/>
                  <a:pt x="31" y="26"/>
                  <a:pt x="30" y="26"/>
                </a:cubicBezTo>
                <a:cubicBezTo>
                  <a:pt x="30" y="25"/>
                  <a:pt x="30" y="24"/>
                  <a:pt x="30" y="24"/>
                </a:cubicBezTo>
                <a:cubicBezTo>
                  <a:pt x="30" y="24"/>
                  <a:pt x="30" y="22"/>
                  <a:pt x="31" y="22"/>
                </a:cubicBezTo>
                <a:cubicBezTo>
                  <a:pt x="31" y="22"/>
                  <a:pt x="30" y="22"/>
                  <a:pt x="30" y="22"/>
                </a:cubicBezTo>
                <a:cubicBezTo>
                  <a:pt x="30" y="22"/>
                  <a:pt x="30" y="21"/>
                  <a:pt x="30" y="21"/>
                </a:cubicBezTo>
                <a:cubicBezTo>
                  <a:pt x="30" y="21"/>
                  <a:pt x="30" y="20"/>
                  <a:pt x="31" y="20"/>
                </a:cubicBezTo>
                <a:cubicBezTo>
                  <a:pt x="30" y="20"/>
                  <a:pt x="30" y="20"/>
                  <a:pt x="30" y="20"/>
                </a:cubicBezTo>
                <a:cubicBezTo>
                  <a:pt x="30" y="20"/>
                  <a:pt x="30" y="19"/>
                  <a:pt x="29" y="19"/>
                </a:cubicBezTo>
                <a:cubicBezTo>
                  <a:pt x="29" y="19"/>
                  <a:pt x="29" y="19"/>
                  <a:pt x="29" y="18"/>
                </a:cubicBezTo>
                <a:cubicBezTo>
                  <a:pt x="28" y="18"/>
                  <a:pt x="28" y="17"/>
                  <a:pt x="28" y="17"/>
                </a:cubicBezTo>
                <a:cubicBezTo>
                  <a:pt x="28" y="16"/>
                  <a:pt x="29" y="16"/>
                  <a:pt x="28" y="15"/>
                </a:cubicBezTo>
                <a:cubicBezTo>
                  <a:pt x="27" y="15"/>
                  <a:pt x="28" y="15"/>
                  <a:pt x="29" y="15"/>
                </a:cubicBezTo>
                <a:cubicBezTo>
                  <a:pt x="29" y="15"/>
                  <a:pt x="30" y="16"/>
                  <a:pt x="31" y="15"/>
                </a:cubicBezTo>
                <a:cubicBezTo>
                  <a:pt x="32" y="15"/>
                  <a:pt x="32" y="15"/>
                  <a:pt x="33" y="15"/>
                </a:cubicBezTo>
                <a:cubicBezTo>
                  <a:pt x="34" y="16"/>
                  <a:pt x="33" y="16"/>
                  <a:pt x="33" y="17"/>
                </a:cubicBezTo>
                <a:cubicBezTo>
                  <a:pt x="33" y="17"/>
                  <a:pt x="34" y="18"/>
                  <a:pt x="34" y="19"/>
                </a:cubicBezTo>
                <a:cubicBezTo>
                  <a:pt x="34" y="19"/>
                  <a:pt x="34" y="19"/>
                  <a:pt x="35" y="19"/>
                </a:cubicBezTo>
                <a:cubicBezTo>
                  <a:pt x="35" y="18"/>
                  <a:pt x="36" y="18"/>
                  <a:pt x="37" y="18"/>
                </a:cubicBezTo>
                <a:cubicBezTo>
                  <a:pt x="38" y="19"/>
                  <a:pt x="40" y="19"/>
                  <a:pt x="41" y="19"/>
                </a:cubicBezTo>
                <a:cubicBezTo>
                  <a:pt x="42" y="20"/>
                  <a:pt x="44" y="19"/>
                  <a:pt x="45" y="18"/>
                </a:cubicBezTo>
                <a:cubicBezTo>
                  <a:pt x="46" y="18"/>
                  <a:pt x="47" y="18"/>
                  <a:pt x="48" y="17"/>
                </a:cubicBezTo>
                <a:cubicBezTo>
                  <a:pt x="47" y="18"/>
                  <a:pt x="44" y="18"/>
                  <a:pt x="45" y="17"/>
                </a:cubicBezTo>
                <a:cubicBezTo>
                  <a:pt x="45" y="16"/>
                  <a:pt x="45" y="15"/>
                  <a:pt x="46" y="15"/>
                </a:cubicBezTo>
                <a:cubicBezTo>
                  <a:pt x="47" y="14"/>
                  <a:pt x="48" y="14"/>
                  <a:pt x="49" y="14"/>
                </a:cubicBezTo>
                <a:cubicBezTo>
                  <a:pt x="51" y="13"/>
                  <a:pt x="53" y="13"/>
                  <a:pt x="55" y="12"/>
                </a:cubicBezTo>
                <a:cubicBezTo>
                  <a:pt x="56" y="11"/>
                  <a:pt x="56" y="11"/>
                  <a:pt x="57" y="10"/>
                </a:cubicBezTo>
                <a:cubicBezTo>
                  <a:pt x="57" y="10"/>
                  <a:pt x="57" y="10"/>
                  <a:pt x="57" y="10"/>
                </a:cubicBezTo>
                <a:cubicBezTo>
                  <a:pt x="58" y="10"/>
                  <a:pt x="58" y="10"/>
                  <a:pt x="58" y="10"/>
                </a:cubicBezTo>
                <a:cubicBezTo>
                  <a:pt x="58" y="10"/>
                  <a:pt x="56" y="8"/>
                  <a:pt x="58" y="8"/>
                </a:cubicBezTo>
                <a:cubicBezTo>
                  <a:pt x="57" y="7"/>
                  <a:pt x="58" y="7"/>
                  <a:pt x="58" y="6"/>
                </a:cubicBezTo>
                <a:cubicBezTo>
                  <a:pt x="58" y="6"/>
                  <a:pt x="58" y="5"/>
                  <a:pt x="58" y="5"/>
                </a:cubicBezTo>
                <a:cubicBezTo>
                  <a:pt x="58" y="4"/>
                  <a:pt x="58" y="4"/>
                  <a:pt x="58" y="3"/>
                </a:cubicBezTo>
                <a:cubicBezTo>
                  <a:pt x="58" y="3"/>
                  <a:pt x="58" y="3"/>
                  <a:pt x="58" y="2"/>
                </a:cubicBezTo>
                <a:cubicBezTo>
                  <a:pt x="59" y="2"/>
                  <a:pt x="59" y="2"/>
                  <a:pt x="60" y="2"/>
                </a:cubicBezTo>
                <a:cubicBezTo>
                  <a:pt x="60" y="1"/>
                  <a:pt x="61" y="1"/>
                  <a:pt x="62" y="1"/>
                </a:cubicBezTo>
                <a:cubicBezTo>
                  <a:pt x="63" y="1"/>
                  <a:pt x="65" y="1"/>
                  <a:pt x="66" y="0"/>
                </a:cubicBezTo>
                <a:cubicBezTo>
                  <a:pt x="66" y="1"/>
                  <a:pt x="67" y="1"/>
                  <a:pt x="67" y="2"/>
                </a:cubicBezTo>
                <a:cubicBezTo>
                  <a:pt x="67" y="2"/>
                  <a:pt x="66" y="3"/>
                  <a:pt x="67" y="3"/>
                </a:cubicBezTo>
                <a:cubicBezTo>
                  <a:pt x="67" y="3"/>
                  <a:pt x="67" y="3"/>
                  <a:pt x="68" y="3"/>
                </a:cubicBezTo>
                <a:cubicBezTo>
                  <a:pt x="68" y="4"/>
                  <a:pt x="68" y="4"/>
                  <a:pt x="68" y="4"/>
                </a:cubicBezTo>
                <a:cubicBezTo>
                  <a:pt x="69" y="5"/>
                  <a:pt x="69" y="5"/>
                  <a:pt x="69" y="4"/>
                </a:cubicBezTo>
                <a:cubicBezTo>
                  <a:pt x="70" y="4"/>
                  <a:pt x="71" y="3"/>
                  <a:pt x="71" y="4"/>
                </a:cubicBezTo>
                <a:cubicBezTo>
                  <a:pt x="71" y="4"/>
                  <a:pt x="72" y="4"/>
                  <a:pt x="72" y="5"/>
                </a:cubicBezTo>
                <a:cubicBezTo>
                  <a:pt x="72" y="5"/>
                  <a:pt x="72" y="6"/>
                  <a:pt x="72" y="6"/>
                </a:cubicBezTo>
                <a:cubicBezTo>
                  <a:pt x="73" y="7"/>
                  <a:pt x="73" y="6"/>
                  <a:pt x="74" y="6"/>
                </a:cubicBezTo>
                <a:cubicBezTo>
                  <a:pt x="74" y="6"/>
                  <a:pt x="74" y="7"/>
                  <a:pt x="74" y="7"/>
                </a:cubicBezTo>
                <a:cubicBezTo>
                  <a:pt x="74" y="7"/>
                  <a:pt x="75" y="7"/>
                  <a:pt x="75" y="7"/>
                </a:cubicBezTo>
                <a:cubicBezTo>
                  <a:pt x="75" y="8"/>
                  <a:pt x="75" y="9"/>
                  <a:pt x="76" y="8"/>
                </a:cubicBezTo>
                <a:cubicBezTo>
                  <a:pt x="76" y="8"/>
                  <a:pt x="78" y="8"/>
                  <a:pt x="78" y="8"/>
                </a:cubicBezTo>
                <a:cubicBezTo>
                  <a:pt x="79" y="8"/>
                  <a:pt x="79" y="9"/>
                  <a:pt x="79" y="9"/>
                </a:cubicBezTo>
                <a:cubicBezTo>
                  <a:pt x="79" y="9"/>
                  <a:pt x="80" y="9"/>
                  <a:pt x="80" y="9"/>
                </a:cubicBezTo>
                <a:cubicBezTo>
                  <a:pt x="80" y="9"/>
                  <a:pt x="79" y="10"/>
                  <a:pt x="79" y="10"/>
                </a:cubicBezTo>
                <a:cubicBezTo>
                  <a:pt x="79" y="10"/>
                  <a:pt x="79" y="10"/>
                  <a:pt x="79" y="10"/>
                </a:cubicBezTo>
                <a:cubicBezTo>
                  <a:pt x="80" y="10"/>
                  <a:pt x="80" y="11"/>
                  <a:pt x="80" y="11"/>
                </a:cubicBezTo>
                <a:cubicBezTo>
                  <a:pt x="80" y="11"/>
                  <a:pt x="80" y="11"/>
                  <a:pt x="80" y="11"/>
                </a:cubicBezTo>
                <a:cubicBezTo>
                  <a:pt x="79" y="12"/>
                  <a:pt x="79" y="12"/>
                  <a:pt x="79" y="12"/>
                </a:cubicBezTo>
                <a:cubicBezTo>
                  <a:pt x="80" y="12"/>
                  <a:pt x="81" y="12"/>
                  <a:pt x="81" y="12"/>
                </a:cubicBezTo>
                <a:cubicBezTo>
                  <a:pt x="82" y="13"/>
                  <a:pt x="84" y="12"/>
                  <a:pt x="84" y="12"/>
                </a:cubicBezTo>
                <a:cubicBezTo>
                  <a:pt x="84" y="11"/>
                  <a:pt x="85" y="10"/>
                  <a:pt x="85" y="11"/>
                </a:cubicBezTo>
                <a:cubicBezTo>
                  <a:pt x="85" y="11"/>
                  <a:pt x="85" y="11"/>
                  <a:pt x="85" y="12"/>
                </a:cubicBezTo>
                <a:cubicBezTo>
                  <a:pt x="85" y="12"/>
                  <a:pt x="85" y="12"/>
                  <a:pt x="85" y="12"/>
                </a:cubicBezTo>
                <a:cubicBezTo>
                  <a:pt x="85" y="12"/>
                  <a:pt x="85" y="12"/>
                  <a:pt x="85" y="13"/>
                </a:cubicBezTo>
                <a:cubicBezTo>
                  <a:pt x="85" y="13"/>
                  <a:pt x="85" y="14"/>
                  <a:pt x="85" y="14"/>
                </a:cubicBezTo>
                <a:cubicBezTo>
                  <a:pt x="85" y="14"/>
                  <a:pt x="86" y="14"/>
                  <a:pt x="87" y="14"/>
                </a:cubicBezTo>
                <a:cubicBezTo>
                  <a:pt x="87" y="14"/>
                  <a:pt x="87" y="15"/>
                  <a:pt x="88" y="15"/>
                </a:cubicBezTo>
                <a:cubicBezTo>
                  <a:pt x="88" y="15"/>
                  <a:pt x="89" y="15"/>
                  <a:pt x="89" y="16"/>
                </a:cubicBezTo>
                <a:cubicBezTo>
                  <a:pt x="89" y="16"/>
                  <a:pt x="89" y="16"/>
                  <a:pt x="90" y="16"/>
                </a:cubicBezTo>
                <a:cubicBezTo>
                  <a:pt x="90" y="16"/>
                  <a:pt x="90" y="17"/>
                  <a:pt x="90" y="17"/>
                </a:cubicBezTo>
                <a:cubicBezTo>
                  <a:pt x="91" y="17"/>
                  <a:pt x="92" y="17"/>
                  <a:pt x="92" y="17"/>
                </a:cubicBezTo>
                <a:cubicBezTo>
                  <a:pt x="93" y="17"/>
                  <a:pt x="94" y="17"/>
                  <a:pt x="94" y="18"/>
                </a:cubicBezTo>
                <a:cubicBezTo>
                  <a:pt x="95" y="18"/>
                  <a:pt x="96" y="17"/>
                  <a:pt x="96" y="17"/>
                </a:cubicBezTo>
                <a:cubicBezTo>
                  <a:pt x="96" y="17"/>
                  <a:pt x="97" y="17"/>
                  <a:pt x="97" y="18"/>
                </a:cubicBezTo>
                <a:cubicBezTo>
                  <a:pt x="98" y="18"/>
                  <a:pt x="99" y="17"/>
                  <a:pt x="99" y="18"/>
                </a:cubicBezTo>
                <a:cubicBezTo>
                  <a:pt x="100" y="19"/>
                  <a:pt x="100" y="19"/>
                  <a:pt x="100" y="19"/>
                </a:cubicBezTo>
                <a:cubicBezTo>
                  <a:pt x="100" y="20"/>
                  <a:pt x="101" y="20"/>
                  <a:pt x="101" y="20"/>
                </a:cubicBezTo>
                <a:cubicBezTo>
                  <a:pt x="101" y="21"/>
                  <a:pt x="101" y="21"/>
                  <a:pt x="101" y="21"/>
                </a:cubicBezTo>
                <a:cubicBezTo>
                  <a:pt x="102" y="21"/>
                  <a:pt x="101" y="20"/>
                  <a:pt x="102" y="20"/>
                </a:cubicBezTo>
                <a:cubicBezTo>
                  <a:pt x="102" y="20"/>
                  <a:pt x="103" y="20"/>
                  <a:pt x="103" y="21"/>
                </a:cubicBezTo>
                <a:cubicBezTo>
                  <a:pt x="103" y="21"/>
                  <a:pt x="104" y="22"/>
                  <a:pt x="104" y="21"/>
                </a:cubicBezTo>
                <a:cubicBezTo>
                  <a:pt x="104" y="21"/>
                  <a:pt x="106" y="22"/>
                  <a:pt x="106" y="21"/>
                </a:cubicBezTo>
                <a:cubicBezTo>
                  <a:pt x="107" y="20"/>
                  <a:pt x="107" y="22"/>
                  <a:pt x="108" y="22"/>
                </a:cubicBezTo>
                <a:cubicBezTo>
                  <a:pt x="108" y="22"/>
                  <a:pt x="109" y="22"/>
                  <a:pt x="109" y="22"/>
                </a:cubicBezTo>
                <a:cubicBezTo>
                  <a:pt x="109" y="22"/>
                  <a:pt x="110" y="22"/>
                  <a:pt x="110" y="22"/>
                </a:cubicBezTo>
                <a:close/>
                <a:moveTo>
                  <a:pt x="58" y="93"/>
                </a:moveTo>
                <a:cubicBezTo>
                  <a:pt x="58" y="92"/>
                  <a:pt x="57" y="93"/>
                  <a:pt x="58" y="93"/>
                </a:cubicBezTo>
                <a:close/>
                <a:moveTo>
                  <a:pt x="82" y="83"/>
                </a:moveTo>
                <a:cubicBezTo>
                  <a:pt x="82" y="83"/>
                  <a:pt x="82" y="83"/>
                  <a:pt x="83" y="83"/>
                </a:cubicBezTo>
                <a:cubicBezTo>
                  <a:pt x="82" y="82"/>
                  <a:pt x="82" y="81"/>
                  <a:pt x="82" y="81"/>
                </a:cubicBezTo>
                <a:cubicBezTo>
                  <a:pt x="82" y="81"/>
                  <a:pt x="82" y="82"/>
                  <a:pt x="82" y="83"/>
                </a:cubicBezTo>
                <a:close/>
                <a:moveTo>
                  <a:pt x="0" y="28"/>
                </a:moveTo>
                <a:cubicBezTo>
                  <a:pt x="0" y="28"/>
                  <a:pt x="0" y="28"/>
                  <a:pt x="0" y="28"/>
                </a:cubicBezTo>
                <a:cubicBezTo>
                  <a:pt x="0" y="28"/>
                  <a:pt x="0" y="28"/>
                  <a:pt x="0" y="28"/>
                </a:cubicBezTo>
                <a:cubicBezTo>
                  <a:pt x="0" y="28"/>
                  <a:pt x="0" y="28"/>
                  <a:pt x="0" y="28"/>
                </a:cubicBezTo>
                <a:cubicBezTo>
                  <a:pt x="0" y="28"/>
                  <a:pt x="0" y="28"/>
                  <a:pt x="0" y="28"/>
                </a:cubicBezTo>
                <a:close/>
                <a:moveTo>
                  <a:pt x="124" y="94"/>
                </a:moveTo>
                <a:cubicBezTo>
                  <a:pt x="124" y="93"/>
                  <a:pt x="125" y="92"/>
                  <a:pt x="124" y="91"/>
                </a:cubicBezTo>
                <a:cubicBezTo>
                  <a:pt x="124" y="91"/>
                  <a:pt x="124" y="92"/>
                  <a:pt x="124" y="92"/>
                </a:cubicBezTo>
                <a:cubicBezTo>
                  <a:pt x="123" y="92"/>
                  <a:pt x="124" y="89"/>
                  <a:pt x="124" y="89"/>
                </a:cubicBezTo>
                <a:cubicBezTo>
                  <a:pt x="124" y="88"/>
                  <a:pt x="124" y="87"/>
                  <a:pt x="123" y="87"/>
                </a:cubicBezTo>
                <a:cubicBezTo>
                  <a:pt x="123" y="88"/>
                  <a:pt x="123" y="88"/>
                  <a:pt x="122" y="89"/>
                </a:cubicBezTo>
                <a:cubicBezTo>
                  <a:pt x="122" y="89"/>
                  <a:pt x="123" y="89"/>
                  <a:pt x="123" y="90"/>
                </a:cubicBezTo>
                <a:cubicBezTo>
                  <a:pt x="123" y="91"/>
                  <a:pt x="122" y="90"/>
                  <a:pt x="121" y="90"/>
                </a:cubicBezTo>
                <a:cubicBezTo>
                  <a:pt x="120" y="90"/>
                  <a:pt x="120" y="91"/>
                  <a:pt x="119" y="91"/>
                </a:cubicBezTo>
                <a:cubicBezTo>
                  <a:pt x="119" y="91"/>
                  <a:pt x="118" y="92"/>
                  <a:pt x="117" y="92"/>
                </a:cubicBezTo>
                <a:cubicBezTo>
                  <a:pt x="117" y="92"/>
                  <a:pt x="116" y="93"/>
                  <a:pt x="117" y="93"/>
                </a:cubicBezTo>
                <a:cubicBezTo>
                  <a:pt x="117" y="93"/>
                  <a:pt x="116" y="94"/>
                  <a:pt x="116" y="94"/>
                </a:cubicBezTo>
                <a:cubicBezTo>
                  <a:pt x="116" y="94"/>
                  <a:pt x="116" y="94"/>
                  <a:pt x="116" y="94"/>
                </a:cubicBezTo>
                <a:cubicBezTo>
                  <a:pt x="116" y="94"/>
                  <a:pt x="116" y="94"/>
                  <a:pt x="116" y="94"/>
                </a:cubicBezTo>
                <a:cubicBezTo>
                  <a:pt x="116" y="94"/>
                  <a:pt x="117" y="95"/>
                  <a:pt x="117" y="95"/>
                </a:cubicBezTo>
                <a:cubicBezTo>
                  <a:pt x="117" y="95"/>
                  <a:pt x="116" y="95"/>
                  <a:pt x="116" y="96"/>
                </a:cubicBezTo>
                <a:cubicBezTo>
                  <a:pt x="116" y="96"/>
                  <a:pt x="116" y="96"/>
                  <a:pt x="116" y="96"/>
                </a:cubicBezTo>
                <a:cubicBezTo>
                  <a:pt x="116" y="96"/>
                  <a:pt x="116" y="96"/>
                  <a:pt x="116" y="96"/>
                </a:cubicBezTo>
                <a:cubicBezTo>
                  <a:pt x="115" y="97"/>
                  <a:pt x="118" y="97"/>
                  <a:pt x="117" y="98"/>
                </a:cubicBezTo>
                <a:cubicBezTo>
                  <a:pt x="117" y="98"/>
                  <a:pt x="116" y="98"/>
                  <a:pt x="116" y="98"/>
                </a:cubicBezTo>
                <a:cubicBezTo>
                  <a:pt x="116" y="99"/>
                  <a:pt x="116" y="99"/>
                  <a:pt x="116" y="99"/>
                </a:cubicBezTo>
                <a:cubicBezTo>
                  <a:pt x="116" y="99"/>
                  <a:pt x="117" y="99"/>
                  <a:pt x="117" y="99"/>
                </a:cubicBezTo>
                <a:cubicBezTo>
                  <a:pt x="118" y="99"/>
                  <a:pt x="118" y="100"/>
                  <a:pt x="117" y="100"/>
                </a:cubicBezTo>
                <a:cubicBezTo>
                  <a:pt x="118" y="100"/>
                  <a:pt x="117" y="100"/>
                  <a:pt x="117" y="100"/>
                </a:cubicBezTo>
                <a:cubicBezTo>
                  <a:pt x="117" y="101"/>
                  <a:pt x="117" y="101"/>
                  <a:pt x="117" y="101"/>
                </a:cubicBezTo>
                <a:cubicBezTo>
                  <a:pt x="117" y="101"/>
                  <a:pt x="117" y="101"/>
                  <a:pt x="118" y="101"/>
                </a:cubicBezTo>
                <a:cubicBezTo>
                  <a:pt x="118" y="101"/>
                  <a:pt x="117" y="101"/>
                  <a:pt x="118" y="101"/>
                </a:cubicBezTo>
                <a:cubicBezTo>
                  <a:pt x="118" y="101"/>
                  <a:pt x="118" y="101"/>
                  <a:pt x="118" y="101"/>
                </a:cubicBezTo>
                <a:cubicBezTo>
                  <a:pt x="118" y="101"/>
                  <a:pt x="119" y="101"/>
                  <a:pt x="119" y="102"/>
                </a:cubicBezTo>
                <a:cubicBezTo>
                  <a:pt x="118" y="102"/>
                  <a:pt x="118" y="102"/>
                  <a:pt x="118" y="102"/>
                </a:cubicBezTo>
                <a:cubicBezTo>
                  <a:pt x="118" y="103"/>
                  <a:pt x="120" y="104"/>
                  <a:pt x="120" y="104"/>
                </a:cubicBezTo>
                <a:cubicBezTo>
                  <a:pt x="120" y="104"/>
                  <a:pt x="120" y="104"/>
                  <a:pt x="121" y="104"/>
                </a:cubicBezTo>
                <a:cubicBezTo>
                  <a:pt x="121" y="104"/>
                  <a:pt x="120" y="104"/>
                  <a:pt x="121" y="105"/>
                </a:cubicBezTo>
                <a:cubicBezTo>
                  <a:pt x="121" y="105"/>
                  <a:pt x="122" y="105"/>
                  <a:pt x="122" y="104"/>
                </a:cubicBezTo>
                <a:cubicBezTo>
                  <a:pt x="122" y="104"/>
                  <a:pt x="122" y="104"/>
                  <a:pt x="121" y="104"/>
                </a:cubicBezTo>
                <a:cubicBezTo>
                  <a:pt x="121" y="104"/>
                  <a:pt x="122" y="103"/>
                  <a:pt x="122" y="103"/>
                </a:cubicBezTo>
                <a:cubicBezTo>
                  <a:pt x="123" y="102"/>
                  <a:pt x="122" y="103"/>
                  <a:pt x="122" y="102"/>
                </a:cubicBezTo>
                <a:cubicBezTo>
                  <a:pt x="122" y="102"/>
                  <a:pt x="123" y="102"/>
                  <a:pt x="123" y="102"/>
                </a:cubicBezTo>
                <a:cubicBezTo>
                  <a:pt x="123" y="102"/>
                  <a:pt x="123" y="101"/>
                  <a:pt x="123" y="101"/>
                </a:cubicBezTo>
                <a:cubicBezTo>
                  <a:pt x="123" y="100"/>
                  <a:pt x="123" y="99"/>
                  <a:pt x="124" y="98"/>
                </a:cubicBezTo>
                <a:cubicBezTo>
                  <a:pt x="125" y="97"/>
                  <a:pt x="125" y="96"/>
                  <a:pt x="124" y="94"/>
                </a:cubicBezTo>
                <a:close/>
                <a:moveTo>
                  <a:pt x="29" y="52"/>
                </a:moveTo>
                <a:cubicBezTo>
                  <a:pt x="29" y="53"/>
                  <a:pt x="31" y="53"/>
                  <a:pt x="31" y="53"/>
                </a:cubicBezTo>
                <a:cubicBezTo>
                  <a:pt x="31" y="53"/>
                  <a:pt x="31" y="53"/>
                  <a:pt x="31" y="53"/>
                </a:cubicBezTo>
                <a:cubicBezTo>
                  <a:pt x="31" y="53"/>
                  <a:pt x="29" y="52"/>
                  <a:pt x="29" y="52"/>
                </a:cubicBezTo>
                <a:cubicBezTo>
                  <a:pt x="30" y="53"/>
                  <a:pt x="29" y="51"/>
                  <a:pt x="29" y="52"/>
                </a:cubicBezTo>
                <a:close/>
                <a:moveTo>
                  <a:pt x="15" y="41"/>
                </a:moveTo>
                <a:cubicBezTo>
                  <a:pt x="15" y="41"/>
                  <a:pt x="16" y="41"/>
                  <a:pt x="16" y="41"/>
                </a:cubicBezTo>
                <a:cubicBezTo>
                  <a:pt x="17" y="41"/>
                  <a:pt x="15" y="40"/>
                  <a:pt x="15" y="40"/>
                </a:cubicBezTo>
                <a:cubicBezTo>
                  <a:pt x="15" y="40"/>
                  <a:pt x="15" y="40"/>
                  <a:pt x="15" y="41"/>
                </a:cubicBezTo>
                <a:close/>
                <a:moveTo>
                  <a:pt x="30" y="55"/>
                </a:moveTo>
                <a:cubicBezTo>
                  <a:pt x="31" y="56"/>
                  <a:pt x="31" y="56"/>
                  <a:pt x="31" y="57"/>
                </a:cubicBezTo>
                <a:cubicBezTo>
                  <a:pt x="32" y="56"/>
                  <a:pt x="31" y="56"/>
                  <a:pt x="31" y="55"/>
                </a:cubicBezTo>
                <a:cubicBezTo>
                  <a:pt x="31" y="55"/>
                  <a:pt x="31" y="54"/>
                  <a:pt x="30" y="54"/>
                </a:cubicBezTo>
                <a:cubicBezTo>
                  <a:pt x="30" y="54"/>
                  <a:pt x="30" y="55"/>
                  <a:pt x="30" y="5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8" name="Finland"/>
          <p:cNvSpPr>
            <a:spLocks noEditPoints="1"/>
          </p:cNvSpPr>
          <p:nvPr/>
        </p:nvSpPr>
        <p:spPr bwMode="auto">
          <a:xfrm>
            <a:off x="6410060" y="1958039"/>
            <a:ext cx="324988" cy="357986"/>
          </a:xfrm>
          <a:custGeom>
            <a:avLst/>
            <a:gdLst/>
            <a:ahLst/>
            <a:cxnLst>
              <a:cxn ang="0">
                <a:pos x="4" y="94"/>
              </a:cxn>
              <a:cxn ang="0">
                <a:pos x="3" y="95"/>
              </a:cxn>
              <a:cxn ang="0">
                <a:pos x="4" y="96"/>
              </a:cxn>
              <a:cxn ang="0">
                <a:pos x="17" y="96"/>
              </a:cxn>
              <a:cxn ang="0">
                <a:pos x="6" y="96"/>
              </a:cxn>
              <a:cxn ang="0">
                <a:pos x="76" y="60"/>
              </a:cxn>
              <a:cxn ang="0">
                <a:pos x="75" y="53"/>
              </a:cxn>
              <a:cxn ang="0">
                <a:pos x="72" y="47"/>
              </a:cxn>
              <a:cxn ang="0">
                <a:pos x="74" y="41"/>
              </a:cxn>
              <a:cxn ang="0">
                <a:pos x="67" y="26"/>
              </a:cxn>
              <a:cxn ang="0">
                <a:pos x="58" y="15"/>
              </a:cxn>
              <a:cxn ang="0">
                <a:pos x="61" y="4"/>
              </a:cxn>
              <a:cxn ang="0">
                <a:pos x="47" y="1"/>
              </a:cxn>
              <a:cxn ang="0">
                <a:pos x="39" y="4"/>
              </a:cxn>
              <a:cxn ang="0">
                <a:pos x="34" y="12"/>
              </a:cxn>
              <a:cxn ang="0">
                <a:pos x="24" y="12"/>
              </a:cxn>
              <a:cxn ang="0">
                <a:pos x="7" y="7"/>
              </a:cxn>
              <a:cxn ang="0">
                <a:pos x="7" y="12"/>
              </a:cxn>
              <a:cxn ang="0">
                <a:pos x="20" y="17"/>
              </a:cxn>
              <a:cxn ang="0">
                <a:pos x="23" y="24"/>
              </a:cxn>
              <a:cxn ang="0">
                <a:pos x="26" y="34"/>
              </a:cxn>
              <a:cxn ang="0">
                <a:pos x="33" y="40"/>
              </a:cxn>
              <a:cxn ang="0">
                <a:pos x="39" y="44"/>
              </a:cxn>
              <a:cxn ang="0">
                <a:pos x="39" y="46"/>
              </a:cxn>
              <a:cxn ang="0">
                <a:pos x="34" y="50"/>
              </a:cxn>
              <a:cxn ang="0">
                <a:pos x="28" y="56"/>
              </a:cxn>
              <a:cxn ang="0">
                <a:pos x="25" y="59"/>
              </a:cxn>
              <a:cxn ang="0">
                <a:pos x="23" y="60"/>
              </a:cxn>
              <a:cxn ang="0">
                <a:pos x="19" y="62"/>
              </a:cxn>
              <a:cxn ang="0">
                <a:pos x="17" y="65"/>
              </a:cxn>
              <a:cxn ang="0">
                <a:pos x="14" y="65"/>
              </a:cxn>
              <a:cxn ang="0">
                <a:pos x="11" y="71"/>
              </a:cxn>
              <a:cxn ang="0">
                <a:pos x="12" y="74"/>
              </a:cxn>
              <a:cxn ang="0">
                <a:pos x="13" y="76"/>
              </a:cxn>
              <a:cxn ang="0">
                <a:pos x="16" y="82"/>
              </a:cxn>
              <a:cxn ang="0">
                <a:pos x="15" y="84"/>
              </a:cxn>
              <a:cxn ang="0">
                <a:pos x="13" y="86"/>
              </a:cxn>
              <a:cxn ang="0">
                <a:pos x="14" y="90"/>
              </a:cxn>
              <a:cxn ang="0">
                <a:pos x="18" y="91"/>
              </a:cxn>
              <a:cxn ang="0">
                <a:pos x="21" y="93"/>
              </a:cxn>
              <a:cxn ang="0">
                <a:pos x="26" y="94"/>
              </a:cxn>
              <a:cxn ang="0">
                <a:pos x="23" y="96"/>
              </a:cxn>
              <a:cxn ang="0">
                <a:pos x="24" y="97"/>
              </a:cxn>
              <a:cxn ang="0">
                <a:pos x="28" y="96"/>
              </a:cxn>
              <a:cxn ang="0">
                <a:pos x="29" y="98"/>
              </a:cxn>
              <a:cxn ang="0">
                <a:pos x="32" y="97"/>
              </a:cxn>
              <a:cxn ang="0">
                <a:pos x="35" y="97"/>
              </a:cxn>
              <a:cxn ang="0">
                <a:pos x="39" y="97"/>
              </a:cxn>
              <a:cxn ang="0">
                <a:pos x="43" y="95"/>
              </a:cxn>
              <a:cxn ang="0">
                <a:pos x="48" y="94"/>
              </a:cxn>
              <a:cxn ang="0">
                <a:pos x="49" y="93"/>
              </a:cxn>
              <a:cxn ang="0">
                <a:pos x="52" y="93"/>
              </a:cxn>
              <a:cxn ang="0">
                <a:pos x="57" y="92"/>
              </a:cxn>
              <a:cxn ang="0">
                <a:pos x="62" y="93"/>
              </a:cxn>
              <a:cxn ang="0">
                <a:pos x="64" y="92"/>
              </a:cxn>
              <a:cxn ang="0">
                <a:pos x="76" y="82"/>
              </a:cxn>
              <a:cxn ang="0">
                <a:pos x="87" y="73"/>
              </a:cxn>
              <a:cxn ang="0">
                <a:pos x="20" y="95"/>
              </a:cxn>
              <a:cxn ang="0">
                <a:pos x="5" y="96"/>
              </a:cxn>
              <a:cxn ang="0">
                <a:pos x="20" y="94"/>
              </a:cxn>
            </a:cxnLst>
            <a:rect l="0" t="0" r="r" b="b"/>
            <a:pathLst>
              <a:path w="90" h="99">
                <a:moveTo>
                  <a:pt x="17" y="96"/>
                </a:moveTo>
                <a:cubicBezTo>
                  <a:pt x="17" y="96"/>
                  <a:pt x="17" y="96"/>
                  <a:pt x="16" y="96"/>
                </a:cubicBezTo>
                <a:cubicBezTo>
                  <a:pt x="16" y="96"/>
                  <a:pt x="15" y="96"/>
                  <a:pt x="16" y="95"/>
                </a:cubicBezTo>
                <a:cubicBezTo>
                  <a:pt x="16" y="95"/>
                  <a:pt x="17" y="96"/>
                  <a:pt x="17" y="96"/>
                </a:cubicBezTo>
                <a:close/>
                <a:moveTo>
                  <a:pt x="4" y="96"/>
                </a:moveTo>
                <a:cubicBezTo>
                  <a:pt x="5" y="96"/>
                  <a:pt x="4" y="95"/>
                  <a:pt x="4" y="94"/>
                </a:cubicBezTo>
                <a:cubicBezTo>
                  <a:pt x="4" y="95"/>
                  <a:pt x="4" y="94"/>
                  <a:pt x="4" y="94"/>
                </a:cubicBezTo>
                <a:cubicBezTo>
                  <a:pt x="4" y="94"/>
                  <a:pt x="4" y="96"/>
                  <a:pt x="5" y="95"/>
                </a:cubicBezTo>
                <a:cubicBezTo>
                  <a:pt x="4" y="95"/>
                  <a:pt x="6" y="95"/>
                  <a:pt x="6" y="95"/>
                </a:cubicBezTo>
                <a:cubicBezTo>
                  <a:pt x="6" y="95"/>
                  <a:pt x="6" y="94"/>
                  <a:pt x="5" y="94"/>
                </a:cubicBezTo>
                <a:cubicBezTo>
                  <a:pt x="6" y="94"/>
                  <a:pt x="3" y="93"/>
                  <a:pt x="4" y="93"/>
                </a:cubicBezTo>
                <a:cubicBezTo>
                  <a:pt x="3" y="93"/>
                  <a:pt x="2" y="93"/>
                  <a:pt x="3" y="93"/>
                </a:cubicBezTo>
                <a:cubicBezTo>
                  <a:pt x="3" y="94"/>
                  <a:pt x="3" y="94"/>
                  <a:pt x="3" y="94"/>
                </a:cubicBezTo>
                <a:cubicBezTo>
                  <a:pt x="3" y="94"/>
                  <a:pt x="3" y="95"/>
                  <a:pt x="3" y="95"/>
                </a:cubicBezTo>
                <a:cubicBezTo>
                  <a:pt x="3" y="95"/>
                  <a:pt x="3" y="95"/>
                  <a:pt x="3" y="95"/>
                </a:cubicBezTo>
                <a:cubicBezTo>
                  <a:pt x="2" y="95"/>
                  <a:pt x="3" y="94"/>
                  <a:pt x="2" y="94"/>
                </a:cubicBezTo>
                <a:cubicBezTo>
                  <a:pt x="2" y="94"/>
                  <a:pt x="2" y="94"/>
                  <a:pt x="2" y="94"/>
                </a:cubicBezTo>
                <a:cubicBezTo>
                  <a:pt x="2" y="94"/>
                  <a:pt x="2" y="94"/>
                  <a:pt x="1" y="94"/>
                </a:cubicBezTo>
                <a:cubicBezTo>
                  <a:pt x="1" y="94"/>
                  <a:pt x="2" y="95"/>
                  <a:pt x="2" y="95"/>
                </a:cubicBezTo>
                <a:cubicBezTo>
                  <a:pt x="2" y="96"/>
                  <a:pt x="2" y="96"/>
                  <a:pt x="3" y="96"/>
                </a:cubicBezTo>
                <a:cubicBezTo>
                  <a:pt x="3" y="96"/>
                  <a:pt x="3" y="96"/>
                  <a:pt x="4" y="96"/>
                </a:cubicBezTo>
                <a:cubicBezTo>
                  <a:pt x="4" y="96"/>
                  <a:pt x="4" y="96"/>
                  <a:pt x="4" y="96"/>
                </a:cubicBezTo>
                <a:close/>
                <a:moveTo>
                  <a:pt x="23" y="93"/>
                </a:moveTo>
                <a:cubicBezTo>
                  <a:pt x="21" y="94"/>
                  <a:pt x="23" y="95"/>
                  <a:pt x="23" y="94"/>
                </a:cubicBezTo>
                <a:cubicBezTo>
                  <a:pt x="23" y="94"/>
                  <a:pt x="23" y="94"/>
                  <a:pt x="23" y="93"/>
                </a:cubicBezTo>
                <a:close/>
                <a:moveTo>
                  <a:pt x="19" y="95"/>
                </a:moveTo>
                <a:cubicBezTo>
                  <a:pt x="18" y="95"/>
                  <a:pt x="18" y="95"/>
                  <a:pt x="17" y="95"/>
                </a:cubicBezTo>
                <a:cubicBezTo>
                  <a:pt x="17" y="95"/>
                  <a:pt x="17" y="96"/>
                  <a:pt x="17" y="96"/>
                </a:cubicBezTo>
                <a:cubicBezTo>
                  <a:pt x="18" y="96"/>
                  <a:pt x="18" y="96"/>
                  <a:pt x="18" y="96"/>
                </a:cubicBezTo>
                <a:cubicBezTo>
                  <a:pt x="18" y="96"/>
                  <a:pt x="19" y="95"/>
                  <a:pt x="19" y="95"/>
                </a:cubicBezTo>
                <a:cubicBezTo>
                  <a:pt x="19" y="95"/>
                  <a:pt x="19" y="95"/>
                  <a:pt x="19" y="95"/>
                </a:cubicBezTo>
                <a:cubicBezTo>
                  <a:pt x="19" y="95"/>
                  <a:pt x="19" y="95"/>
                  <a:pt x="18" y="95"/>
                </a:cubicBezTo>
                <a:cubicBezTo>
                  <a:pt x="18" y="95"/>
                  <a:pt x="18" y="95"/>
                  <a:pt x="19" y="95"/>
                </a:cubicBezTo>
                <a:close/>
                <a:moveTo>
                  <a:pt x="6" y="95"/>
                </a:moveTo>
                <a:cubicBezTo>
                  <a:pt x="6" y="96"/>
                  <a:pt x="6" y="97"/>
                  <a:pt x="6" y="96"/>
                </a:cubicBezTo>
                <a:cubicBezTo>
                  <a:pt x="7" y="96"/>
                  <a:pt x="6" y="96"/>
                  <a:pt x="6" y="95"/>
                </a:cubicBezTo>
                <a:close/>
                <a:moveTo>
                  <a:pt x="87" y="66"/>
                </a:moveTo>
                <a:cubicBezTo>
                  <a:pt x="86" y="66"/>
                  <a:pt x="86" y="66"/>
                  <a:pt x="86" y="65"/>
                </a:cubicBezTo>
                <a:cubicBezTo>
                  <a:pt x="85" y="65"/>
                  <a:pt x="85" y="65"/>
                  <a:pt x="84" y="64"/>
                </a:cubicBezTo>
                <a:cubicBezTo>
                  <a:pt x="83" y="64"/>
                  <a:pt x="82" y="63"/>
                  <a:pt x="82" y="63"/>
                </a:cubicBezTo>
                <a:cubicBezTo>
                  <a:pt x="81" y="63"/>
                  <a:pt x="80" y="63"/>
                  <a:pt x="80" y="62"/>
                </a:cubicBezTo>
                <a:cubicBezTo>
                  <a:pt x="79" y="62"/>
                  <a:pt x="76" y="60"/>
                  <a:pt x="76" y="60"/>
                </a:cubicBezTo>
                <a:cubicBezTo>
                  <a:pt x="76" y="59"/>
                  <a:pt x="77" y="60"/>
                  <a:pt x="78" y="59"/>
                </a:cubicBezTo>
                <a:cubicBezTo>
                  <a:pt x="78" y="58"/>
                  <a:pt x="79" y="58"/>
                  <a:pt x="79" y="58"/>
                </a:cubicBezTo>
                <a:cubicBezTo>
                  <a:pt x="80" y="57"/>
                  <a:pt x="80" y="57"/>
                  <a:pt x="79" y="56"/>
                </a:cubicBezTo>
                <a:cubicBezTo>
                  <a:pt x="79" y="56"/>
                  <a:pt x="80" y="55"/>
                  <a:pt x="79" y="55"/>
                </a:cubicBezTo>
                <a:cubicBezTo>
                  <a:pt x="78" y="55"/>
                  <a:pt x="78" y="54"/>
                  <a:pt x="77" y="54"/>
                </a:cubicBezTo>
                <a:cubicBezTo>
                  <a:pt x="77" y="54"/>
                  <a:pt x="76" y="54"/>
                  <a:pt x="76" y="54"/>
                </a:cubicBezTo>
                <a:cubicBezTo>
                  <a:pt x="75" y="54"/>
                  <a:pt x="76" y="53"/>
                  <a:pt x="75" y="53"/>
                </a:cubicBezTo>
                <a:cubicBezTo>
                  <a:pt x="75" y="53"/>
                  <a:pt x="74" y="52"/>
                  <a:pt x="75" y="52"/>
                </a:cubicBezTo>
                <a:cubicBezTo>
                  <a:pt x="75" y="51"/>
                  <a:pt x="76" y="52"/>
                  <a:pt x="76" y="51"/>
                </a:cubicBezTo>
                <a:cubicBezTo>
                  <a:pt x="76" y="51"/>
                  <a:pt x="75" y="51"/>
                  <a:pt x="75" y="50"/>
                </a:cubicBezTo>
                <a:cubicBezTo>
                  <a:pt x="75" y="50"/>
                  <a:pt x="74" y="50"/>
                  <a:pt x="74" y="50"/>
                </a:cubicBezTo>
                <a:cubicBezTo>
                  <a:pt x="73" y="50"/>
                  <a:pt x="72" y="50"/>
                  <a:pt x="72" y="49"/>
                </a:cubicBezTo>
                <a:cubicBezTo>
                  <a:pt x="72" y="49"/>
                  <a:pt x="71" y="48"/>
                  <a:pt x="71" y="48"/>
                </a:cubicBezTo>
                <a:cubicBezTo>
                  <a:pt x="71" y="47"/>
                  <a:pt x="72" y="47"/>
                  <a:pt x="72" y="47"/>
                </a:cubicBezTo>
                <a:cubicBezTo>
                  <a:pt x="73" y="47"/>
                  <a:pt x="72" y="46"/>
                  <a:pt x="73" y="46"/>
                </a:cubicBezTo>
                <a:cubicBezTo>
                  <a:pt x="73" y="46"/>
                  <a:pt x="72" y="46"/>
                  <a:pt x="72" y="46"/>
                </a:cubicBezTo>
                <a:cubicBezTo>
                  <a:pt x="71" y="46"/>
                  <a:pt x="70" y="46"/>
                  <a:pt x="71" y="45"/>
                </a:cubicBezTo>
                <a:cubicBezTo>
                  <a:pt x="71" y="45"/>
                  <a:pt x="72" y="44"/>
                  <a:pt x="71" y="44"/>
                </a:cubicBezTo>
                <a:cubicBezTo>
                  <a:pt x="71" y="43"/>
                  <a:pt x="71" y="43"/>
                  <a:pt x="72" y="42"/>
                </a:cubicBezTo>
                <a:cubicBezTo>
                  <a:pt x="72" y="42"/>
                  <a:pt x="71" y="42"/>
                  <a:pt x="71" y="42"/>
                </a:cubicBezTo>
                <a:cubicBezTo>
                  <a:pt x="71" y="41"/>
                  <a:pt x="74" y="41"/>
                  <a:pt x="74" y="41"/>
                </a:cubicBezTo>
                <a:cubicBezTo>
                  <a:pt x="74" y="41"/>
                  <a:pt x="73" y="39"/>
                  <a:pt x="73" y="39"/>
                </a:cubicBezTo>
                <a:cubicBezTo>
                  <a:pt x="72" y="38"/>
                  <a:pt x="72" y="37"/>
                  <a:pt x="71" y="37"/>
                </a:cubicBezTo>
                <a:cubicBezTo>
                  <a:pt x="70" y="36"/>
                  <a:pt x="69" y="34"/>
                  <a:pt x="68" y="33"/>
                </a:cubicBezTo>
                <a:cubicBezTo>
                  <a:pt x="67" y="32"/>
                  <a:pt x="67" y="32"/>
                  <a:pt x="67" y="32"/>
                </a:cubicBezTo>
                <a:cubicBezTo>
                  <a:pt x="66" y="31"/>
                  <a:pt x="65" y="31"/>
                  <a:pt x="64" y="30"/>
                </a:cubicBezTo>
                <a:cubicBezTo>
                  <a:pt x="64" y="29"/>
                  <a:pt x="65" y="28"/>
                  <a:pt x="65" y="28"/>
                </a:cubicBezTo>
                <a:cubicBezTo>
                  <a:pt x="66" y="27"/>
                  <a:pt x="67" y="26"/>
                  <a:pt x="67" y="26"/>
                </a:cubicBezTo>
                <a:cubicBezTo>
                  <a:pt x="68" y="25"/>
                  <a:pt x="69" y="24"/>
                  <a:pt x="70" y="24"/>
                </a:cubicBezTo>
                <a:cubicBezTo>
                  <a:pt x="70" y="23"/>
                  <a:pt x="69" y="22"/>
                  <a:pt x="69" y="22"/>
                </a:cubicBezTo>
                <a:cubicBezTo>
                  <a:pt x="68" y="21"/>
                  <a:pt x="67" y="21"/>
                  <a:pt x="66" y="20"/>
                </a:cubicBezTo>
                <a:cubicBezTo>
                  <a:pt x="66" y="20"/>
                  <a:pt x="65" y="19"/>
                  <a:pt x="65" y="19"/>
                </a:cubicBezTo>
                <a:cubicBezTo>
                  <a:pt x="64" y="18"/>
                  <a:pt x="64" y="18"/>
                  <a:pt x="63" y="18"/>
                </a:cubicBezTo>
                <a:cubicBezTo>
                  <a:pt x="62" y="18"/>
                  <a:pt x="60" y="18"/>
                  <a:pt x="60" y="17"/>
                </a:cubicBezTo>
                <a:cubicBezTo>
                  <a:pt x="59" y="17"/>
                  <a:pt x="58" y="16"/>
                  <a:pt x="58" y="15"/>
                </a:cubicBezTo>
                <a:cubicBezTo>
                  <a:pt x="57" y="14"/>
                  <a:pt x="58" y="14"/>
                  <a:pt x="58" y="13"/>
                </a:cubicBezTo>
                <a:cubicBezTo>
                  <a:pt x="59" y="13"/>
                  <a:pt x="60" y="12"/>
                  <a:pt x="59" y="11"/>
                </a:cubicBezTo>
                <a:cubicBezTo>
                  <a:pt x="59" y="11"/>
                  <a:pt x="57" y="11"/>
                  <a:pt x="57" y="11"/>
                </a:cubicBezTo>
                <a:cubicBezTo>
                  <a:pt x="58" y="11"/>
                  <a:pt x="59" y="10"/>
                  <a:pt x="61" y="10"/>
                </a:cubicBezTo>
                <a:cubicBezTo>
                  <a:pt x="60" y="9"/>
                  <a:pt x="59" y="9"/>
                  <a:pt x="60" y="8"/>
                </a:cubicBezTo>
                <a:cubicBezTo>
                  <a:pt x="60" y="8"/>
                  <a:pt x="60" y="7"/>
                  <a:pt x="61" y="7"/>
                </a:cubicBezTo>
                <a:cubicBezTo>
                  <a:pt x="62" y="6"/>
                  <a:pt x="63" y="6"/>
                  <a:pt x="61" y="4"/>
                </a:cubicBezTo>
                <a:cubicBezTo>
                  <a:pt x="60" y="3"/>
                  <a:pt x="59" y="3"/>
                  <a:pt x="57" y="3"/>
                </a:cubicBezTo>
                <a:cubicBezTo>
                  <a:pt x="57" y="3"/>
                  <a:pt x="55" y="3"/>
                  <a:pt x="55" y="2"/>
                </a:cubicBezTo>
                <a:cubicBezTo>
                  <a:pt x="55" y="2"/>
                  <a:pt x="54" y="2"/>
                  <a:pt x="54" y="1"/>
                </a:cubicBezTo>
                <a:cubicBezTo>
                  <a:pt x="52" y="1"/>
                  <a:pt x="52" y="0"/>
                  <a:pt x="51" y="0"/>
                </a:cubicBezTo>
                <a:cubicBezTo>
                  <a:pt x="50" y="0"/>
                  <a:pt x="49" y="1"/>
                  <a:pt x="48" y="1"/>
                </a:cubicBezTo>
                <a:cubicBezTo>
                  <a:pt x="48" y="1"/>
                  <a:pt x="48" y="1"/>
                  <a:pt x="48" y="1"/>
                </a:cubicBezTo>
                <a:cubicBezTo>
                  <a:pt x="48" y="1"/>
                  <a:pt x="47" y="1"/>
                  <a:pt x="47" y="1"/>
                </a:cubicBezTo>
                <a:cubicBezTo>
                  <a:pt x="47" y="1"/>
                  <a:pt x="46" y="1"/>
                  <a:pt x="45" y="1"/>
                </a:cubicBezTo>
                <a:cubicBezTo>
                  <a:pt x="45" y="1"/>
                  <a:pt x="44" y="1"/>
                  <a:pt x="44" y="1"/>
                </a:cubicBezTo>
                <a:cubicBezTo>
                  <a:pt x="43" y="1"/>
                  <a:pt x="42" y="1"/>
                  <a:pt x="42" y="2"/>
                </a:cubicBezTo>
                <a:cubicBezTo>
                  <a:pt x="41" y="2"/>
                  <a:pt x="41" y="2"/>
                  <a:pt x="41" y="2"/>
                </a:cubicBezTo>
                <a:cubicBezTo>
                  <a:pt x="40" y="3"/>
                  <a:pt x="40" y="3"/>
                  <a:pt x="39" y="3"/>
                </a:cubicBezTo>
                <a:cubicBezTo>
                  <a:pt x="39" y="3"/>
                  <a:pt x="38" y="3"/>
                  <a:pt x="38" y="4"/>
                </a:cubicBezTo>
                <a:cubicBezTo>
                  <a:pt x="38" y="4"/>
                  <a:pt x="39" y="4"/>
                  <a:pt x="39" y="4"/>
                </a:cubicBezTo>
                <a:cubicBezTo>
                  <a:pt x="39" y="5"/>
                  <a:pt x="38" y="5"/>
                  <a:pt x="38" y="5"/>
                </a:cubicBezTo>
                <a:cubicBezTo>
                  <a:pt x="38" y="5"/>
                  <a:pt x="38" y="6"/>
                  <a:pt x="38" y="6"/>
                </a:cubicBezTo>
                <a:cubicBezTo>
                  <a:pt x="38" y="7"/>
                  <a:pt x="38" y="7"/>
                  <a:pt x="37" y="7"/>
                </a:cubicBezTo>
                <a:cubicBezTo>
                  <a:pt x="37" y="8"/>
                  <a:pt x="38" y="9"/>
                  <a:pt x="38" y="9"/>
                </a:cubicBezTo>
                <a:cubicBezTo>
                  <a:pt x="38" y="10"/>
                  <a:pt x="38" y="10"/>
                  <a:pt x="38" y="10"/>
                </a:cubicBezTo>
                <a:cubicBezTo>
                  <a:pt x="38" y="11"/>
                  <a:pt x="37" y="11"/>
                  <a:pt x="37" y="11"/>
                </a:cubicBezTo>
                <a:cubicBezTo>
                  <a:pt x="36" y="11"/>
                  <a:pt x="34" y="11"/>
                  <a:pt x="34" y="12"/>
                </a:cubicBezTo>
                <a:cubicBezTo>
                  <a:pt x="34" y="13"/>
                  <a:pt x="34" y="13"/>
                  <a:pt x="33" y="13"/>
                </a:cubicBezTo>
                <a:cubicBezTo>
                  <a:pt x="33" y="13"/>
                  <a:pt x="33" y="13"/>
                  <a:pt x="32" y="14"/>
                </a:cubicBezTo>
                <a:cubicBezTo>
                  <a:pt x="32" y="14"/>
                  <a:pt x="32" y="14"/>
                  <a:pt x="32" y="14"/>
                </a:cubicBezTo>
                <a:cubicBezTo>
                  <a:pt x="32" y="14"/>
                  <a:pt x="31" y="13"/>
                  <a:pt x="31" y="13"/>
                </a:cubicBezTo>
                <a:cubicBezTo>
                  <a:pt x="30" y="13"/>
                  <a:pt x="30" y="13"/>
                  <a:pt x="29" y="13"/>
                </a:cubicBezTo>
                <a:cubicBezTo>
                  <a:pt x="28" y="12"/>
                  <a:pt x="26" y="12"/>
                  <a:pt x="25" y="11"/>
                </a:cubicBezTo>
                <a:cubicBezTo>
                  <a:pt x="24" y="11"/>
                  <a:pt x="24" y="12"/>
                  <a:pt x="24" y="12"/>
                </a:cubicBezTo>
                <a:cubicBezTo>
                  <a:pt x="23" y="13"/>
                  <a:pt x="22" y="13"/>
                  <a:pt x="22" y="13"/>
                </a:cubicBezTo>
                <a:cubicBezTo>
                  <a:pt x="20" y="13"/>
                  <a:pt x="19" y="13"/>
                  <a:pt x="17" y="13"/>
                </a:cubicBezTo>
                <a:cubicBezTo>
                  <a:pt x="16" y="13"/>
                  <a:pt x="16" y="12"/>
                  <a:pt x="15" y="12"/>
                </a:cubicBezTo>
                <a:cubicBezTo>
                  <a:pt x="14" y="12"/>
                  <a:pt x="14" y="12"/>
                  <a:pt x="14" y="11"/>
                </a:cubicBezTo>
                <a:cubicBezTo>
                  <a:pt x="13" y="11"/>
                  <a:pt x="12" y="10"/>
                  <a:pt x="11" y="9"/>
                </a:cubicBezTo>
                <a:cubicBezTo>
                  <a:pt x="10" y="9"/>
                  <a:pt x="9" y="8"/>
                  <a:pt x="9" y="8"/>
                </a:cubicBezTo>
                <a:cubicBezTo>
                  <a:pt x="8" y="8"/>
                  <a:pt x="8" y="7"/>
                  <a:pt x="7" y="7"/>
                </a:cubicBezTo>
                <a:cubicBezTo>
                  <a:pt x="7" y="7"/>
                  <a:pt x="5" y="7"/>
                  <a:pt x="5" y="8"/>
                </a:cubicBezTo>
                <a:cubicBezTo>
                  <a:pt x="4" y="8"/>
                  <a:pt x="5" y="9"/>
                  <a:pt x="4" y="9"/>
                </a:cubicBezTo>
                <a:cubicBezTo>
                  <a:pt x="3" y="9"/>
                  <a:pt x="2" y="9"/>
                  <a:pt x="2" y="9"/>
                </a:cubicBezTo>
                <a:cubicBezTo>
                  <a:pt x="2" y="10"/>
                  <a:pt x="3" y="10"/>
                  <a:pt x="3" y="10"/>
                </a:cubicBezTo>
                <a:cubicBezTo>
                  <a:pt x="4" y="10"/>
                  <a:pt x="3" y="11"/>
                  <a:pt x="4" y="11"/>
                </a:cubicBezTo>
                <a:cubicBezTo>
                  <a:pt x="4" y="11"/>
                  <a:pt x="5" y="11"/>
                  <a:pt x="6" y="11"/>
                </a:cubicBezTo>
                <a:cubicBezTo>
                  <a:pt x="6" y="12"/>
                  <a:pt x="6" y="12"/>
                  <a:pt x="7" y="12"/>
                </a:cubicBezTo>
                <a:cubicBezTo>
                  <a:pt x="7" y="12"/>
                  <a:pt x="7" y="12"/>
                  <a:pt x="8" y="12"/>
                </a:cubicBezTo>
                <a:cubicBezTo>
                  <a:pt x="8" y="13"/>
                  <a:pt x="9" y="13"/>
                  <a:pt x="9" y="13"/>
                </a:cubicBezTo>
                <a:cubicBezTo>
                  <a:pt x="10" y="13"/>
                  <a:pt x="10" y="14"/>
                  <a:pt x="10" y="14"/>
                </a:cubicBezTo>
                <a:cubicBezTo>
                  <a:pt x="10" y="14"/>
                  <a:pt x="11" y="14"/>
                  <a:pt x="11" y="14"/>
                </a:cubicBezTo>
                <a:cubicBezTo>
                  <a:pt x="12" y="14"/>
                  <a:pt x="12" y="15"/>
                  <a:pt x="13" y="15"/>
                </a:cubicBezTo>
                <a:cubicBezTo>
                  <a:pt x="14" y="15"/>
                  <a:pt x="15" y="15"/>
                  <a:pt x="17" y="15"/>
                </a:cubicBezTo>
                <a:cubicBezTo>
                  <a:pt x="18" y="16"/>
                  <a:pt x="20" y="16"/>
                  <a:pt x="20" y="17"/>
                </a:cubicBezTo>
                <a:cubicBezTo>
                  <a:pt x="20" y="18"/>
                  <a:pt x="21" y="18"/>
                  <a:pt x="22" y="18"/>
                </a:cubicBezTo>
                <a:cubicBezTo>
                  <a:pt x="22" y="18"/>
                  <a:pt x="23" y="19"/>
                  <a:pt x="23" y="19"/>
                </a:cubicBezTo>
                <a:cubicBezTo>
                  <a:pt x="23" y="19"/>
                  <a:pt x="25" y="20"/>
                  <a:pt x="24" y="20"/>
                </a:cubicBezTo>
                <a:cubicBezTo>
                  <a:pt x="24" y="20"/>
                  <a:pt x="23" y="20"/>
                  <a:pt x="23" y="21"/>
                </a:cubicBezTo>
                <a:cubicBezTo>
                  <a:pt x="23" y="21"/>
                  <a:pt x="23" y="22"/>
                  <a:pt x="23" y="22"/>
                </a:cubicBezTo>
                <a:cubicBezTo>
                  <a:pt x="24" y="23"/>
                  <a:pt x="24" y="23"/>
                  <a:pt x="23" y="23"/>
                </a:cubicBezTo>
                <a:cubicBezTo>
                  <a:pt x="23" y="24"/>
                  <a:pt x="23" y="24"/>
                  <a:pt x="23" y="24"/>
                </a:cubicBezTo>
                <a:cubicBezTo>
                  <a:pt x="24" y="25"/>
                  <a:pt x="24" y="24"/>
                  <a:pt x="25" y="24"/>
                </a:cubicBezTo>
                <a:cubicBezTo>
                  <a:pt x="25" y="24"/>
                  <a:pt x="26" y="25"/>
                  <a:pt x="26" y="26"/>
                </a:cubicBezTo>
                <a:cubicBezTo>
                  <a:pt x="26" y="26"/>
                  <a:pt x="25" y="26"/>
                  <a:pt x="24" y="26"/>
                </a:cubicBezTo>
                <a:cubicBezTo>
                  <a:pt x="24" y="27"/>
                  <a:pt x="27" y="30"/>
                  <a:pt x="28" y="30"/>
                </a:cubicBezTo>
                <a:cubicBezTo>
                  <a:pt x="28" y="31"/>
                  <a:pt x="27" y="31"/>
                  <a:pt x="27" y="31"/>
                </a:cubicBezTo>
                <a:cubicBezTo>
                  <a:pt x="27" y="31"/>
                  <a:pt x="27" y="32"/>
                  <a:pt x="27" y="33"/>
                </a:cubicBezTo>
                <a:cubicBezTo>
                  <a:pt x="27" y="33"/>
                  <a:pt x="26" y="33"/>
                  <a:pt x="26" y="34"/>
                </a:cubicBezTo>
                <a:cubicBezTo>
                  <a:pt x="26" y="34"/>
                  <a:pt x="26" y="34"/>
                  <a:pt x="26" y="35"/>
                </a:cubicBezTo>
                <a:cubicBezTo>
                  <a:pt x="26" y="36"/>
                  <a:pt x="26" y="36"/>
                  <a:pt x="27" y="36"/>
                </a:cubicBezTo>
                <a:cubicBezTo>
                  <a:pt x="28" y="37"/>
                  <a:pt x="28" y="37"/>
                  <a:pt x="29" y="38"/>
                </a:cubicBezTo>
                <a:cubicBezTo>
                  <a:pt x="29" y="38"/>
                  <a:pt x="29" y="39"/>
                  <a:pt x="30" y="39"/>
                </a:cubicBezTo>
                <a:cubicBezTo>
                  <a:pt x="30" y="39"/>
                  <a:pt x="31" y="41"/>
                  <a:pt x="31" y="40"/>
                </a:cubicBezTo>
                <a:cubicBezTo>
                  <a:pt x="31" y="40"/>
                  <a:pt x="31" y="40"/>
                  <a:pt x="30" y="40"/>
                </a:cubicBezTo>
                <a:cubicBezTo>
                  <a:pt x="31" y="40"/>
                  <a:pt x="32" y="41"/>
                  <a:pt x="33" y="40"/>
                </a:cubicBezTo>
                <a:cubicBezTo>
                  <a:pt x="33" y="41"/>
                  <a:pt x="33" y="41"/>
                  <a:pt x="34" y="41"/>
                </a:cubicBezTo>
                <a:cubicBezTo>
                  <a:pt x="34" y="41"/>
                  <a:pt x="34" y="42"/>
                  <a:pt x="34" y="42"/>
                </a:cubicBezTo>
                <a:cubicBezTo>
                  <a:pt x="34" y="42"/>
                  <a:pt x="35" y="41"/>
                  <a:pt x="35" y="42"/>
                </a:cubicBezTo>
                <a:cubicBezTo>
                  <a:pt x="35" y="42"/>
                  <a:pt x="36" y="42"/>
                  <a:pt x="36" y="42"/>
                </a:cubicBezTo>
                <a:cubicBezTo>
                  <a:pt x="36" y="42"/>
                  <a:pt x="37" y="42"/>
                  <a:pt x="37" y="42"/>
                </a:cubicBezTo>
                <a:cubicBezTo>
                  <a:pt x="38" y="43"/>
                  <a:pt x="38" y="42"/>
                  <a:pt x="38" y="43"/>
                </a:cubicBezTo>
                <a:cubicBezTo>
                  <a:pt x="38" y="43"/>
                  <a:pt x="39" y="43"/>
                  <a:pt x="39" y="44"/>
                </a:cubicBezTo>
                <a:cubicBezTo>
                  <a:pt x="39" y="44"/>
                  <a:pt x="39" y="44"/>
                  <a:pt x="39" y="44"/>
                </a:cubicBezTo>
                <a:cubicBezTo>
                  <a:pt x="39" y="44"/>
                  <a:pt x="39" y="44"/>
                  <a:pt x="39" y="45"/>
                </a:cubicBezTo>
                <a:cubicBezTo>
                  <a:pt x="39" y="45"/>
                  <a:pt x="39" y="45"/>
                  <a:pt x="39" y="45"/>
                </a:cubicBezTo>
                <a:cubicBezTo>
                  <a:pt x="39" y="45"/>
                  <a:pt x="39" y="45"/>
                  <a:pt x="39" y="45"/>
                </a:cubicBezTo>
                <a:cubicBezTo>
                  <a:pt x="39" y="46"/>
                  <a:pt x="39" y="46"/>
                  <a:pt x="39" y="46"/>
                </a:cubicBezTo>
                <a:cubicBezTo>
                  <a:pt x="39" y="46"/>
                  <a:pt x="39" y="46"/>
                  <a:pt x="39" y="46"/>
                </a:cubicBezTo>
                <a:cubicBezTo>
                  <a:pt x="39" y="46"/>
                  <a:pt x="39" y="46"/>
                  <a:pt x="39" y="46"/>
                </a:cubicBezTo>
                <a:cubicBezTo>
                  <a:pt x="39" y="47"/>
                  <a:pt x="39" y="47"/>
                  <a:pt x="40" y="47"/>
                </a:cubicBezTo>
                <a:cubicBezTo>
                  <a:pt x="40" y="47"/>
                  <a:pt x="40" y="48"/>
                  <a:pt x="41" y="48"/>
                </a:cubicBezTo>
                <a:cubicBezTo>
                  <a:pt x="41" y="48"/>
                  <a:pt x="39" y="48"/>
                  <a:pt x="39" y="48"/>
                </a:cubicBezTo>
                <a:cubicBezTo>
                  <a:pt x="39" y="49"/>
                  <a:pt x="41" y="48"/>
                  <a:pt x="40" y="49"/>
                </a:cubicBezTo>
                <a:cubicBezTo>
                  <a:pt x="40" y="50"/>
                  <a:pt x="39" y="49"/>
                  <a:pt x="38" y="49"/>
                </a:cubicBezTo>
                <a:cubicBezTo>
                  <a:pt x="38" y="49"/>
                  <a:pt x="35" y="49"/>
                  <a:pt x="36" y="50"/>
                </a:cubicBezTo>
                <a:cubicBezTo>
                  <a:pt x="36" y="49"/>
                  <a:pt x="34" y="50"/>
                  <a:pt x="34" y="50"/>
                </a:cubicBezTo>
                <a:cubicBezTo>
                  <a:pt x="34" y="50"/>
                  <a:pt x="34" y="51"/>
                  <a:pt x="33" y="51"/>
                </a:cubicBezTo>
                <a:cubicBezTo>
                  <a:pt x="33" y="51"/>
                  <a:pt x="33" y="52"/>
                  <a:pt x="33" y="52"/>
                </a:cubicBezTo>
                <a:cubicBezTo>
                  <a:pt x="33" y="52"/>
                  <a:pt x="32" y="52"/>
                  <a:pt x="32" y="53"/>
                </a:cubicBezTo>
                <a:cubicBezTo>
                  <a:pt x="32" y="53"/>
                  <a:pt x="32" y="53"/>
                  <a:pt x="33" y="53"/>
                </a:cubicBezTo>
                <a:cubicBezTo>
                  <a:pt x="32" y="53"/>
                  <a:pt x="29" y="54"/>
                  <a:pt x="30" y="55"/>
                </a:cubicBezTo>
                <a:cubicBezTo>
                  <a:pt x="30" y="55"/>
                  <a:pt x="29" y="55"/>
                  <a:pt x="29" y="55"/>
                </a:cubicBezTo>
                <a:cubicBezTo>
                  <a:pt x="29" y="56"/>
                  <a:pt x="29" y="56"/>
                  <a:pt x="28" y="56"/>
                </a:cubicBezTo>
                <a:cubicBezTo>
                  <a:pt x="28" y="56"/>
                  <a:pt x="28" y="57"/>
                  <a:pt x="28" y="56"/>
                </a:cubicBezTo>
                <a:cubicBezTo>
                  <a:pt x="28" y="57"/>
                  <a:pt x="28" y="57"/>
                  <a:pt x="28" y="57"/>
                </a:cubicBezTo>
                <a:cubicBezTo>
                  <a:pt x="28" y="57"/>
                  <a:pt x="27" y="57"/>
                  <a:pt x="26" y="57"/>
                </a:cubicBezTo>
                <a:cubicBezTo>
                  <a:pt x="26" y="57"/>
                  <a:pt x="26" y="58"/>
                  <a:pt x="27" y="58"/>
                </a:cubicBezTo>
                <a:cubicBezTo>
                  <a:pt x="26" y="59"/>
                  <a:pt x="26" y="58"/>
                  <a:pt x="26" y="58"/>
                </a:cubicBezTo>
                <a:cubicBezTo>
                  <a:pt x="26" y="59"/>
                  <a:pt x="25" y="59"/>
                  <a:pt x="25" y="59"/>
                </a:cubicBezTo>
                <a:cubicBezTo>
                  <a:pt x="25" y="59"/>
                  <a:pt x="25" y="59"/>
                  <a:pt x="25" y="59"/>
                </a:cubicBezTo>
                <a:cubicBezTo>
                  <a:pt x="25" y="59"/>
                  <a:pt x="24" y="59"/>
                  <a:pt x="24" y="59"/>
                </a:cubicBezTo>
                <a:cubicBezTo>
                  <a:pt x="24" y="59"/>
                  <a:pt x="25" y="59"/>
                  <a:pt x="25" y="59"/>
                </a:cubicBezTo>
                <a:cubicBezTo>
                  <a:pt x="24" y="59"/>
                  <a:pt x="24" y="59"/>
                  <a:pt x="24" y="59"/>
                </a:cubicBezTo>
                <a:cubicBezTo>
                  <a:pt x="24" y="59"/>
                  <a:pt x="24" y="60"/>
                  <a:pt x="24" y="60"/>
                </a:cubicBezTo>
                <a:cubicBezTo>
                  <a:pt x="24" y="60"/>
                  <a:pt x="23" y="59"/>
                  <a:pt x="23" y="60"/>
                </a:cubicBezTo>
                <a:cubicBezTo>
                  <a:pt x="23" y="60"/>
                  <a:pt x="24" y="60"/>
                  <a:pt x="23" y="60"/>
                </a:cubicBezTo>
                <a:cubicBezTo>
                  <a:pt x="23" y="60"/>
                  <a:pt x="24" y="60"/>
                  <a:pt x="23" y="60"/>
                </a:cubicBezTo>
                <a:cubicBezTo>
                  <a:pt x="23" y="60"/>
                  <a:pt x="23" y="60"/>
                  <a:pt x="23" y="61"/>
                </a:cubicBezTo>
                <a:cubicBezTo>
                  <a:pt x="23" y="61"/>
                  <a:pt x="23" y="61"/>
                  <a:pt x="23" y="61"/>
                </a:cubicBezTo>
                <a:cubicBezTo>
                  <a:pt x="22" y="61"/>
                  <a:pt x="22" y="61"/>
                  <a:pt x="22" y="61"/>
                </a:cubicBezTo>
                <a:cubicBezTo>
                  <a:pt x="22" y="61"/>
                  <a:pt x="21" y="61"/>
                  <a:pt x="21" y="60"/>
                </a:cubicBezTo>
                <a:cubicBezTo>
                  <a:pt x="21" y="61"/>
                  <a:pt x="20" y="61"/>
                  <a:pt x="20" y="62"/>
                </a:cubicBezTo>
                <a:cubicBezTo>
                  <a:pt x="20" y="62"/>
                  <a:pt x="20" y="62"/>
                  <a:pt x="20" y="62"/>
                </a:cubicBezTo>
                <a:cubicBezTo>
                  <a:pt x="20" y="63"/>
                  <a:pt x="20" y="63"/>
                  <a:pt x="19" y="62"/>
                </a:cubicBezTo>
                <a:cubicBezTo>
                  <a:pt x="19" y="62"/>
                  <a:pt x="19" y="62"/>
                  <a:pt x="19" y="62"/>
                </a:cubicBezTo>
                <a:cubicBezTo>
                  <a:pt x="19" y="63"/>
                  <a:pt x="19" y="63"/>
                  <a:pt x="20" y="63"/>
                </a:cubicBezTo>
                <a:cubicBezTo>
                  <a:pt x="19" y="63"/>
                  <a:pt x="18" y="63"/>
                  <a:pt x="18" y="63"/>
                </a:cubicBezTo>
                <a:cubicBezTo>
                  <a:pt x="18" y="63"/>
                  <a:pt x="20" y="64"/>
                  <a:pt x="20" y="64"/>
                </a:cubicBezTo>
                <a:cubicBezTo>
                  <a:pt x="19" y="65"/>
                  <a:pt x="19" y="64"/>
                  <a:pt x="19" y="65"/>
                </a:cubicBezTo>
                <a:cubicBezTo>
                  <a:pt x="19" y="65"/>
                  <a:pt x="18" y="65"/>
                  <a:pt x="17" y="65"/>
                </a:cubicBezTo>
                <a:cubicBezTo>
                  <a:pt x="17" y="65"/>
                  <a:pt x="17" y="65"/>
                  <a:pt x="17" y="65"/>
                </a:cubicBezTo>
                <a:cubicBezTo>
                  <a:pt x="17" y="65"/>
                  <a:pt x="17" y="66"/>
                  <a:pt x="17" y="66"/>
                </a:cubicBezTo>
                <a:cubicBezTo>
                  <a:pt x="17" y="66"/>
                  <a:pt x="17" y="66"/>
                  <a:pt x="16" y="65"/>
                </a:cubicBezTo>
                <a:cubicBezTo>
                  <a:pt x="17" y="65"/>
                  <a:pt x="17" y="65"/>
                  <a:pt x="17" y="65"/>
                </a:cubicBezTo>
                <a:cubicBezTo>
                  <a:pt x="16" y="65"/>
                  <a:pt x="16" y="65"/>
                  <a:pt x="16" y="65"/>
                </a:cubicBezTo>
                <a:cubicBezTo>
                  <a:pt x="16" y="65"/>
                  <a:pt x="15" y="65"/>
                  <a:pt x="15" y="65"/>
                </a:cubicBezTo>
                <a:cubicBezTo>
                  <a:pt x="15" y="65"/>
                  <a:pt x="14" y="65"/>
                  <a:pt x="14" y="65"/>
                </a:cubicBezTo>
                <a:cubicBezTo>
                  <a:pt x="13" y="65"/>
                  <a:pt x="13" y="65"/>
                  <a:pt x="14" y="65"/>
                </a:cubicBezTo>
                <a:cubicBezTo>
                  <a:pt x="13" y="66"/>
                  <a:pt x="15" y="67"/>
                  <a:pt x="15" y="67"/>
                </a:cubicBezTo>
                <a:cubicBezTo>
                  <a:pt x="15" y="67"/>
                  <a:pt x="13" y="66"/>
                  <a:pt x="13" y="67"/>
                </a:cubicBezTo>
                <a:cubicBezTo>
                  <a:pt x="13" y="67"/>
                  <a:pt x="13" y="68"/>
                  <a:pt x="13" y="68"/>
                </a:cubicBezTo>
                <a:cubicBezTo>
                  <a:pt x="12" y="69"/>
                  <a:pt x="12" y="69"/>
                  <a:pt x="12" y="69"/>
                </a:cubicBezTo>
                <a:cubicBezTo>
                  <a:pt x="12" y="69"/>
                  <a:pt x="10" y="70"/>
                  <a:pt x="11" y="70"/>
                </a:cubicBezTo>
                <a:cubicBezTo>
                  <a:pt x="11" y="70"/>
                  <a:pt x="10" y="70"/>
                  <a:pt x="10" y="71"/>
                </a:cubicBezTo>
                <a:cubicBezTo>
                  <a:pt x="11" y="71"/>
                  <a:pt x="11" y="71"/>
                  <a:pt x="11" y="71"/>
                </a:cubicBezTo>
                <a:cubicBezTo>
                  <a:pt x="11" y="71"/>
                  <a:pt x="11" y="71"/>
                  <a:pt x="11" y="71"/>
                </a:cubicBezTo>
                <a:cubicBezTo>
                  <a:pt x="11" y="71"/>
                  <a:pt x="11" y="71"/>
                  <a:pt x="12" y="71"/>
                </a:cubicBezTo>
                <a:cubicBezTo>
                  <a:pt x="11" y="71"/>
                  <a:pt x="11" y="72"/>
                  <a:pt x="11" y="72"/>
                </a:cubicBezTo>
                <a:cubicBezTo>
                  <a:pt x="11" y="72"/>
                  <a:pt x="11" y="72"/>
                  <a:pt x="11" y="72"/>
                </a:cubicBezTo>
                <a:cubicBezTo>
                  <a:pt x="11" y="73"/>
                  <a:pt x="11" y="73"/>
                  <a:pt x="11" y="72"/>
                </a:cubicBezTo>
                <a:cubicBezTo>
                  <a:pt x="11" y="73"/>
                  <a:pt x="11" y="73"/>
                  <a:pt x="11" y="73"/>
                </a:cubicBezTo>
                <a:cubicBezTo>
                  <a:pt x="12" y="73"/>
                  <a:pt x="11" y="73"/>
                  <a:pt x="12" y="74"/>
                </a:cubicBezTo>
                <a:cubicBezTo>
                  <a:pt x="12" y="74"/>
                  <a:pt x="12" y="73"/>
                  <a:pt x="12" y="73"/>
                </a:cubicBezTo>
                <a:cubicBezTo>
                  <a:pt x="12" y="74"/>
                  <a:pt x="12" y="73"/>
                  <a:pt x="13" y="74"/>
                </a:cubicBezTo>
                <a:cubicBezTo>
                  <a:pt x="13" y="74"/>
                  <a:pt x="13" y="74"/>
                  <a:pt x="13" y="75"/>
                </a:cubicBezTo>
                <a:cubicBezTo>
                  <a:pt x="13" y="75"/>
                  <a:pt x="13" y="75"/>
                  <a:pt x="13" y="75"/>
                </a:cubicBezTo>
                <a:cubicBezTo>
                  <a:pt x="13" y="75"/>
                  <a:pt x="13" y="75"/>
                  <a:pt x="13" y="75"/>
                </a:cubicBezTo>
                <a:cubicBezTo>
                  <a:pt x="13" y="75"/>
                  <a:pt x="13" y="75"/>
                  <a:pt x="13" y="76"/>
                </a:cubicBezTo>
                <a:cubicBezTo>
                  <a:pt x="13" y="76"/>
                  <a:pt x="13" y="76"/>
                  <a:pt x="13" y="76"/>
                </a:cubicBezTo>
                <a:cubicBezTo>
                  <a:pt x="13" y="76"/>
                  <a:pt x="13" y="77"/>
                  <a:pt x="12" y="77"/>
                </a:cubicBezTo>
                <a:cubicBezTo>
                  <a:pt x="13" y="77"/>
                  <a:pt x="13" y="77"/>
                  <a:pt x="13" y="78"/>
                </a:cubicBezTo>
                <a:cubicBezTo>
                  <a:pt x="13" y="78"/>
                  <a:pt x="13" y="78"/>
                  <a:pt x="14" y="78"/>
                </a:cubicBezTo>
                <a:cubicBezTo>
                  <a:pt x="14" y="78"/>
                  <a:pt x="14" y="79"/>
                  <a:pt x="14" y="79"/>
                </a:cubicBezTo>
                <a:cubicBezTo>
                  <a:pt x="14" y="79"/>
                  <a:pt x="15" y="80"/>
                  <a:pt x="15" y="80"/>
                </a:cubicBezTo>
                <a:cubicBezTo>
                  <a:pt x="15" y="80"/>
                  <a:pt x="15" y="80"/>
                  <a:pt x="15" y="80"/>
                </a:cubicBezTo>
                <a:cubicBezTo>
                  <a:pt x="15" y="80"/>
                  <a:pt x="16" y="82"/>
                  <a:pt x="16" y="82"/>
                </a:cubicBezTo>
                <a:cubicBezTo>
                  <a:pt x="16" y="82"/>
                  <a:pt x="14" y="81"/>
                  <a:pt x="14" y="81"/>
                </a:cubicBezTo>
                <a:cubicBezTo>
                  <a:pt x="14" y="82"/>
                  <a:pt x="15" y="82"/>
                  <a:pt x="15" y="82"/>
                </a:cubicBezTo>
                <a:cubicBezTo>
                  <a:pt x="15" y="82"/>
                  <a:pt x="14" y="82"/>
                  <a:pt x="14" y="82"/>
                </a:cubicBezTo>
                <a:cubicBezTo>
                  <a:pt x="14" y="82"/>
                  <a:pt x="15" y="82"/>
                  <a:pt x="15" y="83"/>
                </a:cubicBezTo>
                <a:cubicBezTo>
                  <a:pt x="15" y="83"/>
                  <a:pt x="15" y="83"/>
                  <a:pt x="14" y="83"/>
                </a:cubicBezTo>
                <a:cubicBezTo>
                  <a:pt x="15" y="83"/>
                  <a:pt x="15" y="84"/>
                  <a:pt x="15" y="84"/>
                </a:cubicBezTo>
                <a:cubicBezTo>
                  <a:pt x="15" y="84"/>
                  <a:pt x="15" y="84"/>
                  <a:pt x="15" y="84"/>
                </a:cubicBezTo>
                <a:cubicBezTo>
                  <a:pt x="15" y="85"/>
                  <a:pt x="15" y="85"/>
                  <a:pt x="16" y="85"/>
                </a:cubicBezTo>
                <a:cubicBezTo>
                  <a:pt x="15" y="85"/>
                  <a:pt x="15" y="85"/>
                  <a:pt x="15" y="85"/>
                </a:cubicBezTo>
                <a:cubicBezTo>
                  <a:pt x="15" y="85"/>
                  <a:pt x="14" y="85"/>
                  <a:pt x="14" y="85"/>
                </a:cubicBezTo>
                <a:cubicBezTo>
                  <a:pt x="15" y="85"/>
                  <a:pt x="14" y="86"/>
                  <a:pt x="15" y="86"/>
                </a:cubicBezTo>
                <a:cubicBezTo>
                  <a:pt x="15" y="86"/>
                  <a:pt x="14" y="86"/>
                  <a:pt x="14" y="86"/>
                </a:cubicBezTo>
                <a:cubicBezTo>
                  <a:pt x="14" y="86"/>
                  <a:pt x="15" y="87"/>
                  <a:pt x="14" y="87"/>
                </a:cubicBezTo>
                <a:cubicBezTo>
                  <a:pt x="14" y="87"/>
                  <a:pt x="14" y="86"/>
                  <a:pt x="13" y="86"/>
                </a:cubicBezTo>
                <a:cubicBezTo>
                  <a:pt x="14" y="87"/>
                  <a:pt x="14" y="87"/>
                  <a:pt x="14" y="87"/>
                </a:cubicBezTo>
                <a:cubicBezTo>
                  <a:pt x="14" y="87"/>
                  <a:pt x="15" y="88"/>
                  <a:pt x="15" y="88"/>
                </a:cubicBezTo>
                <a:cubicBezTo>
                  <a:pt x="14" y="88"/>
                  <a:pt x="14" y="88"/>
                  <a:pt x="14" y="88"/>
                </a:cubicBezTo>
                <a:cubicBezTo>
                  <a:pt x="14" y="88"/>
                  <a:pt x="15" y="88"/>
                  <a:pt x="15" y="88"/>
                </a:cubicBezTo>
                <a:cubicBezTo>
                  <a:pt x="14" y="88"/>
                  <a:pt x="14" y="88"/>
                  <a:pt x="14" y="89"/>
                </a:cubicBezTo>
                <a:cubicBezTo>
                  <a:pt x="14" y="89"/>
                  <a:pt x="15" y="90"/>
                  <a:pt x="15" y="90"/>
                </a:cubicBezTo>
                <a:cubicBezTo>
                  <a:pt x="15" y="90"/>
                  <a:pt x="14" y="90"/>
                  <a:pt x="14" y="90"/>
                </a:cubicBezTo>
                <a:cubicBezTo>
                  <a:pt x="14" y="91"/>
                  <a:pt x="15" y="91"/>
                  <a:pt x="15" y="91"/>
                </a:cubicBezTo>
                <a:cubicBezTo>
                  <a:pt x="14" y="91"/>
                  <a:pt x="15" y="91"/>
                  <a:pt x="15" y="91"/>
                </a:cubicBezTo>
                <a:cubicBezTo>
                  <a:pt x="15" y="91"/>
                  <a:pt x="15" y="91"/>
                  <a:pt x="16" y="91"/>
                </a:cubicBezTo>
                <a:cubicBezTo>
                  <a:pt x="16" y="92"/>
                  <a:pt x="16" y="93"/>
                  <a:pt x="17" y="92"/>
                </a:cubicBezTo>
                <a:cubicBezTo>
                  <a:pt x="17" y="91"/>
                  <a:pt x="17" y="91"/>
                  <a:pt x="16" y="91"/>
                </a:cubicBezTo>
                <a:cubicBezTo>
                  <a:pt x="17" y="91"/>
                  <a:pt x="17" y="91"/>
                  <a:pt x="17" y="91"/>
                </a:cubicBezTo>
                <a:cubicBezTo>
                  <a:pt x="17" y="91"/>
                  <a:pt x="18" y="91"/>
                  <a:pt x="18" y="91"/>
                </a:cubicBezTo>
                <a:cubicBezTo>
                  <a:pt x="18" y="91"/>
                  <a:pt x="17" y="92"/>
                  <a:pt x="18" y="92"/>
                </a:cubicBezTo>
                <a:cubicBezTo>
                  <a:pt x="18" y="92"/>
                  <a:pt x="18" y="92"/>
                  <a:pt x="18" y="92"/>
                </a:cubicBezTo>
                <a:cubicBezTo>
                  <a:pt x="18" y="92"/>
                  <a:pt x="18" y="92"/>
                  <a:pt x="18" y="92"/>
                </a:cubicBezTo>
                <a:cubicBezTo>
                  <a:pt x="18" y="92"/>
                  <a:pt x="19" y="92"/>
                  <a:pt x="19" y="92"/>
                </a:cubicBezTo>
                <a:cubicBezTo>
                  <a:pt x="19" y="92"/>
                  <a:pt x="20" y="93"/>
                  <a:pt x="20" y="92"/>
                </a:cubicBezTo>
                <a:cubicBezTo>
                  <a:pt x="20" y="93"/>
                  <a:pt x="20" y="93"/>
                  <a:pt x="20" y="93"/>
                </a:cubicBezTo>
                <a:cubicBezTo>
                  <a:pt x="20" y="93"/>
                  <a:pt x="21" y="93"/>
                  <a:pt x="21" y="93"/>
                </a:cubicBezTo>
                <a:cubicBezTo>
                  <a:pt x="21" y="93"/>
                  <a:pt x="21" y="93"/>
                  <a:pt x="21" y="93"/>
                </a:cubicBezTo>
                <a:cubicBezTo>
                  <a:pt x="22" y="94"/>
                  <a:pt x="23" y="93"/>
                  <a:pt x="23" y="93"/>
                </a:cubicBezTo>
                <a:cubicBezTo>
                  <a:pt x="23" y="93"/>
                  <a:pt x="24" y="93"/>
                  <a:pt x="24" y="93"/>
                </a:cubicBezTo>
                <a:cubicBezTo>
                  <a:pt x="24" y="94"/>
                  <a:pt x="23" y="94"/>
                  <a:pt x="23" y="94"/>
                </a:cubicBezTo>
                <a:cubicBezTo>
                  <a:pt x="23" y="95"/>
                  <a:pt x="24" y="95"/>
                  <a:pt x="24" y="95"/>
                </a:cubicBezTo>
                <a:cubicBezTo>
                  <a:pt x="24" y="95"/>
                  <a:pt x="24" y="95"/>
                  <a:pt x="24" y="95"/>
                </a:cubicBezTo>
                <a:cubicBezTo>
                  <a:pt x="24" y="95"/>
                  <a:pt x="25" y="95"/>
                  <a:pt x="26" y="94"/>
                </a:cubicBezTo>
                <a:cubicBezTo>
                  <a:pt x="26" y="94"/>
                  <a:pt x="28" y="93"/>
                  <a:pt x="28" y="94"/>
                </a:cubicBezTo>
                <a:cubicBezTo>
                  <a:pt x="28" y="94"/>
                  <a:pt x="27" y="94"/>
                  <a:pt x="27" y="95"/>
                </a:cubicBezTo>
                <a:cubicBezTo>
                  <a:pt x="27" y="94"/>
                  <a:pt x="27" y="94"/>
                  <a:pt x="27" y="94"/>
                </a:cubicBezTo>
                <a:cubicBezTo>
                  <a:pt x="27" y="94"/>
                  <a:pt x="26" y="95"/>
                  <a:pt x="26" y="95"/>
                </a:cubicBezTo>
                <a:cubicBezTo>
                  <a:pt x="25" y="95"/>
                  <a:pt x="24" y="95"/>
                  <a:pt x="23" y="95"/>
                </a:cubicBezTo>
                <a:cubicBezTo>
                  <a:pt x="23" y="95"/>
                  <a:pt x="23" y="95"/>
                  <a:pt x="23" y="95"/>
                </a:cubicBezTo>
                <a:cubicBezTo>
                  <a:pt x="23" y="95"/>
                  <a:pt x="23" y="95"/>
                  <a:pt x="23" y="96"/>
                </a:cubicBezTo>
                <a:cubicBezTo>
                  <a:pt x="23" y="96"/>
                  <a:pt x="24" y="96"/>
                  <a:pt x="24" y="96"/>
                </a:cubicBezTo>
                <a:cubicBezTo>
                  <a:pt x="24" y="96"/>
                  <a:pt x="23" y="96"/>
                  <a:pt x="23" y="96"/>
                </a:cubicBezTo>
                <a:cubicBezTo>
                  <a:pt x="23" y="96"/>
                  <a:pt x="23" y="96"/>
                  <a:pt x="23" y="96"/>
                </a:cubicBezTo>
                <a:cubicBezTo>
                  <a:pt x="23" y="96"/>
                  <a:pt x="22" y="97"/>
                  <a:pt x="23" y="97"/>
                </a:cubicBezTo>
                <a:cubicBezTo>
                  <a:pt x="23" y="97"/>
                  <a:pt x="23" y="97"/>
                  <a:pt x="23" y="97"/>
                </a:cubicBezTo>
                <a:cubicBezTo>
                  <a:pt x="23" y="97"/>
                  <a:pt x="23" y="97"/>
                  <a:pt x="24" y="97"/>
                </a:cubicBezTo>
                <a:cubicBezTo>
                  <a:pt x="24" y="97"/>
                  <a:pt x="24" y="97"/>
                  <a:pt x="24" y="97"/>
                </a:cubicBezTo>
                <a:cubicBezTo>
                  <a:pt x="24" y="97"/>
                  <a:pt x="24" y="97"/>
                  <a:pt x="24" y="97"/>
                </a:cubicBezTo>
                <a:cubicBezTo>
                  <a:pt x="25" y="97"/>
                  <a:pt x="25" y="97"/>
                  <a:pt x="26" y="97"/>
                </a:cubicBezTo>
                <a:cubicBezTo>
                  <a:pt x="26" y="97"/>
                  <a:pt x="26" y="97"/>
                  <a:pt x="26" y="96"/>
                </a:cubicBezTo>
                <a:cubicBezTo>
                  <a:pt x="26" y="96"/>
                  <a:pt x="26" y="96"/>
                  <a:pt x="26" y="95"/>
                </a:cubicBezTo>
                <a:cubicBezTo>
                  <a:pt x="26" y="95"/>
                  <a:pt x="26" y="95"/>
                  <a:pt x="27" y="95"/>
                </a:cubicBezTo>
                <a:cubicBezTo>
                  <a:pt x="27" y="95"/>
                  <a:pt x="26" y="95"/>
                  <a:pt x="26" y="95"/>
                </a:cubicBezTo>
                <a:cubicBezTo>
                  <a:pt x="26" y="96"/>
                  <a:pt x="27" y="96"/>
                  <a:pt x="28" y="96"/>
                </a:cubicBezTo>
                <a:cubicBezTo>
                  <a:pt x="26" y="97"/>
                  <a:pt x="29" y="97"/>
                  <a:pt x="29" y="97"/>
                </a:cubicBezTo>
                <a:cubicBezTo>
                  <a:pt x="29" y="97"/>
                  <a:pt x="29" y="96"/>
                  <a:pt x="28" y="97"/>
                </a:cubicBezTo>
                <a:cubicBezTo>
                  <a:pt x="28" y="97"/>
                  <a:pt x="29" y="97"/>
                  <a:pt x="29" y="97"/>
                </a:cubicBezTo>
                <a:cubicBezTo>
                  <a:pt x="29" y="97"/>
                  <a:pt x="28" y="97"/>
                  <a:pt x="28" y="98"/>
                </a:cubicBezTo>
                <a:cubicBezTo>
                  <a:pt x="29" y="98"/>
                  <a:pt x="29" y="97"/>
                  <a:pt x="29" y="98"/>
                </a:cubicBezTo>
                <a:cubicBezTo>
                  <a:pt x="29" y="98"/>
                  <a:pt x="29" y="98"/>
                  <a:pt x="29" y="98"/>
                </a:cubicBezTo>
                <a:cubicBezTo>
                  <a:pt x="28" y="98"/>
                  <a:pt x="29" y="98"/>
                  <a:pt x="29" y="98"/>
                </a:cubicBezTo>
                <a:cubicBezTo>
                  <a:pt x="29" y="98"/>
                  <a:pt x="30" y="97"/>
                  <a:pt x="30" y="97"/>
                </a:cubicBezTo>
                <a:cubicBezTo>
                  <a:pt x="30" y="99"/>
                  <a:pt x="27" y="98"/>
                  <a:pt x="27" y="99"/>
                </a:cubicBezTo>
                <a:cubicBezTo>
                  <a:pt x="27" y="99"/>
                  <a:pt x="28" y="99"/>
                  <a:pt x="29" y="99"/>
                </a:cubicBezTo>
                <a:cubicBezTo>
                  <a:pt x="29" y="99"/>
                  <a:pt x="30" y="98"/>
                  <a:pt x="30" y="98"/>
                </a:cubicBezTo>
                <a:cubicBezTo>
                  <a:pt x="31" y="97"/>
                  <a:pt x="31" y="96"/>
                  <a:pt x="32" y="96"/>
                </a:cubicBezTo>
                <a:cubicBezTo>
                  <a:pt x="32" y="97"/>
                  <a:pt x="31" y="97"/>
                  <a:pt x="31" y="97"/>
                </a:cubicBezTo>
                <a:cubicBezTo>
                  <a:pt x="31" y="97"/>
                  <a:pt x="31" y="97"/>
                  <a:pt x="32" y="97"/>
                </a:cubicBezTo>
                <a:cubicBezTo>
                  <a:pt x="31" y="98"/>
                  <a:pt x="31" y="98"/>
                  <a:pt x="30" y="98"/>
                </a:cubicBezTo>
                <a:cubicBezTo>
                  <a:pt x="31" y="98"/>
                  <a:pt x="31" y="98"/>
                  <a:pt x="32" y="98"/>
                </a:cubicBezTo>
                <a:cubicBezTo>
                  <a:pt x="32" y="98"/>
                  <a:pt x="33" y="98"/>
                  <a:pt x="33" y="98"/>
                </a:cubicBezTo>
                <a:cubicBezTo>
                  <a:pt x="33" y="98"/>
                  <a:pt x="33" y="98"/>
                  <a:pt x="32" y="98"/>
                </a:cubicBezTo>
                <a:cubicBezTo>
                  <a:pt x="33" y="97"/>
                  <a:pt x="34" y="97"/>
                  <a:pt x="33" y="98"/>
                </a:cubicBezTo>
                <a:cubicBezTo>
                  <a:pt x="34" y="97"/>
                  <a:pt x="34" y="97"/>
                  <a:pt x="35" y="97"/>
                </a:cubicBezTo>
                <a:cubicBezTo>
                  <a:pt x="34" y="97"/>
                  <a:pt x="35" y="97"/>
                  <a:pt x="35" y="97"/>
                </a:cubicBezTo>
                <a:cubicBezTo>
                  <a:pt x="35" y="97"/>
                  <a:pt x="35" y="97"/>
                  <a:pt x="35" y="97"/>
                </a:cubicBezTo>
                <a:cubicBezTo>
                  <a:pt x="35" y="97"/>
                  <a:pt x="38" y="96"/>
                  <a:pt x="38" y="96"/>
                </a:cubicBezTo>
                <a:cubicBezTo>
                  <a:pt x="38" y="97"/>
                  <a:pt x="37" y="97"/>
                  <a:pt x="38" y="97"/>
                </a:cubicBezTo>
                <a:cubicBezTo>
                  <a:pt x="38" y="97"/>
                  <a:pt x="38" y="97"/>
                  <a:pt x="38" y="97"/>
                </a:cubicBezTo>
                <a:cubicBezTo>
                  <a:pt x="38" y="97"/>
                  <a:pt x="38" y="97"/>
                  <a:pt x="39" y="97"/>
                </a:cubicBezTo>
                <a:cubicBezTo>
                  <a:pt x="39" y="97"/>
                  <a:pt x="38" y="97"/>
                  <a:pt x="38" y="97"/>
                </a:cubicBezTo>
                <a:cubicBezTo>
                  <a:pt x="39" y="97"/>
                  <a:pt x="39" y="97"/>
                  <a:pt x="39" y="97"/>
                </a:cubicBezTo>
                <a:cubicBezTo>
                  <a:pt x="39" y="97"/>
                  <a:pt x="40" y="96"/>
                  <a:pt x="40" y="96"/>
                </a:cubicBezTo>
                <a:cubicBezTo>
                  <a:pt x="40" y="96"/>
                  <a:pt x="40" y="96"/>
                  <a:pt x="39" y="96"/>
                </a:cubicBezTo>
                <a:cubicBezTo>
                  <a:pt x="40" y="96"/>
                  <a:pt x="39" y="96"/>
                  <a:pt x="39" y="96"/>
                </a:cubicBezTo>
                <a:cubicBezTo>
                  <a:pt x="39" y="96"/>
                  <a:pt x="41" y="96"/>
                  <a:pt x="40" y="96"/>
                </a:cubicBezTo>
                <a:cubicBezTo>
                  <a:pt x="41" y="96"/>
                  <a:pt x="41" y="96"/>
                  <a:pt x="41" y="95"/>
                </a:cubicBezTo>
                <a:cubicBezTo>
                  <a:pt x="41" y="95"/>
                  <a:pt x="42" y="96"/>
                  <a:pt x="42" y="96"/>
                </a:cubicBezTo>
                <a:cubicBezTo>
                  <a:pt x="42" y="95"/>
                  <a:pt x="43" y="95"/>
                  <a:pt x="43" y="95"/>
                </a:cubicBezTo>
                <a:cubicBezTo>
                  <a:pt x="43" y="95"/>
                  <a:pt x="43" y="95"/>
                  <a:pt x="43" y="95"/>
                </a:cubicBezTo>
                <a:cubicBezTo>
                  <a:pt x="43" y="95"/>
                  <a:pt x="43" y="95"/>
                  <a:pt x="43" y="95"/>
                </a:cubicBezTo>
                <a:cubicBezTo>
                  <a:pt x="43" y="96"/>
                  <a:pt x="44" y="95"/>
                  <a:pt x="44" y="95"/>
                </a:cubicBezTo>
                <a:cubicBezTo>
                  <a:pt x="44" y="95"/>
                  <a:pt x="45" y="95"/>
                  <a:pt x="45" y="94"/>
                </a:cubicBezTo>
                <a:cubicBezTo>
                  <a:pt x="46" y="95"/>
                  <a:pt x="46" y="95"/>
                  <a:pt x="46" y="95"/>
                </a:cubicBezTo>
                <a:cubicBezTo>
                  <a:pt x="47" y="94"/>
                  <a:pt x="47" y="94"/>
                  <a:pt x="47" y="94"/>
                </a:cubicBezTo>
                <a:cubicBezTo>
                  <a:pt x="47" y="94"/>
                  <a:pt x="48" y="93"/>
                  <a:pt x="48" y="94"/>
                </a:cubicBezTo>
                <a:cubicBezTo>
                  <a:pt x="48" y="94"/>
                  <a:pt x="48" y="94"/>
                  <a:pt x="48" y="94"/>
                </a:cubicBezTo>
                <a:cubicBezTo>
                  <a:pt x="48" y="94"/>
                  <a:pt x="47" y="94"/>
                  <a:pt x="48" y="94"/>
                </a:cubicBezTo>
                <a:cubicBezTo>
                  <a:pt x="48" y="94"/>
                  <a:pt x="48" y="94"/>
                  <a:pt x="48" y="94"/>
                </a:cubicBezTo>
                <a:cubicBezTo>
                  <a:pt x="48" y="95"/>
                  <a:pt x="49" y="95"/>
                  <a:pt x="49" y="94"/>
                </a:cubicBezTo>
                <a:cubicBezTo>
                  <a:pt x="49" y="94"/>
                  <a:pt x="48" y="94"/>
                  <a:pt x="48" y="94"/>
                </a:cubicBezTo>
                <a:cubicBezTo>
                  <a:pt x="48" y="94"/>
                  <a:pt x="50" y="95"/>
                  <a:pt x="50" y="95"/>
                </a:cubicBezTo>
                <a:cubicBezTo>
                  <a:pt x="49" y="94"/>
                  <a:pt x="49" y="94"/>
                  <a:pt x="49" y="93"/>
                </a:cubicBezTo>
                <a:cubicBezTo>
                  <a:pt x="49" y="93"/>
                  <a:pt x="50" y="93"/>
                  <a:pt x="50" y="93"/>
                </a:cubicBezTo>
                <a:cubicBezTo>
                  <a:pt x="50" y="93"/>
                  <a:pt x="50" y="94"/>
                  <a:pt x="51" y="94"/>
                </a:cubicBezTo>
                <a:cubicBezTo>
                  <a:pt x="51" y="94"/>
                  <a:pt x="51" y="94"/>
                  <a:pt x="51" y="94"/>
                </a:cubicBezTo>
                <a:cubicBezTo>
                  <a:pt x="51" y="94"/>
                  <a:pt x="50" y="93"/>
                  <a:pt x="50" y="93"/>
                </a:cubicBezTo>
                <a:cubicBezTo>
                  <a:pt x="50" y="93"/>
                  <a:pt x="50" y="93"/>
                  <a:pt x="50" y="92"/>
                </a:cubicBezTo>
                <a:cubicBezTo>
                  <a:pt x="50" y="92"/>
                  <a:pt x="51" y="93"/>
                  <a:pt x="51" y="93"/>
                </a:cubicBezTo>
                <a:cubicBezTo>
                  <a:pt x="51" y="93"/>
                  <a:pt x="52" y="93"/>
                  <a:pt x="52" y="93"/>
                </a:cubicBezTo>
                <a:cubicBezTo>
                  <a:pt x="52" y="93"/>
                  <a:pt x="52" y="93"/>
                  <a:pt x="53" y="93"/>
                </a:cubicBezTo>
                <a:cubicBezTo>
                  <a:pt x="53" y="93"/>
                  <a:pt x="53" y="93"/>
                  <a:pt x="53" y="93"/>
                </a:cubicBezTo>
                <a:cubicBezTo>
                  <a:pt x="54" y="93"/>
                  <a:pt x="53" y="92"/>
                  <a:pt x="54" y="92"/>
                </a:cubicBezTo>
                <a:cubicBezTo>
                  <a:pt x="54" y="92"/>
                  <a:pt x="54" y="93"/>
                  <a:pt x="55" y="93"/>
                </a:cubicBezTo>
                <a:cubicBezTo>
                  <a:pt x="54" y="92"/>
                  <a:pt x="55" y="93"/>
                  <a:pt x="55" y="93"/>
                </a:cubicBezTo>
                <a:cubicBezTo>
                  <a:pt x="56" y="93"/>
                  <a:pt x="56" y="92"/>
                  <a:pt x="56" y="92"/>
                </a:cubicBezTo>
                <a:cubicBezTo>
                  <a:pt x="56" y="93"/>
                  <a:pt x="57" y="93"/>
                  <a:pt x="57" y="92"/>
                </a:cubicBezTo>
                <a:cubicBezTo>
                  <a:pt x="57" y="92"/>
                  <a:pt x="58" y="92"/>
                  <a:pt x="58" y="92"/>
                </a:cubicBezTo>
                <a:cubicBezTo>
                  <a:pt x="58" y="92"/>
                  <a:pt x="58" y="92"/>
                  <a:pt x="58" y="92"/>
                </a:cubicBezTo>
                <a:cubicBezTo>
                  <a:pt x="58" y="91"/>
                  <a:pt x="59" y="92"/>
                  <a:pt x="59" y="92"/>
                </a:cubicBezTo>
                <a:cubicBezTo>
                  <a:pt x="59" y="91"/>
                  <a:pt x="60" y="92"/>
                  <a:pt x="60" y="92"/>
                </a:cubicBezTo>
                <a:cubicBezTo>
                  <a:pt x="60" y="92"/>
                  <a:pt x="59" y="92"/>
                  <a:pt x="59" y="92"/>
                </a:cubicBezTo>
                <a:cubicBezTo>
                  <a:pt x="60" y="92"/>
                  <a:pt x="60" y="92"/>
                  <a:pt x="61" y="92"/>
                </a:cubicBezTo>
                <a:cubicBezTo>
                  <a:pt x="61" y="92"/>
                  <a:pt x="61" y="93"/>
                  <a:pt x="62" y="93"/>
                </a:cubicBezTo>
                <a:cubicBezTo>
                  <a:pt x="62" y="92"/>
                  <a:pt x="61" y="92"/>
                  <a:pt x="61" y="92"/>
                </a:cubicBezTo>
                <a:cubicBezTo>
                  <a:pt x="62" y="92"/>
                  <a:pt x="62" y="92"/>
                  <a:pt x="62" y="92"/>
                </a:cubicBezTo>
                <a:cubicBezTo>
                  <a:pt x="62" y="92"/>
                  <a:pt x="63" y="92"/>
                  <a:pt x="63" y="92"/>
                </a:cubicBezTo>
                <a:cubicBezTo>
                  <a:pt x="63" y="92"/>
                  <a:pt x="62" y="92"/>
                  <a:pt x="63" y="92"/>
                </a:cubicBezTo>
                <a:cubicBezTo>
                  <a:pt x="63" y="92"/>
                  <a:pt x="64" y="92"/>
                  <a:pt x="63" y="92"/>
                </a:cubicBezTo>
                <a:cubicBezTo>
                  <a:pt x="63" y="92"/>
                  <a:pt x="63" y="92"/>
                  <a:pt x="63" y="92"/>
                </a:cubicBezTo>
                <a:cubicBezTo>
                  <a:pt x="64" y="91"/>
                  <a:pt x="64" y="92"/>
                  <a:pt x="64" y="92"/>
                </a:cubicBezTo>
                <a:cubicBezTo>
                  <a:pt x="65" y="91"/>
                  <a:pt x="66" y="90"/>
                  <a:pt x="67" y="89"/>
                </a:cubicBezTo>
                <a:cubicBezTo>
                  <a:pt x="67" y="89"/>
                  <a:pt x="68" y="88"/>
                  <a:pt x="68" y="88"/>
                </a:cubicBezTo>
                <a:cubicBezTo>
                  <a:pt x="69" y="88"/>
                  <a:pt x="69" y="88"/>
                  <a:pt x="70" y="87"/>
                </a:cubicBezTo>
                <a:cubicBezTo>
                  <a:pt x="70" y="87"/>
                  <a:pt x="70" y="87"/>
                  <a:pt x="71" y="86"/>
                </a:cubicBezTo>
                <a:cubicBezTo>
                  <a:pt x="71" y="86"/>
                  <a:pt x="72" y="86"/>
                  <a:pt x="72" y="85"/>
                </a:cubicBezTo>
                <a:cubicBezTo>
                  <a:pt x="73" y="85"/>
                  <a:pt x="74" y="84"/>
                  <a:pt x="75" y="83"/>
                </a:cubicBezTo>
                <a:cubicBezTo>
                  <a:pt x="76" y="83"/>
                  <a:pt x="76" y="82"/>
                  <a:pt x="76" y="82"/>
                </a:cubicBezTo>
                <a:cubicBezTo>
                  <a:pt x="77" y="82"/>
                  <a:pt x="77" y="81"/>
                  <a:pt x="78" y="81"/>
                </a:cubicBezTo>
                <a:cubicBezTo>
                  <a:pt x="78" y="80"/>
                  <a:pt x="78" y="80"/>
                  <a:pt x="79" y="80"/>
                </a:cubicBezTo>
                <a:cubicBezTo>
                  <a:pt x="79" y="80"/>
                  <a:pt x="80" y="79"/>
                  <a:pt x="80" y="78"/>
                </a:cubicBezTo>
                <a:cubicBezTo>
                  <a:pt x="81" y="78"/>
                  <a:pt x="82" y="77"/>
                  <a:pt x="82" y="76"/>
                </a:cubicBezTo>
                <a:cubicBezTo>
                  <a:pt x="83" y="76"/>
                  <a:pt x="83" y="76"/>
                  <a:pt x="83" y="75"/>
                </a:cubicBezTo>
                <a:cubicBezTo>
                  <a:pt x="84" y="75"/>
                  <a:pt x="85" y="75"/>
                  <a:pt x="85" y="74"/>
                </a:cubicBezTo>
                <a:cubicBezTo>
                  <a:pt x="86" y="74"/>
                  <a:pt x="86" y="73"/>
                  <a:pt x="87" y="73"/>
                </a:cubicBezTo>
                <a:cubicBezTo>
                  <a:pt x="88" y="72"/>
                  <a:pt x="88" y="70"/>
                  <a:pt x="89" y="69"/>
                </a:cubicBezTo>
                <a:cubicBezTo>
                  <a:pt x="90" y="68"/>
                  <a:pt x="88" y="67"/>
                  <a:pt x="87" y="66"/>
                </a:cubicBezTo>
                <a:close/>
                <a:moveTo>
                  <a:pt x="39" y="46"/>
                </a:moveTo>
                <a:cubicBezTo>
                  <a:pt x="39" y="45"/>
                  <a:pt x="39" y="45"/>
                  <a:pt x="39" y="46"/>
                </a:cubicBezTo>
                <a:close/>
                <a:moveTo>
                  <a:pt x="19" y="96"/>
                </a:moveTo>
                <a:cubicBezTo>
                  <a:pt x="19" y="96"/>
                  <a:pt x="20" y="96"/>
                  <a:pt x="20" y="95"/>
                </a:cubicBezTo>
                <a:cubicBezTo>
                  <a:pt x="20" y="95"/>
                  <a:pt x="20" y="95"/>
                  <a:pt x="20" y="95"/>
                </a:cubicBezTo>
                <a:cubicBezTo>
                  <a:pt x="20" y="95"/>
                  <a:pt x="19" y="95"/>
                  <a:pt x="19" y="96"/>
                </a:cubicBezTo>
                <a:close/>
                <a:moveTo>
                  <a:pt x="0" y="95"/>
                </a:moveTo>
                <a:cubicBezTo>
                  <a:pt x="1" y="96"/>
                  <a:pt x="1" y="96"/>
                  <a:pt x="1" y="95"/>
                </a:cubicBezTo>
                <a:cubicBezTo>
                  <a:pt x="1" y="95"/>
                  <a:pt x="2" y="96"/>
                  <a:pt x="1" y="95"/>
                </a:cubicBezTo>
                <a:cubicBezTo>
                  <a:pt x="1" y="95"/>
                  <a:pt x="1" y="94"/>
                  <a:pt x="1" y="94"/>
                </a:cubicBezTo>
                <a:cubicBezTo>
                  <a:pt x="1" y="95"/>
                  <a:pt x="0" y="95"/>
                  <a:pt x="0" y="95"/>
                </a:cubicBezTo>
                <a:close/>
                <a:moveTo>
                  <a:pt x="5" y="96"/>
                </a:moveTo>
                <a:cubicBezTo>
                  <a:pt x="5" y="96"/>
                  <a:pt x="5" y="96"/>
                  <a:pt x="4" y="96"/>
                </a:cubicBezTo>
                <a:cubicBezTo>
                  <a:pt x="4" y="96"/>
                  <a:pt x="4" y="96"/>
                  <a:pt x="4" y="97"/>
                </a:cubicBezTo>
                <a:cubicBezTo>
                  <a:pt x="5" y="97"/>
                  <a:pt x="5" y="97"/>
                  <a:pt x="5" y="97"/>
                </a:cubicBezTo>
                <a:cubicBezTo>
                  <a:pt x="6" y="97"/>
                  <a:pt x="6" y="97"/>
                  <a:pt x="6" y="98"/>
                </a:cubicBezTo>
                <a:cubicBezTo>
                  <a:pt x="6" y="97"/>
                  <a:pt x="6" y="97"/>
                  <a:pt x="6" y="96"/>
                </a:cubicBezTo>
                <a:cubicBezTo>
                  <a:pt x="5" y="96"/>
                  <a:pt x="5" y="96"/>
                  <a:pt x="5" y="96"/>
                </a:cubicBezTo>
                <a:close/>
                <a:moveTo>
                  <a:pt x="20" y="94"/>
                </a:moveTo>
                <a:cubicBezTo>
                  <a:pt x="20" y="95"/>
                  <a:pt x="21" y="95"/>
                  <a:pt x="21" y="94"/>
                </a:cubicBezTo>
                <a:cubicBezTo>
                  <a:pt x="21" y="94"/>
                  <a:pt x="21" y="94"/>
                  <a:pt x="21" y="95"/>
                </a:cubicBezTo>
                <a:cubicBezTo>
                  <a:pt x="21" y="94"/>
                  <a:pt x="22" y="95"/>
                  <a:pt x="22" y="94"/>
                </a:cubicBezTo>
                <a:cubicBezTo>
                  <a:pt x="22" y="94"/>
                  <a:pt x="20" y="94"/>
                  <a:pt x="20" y="9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59" name="Fiji"/>
          <p:cNvSpPr>
            <a:spLocks noEditPoints="1"/>
          </p:cNvSpPr>
          <p:nvPr/>
        </p:nvSpPr>
        <p:spPr bwMode="auto">
          <a:xfrm>
            <a:off x="11701861" y="5632902"/>
            <a:ext cx="93997" cy="64998"/>
          </a:xfrm>
          <a:custGeom>
            <a:avLst/>
            <a:gdLst/>
            <a:ahLst/>
            <a:cxnLst>
              <a:cxn ang="0">
                <a:pos x="14" y="2"/>
              </a:cxn>
              <a:cxn ang="0">
                <a:pos x="11" y="1"/>
              </a:cxn>
              <a:cxn ang="0">
                <a:pos x="9" y="0"/>
              </a:cxn>
              <a:cxn ang="0">
                <a:pos x="7" y="2"/>
              </a:cxn>
              <a:cxn ang="0">
                <a:pos x="6" y="4"/>
              </a:cxn>
              <a:cxn ang="0">
                <a:pos x="9" y="5"/>
              </a:cxn>
              <a:cxn ang="0">
                <a:pos x="10" y="7"/>
              </a:cxn>
              <a:cxn ang="0">
                <a:pos x="13" y="6"/>
              </a:cxn>
              <a:cxn ang="0">
                <a:pos x="15" y="6"/>
              </a:cxn>
              <a:cxn ang="0">
                <a:pos x="18" y="7"/>
              </a:cxn>
              <a:cxn ang="0">
                <a:pos x="18" y="9"/>
              </a:cxn>
              <a:cxn ang="0">
                <a:pos x="18" y="9"/>
              </a:cxn>
              <a:cxn ang="0">
                <a:pos x="18" y="11"/>
              </a:cxn>
              <a:cxn ang="0">
                <a:pos x="18" y="12"/>
              </a:cxn>
              <a:cxn ang="0">
                <a:pos x="18" y="12"/>
              </a:cxn>
              <a:cxn ang="0">
                <a:pos x="18" y="13"/>
              </a:cxn>
              <a:cxn ang="0">
                <a:pos x="19" y="13"/>
              </a:cxn>
              <a:cxn ang="0">
                <a:pos x="20" y="15"/>
              </a:cxn>
              <a:cxn ang="0">
                <a:pos x="21" y="14"/>
              </a:cxn>
              <a:cxn ang="0">
                <a:pos x="21" y="14"/>
              </a:cxn>
              <a:cxn ang="0">
                <a:pos x="20" y="12"/>
              </a:cxn>
              <a:cxn ang="0">
                <a:pos x="19" y="10"/>
              </a:cxn>
              <a:cxn ang="0">
                <a:pos x="20" y="11"/>
              </a:cxn>
              <a:cxn ang="0">
                <a:pos x="20" y="9"/>
              </a:cxn>
              <a:cxn ang="0">
                <a:pos x="20" y="7"/>
              </a:cxn>
              <a:cxn ang="0">
                <a:pos x="20" y="5"/>
              </a:cxn>
              <a:cxn ang="0">
                <a:pos x="19" y="5"/>
              </a:cxn>
              <a:cxn ang="0">
                <a:pos x="18" y="5"/>
              </a:cxn>
              <a:cxn ang="0">
                <a:pos x="18" y="4"/>
              </a:cxn>
              <a:cxn ang="0">
                <a:pos x="17" y="2"/>
              </a:cxn>
              <a:cxn ang="0">
                <a:pos x="15" y="1"/>
              </a:cxn>
              <a:cxn ang="0">
                <a:pos x="25" y="6"/>
              </a:cxn>
              <a:cxn ang="0">
                <a:pos x="25" y="5"/>
              </a:cxn>
              <a:cxn ang="0">
                <a:pos x="25" y="6"/>
              </a:cxn>
              <a:cxn ang="0">
                <a:pos x="18" y="14"/>
              </a:cxn>
              <a:cxn ang="0">
                <a:pos x="19" y="14"/>
              </a:cxn>
              <a:cxn ang="0">
                <a:pos x="22" y="13"/>
              </a:cxn>
              <a:cxn ang="0">
                <a:pos x="23" y="15"/>
              </a:cxn>
              <a:cxn ang="0">
                <a:pos x="23" y="15"/>
              </a:cxn>
              <a:cxn ang="0">
                <a:pos x="26" y="6"/>
              </a:cxn>
              <a:cxn ang="0">
                <a:pos x="26" y="6"/>
              </a:cxn>
              <a:cxn ang="0">
                <a:pos x="23" y="11"/>
              </a:cxn>
              <a:cxn ang="0">
                <a:pos x="24" y="8"/>
              </a:cxn>
              <a:cxn ang="0">
                <a:pos x="21" y="5"/>
              </a:cxn>
              <a:cxn ang="0">
                <a:pos x="21" y="8"/>
              </a:cxn>
              <a:cxn ang="0">
                <a:pos x="1" y="1"/>
              </a:cxn>
              <a:cxn ang="0">
                <a:pos x="16" y="7"/>
              </a:cxn>
              <a:cxn ang="0">
                <a:pos x="17" y="8"/>
              </a:cxn>
              <a:cxn ang="0">
                <a:pos x="21" y="14"/>
              </a:cxn>
              <a:cxn ang="0">
                <a:pos x="0" y="1"/>
              </a:cxn>
              <a:cxn ang="0">
                <a:pos x="21" y="12"/>
              </a:cxn>
              <a:cxn ang="0">
                <a:pos x="4" y="1"/>
              </a:cxn>
              <a:cxn ang="0">
                <a:pos x="24" y="17"/>
              </a:cxn>
              <a:cxn ang="0">
                <a:pos x="21" y="9"/>
              </a:cxn>
              <a:cxn ang="0">
                <a:pos x="24" y="10"/>
              </a:cxn>
            </a:cxnLst>
            <a:rect l="0" t="0" r="r" b="b"/>
            <a:pathLst>
              <a:path w="26" h="18">
                <a:moveTo>
                  <a:pt x="14" y="1"/>
                </a:moveTo>
                <a:cubicBezTo>
                  <a:pt x="14" y="1"/>
                  <a:pt x="14" y="0"/>
                  <a:pt x="13" y="1"/>
                </a:cubicBezTo>
                <a:cubicBezTo>
                  <a:pt x="13" y="1"/>
                  <a:pt x="14" y="1"/>
                  <a:pt x="14" y="1"/>
                </a:cubicBezTo>
                <a:cubicBezTo>
                  <a:pt x="14" y="1"/>
                  <a:pt x="14" y="1"/>
                  <a:pt x="14" y="2"/>
                </a:cubicBezTo>
                <a:cubicBezTo>
                  <a:pt x="14" y="2"/>
                  <a:pt x="14" y="2"/>
                  <a:pt x="14" y="2"/>
                </a:cubicBezTo>
                <a:cubicBezTo>
                  <a:pt x="14" y="2"/>
                  <a:pt x="14" y="2"/>
                  <a:pt x="14" y="2"/>
                </a:cubicBezTo>
                <a:cubicBezTo>
                  <a:pt x="14" y="2"/>
                  <a:pt x="14" y="2"/>
                  <a:pt x="14" y="2"/>
                </a:cubicBezTo>
                <a:cubicBezTo>
                  <a:pt x="14" y="2"/>
                  <a:pt x="14" y="2"/>
                  <a:pt x="13" y="2"/>
                </a:cubicBezTo>
                <a:cubicBezTo>
                  <a:pt x="13" y="2"/>
                  <a:pt x="13" y="2"/>
                  <a:pt x="13" y="2"/>
                </a:cubicBezTo>
                <a:cubicBezTo>
                  <a:pt x="13" y="2"/>
                  <a:pt x="13" y="2"/>
                  <a:pt x="13" y="2"/>
                </a:cubicBezTo>
                <a:cubicBezTo>
                  <a:pt x="13" y="2"/>
                  <a:pt x="13" y="2"/>
                  <a:pt x="12" y="2"/>
                </a:cubicBezTo>
                <a:cubicBezTo>
                  <a:pt x="13" y="2"/>
                  <a:pt x="12" y="2"/>
                  <a:pt x="12" y="2"/>
                </a:cubicBezTo>
                <a:cubicBezTo>
                  <a:pt x="12" y="1"/>
                  <a:pt x="12" y="1"/>
                  <a:pt x="12" y="2"/>
                </a:cubicBezTo>
                <a:cubicBezTo>
                  <a:pt x="11" y="2"/>
                  <a:pt x="11" y="1"/>
                  <a:pt x="11" y="1"/>
                </a:cubicBezTo>
                <a:cubicBezTo>
                  <a:pt x="11" y="1"/>
                  <a:pt x="11" y="1"/>
                  <a:pt x="11" y="1"/>
                </a:cubicBezTo>
                <a:cubicBezTo>
                  <a:pt x="10" y="1"/>
                  <a:pt x="10" y="1"/>
                  <a:pt x="10" y="1"/>
                </a:cubicBezTo>
                <a:cubicBezTo>
                  <a:pt x="10" y="1"/>
                  <a:pt x="10" y="1"/>
                  <a:pt x="10" y="1"/>
                </a:cubicBezTo>
                <a:cubicBezTo>
                  <a:pt x="10" y="1"/>
                  <a:pt x="10" y="1"/>
                  <a:pt x="10" y="1"/>
                </a:cubicBezTo>
                <a:cubicBezTo>
                  <a:pt x="10" y="1"/>
                  <a:pt x="9" y="1"/>
                  <a:pt x="9" y="1"/>
                </a:cubicBezTo>
                <a:cubicBezTo>
                  <a:pt x="9" y="1"/>
                  <a:pt x="9" y="1"/>
                  <a:pt x="9" y="1"/>
                </a:cubicBezTo>
                <a:cubicBezTo>
                  <a:pt x="9" y="1"/>
                  <a:pt x="9" y="0"/>
                  <a:pt x="9" y="0"/>
                </a:cubicBezTo>
                <a:cubicBezTo>
                  <a:pt x="9" y="1"/>
                  <a:pt x="9" y="0"/>
                  <a:pt x="8" y="0"/>
                </a:cubicBezTo>
                <a:cubicBezTo>
                  <a:pt x="8" y="0"/>
                  <a:pt x="8" y="0"/>
                  <a:pt x="7" y="0"/>
                </a:cubicBezTo>
                <a:cubicBezTo>
                  <a:pt x="7" y="0"/>
                  <a:pt x="7" y="0"/>
                  <a:pt x="7" y="0"/>
                </a:cubicBezTo>
                <a:cubicBezTo>
                  <a:pt x="7" y="0"/>
                  <a:pt x="7" y="0"/>
                  <a:pt x="7" y="1"/>
                </a:cubicBezTo>
                <a:cubicBezTo>
                  <a:pt x="7" y="1"/>
                  <a:pt x="6" y="0"/>
                  <a:pt x="7" y="1"/>
                </a:cubicBezTo>
                <a:cubicBezTo>
                  <a:pt x="7" y="1"/>
                  <a:pt x="7" y="1"/>
                  <a:pt x="7" y="1"/>
                </a:cubicBezTo>
                <a:cubicBezTo>
                  <a:pt x="7" y="1"/>
                  <a:pt x="6" y="1"/>
                  <a:pt x="7" y="2"/>
                </a:cubicBezTo>
                <a:cubicBezTo>
                  <a:pt x="7" y="2"/>
                  <a:pt x="7" y="2"/>
                  <a:pt x="7" y="3"/>
                </a:cubicBezTo>
                <a:cubicBezTo>
                  <a:pt x="7" y="3"/>
                  <a:pt x="7" y="3"/>
                  <a:pt x="7" y="3"/>
                </a:cubicBezTo>
                <a:cubicBezTo>
                  <a:pt x="7" y="3"/>
                  <a:pt x="7" y="3"/>
                  <a:pt x="8" y="3"/>
                </a:cubicBezTo>
                <a:cubicBezTo>
                  <a:pt x="7" y="3"/>
                  <a:pt x="7" y="3"/>
                  <a:pt x="7" y="3"/>
                </a:cubicBezTo>
                <a:cubicBezTo>
                  <a:pt x="7" y="3"/>
                  <a:pt x="7" y="3"/>
                  <a:pt x="7" y="3"/>
                </a:cubicBezTo>
                <a:cubicBezTo>
                  <a:pt x="7" y="3"/>
                  <a:pt x="7" y="4"/>
                  <a:pt x="7" y="4"/>
                </a:cubicBezTo>
                <a:cubicBezTo>
                  <a:pt x="7" y="4"/>
                  <a:pt x="7" y="4"/>
                  <a:pt x="6" y="4"/>
                </a:cubicBezTo>
                <a:cubicBezTo>
                  <a:pt x="6" y="4"/>
                  <a:pt x="6" y="4"/>
                  <a:pt x="6" y="4"/>
                </a:cubicBezTo>
                <a:cubicBezTo>
                  <a:pt x="6" y="4"/>
                  <a:pt x="6" y="4"/>
                  <a:pt x="6" y="4"/>
                </a:cubicBezTo>
                <a:cubicBezTo>
                  <a:pt x="7" y="5"/>
                  <a:pt x="7" y="5"/>
                  <a:pt x="7" y="5"/>
                </a:cubicBezTo>
                <a:cubicBezTo>
                  <a:pt x="7" y="5"/>
                  <a:pt x="7" y="5"/>
                  <a:pt x="7" y="5"/>
                </a:cubicBezTo>
                <a:cubicBezTo>
                  <a:pt x="7" y="5"/>
                  <a:pt x="8" y="5"/>
                  <a:pt x="8" y="5"/>
                </a:cubicBezTo>
                <a:cubicBezTo>
                  <a:pt x="8" y="5"/>
                  <a:pt x="8" y="5"/>
                  <a:pt x="8" y="5"/>
                </a:cubicBezTo>
                <a:cubicBezTo>
                  <a:pt x="9" y="5"/>
                  <a:pt x="9" y="5"/>
                  <a:pt x="9" y="5"/>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10" y="6"/>
                  <a:pt x="10" y="6"/>
                  <a:pt x="10" y="6"/>
                </a:cubicBezTo>
                <a:cubicBezTo>
                  <a:pt x="10" y="7"/>
                  <a:pt x="10" y="7"/>
                  <a:pt x="10" y="7"/>
                </a:cubicBezTo>
                <a:cubicBezTo>
                  <a:pt x="11" y="7"/>
                  <a:pt x="11" y="7"/>
                  <a:pt x="11" y="7"/>
                </a:cubicBezTo>
                <a:cubicBezTo>
                  <a:pt x="11" y="7"/>
                  <a:pt x="12" y="7"/>
                  <a:pt x="12" y="7"/>
                </a:cubicBezTo>
                <a:cubicBezTo>
                  <a:pt x="12" y="7"/>
                  <a:pt x="12" y="6"/>
                  <a:pt x="12" y="6"/>
                </a:cubicBezTo>
                <a:cubicBezTo>
                  <a:pt x="12" y="6"/>
                  <a:pt x="12" y="7"/>
                  <a:pt x="12" y="7"/>
                </a:cubicBezTo>
                <a:cubicBezTo>
                  <a:pt x="12" y="7"/>
                  <a:pt x="12" y="7"/>
                  <a:pt x="12" y="7"/>
                </a:cubicBezTo>
                <a:cubicBezTo>
                  <a:pt x="12" y="7"/>
                  <a:pt x="13" y="7"/>
                  <a:pt x="13" y="7"/>
                </a:cubicBezTo>
                <a:cubicBezTo>
                  <a:pt x="13" y="6"/>
                  <a:pt x="13" y="7"/>
                  <a:pt x="13" y="6"/>
                </a:cubicBezTo>
                <a:cubicBezTo>
                  <a:pt x="13" y="6"/>
                  <a:pt x="12" y="7"/>
                  <a:pt x="12" y="6"/>
                </a:cubicBezTo>
                <a:cubicBezTo>
                  <a:pt x="12" y="6"/>
                  <a:pt x="13" y="6"/>
                  <a:pt x="13" y="6"/>
                </a:cubicBezTo>
                <a:cubicBezTo>
                  <a:pt x="13" y="6"/>
                  <a:pt x="13" y="6"/>
                  <a:pt x="13" y="6"/>
                </a:cubicBezTo>
                <a:cubicBezTo>
                  <a:pt x="13" y="6"/>
                  <a:pt x="13" y="6"/>
                  <a:pt x="14" y="6"/>
                </a:cubicBezTo>
                <a:cubicBezTo>
                  <a:pt x="14" y="6"/>
                  <a:pt x="14" y="5"/>
                  <a:pt x="14" y="5"/>
                </a:cubicBezTo>
                <a:cubicBezTo>
                  <a:pt x="14" y="6"/>
                  <a:pt x="14" y="6"/>
                  <a:pt x="14" y="6"/>
                </a:cubicBezTo>
                <a:cubicBezTo>
                  <a:pt x="14" y="6"/>
                  <a:pt x="15" y="6"/>
                  <a:pt x="15" y="6"/>
                </a:cubicBezTo>
                <a:cubicBezTo>
                  <a:pt x="15" y="6"/>
                  <a:pt x="15" y="6"/>
                  <a:pt x="15" y="6"/>
                </a:cubicBezTo>
                <a:cubicBezTo>
                  <a:pt x="15" y="5"/>
                  <a:pt x="16" y="6"/>
                  <a:pt x="16" y="6"/>
                </a:cubicBezTo>
                <a:cubicBezTo>
                  <a:pt x="16" y="6"/>
                  <a:pt x="16" y="6"/>
                  <a:pt x="16" y="7"/>
                </a:cubicBezTo>
                <a:cubicBezTo>
                  <a:pt x="16" y="7"/>
                  <a:pt x="17" y="7"/>
                  <a:pt x="17" y="7"/>
                </a:cubicBezTo>
                <a:cubicBezTo>
                  <a:pt x="17" y="7"/>
                  <a:pt x="17" y="7"/>
                  <a:pt x="17" y="7"/>
                </a:cubicBezTo>
                <a:cubicBezTo>
                  <a:pt x="17" y="7"/>
                  <a:pt x="17" y="7"/>
                  <a:pt x="17" y="7"/>
                </a:cubicBezTo>
                <a:cubicBezTo>
                  <a:pt x="17" y="7"/>
                  <a:pt x="18" y="7"/>
                  <a:pt x="18" y="7"/>
                </a:cubicBezTo>
                <a:cubicBezTo>
                  <a:pt x="18" y="7"/>
                  <a:pt x="18" y="8"/>
                  <a:pt x="18" y="8"/>
                </a:cubicBezTo>
                <a:cubicBezTo>
                  <a:pt x="18" y="8"/>
                  <a:pt x="19" y="8"/>
                  <a:pt x="19" y="8"/>
                </a:cubicBezTo>
                <a:cubicBezTo>
                  <a:pt x="19" y="9"/>
                  <a:pt x="19" y="9"/>
                  <a:pt x="19" y="9"/>
                </a:cubicBezTo>
                <a:cubicBezTo>
                  <a:pt x="19" y="9"/>
                  <a:pt x="19" y="9"/>
                  <a:pt x="19" y="9"/>
                </a:cubicBezTo>
                <a:cubicBezTo>
                  <a:pt x="19" y="9"/>
                  <a:pt x="19" y="9"/>
                  <a:pt x="19" y="9"/>
                </a:cubicBezTo>
                <a:cubicBezTo>
                  <a:pt x="19" y="9"/>
                  <a:pt x="19" y="9"/>
                  <a:pt x="18" y="9"/>
                </a:cubicBezTo>
                <a:cubicBezTo>
                  <a:pt x="19"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7" y="9"/>
                  <a:pt x="17" y="10"/>
                </a:cubicBezTo>
                <a:cubicBezTo>
                  <a:pt x="17" y="9"/>
                  <a:pt x="18" y="10"/>
                  <a:pt x="17" y="10"/>
                </a:cubicBezTo>
                <a:cubicBezTo>
                  <a:pt x="18" y="10"/>
                  <a:pt x="17" y="10"/>
                  <a:pt x="17" y="10"/>
                </a:cubicBezTo>
                <a:cubicBezTo>
                  <a:pt x="17" y="10"/>
                  <a:pt x="17" y="10"/>
                  <a:pt x="17" y="10"/>
                </a:cubicBezTo>
                <a:cubicBezTo>
                  <a:pt x="17" y="10"/>
                  <a:pt x="18" y="11"/>
                  <a:pt x="18" y="11"/>
                </a:cubicBezTo>
                <a:cubicBezTo>
                  <a:pt x="18" y="11"/>
                  <a:pt x="18" y="11"/>
                  <a:pt x="18" y="11"/>
                </a:cubicBezTo>
                <a:cubicBezTo>
                  <a:pt x="18" y="11"/>
                  <a:pt x="18" y="11"/>
                  <a:pt x="18" y="11"/>
                </a:cubicBezTo>
                <a:cubicBezTo>
                  <a:pt x="18" y="11"/>
                  <a:pt x="18" y="11"/>
                  <a:pt x="18" y="11"/>
                </a:cubicBezTo>
                <a:cubicBezTo>
                  <a:pt x="18" y="11"/>
                  <a:pt x="18" y="11"/>
                  <a:pt x="18" y="11"/>
                </a:cubicBezTo>
                <a:cubicBezTo>
                  <a:pt x="18" y="11"/>
                  <a:pt x="19" y="11"/>
                  <a:pt x="19" y="11"/>
                </a:cubicBezTo>
                <a:cubicBezTo>
                  <a:pt x="19" y="12"/>
                  <a:pt x="19" y="12"/>
                  <a:pt x="19" y="12"/>
                </a:cubicBezTo>
                <a:cubicBezTo>
                  <a:pt x="19" y="12"/>
                  <a:pt x="19" y="12"/>
                  <a:pt x="19" y="12"/>
                </a:cubicBezTo>
                <a:cubicBezTo>
                  <a:pt x="19" y="12"/>
                  <a:pt x="19" y="12"/>
                  <a:pt x="19"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2"/>
                  <a:pt x="18" y="12"/>
                </a:cubicBezTo>
                <a:cubicBezTo>
                  <a:pt x="18" y="12"/>
                  <a:pt x="18" y="13"/>
                  <a:pt x="18" y="13"/>
                </a:cubicBezTo>
                <a:cubicBezTo>
                  <a:pt x="18" y="13"/>
                  <a:pt x="18" y="13"/>
                  <a:pt x="18" y="13"/>
                </a:cubicBezTo>
                <a:cubicBezTo>
                  <a:pt x="18" y="13"/>
                  <a:pt x="18" y="13"/>
                  <a:pt x="18" y="13"/>
                </a:cubicBezTo>
                <a:cubicBezTo>
                  <a:pt x="18" y="13"/>
                  <a:pt x="18" y="14"/>
                  <a:pt x="18" y="14"/>
                </a:cubicBezTo>
                <a:cubicBezTo>
                  <a:pt x="18" y="14"/>
                  <a:pt x="18" y="14"/>
                  <a:pt x="18" y="14"/>
                </a:cubicBezTo>
                <a:cubicBezTo>
                  <a:pt x="18" y="14"/>
                  <a:pt x="18" y="14"/>
                  <a:pt x="18" y="14"/>
                </a:cubicBezTo>
                <a:cubicBezTo>
                  <a:pt x="18" y="13"/>
                  <a:pt x="18" y="13"/>
                  <a:pt x="18" y="13"/>
                </a:cubicBezTo>
                <a:cubicBezTo>
                  <a:pt x="18" y="13"/>
                  <a:pt x="18" y="13"/>
                  <a:pt x="19" y="13"/>
                </a:cubicBezTo>
                <a:cubicBezTo>
                  <a:pt x="19" y="13"/>
                  <a:pt x="19" y="13"/>
                  <a:pt x="19" y="13"/>
                </a:cubicBezTo>
                <a:cubicBezTo>
                  <a:pt x="19" y="13"/>
                  <a:pt x="20" y="14"/>
                  <a:pt x="20" y="14"/>
                </a:cubicBezTo>
                <a:cubicBezTo>
                  <a:pt x="20" y="14"/>
                  <a:pt x="20" y="14"/>
                  <a:pt x="20" y="14"/>
                </a:cubicBezTo>
                <a:cubicBezTo>
                  <a:pt x="20" y="14"/>
                  <a:pt x="20" y="14"/>
                  <a:pt x="20" y="14"/>
                </a:cubicBezTo>
                <a:cubicBezTo>
                  <a:pt x="20" y="14"/>
                  <a:pt x="20" y="14"/>
                  <a:pt x="20" y="14"/>
                </a:cubicBezTo>
                <a:cubicBezTo>
                  <a:pt x="20" y="14"/>
                  <a:pt x="20" y="14"/>
                  <a:pt x="20" y="14"/>
                </a:cubicBezTo>
                <a:cubicBezTo>
                  <a:pt x="20" y="14"/>
                  <a:pt x="20" y="14"/>
                  <a:pt x="20" y="14"/>
                </a:cubicBezTo>
                <a:cubicBezTo>
                  <a:pt x="20" y="15"/>
                  <a:pt x="20" y="15"/>
                  <a:pt x="20" y="15"/>
                </a:cubicBezTo>
                <a:cubicBezTo>
                  <a:pt x="20" y="15"/>
                  <a:pt x="20" y="15"/>
                  <a:pt x="20" y="15"/>
                </a:cubicBezTo>
                <a:cubicBezTo>
                  <a:pt x="20" y="15"/>
                  <a:pt x="20" y="15"/>
                  <a:pt x="20" y="15"/>
                </a:cubicBezTo>
                <a:cubicBezTo>
                  <a:pt x="20" y="15"/>
                  <a:pt x="20" y="15"/>
                  <a:pt x="20" y="15"/>
                </a:cubicBezTo>
                <a:cubicBezTo>
                  <a:pt x="21" y="15"/>
                  <a:pt x="21" y="15"/>
                  <a:pt x="21" y="15"/>
                </a:cubicBezTo>
                <a:cubicBezTo>
                  <a:pt x="21" y="15"/>
                  <a:pt x="21" y="15"/>
                  <a:pt x="21" y="15"/>
                </a:cubicBezTo>
                <a:cubicBezTo>
                  <a:pt x="22" y="15"/>
                  <a:pt x="21" y="15"/>
                  <a:pt x="21" y="14"/>
                </a:cubicBezTo>
                <a:cubicBezTo>
                  <a:pt x="21" y="14"/>
                  <a:pt x="21" y="14"/>
                  <a:pt x="21" y="14"/>
                </a:cubicBezTo>
                <a:cubicBezTo>
                  <a:pt x="21" y="14"/>
                  <a:pt x="21" y="14"/>
                  <a:pt x="21" y="14"/>
                </a:cubicBezTo>
                <a:cubicBezTo>
                  <a:pt x="21" y="15"/>
                  <a:pt x="21" y="15"/>
                  <a:pt x="20" y="15"/>
                </a:cubicBezTo>
                <a:cubicBezTo>
                  <a:pt x="20" y="15"/>
                  <a:pt x="20" y="14"/>
                  <a:pt x="20" y="14"/>
                </a:cubicBezTo>
                <a:cubicBezTo>
                  <a:pt x="20" y="14"/>
                  <a:pt x="20" y="14"/>
                  <a:pt x="21" y="14"/>
                </a:cubicBezTo>
                <a:cubicBezTo>
                  <a:pt x="21" y="14"/>
                  <a:pt x="21" y="14"/>
                  <a:pt x="21" y="14"/>
                </a:cubicBezTo>
                <a:cubicBezTo>
                  <a:pt x="21" y="14"/>
                  <a:pt x="21" y="14"/>
                  <a:pt x="21" y="14"/>
                </a:cubicBezTo>
                <a:cubicBezTo>
                  <a:pt x="21" y="14"/>
                  <a:pt x="21" y="14"/>
                  <a:pt x="21" y="14"/>
                </a:cubicBezTo>
                <a:cubicBezTo>
                  <a:pt x="21" y="14"/>
                  <a:pt x="21" y="14"/>
                  <a:pt x="21" y="14"/>
                </a:cubicBezTo>
                <a:cubicBezTo>
                  <a:pt x="21" y="14"/>
                  <a:pt x="21" y="14"/>
                  <a:pt x="21" y="14"/>
                </a:cubicBezTo>
                <a:cubicBezTo>
                  <a:pt x="21" y="14"/>
                  <a:pt x="21" y="14"/>
                  <a:pt x="21" y="14"/>
                </a:cubicBezTo>
                <a:cubicBezTo>
                  <a:pt x="21" y="14"/>
                  <a:pt x="20" y="13"/>
                  <a:pt x="21" y="13"/>
                </a:cubicBezTo>
                <a:cubicBezTo>
                  <a:pt x="21" y="13"/>
                  <a:pt x="21" y="13"/>
                  <a:pt x="21" y="13"/>
                </a:cubicBezTo>
                <a:cubicBezTo>
                  <a:pt x="20" y="13"/>
                  <a:pt x="20" y="13"/>
                  <a:pt x="20" y="13"/>
                </a:cubicBezTo>
                <a:cubicBezTo>
                  <a:pt x="20" y="13"/>
                  <a:pt x="20" y="12"/>
                  <a:pt x="20" y="12"/>
                </a:cubicBezTo>
                <a:cubicBezTo>
                  <a:pt x="20" y="12"/>
                  <a:pt x="20" y="12"/>
                  <a:pt x="20" y="12"/>
                </a:cubicBezTo>
                <a:cubicBezTo>
                  <a:pt x="19" y="12"/>
                  <a:pt x="19" y="12"/>
                  <a:pt x="19" y="11"/>
                </a:cubicBezTo>
                <a:cubicBezTo>
                  <a:pt x="19" y="11"/>
                  <a:pt x="19" y="11"/>
                  <a:pt x="19" y="11"/>
                </a:cubicBezTo>
                <a:cubicBezTo>
                  <a:pt x="19" y="11"/>
                  <a:pt x="19" y="11"/>
                  <a:pt x="19" y="11"/>
                </a:cubicBezTo>
                <a:cubicBezTo>
                  <a:pt x="19" y="11"/>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19" y="10"/>
                  <a:pt x="19" y="10"/>
                </a:cubicBezTo>
                <a:cubicBezTo>
                  <a:pt x="19" y="10"/>
                  <a:pt x="20" y="11"/>
                  <a:pt x="20" y="11"/>
                </a:cubicBezTo>
                <a:cubicBezTo>
                  <a:pt x="20" y="11"/>
                  <a:pt x="20" y="10"/>
                  <a:pt x="20" y="10"/>
                </a:cubicBezTo>
                <a:cubicBezTo>
                  <a:pt x="20" y="10"/>
                  <a:pt x="20" y="11"/>
                  <a:pt x="20" y="11"/>
                </a:cubicBezTo>
                <a:cubicBezTo>
                  <a:pt x="20" y="11"/>
                  <a:pt x="20" y="11"/>
                  <a:pt x="20" y="11"/>
                </a:cubicBezTo>
                <a:cubicBezTo>
                  <a:pt x="20" y="11"/>
                  <a:pt x="20" y="11"/>
                  <a:pt x="21" y="11"/>
                </a:cubicBezTo>
                <a:cubicBezTo>
                  <a:pt x="21" y="11"/>
                  <a:pt x="20" y="11"/>
                  <a:pt x="20" y="10"/>
                </a:cubicBezTo>
                <a:cubicBezTo>
                  <a:pt x="20" y="10"/>
                  <a:pt x="20" y="10"/>
                  <a:pt x="20" y="10"/>
                </a:cubicBezTo>
                <a:cubicBezTo>
                  <a:pt x="20" y="10"/>
                  <a:pt x="20" y="10"/>
                  <a:pt x="20" y="10"/>
                </a:cubicBezTo>
                <a:cubicBezTo>
                  <a:pt x="20" y="10"/>
                  <a:pt x="20" y="10"/>
                  <a:pt x="20" y="10"/>
                </a:cubicBezTo>
                <a:cubicBezTo>
                  <a:pt x="20" y="10"/>
                  <a:pt x="20" y="9"/>
                  <a:pt x="20" y="9"/>
                </a:cubicBezTo>
                <a:cubicBezTo>
                  <a:pt x="19" y="9"/>
                  <a:pt x="19" y="9"/>
                  <a:pt x="19" y="9"/>
                </a:cubicBezTo>
                <a:cubicBezTo>
                  <a:pt x="19" y="9"/>
                  <a:pt x="19" y="9"/>
                  <a:pt x="19" y="9"/>
                </a:cubicBezTo>
                <a:cubicBezTo>
                  <a:pt x="19" y="8"/>
                  <a:pt x="19" y="8"/>
                  <a:pt x="19" y="8"/>
                </a:cubicBezTo>
                <a:cubicBezTo>
                  <a:pt x="19" y="8"/>
                  <a:pt x="19" y="8"/>
                  <a:pt x="19" y="8"/>
                </a:cubicBezTo>
                <a:cubicBezTo>
                  <a:pt x="19" y="7"/>
                  <a:pt x="20" y="7"/>
                  <a:pt x="20" y="8"/>
                </a:cubicBezTo>
                <a:cubicBezTo>
                  <a:pt x="20" y="8"/>
                  <a:pt x="20" y="7"/>
                  <a:pt x="20" y="7"/>
                </a:cubicBezTo>
                <a:cubicBezTo>
                  <a:pt x="20" y="7"/>
                  <a:pt x="20" y="7"/>
                  <a:pt x="20" y="7"/>
                </a:cubicBezTo>
                <a:cubicBezTo>
                  <a:pt x="20" y="7"/>
                  <a:pt x="20" y="7"/>
                  <a:pt x="20" y="7"/>
                </a:cubicBezTo>
                <a:cubicBezTo>
                  <a:pt x="20" y="7"/>
                  <a:pt x="20" y="7"/>
                  <a:pt x="20" y="7"/>
                </a:cubicBezTo>
                <a:cubicBezTo>
                  <a:pt x="20" y="6"/>
                  <a:pt x="20" y="7"/>
                  <a:pt x="20" y="6"/>
                </a:cubicBezTo>
                <a:cubicBezTo>
                  <a:pt x="20" y="6"/>
                  <a:pt x="20" y="6"/>
                  <a:pt x="20" y="6"/>
                </a:cubicBezTo>
                <a:cubicBezTo>
                  <a:pt x="20" y="6"/>
                  <a:pt x="20" y="6"/>
                  <a:pt x="20" y="6"/>
                </a:cubicBezTo>
                <a:cubicBezTo>
                  <a:pt x="20" y="6"/>
                  <a:pt x="20" y="6"/>
                  <a:pt x="20" y="5"/>
                </a:cubicBezTo>
                <a:cubicBezTo>
                  <a:pt x="20" y="5"/>
                  <a:pt x="20" y="6"/>
                  <a:pt x="20" y="5"/>
                </a:cubicBezTo>
                <a:cubicBezTo>
                  <a:pt x="20" y="5"/>
                  <a:pt x="20" y="6"/>
                  <a:pt x="20" y="5"/>
                </a:cubicBezTo>
                <a:cubicBezTo>
                  <a:pt x="20" y="5"/>
                  <a:pt x="20" y="5"/>
                  <a:pt x="20" y="5"/>
                </a:cubicBezTo>
                <a:cubicBezTo>
                  <a:pt x="20" y="5"/>
                  <a:pt x="20" y="5"/>
                  <a:pt x="20" y="5"/>
                </a:cubicBezTo>
                <a:cubicBezTo>
                  <a:pt x="20"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9" y="5"/>
                  <a:pt x="19" y="5"/>
                </a:cubicBezTo>
                <a:cubicBezTo>
                  <a:pt x="19" y="5"/>
                  <a:pt x="18" y="5"/>
                  <a:pt x="18" y="5"/>
                </a:cubicBezTo>
                <a:cubicBezTo>
                  <a:pt x="18" y="5"/>
                  <a:pt x="18" y="5"/>
                  <a:pt x="18" y="5"/>
                </a:cubicBezTo>
                <a:cubicBezTo>
                  <a:pt x="18" y="5"/>
                  <a:pt x="18" y="5"/>
                  <a:pt x="18" y="5"/>
                </a:cubicBezTo>
                <a:cubicBezTo>
                  <a:pt x="18" y="5"/>
                  <a:pt x="18" y="5"/>
                  <a:pt x="18" y="5"/>
                </a:cubicBezTo>
                <a:cubicBezTo>
                  <a:pt x="18" y="6"/>
                  <a:pt x="18" y="6"/>
                  <a:pt x="18" y="5"/>
                </a:cubicBezTo>
                <a:cubicBezTo>
                  <a:pt x="18" y="5"/>
                  <a:pt x="17" y="5"/>
                  <a:pt x="17" y="5"/>
                </a:cubicBezTo>
                <a:cubicBezTo>
                  <a:pt x="17" y="5"/>
                  <a:pt x="17" y="5"/>
                  <a:pt x="17" y="5"/>
                </a:cubicBezTo>
                <a:cubicBezTo>
                  <a:pt x="17" y="4"/>
                  <a:pt x="17" y="4"/>
                  <a:pt x="17" y="4"/>
                </a:cubicBezTo>
                <a:cubicBezTo>
                  <a:pt x="17" y="4"/>
                  <a:pt x="18" y="4"/>
                  <a:pt x="18" y="4"/>
                </a:cubicBezTo>
                <a:cubicBezTo>
                  <a:pt x="18" y="4"/>
                  <a:pt x="18" y="5"/>
                  <a:pt x="18" y="5"/>
                </a:cubicBezTo>
                <a:cubicBezTo>
                  <a:pt x="18" y="4"/>
                  <a:pt x="18" y="4"/>
                  <a:pt x="18" y="4"/>
                </a:cubicBezTo>
                <a:cubicBezTo>
                  <a:pt x="18" y="4"/>
                  <a:pt x="18" y="4"/>
                  <a:pt x="18" y="4"/>
                </a:cubicBezTo>
                <a:cubicBezTo>
                  <a:pt x="18" y="4"/>
                  <a:pt x="18" y="4"/>
                  <a:pt x="18" y="4"/>
                </a:cubicBezTo>
                <a:cubicBezTo>
                  <a:pt x="18" y="4"/>
                  <a:pt x="18" y="3"/>
                  <a:pt x="17" y="3"/>
                </a:cubicBezTo>
                <a:cubicBezTo>
                  <a:pt x="17" y="3"/>
                  <a:pt x="17" y="3"/>
                  <a:pt x="18" y="3"/>
                </a:cubicBezTo>
                <a:cubicBezTo>
                  <a:pt x="18" y="3"/>
                  <a:pt x="18" y="3"/>
                  <a:pt x="18" y="3"/>
                </a:cubicBezTo>
                <a:cubicBezTo>
                  <a:pt x="18" y="3"/>
                  <a:pt x="18" y="3"/>
                  <a:pt x="18" y="3"/>
                </a:cubicBezTo>
                <a:cubicBezTo>
                  <a:pt x="18" y="3"/>
                  <a:pt x="18" y="3"/>
                  <a:pt x="18" y="3"/>
                </a:cubicBezTo>
                <a:cubicBezTo>
                  <a:pt x="17" y="3"/>
                  <a:pt x="17" y="3"/>
                  <a:pt x="17" y="2"/>
                </a:cubicBezTo>
                <a:cubicBezTo>
                  <a:pt x="16" y="2"/>
                  <a:pt x="16" y="2"/>
                  <a:pt x="16" y="2"/>
                </a:cubicBezTo>
                <a:cubicBezTo>
                  <a:pt x="16" y="2"/>
                  <a:pt x="16" y="2"/>
                  <a:pt x="16" y="2"/>
                </a:cubicBezTo>
                <a:cubicBezTo>
                  <a:pt x="16" y="2"/>
                  <a:pt x="16" y="2"/>
                  <a:pt x="16" y="2"/>
                </a:cubicBezTo>
                <a:cubicBezTo>
                  <a:pt x="16" y="2"/>
                  <a:pt x="16" y="2"/>
                  <a:pt x="16" y="2"/>
                </a:cubicBezTo>
                <a:cubicBezTo>
                  <a:pt x="15" y="2"/>
                  <a:pt x="15" y="2"/>
                  <a:pt x="15" y="2"/>
                </a:cubicBezTo>
                <a:cubicBezTo>
                  <a:pt x="15" y="2"/>
                  <a:pt x="15" y="1"/>
                  <a:pt x="15" y="1"/>
                </a:cubicBezTo>
                <a:cubicBezTo>
                  <a:pt x="15" y="2"/>
                  <a:pt x="15" y="1"/>
                  <a:pt x="15" y="1"/>
                </a:cubicBezTo>
                <a:cubicBezTo>
                  <a:pt x="14" y="1"/>
                  <a:pt x="15" y="1"/>
                  <a:pt x="15" y="1"/>
                </a:cubicBezTo>
                <a:cubicBezTo>
                  <a:pt x="15" y="1"/>
                  <a:pt x="14" y="1"/>
                  <a:pt x="14" y="1"/>
                </a:cubicBezTo>
                <a:close/>
                <a:moveTo>
                  <a:pt x="25" y="6"/>
                </a:move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6" y="6"/>
                  <a:pt x="25" y="5"/>
                  <a:pt x="25" y="5"/>
                </a:cubicBezTo>
                <a:cubicBezTo>
                  <a:pt x="25" y="5"/>
                  <a:pt x="25" y="5"/>
                  <a:pt x="25" y="5"/>
                </a:cubicBezTo>
                <a:cubicBezTo>
                  <a:pt x="25" y="5"/>
                  <a:pt x="25" y="5"/>
                  <a:pt x="25" y="5"/>
                </a:cubicBezTo>
                <a:cubicBezTo>
                  <a:pt x="25" y="5"/>
                  <a:pt x="24" y="5"/>
                  <a:pt x="25" y="5"/>
                </a:cubicBezTo>
                <a:cubicBezTo>
                  <a:pt x="25" y="5"/>
                  <a:pt x="25" y="5"/>
                  <a:pt x="25" y="5"/>
                </a:cubicBezTo>
                <a:cubicBezTo>
                  <a:pt x="25" y="5"/>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ubicBezTo>
                  <a:pt x="25" y="6"/>
                  <a:pt x="25" y="6"/>
                  <a:pt x="25" y="6"/>
                </a:cubicBezTo>
                <a:close/>
                <a:moveTo>
                  <a:pt x="19" y="14"/>
                </a:moveTo>
                <a:cubicBezTo>
                  <a:pt x="19" y="14"/>
                  <a:pt x="19" y="14"/>
                  <a:pt x="18" y="14"/>
                </a:cubicBezTo>
                <a:cubicBezTo>
                  <a:pt x="18" y="14"/>
                  <a:pt x="18" y="14"/>
                  <a:pt x="18" y="14"/>
                </a:cubicBezTo>
                <a:cubicBezTo>
                  <a:pt x="18" y="14"/>
                  <a:pt x="18" y="14"/>
                  <a:pt x="18" y="14"/>
                </a:cubicBezTo>
                <a:cubicBezTo>
                  <a:pt x="18" y="14"/>
                  <a:pt x="17" y="14"/>
                  <a:pt x="17" y="14"/>
                </a:cubicBezTo>
                <a:cubicBezTo>
                  <a:pt x="17" y="14"/>
                  <a:pt x="17" y="14"/>
                  <a:pt x="17" y="14"/>
                </a:cubicBezTo>
                <a:cubicBezTo>
                  <a:pt x="17" y="14"/>
                  <a:pt x="18" y="14"/>
                  <a:pt x="18" y="14"/>
                </a:cubicBezTo>
                <a:cubicBezTo>
                  <a:pt x="17" y="14"/>
                  <a:pt x="18" y="15"/>
                  <a:pt x="18" y="15"/>
                </a:cubicBezTo>
                <a:cubicBezTo>
                  <a:pt x="18" y="15"/>
                  <a:pt x="18" y="15"/>
                  <a:pt x="18" y="15"/>
                </a:cubicBezTo>
                <a:cubicBezTo>
                  <a:pt x="18" y="15"/>
                  <a:pt x="18" y="15"/>
                  <a:pt x="18" y="15"/>
                </a:cubicBezTo>
                <a:cubicBezTo>
                  <a:pt x="18" y="15"/>
                  <a:pt x="18" y="15"/>
                  <a:pt x="18" y="15"/>
                </a:cubicBezTo>
                <a:cubicBezTo>
                  <a:pt x="18" y="15"/>
                  <a:pt x="18" y="15"/>
                  <a:pt x="19" y="15"/>
                </a:cubicBezTo>
                <a:cubicBezTo>
                  <a:pt x="18" y="15"/>
                  <a:pt x="18" y="14"/>
                  <a:pt x="19" y="15"/>
                </a:cubicBezTo>
                <a:cubicBezTo>
                  <a:pt x="19" y="14"/>
                  <a:pt x="19" y="14"/>
                  <a:pt x="19" y="14"/>
                </a:cubicBezTo>
                <a:close/>
                <a:moveTo>
                  <a:pt x="24" y="13"/>
                </a:moveTo>
                <a:cubicBezTo>
                  <a:pt x="24" y="13"/>
                  <a:pt x="23" y="13"/>
                  <a:pt x="23" y="13"/>
                </a:cubicBezTo>
                <a:cubicBezTo>
                  <a:pt x="23" y="13"/>
                  <a:pt x="23" y="14"/>
                  <a:pt x="23" y="14"/>
                </a:cubicBezTo>
                <a:cubicBezTo>
                  <a:pt x="23" y="14"/>
                  <a:pt x="23" y="13"/>
                  <a:pt x="23" y="13"/>
                </a:cubicBezTo>
                <a:cubicBezTo>
                  <a:pt x="23" y="13"/>
                  <a:pt x="22" y="13"/>
                  <a:pt x="22" y="13"/>
                </a:cubicBezTo>
                <a:cubicBezTo>
                  <a:pt x="22" y="13"/>
                  <a:pt x="22" y="13"/>
                  <a:pt x="22" y="13"/>
                </a:cubicBezTo>
                <a:cubicBezTo>
                  <a:pt x="22" y="13"/>
                  <a:pt x="22" y="13"/>
                  <a:pt x="22" y="13"/>
                </a:cubicBezTo>
                <a:cubicBezTo>
                  <a:pt x="22" y="13"/>
                  <a:pt x="22" y="13"/>
                  <a:pt x="22" y="13"/>
                </a:cubicBezTo>
                <a:cubicBezTo>
                  <a:pt x="22" y="13"/>
                  <a:pt x="22" y="13"/>
                  <a:pt x="22" y="13"/>
                </a:cubicBezTo>
                <a:cubicBezTo>
                  <a:pt x="22" y="13"/>
                  <a:pt x="22" y="14"/>
                  <a:pt x="22" y="14"/>
                </a:cubicBezTo>
                <a:cubicBezTo>
                  <a:pt x="22" y="14"/>
                  <a:pt x="22" y="14"/>
                  <a:pt x="22" y="14"/>
                </a:cubicBezTo>
                <a:cubicBezTo>
                  <a:pt x="22" y="14"/>
                  <a:pt x="23" y="15"/>
                  <a:pt x="23" y="15"/>
                </a:cubicBezTo>
                <a:cubicBezTo>
                  <a:pt x="23" y="15"/>
                  <a:pt x="22" y="15"/>
                  <a:pt x="23" y="15"/>
                </a:cubicBezTo>
                <a:cubicBezTo>
                  <a:pt x="23" y="15"/>
                  <a:pt x="23" y="15"/>
                  <a:pt x="23" y="15"/>
                </a:cubicBezTo>
                <a:cubicBezTo>
                  <a:pt x="23" y="15"/>
                  <a:pt x="23" y="15"/>
                  <a:pt x="23" y="15"/>
                </a:cubicBezTo>
                <a:cubicBezTo>
                  <a:pt x="23" y="15"/>
                  <a:pt x="23" y="16"/>
                  <a:pt x="23" y="16"/>
                </a:cubicBezTo>
                <a:cubicBezTo>
                  <a:pt x="23" y="16"/>
                  <a:pt x="23" y="16"/>
                  <a:pt x="23" y="16"/>
                </a:cubicBezTo>
                <a:cubicBezTo>
                  <a:pt x="23" y="15"/>
                  <a:pt x="24" y="16"/>
                  <a:pt x="24" y="16"/>
                </a:cubicBezTo>
                <a:cubicBezTo>
                  <a:pt x="24" y="16"/>
                  <a:pt x="23" y="16"/>
                  <a:pt x="23" y="15"/>
                </a:cubicBezTo>
                <a:cubicBezTo>
                  <a:pt x="23" y="15"/>
                  <a:pt x="23" y="15"/>
                  <a:pt x="23" y="15"/>
                </a:cubicBezTo>
                <a:cubicBezTo>
                  <a:pt x="23" y="15"/>
                  <a:pt x="23" y="15"/>
                  <a:pt x="23" y="15"/>
                </a:cubicBezTo>
                <a:cubicBezTo>
                  <a:pt x="23" y="14"/>
                  <a:pt x="23" y="14"/>
                  <a:pt x="23" y="14"/>
                </a:cubicBezTo>
                <a:cubicBezTo>
                  <a:pt x="23" y="14"/>
                  <a:pt x="23" y="14"/>
                  <a:pt x="23" y="14"/>
                </a:cubicBezTo>
                <a:cubicBezTo>
                  <a:pt x="23" y="14"/>
                  <a:pt x="23" y="14"/>
                  <a:pt x="23" y="14"/>
                </a:cubicBezTo>
                <a:cubicBezTo>
                  <a:pt x="23" y="14"/>
                  <a:pt x="24" y="13"/>
                  <a:pt x="24" y="13"/>
                </a:cubicBezTo>
                <a:close/>
                <a:moveTo>
                  <a:pt x="26" y="6"/>
                </a:moveTo>
                <a:cubicBezTo>
                  <a:pt x="26" y="6"/>
                  <a:pt x="26" y="6"/>
                  <a:pt x="26" y="6"/>
                </a:cubicBezTo>
                <a:cubicBezTo>
                  <a:pt x="26" y="6"/>
                  <a:pt x="26" y="6"/>
                  <a:pt x="26" y="6"/>
                </a:cubicBezTo>
                <a:cubicBezTo>
                  <a:pt x="26" y="6"/>
                  <a:pt x="26" y="6"/>
                  <a:pt x="26" y="6"/>
                </a:cubicBezTo>
                <a:cubicBezTo>
                  <a:pt x="26" y="6"/>
                  <a:pt x="26" y="6"/>
                  <a:pt x="26" y="6"/>
                </a:cubicBezTo>
                <a:cubicBezTo>
                  <a:pt x="26" y="6"/>
                  <a:pt x="26" y="6"/>
                  <a:pt x="26" y="6"/>
                </a:cubicBezTo>
                <a:cubicBezTo>
                  <a:pt x="26" y="6"/>
                  <a:pt x="26" y="5"/>
                  <a:pt x="26" y="5"/>
                </a:cubicBezTo>
                <a:cubicBezTo>
                  <a:pt x="26" y="5"/>
                  <a:pt x="26" y="5"/>
                  <a:pt x="26" y="5"/>
                </a:cubicBezTo>
                <a:cubicBezTo>
                  <a:pt x="25" y="5"/>
                  <a:pt x="26" y="6"/>
                  <a:pt x="26" y="6"/>
                </a:cubicBezTo>
                <a:cubicBezTo>
                  <a:pt x="26" y="6"/>
                  <a:pt x="26" y="6"/>
                  <a:pt x="26" y="6"/>
                </a:cubicBezTo>
                <a:cubicBezTo>
                  <a:pt x="26" y="6"/>
                  <a:pt x="26" y="6"/>
                  <a:pt x="26" y="6"/>
                </a:cubicBezTo>
                <a:cubicBezTo>
                  <a:pt x="26" y="6"/>
                  <a:pt x="26" y="6"/>
                  <a:pt x="26" y="6"/>
                </a:cubicBezTo>
                <a:cubicBezTo>
                  <a:pt x="26" y="6"/>
                  <a:pt x="26" y="6"/>
                  <a:pt x="26" y="6"/>
                </a:cubicBezTo>
                <a:close/>
                <a:moveTo>
                  <a:pt x="22" y="12"/>
                </a:moveTo>
                <a:cubicBezTo>
                  <a:pt x="23" y="12"/>
                  <a:pt x="23" y="12"/>
                  <a:pt x="23" y="12"/>
                </a:cubicBezTo>
                <a:cubicBezTo>
                  <a:pt x="23" y="12"/>
                  <a:pt x="23" y="12"/>
                  <a:pt x="23" y="11"/>
                </a:cubicBezTo>
                <a:cubicBezTo>
                  <a:pt x="23" y="11"/>
                  <a:pt x="23" y="11"/>
                  <a:pt x="23" y="11"/>
                </a:cubicBezTo>
                <a:cubicBezTo>
                  <a:pt x="22" y="11"/>
                  <a:pt x="22" y="12"/>
                  <a:pt x="22" y="12"/>
                </a:cubicBezTo>
                <a:close/>
                <a:moveTo>
                  <a:pt x="24" y="9"/>
                </a:moveTo>
                <a:cubicBezTo>
                  <a:pt x="24" y="9"/>
                  <a:pt x="24" y="9"/>
                  <a:pt x="24" y="9"/>
                </a:cubicBezTo>
                <a:cubicBezTo>
                  <a:pt x="24" y="8"/>
                  <a:pt x="24" y="8"/>
                  <a:pt x="24" y="8"/>
                </a:cubicBezTo>
                <a:cubicBezTo>
                  <a:pt x="24" y="8"/>
                  <a:pt x="24" y="8"/>
                  <a:pt x="24" y="8"/>
                </a:cubicBezTo>
                <a:cubicBezTo>
                  <a:pt x="24" y="8"/>
                  <a:pt x="24" y="8"/>
                  <a:pt x="24" y="8"/>
                </a:cubicBezTo>
                <a:cubicBezTo>
                  <a:pt x="24" y="8"/>
                  <a:pt x="24" y="8"/>
                  <a:pt x="24" y="8"/>
                </a:cubicBezTo>
                <a:cubicBezTo>
                  <a:pt x="24" y="8"/>
                  <a:pt x="24" y="7"/>
                  <a:pt x="24" y="7"/>
                </a:cubicBezTo>
                <a:cubicBezTo>
                  <a:pt x="23" y="7"/>
                  <a:pt x="23" y="7"/>
                  <a:pt x="23" y="7"/>
                </a:cubicBezTo>
                <a:cubicBezTo>
                  <a:pt x="23" y="7"/>
                  <a:pt x="23" y="7"/>
                  <a:pt x="23" y="7"/>
                </a:cubicBezTo>
                <a:cubicBezTo>
                  <a:pt x="23" y="7"/>
                  <a:pt x="22" y="7"/>
                  <a:pt x="22" y="6"/>
                </a:cubicBezTo>
                <a:cubicBezTo>
                  <a:pt x="22" y="6"/>
                  <a:pt x="22" y="6"/>
                  <a:pt x="22" y="6"/>
                </a:cubicBezTo>
                <a:cubicBezTo>
                  <a:pt x="22" y="6"/>
                  <a:pt x="22" y="6"/>
                  <a:pt x="22" y="6"/>
                </a:cubicBezTo>
                <a:cubicBezTo>
                  <a:pt x="22" y="6"/>
                  <a:pt x="21" y="5"/>
                  <a:pt x="21" y="5"/>
                </a:cubicBezTo>
                <a:cubicBezTo>
                  <a:pt x="21" y="5"/>
                  <a:pt x="22" y="5"/>
                  <a:pt x="21" y="5"/>
                </a:cubicBezTo>
                <a:cubicBezTo>
                  <a:pt x="21" y="5"/>
                  <a:pt x="21" y="5"/>
                  <a:pt x="21" y="6"/>
                </a:cubicBezTo>
                <a:cubicBezTo>
                  <a:pt x="21" y="6"/>
                  <a:pt x="21" y="6"/>
                  <a:pt x="21" y="7"/>
                </a:cubicBezTo>
                <a:cubicBezTo>
                  <a:pt x="21" y="6"/>
                  <a:pt x="21" y="7"/>
                  <a:pt x="21" y="7"/>
                </a:cubicBezTo>
                <a:cubicBezTo>
                  <a:pt x="21" y="7"/>
                  <a:pt x="21" y="7"/>
                  <a:pt x="21" y="7"/>
                </a:cubicBezTo>
                <a:cubicBezTo>
                  <a:pt x="21" y="7"/>
                  <a:pt x="21" y="8"/>
                  <a:pt x="21" y="8"/>
                </a:cubicBezTo>
                <a:cubicBezTo>
                  <a:pt x="21" y="8"/>
                  <a:pt x="21" y="8"/>
                  <a:pt x="21" y="8"/>
                </a:cubicBezTo>
                <a:cubicBezTo>
                  <a:pt x="21" y="8"/>
                  <a:pt x="22" y="8"/>
                  <a:pt x="22" y="8"/>
                </a:cubicBezTo>
                <a:cubicBezTo>
                  <a:pt x="22" y="8"/>
                  <a:pt x="22" y="8"/>
                  <a:pt x="22" y="8"/>
                </a:cubicBezTo>
                <a:cubicBezTo>
                  <a:pt x="22" y="8"/>
                  <a:pt x="22" y="8"/>
                  <a:pt x="22" y="9"/>
                </a:cubicBezTo>
                <a:cubicBezTo>
                  <a:pt x="23" y="9"/>
                  <a:pt x="23" y="9"/>
                  <a:pt x="23" y="9"/>
                </a:cubicBezTo>
                <a:cubicBezTo>
                  <a:pt x="23" y="9"/>
                  <a:pt x="23" y="9"/>
                  <a:pt x="24" y="9"/>
                </a:cubicBezTo>
                <a:cubicBezTo>
                  <a:pt x="24" y="9"/>
                  <a:pt x="24" y="9"/>
                  <a:pt x="24" y="9"/>
                </a:cubicBezTo>
                <a:close/>
                <a:moveTo>
                  <a:pt x="1" y="1"/>
                </a:moveTo>
                <a:cubicBezTo>
                  <a:pt x="1" y="1"/>
                  <a:pt x="1" y="1"/>
                  <a:pt x="1" y="1"/>
                </a:cubicBezTo>
                <a:cubicBezTo>
                  <a:pt x="1" y="2"/>
                  <a:pt x="1" y="1"/>
                  <a:pt x="1" y="1"/>
                </a:cubicBezTo>
                <a:cubicBezTo>
                  <a:pt x="1" y="1"/>
                  <a:pt x="1" y="2"/>
                  <a:pt x="1" y="1"/>
                </a:cubicBezTo>
                <a:close/>
                <a:moveTo>
                  <a:pt x="17" y="8"/>
                </a:moveTo>
                <a:cubicBezTo>
                  <a:pt x="17" y="8"/>
                  <a:pt x="17" y="8"/>
                  <a:pt x="17" y="8"/>
                </a:cubicBezTo>
                <a:cubicBezTo>
                  <a:pt x="16" y="7"/>
                  <a:pt x="16" y="7"/>
                  <a:pt x="16" y="7"/>
                </a:cubicBezTo>
                <a:cubicBezTo>
                  <a:pt x="16" y="7"/>
                  <a:pt x="16" y="7"/>
                  <a:pt x="16" y="7"/>
                </a:cubicBezTo>
                <a:cubicBezTo>
                  <a:pt x="16" y="7"/>
                  <a:pt x="16" y="7"/>
                  <a:pt x="16" y="7"/>
                </a:cubicBezTo>
                <a:cubicBezTo>
                  <a:pt x="16" y="8"/>
                  <a:pt x="16" y="8"/>
                  <a:pt x="16" y="8"/>
                </a:cubicBezTo>
                <a:cubicBezTo>
                  <a:pt x="16" y="8"/>
                  <a:pt x="16" y="8"/>
                  <a:pt x="16" y="8"/>
                </a:cubicBezTo>
                <a:cubicBezTo>
                  <a:pt x="16" y="8"/>
                  <a:pt x="16" y="8"/>
                  <a:pt x="16" y="8"/>
                </a:cubicBezTo>
                <a:cubicBezTo>
                  <a:pt x="16" y="8"/>
                  <a:pt x="16" y="8"/>
                  <a:pt x="16" y="8"/>
                </a:cubicBezTo>
                <a:cubicBezTo>
                  <a:pt x="16" y="7"/>
                  <a:pt x="16" y="8"/>
                  <a:pt x="16" y="8"/>
                </a:cubicBezTo>
                <a:cubicBezTo>
                  <a:pt x="17" y="8"/>
                  <a:pt x="17" y="8"/>
                  <a:pt x="17" y="8"/>
                </a:cubicBezTo>
                <a:cubicBezTo>
                  <a:pt x="17" y="8"/>
                  <a:pt x="17" y="8"/>
                  <a:pt x="17" y="8"/>
                </a:cubicBezTo>
                <a:close/>
                <a:moveTo>
                  <a:pt x="21" y="14"/>
                </a:moveTo>
                <a:cubicBezTo>
                  <a:pt x="21" y="14"/>
                  <a:pt x="22" y="14"/>
                  <a:pt x="22" y="14"/>
                </a:cubicBezTo>
                <a:cubicBezTo>
                  <a:pt x="21" y="14"/>
                  <a:pt x="22" y="14"/>
                  <a:pt x="22" y="14"/>
                </a:cubicBezTo>
                <a:cubicBezTo>
                  <a:pt x="22" y="14"/>
                  <a:pt x="22" y="15"/>
                  <a:pt x="22" y="15"/>
                </a:cubicBezTo>
                <a:cubicBezTo>
                  <a:pt x="22" y="14"/>
                  <a:pt x="22" y="14"/>
                  <a:pt x="22" y="14"/>
                </a:cubicBezTo>
                <a:cubicBezTo>
                  <a:pt x="22" y="14"/>
                  <a:pt x="22" y="14"/>
                  <a:pt x="21" y="14"/>
                </a:cubicBezTo>
                <a:close/>
                <a:moveTo>
                  <a:pt x="5" y="3"/>
                </a:moveTo>
                <a:cubicBezTo>
                  <a:pt x="5" y="3"/>
                  <a:pt x="5" y="3"/>
                  <a:pt x="5" y="3"/>
                </a:cubicBezTo>
                <a:cubicBezTo>
                  <a:pt x="5" y="3"/>
                  <a:pt x="5" y="3"/>
                  <a:pt x="6" y="3"/>
                </a:cubicBezTo>
                <a:cubicBezTo>
                  <a:pt x="5" y="3"/>
                  <a:pt x="5" y="3"/>
                  <a:pt x="5" y="3"/>
                </a:cubicBezTo>
                <a:close/>
                <a:moveTo>
                  <a:pt x="0" y="1"/>
                </a:moveTo>
                <a:cubicBezTo>
                  <a:pt x="0" y="1"/>
                  <a:pt x="0" y="1"/>
                  <a:pt x="0" y="1"/>
                </a:cubicBezTo>
                <a:cubicBezTo>
                  <a:pt x="0" y="1"/>
                  <a:pt x="0" y="1"/>
                  <a:pt x="0" y="1"/>
                </a:cubicBezTo>
                <a:close/>
                <a:moveTo>
                  <a:pt x="21" y="13"/>
                </a:moveTo>
                <a:cubicBezTo>
                  <a:pt x="21" y="13"/>
                  <a:pt x="21" y="13"/>
                  <a:pt x="21" y="13"/>
                </a:cubicBezTo>
                <a:cubicBezTo>
                  <a:pt x="21" y="13"/>
                  <a:pt x="21" y="12"/>
                  <a:pt x="21" y="12"/>
                </a:cubicBezTo>
                <a:cubicBezTo>
                  <a:pt x="21" y="12"/>
                  <a:pt x="21" y="12"/>
                  <a:pt x="21" y="12"/>
                </a:cubicBezTo>
                <a:cubicBezTo>
                  <a:pt x="21" y="12"/>
                  <a:pt x="21" y="12"/>
                  <a:pt x="21" y="12"/>
                </a:cubicBezTo>
                <a:cubicBezTo>
                  <a:pt x="21" y="12"/>
                  <a:pt x="21" y="12"/>
                  <a:pt x="21" y="12"/>
                </a:cubicBezTo>
                <a:cubicBezTo>
                  <a:pt x="21" y="12"/>
                  <a:pt x="21" y="12"/>
                  <a:pt x="21" y="12"/>
                </a:cubicBezTo>
                <a:cubicBezTo>
                  <a:pt x="21" y="12"/>
                  <a:pt x="21" y="12"/>
                  <a:pt x="20" y="12"/>
                </a:cubicBezTo>
                <a:cubicBezTo>
                  <a:pt x="20" y="12"/>
                  <a:pt x="20" y="12"/>
                  <a:pt x="21" y="12"/>
                </a:cubicBezTo>
                <a:cubicBezTo>
                  <a:pt x="20" y="12"/>
                  <a:pt x="21" y="12"/>
                  <a:pt x="21" y="12"/>
                </a:cubicBezTo>
                <a:cubicBezTo>
                  <a:pt x="21" y="12"/>
                  <a:pt x="21" y="13"/>
                  <a:pt x="21" y="13"/>
                </a:cubicBezTo>
                <a:cubicBezTo>
                  <a:pt x="21" y="13"/>
                  <a:pt x="21" y="13"/>
                  <a:pt x="21" y="13"/>
                </a:cubicBezTo>
                <a:close/>
                <a:moveTo>
                  <a:pt x="4" y="1"/>
                </a:moveTo>
                <a:cubicBezTo>
                  <a:pt x="4" y="1"/>
                  <a:pt x="4" y="1"/>
                  <a:pt x="4" y="1"/>
                </a:cubicBezTo>
                <a:cubicBezTo>
                  <a:pt x="4" y="1"/>
                  <a:pt x="4" y="1"/>
                  <a:pt x="4" y="2"/>
                </a:cubicBezTo>
                <a:cubicBezTo>
                  <a:pt x="4" y="2"/>
                  <a:pt x="4" y="2"/>
                  <a:pt x="5" y="2"/>
                </a:cubicBezTo>
                <a:cubicBezTo>
                  <a:pt x="5" y="1"/>
                  <a:pt x="5" y="1"/>
                  <a:pt x="4" y="1"/>
                </a:cubicBezTo>
                <a:close/>
                <a:moveTo>
                  <a:pt x="24" y="17"/>
                </a:moveTo>
                <a:cubicBezTo>
                  <a:pt x="24" y="17"/>
                  <a:pt x="24" y="17"/>
                  <a:pt x="24" y="17"/>
                </a:cubicBezTo>
                <a:cubicBezTo>
                  <a:pt x="23" y="17"/>
                  <a:pt x="24" y="17"/>
                  <a:pt x="24" y="17"/>
                </a:cubicBezTo>
                <a:cubicBezTo>
                  <a:pt x="24" y="18"/>
                  <a:pt x="24" y="17"/>
                  <a:pt x="24" y="17"/>
                </a:cubicBezTo>
                <a:cubicBezTo>
                  <a:pt x="24" y="17"/>
                  <a:pt x="24" y="17"/>
                  <a:pt x="24" y="17"/>
                </a:cubicBezTo>
                <a:close/>
                <a:moveTo>
                  <a:pt x="20" y="9"/>
                </a:moveTo>
                <a:cubicBezTo>
                  <a:pt x="20" y="9"/>
                  <a:pt x="20" y="9"/>
                  <a:pt x="20" y="9"/>
                </a:cubicBezTo>
                <a:cubicBezTo>
                  <a:pt x="20" y="9"/>
                  <a:pt x="20" y="9"/>
                  <a:pt x="20" y="9"/>
                </a:cubicBezTo>
                <a:cubicBezTo>
                  <a:pt x="20" y="9"/>
                  <a:pt x="20" y="9"/>
                  <a:pt x="20" y="9"/>
                </a:cubicBezTo>
                <a:cubicBezTo>
                  <a:pt x="20" y="10"/>
                  <a:pt x="20" y="10"/>
                  <a:pt x="20" y="9"/>
                </a:cubicBezTo>
                <a:cubicBezTo>
                  <a:pt x="21" y="9"/>
                  <a:pt x="21" y="9"/>
                  <a:pt x="21" y="9"/>
                </a:cubicBezTo>
                <a:cubicBezTo>
                  <a:pt x="21" y="9"/>
                  <a:pt x="21" y="9"/>
                  <a:pt x="21" y="9"/>
                </a:cubicBezTo>
                <a:cubicBezTo>
                  <a:pt x="21" y="9"/>
                  <a:pt x="20" y="9"/>
                  <a:pt x="20" y="9"/>
                </a:cubicBezTo>
                <a:close/>
                <a:moveTo>
                  <a:pt x="22" y="10"/>
                </a:moveTo>
                <a:cubicBezTo>
                  <a:pt x="23" y="10"/>
                  <a:pt x="23" y="10"/>
                  <a:pt x="23" y="10"/>
                </a:cubicBezTo>
                <a:cubicBezTo>
                  <a:pt x="23" y="10"/>
                  <a:pt x="24" y="10"/>
                  <a:pt x="24" y="10"/>
                </a:cubicBezTo>
                <a:cubicBezTo>
                  <a:pt x="24" y="10"/>
                  <a:pt x="24" y="10"/>
                  <a:pt x="24" y="10"/>
                </a:cubicBezTo>
                <a:cubicBezTo>
                  <a:pt x="24" y="10"/>
                  <a:pt x="24" y="10"/>
                  <a:pt x="24" y="10"/>
                </a:cubicBezTo>
                <a:cubicBezTo>
                  <a:pt x="24" y="10"/>
                  <a:pt x="24" y="10"/>
                  <a:pt x="23" y="10"/>
                </a:cubicBezTo>
                <a:cubicBezTo>
                  <a:pt x="23" y="10"/>
                  <a:pt x="23" y="10"/>
                  <a:pt x="23" y="10"/>
                </a:cubicBezTo>
                <a:cubicBezTo>
                  <a:pt x="23" y="10"/>
                  <a:pt x="23" y="10"/>
                  <a:pt x="23" y="10"/>
                </a:cubicBezTo>
                <a:cubicBezTo>
                  <a:pt x="22" y="10"/>
                  <a:pt x="22" y="10"/>
                  <a:pt x="22" y="10"/>
                </a:cubicBezTo>
                <a:cubicBezTo>
                  <a:pt x="22" y="10"/>
                  <a:pt x="22" y="10"/>
                  <a:pt x="22" y="1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0" name="Faroe Islands (Denmark)"/>
          <p:cNvSpPr>
            <a:spLocks noEditPoints="1"/>
          </p:cNvSpPr>
          <p:nvPr/>
        </p:nvSpPr>
        <p:spPr bwMode="auto">
          <a:xfrm>
            <a:off x="5666087" y="2226029"/>
            <a:ext cx="27998" cy="32999"/>
          </a:xfrm>
          <a:custGeom>
            <a:avLst/>
            <a:gdLst/>
            <a:ahLst/>
            <a:cxnLst>
              <a:cxn ang="0">
                <a:pos x="7" y="2"/>
              </a:cxn>
              <a:cxn ang="0">
                <a:pos x="6" y="2"/>
              </a:cxn>
              <a:cxn ang="0">
                <a:pos x="6" y="3"/>
              </a:cxn>
              <a:cxn ang="0">
                <a:pos x="5" y="1"/>
              </a:cxn>
              <a:cxn ang="0">
                <a:pos x="5" y="2"/>
              </a:cxn>
              <a:cxn ang="0">
                <a:pos x="5" y="2"/>
              </a:cxn>
              <a:cxn ang="0">
                <a:pos x="3" y="1"/>
              </a:cxn>
              <a:cxn ang="0">
                <a:pos x="4" y="0"/>
              </a:cxn>
              <a:cxn ang="0">
                <a:pos x="4" y="1"/>
              </a:cxn>
              <a:cxn ang="0">
                <a:pos x="5" y="1"/>
              </a:cxn>
              <a:cxn ang="0">
                <a:pos x="5" y="1"/>
              </a:cxn>
              <a:cxn ang="0">
                <a:pos x="6" y="1"/>
              </a:cxn>
              <a:cxn ang="0">
                <a:pos x="6" y="1"/>
              </a:cxn>
              <a:cxn ang="0">
                <a:pos x="7" y="2"/>
              </a:cxn>
              <a:cxn ang="0">
                <a:pos x="4" y="4"/>
              </a:cxn>
              <a:cxn ang="0">
                <a:pos x="4" y="5"/>
              </a:cxn>
              <a:cxn ang="0">
                <a:pos x="6" y="6"/>
              </a:cxn>
              <a:cxn ang="0">
                <a:pos x="6" y="5"/>
              </a:cxn>
              <a:cxn ang="0">
                <a:pos x="4" y="4"/>
              </a:cxn>
              <a:cxn ang="0">
                <a:pos x="5" y="8"/>
              </a:cxn>
              <a:cxn ang="0">
                <a:pos x="4" y="8"/>
              </a:cxn>
              <a:cxn ang="0">
                <a:pos x="5" y="7"/>
              </a:cxn>
              <a:cxn ang="0">
                <a:pos x="3" y="7"/>
              </a:cxn>
              <a:cxn ang="0">
                <a:pos x="4" y="7"/>
              </a:cxn>
              <a:cxn ang="0">
                <a:pos x="3" y="8"/>
              </a:cxn>
              <a:cxn ang="0">
                <a:pos x="5" y="9"/>
              </a:cxn>
              <a:cxn ang="0">
                <a:pos x="4" y="9"/>
              </a:cxn>
              <a:cxn ang="0">
                <a:pos x="5" y="8"/>
              </a:cxn>
              <a:cxn ang="0">
                <a:pos x="8" y="1"/>
              </a:cxn>
              <a:cxn ang="0">
                <a:pos x="7" y="0"/>
              </a:cxn>
              <a:cxn ang="0">
                <a:pos x="7" y="0"/>
              </a:cxn>
              <a:cxn ang="0">
                <a:pos x="7" y="1"/>
              </a:cxn>
              <a:cxn ang="0">
                <a:pos x="7" y="2"/>
              </a:cxn>
              <a:cxn ang="0">
                <a:pos x="7" y="1"/>
              </a:cxn>
              <a:cxn ang="0">
                <a:pos x="8" y="1"/>
              </a:cxn>
              <a:cxn ang="0">
                <a:pos x="7" y="1"/>
              </a:cxn>
              <a:cxn ang="0">
                <a:pos x="8" y="1"/>
              </a:cxn>
              <a:cxn ang="0">
                <a:pos x="2" y="2"/>
              </a:cxn>
              <a:cxn ang="0">
                <a:pos x="3" y="2"/>
              </a:cxn>
              <a:cxn ang="0">
                <a:pos x="5" y="4"/>
              </a:cxn>
              <a:cxn ang="0">
                <a:pos x="5" y="3"/>
              </a:cxn>
              <a:cxn ang="0">
                <a:pos x="4" y="3"/>
              </a:cxn>
              <a:cxn ang="0">
                <a:pos x="4" y="2"/>
              </a:cxn>
              <a:cxn ang="0">
                <a:pos x="4" y="1"/>
              </a:cxn>
              <a:cxn ang="0">
                <a:pos x="3" y="0"/>
              </a:cxn>
              <a:cxn ang="0">
                <a:pos x="2" y="1"/>
              </a:cxn>
              <a:cxn ang="0">
                <a:pos x="2" y="2"/>
              </a:cxn>
              <a:cxn ang="0">
                <a:pos x="2" y="2"/>
              </a:cxn>
              <a:cxn ang="0">
                <a:pos x="0" y="2"/>
              </a:cxn>
              <a:cxn ang="0">
                <a:pos x="1" y="2"/>
              </a:cxn>
              <a:cxn ang="0">
                <a:pos x="0" y="3"/>
              </a:cxn>
              <a:cxn ang="0">
                <a:pos x="2" y="3"/>
              </a:cxn>
              <a:cxn ang="0">
                <a:pos x="2" y="3"/>
              </a:cxn>
              <a:cxn ang="0">
                <a:pos x="2" y="3"/>
              </a:cxn>
              <a:cxn ang="0">
                <a:pos x="2" y="2"/>
              </a:cxn>
            </a:cxnLst>
            <a:rect l="0" t="0" r="r" b="b"/>
            <a:pathLst>
              <a:path w="8" h="9">
                <a:moveTo>
                  <a:pt x="7" y="2"/>
                </a:moveTo>
                <a:cubicBezTo>
                  <a:pt x="6" y="2"/>
                  <a:pt x="6" y="2"/>
                  <a:pt x="6" y="2"/>
                </a:cubicBezTo>
                <a:cubicBezTo>
                  <a:pt x="7" y="2"/>
                  <a:pt x="6" y="2"/>
                  <a:pt x="6" y="3"/>
                </a:cubicBezTo>
                <a:cubicBezTo>
                  <a:pt x="5" y="2"/>
                  <a:pt x="6" y="1"/>
                  <a:pt x="5" y="1"/>
                </a:cubicBezTo>
                <a:cubicBezTo>
                  <a:pt x="5" y="2"/>
                  <a:pt x="5" y="2"/>
                  <a:pt x="5" y="2"/>
                </a:cubicBezTo>
                <a:cubicBezTo>
                  <a:pt x="6" y="2"/>
                  <a:pt x="5" y="2"/>
                  <a:pt x="5" y="2"/>
                </a:cubicBezTo>
                <a:cubicBezTo>
                  <a:pt x="4" y="2"/>
                  <a:pt x="4" y="1"/>
                  <a:pt x="3" y="1"/>
                </a:cubicBezTo>
                <a:cubicBezTo>
                  <a:pt x="3" y="0"/>
                  <a:pt x="3" y="0"/>
                  <a:pt x="4" y="0"/>
                </a:cubicBezTo>
                <a:cubicBezTo>
                  <a:pt x="5" y="0"/>
                  <a:pt x="4" y="1"/>
                  <a:pt x="4" y="1"/>
                </a:cubicBezTo>
                <a:cubicBezTo>
                  <a:pt x="4" y="0"/>
                  <a:pt x="5" y="0"/>
                  <a:pt x="5" y="1"/>
                </a:cubicBezTo>
                <a:cubicBezTo>
                  <a:pt x="5" y="1"/>
                  <a:pt x="5" y="1"/>
                  <a:pt x="5" y="1"/>
                </a:cubicBezTo>
                <a:cubicBezTo>
                  <a:pt x="5" y="1"/>
                  <a:pt x="6" y="1"/>
                  <a:pt x="6" y="1"/>
                </a:cubicBezTo>
                <a:cubicBezTo>
                  <a:pt x="6" y="1"/>
                  <a:pt x="6" y="1"/>
                  <a:pt x="6" y="1"/>
                </a:cubicBezTo>
                <a:cubicBezTo>
                  <a:pt x="6" y="2"/>
                  <a:pt x="6" y="2"/>
                  <a:pt x="7" y="2"/>
                </a:cubicBezTo>
                <a:close/>
                <a:moveTo>
                  <a:pt x="4" y="4"/>
                </a:moveTo>
                <a:cubicBezTo>
                  <a:pt x="4" y="4"/>
                  <a:pt x="4" y="5"/>
                  <a:pt x="4" y="5"/>
                </a:cubicBezTo>
                <a:cubicBezTo>
                  <a:pt x="5" y="5"/>
                  <a:pt x="5" y="5"/>
                  <a:pt x="6" y="6"/>
                </a:cubicBezTo>
                <a:cubicBezTo>
                  <a:pt x="6" y="6"/>
                  <a:pt x="6" y="5"/>
                  <a:pt x="6" y="5"/>
                </a:cubicBezTo>
                <a:cubicBezTo>
                  <a:pt x="5" y="4"/>
                  <a:pt x="5" y="4"/>
                  <a:pt x="4" y="4"/>
                </a:cubicBezTo>
                <a:close/>
                <a:moveTo>
                  <a:pt x="5" y="8"/>
                </a:moveTo>
                <a:cubicBezTo>
                  <a:pt x="5" y="8"/>
                  <a:pt x="4" y="8"/>
                  <a:pt x="4" y="8"/>
                </a:cubicBezTo>
                <a:cubicBezTo>
                  <a:pt x="4" y="8"/>
                  <a:pt x="5" y="8"/>
                  <a:pt x="5" y="7"/>
                </a:cubicBezTo>
                <a:cubicBezTo>
                  <a:pt x="4" y="7"/>
                  <a:pt x="4" y="7"/>
                  <a:pt x="3" y="7"/>
                </a:cubicBezTo>
                <a:cubicBezTo>
                  <a:pt x="3" y="7"/>
                  <a:pt x="4" y="7"/>
                  <a:pt x="4" y="7"/>
                </a:cubicBezTo>
                <a:cubicBezTo>
                  <a:pt x="3" y="7"/>
                  <a:pt x="3" y="7"/>
                  <a:pt x="3" y="8"/>
                </a:cubicBezTo>
                <a:cubicBezTo>
                  <a:pt x="4" y="8"/>
                  <a:pt x="4" y="9"/>
                  <a:pt x="5" y="9"/>
                </a:cubicBezTo>
                <a:cubicBezTo>
                  <a:pt x="6" y="9"/>
                  <a:pt x="5" y="9"/>
                  <a:pt x="4" y="9"/>
                </a:cubicBezTo>
                <a:cubicBezTo>
                  <a:pt x="5" y="9"/>
                  <a:pt x="5" y="8"/>
                  <a:pt x="5" y="8"/>
                </a:cubicBezTo>
                <a:close/>
                <a:moveTo>
                  <a:pt x="8" y="1"/>
                </a:moveTo>
                <a:cubicBezTo>
                  <a:pt x="8" y="1"/>
                  <a:pt x="8" y="0"/>
                  <a:pt x="7" y="0"/>
                </a:cubicBezTo>
                <a:cubicBezTo>
                  <a:pt x="7" y="0"/>
                  <a:pt x="7" y="0"/>
                  <a:pt x="7" y="0"/>
                </a:cubicBezTo>
                <a:cubicBezTo>
                  <a:pt x="7" y="0"/>
                  <a:pt x="7" y="1"/>
                  <a:pt x="7" y="1"/>
                </a:cubicBezTo>
                <a:cubicBezTo>
                  <a:pt x="7" y="1"/>
                  <a:pt x="7" y="1"/>
                  <a:pt x="7" y="2"/>
                </a:cubicBezTo>
                <a:cubicBezTo>
                  <a:pt x="7" y="1"/>
                  <a:pt x="7" y="1"/>
                  <a:pt x="7" y="1"/>
                </a:cubicBezTo>
                <a:cubicBezTo>
                  <a:pt x="7" y="1"/>
                  <a:pt x="8" y="2"/>
                  <a:pt x="8" y="1"/>
                </a:cubicBezTo>
                <a:cubicBezTo>
                  <a:pt x="8" y="1"/>
                  <a:pt x="7" y="1"/>
                  <a:pt x="7" y="1"/>
                </a:cubicBezTo>
                <a:cubicBezTo>
                  <a:pt x="7" y="1"/>
                  <a:pt x="8" y="1"/>
                  <a:pt x="8" y="1"/>
                </a:cubicBezTo>
                <a:close/>
                <a:moveTo>
                  <a:pt x="2" y="2"/>
                </a:moveTo>
                <a:cubicBezTo>
                  <a:pt x="2" y="2"/>
                  <a:pt x="3" y="2"/>
                  <a:pt x="3" y="2"/>
                </a:cubicBezTo>
                <a:cubicBezTo>
                  <a:pt x="4" y="3"/>
                  <a:pt x="5" y="4"/>
                  <a:pt x="5" y="4"/>
                </a:cubicBezTo>
                <a:cubicBezTo>
                  <a:pt x="6" y="4"/>
                  <a:pt x="5" y="3"/>
                  <a:pt x="5" y="3"/>
                </a:cubicBezTo>
                <a:cubicBezTo>
                  <a:pt x="5" y="3"/>
                  <a:pt x="5" y="3"/>
                  <a:pt x="4" y="3"/>
                </a:cubicBezTo>
                <a:cubicBezTo>
                  <a:pt x="5" y="3"/>
                  <a:pt x="5" y="2"/>
                  <a:pt x="4" y="2"/>
                </a:cubicBezTo>
                <a:cubicBezTo>
                  <a:pt x="5" y="2"/>
                  <a:pt x="4" y="2"/>
                  <a:pt x="4" y="1"/>
                </a:cubicBezTo>
                <a:cubicBezTo>
                  <a:pt x="3" y="1"/>
                  <a:pt x="3" y="1"/>
                  <a:pt x="3" y="0"/>
                </a:cubicBezTo>
                <a:cubicBezTo>
                  <a:pt x="2" y="0"/>
                  <a:pt x="2" y="0"/>
                  <a:pt x="2" y="1"/>
                </a:cubicBezTo>
                <a:cubicBezTo>
                  <a:pt x="2" y="1"/>
                  <a:pt x="2" y="2"/>
                  <a:pt x="2" y="2"/>
                </a:cubicBezTo>
                <a:close/>
                <a:moveTo>
                  <a:pt x="2" y="2"/>
                </a:moveTo>
                <a:cubicBezTo>
                  <a:pt x="2" y="2"/>
                  <a:pt x="0" y="2"/>
                  <a:pt x="0" y="2"/>
                </a:cubicBezTo>
                <a:cubicBezTo>
                  <a:pt x="0" y="2"/>
                  <a:pt x="1" y="2"/>
                  <a:pt x="1" y="2"/>
                </a:cubicBezTo>
                <a:cubicBezTo>
                  <a:pt x="1" y="2"/>
                  <a:pt x="1" y="2"/>
                  <a:pt x="0" y="3"/>
                </a:cubicBezTo>
                <a:cubicBezTo>
                  <a:pt x="1" y="3"/>
                  <a:pt x="2" y="3"/>
                  <a:pt x="2" y="3"/>
                </a:cubicBezTo>
                <a:cubicBezTo>
                  <a:pt x="2" y="3"/>
                  <a:pt x="2" y="3"/>
                  <a:pt x="2" y="3"/>
                </a:cubicBezTo>
                <a:cubicBezTo>
                  <a:pt x="2" y="3"/>
                  <a:pt x="3" y="3"/>
                  <a:pt x="2" y="3"/>
                </a:cubicBezTo>
                <a:cubicBezTo>
                  <a:pt x="4" y="3"/>
                  <a:pt x="2" y="2"/>
                  <a:pt x="2"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1" name="Falklan Islands"/>
          <p:cNvSpPr>
            <a:spLocks noEditPoints="1"/>
          </p:cNvSpPr>
          <p:nvPr/>
        </p:nvSpPr>
        <p:spPr bwMode="auto">
          <a:xfrm>
            <a:off x="4007150" y="6692861"/>
            <a:ext cx="101996" cy="39999"/>
          </a:xfrm>
          <a:custGeom>
            <a:avLst/>
            <a:gdLst/>
            <a:ahLst/>
            <a:cxnLst>
              <a:cxn ang="0">
                <a:pos x="26" y="5"/>
              </a:cxn>
              <a:cxn ang="0">
                <a:pos x="24" y="6"/>
              </a:cxn>
              <a:cxn ang="0">
                <a:pos x="23" y="7"/>
              </a:cxn>
              <a:cxn ang="0">
                <a:pos x="19" y="6"/>
              </a:cxn>
              <a:cxn ang="0">
                <a:pos x="20" y="7"/>
              </a:cxn>
              <a:cxn ang="0">
                <a:pos x="20" y="8"/>
              </a:cxn>
              <a:cxn ang="0">
                <a:pos x="18" y="9"/>
              </a:cxn>
              <a:cxn ang="0">
                <a:pos x="19" y="10"/>
              </a:cxn>
              <a:cxn ang="0">
                <a:pos x="17" y="10"/>
              </a:cxn>
              <a:cxn ang="0">
                <a:pos x="17" y="11"/>
              </a:cxn>
              <a:cxn ang="0">
                <a:pos x="15" y="10"/>
              </a:cxn>
              <a:cxn ang="0">
                <a:pos x="13" y="9"/>
              </a:cxn>
              <a:cxn ang="0">
                <a:pos x="13" y="8"/>
              </a:cxn>
              <a:cxn ang="0">
                <a:pos x="14" y="7"/>
              </a:cxn>
              <a:cxn ang="0">
                <a:pos x="14" y="6"/>
              </a:cxn>
              <a:cxn ang="0">
                <a:pos x="16" y="5"/>
              </a:cxn>
              <a:cxn ang="0">
                <a:pos x="17" y="4"/>
              </a:cxn>
              <a:cxn ang="0">
                <a:pos x="17" y="3"/>
              </a:cxn>
              <a:cxn ang="0">
                <a:pos x="16" y="2"/>
              </a:cxn>
              <a:cxn ang="0">
                <a:pos x="18" y="1"/>
              </a:cxn>
              <a:cxn ang="0">
                <a:pos x="20" y="2"/>
              </a:cxn>
              <a:cxn ang="0">
                <a:pos x="20" y="2"/>
              </a:cxn>
              <a:cxn ang="0">
                <a:pos x="23" y="3"/>
              </a:cxn>
              <a:cxn ang="0">
                <a:pos x="23" y="3"/>
              </a:cxn>
              <a:cxn ang="0">
                <a:pos x="22" y="1"/>
              </a:cxn>
              <a:cxn ang="0">
                <a:pos x="26" y="2"/>
              </a:cxn>
              <a:cxn ang="0">
                <a:pos x="26" y="3"/>
              </a:cxn>
              <a:cxn ang="0">
                <a:pos x="26" y="3"/>
              </a:cxn>
              <a:cxn ang="0">
                <a:pos x="28" y="5"/>
              </a:cxn>
              <a:cxn ang="0">
                <a:pos x="2" y="6"/>
              </a:cxn>
              <a:cxn ang="0">
                <a:pos x="1" y="5"/>
              </a:cxn>
              <a:cxn ang="0">
                <a:pos x="2" y="7"/>
              </a:cxn>
              <a:cxn ang="0">
                <a:pos x="13" y="3"/>
              </a:cxn>
              <a:cxn ang="0">
                <a:pos x="14" y="2"/>
              </a:cxn>
              <a:cxn ang="0">
                <a:pos x="11" y="2"/>
              </a:cxn>
              <a:cxn ang="0">
                <a:pos x="9" y="2"/>
              </a:cxn>
              <a:cxn ang="0">
                <a:pos x="9" y="1"/>
              </a:cxn>
              <a:cxn ang="0">
                <a:pos x="8" y="2"/>
              </a:cxn>
              <a:cxn ang="0">
                <a:pos x="3" y="1"/>
              </a:cxn>
              <a:cxn ang="0">
                <a:pos x="4" y="2"/>
              </a:cxn>
              <a:cxn ang="0">
                <a:pos x="8" y="5"/>
              </a:cxn>
              <a:cxn ang="0">
                <a:pos x="4" y="5"/>
              </a:cxn>
              <a:cxn ang="0">
                <a:pos x="7" y="5"/>
              </a:cxn>
              <a:cxn ang="0">
                <a:pos x="6" y="7"/>
              </a:cxn>
              <a:cxn ang="0">
                <a:pos x="6" y="8"/>
              </a:cxn>
              <a:cxn ang="0">
                <a:pos x="3" y="7"/>
              </a:cxn>
              <a:cxn ang="0">
                <a:pos x="2" y="8"/>
              </a:cxn>
              <a:cxn ang="0">
                <a:pos x="6" y="10"/>
              </a:cxn>
              <a:cxn ang="0">
                <a:pos x="6" y="9"/>
              </a:cxn>
              <a:cxn ang="0">
                <a:pos x="8" y="8"/>
              </a:cxn>
              <a:cxn ang="0">
                <a:pos x="9" y="8"/>
              </a:cxn>
              <a:cxn ang="0">
                <a:pos x="11" y="6"/>
              </a:cxn>
              <a:cxn ang="0">
                <a:pos x="13" y="4"/>
              </a:cxn>
            </a:cxnLst>
            <a:rect l="0" t="0" r="r" b="b"/>
            <a:pathLst>
              <a:path w="28" h="11">
                <a:moveTo>
                  <a:pt x="28" y="5"/>
                </a:moveTo>
                <a:cubicBezTo>
                  <a:pt x="28" y="5"/>
                  <a:pt x="27" y="5"/>
                  <a:pt x="27" y="5"/>
                </a:cubicBezTo>
                <a:cubicBezTo>
                  <a:pt x="27" y="5"/>
                  <a:pt x="26" y="5"/>
                  <a:pt x="26" y="5"/>
                </a:cubicBezTo>
                <a:cubicBezTo>
                  <a:pt x="26" y="5"/>
                  <a:pt x="24" y="5"/>
                  <a:pt x="24" y="5"/>
                </a:cubicBezTo>
                <a:cubicBezTo>
                  <a:pt x="24" y="5"/>
                  <a:pt x="24" y="5"/>
                  <a:pt x="25" y="6"/>
                </a:cubicBezTo>
                <a:cubicBezTo>
                  <a:pt x="24" y="6"/>
                  <a:pt x="24" y="6"/>
                  <a:pt x="24" y="6"/>
                </a:cubicBezTo>
                <a:cubicBezTo>
                  <a:pt x="24" y="6"/>
                  <a:pt x="23" y="6"/>
                  <a:pt x="23" y="6"/>
                </a:cubicBezTo>
                <a:cubicBezTo>
                  <a:pt x="24" y="6"/>
                  <a:pt x="24" y="6"/>
                  <a:pt x="25" y="6"/>
                </a:cubicBezTo>
                <a:cubicBezTo>
                  <a:pt x="24" y="6"/>
                  <a:pt x="24" y="6"/>
                  <a:pt x="23" y="7"/>
                </a:cubicBezTo>
                <a:cubicBezTo>
                  <a:pt x="23" y="7"/>
                  <a:pt x="23" y="7"/>
                  <a:pt x="22" y="7"/>
                </a:cubicBezTo>
                <a:cubicBezTo>
                  <a:pt x="22" y="6"/>
                  <a:pt x="22" y="7"/>
                  <a:pt x="22" y="7"/>
                </a:cubicBezTo>
                <a:cubicBezTo>
                  <a:pt x="21" y="7"/>
                  <a:pt x="20" y="7"/>
                  <a:pt x="19" y="6"/>
                </a:cubicBezTo>
                <a:cubicBezTo>
                  <a:pt x="19" y="6"/>
                  <a:pt x="17" y="6"/>
                  <a:pt x="18" y="6"/>
                </a:cubicBezTo>
                <a:cubicBezTo>
                  <a:pt x="19" y="7"/>
                  <a:pt x="19" y="7"/>
                  <a:pt x="19" y="7"/>
                </a:cubicBezTo>
                <a:cubicBezTo>
                  <a:pt x="20" y="7"/>
                  <a:pt x="20" y="7"/>
                  <a:pt x="20" y="7"/>
                </a:cubicBezTo>
                <a:cubicBezTo>
                  <a:pt x="20" y="7"/>
                  <a:pt x="22" y="8"/>
                  <a:pt x="22" y="8"/>
                </a:cubicBezTo>
                <a:cubicBezTo>
                  <a:pt x="21" y="8"/>
                  <a:pt x="22" y="9"/>
                  <a:pt x="22" y="9"/>
                </a:cubicBezTo>
                <a:cubicBezTo>
                  <a:pt x="21" y="9"/>
                  <a:pt x="21" y="8"/>
                  <a:pt x="20" y="8"/>
                </a:cubicBezTo>
                <a:cubicBezTo>
                  <a:pt x="20" y="8"/>
                  <a:pt x="20" y="9"/>
                  <a:pt x="20" y="9"/>
                </a:cubicBezTo>
                <a:cubicBezTo>
                  <a:pt x="19" y="8"/>
                  <a:pt x="17" y="7"/>
                  <a:pt x="16" y="8"/>
                </a:cubicBezTo>
                <a:cubicBezTo>
                  <a:pt x="17" y="8"/>
                  <a:pt x="18" y="8"/>
                  <a:pt x="18" y="9"/>
                </a:cubicBezTo>
                <a:cubicBezTo>
                  <a:pt x="18" y="9"/>
                  <a:pt x="18" y="9"/>
                  <a:pt x="18" y="9"/>
                </a:cubicBezTo>
                <a:cubicBezTo>
                  <a:pt x="18" y="9"/>
                  <a:pt x="19" y="9"/>
                  <a:pt x="19" y="9"/>
                </a:cubicBezTo>
                <a:cubicBezTo>
                  <a:pt x="19" y="9"/>
                  <a:pt x="19" y="10"/>
                  <a:pt x="19" y="10"/>
                </a:cubicBezTo>
                <a:cubicBezTo>
                  <a:pt x="18" y="10"/>
                  <a:pt x="19" y="10"/>
                  <a:pt x="19" y="10"/>
                </a:cubicBezTo>
                <a:cubicBezTo>
                  <a:pt x="19" y="10"/>
                  <a:pt x="18" y="10"/>
                  <a:pt x="18" y="10"/>
                </a:cubicBezTo>
                <a:cubicBezTo>
                  <a:pt x="18" y="10"/>
                  <a:pt x="18" y="10"/>
                  <a:pt x="17" y="10"/>
                </a:cubicBezTo>
                <a:cubicBezTo>
                  <a:pt x="17" y="9"/>
                  <a:pt x="15" y="9"/>
                  <a:pt x="15" y="9"/>
                </a:cubicBezTo>
                <a:cubicBezTo>
                  <a:pt x="15" y="10"/>
                  <a:pt x="16" y="10"/>
                  <a:pt x="17" y="10"/>
                </a:cubicBezTo>
                <a:cubicBezTo>
                  <a:pt x="17" y="11"/>
                  <a:pt x="17" y="11"/>
                  <a:pt x="17" y="11"/>
                </a:cubicBezTo>
                <a:cubicBezTo>
                  <a:pt x="17" y="11"/>
                  <a:pt x="16" y="11"/>
                  <a:pt x="16" y="11"/>
                </a:cubicBezTo>
                <a:cubicBezTo>
                  <a:pt x="16" y="11"/>
                  <a:pt x="16" y="11"/>
                  <a:pt x="16" y="11"/>
                </a:cubicBezTo>
                <a:cubicBezTo>
                  <a:pt x="16" y="10"/>
                  <a:pt x="15" y="11"/>
                  <a:pt x="15" y="10"/>
                </a:cubicBezTo>
                <a:cubicBezTo>
                  <a:pt x="15" y="10"/>
                  <a:pt x="15" y="10"/>
                  <a:pt x="15" y="10"/>
                </a:cubicBezTo>
                <a:cubicBezTo>
                  <a:pt x="15" y="10"/>
                  <a:pt x="14" y="10"/>
                  <a:pt x="14" y="10"/>
                </a:cubicBezTo>
                <a:cubicBezTo>
                  <a:pt x="14" y="10"/>
                  <a:pt x="13" y="9"/>
                  <a:pt x="13" y="9"/>
                </a:cubicBezTo>
                <a:cubicBezTo>
                  <a:pt x="13" y="9"/>
                  <a:pt x="14" y="9"/>
                  <a:pt x="14" y="9"/>
                </a:cubicBezTo>
                <a:cubicBezTo>
                  <a:pt x="14" y="9"/>
                  <a:pt x="14" y="9"/>
                  <a:pt x="14" y="9"/>
                </a:cubicBezTo>
                <a:cubicBezTo>
                  <a:pt x="14" y="8"/>
                  <a:pt x="13" y="8"/>
                  <a:pt x="13" y="8"/>
                </a:cubicBezTo>
                <a:cubicBezTo>
                  <a:pt x="14" y="8"/>
                  <a:pt x="14" y="8"/>
                  <a:pt x="14" y="8"/>
                </a:cubicBezTo>
                <a:cubicBezTo>
                  <a:pt x="14" y="8"/>
                  <a:pt x="14" y="8"/>
                  <a:pt x="14" y="7"/>
                </a:cubicBezTo>
                <a:cubicBezTo>
                  <a:pt x="14" y="8"/>
                  <a:pt x="13" y="7"/>
                  <a:pt x="14" y="7"/>
                </a:cubicBezTo>
                <a:cubicBezTo>
                  <a:pt x="14" y="7"/>
                  <a:pt x="14" y="7"/>
                  <a:pt x="14" y="7"/>
                </a:cubicBezTo>
                <a:cubicBezTo>
                  <a:pt x="15" y="7"/>
                  <a:pt x="14" y="7"/>
                  <a:pt x="14" y="7"/>
                </a:cubicBezTo>
                <a:cubicBezTo>
                  <a:pt x="14" y="7"/>
                  <a:pt x="14" y="6"/>
                  <a:pt x="14" y="6"/>
                </a:cubicBezTo>
                <a:cubicBezTo>
                  <a:pt x="14" y="6"/>
                  <a:pt x="15" y="6"/>
                  <a:pt x="15" y="6"/>
                </a:cubicBezTo>
                <a:cubicBezTo>
                  <a:pt x="15" y="6"/>
                  <a:pt x="15" y="6"/>
                  <a:pt x="15" y="5"/>
                </a:cubicBezTo>
                <a:cubicBezTo>
                  <a:pt x="15" y="5"/>
                  <a:pt x="16" y="5"/>
                  <a:pt x="16" y="5"/>
                </a:cubicBezTo>
                <a:cubicBezTo>
                  <a:pt x="16" y="4"/>
                  <a:pt x="17" y="4"/>
                  <a:pt x="17" y="5"/>
                </a:cubicBezTo>
                <a:cubicBezTo>
                  <a:pt x="17" y="5"/>
                  <a:pt x="17" y="6"/>
                  <a:pt x="18" y="6"/>
                </a:cubicBezTo>
                <a:cubicBezTo>
                  <a:pt x="18" y="6"/>
                  <a:pt x="17" y="4"/>
                  <a:pt x="17" y="4"/>
                </a:cubicBezTo>
                <a:cubicBezTo>
                  <a:pt x="16" y="4"/>
                  <a:pt x="16" y="4"/>
                  <a:pt x="16" y="3"/>
                </a:cubicBezTo>
                <a:cubicBezTo>
                  <a:pt x="15" y="3"/>
                  <a:pt x="16" y="3"/>
                  <a:pt x="16" y="3"/>
                </a:cubicBezTo>
                <a:cubicBezTo>
                  <a:pt x="16" y="3"/>
                  <a:pt x="16" y="4"/>
                  <a:pt x="17" y="3"/>
                </a:cubicBezTo>
                <a:cubicBezTo>
                  <a:pt x="17" y="3"/>
                  <a:pt x="16" y="2"/>
                  <a:pt x="17" y="3"/>
                </a:cubicBezTo>
                <a:cubicBezTo>
                  <a:pt x="16" y="2"/>
                  <a:pt x="15" y="2"/>
                  <a:pt x="15" y="2"/>
                </a:cubicBezTo>
                <a:cubicBezTo>
                  <a:pt x="15" y="2"/>
                  <a:pt x="16" y="2"/>
                  <a:pt x="16" y="2"/>
                </a:cubicBezTo>
                <a:cubicBezTo>
                  <a:pt x="17" y="1"/>
                  <a:pt x="17" y="1"/>
                  <a:pt x="17" y="1"/>
                </a:cubicBezTo>
                <a:cubicBezTo>
                  <a:pt x="16" y="1"/>
                  <a:pt x="16" y="0"/>
                  <a:pt x="16" y="0"/>
                </a:cubicBezTo>
                <a:cubicBezTo>
                  <a:pt x="17" y="0"/>
                  <a:pt x="17" y="0"/>
                  <a:pt x="18" y="1"/>
                </a:cubicBezTo>
                <a:cubicBezTo>
                  <a:pt x="18" y="1"/>
                  <a:pt x="19" y="1"/>
                  <a:pt x="19" y="1"/>
                </a:cubicBezTo>
                <a:cubicBezTo>
                  <a:pt x="19" y="0"/>
                  <a:pt x="21" y="1"/>
                  <a:pt x="21" y="1"/>
                </a:cubicBezTo>
                <a:cubicBezTo>
                  <a:pt x="22" y="2"/>
                  <a:pt x="21" y="2"/>
                  <a:pt x="20" y="2"/>
                </a:cubicBezTo>
                <a:cubicBezTo>
                  <a:pt x="20" y="1"/>
                  <a:pt x="20" y="1"/>
                  <a:pt x="20" y="2"/>
                </a:cubicBezTo>
                <a:cubicBezTo>
                  <a:pt x="20" y="2"/>
                  <a:pt x="20" y="2"/>
                  <a:pt x="20" y="2"/>
                </a:cubicBezTo>
                <a:cubicBezTo>
                  <a:pt x="20" y="2"/>
                  <a:pt x="20" y="2"/>
                  <a:pt x="20" y="2"/>
                </a:cubicBezTo>
                <a:cubicBezTo>
                  <a:pt x="21" y="3"/>
                  <a:pt x="21" y="2"/>
                  <a:pt x="21" y="3"/>
                </a:cubicBezTo>
                <a:cubicBezTo>
                  <a:pt x="21" y="3"/>
                  <a:pt x="21" y="3"/>
                  <a:pt x="22" y="3"/>
                </a:cubicBezTo>
                <a:cubicBezTo>
                  <a:pt x="22" y="3"/>
                  <a:pt x="22" y="3"/>
                  <a:pt x="23" y="3"/>
                </a:cubicBezTo>
                <a:cubicBezTo>
                  <a:pt x="23" y="3"/>
                  <a:pt x="24" y="4"/>
                  <a:pt x="24" y="4"/>
                </a:cubicBezTo>
                <a:cubicBezTo>
                  <a:pt x="23" y="4"/>
                  <a:pt x="23" y="3"/>
                  <a:pt x="24" y="4"/>
                </a:cubicBezTo>
                <a:cubicBezTo>
                  <a:pt x="24" y="4"/>
                  <a:pt x="23" y="3"/>
                  <a:pt x="23" y="3"/>
                </a:cubicBezTo>
                <a:cubicBezTo>
                  <a:pt x="23" y="3"/>
                  <a:pt x="23" y="3"/>
                  <a:pt x="22" y="3"/>
                </a:cubicBezTo>
                <a:cubicBezTo>
                  <a:pt x="22" y="2"/>
                  <a:pt x="22" y="2"/>
                  <a:pt x="22" y="3"/>
                </a:cubicBezTo>
                <a:cubicBezTo>
                  <a:pt x="22" y="2"/>
                  <a:pt x="22" y="2"/>
                  <a:pt x="22" y="1"/>
                </a:cubicBezTo>
                <a:cubicBezTo>
                  <a:pt x="23" y="1"/>
                  <a:pt x="23" y="1"/>
                  <a:pt x="24" y="1"/>
                </a:cubicBezTo>
                <a:cubicBezTo>
                  <a:pt x="24" y="1"/>
                  <a:pt x="25" y="1"/>
                  <a:pt x="25" y="1"/>
                </a:cubicBezTo>
                <a:cubicBezTo>
                  <a:pt x="26" y="2"/>
                  <a:pt x="26" y="2"/>
                  <a:pt x="26" y="2"/>
                </a:cubicBezTo>
                <a:cubicBezTo>
                  <a:pt x="26" y="2"/>
                  <a:pt x="27" y="2"/>
                  <a:pt x="26" y="3"/>
                </a:cubicBezTo>
                <a:cubicBezTo>
                  <a:pt x="27" y="3"/>
                  <a:pt x="27" y="3"/>
                  <a:pt x="27" y="3"/>
                </a:cubicBezTo>
                <a:cubicBezTo>
                  <a:pt x="27" y="3"/>
                  <a:pt x="26" y="3"/>
                  <a:pt x="26" y="3"/>
                </a:cubicBezTo>
                <a:cubicBezTo>
                  <a:pt x="26" y="3"/>
                  <a:pt x="24" y="2"/>
                  <a:pt x="25" y="3"/>
                </a:cubicBezTo>
                <a:cubicBezTo>
                  <a:pt x="24" y="3"/>
                  <a:pt x="24" y="3"/>
                  <a:pt x="24" y="3"/>
                </a:cubicBezTo>
                <a:cubicBezTo>
                  <a:pt x="24" y="4"/>
                  <a:pt x="25" y="3"/>
                  <a:pt x="26" y="3"/>
                </a:cubicBezTo>
                <a:cubicBezTo>
                  <a:pt x="26" y="3"/>
                  <a:pt x="27" y="3"/>
                  <a:pt x="27" y="4"/>
                </a:cubicBezTo>
                <a:cubicBezTo>
                  <a:pt x="28" y="4"/>
                  <a:pt x="27" y="4"/>
                  <a:pt x="26" y="4"/>
                </a:cubicBezTo>
                <a:cubicBezTo>
                  <a:pt x="27" y="5"/>
                  <a:pt x="27" y="4"/>
                  <a:pt x="28" y="5"/>
                </a:cubicBezTo>
                <a:close/>
                <a:moveTo>
                  <a:pt x="3" y="7"/>
                </a:moveTo>
                <a:cubicBezTo>
                  <a:pt x="2" y="7"/>
                  <a:pt x="2" y="7"/>
                  <a:pt x="2" y="6"/>
                </a:cubicBezTo>
                <a:cubicBezTo>
                  <a:pt x="2" y="6"/>
                  <a:pt x="2" y="6"/>
                  <a:pt x="2" y="6"/>
                </a:cubicBezTo>
                <a:cubicBezTo>
                  <a:pt x="2" y="5"/>
                  <a:pt x="2" y="5"/>
                  <a:pt x="2" y="6"/>
                </a:cubicBezTo>
                <a:cubicBezTo>
                  <a:pt x="2" y="6"/>
                  <a:pt x="2" y="6"/>
                  <a:pt x="2" y="6"/>
                </a:cubicBezTo>
                <a:cubicBezTo>
                  <a:pt x="1" y="7"/>
                  <a:pt x="2" y="6"/>
                  <a:pt x="1" y="5"/>
                </a:cubicBezTo>
                <a:cubicBezTo>
                  <a:pt x="1" y="5"/>
                  <a:pt x="1" y="6"/>
                  <a:pt x="1" y="6"/>
                </a:cubicBezTo>
                <a:cubicBezTo>
                  <a:pt x="0" y="6"/>
                  <a:pt x="0" y="6"/>
                  <a:pt x="0" y="6"/>
                </a:cubicBezTo>
                <a:cubicBezTo>
                  <a:pt x="0" y="7"/>
                  <a:pt x="1" y="7"/>
                  <a:pt x="2" y="7"/>
                </a:cubicBezTo>
                <a:cubicBezTo>
                  <a:pt x="2" y="7"/>
                  <a:pt x="3" y="7"/>
                  <a:pt x="3" y="7"/>
                </a:cubicBezTo>
                <a:close/>
                <a:moveTo>
                  <a:pt x="14" y="3"/>
                </a:moveTo>
                <a:cubicBezTo>
                  <a:pt x="14" y="3"/>
                  <a:pt x="13" y="3"/>
                  <a:pt x="13" y="3"/>
                </a:cubicBezTo>
                <a:cubicBezTo>
                  <a:pt x="13" y="2"/>
                  <a:pt x="14" y="3"/>
                  <a:pt x="14" y="3"/>
                </a:cubicBezTo>
                <a:cubicBezTo>
                  <a:pt x="14" y="2"/>
                  <a:pt x="14" y="2"/>
                  <a:pt x="14" y="2"/>
                </a:cubicBezTo>
                <a:cubicBezTo>
                  <a:pt x="14" y="2"/>
                  <a:pt x="14" y="2"/>
                  <a:pt x="14" y="2"/>
                </a:cubicBezTo>
                <a:cubicBezTo>
                  <a:pt x="14" y="1"/>
                  <a:pt x="12" y="1"/>
                  <a:pt x="12" y="1"/>
                </a:cubicBezTo>
                <a:cubicBezTo>
                  <a:pt x="12" y="2"/>
                  <a:pt x="13" y="2"/>
                  <a:pt x="13" y="2"/>
                </a:cubicBezTo>
                <a:cubicBezTo>
                  <a:pt x="12" y="2"/>
                  <a:pt x="12" y="2"/>
                  <a:pt x="11" y="2"/>
                </a:cubicBezTo>
                <a:cubicBezTo>
                  <a:pt x="11" y="2"/>
                  <a:pt x="12" y="2"/>
                  <a:pt x="12" y="2"/>
                </a:cubicBezTo>
                <a:cubicBezTo>
                  <a:pt x="12" y="1"/>
                  <a:pt x="11" y="2"/>
                  <a:pt x="11" y="2"/>
                </a:cubicBezTo>
                <a:cubicBezTo>
                  <a:pt x="10" y="2"/>
                  <a:pt x="10" y="2"/>
                  <a:pt x="9" y="2"/>
                </a:cubicBezTo>
                <a:cubicBezTo>
                  <a:pt x="9" y="2"/>
                  <a:pt x="10" y="2"/>
                  <a:pt x="10" y="2"/>
                </a:cubicBezTo>
                <a:cubicBezTo>
                  <a:pt x="9" y="2"/>
                  <a:pt x="9" y="2"/>
                  <a:pt x="9" y="1"/>
                </a:cubicBezTo>
                <a:cubicBezTo>
                  <a:pt x="9" y="1"/>
                  <a:pt x="9" y="1"/>
                  <a:pt x="9" y="1"/>
                </a:cubicBezTo>
                <a:cubicBezTo>
                  <a:pt x="8" y="1"/>
                  <a:pt x="8" y="2"/>
                  <a:pt x="8" y="1"/>
                </a:cubicBezTo>
                <a:cubicBezTo>
                  <a:pt x="7" y="1"/>
                  <a:pt x="7" y="2"/>
                  <a:pt x="7" y="2"/>
                </a:cubicBezTo>
                <a:cubicBezTo>
                  <a:pt x="7" y="2"/>
                  <a:pt x="8" y="2"/>
                  <a:pt x="8" y="2"/>
                </a:cubicBezTo>
                <a:cubicBezTo>
                  <a:pt x="7" y="2"/>
                  <a:pt x="7" y="2"/>
                  <a:pt x="7" y="2"/>
                </a:cubicBezTo>
                <a:cubicBezTo>
                  <a:pt x="6" y="2"/>
                  <a:pt x="6" y="2"/>
                  <a:pt x="5" y="2"/>
                </a:cubicBezTo>
                <a:cubicBezTo>
                  <a:pt x="4" y="2"/>
                  <a:pt x="4" y="1"/>
                  <a:pt x="3" y="1"/>
                </a:cubicBezTo>
                <a:cubicBezTo>
                  <a:pt x="2" y="1"/>
                  <a:pt x="3" y="2"/>
                  <a:pt x="3" y="2"/>
                </a:cubicBezTo>
                <a:cubicBezTo>
                  <a:pt x="3" y="2"/>
                  <a:pt x="5" y="2"/>
                  <a:pt x="5" y="2"/>
                </a:cubicBezTo>
                <a:cubicBezTo>
                  <a:pt x="5" y="2"/>
                  <a:pt x="4" y="2"/>
                  <a:pt x="4" y="2"/>
                </a:cubicBezTo>
                <a:cubicBezTo>
                  <a:pt x="4" y="3"/>
                  <a:pt x="4" y="3"/>
                  <a:pt x="5" y="3"/>
                </a:cubicBezTo>
                <a:cubicBezTo>
                  <a:pt x="5" y="3"/>
                  <a:pt x="6" y="3"/>
                  <a:pt x="7" y="4"/>
                </a:cubicBezTo>
                <a:cubicBezTo>
                  <a:pt x="7" y="4"/>
                  <a:pt x="8" y="4"/>
                  <a:pt x="8" y="5"/>
                </a:cubicBezTo>
                <a:cubicBezTo>
                  <a:pt x="8" y="5"/>
                  <a:pt x="7" y="4"/>
                  <a:pt x="7" y="4"/>
                </a:cubicBezTo>
                <a:cubicBezTo>
                  <a:pt x="7" y="4"/>
                  <a:pt x="6" y="4"/>
                  <a:pt x="6" y="4"/>
                </a:cubicBezTo>
                <a:cubicBezTo>
                  <a:pt x="5" y="4"/>
                  <a:pt x="5" y="5"/>
                  <a:pt x="4" y="5"/>
                </a:cubicBezTo>
                <a:cubicBezTo>
                  <a:pt x="2" y="4"/>
                  <a:pt x="5" y="6"/>
                  <a:pt x="5" y="6"/>
                </a:cubicBezTo>
                <a:cubicBezTo>
                  <a:pt x="5" y="5"/>
                  <a:pt x="7" y="5"/>
                  <a:pt x="7" y="5"/>
                </a:cubicBezTo>
                <a:cubicBezTo>
                  <a:pt x="8" y="5"/>
                  <a:pt x="8" y="6"/>
                  <a:pt x="7" y="5"/>
                </a:cubicBezTo>
                <a:cubicBezTo>
                  <a:pt x="6" y="5"/>
                  <a:pt x="7" y="6"/>
                  <a:pt x="7" y="6"/>
                </a:cubicBezTo>
                <a:cubicBezTo>
                  <a:pt x="6" y="6"/>
                  <a:pt x="6" y="5"/>
                  <a:pt x="6" y="5"/>
                </a:cubicBezTo>
                <a:cubicBezTo>
                  <a:pt x="5" y="6"/>
                  <a:pt x="6" y="6"/>
                  <a:pt x="6" y="7"/>
                </a:cubicBezTo>
                <a:cubicBezTo>
                  <a:pt x="6" y="7"/>
                  <a:pt x="5" y="7"/>
                  <a:pt x="5" y="7"/>
                </a:cubicBezTo>
                <a:cubicBezTo>
                  <a:pt x="5" y="7"/>
                  <a:pt x="6" y="7"/>
                  <a:pt x="6" y="7"/>
                </a:cubicBezTo>
                <a:cubicBezTo>
                  <a:pt x="7" y="7"/>
                  <a:pt x="6" y="8"/>
                  <a:pt x="6" y="8"/>
                </a:cubicBezTo>
                <a:cubicBezTo>
                  <a:pt x="6" y="8"/>
                  <a:pt x="5" y="8"/>
                  <a:pt x="5" y="8"/>
                </a:cubicBezTo>
                <a:cubicBezTo>
                  <a:pt x="5" y="7"/>
                  <a:pt x="5" y="8"/>
                  <a:pt x="4" y="7"/>
                </a:cubicBezTo>
                <a:cubicBezTo>
                  <a:pt x="4" y="7"/>
                  <a:pt x="4" y="7"/>
                  <a:pt x="3" y="7"/>
                </a:cubicBezTo>
                <a:cubicBezTo>
                  <a:pt x="3" y="8"/>
                  <a:pt x="4" y="8"/>
                  <a:pt x="4" y="8"/>
                </a:cubicBezTo>
                <a:cubicBezTo>
                  <a:pt x="4" y="8"/>
                  <a:pt x="3" y="8"/>
                  <a:pt x="3" y="8"/>
                </a:cubicBezTo>
                <a:cubicBezTo>
                  <a:pt x="4" y="9"/>
                  <a:pt x="2" y="8"/>
                  <a:pt x="2" y="8"/>
                </a:cubicBezTo>
                <a:cubicBezTo>
                  <a:pt x="2" y="8"/>
                  <a:pt x="5" y="10"/>
                  <a:pt x="5" y="10"/>
                </a:cubicBezTo>
                <a:cubicBezTo>
                  <a:pt x="5" y="9"/>
                  <a:pt x="4" y="9"/>
                  <a:pt x="4" y="9"/>
                </a:cubicBezTo>
                <a:cubicBezTo>
                  <a:pt x="5" y="9"/>
                  <a:pt x="5" y="9"/>
                  <a:pt x="6" y="10"/>
                </a:cubicBezTo>
                <a:cubicBezTo>
                  <a:pt x="5" y="10"/>
                  <a:pt x="6" y="10"/>
                  <a:pt x="6" y="10"/>
                </a:cubicBezTo>
                <a:cubicBezTo>
                  <a:pt x="7" y="10"/>
                  <a:pt x="7" y="10"/>
                  <a:pt x="7" y="10"/>
                </a:cubicBezTo>
                <a:cubicBezTo>
                  <a:pt x="7" y="9"/>
                  <a:pt x="6" y="9"/>
                  <a:pt x="6" y="9"/>
                </a:cubicBezTo>
                <a:cubicBezTo>
                  <a:pt x="6" y="9"/>
                  <a:pt x="7" y="10"/>
                  <a:pt x="7" y="9"/>
                </a:cubicBezTo>
                <a:cubicBezTo>
                  <a:pt x="7" y="9"/>
                  <a:pt x="7" y="9"/>
                  <a:pt x="7" y="9"/>
                </a:cubicBezTo>
                <a:cubicBezTo>
                  <a:pt x="8" y="9"/>
                  <a:pt x="9" y="9"/>
                  <a:pt x="8" y="8"/>
                </a:cubicBezTo>
                <a:cubicBezTo>
                  <a:pt x="8" y="8"/>
                  <a:pt x="8" y="8"/>
                  <a:pt x="8" y="8"/>
                </a:cubicBezTo>
                <a:cubicBezTo>
                  <a:pt x="9" y="7"/>
                  <a:pt x="8" y="8"/>
                  <a:pt x="8" y="8"/>
                </a:cubicBezTo>
                <a:cubicBezTo>
                  <a:pt x="9" y="8"/>
                  <a:pt x="9" y="8"/>
                  <a:pt x="9" y="8"/>
                </a:cubicBezTo>
                <a:cubicBezTo>
                  <a:pt x="10" y="8"/>
                  <a:pt x="9" y="7"/>
                  <a:pt x="9" y="7"/>
                </a:cubicBezTo>
                <a:cubicBezTo>
                  <a:pt x="10" y="7"/>
                  <a:pt x="10" y="8"/>
                  <a:pt x="11" y="7"/>
                </a:cubicBezTo>
                <a:cubicBezTo>
                  <a:pt x="11" y="7"/>
                  <a:pt x="11" y="7"/>
                  <a:pt x="11" y="6"/>
                </a:cubicBezTo>
                <a:cubicBezTo>
                  <a:pt x="12" y="6"/>
                  <a:pt x="12" y="5"/>
                  <a:pt x="12" y="4"/>
                </a:cubicBezTo>
                <a:cubicBezTo>
                  <a:pt x="13" y="4"/>
                  <a:pt x="12" y="4"/>
                  <a:pt x="12" y="4"/>
                </a:cubicBezTo>
                <a:cubicBezTo>
                  <a:pt x="12" y="4"/>
                  <a:pt x="13" y="4"/>
                  <a:pt x="13" y="4"/>
                </a:cubicBezTo>
                <a:cubicBezTo>
                  <a:pt x="13" y="4"/>
                  <a:pt x="13" y="4"/>
                  <a:pt x="14" y="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2" name="Ethiopia"/>
          <p:cNvSpPr>
            <a:spLocks/>
          </p:cNvSpPr>
          <p:nvPr/>
        </p:nvSpPr>
        <p:spPr bwMode="auto">
          <a:xfrm>
            <a:off x="6948040" y="4073959"/>
            <a:ext cx="523980" cy="455983"/>
          </a:xfrm>
          <a:custGeom>
            <a:avLst/>
            <a:gdLst/>
            <a:ahLst/>
            <a:cxnLst>
              <a:cxn ang="0">
                <a:pos x="130" y="73"/>
              </a:cxn>
              <a:cxn ang="0">
                <a:pos x="110" y="66"/>
              </a:cxn>
              <a:cxn ang="0">
                <a:pos x="101" y="60"/>
              </a:cxn>
              <a:cxn ang="0">
                <a:pos x="98" y="55"/>
              </a:cxn>
              <a:cxn ang="0">
                <a:pos x="95" y="51"/>
              </a:cxn>
              <a:cxn ang="0">
                <a:pos x="94" y="45"/>
              </a:cxn>
              <a:cxn ang="0">
                <a:pos x="94" y="42"/>
              </a:cxn>
              <a:cxn ang="0">
                <a:pos x="90" y="42"/>
              </a:cxn>
              <a:cxn ang="0">
                <a:pos x="87" y="43"/>
              </a:cxn>
              <a:cxn ang="0">
                <a:pos x="86" y="33"/>
              </a:cxn>
              <a:cxn ang="0">
                <a:pos x="90" y="26"/>
              </a:cxn>
              <a:cxn ang="0">
                <a:pos x="85" y="20"/>
              </a:cxn>
              <a:cxn ang="0">
                <a:pos x="75" y="8"/>
              </a:cxn>
              <a:cxn ang="0">
                <a:pos x="65" y="4"/>
              </a:cxn>
              <a:cxn ang="0">
                <a:pos x="61" y="4"/>
              </a:cxn>
              <a:cxn ang="0">
                <a:pos x="59" y="5"/>
              </a:cxn>
              <a:cxn ang="0">
                <a:pos x="53" y="5"/>
              </a:cxn>
              <a:cxn ang="0">
                <a:pos x="49" y="2"/>
              </a:cxn>
              <a:cxn ang="0">
                <a:pos x="45" y="2"/>
              </a:cxn>
              <a:cxn ang="0">
                <a:pos x="42" y="7"/>
              </a:cxn>
              <a:cxn ang="0">
                <a:pos x="40" y="4"/>
              </a:cxn>
              <a:cxn ang="0">
                <a:pos x="33" y="7"/>
              </a:cxn>
              <a:cxn ang="0">
                <a:pos x="30" y="16"/>
              </a:cxn>
              <a:cxn ang="0">
                <a:pos x="29" y="23"/>
              </a:cxn>
              <a:cxn ang="0">
                <a:pos x="25" y="24"/>
              </a:cxn>
              <a:cxn ang="0">
                <a:pos x="22" y="31"/>
              </a:cxn>
              <a:cxn ang="0">
                <a:pos x="19" y="37"/>
              </a:cxn>
              <a:cxn ang="0">
                <a:pos x="18" y="45"/>
              </a:cxn>
              <a:cxn ang="0">
                <a:pos x="15" y="44"/>
              </a:cxn>
              <a:cxn ang="0">
                <a:pos x="12" y="49"/>
              </a:cxn>
              <a:cxn ang="0">
                <a:pos x="11" y="68"/>
              </a:cxn>
              <a:cxn ang="0">
                <a:pos x="7" y="71"/>
              </a:cxn>
              <a:cxn ang="0">
                <a:pos x="3" y="70"/>
              </a:cxn>
              <a:cxn ang="0">
                <a:pos x="2" y="74"/>
              </a:cxn>
              <a:cxn ang="0">
                <a:pos x="2" y="78"/>
              </a:cxn>
              <a:cxn ang="0">
                <a:pos x="7" y="79"/>
              </a:cxn>
              <a:cxn ang="0">
                <a:pos x="10" y="84"/>
              </a:cxn>
              <a:cxn ang="0">
                <a:pos x="14" y="87"/>
              </a:cxn>
              <a:cxn ang="0">
                <a:pos x="17" y="91"/>
              </a:cxn>
              <a:cxn ang="0">
                <a:pos x="20" y="100"/>
              </a:cxn>
              <a:cxn ang="0">
                <a:pos x="22" y="102"/>
              </a:cxn>
              <a:cxn ang="0">
                <a:pos x="25" y="104"/>
              </a:cxn>
              <a:cxn ang="0">
                <a:pos x="28" y="106"/>
              </a:cxn>
              <a:cxn ang="0">
                <a:pos x="29" y="112"/>
              </a:cxn>
              <a:cxn ang="0">
                <a:pos x="38" y="115"/>
              </a:cxn>
              <a:cxn ang="0">
                <a:pos x="49" y="122"/>
              </a:cxn>
              <a:cxn ang="0">
                <a:pos x="55" y="123"/>
              </a:cxn>
              <a:cxn ang="0">
                <a:pos x="62" y="125"/>
              </a:cxn>
              <a:cxn ang="0">
                <a:pos x="64" y="126"/>
              </a:cxn>
              <a:cxn ang="0">
                <a:pos x="72" y="118"/>
              </a:cxn>
              <a:cxn ang="0">
                <a:pos x="79" y="119"/>
              </a:cxn>
              <a:cxn ang="0">
                <a:pos x="84" y="120"/>
              </a:cxn>
              <a:cxn ang="0">
                <a:pos x="88" y="118"/>
              </a:cxn>
              <a:cxn ang="0">
                <a:pos x="97" y="114"/>
              </a:cxn>
              <a:cxn ang="0">
                <a:pos x="106" y="109"/>
              </a:cxn>
              <a:cxn ang="0">
                <a:pos x="116" y="109"/>
              </a:cxn>
              <a:cxn ang="0">
                <a:pos x="129" y="93"/>
              </a:cxn>
            </a:cxnLst>
            <a:rect l="0" t="0" r="r" b="b"/>
            <a:pathLst>
              <a:path w="145" h="126">
                <a:moveTo>
                  <a:pt x="140" y="75"/>
                </a:moveTo>
                <a:cubicBezTo>
                  <a:pt x="138" y="75"/>
                  <a:pt x="137" y="76"/>
                  <a:pt x="135" y="75"/>
                </a:cubicBezTo>
                <a:cubicBezTo>
                  <a:pt x="134" y="75"/>
                  <a:pt x="132" y="74"/>
                  <a:pt x="130" y="73"/>
                </a:cubicBezTo>
                <a:cubicBezTo>
                  <a:pt x="129" y="73"/>
                  <a:pt x="127" y="72"/>
                  <a:pt x="125" y="71"/>
                </a:cubicBezTo>
                <a:cubicBezTo>
                  <a:pt x="122" y="70"/>
                  <a:pt x="118" y="69"/>
                  <a:pt x="115" y="67"/>
                </a:cubicBezTo>
                <a:cubicBezTo>
                  <a:pt x="113" y="67"/>
                  <a:pt x="112" y="66"/>
                  <a:pt x="110" y="66"/>
                </a:cubicBezTo>
                <a:cubicBezTo>
                  <a:pt x="109" y="65"/>
                  <a:pt x="107" y="65"/>
                  <a:pt x="106" y="64"/>
                </a:cubicBezTo>
                <a:cubicBezTo>
                  <a:pt x="105" y="63"/>
                  <a:pt x="104" y="62"/>
                  <a:pt x="103" y="61"/>
                </a:cubicBezTo>
                <a:cubicBezTo>
                  <a:pt x="102" y="60"/>
                  <a:pt x="102" y="60"/>
                  <a:pt x="101" y="60"/>
                </a:cubicBezTo>
                <a:cubicBezTo>
                  <a:pt x="101" y="60"/>
                  <a:pt x="101" y="59"/>
                  <a:pt x="100" y="59"/>
                </a:cubicBezTo>
                <a:cubicBezTo>
                  <a:pt x="100" y="58"/>
                  <a:pt x="99" y="57"/>
                  <a:pt x="99" y="56"/>
                </a:cubicBezTo>
                <a:cubicBezTo>
                  <a:pt x="99" y="56"/>
                  <a:pt x="99" y="55"/>
                  <a:pt x="98" y="55"/>
                </a:cubicBezTo>
                <a:cubicBezTo>
                  <a:pt x="98" y="54"/>
                  <a:pt x="97" y="55"/>
                  <a:pt x="97" y="54"/>
                </a:cubicBezTo>
                <a:cubicBezTo>
                  <a:pt x="97" y="53"/>
                  <a:pt x="97" y="53"/>
                  <a:pt x="96" y="52"/>
                </a:cubicBezTo>
                <a:cubicBezTo>
                  <a:pt x="96" y="52"/>
                  <a:pt x="95" y="51"/>
                  <a:pt x="95" y="51"/>
                </a:cubicBezTo>
                <a:cubicBezTo>
                  <a:pt x="94" y="50"/>
                  <a:pt x="94" y="49"/>
                  <a:pt x="94" y="48"/>
                </a:cubicBezTo>
                <a:cubicBezTo>
                  <a:pt x="93" y="47"/>
                  <a:pt x="93" y="47"/>
                  <a:pt x="93" y="46"/>
                </a:cubicBezTo>
                <a:cubicBezTo>
                  <a:pt x="94" y="46"/>
                  <a:pt x="94" y="46"/>
                  <a:pt x="94" y="45"/>
                </a:cubicBezTo>
                <a:cubicBezTo>
                  <a:pt x="94" y="45"/>
                  <a:pt x="94" y="44"/>
                  <a:pt x="95" y="43"/>
                </a:cubicBezTo>
                <a:cubicBezTo>
                  <a:pt x="95" y="43"/>
                  <a:pt x="95" y="43"/>
                  <a:pt x="96" y="42"/>
                </a:cubicBezTo>
                <a:cubicBezTo>
                  <a:pt x="95" y="42"/>
                  <a:pt x="95" y="43"/>
                  <a:pt x="94" y="42"/>
                </a:cubicBezTo>
                <a:cubicBezTo>
                  <a:pt x="94" y="42"/>
                  <a:pt x="94" y="42"/>
                  <a:pt x="93" y="42"/>
                </a:cubicBezTo>
                <a:cubicBezTo>
                  <a:pt x="93" y="42"/>
                  <a:pt x="92" y="41"/>
                  <a:pt x="92" y="42"/>
                </a:cubicBezTo>
                <a:cubicBezTo>
                  <a:pt x="91" y="42"/>
                  <a:pt x="90" y="42"/>
                  <a:pt x="90" y="42"/>
                </a:cubicBezTo>
                <a:cubicBezTo>
                  <a:pt x="89" y="42"/>
                  <a:pt x="89" y="42"/>
                  <a:pt x="89" y="43"/>
                </a:cubicBezTo>
                <a:cubicBezTo>
                  <a:pt x="88" y="42"/>
                  <a:pt x="88" y="42"/>
                  <a:pt x="88" y="42"/>
                </a:cubicBezTo>
                <a:cubicBezTo>
                  <a:pt x="88" y="42"/>
                  <a:pt x="87" y="43"/>
                  <a:pt x="87" y="43"/>
                </a:cubicBezTo>
                <a:cubicBezTo>
                  <a:pt x="86" y="43"/>
                  <a:pt x="84" y="43"/>
                  <a:pt x="84" y="42"/>
                </a:cubicBezTo>
                <a:cubicBezTo>
                  <a:pt x="85" y="40"/>
                  <a:pt x="84" y="37"/>
                  <a:pt x="84" y="35"/>
                </a:cubicBezTo>
                <a:cubicBezTo>
                  <a:pt x="85" y="34"/>
                  <a:pt x="85" y="34"/>
                  <a:pt x="86" y="33"/>
                </a:cubicBezTo>
                <a:cubicBezTo>
                  <a:pt x="86" y="33"/>
                  <a:pt x="86" y="32"/>
                  <a:pt x="87" y="32"/>
                </a:cubicBezTo>
                <a:cubicBezTo>
                  <a:pt x="87" y="31"/>
                  <a:pt x="88" y="30"/>
                  <a:pt x="89" y="28"/>
                </a:cubicBezTo>
                <a:cubicBezTo>
                  <a:pt x="89" y="28"/>
                  <a:pt x="90" y="26"/>
                  <a:pt x="90" y="26"/>
                </a:cubicBezTo>
                <a:cubicBezTo>
                  <a:pt x="89" y="25"/>
                  <a:pt x="89" y="25"/>
                  <a:pt x="88" y="24"/>
                </a:cubicBezTo>
                <a:cubicBezTo>
                  <a:pt x="88" y="23"/>
                  <a:pt x="87" y="23"/>
                  <a:pt x="86" y="22"/>
                </a:cubicBezTo>
                <a:cubicBezTo>
                  <a:pt x="85" y="22"/>
                  <a:pt x="85" y="21"/>
                  <a:pt x="85" y="20"/>
                </a:cubicBezTo>
                <a:cubicBezTo>
                  <a:pt x="83" y="17"/>
                  <a:pt x="81" y="16"/>
                  <a:pt x="79" y="14"/>
                </a:cubicBezTo>
                <a:cubicBezTo>
                  <a:pt x="78" y="14"/>
                  <a:pt x="78" y="13"/>
                  <a:pt x="77" y="12"/>
                </a:cubicBezTo>
                <a:cubicBezTo>
                  <a:pt x="76" y="10"/>
                  <a:pt x="75" y="9"/>
                  <a:pt x="75" y="8"/>
                </a:cubicBezTo>
                <a:cubicBezTo>
                  <a:pt x="73" y="7"/>
                  <a:pt x="72" y="7"/>
                  <a:pt x="71" y="6"/>
                </a:cubicBezTo>
                <a:cubicBezTo>
                  <a:pt x="69" y="5"/>
                  <a:pt x="69" y="4"/>
                  <a:pt x="67" y="4"/>
                </a:cubicBezTo>
                <a:cubicBezTo>
                  <a:pt x="66" y="4"/>
                  <a:pt x="65" y="5"/>
                  <a:pt x="65" y="4"/>
                </a:cubicBezTo>
                <a:cubicBezTo>
                  <a:pt x="64" y="4"/>
                  <a:pt x="64" y="4"/>
                  <a:pt x="63" y="4"/>
                </a:cubicBezTo>
                <a:cubicBezTo>
                  <a:pt x="62" y="4"/>
                  <a:pt x="62" y="3"/>
                  <a:pt x="61" y="3"/>
                </a:cubicBezTo>
                <a:cubicBezTo>
                  <a:pt x="61" y="3"/>
                  <a:pt x="61" y="4"/>
                  <a:pt x="61" y="4"/>
                </a:cubicBezTo>
                <a:cubicBezTo>
                  <a:pt x="61" y="4"/>
                  <a:pt x="60" y="4"/>
                  <a:pt x="60" y="4"/>
                </a:cubicBezTo>
                <a:cubicBezTo>
                  <a:pt x="60" y="4"/>
                  <a:pt x="59" y="4"/>
                  <a:pt x="59" y="4"/>
                </a:cubicBezTo>
                <a:cubicBezTo>
                  <a:pt x="59" y="4"/>
                  <a:pt x="59" y="4"/>
                  <a:pt x="59" y="5"/>
                </a:cubicBezTo>
                <a:cubicBezTo>
                  <a:pt x="59" y="5"/>
                  <a:pt x="58" y="4"/>
                  <a:pt x="58" y="4"/>
                </a:cubicBezTo>
                <a:cubicBezTo>
                  <a:pt x="58" y="3"/>
                  <a:pt x="57" y="1"/>
                  <a:pt x="56" y="3"/>
                </a:cubicBezTo>
                <a:cubicBezTo>
                  <a:pt x="56" y="4"/>
                  <a:pt x="54" y="4"/>
                  <a:pt x="53" y="5"/>
                </a:cubicBezTo>
                <a:cubicBezTo>
                  <a:pt x="52" y="5"/>
                  <a:pt x="51" y="5"/>
                  <a:pt x="51" y="4"/>
                </a:cubicBezTo>
                <a:cubicBezTo>
                  <a:pt x="50" y="4"/>
                  <a:pt x="50" y="4"/>
                  <a:pt x="50" y="3"/>
                </a:cubicBezTo>
                <a:cubicBezTo>
                  <a:pt x="49" y="2"/>
                  <a:pt x="49" y="2"/>
                  <a:pt x="49" y="2"/>
                </a:cubicBezTo>
                <a:cubicBezTo>
                  <a:pt x="48" y="2"/>
                  <a:pt x="47" y="2"/>
                  <a:pt x="47" y="1"/>
                </a:cubicBezTo>
                <a:cubicBezTo>
                  <a:pt x="47" y="1"/>
                  <a:pt x="46" y="0"/>
                  <a:pt x="46" y="0"/>
                </a:cubicBezTo>
                <a:cubicBezTo>
                  <a:pt x="46" y="0"/>
                  <a:pt x="45" y="2"/>
                  <a:pt x="45" y="2"/>
                </a:cubicBezTo>
                <a:cubicBezTo>
                  <a:pt x="44" y="4"/>
                  <a:pt x="44" y="5"/>
                  <a:pt x="43" y="7"/>
                </a:cubicBezTo>
                <a:cubicBezTo>
                  <a:pt x="43" y="7"/>
                  <a:pt x="43" y="8"/>
                  <a:pt x="43" y="8"/>
                </a:cubicBezTo>
                <a:cubicBezTo>
                  <a:pt x="42" y="8"/>
                  <a:pt x="42" y="7"/>
                  <a:pt x="42" y="7"/>
                </a:cubicBezTo>
                <a:cubicBezTo>
                  <a:pt x="42" y="7"/>
                  <a:pt x="42" y="7"/>
                  <a:pt x="41" y="6"/>
                </a:cubicBezTo>
                <a:cubicBezTo>
                  <a:pt x="41" y="6"/>
                  <a:pt x="41" y="6"/>
                  <a:pt x="41" y="6"/>
                </a:cubicBezTo>
                <a:cubicBezTo>
                  <a:pt x="41" y="5"/>
                  <a:pt x="41" y="5"/>
                  <a:pt x="40" y="4"/>
                </a:cubicBezTo>
                <a:cubicBezTo>
                  <a:pt x="39" y="4"/>
                  <a:pt x="38" y="5"/>
                  <a:pt x="38" y="6"/>
                </a:cubicBezTo>
                <a:cubicBezTo>
                  <a:pt x="38" y="7"/>
                  <a:pt x="36" y="6"/>
                  <a:pt x="35" y="6"/>
                </a:cubicBezTo>
                <a:cubicBezTo>
                  <a:pt x="35" y="6"/>
                  <a:pt x="33" y="6"/>
                  <a:pt x="33" y="7"/>
                </a:cubicBezTo>
                <a:cubicBezTo>
                  <a:pt x="33" y="8"/>
                  <a:pt x="32" y="9"/>
                  <a:pt x="32" y="10"/>
                </a:cubicBezTo>
                <a:cubicBezTo>
                  <a:pt x="32" y="11"/>
                  <a:pt x="32" y="13"/>
                  <a:pt x="32" y="14"/>
                </a:cubicBezTo>
                <a:cubicBezTo>
                  <a:pt x="32" y="15"/>
                  <a:pt x="31" y="16"/>
                  <a:pt x="30" y="16"/>
                </a:cubicBezTo>
                <a:cubicBezTo>
                  <a:pt x="30" y="17"/>
                  <a:pt x="29" y="19"/>
                  <a:pt x="30" y="20"/>
                </a:cubicBezTo>
                <a:cubicBezTo>
                  <a:pt x="30" y="21"/>
                  <a:pt x="29" y="21"/>
                  <a:pt x="29" y="22"/>
                </a:cubicBezTo>
                <a:cubicBezTo>
                  <a:pt x="30" y="22"/>
                  <a:pt x="30" y="23"/>
                  <a:pt x="29" y="23"/>
                </a:cubicBezTo>
                <a:cubicBezTo>
                  <a:pt x="29" y="24"/>
                  <a:pt x="29" y="24"/>
                  <a:pt x="29" y="24"/>
                </a:cubicBezTo>
                <a:cubicBezTo>
                  <a:pt x="29" y="23"/>
                  <a:pt x="28" y="23"/>
                  <a:pt x="28" y="24"/>
                </a:cubicBezTo>
                <a:cubicBezTo>
                  <a:pt x="27" y="24"/>
                  <a:pt x="26" y="24"/>
                  <a:pt x="25" y="24"/>
                </a:cubicBezTo>
                <a:cubicBezTo>
                  <a:pt x="25" y="24"/>
                  <a:pt x="25" y="25"/>
                  <a:pt x="25" y="25"/>
                </a:cubicBezTo>
                <a:cubicBezTo>
                  <a:pt x="24" y="26"/>
                  <a:pt x="24" y="27"/>
                  <a:pt x="23" y="28"/>
                </a:cubicBezTo>
                <a:cubicBezTo>
                  <a:pt x="23" y="28"/>
                  <a:pt x="22" y="30"/>
                  <a:pt x="22" y="31"/>
                </a:cubicBezTo>
                <a:cubicBezTo>
                  <a:pt x="22" y="31"/>
                  <a:pt x="21" y="32"/>
                  <a:pt x="21" y="32"/>
                </a:cubicBezTo>
                <a:cubicBezTo>
                  <a:pt x="20" y="33"/>
                  <a:pt x="19" y="33"/>
                  <a:pt x="19" y="35"/>
                </a:cubicBezTo>
                <a:cubicBezTo>
                  <a:pt x="19" y="36"/>
                  <a:pt x="20" y="36"/>
                  <a:pt x="19" y="37"/>
                </a:cubicBezTo>
                <a:cubicBezTo>
                  <a:pt x="19" y="38"/>
                  <a:pt x="18" y="39"/>
                  <a:pt x="19" y="40"/>
                </a:cubicBezTo>
                <a:cubicBezTo>
                  <a:pt x="19" y="41"/>
                  <a:pt x="18" y="42"/>
                  <a:pt x="18" y="43"/>
                </a:cubicBezTo>
                <a:cubicBezTo>
                  <a:pt x="19" y="44"/>
                  <a:pt x="18" y="44"/>
                  <a:pt x="18" y="45"/>
                </a:cubicBezTo>
                <a:cubicBezTo>
                  <a:pt x="18" y="46"/>
                  <a:pt x="17" y="45"/>
                  <a:pt x="17" y="45"/>
                </a:cubicBezTo>
                <a:cubicBezTo>
                  <a:pt x="17" y="45"/>
                  <a:pt x="17" y="46"/>
                  <a:pt x="17" y="46"/>
                </a:cubicBezTo>
                <a:cubicBezTo>
                  <a:pt x="17" y="45"/>
                  <a:pt x="15" y="44"/>
                  <a:pt x="15" y="44"/>
                </a:cubicBezTo>
                <a:cubicBezTo>
                  <a:pt x="14" y="44"/>
                  <a:pt x="13" y="45"/>
                  <a:pt x="13" y="45"/>
                </a:cubicBezTo>
                <a:cubicBezTo>
                  <a:pt x="13" y="46"/>
                  <a:pt x="12" y="47"/>
                  <a:pt x="12" y="47"/>
                </a:cubicBezTo>
                <a:cubicBezTo>
                  <a:pt x="12" y="48"/>
                  <a:pt x="12" y="49"/>
                  <a:pt x="12" y="49"/>
                </a:cubicBezTo>
                <a:cubicBezTo>
                  <a:pt x="13" y="50"/>
                  <a:pt x="13" y="51"/>
                  <a:pt x="12" y="52"/>
                </a:cubicBezTo>
                <a:cubicBezTo>
                  <a:pt x="11" y="55"/>
                  <a:pt x="10" y="58"/>
                  <a:pt x="10" y="60"/>
                </a:cubicBezTo>
                <a:cubicBezTo>
                  <a:pt x="11" y="63"/>
                  <a:pt x="11" y="65"/>
                  <a:pt x="11" y="68"/>
                </a:cubicBezTo>
                <a:cubicBezTo>
                  <a:pt x="11" y="69"/>
                  <a:pt x="11" y="69"/>
                  <a:pt x="10" y="70"/>
                </a:cubicBezTo>
                <a:cubicBezTo>
                  <a:pt x="10" y="70"/>
                  <a:pt x="9" y="70"/>
                  <a:pt x="8" y="71"/>
                </a:cubicBezTo>
                <a:cubicBezTo>
                  <a:pt x="8" y="71"/>
                  <a:pt x="7" y="72"/>
                  <a:pt x="7" y="71"/>
                </a:cubicBezTo>
                <a:cubicBezTo>
                  <a:pt x="7" y="71"/>
                  <a:pt x="6" y="70"/>
                  <a:pt x="6" y="70"/>
                </a:cubicBezTo>
                <a:cubicBezTo>
                  <a:pt x="6" y="70"/>
                  <a:pt x="5" y="70"/>
                  <a:pt x="5" y="70"/>
                </a:cubicBezTo>
                <a:cubicBezTo>
                  <a:pt x="5" y="70"/>
                  <a:pt x="3" y="70"/>
                  <a:pt x="3" y="70"/>
                </a:cubicBezTo>
                <a:cubicBezTo>
                  <a:pt x="3" y="70"/>
                  <a:pt x="2" y="70"/>
                  <a:pt x="2" y="71"/>
                </a:cubicBezTo>
                <a:cubicBezTo>
                  <a:pt x="2" y="71"/>
                  <a:pt x="1" y="72"/>
                  <a:pt x="2" y="72"/>
                </a:cubicBezTo>
                <a:cubicBezTo>
                  <a:pt x="2" y="73"/>
                  <a:pt x="2" y="74"/>
                  <a:pt x="2" y="74"/>
                </a:cubicBezTo>
                <a:cubicBezTo>
                  <a:pt x="1" y="74"/>
                  <a:pt x="1" y="75"/>
                  <a:pt x="0" y="75"/>
                </a:cubicBezTo>
                <a:cubicBezTo>
                  <a:pt x="0" y="76"/>
                  <a:pt x="0" y="76"/>
                  <a:pt x="0" y="77"/>
                </a:cubicBezTo>
                <a:cubicBezTo>
                  <a:pt x="1" y="78"/>
                  <a:pt x="1" y="78"/>
                  <a:pt x="2" y="78"/>
                </a:cubicBezTo>
                <a:cubicBezTo>
                  <a:pt x="2" y="78"/>
                  <a:pt x="3" y="79"/>
                  <a:pt x="4" y="78"/>
                </a:cubicBezTo>
                <a:cubicBezTo>
                  <a:pt x="4" y="78"/>
                  <a:pt x="5" y="78"/>
                  <a:pt x="5" y="79"/>
                </a:cubicBezTo>
                <a:cubicBezTo>
                  <a:pt x="6" y="79"/>
                  <a:pt x="7" y="79"/>
                  <a:pt x="7" y="79"/>
                </a:cubicBezTo>
                <a:cubicBezTo>
                  <a:pt x="8" y="79"/>
                  <a:pt x="8" y="80"/>
                  <a:pt x="8" y="80"/>
                </a:cubicBezTo>
                <a:cubicBezTo>
                  <a:pt x="9" y="81"/>
                  <a:pt x="10" y="81"/>
                  <a:pt x="10" y="82"/>
                </a:cubicBezTo>
                <a:cubicBezTo>
                  <a:pt x="10" y="83"/>
                  <a:pt x="10" y="83"/>
                  <a:pt x="10" y="84"/>
                </a:cubicBezTo>
                <a:cubicBezTo>
                  <a:pt x="11" y="84"/>
                  <a:pt x="11" y="85"/>
                  <a:pt x="11" y="84"/>
                </a:cubicBezTo>
                <a:cubicBezTo>
                  <a:pt x="12" y="84"/>
                  <a:pt x="12" y="86"/>
                  <a:pt x="12" y="86"/>
                </a:cubicBezTo>
                <a:cubicBezTo>
                  <a:pt x="13" y="87"/>
                  <a:pt x="13" y="87"/>
                  <a:pt x="14" y="87"/>
                </a:cubicBezTo>
                <a:cubicBezTo>
                  <a:pt x="14" y="87"/>
                  <a:pt x="15" y="88"/>
                  <a:pt x="15" y="88"/>
                </a:cubicBezTo>
                <a:cubicBezTo>
                  <a:pt x="15" y="89"/>
                  <a:pt x="15" y="89"/>
                  <a:pt x="16" y="89"/>
                </a:cubicBezTo>
                <a:cubicBezTo>
                  <a:pt x="17" y="89"/>
                  <a:pt x="17" y="90"/>
                  <a:pt x="17" y="91"/>
                </a:cubicBezTo>
                <a:cubicBezTo>
                  <a:pt x="18" y="92"/>
                  <a:pt x="18" y="94"/>
                  <a:pt x="19" y="95"/>
                </a:cubicBezTo>
                <a:cubicBezTo>
                  <a:pt x="19" y="96"/>
                  <a:pt x="19" y="97"/>
                  <a:pt x="20" y="97"/>
                </a:cubicBezTo>
                <a:cubicBezTo>
                  <a:pt x="20" y="98"/>
                  <a:pt x="20" y="99"/>
                  <a:pt x="20" y="100"/>
                </a:cubicBezTo>
                <a:cubicBezTo>
                  <a:pt x="20" y="100"/>
                  <a:pt x="21" y="100"/>
                  <a:pt x="21" y="101"/>
                </a:cubicBezTo>
                <a:cubicBezTo>
                  <a:pt x="21" y="101"/>
                  <a:pt x="21" y="101"/>
                  <a:pt x="21" y="102"/>
                </a:cubicBezTo>
                <a:cubicBezTo>
                  <a:pt x="21" y="102"/>
                  <a:pt x="22" y="102"/>
                  <a:pt x="22" y="102"/>
                </a:cubicBezTo>
                <a:cubicBezTo>
                  <a:pt x="23" y="103"/>
                  <a:pt x="22" y="103"/>
                  <a:pt x="23" y="104"/>
                </a:cubicBezTo>
                <a:cubicBezTo>
                  <a:pt x="23" y="105"/>
                  <a:pt x="23" y="104"/>
                  <a:pt x="24" y="104"/>
                </a:cubicBezTo>
                <a:cubicBezTo>
                  <a:pt x="24" y="103"/>
                  <a:pt x="25" y="104"/>
                  <a:pt x="25" y="104"/>
                </a:cubicBezTo>
                <a:cubicBezTo>
                  <a:pt x="26" y="104"/>
                  <a:pt x="26" y="104"/>
                  <a:pt x="27" y="104"/>
                </a:cubicBezTo>
                <a:cubicBezTo>
                  <a:pt x="27" y="104"/>
                  <a:pt x="28" y="105"/>
                  <a:pt x="28" y="105"/>
                </a:cubicBezTo>
                <a:cubicBezTo>
                  <a:pt x="27" y="105"/>
                  <a:pt x="28" y="106"/>
                  <a:pt x="28" y="106"/>
                </a:cubicBezTo>
                <a:cubicBezTo>
                  <a:pt x="28" y="107"/>
                  <a:pt x="27" y="108"/>
                  <a:pt x="27" y="108"/>
                </a:cubicBezTo>
                <a:cubicBezTo>
                  <a:pt x="27" y="109"/>
                  <a:pt x="27" y="110"/>
                  <a:pt x="28" y="111"/>
                </a:cubicBezTo>
                <a:cubicBezTo>
                  <a:pt x="28" y="111"/>
                  <a:pt x="28" y="112"/>
                  <a:pt x="29" y="112"/>
                </a:cubicBezTo>
                <a:cubicBezTo>
                  <a:pt x="29" y="113"/>
                  <a:pt x="29" y="113"/>
                  <a:pt x="29" y="114"/>
                </a:cubicBezTo>
                <a:cubicBezTo>
                  <a:pt x="30" y="115"/>
                  <a:pt x="31" y="114"/>
                  <a:pt x="32" y="114"/>
                </a:cubicBezTo>
                <a:cubicBezTo>
                  <a:pt x="34" y="114"/>
                  <a:pt x="36" y="114"/>
                  <a:pt x="38" y="115"/>
                </a:cubicBezTo>
                <a:cubicBezTo>
                  <a:pt x="40" y="115"/>
                  <a:pt x="41" y="116"/>
                  <a:pt x="42" y="117"/>
                </a:cubicBezTo>
                <a:cubicBezTo>
                  <a:pt x="44" y="118"/>
                  <a:pt x="45" y="119"/>
                  <a:pt x="47" y="120"/>
                </a:cubicBezTo>
                <a:cubicBezTo>
                  <a:pt x="48" y="121"/>
                  <a:pt x="48" y="122"/>
                  <a:pt x="49" y="122"/>
                </a:cubicBezTo>
                <a:cubicBezTo>
                  <a:pt x="50" y="123"/>
                  <a:pt x="50" y="123"/>
                  <a:pt x="51" y="124"/>
                </a:cubicBezTo>
                <a:cubicBezTo>
                  <a:pt x="51" y="124"/>
                  <a:pt x="52" y="124"/>
                  <a:pt x="53" y="124"/>
                </a:cubicBezTo>
                <a:cubicBezTo>
                  <a:pt x="53" y="124"/>
                  <a:pt x="54" y="123"/>
                  <a:pt x="55" y="123"/>
                </a:cubicBezTo>
                <a:cubicBezTo>
                  <a:pt x="56" y="124"/>
                  <a:pt x="57" y="124"/>
                  <a:pt x="59" y="125"/>
                </a:cubicBezTo>
                <a:cubicBezTo>
                  <a:pt x="60" y="125"/>
                  <a:pt x="60" y="125"/>
                  <a:pt x="61" y="125"/>
                </a:cubicBezTo>
                <a:cubicBezTo>
                  <a:pt x="62" y="125"/>
                  <a:pt x="62" y="125"/>
                  <a:pt x="62" y="125"/>
                </a:cubicBezTo>
                <a:cubicBezTo>
                  <a:pt x="62" y="125"/>
                  <a:pt x="62" y="125"/>
                  <a:pt x="62" y="125"/>
                </a:cubicBezTo>
                <a:cubicBezTo>
                  <a:pt x="63" y="125"/>
                  <a:pt x="63" y="125"/>
                  <a:pt x="63" y="125"/>
                </a:cubicBezTo>
                <a:cubicBezTo>
                  <a:pt x="64" y="125"/>
                  <a:pt x="64" y="126"/>
                  <a:pt x="64" y="126"/>
                </a:cubicBezTo>
                <a:cubicBezTo>
                  <a:pt x="64" y="126"/>
                  <a:pt x="64" y="125"/>
                  <a:pt x="65" y="125"/>
                </a:cubicBezTo>
                <a:cubicBezTo>
                  <a:pt x="65" y="124"/>
                  <a:pt x="66" y="122"/>
                  <a:pt x="68" y="121"/>
                </a:cubicBezTo>
                <a:cubicBezTo>
                  <a:pt x="69" y="120"/>
                  <a:pt x="70" y="119"/>
                  <a:pt x="72" y="118"/>
                </a:cubicBezTo>
                <a:cubicBezTo>
                  <a:pt x="73" y="118"/>
                  <a:pt x="75" y="117"/>
                  <a:pt x="76" y="116"/>
                </a:cubicBezTo>
                <a:cubicBezTo>
                  <a:pt x="76" y="117"/>
                  <a:pt x="77" y="117"/>
                  <a:pt x="77" y="118"/>
                </a:cubicBezTo>
                <a:cubicBezTo>
                  <a:pt x="78" y="118"/>
                  <a:pt x="78" y="118"/>
                  <a:pt x="79" y="119"/>
                </a:cubicBezTo>
                <a:cubicBezTo>
                  <a:pt x="79" y="119"/>
                  <a:pt x="79" y="120"/>
                  <a:pt x="80" y="120"/>
                </a:cubicBezTo>
                <a:cubicBezTo>
                  <a:pt x="80" y="120"/>
                  <a:pt x="81" y="120"/>
                  <a:pt x="81" y="120"/>
                </a:cubicBezTo>
                <a:cubicBezTo>
                  <a:pt x="82" y="120"/>
                  <a:pt x="83" y="120"/>
                  <a:pt x="84" y="120"/>
                </a:cubicBezTo>
                <a:cubicBezTo>
                  <a:pt x="84" y="119"/>
                  <a:pt x="85" y="119"/>
                  <a:pt x="85" y="119"/>
                </a:cubicBezTo>
                <a:cubicBezTo>
                  <a:pt x="86" y="120"/>
                  <a:pt x="87" y="120"/>
                  <a:pt x="87" y="119"/>
                </a:cubicBezTo>
                <a:cubicBezTo>
                  <a:pt x="87" y="119"/>
                  <a:pt x="87" y="118"/>
                  <a:pt x="88" y="118"/>
                </a:cubicBezTo>
                <a:cubicBezTo>
                  <a:pt x="89" y="117"/>
                  <a:pt x="91" y="117"/>
                  <a:pt x="92" y="117"/>
                </a:cubicBezTo>
                <a:cubicBezTo>
                  <a:pt x="94" y="117"/>
                  <a:pt x="95" y="117"/>
                  <a:pt x="96" y="116"/>
                </a:cubicBezTo>
                <a:cubicBezTo>
                  <a:pt x="97" y="115"/>
                  <a:pt x="97" y="114"/>
                  <a:pt x="97" y="114"/>
                </a:cubicBezTo>
                <a:cubicBezTo>
                  <a:pt x="98" y="113"/>
                  <a:pt x="98" y="113"/>
                  <a:pt x="99" y="112"/>
                </a:cubicBezTo>
                <a:cubicBezTo>
                  <a:pt x="100" y="111"/>
                  <a:pt x="102" y="110"/>
                  <a:pt x="103" y="110"/>
                </a:cubicBezTo>
                <a:cubicBezTo>
                  <a:pt x="104" y="110"/>
                  <a:pt x="105" y="109"/>
                  <a:pt x="106" y="109"/>
                </a:cubicBezTo>
                <a:cubicBezTo>
                  <a:pt x="106" y="109"/>
                  <a:pt x="107" y="109"/>
                  <a:pt x="108" y="109"/>
                </a:cubicBezTo>
                <a:cubicBezTo>
                  <a:pt x="110" y="109"/>
                  <a:pt x="112" y="109"/>
                  <a:pt x="114" y="109"/>
                </a:cubicBezTo>
                <a:cubicBezTo>
                  <a:pt x="115" y="109"/>
                  <a:pt x="115" y="109"/>
                  <a:pt x="116" y="109"/>
                </a:cubicBezTo>
                <a:cubicBezTo>
                  <a:pt x="117" y="109"/>
                  <a:pt x="117" y="108"/>
                  <a:pt x="118" y="107"/>
                </a:cubicBezTo>
                <a:cubicBezTo>
                  <a:pt x="119" y="106"/>
                  <a:pt x="120" y="104"/>
                  <a:pt x="121" y="103"/>
                </a:cubicBezTo>
                <a:cubicBezTo>
                  <a:pt x="124" y="100"/>
                  <a:pt x="126" y="97"/>
                  <a:pt x="129" y="93"/>
                </a:cubicBezTo>
                <a:cubicBezTo>
                  <a:pt x="134" y="87"/>
                  <a:pt x="140" y="81"/>
                  <a:pt x="145" y="75"/>
                </a:cubicBezTo>
                <a:cubicBezTo>
                  <a:pt x="143" y="75"/>
                  <a:pt x="142" y="75"/>
                  <a:pt x="140" y="7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3" name="Estonia"/>
          <p:cNvSpPr>
            <a:spLocks noEditPoints="1"/>
          </p:cNvSpPr>
          <p:nvPr/>
        </p:nvSpPr>
        <p:spPr bwMode="auto">
          <a:xfrm>
            <a:off x="6478057" y="2320025"/>
            <a:ext cx="180994" cy="79997"/>
          </a:xfrm>
          <a:custGeom>
            <a:avLst/>
            <a:gdLst/>
            <a:ahLst/>
            <a:cxnLst>
              <a:cxn ang="0">
                <a:pos x="5" y="7"/>
              </a:cxn>
              <a:cxn ang="0">
                <a:pos x="9" y="7"/>
              </a:cxn>
              <a:cxn ang="0">
                <a:pos x="8" y="9"/>
              </a:cxn>
              <a:cxn ang="0">
                <a:pos x="5" y="10"/>
              </a:cxn>
              <a:cxn ang="0">
                <a:pos x="18" y="16"/>
              </a:cxn>
              <a:cxn ang="0">
                <a:pos x="11" y="8"/>
              </a:cxn>
              <a:cxn ang="0">
                <a:pos x="11" y="8"/>
              </a:cxn>
              <a:cxn ang="0">
                <a:pos x="8" y="11"/>
              </a:cxn>
              <a:cxn ang="0">
                <a:pos x="4" y="12"/>
              </a:cxn>
              <a:cxn ang="0">
                <a:pos x="2" y="12"/>
              </a:cxn>
              <a:cxn ang="0">
                <a:pos x="1" y="14"/>
              </a:cxn>
              <a:cxn ang="0">
                <a:pos x="2" y="15"/>
              </a:cxn>
              <a:cxn ang="0">
                <a:pos x="2" y="17"/>
              </a:cxn>
              <a:cxn ang="0">
                <a:pos x="5" y="15"/>
              </a:cxn>
              <a:cxn ang="0">
                <a:pos x="9" y="14"/>
              </a:cxn>
              <a:cxn ang="0">
                <a:pos x="12" y="13"/>
              </a:cxn>
              <a:cxn ang="0">
                <a:pos x="48" y="3"/>
              </a:cxn>
              <a:cxn ang="0">
                <a:pos x="39" y="3"/>
              </a:cxn>
              <a:cxn ang="0">
                <a:pos x="33" y="1"/>
              </a:cxn>
              <a:cxn ang="0">
                <a:pos x="30" y="1"/>
              </a:cxn>
              <a:cxn ang="0">
                <a:pos x="28" y="1"/>
              </a:cxn>
              <a:cxn ang="0">
                <a:pos x="27" y="2"/>
              </a:cxn>
              <a:cxn ang="0">
                <a:pos x="23" y="2"/>
              </a:cxn>
              <a:cxn ang="0">
                <a:pos x="22" y="3"/>
              </a:cxn>
              <a:cxn ang="0">
                <a:pos x="18" y="3"/>
              </a:cxn>
              <a:cxn ang="0">
                <a:pos x="15" y="4"/>
              </a:cxn>
              <a:cxn ang="0">
                <a:pos x="13" y="5"/>
              </a:cxn>
              <a:cxn ang="0">
                <a:pos x="14" y="7"/>
              </a:cxn>
              <a:cxn ang="0">
                <a:pos x="13" y="8"/>
              </a:cxn>
              <a:cxn ang="0">
                <a:pos x="16" y="10"/>
              </a:cxn>
              <a:cxn ang="0">
                <a:pos x="14" y="12"/>
              </a:cxn>
              <a:cxn ang="0">
                <a:pos x="18" y="15"/>
              </a:cxn>
              <a:cxn ang="0">
                <a:pos x="21" y="15"/>
              </a:cxn>
              <a:cxn ang="0">
                <a:pos x="23" y="18"/>
              </a:cxn>
              <a:cxn ang="0">
                <a:pos x="27" y="17"/>
              </a:cxn>
              <a:cxn ang="0">
                <a:pos x="29" y="17"/>
              </a:cxn>
              <a:cxn ang="0">
                <a:pos x="33" y="19"/>
              </a:cxn>
              <a:cxn ang="0">
                <a:pos x="35" y="20"/>
              </a:cxn>
              <a:cxn ang="0">
                <a:pos x="39" y="22"/>
              </a:cxn>
              <a:cxn ang="0">
                <a:pos x="42" y="21"/>
              </a:cxn>
              <a:cxn ang="0">
                <a:pos x="45" y="22"/>
              </a:cxn>
              <a:cxn ang="0">
                <a:pos x="46" y="20"/>
              </a:cxn>
              <a:cxn ang="0">
                <a:pos x="47" y="18"/>
              </a:cxn>
              <a:cxn ang="0">
                <a:pos x="46" y="16"/>
              </a:cxn>
              <a:cxn ang="0">
                <a:pos x="45" y="11"/>
              </a:cxn>
              <a:cxn ang="0">
                <a:pos x="49" y="4"/>
              </a:cxn>
              <a:cxn ang="0">
                <a:pos x="12" y="11"/>
              </a:cxn>
              <a:cxn ang="0">
                <a:pos x="13" y="12"/>
              </a:cxn>
            </a:cxnLst>
            <a:rect l="0" t="0" r="r" b="b"/>
            <a:pathLst>
              <a:path w="50" h="22">
                <a:moveTo>
                  <a:pt x="2" y="8"/>
                </a:moveTo>
                <a:cubicBezTo>
                  <a:pt x="2" y="8"/>
                  <a:pt x="5" y="8"/>
                  <a:pt x="5" y="8"/>
                </a:cubicBezTo>
                <a:cubicBezTo>
                  <a:pt x="5" y="8"/>
                  <a:pt x="5" y="7"/>
                  <a:pt x="5" y="7"/>
                </a:cubicBezTo>
                <a:cubicBezTo>
                  <a:pt x="5" y="8"/>
                  <a:pt x="6" y="6"/>
                  <a:pt x="6" y="6"/>
                </a:cubicBezTo>
                <a:cubicBezTo>
                  <a:pt x="7" y="7"/>
                  <a:pt x="7" y="7"/>
                  <a:pt x="7" y="7"/>
                </a:cubicBezTo>
                <a:cubicBezTo>
                  <a:pt x="7" y="8"/>
                  <a:pt x="8" y="7"/>
                  <a:pt x="9" y="7"/>
                </a:cubicBezTo>
                <a:cubicBezTo>
                  <a:pt x="9" y="8"/>
                  <a:pt x="10" y="9"/>
                  <a:pt x="9" y="9"/>
                </a:cubicBezTo>
                <a:cubicBezTo>
                  <a:pt x="9" y="9"/>
                  <a:pt x="9" y="9"/>
                  <a:pt x="8" y="9"/>
                </a:cubicBezTo>
                <a:cubicBezTo>
                  <a:pt x="8" y="9"/>
                  <a:pt x="8" y="10"/>
                  <a:pt x="8" y="9"/>
                </a:cubicBezTo>
                <a:cubicBezTo>
                  <a:pt x="8" y="9"/>
                  <a:pt x="8" y="9"/>
                  <a:pt x="8" y="9"/>
                </a:cubicBezTo>
                <a:cubicBezTo>
                  <a:pt x="7" y="9"/>
                  <a:pt x="7" y="10"/>
                  <a:pt x="6" y="10"/>
                </a:cubicBezTo>
                <a:cubicBezTo>
                  <a:pt x="6" y="11"/>
                  <a:pt x="5" y="10"/>
                  <a:pt x="5" y="10"/>
                </a:cubicBezTo>
                <a:cubicBezTo>
                  <a:pt x="5" y="9"/>
                  <a:pt x="5" y="9"/>
                  <a:pt x="5" y="9"/>
                </a:cubicBezTo>
                <a:cubicBezTo>
                  <a:pt x="4" y="8"/>
                  <a:pt x="3" y="9"/>
                  <a:pt x="2" y="8"/>
                </a:cubicBezTo>
                <a:close/>
                <a:moveTo>
                  <a:pt x="18" y="16"/>
                </a:moveTo>
                <a:cubicBezTo>
                  <a:pt x="18" y="17"/>
                  <a:pt x="18" y="16"/>
                  <a:pt x="18" y="16"/>
                </a:cubicBezTo>
                <a:cubicBezTo>
                  <a:pt x="18" y="16"/>
                  <a:pt x="17" y="16"/>
                  <a:pt x="18" y="16"/>
                </a:cubicBezTo>
                <a:close/>
                <a:moveTo>
                  <a:pt x="11" y="8"/>
                </a:moveTo>
                <a:cubicBezTo>
                  <a:pt x="11" y="8"/>
                  <a:pt x="12" y="8"/>
                  <a:pt x="12" y="8"/>
                </a:cubicBezTo>
                <a:cubicBezTo>
                  <a:pt x="13" y="7"/>
                  <a:pt x="11" y="7"/>
                  <a:pt x="11" y="7"/>
                </a:cubicBezTo>
                <a:cubicBezTo>
                  <a:pt x="10" y="7"/>
                  <a:pt x="10" y="8"/>
                  <a:pt x="11" y="8"/>
                </a:cubicBezTo>
                <a:close/>
                <a:moveTo>
                  <a:pt x="10" y="12"/>
                </a:moveTo>
                <a:cubicBezTo>
                  <a:pt x="10" y="12"/>
                  <a:pt x="10" y="11"/>
                  <a:pt x="9" y="11"/>
                </a:cubicBezTo>
                <a:cubicBezTo>
                  <a:pt x="9" y="11"/>
                  <a:pt x="8" y="11"/>
                  <a:pt x="8" y="11"/>
                </a:cubicBezTo>
                <a:cubicBezTo>
                  <a:pt x="8" y="11"/>
                  <a:pt x="7" y="12"/>
                  <a:pt x="7" y="11"/>
                </a:cubicBezTo>
                <a:cubicBezTo>
                  <a:pt x="6" y="11"/>
                  <a:pt x="6" y="11"/>
                  <a:pt x="5" y="12"/>
                </a:cubicBezTo>
                <a:cubicBezTo>
                  <a:pt x="5" y="12"/>
                  <a:pt x="4" y="12"/>
                  <a:pt x="4" y="12"/>
                </a:cubicBezTo>
                <a:cubicBezTo>
                  <a:pt x="4" y="13"/>
                  <a:pt x="4" y="12"/>
                  <a:pt x="3" y="12"/>
                </a:cubicBezTo>
                <a:cubicBezTo>
                  <a:pt x="3" y="11"/>
                  <a:pt x="2" y="13"/>
                  <a:pt x="3" y="13"/>
                </a:cubicBezTo>
                <a:cubicBezTo>
                  <a:pt x="2" y="13"/>
                  <a:pt x="2" y="12"/>
                  <a:pt x="2" y="12"/>
                </a:cubicBezTo>
                <a:cubicBezTo>
                  <a:pt x="1" y="12"/>
                  <a:pt x="1" y="12"/>
                  <a:pt x="1" y="12"/>
                </a:cubicBezTo>
                <a:cubicBezTo>
                  <a:pt x="1" y="13"/>
                  <a:pt x="2" y="13"/>
                  <a:pt x="2" y="14"/>
                </a:cubicBezTo>
                <a:cubicBezTo>
                  <a:pt x="2" y="14"/>
                  <a:pt x="2" y="14"/>
                  <a:pt x="1" y="14"/>
                </a:cubicBezTo>
                <a:cubicBezTo>
                  <a:pt x="1" y="14"/>
                  <a:pt x="1" y="14"/>
                  <a:pt x="1" y="14"/>
                </a:cubicBezTo>
                <a:cubicBezTo>
                  <a:pt x="1" y="14"/>
                  <a:pt x="1" y="14"/>
                  <a:pt x="1" y="14"/>
                </a:cubicBezTo>
                <a:cubicBezTo>
                  <a:pt x="0" y="14"/>
                  <a:pt x="2" y="15"/>
                  <a:pt x="2" y="15"/>
                </a:cubicBezTo>
                <a:cubicBezTo>
                  <a:pt x="2" y="15"/>
                  <a:pt x="4" y="16"/>
                  <a:pt x="4" y="16"/>
                </a:cubicBezTo>
                <a:cubicBezTo>
                  <a:pt x="3" y="16"/>
                  <a:pt x="3" y="17"/>
                  <a:pt x="3" y="17"/>
                </a:cubicBezTo>
                <a:cubicBezTo>
                  <a:pt x="3" y="17"/>
                  <a:pt x="3" y="17"/>
                  <a:pt x="2" y="17"/>
                </a:cubicBezTo>
                <a:cubicBezTo>
                  <a:pt x="2" y="18"/>
                  <a:pt x="2" y="19"/>
                  <a:pt x="3" y="18"/>
                </a:cubicBezTo>
                <a:cubicBezTo>
                  <a:pt x="4" y="18"/>
                  <a:pt x="4" y="17"/>
                  <a:pt x="4" y="16"/>
                </a:cubicBezTo>
                <a:cubicBezTo>
                  <a:pt x="4" y="16"/>
                  <a:pt x="4" y="15"/>
                  <a:pt x="5" y="15"/>
                </a:cubicBezTo>
                <a:cubicBezTo>
                  <a:pt x="6" y="15"/>
                  <a:pt x="7" y="15"/>
                  <a:pt x="7" y="15"/>
                </a:cubicBezTo>
                <a:cubicBezTo>
                  <a:pt x="7" y="15"/>
                  <a:pt x="8" y="15"/>
                  <a:pt x="8" y="15"/>
                </a:cubicBezTo>
                <a:cubicBezTo>
                  <a:pt x="8" y="15"/>
                  <a:pt x="10" y="14"/>
                  <a:pt x="9" y="14"/>
                </a:cubicBezTo>
                <a:cubicBezTo>
                  <a:pt x="10" y="14"/>
                  <a:pt x="10" y="13"/>
                  <a:pt x="11" y="13"/>
                </a:cubicBezTo>
                <a:cubicBezTo>
                  <a:pt x="11" y="12"/>
                  <a:pt x="12" y="13"/>
                  <a:pt x="12" y="13"/>
                </a:cubicBezTo>
                <a:cubicBezTo>
                  <a:pt x="12" y="13"/>
                  <a:pt x="12" y="13"/>
                  <a:pt x="12" y="13"/>
                </a:cubicBezTo>
                <a:cubicBezTo>
                  <a:pt x="12" y="13"/>
                  <a:pt x="11" y="12"/>
                  <a:pt x="10" y="12"/>
                </a:cubicBezTo>
                <a:close/>
                <a:moveTo>
                  <a:pt x="49" y="3"/>
                </a:moveTo>
                <a:cubicBezTo>
                  <a:pt x="49" y="3"/>
                  <a:pt x="48" y="3"/>
                  <a:pt x="48" y="3"/>
                </a:cubicBezTo>
                <a:cubicBezTo>
                  <a:pt x="48" y="3"/>
                  <a:pt x="47" y="3"/>
                  <a:pt x="47" y="3"/>
                </a:cubicBezTo>
                <a:cubicBezTo>
                  <a:pt x="46" y="3"/>
                  <a:pt x="44" y="3"/>
                  <a:pt x="43" y="3"/>
                </a:cubicBezTo>
                <a:cubicBezTo>
                  <a:pt x="42" y="3"/>
                  <a:pt x="40" y="3"/>
                  <a:pt x="39" y="3"/>
                </a:cubicBezTo>
                <a:cubicBezTo>
                  <a:pt x="38" y="2"/>
                  <a:pt x="38" y="2"/>
                  <a:pt x="37" y="2"/>
                </a:cubicBezTo>
                <a:cubicBezTo>
                  <a:pt x="37" y="2"/>
                  <a:pt x="36" y="2"/>
                  <a:pt x="36" y="2"/>
                </a:cubicBezTo>
                <a:cubicBezTo>
                  <a:pt x="35" y="2"/>
                  <a:pt x="34" y="1"/>
                  <a:pt x="33" y="1"/>
                </a:cubicBezTo>
                <a:cubicBezTo>
                  <a:pt x="33" y="1"/>
                  <a:pt x="32" y="1"/>
                  <a:pt x="32" y="1"/>
                </a:cubicBezTo>
                <a:cubicBezTo>
                  <a:pt x="32" y="1"/>
                  <a:pt x="32" y="1"/>
                  <a:pt x="31" y="1"/>
                </a:cubicBezTo>
                <a:cubicBezTo>
                  <a:pt x="31" y="1"/>
                  <a:pt x="31" y="2"/>
                  <a:pt x="30" y="1"/>
                </a:cubicBezTo>
                <a:cubicBezTo>
                  <a:pt x="30" y="1"/>
                  <a:pt x="30" y="1"/>
                  <a:pt x="30" y="1"/>
                </a:cubicBezTo>
                <a:cubicBezTo>
                  <a:pt x="29" y="1"/>
                  <a:pt x="30" y="1"/>
                  <a:pt x="30" y="1"/>
                </a:cubicBezTo>
                <a:cubicBezTo>
                  <a:pt x="29" y="2"/>
                  <a:pt x="29" y="1"/>
                  <a:pt x="28" y="1"/>
                </a:cubicBezTo>
                <a:cubicBezTo>
                  <a:pt x="28" y="0"/>
                  <a:pt x="28" y="2"/>
                  <a:pt x="29" y="2"/>
                </a:cubicBezTo>
                <a:cubicBezTo>
                  <a:pt x="28" y="2"/>
                  <a:pt x="28" y="2"/>
                  <a:pt x="28" y="2"/>
                </a:cubicBezTo>
                <a:cubicBezTo>
                  <a:pt x="28" y="2"/>
                  <a:pt x="27" y="2"/>
                  <a:pt x="27" y="2"/>
                </a:cubicBezTo>
                <a:cubicBezTo>
                  <a:pt x="27" y="2"/>
                  <a:pt x="26" y="2"/>
                  <a:pt x="26" y="2"/>
                </a:cubicBezTo>
                <a:cubicBezTo>
                  <a:pt x="25" y="2"/>
                  <a:pt x="24" y="2"/>
                  <a:pt x="24" y="2"/>
                </a:cubicBezTo>
                <a:cubicBezTo>
                  <a:pt x="23" y="2"/>
                  <a:pt x="23" y="1"/>
                  <a:pt x="23" y="2"/>
                </a:cubicBezTo>
                <a:cubicBezTo>
                  <a:pt x="23" y="2"/>
                  <a:pt x="23" y="2"/>
                  <a:pt x="23" y="3"/>
                </a:cubicBezTo>
                <a:cubicBezTo>
                  <a:pt x="23" y="3"/>
                  <a:pt x="22" y="3"/>
                  <a:pt x="22" y="3"/>
                </a:cubicBezTo>
                <a:cubicBezTo>
                  <a:pt x="22" y="2"/>
                  <a:pt x="21" y="3"/>
                  <a:pt x="22" y="3"/>
                </a:cubicBezTo>
                <a:cubicBezTo>
                  <a:pt x="21" y="3"/>
                  <a:pt x="20" y="2"/>
                  <a:pt x="19" y="3"/>
                </a:cubicBezTo>
                <a:cubicBezTo>
                  <a:pt x="19" y="3"/>
                  <a:pt x="19" y="3"/>
                  <a:pt x="19" y="3"/>
                </a:cubicBezTo>
                <a:cubicBezTo>
                  <a:pt x="19" y="3"/>
                  <a:pt x="18" y="3"/>
                  <a:pt x="18" y="3"/>
                </a:cubicBezTo>
                <a:cubicBezTo>
                  <a:pt x="18" y="3"/>
                  <a:pt x="18" y="3"/>
                  <a:pt x="18" y="4"/>
                </a:cubicBezTo>
                <a:cubicBezTo>
                  <a:pt x="18" y="4"/>
                  <a:pt x="16" y="3"/>
                  <a:pt x="17" y="4"/>
                </a:cubicBezTo>
                <a:cubicBezTo>
                  <a:pt x="18" y="5"/>
                  <a:pt x="15" y="4"/>
                  <a:pt x="15" y="4"/>
                </a:cubicBezTo>
                <a:cubicBezTo>
                  <a:pt x="15" y="5"/>
                  <a:pt x="15" y="5"/>
                  <a:pt x="15" y="5"/>
                </a:cubicBezTo>
                <a:cubicBezTo>
                  <a:pt x="15" y="5"/>
                  <a:pt x="14" y="5"/>
                  <a:pt x="14" y="5"/>
                </a:cubicBezTo>
                <a:cubicBezTo>
                  <a:pt x="13" y="5"/>
                  <a:pt x="12" y="5"/>
                  <a:pt x="13" y="5"/>
                </a:cubicBezTo>
                <a:cubicBezTo>
                  <a:pt x="13" y="6"/>
                  <a:pt x="13" y="6"/>
                  <a:pt x="13" y="7"/>
                </a:cubicBezTo>
                <a:cubicBezTo>
                  <a:pt x="13" y="6"/>
                  <a:pt x="12" y="7"/>
                  <a:pt x="13" y="7"/>
                </a:cubicBezTo>
                <a:cubicBezTo>
                  <a:pt x="13" y="7"/>
                  <a:pt x="13" y="8"/>
                  <a:pt x="14" y="7"/>
                </a:cubicBezTo>
                <a:cubicBezTo>
                  <a:pt x="14" y="7"/>
                  <a:pt x="14" y="7"/>
                  <a:pt x="14" y="7"/>
                </a:cubicBezTo>
                <a:cubicBezTo>
                  <a:pt x="14" y="7"/>
                  <a:pt x="14" y="7"/>
                  <a:pt x="14" y="8"/>
                </a:cubicBezTo>
                <a:cubicBezTo>
                  <a:pt x="14" y="8"/>
                  <a:pt x="13" y="8"/>
                  <a:pt x="13" y="8"/>
                </a:cubicBezTo>
                <a:cubicBezTo>
                  <a:pt x="12" y="8"/>
                  <a:pt x="13" y="9"/>
                  <a:pt x="13" y="9"/>
                </a:cubicBezTo>
                <a:cubicBezTo>
                  <a:pt x="13" y="9"/>
                  <a:pt x="13" y="9"/>
                  <a:pt x="13" y="10"/>
                </a:cubicBezTo>
                <a:cubicBezTo>
                  <a:pt x="14" y="10"/>
                  <a:pt x="15" y="9"/>
                  <a:pt x="16" y="10"/>
                </a:cubicBezTo>
                <a:cubicBezTo>
                  <a:pt x="15" y="9"/>
                  <a:pt x="16" y="10"/>
                  <a:pt x="16" y="10"/>
                </a:cubicBezTo>
                <a:cubicBezTo>
                  <a:pt x="16" y="10"/>
                  <a:pt x="13" y="10"/>
                  <a:pt x="14" y="10"/>
                </a:cubicBezTo>
                <a:cubicBezTo>
                  <a:pt x="13" y="10"/>
                  <a:pt x="14" y="12"/>
                  <a:pt x="14" y="12"/>
                </a:cubicBezTo>
                <a:cubicBezTo>
                  <a:pt x="14" y="12"/>
                  <a:pt x="15" y="12"/>
                  <a:pt x="15" y="12"/>
                </a:cubicBezTo>
                <a:cubicBezTo>
                  <a:pt x="15" y="13"/>
                  <a:pt x="15" y="14"/>
                  <a:pt x="16" y="14"/>
                </a:cubicBezTo>
                <a:cubicBezTo>
                  <a:pt x="17" y="14"/>
                  <a:pt x="18" y="14"/>
                  <a:pt x="18" y="15"/>
                </a:cubicBezTo>
                <a:cubicBezTo>
                  <a:pt x="19" y="15"/>
                  <a:pt x="20" y="14"/>
                  <a:pt x="20" y="14"/>
                </a:cubicBezTo>
                <a:cubicBezTo>
                  <a:pt x="21" y="13"/>
                  <a:pt x="22" y="14"/>
                  <a:pt x="22" y="14"/>
                </a:cubicBezTo>
                <a:cubicBezTo>
                  <a:pt x="22" y="15"/>
                  <a:pt x="22" y="15"/>
                  <a:pt x="21" y="15"/>
                </a:cubicBezTo>
                <a:cubicBezTo>
                  <a:pt x="21" y="16"/>
                  <a:pt x="21" y="16"/>
                  <a:pt x="22" y="16"/>
                </a:cubicBezTo>
                <a:cubicBezTo>
                  <a:pt x="22" y="17"/>
                  <a:pt x="21" y="18"/>
                  <a:pt x="21" y="19"/>
                </a:cubicBezTo>
                <a:cubicBezTo>
                  <a:pt x="22" y="19"/>
                  <a:pt x="22" y="18"/>
                  <a:pt x="23" y="18"/>
                </a:cubicBezTo>
                <a:cubicBezTo>
                  <a:pt x="24" y="18"/>
                  <a:pt x="24" y="18"/>
                  <a:pt x="24" y="17"/>
                </a:cubicBezTo>
                <a:cubicBezTo>
                  <a:pt x="24" y="17"/>
                  <a:pt x="25" y="18"/>
                  <a:pt x="25" y="17"/>
                </a:cubicBezTo>
                <a:cubicBezTo>
                  <a:pt x="25" y="17"/>
                  <a:pt x="27" y="16"/>
                  <a:pt x="27" y="17"/>
                </a:cubicBezTo>
                <a:cubicBezTo>
                  <a:pt x="28" y="18"/>
                  <a:pt x="28" y="18"/>
                  <a:pt x="28" y="17"/>
                </a:cubicBezTo>
                <a:cubicBezTo>
                  <a:pt x="28" y="16"/>
                  <a:pt x="28" y="17"/>
                  <a:pt x="28" y="17"/>
                </a:cubicBezTo>
                <a:cubicBezTo>
                  <a:pt x="29" y="17"/>
                  <a:pt x="29" y="17"/>
                  <a:pt x="29" y="17"/>
                </a:cubicBezTo>
                <a:cubicBezTo>
                  <a:pt x="30" y="18"/>
                  <a:pt x="30" y="18"/>
                  <a:pt x="30" y="18"/>
                </a:cubicBezTo>
                <a:cubicBezTo>
                  <a:pt x="31" y="18"/>
                  <a:pt x="31" y="18"/>
                  <a:pt x="31" y="18"/>
                </a:cubicBezTo>
                <a:cubicBezTo>
                  <a:pt x="32" y="18"/>
                  <a:pt x="32" y="19"/>
                  <a:pt x="33" y="19"/>
                </a:cubicBezTo>
                <a:cubicBezTo>
                  <a:pt x="33" y="19"/>
                  <a:pt x="34" y="19"/>
                  <a:pt x="34" y="19"/>
                </a:cubicBezTo>
                <a:cubicBezTo>
                  <a:pt x="35" y="19"/>
                  <a:pt x="34" y="19"/>
                  <a:pt x="34" y="20"/>
                </a:cubicBezTo>
                <a:cubicBezTo>
                  <a:pt x="35" y="20"/>
                  <a:pt x="35" y="20"/>
                  <a:pt x="35" y="20"/>
                </a:cubicBezTo>
                <a:cubicBezTo>
                  <a:pt x="36" y="21"/>
                  <a:pt x="36" y="21"/>
                  <a:pt x="37" y="21"/>
                </a:cubicBezTo>
                <a:cubicBezTo>
                  <a:pt x="37" y="22"/>
                  <a:pt x="38" y="22"/>
                  <a:pt x="39" y="22"/>
                </a:cubicBezTo>
                <a:cubicBezTo>
                  <a:pt x="39" y="22"/>
                  <a:pt x="39" y="22"/>
                  <a:pt x="39" y="22"/>
                </a:cubicBezTo>
                <a:cubicBezTo>
                  <a:pt x="40" y="22"/>
                  <a:pt x="40" y="22"/>
                  <a:pt x="41" y="22"/>
                </a:cubicBezTo>
                <a:cubicBezTo>
                  <a:pt x="41" y="22"/>
                  <a:pt x="41" y="21"/>
                  <a:pt x="41" y="21"/>
                </a:cubicBezTo>
                <a:cubicBezTo>
                  <a:pt x="41" y="21"/>
                  <a:pt x="42" y="21"/>
                  <a:pt x="42" y="21"/>
                </a:cubicBezTo>
                <a:cubicBezTo>
                  <a:pt x="42" y="21"/>
                  <a:pt x="43" y="22"/>
                  <a:pt x="43" y="22"/>
                </a:cubicBezTo>
                <a:cubicBezTo>
                  <a:pt x="43" y="22"/>
                  <a:pt x="44" y="22"/>
                  <a:pt x="44" y="22"/>
                </a:cubicBezTo>
                <a:cubicBezTo>
                  <a:pt x="45" y="22"/>
                  <a:pt x="45" y="22"/>
                  <a:pt x="45" y="22"/>
                </a:cubicBezTo>
                <a:cubicBezTo>
                  <a:pt x="45" y="21"/>
                  <a:pt x="45" y="21"/>
                  <a:pt x="45" y="21"/>
                </a:cubicBezTo>
                <a:cubicBezTo>
                  <a:pt x="46" y="21"/>
                  <a:pt x="45" y="21"/>
                  <a:pt x="46" y="20"/>
                </a:cubicBezTo>
                <a:cubicBezTo>
                  <a:pt x="46" y="20"/>
                  <a:pt x="46" y="20"/>
                  <a:pt x="46" y="20"/>
                </a:cubicBezTo>
                <a:cubicBezTo>
                  <a:pt x="46" y="20"/>
                  <a:pt x="46" y="19"/>
                  <a:pt x="46" y="19"/>
                </a:cubicBezTo>
                <a:cubicBezTo>
                  <a:pt x="46" y="19"/>
                  <a:pt x="49" y="19"/>
                  <a:pt x="48" y="19"/>
                </a:cubicBezTo>
                <a:cubicBezTo>
                  <a:pt x="48" y="18"/>
                  <a:pt x="48" y="18"/>
                  <a:pt x="47" y="18"/>
                </a:cubicBezTo>
                <a:cubicBezTo>
                  <a:pt x="47" y="18"/>
                  <a:pt x="47" y="18"/>
                  <a:pt x="47" y="18"/>
                </a:cubicBezTo>
                <a:cubicBezTo>
                  <a:pt x="47" y="17"/>
                  <a:pt x="47" y="17"/>
                  <a:pt x="47" y="17"/>
                </a:cubicBezTo>
                <a:cubicBezTo>
                  <a:pt x="47" y="17"/>
                  <a:pt x="46" y="16"/>
                  <a:pt x="46" y="16"/>
                </a:cubicBezTo>
                <a:cubicBezTo>
                  <a:pt x="45" y="16"/>
                  <a:pt x="45" y="15"/>
                  <a:pt x="45" y="14"/>
                </a:cubicBezTo>
                <a:cubicBezTo>
                  <a:pt x="46" y="13"/>
                  <a:pt x="45" y="13"/>
                  <a:pt x="45" y="12"/>
                </a:cubicBezTo>
                <a:cubicBezTo>
                  <a:pt x="45" y="12"/>
                  <a:pt x="45" y="11"/>
                  <a:pt x="45" y="11"/>
                </a:cubicBezTo>
                <a:cubicBezTo>
                  <a:pt x="44" y="10"/>
                  <a:pt x="44" y="9"/>
                  <a:pt x="45" y="8"/>
                </a:cubicBezTo>
                <a:cubicBezTo>
                  <a:pt x="46" y="7"/>
                  <a:pt x="47" y="7"/>
                  <a:pt x="47" y="5"/>
                </a:cubicBezTo>
                <a:cubicBezTo>
                  <a:pt x="47" y="4"/>
                  <a:pt x="48" y="4"/>
                  <a:pt x="49" y="4"/>
                </a:cubicBezTo>
                <a:cubicBezTo>
                  <a:pt x="48" y="4"/>
                  <a:pt x="48" y="4"/>
                  <a:pt x="48" y="4"/>
                </a:cubicBezTo>
                <a:cubicBezTo>
                  <a:pt x="48" y="4"/>
                  <a:pt x="50" y="4"/>
                  <a:pt x="49" y="3"/>
                </a:cubicBezTo>
                <a:close/>
                <a:moveTo>
                  <a:pt x="12" y="11"/>
                </a:moveTo>
                <a:cubicBezTo>
                  <a:pt x="11" y="10"/>
                  <a:pt x="11" y="11"/>
                  <a:pt x="10" y="11"/>
                </a:cubicBezTo>
                <a:cubicBezTo>
                  <a:pt x="10" y="11"/>
                  <a:pt x="11" y="12"/>
                  <a:pt x="11" y="12"/>
                </a:cubicBezTo>
                <a:cubicBezTo>
                  <a:pt x="11" y="12"/>
                  <a:pt x="13" y="12"/>
                  <a:pt x="13" y="12"/>
                </a:cubicBezTo>
                <a:cubicBezTo>
                  <a:pt x="13" y="11"/>
                  <a:pt x="12" y="11"/>
                  <a:pt x="12" y="1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4" name="Eritrea"/>
          <p:cNvSpPr>
            <a:spLocks noEditPoints="1"/>
          </p:cNvSpPr>
          <p:nvPr/>
        </p:nvSpPr>
        <p:spPr bwMode="auto">
          <a:xfrm>
            <a:off x="7060035" y="3947963"/>
            <a:ext cx="237991" cy="223992"/>
          </a:xfrm>
          <a:custGeom>
            <a:avLst/>
            <a:gdLst/>
            <a:ahLst/>
            <a:cxnLst>
              <a:cxn ang="0">
                <a:pos x="35" y="24"/>
              </a:cxn>
              <a:cxn ang="0">
                <a:pos x="36" y="25"/>
              </a:cxn>
              <a:cxn ang="0">
                <a:pos x="37" y="26"/>
              </a:cxn>
              <a:cxn ang="0">
                <a:pos x="37" y="27"/>
              </a:cxn>
              <a:cxn ang="0">
                <a:pos x="34" y="26"/>
              </a:cxn>
              <a:cxn ang="0">
                <a:pos x="34" y="25"/>
              </a:cxn>
              <a:cxn ang="0">
                <a:pos x="64" y="57"/>
              </a:cxn>
              <a:cxn ang="0">
                <a:pos x="60" y="53"/>
              </a:cxn>
              <a:cxn ang="0">
                <a:pos x="58" y="51"/>
              </a:cxn>
              <a:cxn ang="0">
                <a:pos x="56" y="48"/>
              </a:cxn>
              <a:cxn ang="0">
                <a:pos x="54" y="47"/>
              </a:cxn>
              <a:cxn ang="0">
                <a:pos x="51" y="44"/>
              </a:cxn>
              <a:cxn ang="0">
                <a:pos x="45" y="37"/>
              </a:cxn>
              <a:cxn ang="0">
                <a:pos x="42" y="35"/>
              </a:cxn>
              <a:cxn ang="0">
                <a:pos x="41" y="35"/>
              </a:cxn>
              <a:cxn ang="0">
                <a:pos x="40" y="33"/>
              </a:cxn>
              <a:cxn ang="0">
                <a:pos x="39" y="33"/>
              </a:cxn>
              <a:cxn ang="0">
                <a:pos x="35" y="30"/>
              </a:cxn>
              <a:cxn ang="0">
                <a:pos x="33" y="30"/>
              </a:cxn>
              <a:cxn ang="0">
                <a:pos x="32" y="32"/>
              </a:cxn>
              <a:cxn ang="0">
                <a:pos x="31" y="28"/>
              </a:cxn>
              <a:cxn ang="0">
                <a:pos x="29" y="27"/>
              </a:cxn>
              <a:cxn ang="0">
                <a:pos x="27" y="21"/>
              </a:cxn>
              <a:cxn ang="0">
                <a:pos x="24" y="10"/>
              </a:cxn>
              <a:cxn ang="0">
                <a:pos x="22" y="4"/>
              </a:cxn>
              <a:cxn ang="0">
                <a:pos x="18" y="4"/>
              </a:cxn>
              <a:cxn ang="0">
                <a:pos x="16" y="5"/>
              </a:cxn>
              <a:cxn ang="0">
                <a:pos x="13" y="6"/>
              </a:cxn>
              <a:cxn ang="0">
                <a:pos x="10" y="9"/>
              </a:cxn>
              <a:cxn ang="0">
                <a:pos x="8" y="11"/>
              </a:cxn>
              <a:cxn ang="0">
                <a:pos x="5" y="12"/>
              </a:cxn>
              <a:cxn ang="0">
                <a:pos x="5" y="20"/>
              </a:cxn>
              <a:cxn ang="0">
                <a:pos x="2" y="27"/>
              </a:cxn>
              <a:cxn ang="0">
                <a:pos x="1" y="32"/>
              </a:cxn>
              <a:cxn ang="0">
                <a:pos x="2" y="42"/>
              </a:cxn>
              <a:cxn ang="0">
                <a:pos x="8" y="40"/>
              </a:cxn>
              <a:cxn ang="0">
                <a:pos x="11" y="42"/>
              </a:cxn>
              <a:cxn ang="0">
                <a:pos x="14" y="36"/>
              </a:cxn>
              <a:cxn ang="0">
                <a:pos x="18" y="37"/>
              </a:cxn>
              <a:cxn ang="0">
                <a:pos x="22" y="39"/>
              </a:cxn>
              <a:cxn ang="0">
                <a:pos x="26" y="37"/>
              </a:cxn>
              <a:cxn ang="0">
                <a:pos x="30" y="39"/>
              </a:cxn>
              <a:cxn ang="0">
                <a:pos x="34" y="40"/>
              </a:cxn>
              <a:cxn ang="0">
                <a:pos x="42" y="43"/>
              </a:cxn>
              <a:cxn ang="0">
                <a:pos x="51" y="51"/>
              </a:cxn>
              <a:cxn ang="0">
                <a:pos x="56" y="58"/>
              </a:cxn>
              <a:cxn ang="0">
                <a:pos x="63" y="62"/>
              </a:cxn>
              <a:cxn ang="0">
                <a:pos x="64" y="59"/>
              </a:cxn>
            </a:cxnLst>
            <a:rect l="0" t="0" r="r" b="b"/>
            <a:pathLst>
              <a:path w="66" h="62">
                <a:moveTo>
                  <a:pt x="34" y="25"/>
                </a:moveTo>
                <a:cubicBezTo>
                  <a:pt x="33" y="25"/>
                  <a:pt x="34" y="25"/>
                  <a:pt x="34" y="25"/>
                </a:cubicBezTo>
                <a:cubicBezTo>
                  <a:pt x="34" y="25"/>
                  <a:pt x="34" y="25"/>
                  <a:pt x="35" y="24"/>
                </a:cubicBezTo>
                <a:cubicBezTo>
                  <a:pt x="35" y="24"/>
                  <a:pt x="34" y="24"/>
                  <a:pt x="34" y="24"/>
                </a:cubicBezTo>
                <a:cubicBezTo>
                  <a:pt x="34" y="24"/>
                  <a:pt x="35" y="24"/>
                  <a:pt x="35" y="24"/>
                </a:cubicBezTo>
                <a:cubicBezTo>
                  <a:pt x="35" y="25"/>
                  <a:pt x="36" y="24"/>
                  <a:pt x="36" y="25"/>
                </a:cubicBezTo>
                <a:cubicBezTo>
                  <a:pt x="36" y="25"/>
                  <a:pt x="36" y="26"/>
                  <a:pt x="36" y="26"/>
                </a:cubicBezTo>
                <a:cubicBezTo>
                  <a:pt x="36" y="27"/>
                  <a:pt x="37" y="26"/>
                  <a:pt x="37" y="26"/>
                </a:cubicBezTo>
                <a:cubicBezTo>
                  <a:pt x="37" y="26"/>
                  <a:pt x="36" y="26"/>
                  <a:pt x="37" y="26"/>
                </a:cubicBezTo>
                <a:cubicBezTo>
                  <a:pt x="37" y="26"/>
                  <a:pt x="38" y="26"/>
                  <a:pt x="38" y="26"/>
                </a:cubicBezTo>
                <a:cubicBezTo>
                  <a:pt x="38" y="26"/>
                  <a:pt x="39" y="26"/>
                  <a:pt x="39" y="27"/>
                </a:cubicBezTo>
                <a:cubicBezTo>
                  <a:pt x="39" y="27"/>
                  <a:pt x="38" y="27"/>
                  <a:pt x="37" y="27"/>
                </a:cubicBezTo>
                <a:cubicBezTo>
                  <a:pt x="37" y="27"/>
                  <a:pt x="36" y="27"/>
                  <a:pt x="35" y="27"/>
                </a:cubicBezTo>
                <a:cubicBezTo>
                  <a:pt x="35" y="27"/>
                  <a:pt x="34" y="27"/>
                  <a:pt x="34" y="26"/>
                </a:cubicBezTo>
                <a:cubicBezTo>
                  <a:pt x="34" y="26"/>
                  <a:pt x="34" y="26"/>
                  <a:pt x="34" y="26"/>
                </a:cubicBezTo>
                <a:cubicBezTo>
                  <a:pt x="34" y="26"/>
                  <a:pt x="34" y="26"/>
                  <a:pt x="35" y="26"/>
                </a:cubicBezTo>
                <a:cubicBezTo>
                  <a:pt x="35" y="26"/>
                  <a:pt x="35" y="26"/>
                  <a:pt x="35" y="26"/>
                </a:cubicBezTo>
                <a:cubicBezTo>
                  <a:pt x="35" y="25"/>
                  <a:pt x="34" y="25"/>
                  <a:pt x="34" y="25"/>
                </a:cubicBezTo>
                <a:close/>
                <a:moveTo>
                  <a:pt x="65" y="58"/>
                </a:moveTo>
                <a:cubicBezTo>
                  <a:pt x="65" y="57"/>
                  <a:pt x="65" y="57"/>
                  <a:pt x="65" y="57"/>
                </a:cubicBezTo>
                <a:cubicBezTo>
                  <a:pt x="64" y="56"/>
                  <a:pt x="64" y="57"/>
                  <a:pt x="64" y="57"/>
                </a:cubicBezTo>
                <a:cubicBezTo>
                  <a:pt x="64" y="58"/>
                  <a:pt x="63" y="57"/>
                  <a:pt x="63" y="57"/>
                </a:cubicBezTo>
                <a:cubicBezTo>
                  <a:pt x="62" y="57"/>
                  <a:pt x="62" y="56"/>
                  <a:pt x="62" y="55"/>
                </a:cubicBezTo>
                <a:cubicBezTo>
                  <a:pt x="62" y="55"/>
                  <a:pt x="60" y="53"/>
                  <a:pt x="60" y="53"/>
                </a:cubicBezTo>
                <a:cubicBezTo>
                  <a:pt x="60" y="53"/>
                  <a:pt x="60" y="53"/>
                  <a:pt x="59" y="53"/>
                </a:cubicBezTo>
                <a:cubicBezTo>
                  <a:pt x="59" y="53"/>
                  <a:pt x="59" y="53"/>
                  <a:pt x="58" y="53"/>
                </a:cubicBezTo>
                <a:cubicBezTo>
                  <a:pt x="58" y="53"/>
                  <a:pt x="58" y="52"/>
                  <a:pt x="58" y="51"/>
                </a:cubicBezTo>
                <a:cubicBezTo>
                  <a:pt x="58" y="51"/>
                  <a:pt x="57" y="47"/>
                  <a:pt x="56" y="48"/>
                </a:cubicBezTo>
                <a:cubicBezTo>
                  <a:pt x="57" y="48"/>
                  <a:pt x="57" y="49"/>
                  <a:pt x="57" y="49"/>
                </a:cubicBezTo>
                <a:cubicBezTo>
                  <a:pt x="56" y="49"/>
                  <a:pt x="56" y="49"/>
                  <a:pt x="56" y="48"/>
                </a:cubicBezTo>
                <a:cubicBezTo>
                  <a:pt x="56" y="48"/>
                  <a:pt x="56" y="49"/>
                  <a:pt x="56" y="48"/>
                </a:cubicBezTo>
                <a:cubicBezTo>
                  <a:pt x="55" y="48"/>
                  <a:pt x="55" y="48"/>
                  <a:pt x="55" y="48"/>
                </a:cubicBezTo>
                <a:cubicBezTo>
                  <a:pt x="55" y="47"/>
                  <a:pt x="55" y="47"/>
                  <a:pt x="54" y="47"/>
                </a:cubicBezTo>
                <a:cubicBezTo>
                  <a:pt x="54" y="46"/>
                  <a:pt x="54" y="46"/>
                  <a:pt x="53" y="46"/>
                </a:cubicBezTo>
                <a:cubicBezTo>
                  <a:pt x="53" y="46"/>
                  <a:pt x="53" y="45"/>
                  <a:pt x="52" y="45"/>
                </a:cubicBezTo>
                <a:cubicBezTo>
                  <a:pt x="51" y="45"/>
                  <a:pt x="51" y="45"/>
                  <a:pt x="51" y="44"/>
                </a:cubicBezTo>
                <a:cubicBezTo>
                  <a:pt x="51" y="44"/>
                  <a:pt x="50" y="43"/>
                  <a:pt x="50" y="43"/>
                </a:cubicBezTo>
                <a:cubicBezTo>
                  <a:pt x="50" y="42"/>
                  <a:pt x="50" y="42"/>
                  <a:pt x="49" y="42"/>
                </a:cubicBezTo>
                <a:cubicBezTo>
                  <a:pt x="48" y="40"/>
                  <a:pt x="47" y="37"/>
                  <a:pt x="45" y="37"/>
                </a:cubicBezTo>
                <a:cubicBezTo>
                  <a:pt x="44" y="37"/>
                  <a:pt x="44" y="37"/>
                  <a:pt x="43" y="37"/>
                </a:cubicBezTo>
                <a:cubicBezTo>
                  <a:pt x="43" y="37"/>
                  <a:pt x="43" y="37"/>
                  <a:pt x="42" y="37"/>
                </a:cubicBezTo>
                <a:cubicBezTo>
                  <a:pt x="42" y="36"/>
                  <a:pt x="42" y="36"/>
                  <a:pt x="42" y="35"/>
                </a:cubicBezTo>
                <a:cubicBezTo>
                  <a:pt x="42" y="35"/>
                  <a:pt x="41" y="35"/>
                  <a:pt x="41" y="35"/>
                </a:cubicBezTo>
                <a:cubicBezTo>
                  <a:pt x="41" y="35"/>
                  <a:pt x="42" y="35"/>
                  <a:pt x="41" y="35"/>
                </a:cubicBezTo>
                <a:cubicBezTo>
                  <a:pt x="41" y="35"/>
                  <a:pt x="41" y="35"/>
                  <a:pt x="41" y="35"/>
                </a:cubicBezTo>
                <a:cubicBezTo>
                  <a:pt x="41" y="35"/>
                  <a:pt x="41" y="34"/>
                  <a:pt x="41" y="34"/>
                </a:cubicBezTo>
                <a:cubicBezTo>
                  <a:pt x="41" y="34"/>
                  <a:pt x="41" y="34"/>
                  <a:pt x="40" y="34"/>
                </a:cubicBezTo>
                <a:cubicBezTo>
                  <a:pt x="40" y="34"/>
                  <a:pt x="40" y="33"/>
                  <a:pt x="40" y="33"/>
                </a:cubicBezTo>
                <a:cubicBezTo>
                  <a:pt x="40" y="34"/>
                  <a:pt x="40" y="34"/>
                  <a:pt x="39" y="34"/>
                </a:cubicBezTo>
                <a:cubicBezTo>
                  <a:pt x="39" y="34"/>
                  <a:pt x="39" y="33"/>
                  <a:pt x="39" y="33"/>
                </a:cubicBezTo>
                <a:cubicBezTo>
                  <a:pt x="39" y="33"/>
                  <a:pt x="39" y="34"/>
                  <a:pt x="39" y="33"/>
                </a:cubicBezTo>
                <a:cubicBezTo>
                  <a:pt x="38" y="34"/>
                  <a:pt x="38" y="34"/>
                  <a:pt x="37" y="34"/>
                </a:cubicBezTo>
                <a:cubicBezTo>
                  <a:pt x="37" y="34"/>
                  <a:pt x="37" y="34"/>
                  <a:pt x="36" y="33"/>
                </a:cubicBezTo>
                <a:cubicBezTo>
                  <a:pt x="36" y="32"/>
                  <a:pt x="35" y="31"/>
                  <a:pt x="35" y="30"/>
                </a:cubicBezTo>
                <a:cubicBezTo>
                  <a:pt x="36" y="30"/>
                  <a:pt x="34" y="28"/>
                  <a:pt x="33" y="28"/>
                </a:cubicBezTo>
                <a:cubicBezTo>
                  <a:pt x="32" y="28"/>
                  <a:pt x="32" y="31"/>
                  <a:pt x="33" y="31"/>
                </a:cubicBezTo>
                <a:cubicBezTo>
                  <a:pt x="33" y="31"/>
                  <a:pt x="33" y="30"/>
                  <a:pt x="33" y="30"/>
                </a:cubicBezTo>
                <a:cubicBezTo>
                  <a:pt x="33" y="30"/>
                  <a:pt x="33" y="31"/>
                  <a:pt x="33" y="31"/>
                </a:cubicBezTo>
                <a:cubicBezTo>
                  <a:pt x="33" y="31"/>
                  <a:pt x="33" y="32"/>
                  <a:pt x="33" y="32"/>
                </a:cubicBezTo>
                <a:cubicBezTo>
                  <a:pt x="33" y="33"/>
                  <a:pt x="32" y="33"/>
                  <a:pt x="32" y="32"/>
                </a:cubicBezTo>
                <a:cubicBezTo>
                  <a:pt x="32" y="32"/>
                  <a:pt x="32" y="31"/>
                  <a:pt x="32" y="31"/>
                </a:cubicBezTo>
                <a:cubicBezTo>
                  <a:pt x="32" y="30"/>
                  <a:pt x="32" y="30"/>
                  <a:pt x="31" y="30"/>
                </a:cubicBezTo>
                <a:cubicBezTo>
                  <a:pt x="31" y="29"/>
                  <a:pt x="31" y="28"/>
                  <a:pt x="31" y="28"/>
                </a:cubicBezTo>
                <a:cubicBezTo>
                  <a:pt x="31" y="27"/>
                  <a:pt x="30" y="28"/>
                  <a:pt x="30" y="28"/>
                </a:cubicBezTo>
                <a:cubicBezTo>
                  <a:pt x="29" y="28"/>
                  <a:pt x="29" y="27"/>
                  <a:pt x="29" y="27"/>
                </a:cubicBezTo>
                <a:cubicBezTo>
                  <a:pt x="29" y="27"/>
                  <a:pt x="29" y="27"/>
                  <a:pt x="29" y="27"/>
                </a:cubicBezTo>
                <a:cubicBezTo>
                  <a:pt x="30" y="26"/>
                  <a:pt x="29" y="26"/>
                  <a:pt x="29" y="27"/>
                </a:cubicBezTo>
                <a:cubicBezTo>
                  <a:pt x="30" y="26"/>
                  <a:pt x="29" y="24"/>
                  <a:pt x="28" y="24"/>
                </a:cubicBezTo>
                <a:cubicBezTo>
                  <a:pt x="27" y="23"/>
                  <a:pt x="27" y="22"/>
                  <a:pt x="27" y="21"/>
                </a:cubicBezTo>
                <a:cubicBezTo>
                  <a:pt x="27" y="19"/>
                  <a:pt x="27" y="18"/>
                  <a:pt x="26" y="17"/>
                </a:cubicBezTo>
                <a:cubicBezTo>
                  <a:pt x="26" y="16"/>
                  <a:pt x="26" y="15"/>
                  <a:pt x="26" y="14"/>
                </a:cubicBezTo>
                <a:cubicBezTo>
                  <a:pt x="25" y="13"/>
                  <a:pt x="25" y="11"/>
                  <a:pt x="24" y="10"/>
                </a:cubicBezTo>
                <a:cubicBezTo>
                  <a:pt x="24" y="9"/>
                  <a:pt x="24" y="9"/>
                  <a:pt x="24" y="8"/>
                </a:cubicBezTo>
                <a:cubicBezTo>
                  <a:pt x="24" y="8"/>
                  <a:pt x="24" y="7"/>
                  <a:pt x="23" y="7"/>
                </a:cubicBezTo>
                <a:cubicBezTo>
                  <a:pt x="23" y="6"/>
                  <a:pt x="22" y="5"/>
                  <a:pt x="22" y="4"/>
                </a:cubicBezTo>
                <a:cubicBezTo>
                  <a:pt x="21" y="3"/>
                  <a:pt x="20" y="2"/>
                  <a:pt x="20" y="0"/>
                </a:cubicBezTo>
                <a:cubicBezTo>
                  <a:pt x="20" y="1"/>
                  <a:pt x="19" y="2"/>
                  <a:pt x="19" y="2"/>
                </a:cubicBezTo>
                <a:cubicBezTo>
                  <a:pt x="18" y="3"/>
                  <a:pt x="18" y="4"/>
                  <a:pt x="18" y="4"/>
                </a:cubicBezTo>
                <a:cubicBezTo>
                  <a:pt x="18" y="4"/>
                  <a:pt x="17" y="5"/>
                  <a:pt x="17" y="5"/>
                </a:cubicBezTo>
                <a:cubicBezTo>
                  <a:pt x="17" y="5"/>
                  <a:pt x="17" y="5"/>
                  <a:pt x="17" y="6"/>
                </a:cubicBezTo>
                <a:cubicBezTo>
                  <a:pt x="17" y="6"/>
                  <a:pt x="16" y="5"/>
                  <a:pt x="16" y="5"/>
                </a:cubicBezTo>
                <a:cubicBezTo>
                  <a:pt x="15" y="7"/>
                  <a:pt x="16" y="5"/>
                  <a:pt x="15" y="5"/>
                </a:cubicBezTo>
                <a:cubicBezTo>
                  <a:pt x="14" y="6"/>
                  <a:pt x="14" y="6"/>
                  <a:pt x="14" y="7"/>
                </a:cubicBezTo>
                <a:cubicBezTo>
                  <a:pt x="13" y="7"/>
                  <a:pt x="13" y="6"/>
                  <a:pt x="13" y="6"/>
                </a:cubicBezTo>
                <a:cubicBezTo>
                  <a:pt x="12" y="7"/>
                  <a:pt x="12" y="7"/>
                  <a:pt x="12" y="7"/>
                </a:cubicBezTo>
                <a:cubicBezTo>
                  <a:pt x="11" y="7"/>
                  <a:pt x="11" y="7"/>
                  <a:pt x="11" y="8"/>
                </a:cubicBezTo>
                <a:cubicBezTo>
                  <a:pt x="10" y="8"/>
                  <a:pt x="10" y="8"/>
                  <a:pt x="10" y="9"/>
                </a:cubicBezTo>
                <a:cubicBezTo>
                  <a:pt x="10" y="9"/>
                  <a:pt x="10" y="10"/>
                  <a:pt x="10" y="11"/>
                </a:cubicBezTo>
                <a:cubicBezTo>
                  <a:pt x="9" y="11"/>
                  <a:pt x="9" y="11"/>
                  <a:pt x="8" y="11"/>
                </a:cubicBezTo>
                <a:cubicBezTo>
                  <a:pt x="8" y="11"/>
                  <a:pt x="8" y="11"/>
                  <a:pt x="8" y="11"/>
                </a:cubicBezTo>
                <a:cubicBezTo>
                  <a:pt x="7" y="11"/>
                  <a:pt x="7" y="11"/>
                  <a:pt x="7" y="11"/>
                </a:cubicBezTo>
                <a:cubicBezTo>
                  <a:pt x="6" y="11"/>
                  <a:pt x="6" y="10"/>
                  <a:pt x="5" y="11"/>
                </a:cubicBezTo>
                <a:cubicBezTo>
                  <a:pt x="5" y="11"/>
                  <a:pt x="5" y="11"/>
                  <a:pt x="5" y="12"/>
                </a:cubicBezTo>
                <a:cubicBezTo>
                  <a:pt x="5" y="13"/>
                  <a:pt x="6" y="14"/>
                  <a:pt x="5" y="15"/>
                </a:cubicBezTo>
                <a:cubicBezTo>
                  <a:pt x="4" y="16"/>
                  <a:pt x="5" y="17"/>
                  <a:pt x="5" y="18"/>
                </a:cubicBezTo>
                <a:cubicBezTo>
                  <a:pt x="5" y="18"/>
                  <a:pt x="5" y="19"/>
                  <a:pt x="5" y="20"/>
                </a:cubicBezTo>
                <a:cubicBezTo>
                  <a:pt x="5" y="20"/>
                  <a:pt x="4" y="21"/>
                  <a:pt x="4" y="21"/>
                </a:cubicBezTo>
                <a:cubicBezTo>
                  <a:pt x="4" y="22"/>
                  <a:pt x="4" y="24"/>
                  <a:pt x="3" y="25"/>
                </a:cubicBezTo>
                <a:cubicBezTo>
                  <a:pt x="3" y="26"/>
                  <a:pt x="3" y="26"/>
                  <a:pt x="2" y="27"/>
                </a:cubicBezTo>
                <a:cubicBezTo>
                  <a:pt x="2" y="27"/>
                  <a:pt x="2" y="28"/>
                  <a:pt x="2" y="29"/>
                </a:cubicBezTo>
                <a:cubicBezTo>
                  <a:pt x="2" y="29"/>
                  <a:pt x="2" y="30"/>
                  <a:pt x="2" y="30"/>
                </a:cubicBezTo>
                <a:cubicBezTo>
                  <a:pt x="1" y="31"/>
                  <a:pt x="1" y="31"/>
                  <a:pt x="1" y="32"/>
                </a:cubicBezTo>
                <a:cubicBezTo>
                  <a:pt x="0" y="32"/>
                  <a:pt x="1" y="33"/>
                  <a:pt x="1" y="34"/>
                </a:cubicBezTo>
                <a:cubicBezTo>
                  <a:pt x="1" y="35"/>
                  <a:pt x="1" y="36"/>
                  <a:pt x="1" y="36"/>
                </a:cubicBezTo>
                <a:cubicBezTo>
                  <a:pt x="1" y="38"/>
                  <a:pt x="2" y="40"/>
                  <a:pt x="2" y="42"/>
                </a:cubicBezTo>
                <a:cubicBezTo>
                  <a:pt x="2" y="41"/>
                  <a:pt x="4" y="41"/>
                  <a:pt x="5" y="41"/>
                </a:cubicBezTo>
                <a:cubicBezTo>
                  <a:pt x="6" y="41"/>
                  <a:pt x="7" y="42"/>
                  <a:pt x="7" y="41"/>
                </a:cubicBezTo>
                <a:cubicBezTo>
                  <a:pt x="7" y="41"/>
                  <a:pt x="7" y="40"/>
                  <a:pt x="8" y="40"/>
                </a:cubicBezTo>
                <a:cubicBezTo>
                  <a:pt x="8" y="39"/>
                  <a:pt x="9" y="39"/>
                  <a:pt x="9" y="40"/>
                </a:cubicBezTo>
                <a:cubicBezTo>
                  <a:pt x="10" y="40"/>
                  <a:pt x="10" y="41"/>
                  <a:pt x="10" y="41"/>
                </a:cubicBezTo>
                <a:cubicBezTo>
                  <a:pt x="10" y="41"/>
                  <a:pt x="11" y="41"/>
                  <a:pt x="11" y="42"/>
                </a:cubicBezTo>
                <a:cubicBezTo>
                  <a:pt x="11" y="42"/>
                  <a:pt x="11" y="43"/>
                  <a:pt x="12" y="43"/>
                </a:cubicBezTo>
                <a:cubicBezTo>
                  <a:pt x="12" y="43"/>
                  <a:pt x="12" y="42"/>
                  <a:pt x="12" y="41"/>
                </a:cubicBezTo>
                <a:cubicBezTo>
                  <a:pt x="13" y="40"/>
                  <a:pt x="14" y="38"/>
                  <a:pt x="14" y="36"/>
                </a:cubicBezTo>
                <a:cubicBezTo>
                  <a:pt x="14" y="36"/>
                  <a:pt x="15" y="34"/>
                  <a:pt x="15" y="35"/>
                </a:cubicBezTo>
                <a:cubicBezTo>
                  <a:pt x="15" y="36"/>
                  <a:pt x="16" y="36"/>
                  <a:pt x="16" y="37"/>
                </a:cubicBezTo>
                <a:cubicBezTo>
                  <a:pt x="17" y="37"/>
                  <a:pt x="18" y="37"/>
                  <a:pt x="18" y="37"/>
                </a:cubicBezTo>
                <a:cubicBezTo>
                  <a:pt x="19" y="37"/>
                  <a:pt x="19" y="38"/>
                  <a:pt x="19" y="38"/>
                </a:cubicBezTo>
                <a:cubicBezTo>
                  <a:pt x="19" y="39"/>
                  <a:pt x="20" y="40"/>
                  <a:pt x="20" y="40"/>
                </a:cubicBezTo>
                <a:cubicBezTo>
                  <a:pt x="21" y="40"/>
                  <a:pt x="22" y="39"/>
                  <a:pt x="22" y="39"/>
                </a:cubicBezTo>
                <a:cubicBezTo>
                  <a:pt x="23" y="39"/>
                  <a:pt x="24" y="39"/>
                  <a:pt x="25" y="39"/>
                </a:cubicBezTo>
                <a:cubicBezTo>
                  <a:pt x="25" y="39"/>
                  <a:pt x="25" y="38"/>
                  <a:pt x="25" y="38"/>
                </a:cubicBezTo>
                <a:cubicBezTo>
                  <a:pt x="25" y="38"/>
                  <a:pt x="25" y="37"/>
                  <a:pt x="26" y="37"/>
                </a:cubicBezTo>
                <a:cubicBezTo>
                  <a:pt x="27" y="37"/>
                  <a:pt x="27" y="38"/>
                  <a:pt x="27" y="39"/>
                </a:cubicBezTo>
                <a:cubicBezTo>
                  <a:pt x="28" y="40"/>
                  <a:pt x="28" y="39"/>
                  <a:pt x="28" y="39"/>
                </a:cubicBezTo>
                <a:cubicBezTo>
                  <a:pt x="29" y="39"/>
                  <a:pt x="29" y="39"/>
                  <a:pt x="30" y="39"/>
                </a:cubicBezTo>
                <a:cubicBezTo>
                  <a:pt x="30" y="39"/>
                  <a:pt x="30" y="38"/>
                  <a:pt x="31" y="38"/>
                </a:cubicBezTo>
                <a:cubicBezTo>
                  <a:pt x="32" y="39"/>
                  <a:pt x="32" y="39"/>
                  <a:pt x="33" y="39"/>
                </a:cubicBezTo>
                <a:cubicBezTo>
                  <a:pt x="33" y="39"/>
                  <a:pt x="34" y="40"/>
                  <a:pt x="34" y="40"/>
                </a:cubicBezTo>
                <a:cubicBezTo>
                  <a:pt x="35" y="39"/>
                  <a:pt x="36" y="39"/>
                  <a:pt x="37" y="39"/>
                </a:cubicBezTo>
                <a:cubicBezTo>
                  <a:pt x="38" y="40"/>
                  <a:pt x="39" y="41"/>
                  <a:pt x="40" y="42"/>
                </a:cubicBezTo>
                <a:cubicBezTo>
                  <a:pt x="41" y="42"/>
                  <a:pt x="42" y="42"/>
                  <a:pt x="42" y="43"/>
                </a:cubicBezTo>
                <a:cubicBezTo>
                  <a:pt x="43" y="43"/>
                  <a:pt x="44" y="43"/>
                  <a:pt x="44" y="44"/>
                </a:cubicBezTo>
                <a:cubicBezTo>
                  <a:pt x="45" y="45"/>
                  <a:pt x="46" y="47"/>
                  <a:pt x="47" y="48"/>
                </a:cubicBezTo>
                <a:cubicBezTo>
                  <a:pt x="48" y="50"/>
                  <a:pt x="50" y="50"/>
                  <a:pt x="51" y="51"/>
                </a:cubicBezTo>
                <a:cubicBezTo>
                  <a:pt x="52" y="52"/>
                  <a:pt x="53" y="54"/>
                  <a:pt x="54" y="55"/>
                </a:cubicBezTo>
                <a:cubicBezTo>
                  <a:pt x="54" y="56"/>
                  <a:pt x="54" y="56"/>
                  <a:pt x="55" y="57"/>
                </a:cubicBezTo>
                <a:cubicBezTo>
                  <a:pt x="55" y="57"/>
                  <a:pt x="56" y="57"/>
                  <a:pt x="56" y="58"/>
                </a:cubicBezTo>
                <a:cubicBezTo>
                  <a:pt x="57" y="59"/>
                  <a:pt x="58" y="60"/>
                  <a:pt x="59" y="61"/>
                </a:cubicBezTo>
                <a:cubicBezTo>
                  <a:pt x="60" y="60"/>
                  <a:pt x="60" y="62"/>
                  <a:pt x="61" y="62"/>
                </a:cubicBezTo>
                <a:cubicBezTo>
                  <a:pt x="62" y="62"/>
                  <a:pt x="62" y="62"/>
                  <a:pt x="63" y="62"/>
                </a:cubicBezTo>
                <a:cubicBezTo>
                  <a:pt x="63" y="61"/>
                  <a:pt x="63" y="61"/>
                  <a:pt x="63" y="61"/>
                </a:cubicBezTo>
                <a:cubicBezTo>
                  <a:pt x="63" y="60"/>
                  <a:pt x="63" y="60"/>
                  <a:pt x="63" y="60"/>
                </a:cubicBezTo>
                <a:cubicBezTo>
                  <a:pt x="63" y="59"/>
                  <a:pt x="64" y="59"/>
                  <a:pt x="64" y="59"/>
                </a:cubicBezTo>
                <a:cubicBezTo>
                  <a:pt x="65" y="59"/>
                  <a:pt x="66" y="59"/>
                  <a:pt x="65" y="5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5" name="Equitorial Guinea"/>
          <p:cNvSpPr>
            <a:spLocks noEditPoints="1"/>
          </p:cNvSpPr>
          <p:nvPr/>
        </p:nvSpPr>
        <p:spPr bwMode="auto">
          <a:xfrm>
            <a:off x="5991075" y="4511943"/>
            <a:ext cx="201993" cy="212992"/>
          </a:xfrm>
          <a:custGeom>
            <a:avLst/>
            <a:gdLst/>
            <a:ahLst/>
            <a:cxnLst>
              <a:cxn ang="0">
                <a:pos x="55" y="31"/>
              </a:cxn>
              <a:cxn ang="0">
                <a:pos x="53" y="31"/>
              </a:cxn>
              <a:cxn ang="0">
                <a:pos x="49" y="31"/>
              </a:cxn>
              <a:cxn ang="0">
                <a:pos x="42" y="31"/>
              </a:cxn>
              <a:cxn ang="0">
                <a:pos x="42" y="32"/>
              </a:cxn>
              <a:cxn ang="0">
                <a:pos x="41" y="30"/>
              </a:cxn>
              <a:cxn ang="0">
                <a:pos x="40" y="30"/>
              </a:cxn>
              <a:cxn ang="0">
                <a:pos x="39" y="31"/>
              </a:cxn>
              <a:cxn ang="0">
                <a:pos x="38" y="30"/>
              </a:cxn>
              <a:cxn ang="0">
                <a:pos x="36" y="29"/>
              </a:cxn>
              <a:cxn ang="0">
                <a:pos x="37" y="28"/>
              </a:cxn>
              <a:cxn ang="0">
                <a:pos x="38" y="26"/>
              </a:cxn>
              <a:cxn ang="0">
                <a:pos x="39" y="25"/>
              </a:cxn>
              <a:cxn ang="0">
                <a:pos x="40" y="25"/>
              </a:cxn>
              <a:cxn ang="0">
                <a:pos x="39" y="25"/>
              </a:cxn>
              <a:cxn ang="0">
                <a:pos x="39" y="24"/>
              </a:cxn>
              <a:cxn ang="0">
                <a:pos x="40" y="23"/>
              </a:cxn>
              <a:cxn ang="0">
                <a:pos x="40" y="21"/>
              </a:cxn>
              <a:cxn ang="0">
                <a:pos x="40" y="19"/>
              </a:cxn>
              <a:cxn ang="0">
                <a:pos x="40" y="18"/>
              </a:cxn>
              <a:cxn ang="0">
                <a:pos x="41" y="16"/>
              </a:cxn>
              <a:cxn ang="0">
                <a:pos x="41" y="17"/>
              </a:cxn>
              <a:cxn ang="0">
                <a:pos x="42" y="18"/>
              </a:cxn>
              <a:cxn ang="0">
                <a:pos x="45" y="18"/>
              </a:cxn>
              <a:cxn ang="0">
                <a:pos x="52" y="18"/>
              </a:cxn>
              <a:cxn ang="0">
                <a:pos x="55" y="18"/>
              </a:cxn>
              <a:cxn ang="0">
                <a:pos x="56" y="19"/>
              </a:cxn>
              <a:cxn ang="0">
                <a:pos x="56" y="25"/>
              </a:cxn>
              <a:cxn ang="0">
                <a:pos x="56" y="28"/>
              </a:cxn>
              <a:cxn ang="0">
                <a:pos x="55" y="31"/>
              </a:cxn>
              <a:cxn ang="0">
                <a:pos x="0" y="59"/>
              </a:cxn>
              <a:cxn ang="0">
                <a:pos x="0" y="59"/>
              </a:cxn>
              <a:cxn ang="0">
                <a:pos x="32" y="1"/>
              </a:cxn>
              <a:cxn ang="0">
                <a:pos x="30" y="1"/>
              </a:cxn>
              <a:cxn ang="0">
                <a:pos x="29" y="2"/>
              </a:cxn>
              <a:cxn ang="0">
                <a:pos x="28" y="4"/>
              </a:cxn>
              <a:cxn ang="0">
                <a:pos x="27" y="6"/>
              </a:cxn>
              <a:cxn ang="0">
                <a:pos x="29" y="7"/>
              </a:cxn>
              <a:cxn ang="0">
                <a:pos x="31" y="6"/>
              </a:cxn>
              <a:cxn ang="0">
                <a:pos x="32" y="1"/>
              </a:cxn>
            </a:cxnLst>
            <a:rect l="0" t="0" r="r" b="b"/>
            <a:pathLst>
              <a:path w="56" h="59">
                <a:moveTo>
                  <a:pt x="55" y="31"/>
                </a:moveTo>
                <a:cubicBezTo>
                  <a:pt x="55" y="32"/>
                  <a:pt x="53" y="31"/>
                  <a:pt x="53" y="31"/>
                </a:cubicBezTo>
                <a:cubicBezTo>
                  <a:pt x="52" y="31"/>
                  <a:pt x="50" y="31"/>
                  <a:pt x="49" y="31"/>
                </a:cubicBezTo>
                <a:cubicBezTo>
                  <a:pt x="48" y="31"/>
                  <a:pt x="43" y="31"/>
                  <a:pt x="42" y="31"/>
                </a:cubicBezTo>
                <a:cubicBezTo>
                  <a:pt x="42" y="32"/>
                  <a:pt x="42" y="32"/>
                  <a:pt x="42" y="32"/>
                </a:cubicBezTo>
                <a:cubicBezTo>
                  <a:pt x="41" y="31"/>
                  <a:pt x="40" y="31"/>
                  <a:pt x="41" y="30"/>
                </a:cubicBezTo>
                <a:cubicBezTo>
                  <a:pt x="41" y="30"/>
                  <a:pt x="40" y="30"/>
                  <a:pt x="40" y="30"/>
                </a:cubicBezTo>
                <a:cubicBezTo>
                  <a:pt x="39" y="30"/>
                  <a:pt x="39" y="31"/>
                  <a:pt x="39" y="31"/>
                </a:cubicBezTo>
                <a:cubicBezTo>
                  <a:pt x="38" y="31"/>
                  <a:pt x="38" y="30"/>
                  <a:pt x="38" y="30"/>
                </a:cubicBezTo>
                <a:cubicBezTo>
                  <a:pt x="37" y="29"/>
                  <a:pt x="36" y="31"/>
                  <a:pt x="36" y="29"/>
                </a:cubicBezTo>
                <a:cubicBezTo>
                  <a:pt x="36" y="29"/>
                  <a:pt x="37" y="28"/>
                  <a:pt x="37" y="28"/>
                </a:cubicBezTo>
                <a:cubicBezTo>
                  <a:pt x="37" y="27"/>
                  <a:pt x="37" y="27"/>
                  <a:pt x="38" y="26"/>
                </a:cubicBezTo>
                <a:cubicBezTo>
                  <a:pt x="38" y="26"/>
                  <a:pt x="38" y="25"/>
                  <a:pt x="39" y="25"/>
                </a:cubicBezTo>
                <a:cubicBezTo>
                  <a:pt x="39" y="25"/>
                  <a:pt x="39" y="25"/>
                  <a:pt x="40" y="25"/>
                </a:cubicBezTo>
                <a:cubicBezTo>
                  <a:pt x="40" y="25"/>
                  <a:pt x="39" y="25"/>
                  <a:pt x="39" y="25"/>
                </a:cubicBezTo>
                <a:cubicBezTo>
                  <a:pt x="39" y="25"/>
                  <a:pt x="39" y="24"/>
                  <a:pt x="39" y="24"/>
                </a:cubicBezTo>
                <a:cubicBezTo>
                  <a:pt x="39" y="23"/>
                  <a:pt x="39" y="23"/>
                  <a:pt x="40" y="23"/>
                </a:cubicBezTo>
                <a:cubicBezTo>
                  <a:pt x="40" y="22"/>
                  <a:pt x="40" y="22"/>
                  <a:pt x="40" y="21"/>
                </a:cubicBezTo>
                <a:cubicBezTo>
                  <a:pt x="41" y="21"/>
                  <a:pt x="40" y="20"/>
                  <a:pt x="40" y="19"/>
                </a:cubicBezTo>
                <a:cubicBezTo>
                  <a:pt x="40" y="19"/>
                  <a:pt x="40" y="18"/>
                  <a:pt x="40" y="18"/>
                </a:cubicBezTo>
                <a:cubicBezTo>
                  <a:pt x="40" y="17"/>
                  <a:pt x="40" y="17"/>
                  <a:pt x="41" y="16"/>
                </a:cubicBezTo>
                <a:cubicBezTo>
                  <a:pt x="41" y="17"/>
                  <a:pt x="41" y="17"/>
                  <a:pt x="41" y="17"/>
                </a:cubicBezTo>
                <a:cubicBezTo>
                  <a:pt x="41" y="18"/>
                  <a:pt x="41" y="18"/>
                  <a:pt x="42" y="18"/>
                </a:cubicBezTo>
                <a:cubicBezTo>
                  <a:pt x="43" y="19"/>
                  <a:pt x="44" y="18"/>
                  <a:pt x="45" y="18"/>
                </a:cubicBezTo>
                <a:cubicBezTo>
                  <a:pt x="47" y="18"/>
                  <a:pt x="49" y="18"/>
                  <a:pt x="52" y="18"/>
                </a:cubicBezTo>
                <a:cubicBezTo>
                  <a:pt x="53" y="18"/>
                  <a:pt x="54" y="18"/>
                  <a:pt x="55" y="18"/>
                </a:cubicBezTo>
                <a:cubicBezTo>
                  <a:pt x="55" y="18"/>
                  <a:pt x="56" y="18"/>
                  <a:pt x="56" y="19"/>
                </a:cubicBezTo>
                <a:cubicBezTo>
                  <a:pt x="55" y="21"/>
                  <a:pt x="56" y="23"/>
                  <a:pt x="56" y="25"/>
                </a:cubicBezTo>
                <a:cubicBezTo>
                  <a:pt x="56" y="26"/>
                  <a:pt x="56" y="27"/>
                  <a:pt x="56" y="28"/>
                </a:cubicBezTo>
                <a:cubicBezTo>
                  <a:pt x="56" y="29"/>
                  <a:pt x="56" y="31"/>
                  <a:pt x="55" y="31"/>
                </a:cubicBezTo>
                <a:close/>
                <a:moveTo>
                  <a:pt x="0" y="59"/>
                </a:moveTo>
                <a:cubicBezTo>
                  <a:pt x="1" y="58"/>
                  <a:pt x="0" y="58"/>
                  <a:pt x="0" y="59"/>
                </a:cubicBezTo>
                <a:close/>
                <a:moveTo>
                  <a:pt x="32" y="1"/>
                </a:moveTo>
                <a:cubicBezTo>
                  <a:pt x="31" y="1"/>
                  <a:pt x="30" y="1"/>
                  <a:pt x="30" y="1"/>
                </a:cubicBezTo>
                <a:cubicBezTo>
                  <a:pt x="30" y="0"/>
                  <a:pt x="29" y="2"/>
                  <a:pt x="29" y="2"/>
                </a:cubicBezTo>
                <a:cubicBezTo>
                  <a:pt x="29" y="3"/>
                  <a:pt x="29" y="4"/>
                  <a:pt x="28" y="4"/>
                </a:cubicBezTo>
                <a:cubicBezTo>
                  <a:pt x="27" y="4"/>
                  <a:pt x="27" y="5"/>
                  <a:pt x="27" y="6"/>
                </a:cubicBezTo>
                <a:cubicBezTo>
                  <a:pt x="28" y="7"/>
                  <a:pt x="29" y="7"/>
                  <a:pt x="29" y="7"/>
                </a:cubicBezTo>
                <a:cubicBezTo>
                  <a:pt x="30" y="7"/>
                  <a:pt x="31" y="6"/>
                  <a:pt x="31" y="6"/>
                </a:cubicBezTo>
                <a:cubicBezTo>
                  <a:pt x="31" y="5"/>
                  <a:pt x="34" y="1"/>
                  <a:pt x="32"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6" name="El Salvador"/>
          <p:cNvSpPr>
            <a:spLocks/>
          </p:cNvSpPr>
          <p:nvPr/>
        </p:nvSpPr>
        <p:spPr bwMode="auto">
          <a:xfrm>
            <a:off x="2660200" y="4088958"/>
            <a:ext cx="86997" cy="53998"/>
          </a:xfrm>
          <a:custGeom>
            <a:avLst/>
            <a:gdLst/>
            <a:ahLst/>
            <a:cxnLst>
              <a:cxn ang="0">
                <a:pos x="23" y="10"/>
              </a:cxn>
              <a:cxn ang="0">
                <a:pos x="24" y="7"/>
              </a:cxn>
              <a:cxn ang="0">
                <a:pos x="23" y="6"/>
              </a:cxn>
              <a:cxn ang="0">
                <a:pos x="22" y="7"/>
              </a:cxn>
              <a:cxn ang="0">
                <a:pos x="21" y="6"/>
              </a:cxn>
              <a:cxn ang="0">
                <a:pos x="21" y="5"/>
              </a:cxn>
              <a:cxn ang="0">
                <a:pos x="19" y="6"/>
              </a:cxn>
              <a:cxn ang="0">
                <a:pos x="18" y="7"/>
              </a:cxn>
              <a:cxn ang="0">
                <a:pos x="17" y="7"/>
              </a:cxn>
              <a:cxn ang="0">
                <a:pos x="16" y="6"/>
              </a:cxn>
              <a:cxn ang="0">
                <a:pos x="15" y="5"/>
              </a:cxn>
              <a:cxn ang="0">
                <a:pos x="15" y="5"/>
              </a:cxn>
              <a:cxn ang="0">
                <a:pos x="14" y="4"/>
              </a:cxn>
              <a:cxn ang="0">
                <a:pos x="13" y="4"/>
              </a:cxn>
              <a:cxn ang="0">
                <a:pos x="13" y="3"/>
              </a:cxn>
              <a:cxn ang="0">
                <a:pos x="12" y="2"/>
              </a:cxn>
              <a:cxn ang="0">
                <a:pos x="11" y="2"/>
              </a:cxn>
              <a:cxn ang="0">
                <a:pos x="11" y="1"/>
              </a:cxn>
              <a:cxn ang="0">
                <a:pos x="11" y="1"/>
              </a:cxn>
              <a:cxn ang="0">
                <a:pos x="9" y="0"/>
              </a:cxn>
              <a:cxn ang="0">
                <a:pos x="7" y="1"/>
              </a:cxn>
              <a:cxn ang="0">
                <a:pos x="7" y="1"/>
              </a:cxn>
              <a:cxn ang="0">
                <a:pos x="7" y="2"/>
              </a:cxn>
              <a:cxn ang="0">
                <a:pos x="7" y="3"/>
              </a:cxn>
              <a:cxn ang="0">
                <a:pos x="6" y="3"/>
              </a:cxn>
              <a:cxn ang="0">
                <a:pos x="5" y="5"/>
              </a:cxn>
              <a:cxn ang="0">
                <a:pos x="4" y="5"/>
              </a:cxn>
              <a:cxn ang="0">
                <a:pos x="3" y="5"/>
              </a:cxn>
              <a:cxn ang="0">
                <a:pos x="2" y="6"/>
              </a:cxn>
              <a:cxn ang="0">
                <a:pos x="1" y="8"/>
              </a:cxn>
              <a:cxn ang="0">
                <a:pos x="3" y="9"/>
              </a:cxn>
              <a:cxn ang="0">
                <a:pos x="3" y="11"/>
              </a:cxn>
              <a:cxn ang="0">
                <a:pos x="5" y="11"/>
              </a:cxn>
              <a:cxn ang="0">
                <a:pos x="8" y="11"/>
              </a:cxn>
              <a:cxn ang="0">
                <a:pos x="10" y="12"/>
              </a:cxn>
              <a:cxn ang="0">
                <a:pos x="12" y="13"/>
              </a:cxn>
              <a:cxn ang="0">
                <a:pos x="16" y="14"/>
              </a:cxn>
              <a:cxn ang="0">
                <a:pos x="15" y="14"/>
              </a:cxn>
              <a:cxn ang="0">
                <a:pos x="15" y="14"/>
              </a:cxn>
              <a:cxn ang="0">
                <a:pos x="14" y="13"/>
              </a:cxn>
              <a:cxn ang="0">
                <a:pos x="15" y="14"/>
              </a:cxn>
              <a:cxn ang="0">
                <a:pos x="16" y="14"/>
              </a:cxn>
              <a:cxn ang="0">
                <a:pos x="16" y="14"/>
              </a:cxn>
              <a:cxn ang="0">
                <a:pos x="16" y="15"/>
              </a:cxn>
              <a:cxn ang="0">
                <a:pos x="17" y="14"/>
              </a:cxn>
              <a:cxn ang="0">
                <a:pos x="17" y="14"/>
              </a:cxn>
              <a:cxn ang="0">
                <a:pos x="17" y="14"/>
              </a:cxn>
              <a:cxn ang="0">
                <a:pos x="17" y="14"/>
              </a:cxn>
              <a:cxn ang="0">
                <a:pos x="20" y="15"/>
              </a:cxn>
              <a:cxn ang="0">
                <a:pos x="21" y="15"/>
              </a:cxn>
              <a:cxn ang="0">
                <a:pos x="22" y="14"/>
              </a:cxn>
              <a:cxn ang="0">
                <a:pos x="22" y="13"/>
              </a:cxn>
              <a:cxn ang="0">
                <a:pos x="22" y="12"/>
              </a:cxn>
              <a:cxn ang="0">
                <a:pos x="24" y="11"/>
              </a:cxn>
              <a:cxn ang="0">
                <a:pos x="23" y="10"/>
              </a:cxn>
            </a:cxnLst>
            <a:rect l="0" t="0" r="r" b="b"/>
            <a:pathLst>
              <a:path w="24" h="15">
                <a:moveTo>
                  <a:pt x="23" y="10"/>
                </a:moveTo>
                <a:cubicBezTo>
                  <a:pt x="23" y="9"/>
                  <a:pt x="24" y="8"/>
                  <a:pt x="24" y="7"/>
                </a:cubicBezTo>
                <a:cubicBezTo>
                  <a:pt x="24" y="7"/>
                  <a:pt x="23" y="6"/>
                  <a:pt x="23" y="6"/>
                </a:cubicBezTo>
                <a:cubicBezTo>
                  <a:pt x="23" y="6"/>
                  <a:pt x="22" y="7"/>
                  <a:pt x="22" y="7"/>
                </a:cubicBezTo>
                <a:cubicBezTo>
                  <a:pt x="21" y="7"/>
                  <a:pt x="21" y="6"/>
                  <a:pt x="21" y="6"/>
                </a:cubicBezTo>
                <a:cubicBezTo>
                  <a:pt x="21" y="6"/>
                  <a:pt x="21" y="6"/>
                  <a:pt x="21" y="5"/>
                </a:cubicBezTo>
                <a:cubicBezTo>
                  <a:pt x="20" y="5"/>
                  <a:pt x="19" y="5"/>
                  <a:pt x="19" y="6"/>
                </a:cubicBezTo>
                <a:cubicBezTo>
                  <a:pt x="19" y="6"/>
                  <a:pt x="18" y="6"/>
                  <a:pt x="18" y="7"/>
                </a:cubicBezTo>
                <a:cubicBezTo>
                  <a:pt x="18" y="7"/>
                  <a:pt x="17" y="7"/>
                  <a:pt x="17" y="7"/>
                </a:cubicBezTo>
                <a:cubicBezTo>
                  <a:pt x="16" y="7"/>
                  <a:pt x="17" y="6"/>
                  <a:pt x="16" y="6"/>
                </a:cubicBezTo>
                <a:cubicBezTo>
                  <a:pt x="16" y="6"/>
                  <a:pt x="15" y="5"/>
                  <a:pt x="15" y="5"/>
                </a:cubicBezTo>
                <a:cubicBezTo>
                  <a:pt x="15" y="5"/>
                  <a:pt x="15" y="5"/>
                  <a:pt x="15" y="5"/>
                </a:cubicBezTo>
                <a:cubicBezTo>
                  <a:pt x="14" y="5"/>
                  <a:pt x="15" y="5"/>
                  <a:pt x="14" y="4"/>
                </a:cubicBezTo>
                <a:cubicBezTo>
                  <a:pt x="14" y="4"/>
                  <a:pt x="14" y="4"/>
                  <a:pt x="13" y="4"/>
                </a:cubicBezTo>
                <a:cubicBezTo>
                  <a:pt x="13" y="3"/>
                  <a:pt x="13" y="3"/>
                  <a:pt x="13" y="3"/>
                </a:cubicBezTo>
                <a:cubicBezTo>
                  <a:pt x="12" y="3"/>
                  <a:pt x="12" y="2"/>
                  <a:pt x="12" y="2"/>
                </a:cubicBezTo>
                <a:cubicBezTo>
                  <a:pt x="12" y="2"/>
                  <a:pt x="12" y="2"/>
                  <a:pt x="11" y="2"/>
                </a:cubicBezTo>
                <a:cubicBezTo>
                  <a:pt x="11" y="2"/>
                  <a:pt x="12" y="1"/>
                  <a:pt x="11" y="1"/>
                </a:cubicBezTo>
                <a:cubicBezTo>
                  <a:pt x="11" y="1"/>
                  <a:pt x="11" y="1"/>
                  <a:pt x="11" y="1"/>
                </a:cubicBezTo>
                <a:cubicBezTo>
                  <a:pt x="10" y="1"/>
                  <a:pt x="9" y="1"/>
                  <a:pt x="9" y="0"/>
                </a:cubicBezTo>
                <a:cubicBezTo>
                  <a:pt x="8" y="1"/>
                  <a:pt x="8" y="1"/>
                  <a:pt x="7" y="1"/>
                </a:cubicBezTo>
                <a:cubicBezTo>
                  <a:pt x="7" y="1"/>
                  <a:pt x="7" y="1"/>
                  <a:pt x="7" y="1"/>
                </a:cubicBezTo>
                <a:cubicBezTo>
                  <a:pt x="7" y="1"/>
                  <a:pt x="7" y="1"/>
                  <a:pt x="7" y="2"/>
                </a:cubicBezTo>
                <a:cubicBezTo>
                  <a:pt x="6" y="2"/>
                  <a:pt x="7" y="2"/>
                  <a:pt x="7" y="3"/>
                </a:cubicBezTo>
                <a:cubicBezTo>
                  <a:pt x="7" y="3"/>
                  <a:pt x="6" y="3"/>
                  <a:pt x="6" y="3"/>
                </a:cubicBezTo>
                <a:cubicBezTo>
                  <a:pt x="5" y="4"/>
                  <a:pt x="5" y="4"/>
                  <a:pt x="5" y="5"/>
                </a:cubicBezTo>
                <a:cubicBezTo>
                  <a:pt x="5" y="5"/>
                  <a:pt x="4" y="5"/>
                  <a:pt x="4" y="5"/>
                </a:cubicBezTo>
                <a:cubicBezTo>
                  <a:pt x="4" y="5"/>
                  <a:pt x="4" y="5"/>
                  <a:pt x="3" y="5"/>
                </a:cubicBezTo>
                <a:cubicBezTo>
                  <a:pt x="3" y="5"/>
                  <a:pt x="3" y="6"/>
                  <a:pt x="2" y="6"/>
                </a:cubicBezTo>
                <a:cubicBezTo>
                  <a:pt x="1" y="6"/>
                  <a:pt x="0" y="8"/>
                  <a:pt x="1" y="8"/>
                </a:cubicBezTo>
                <a:cubicBezTo>
                  <a:pt x="2" y="9"/>
                  <a:pt x="2" y="9"/>
                  <a:pt x="3" y="9"/>
                </a:cubicBezTo>
                <a:cubicBezTo>
                  <a:pt x="3" y="10"/>
                  <a:pt x="3" y="10"/>
                  <a:pt x="3" y="11"/>
                </a:cubicBezTo>
                <a:cubicBezTo>
                  <a:pt x="4" y="11"/>
                  <a:pt x="5" y="11"/>
                  <a:pt x="5" y="11"/>
                </a:cubicBezTo>
                <a:cubicBezTo>
                  <a:pt x="6" y="11"/>
                  <a:pt x="7" y="11"/>
                  <a:pt x="8" y="11"/>
                </a:cubicBezTo>
                <a:cubicBezTo>
                  <a:pt x="9" y="11"/>
                  <a:pt x="9" y="12"/>
                  <a:pt x="10" y="12"/>
                </a:cubicBezTo>
                <a:cubicBezTo>
                  <a:pt x="11" y="12"/>
                  <a:pt x="12" y="13"/>
                  <a:pt x="12" y="13"/>
                </a:cubicBezTo>
                <a:cubicBezTo>
                  <a:pt x="13" y="14"/>
                  <a:pt x="16" y="15"/>
                  <a:pt x="16" y="14"/>
                </a:cubicBezTo>
                <a:cubicBezTo>
                  <a:pt x="16" y="14"/>
                  <a:pt x="15" y="14"/>
                  <a:pt x="15" y="14"/>
                </a:cubicBezTo>
                <a:cubicBezTo>
                  <a:pt x="15" y="14"/>
                  <a:pt x="15" y="14"/>
                  <a:pt x="15" y="14"/>
                </a:cubicBezTo>
                <a:cubicBezTo>
                  <a:pt x="14" y="13"/>
                  <a:pt x="14" y="14"/>
                  <a:pt x="14" y="13"/>
                </a:cubicBezTo>
                <a:cubicBezTo>
                  <a:pt x="14" y="13"/>
                  <a:pt x="15" y="13"/>
                  <a:pt x="15" y="14"/>
                </a:cubicBezTo>
                <a:cubicBezTo>
                  <a:pt x="16" y="14"/>
                  <a:pt x="16" y="14"/>
                  <a:pt x="16" y="14"/>
                </a:cubicBezTo>
                <a:cubicBezTo>
                  <a:pt x="16" y="14"/>
                  <a:pt x="16" y="14"/>
                  <a:pt x="16" y="14"/>
                </a:cubicBezTo>
                <a:cubicBezTo>
                  <a:pt x="16" y="14"/>
                  <a:pt x="16" y="14"/>
                  <a:pt x="16" y="15"/>
                </a:cubicBezTo>
                <a:cubicBezTo>
                  <a:pt x="17" y="15"/>
                  <a:pt x="17" y="14"/>
                  <a:pt x="17" y="14"/>
                </a:cubicBezTo>
                <a:cubicBezTo>
                  <a:pt x="17" y="14"/>
                  <a:pt x="17" y="14"/>
                  <a:pt x="17" y="14"/>
                </a:cubicBezTo>
                <a:cubicBezTo>
                  <a:pt x="17" y="14"/>
                  <a:pt x="17" y="14"/>
                  <a:pt x="17" y="14"/>
                </a:cubicBezTo>
                <a:cubicBezTo>
                  <a:pt x="17" y="14"/>
                  <a:pt x="17" y="14"/>
                  <a:pt x="17" y="14"/>
                </a:cubicBezTo>
                <a:cubicBezTo>
                  <a:pt x="18" y="15"/>
                  <a:pt x="19" y="14"/>
                  <a:pt x="20" y="15"/>
                </a:cubicBezTo>
                <a:cubicBezTo>
                  <a:pt x="21" y="15"/>
                  <a:pt x="21" y="15"/>
                  <a:pt x="21" y="15"/>
                </a:cubicBezTo>
                <a:cubicBezTo>
                  <a:pt x="22" y="15"/>
                  <a:pt x="21" y="14"/>
                  <a:pt x="22" y="14"/>
                </a:cubicBezTo>
                <a:cubicBezTo>
                  <a:pt x="23" y="14"/>
                  <a:pt x="22" y="13"/>
                  <a:pt x="22" y="13"/>
                </a:cubicBezTo>
                <a:cubicBezTo>
                  <a:pt x="22" y="13"/>
                  <a:pt x="22" y="12"/>
                  <a:pt x="22" y="12"/>
                </a:cubicBezTo>
                <a:cubicBezTo>
                  <a:pt x="22" y="12"/>
                  <a:pt x="24" y="12"/>
                  <a:pt x="24" y="11"/>
                </a:cubicBezTo>
                <a:cubicBezTo>
                  <a:pt x="23" y="10"/>
                  <a:pt x="23" y="11"/>
                  <a:pt x="23" y="1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7" name="Egypt"/>
          <p:cNvSpPr>
            <a:spLocks noEditPoints="1"/>
          </p:cNvSpPr>
          <p:nvPr/>
        </p:nvSpPr>
        <p:spPr bwMode="auto">
          <a:xfrm>
            <a:off x="6637051" y="3404984"/>
            <a:ext cx="389985" cy="397985"/>
          </a:xfrm>
          <a:custGeom>
            <a:avLst/>
            <a:gdLst/>
            <a:ahLst/>
            <a:cxnLst>
              <a:cxn ang="0">
                <a:pos x="68" y="3"/>
              </a:cxn>
              <a:cxn ang="0">
                <a:pos x="70" y="4"/>
              </a:cxn>
              <a:cxn ang="0">
                <a:pos x="106" y="93"/>
              </a:cxn>
              <a:cxn ang="0">
                <a:pos x="101" y="97"/>
              </a:cxn>
              <a:cxn ang="0">
                <a:pos x="90" y="109"/>
              </a:cxn>
              <a:cxn ang="0">
                <a:pos x="69" y="107"/>
              </a:cxn>
              <a:cxn ang="0">
                <a:pos x="66" y="106"/>
              </a:cxn>
              <a:cxn ang="0">
                <a:pos x="8" y="106"/>
              </a:cxn>
              <a:cxn ang="0">
                <a:pos x="6" y="89"/>
              </a:cxn>
              <a:cxn ang="0">
                <a:pos x="2" y="24"/>
              </a:cxn>
              <a:cxn ang="0">
                <a:pos x="2" y="13"/>
              </a:cxn>
              <a:cxn ang="0">
                <a:pos x="4" y="0"/>
              </a:cxn>
              <a:cxn ang="0">
                <a:pos x="21" y="3"/>
              </a:cxn>
              <a:cxn ang="0">
                <a:pos x="28" y="6"/>
              </a:cxn>
              <a:cxn ang="0">
                <a:pos x="38" y="8"/>
              </a:cxn>
              <a:cxn ang="0">
                <a:pos x="48" y="5"/>
              </a:cxn>
              <a:cxn ang="0">
                <a:pos x="52" y="5"/>
              </a:cxn>
              <a:cxn ang="0">
                <a:pos x="52" y="2"/>
              </a:cxn>
              <a:cxn ang="0">
                <a:pos x="54" y="2"/>
              </a:cxn>
              <a:cxn ang="0">
                <a:pos x="55" y="3"/>
              </a:cxn>
              <a:cxn ang="0">
                <a:pos x="58" y="3"/>
              </a:cxn>
              <a:cxn ang="0">
                <a:pos x="58" y="1"/>
              </a:cxn>
              <a:cxn ang="0">
                <a:pos x="66" y="3"/>
              </a:cxn>
              <a:cxn ang="0">
                <a:pos x="66" y="5"/>
              </a:cxn>
              <a:cxn ang="0">
                <a:pos x="67" y="5"/>
              </a:cxn>
              <a:cxn ang="0">
                <a:pos x="68" y="6"/>
              </a:cxn>
              <a:cxn ang="0">
                <a:pos x="69" y="7"/>
              </a:cxn>
              <a:cxn ang="0">
                <a:pos x="70" y="5"/>
              </a:cxn>
              <a:cxn ang="0">
                <a:pos x="76" y="6"/>
              </a:cxn>
              <a:cxn ang="0">
                <a:pos x="76" y="7"/>
              </a:cxn>
              <a:cxn ang="0">
                <a:pos x="78" y="6"/>
              </a:cxn>
              <a:cxn ang="0">
                <a:pos x="78" y="7"/>
              </a:cxn>
              <a:cxn ang="0">
                <a:pos x="81" y="6"/>
              </a:cxn>
              <a:cxn ang="0">
                <a:pos x="81" y="6"/>
              </a:cxn>
              <a:cxn ang="0">
                <a:pos x="89" y="6"/>
              </a:cxn>
              <a:cxn ang="0">
                <a:pos x="92" y="14"/>
              </a:cxn>
              <a:cxn ang="0">
                <a:pos x="95" y="26"/>
              </a:cxn>
              <a:cxn ang="0">
                <a:pos x="94" y="32"/>
              </a:cxn>
              <a:cxn ang="0">
                <a:pos x="92" y="38"/>
              </a:cxn>
              <a:cxn ang="0">
                <a:pos x="92" y="42"/>
              </a:cxn>
              <a:cxn ang="0">
                <a:pos x="88" y="42"/>
              </a:cxn>
              <a:cxn ang="0">
                <a:pos x="81" y="35"/>
              </a:cxn>
              <a:cxn ang="0">
                <a:pos x="80" y="29"/>
              </a:cxn>
              <a:cxn ang="0">
                <a:pos x="75" y="23"/>
              </a:cxn>
              <a:cxn ang="0">
                <a:pos x="74" y="19"/>
              </a:cxn>
              <a:cxn ang="0">
                <a:pos x="75" y="27"/>
              </a:cxn>
              <a:cxn ang="0">
                <a:pos x="77" y="33"/>
              </a:cxn>
              <a:cxn ang="0">
                <a:pos x="83" y="40"/>
              </a:cxn>
              <a:cxn ang="0">
                <a:pos x="84" y="43"/>
              </a:cxn>
              <a:cxn ang="0">
                <a:pos x="84" y="45"/>
              </a:cxn>
              <a:cxn ang="0">
                <a:pos x="87" y="49"/>
              </a:cxn>
              <a:cxn ang="0">
                <a:pos x="89" y="56"/>
              </a:cxn>
              <a:cxn ang="0">
                <a:pos x="97" y="70"/>
              </a:cxn>
              <a:cxn ang="0">
                <a:pos x="101" y="78"/>
              </a:cxn>
              <a:cxn ang="0">
                <a:pos x="106" y="84"/>
              </a:cxn>
              <a:cxn ang="0">
                <a:pos x="105" y="86"/>
              </a:cxn>
              <a:cxn ang="0">
                <a:pos x="71" y="12"/>
              </a:cxn>
              <a:cxn ang="0">
                <a:pos x="73" y="16"/>
              </a:cxn>
              <a:cxn ang="0">
                <a:pos x="71" y="14"/>
              </a:cxn>
              <a:cxn ang="0">
                <a:pos x="67" y="5"/>
              </a:cxn>
              <a:cxn ang="0">
                <a:pos x="67" y="2"/>
              </a:cxn>
            </a:cxnLst>
            <a:rect l="0" t="0" r="r" b="b"/>
            <a:pathLst>
              <a:path w="108" h="110">
                <a:moveTo>
                  <a:pt x="85" y="44"/>
                </a:moveTo>
                <a:cubicBezTo>
                  <a:pt x="85" y="44"/>
                  <a:pt x="85" y="44"/>
                  <a:pt x="85" y="44"/>
                </a:cubicBezTo>
                <a:cubicBezTo>
                  <a:pt x="85" y="44"/>
                  <a:pt x="85" y="44"/>
                  <a:pt x="85" y="44"/>
                </a:cubicBezTo>
                <a:close/>
                <a:moveTo>
                  <a:pt x="68" y="3"/>
                </a:moveTo>
                <a:cubicBezTo>
                  <a:pt x="67" y="3"/>
                  <a:pt x="67" y="3"/>
                  <a:pt x="68" y="3"/>
                </a:cubicBezTo>
                <a:cubicBezTo>
                  <a:pt x="68" y="3"/>
                  <a:pt x="68" y="4"/>
                  <a:pt x="68" y="4"/>
                </a:cubicBezTo>
                <a:cubicBezTo>
                  <a:pt x="68" y="4"/>
                  <a:pt x="68" y="4"/>
                  <a:pt x="68" y="4"/>
                </a:cubicBezTo>
                <a:cubicBezTo>
                  <a:pt x="69" y="4"/>
                  <a:pt x="69" y="4"/>
                  <a:pt x="70" y="4"/>
                </a:cubicBezTo>
                <a:cubicBezTo>
                  <a:pt x="68" y="4"/>
                  <a:pt x="68" y="3"/>
                  <a:pt x="67" y="2"/>
                </a:cubicBezTo>
                <a:cubicBezTo>
                  <a:pt x="67" y="2"/>
                  <a:pt x="67" y="2"/>
                  <a:pt x="67" y="2"/>
                </a:cubicBezTo>
                <a:cubicBezTo>
                  <a:pt x="67" y="2"/>
                  <a:pt x="67" y="3"/>
                  <a:pt x="68" y="3"/>
                </a:cubicBezTo>
                <a:close/>
                <a:moveTo>
                  <a:pt x="106" y="93"/>
                </a:moveTo>
                <a:cubicBezTo>
                  <a:pt x="106" y="93"/>
                  <a:pt x="106" y="94"/>
                  <a:pt x="106" y="94"/>
                </a:cubicBezTo>
                <a:cubicBezTo>
                  <a:pt x="106" y="95"/>
                  <a:pt x="106" y="95"/>
                  <a:pt x="105" y="95"/>
                </a:cubicBezTo>
                <a:cubicBezTo>
                  <a:pt x="105" y="96"/>
                  <a:pt x="104" y="97"/>
                  <a:pt x="104" y="97"/>
                </a:cubicBezTo>
                <a:cubicBezTo>
                  <a:pt x="103" y="98"/>
                  <a:pt x="102" y="98"/>
                  <a:pt x="101" y="97"/>
                </a:cubicBezTo>
                <a:cubicBezTo>
                  <a:pt x="99" y="97"/>
                  <a:pt x="99" y="103"/>
                  <a:pt x="98" y="103"/>
                </a:cubicBezTo>
                <a:cubicBezTo>
                  <a:pt x="96" y="104"/>
                  <a:pt x="93" y="103"/>
                  <a:pt x="93" y="105"/>
                </a:cubicBezTo>
                <a:cubicBezTo>
                  <a:pt x="92" y="106"/>
                  <a:pt x="92" y="107"/>
                  <a:pt x="92" y="108"/>
                </a:cubicBezTo>
                <a:cubicBezTo>
                  <a:pt x="92" y="109"/>
                  <a:pt x="91" y="109"/>
                  <a:pt x="90" y="109"/>
                </a:cubicBezTo>
                <a:cubicBezTo>
                  <a:pt x="89" y="109"/>
                  <a:pt x="88" y="110"/>
                  <a:pt x="87" y="109"/>
                </a:cubicBezTo>
                <a:cubicBezTo>
                  <a:pt x="86" y="108"/>
                  <a:pt x="84" y="106"/>
                  <a:pt x="83" y="106"/>
                </a:cubicBezTo>
                <a:cubicBezTo>
                  <a:pt x="80" y="106"/>
                  <a:pt x="77" y="106"/>
                  <a:pt x="74" y="106"/>
                </a:cubicBezTo>
                <a:cubicBezTo>
                  <a:pt x="72" y="106"/>
                  <a:pt x="70" y="106"/>
                  <a:pt x="69" y="107"/>
                </a:cubicBezTo>
                <a:cubicBezTo>
                  <a:pt x="68" y="107"/>
                  <a:pt x="68" y="107"/>
                  <a:pt x="67" y="106"/>
                </a:cubicBezTo>
                <a:cubicBezTo>
                  <a:pt x="67" y="106"/>
                  <a:pt x="68" y="105"/>
                  <a:pt x="68" y="105"/>
                </a:cubicBezTo>
                <a:cubicBezTo>
                  <a:pt x="68" y="104"/>
                  <a:pt x="67" y="104"/>
                  <a:pt x="66" y="104"/>
                </a:cubicBezTo>
                <a:cubicBezTo>
                  <a:pt x="66" y="105"/>
                  <a:pt x="66" y="106"/>
                  <a:pt x="66" y="106"/>
                </a:cubicBezTo>
                <a:cubicBezTo>
                  <a:pt x="65" y="107"/>
                  <a:pt x="62" y="106"/>
                  <a:pt x="62" y="106"/>
                </a:cubicBezTo>
                <a:cubicBezTo>
                  <a:pt x="53" y="106"/>
                  <a:pt x="45" y="106"/>
                  <a:pt x="36" y="106"/>
                </a:cubicBezTo>
                <a:cubicBezTo>
                  <a:pt x="28" y="106"/>
                  <a:pt x="20" y="106"/>
                  <a:pt x="11" y="106"/>
                </a:cubicBezTo>
                <a:cubicBezTo>
                  <a:pt x="10" y="106"/>
                  <a:pt x="9" y="106"/>
                  <a:pt x="8" y="106"/>
                </a:cubicBezTo>
                <a:cubicBezTo>
                  <a:pt x="7" y="106"/>
                  <a:pt x="6" y="107"/>
                  <a:pt x="6" y="106"/>
                </a:cubicBezTo>
                <a:cubicBezTo>
                  <a:pt x="6" y="106"/>
                  <a:pt x="6" y="105"/>
                  <a:pt x="6" y="104"/>
                </a:cubicBezTo>
                <a:cubicBezTo>
                  <a:pt x="6" y="103"/>
                  <a:pt x="6" y="102"/>
                  <a:pt x="6" y="101"/>
                </a:cubicBezTo>
                <a:cubicBezTo>
                  <a:pt x="6" y="97"/>
                  <a:pt x="6" y="93"/>
                  <a:pt x="6" y="89"/>
                </a:cubicBezTo>
                <a:cubicBezTo>
                  <a:pt x="5" y="72"/>
                  <a:pt x="5" y="55"/>
                  <a:pt x="4" y="38"/>
                </a:cubicBezTo>
                <a:cubicBezTo>
                  <a:pt x="4" y="36"/>
                  <a:pt x="4" y="34"/>
                  <a:pt x="4" y="32"/>
                </a:cubicBezTo>
                <a:cubicBezTo>
                  <a:pt x="4" y="30"/>
                  <a:pt x="4" y="28"/>
                  <a:pt x="3" y="26"/>
                </a:cubicBezTo>
                <a:cubicBezTo>
                  <a:pt x="3" y="25"/>
                  <a:pt x="2" y="25"/>
                  <a:pt x="2" y="24"/>
                </a:cubicBezTo>
                <a:cubicBezTo>
                  <a:pt x="2" y="23"/>
                  <a:pt x="2" y="22"/>
                  <a:pt x="2" y="22"/>
                </a:cubicBezTo>
                <a:cubicBezTo>
                  <a:pt x="1" y="21"/>
                  <a:pt x="2" y="20"/>
                  <a:pt x="2" y="19"/>
                </a:cubicBezTo>
                <a:cubicBezTo>
                  <a:pt x="1" y="19"/>
                  <a:pt x="1" y="18"/>
                  <a:pt x="1" y="17"/>
                </a:cubicBezTo>
                <a:cubicBezTo>
                  <a:pt x="0" y="16"/>
                  <a:pt x="2" y="14"/>
                  <a:pt x="2" y="13"/>
                </a:cubicBezTo>
                <a:cubicBezTo>
                  <a:pt x="3" y="12"/>
                  <a:pt x="3" y="10"/>
                  <a:pt x="3" y="9"/>
                </a:cubicBezTo>
                <a:cubicBezTo>
                  <a:pt x="2" y="7"/>
                  <a:pt x="1" y="6"/>
                  <a:pt x="1" y="4"/>
                </a:cubicBezTo>
                <a:cubicBezTo>
                  <a:pt x="1" y="3"/>
                  <a:pt x="2" y="3"/>
                  <a:pt x="3" y="2"/>
                </a:cubicBezTo>
                <a:cubicBezTo>
                  <a:pt x="3" y="2"/>
                  <a:pt x="3" y="1"/>
                  <a:pt x="4" y="0"/>
                </a:cubicBezTo>
                <a:cubicBezTo>
                  <a:pt x="4" y="3"/>
                  <a:pt x="8" y="2"/>
                  <a:pt x="9" y="1"/>
                </a:cubicBezTo>
                <a:cubicBezTo>
                  <a:pt x="12" y="0"/>
                  <a:pt x="14" y="2"/>
                  <a:pt x="17" y="2"/>
                </a:cubicBezTo>
                <a:cubicBezTo>
                  <a:pt x="18" y="2"/>
                  <a:pt x="19" y="2"/>
                  <a:pt x="19" y="3"/>
                </a:cubicBezTo>
                <a:cubicBezTo>
                  <a:pt x="20" y="3"/>
                  <a:pt x="20" y="3"/>
                  <a:pt x="21" y="3"/>
                </a:cubicBezTo>
                <a:cubicBezTo>
                  <a:pt x="21" y="3"/>
                  <a:pt x="22" y="3"/>
                  <a:pt x="22" y="3"/>
                </a:cubicBezTo>
                <a:cubicBezTo>
                  <a:pt x="23" y="3"/>
                  <a:pt x="23" y="3"/>
                  <a:pt x="24" y="3"/>
                </a:cubicBezTo>
                <a:cubicBezTo>
                  <a:pt x="25" y="3"/>
                  <a:pt x="25" y="4"/>
                  <a:pt x="25" y="5"/>
                </a:cubicBezTo>
                <a:cubicBezTo>
                  <a:pt x="26" y="5"/>
                  <a:pt x="27" y="6"/>
                  <a:pt x="28" y="6"/>
                </a:cubicBezTo>
                <a:cubicBezTo>
                  <a:pt x="29" y="5"/>
                  <a:pt x="29" y="5"/>
                  <a:pt x="29" y="6"/>
                </a:cubicBezTo>
                <a:cubicBezTo>
                  <a:pt x="30" y="6"/>
                  <a:pt x="30" y="6"/>
                  <a:pt x="30" y="6"/>
                </a:cubicBezTo>
                <a:cubicBezTo>
                  <a:pt x="30" y="7"/>
                  <a:pt x="31" y="7"/>
                  <a:pt x="31" y="7"/>
                </a:cubicBezTo>
                <a:cubicBezTo>
                  <a:pt x="33" y="7"/>
                  <a:pt x="36" y="7"/>
                  <a:pt x="38" y="8"/>
                </a:cubicBezTo>
                <a:cubicBezTo>
                  <a:pt x="39" y="8"/>
                  <a:pt x="39" y="9"/>
                  <a:pt x="40" y="9"/>
                </a:cubicBezTo>
                <a:cubicBezTo>
                  <a:pt x="42" y="10"/>
                  <a:pt x="43" y="9"/>
                  <a:pt x="44" y="9"/>
                </a:cubicBezTo>
                <a:cubicBezTo>
                  <a:pt x="45" y="8"/>
                  <a:pt x="46" y="7"/>
                  <a:pt x="47" y="6"/>
                </a:cubicBezTo>
                <a:cubicBezTo>
                  <a:pt x="47" y="6"/>
                  <a:pt x="48" y="6"/>
                  <a:pt x="48" y="5"/>
                </a:cubicBezTo>
                <a:cubicBezTo>
                  <a:pt x="49" y="5"/>
                  <a:pt x="49" y="4"/>
                  <a:pt x="50" y="4"/>
                </a:cubicBezTo>
                <a:cubicBezTo>
                  <a:pt x="50" y="4"/>
                  <a:pt x="50" y="5"/>
                  <a:pt x="51" y="5"/>
                </a:cubicBezTo>
                <a:cubicBezTo>
                  <a:pt x="50" y="5"/>
                  <a:pt x="51" y="5"/>
                  <a:pt x="51" y="5"/>
                </a:cubicBezTo>
                <a:cubicBezTo>
                  <a:pt x="51" y="5"/>
                  <a:pt x="52" y="5"/>
                  <a:pt x="52" y="5"/>
                </a:cubicBezTo>
                <a:cubicBezTo>
                  <a:pt x="52" y="5"/>
                  <a:pt x="52" y="5"/>
                  <a:pt x="52" y="5"/>
                </a:cubicBezTo>
                <a:cubicBezTo>
                  <a:pt x="52" y="5"/>
                  <a:pt x="52" y="5"/>
                  <a:pt x="51" y="5"/>
                </a:cubicBezTo>
                <a:cubicBezTo>
                  <a:pt x="51" y="4"/>
                  <a:pt x="51" y="5"/>
                  <a:pt x="51" y="5"/>
                </a:cubicBezTo>
                <a:cubicBezTo>
                  <a:pt x="52" y="4"/>
                  <a:pt x="53" y="3"/>
                  <a:pt x="52" y="2"/>
                </a:cubicBezTo>
                <a:cubicBezTo>
                  <a:pt x="52" y="2"/>
                  <a:pt x="52" y="2"/>
                  <a:pt x="52" y="2"/>
                </a:cubicBezTo>
                <a:cubicBezTo>
                  <a:pt x="52" y="2"/>
                  <a:pt x="52" y="2"/>
                  <a:pt x="52" y="2"/>
                </a:cubicBezTo>
                <a:cubicBezTo>
                  <a:pt x="52" y="2"/>
                  <a:pt x="53" y="2"/>
                  <a:pt x="53" y="2"/>
                </a:cubicBezTo>
                <a:cubicBezTo>
                  <a:pt x="54" y="3"/>
                  <a:pt x="54" y="3"/>
                  <a:pt x="54" y="2"/>
                </a:cubicBezTo>
                <a:cubicBezTo>
                  <a:pt x="56" y="2"/>
                  <a:pt x="57" y="2"/>
                  <a:pt x="58" y="1"/>
                </a:cubicBezTo>
                <a:cubicBezTo>
                  <a:pt x="57" y="2"/>
                  <a:pt x="56" y="2"/>
                  <a:pt x="55" y="2"/>
                </a:cubicBezTo>
                <a:cubicBezTo>
                  <a:pt x="55" y="3"/>
                  <a:pt x="54" y="3"/>
                  <a:pt x="54" y="3"/>
                </a:cubicBezTo>
                <a:cubicBezTo>
                  <a:pt x="54" y="4"/>
                  <a:pt x="55" y="3"/>
                  <a:pt x="55" y="3"/>
                </a:cubicBezTo>
                <a:cubicBezTo>
                  <a:pt x="55" y="3"/>
                  <a:pt x="56" y="3"/>
                  <a:pt x="56" y="3"/>
                </a:cubicBezTo>
                <a:cubicBezTo>
                  <a:pt x="56" y="3"/>
                  <a:pt x="56" y="3"/>
                  <a:pt x="57" y="3"/>
                </a:cubicBezTo>
                <a:cubicBezTo>
                  <a:pt x="58" y="3"/>
                  <a:pt x="57" y="3"/>
                  <a:pt x="58" y="3"/>
                </a:cubicBezTo>
                <a:cubicBezTo>
                  <a:pt x="58" y="3"/>
                  <a:pt x="58" y="3"/>
                  <a:pt x="58" y="3"/>
                </a:cubicBezTo>
                <a:cubicBezTo>
                  <a:pt x="59" y="2"/>
                  <a:pt x="58" y="2"/>
                  <a:pt x="59" y="2"/>
                </a:cubicBezTo>
                <a:cubicBezTo>
                  <a:pt x="59" y="2"/>
                  <a:pt x="60" y="2"/>
                  <a:pt x="59" y="2"/>
                </a:cubicBezTo>
                <a:cubicBezTo>
                  <a:pt x="59" y="2"/>
                  <a:pt x="59" y="2"/>
                  <a:pt x="59" y="2"/>
                </a:cubicBezTo>
                <a:cubicBezTo>
                  <a:pt x="59" y="1"/>
                  <a:pt x="59" y="1"/>
                  <a:pt x="58" y="1"/>
                </a:cubicBezTo>
                <a:cubicBezTo>
                  <a:pt x="60" y="0"/>
                  <a:pt x="62" y="3"/>
                  <a:pt x="64" y="3"/>
                </a:cubicBezTo>
                <a:cubicBezTo>
                  <a:pt x="65" y="3"/>
                  <a:pt x="66" y="2"/>
                  <a:pt x="67" y="2"/>
                </a:cubicBezTo>
                <a:cubicBezTo>
                  <a:pt x="67" y="2"/>
                  <a:pt x="66" y="2"/>
                  <a:pt x="66" y="2"/>
                </a:cubicBezTo>
                <a:cubicBezTo>
                  <a:pt x="66" y="2"/>
                  <a:pt x="66" y="3"/>
                  <a:pt x="66" y="3"/>
                </a:cubicBezTo>
                <a:cubicBezTo>
                  <a:pt x="66" y="3"/>
                  <a:pt x="66" y="3"/>
                  <a:pt x="66" y="2"/>
                </a:cubicBezTo>
                <a:cubicBezTo>
                  <a:pt x="66" y="3"/>
                  <a:pt x="66" y="3"/>
                  <a:pt x="66" y="3"/>
                </a:cubicBezTo>
                <a:cubicBezTo>
                  <a:pt x="66" y="3"/>
                  <a:pt x="66" y="4"/>
                  <a:pt x="66" y="4"/>
                </a:cubicBezTo>
                <a:cubicBezTo>
                  <a:pt x="66" y="4"/>
                  <a:pt x="65" y="4"/>
                  <a:pt x="66" y="5"/>
                </a:cubicBezTo>
                <a:cubicBezTo>
                  <a:pt x="66" y="4"/>
                  <a:pt x="67" y="5"/>
                  <a:pt x="67" y="5"/>
                </a:cubicBezTo>
                <a:cubicBezTo>
                  <a:pt x="67" y="5"/>
                  <a:pt x="67" y="5"/>
                  <a:pt x="67" y="5"/>
                </a:cubicBezTo>
                <a:cubicBezTo>
                  <a:pt x="67" y="5"/>
                  <a:pt x="67" y="5"/>
                  <a:pt x="67" y="5"/>
                </a:cubicBezTo>
                <a:cubicBezTo>
                  <a:pt x="67" y="5"/>
                  <a:pt x="67" y="5"/>
                  <a:pt x="67" y="5"/>
                </a:cubicBezTo>
                <a:cubicBezTo>
                  <a:pt x="67" y="5"/>
                  <a:pt x="67" y="5"/>
                  <a:pt x="67" y="5"/>
                </a:cubicBezTo>
                <a:cubicBezTo>
                  <a:pt x="67" y="5"/>
                  <a:pt x="67" y="5"/>
                  <a:pt x="67" y="5"/>
                </a:cubicBezTo>
                <a:cubicBezTo>
                  <a:pt x="67" y="5"/>
                  <a:pt x="68" y="5"/>
                  <a:pt x="68" y="5"/>
                </a:cubicBezTo>
                <a:cubicBezTo>
                  <a:pt x="68" y="6"/>
                  <a:pt x="68" y="6"/>
                  <a:pt x="68" y="6"/>
                </a:cubicBezTo>
                <a:cubicBezTo>
                  <a:pt x="68" y="6"/>
                  <a:pt x="68" y="6"/>
                  <a:pt x="68" y="7"/>
                </a:cubicBezTo>
                <a:cubicBezTo>
                  <a:pt x="68" y="7"/>
                  <a:pt x="69" y="7"/>
                  <a:pt x="69" y="7"/>
                </a:cubicBezTo>
                <a:cubicBezTo>
                  <a:pt x="69" y="7"/>
                  <a:pt x="69" y="7"/>
                  <a:pt x="69" y="7"/>
                </a:cubicBezTo>
                <a:cubicBezTo>
                  <a:pt x="69" y="7"/>
                  <a:pt x="69" y="7"/>
                  <a:pt x="69" y="7"/>
                </a:cubicBezTo>
                <a:cubicBezTo>
                  <a:pt x="69" y="7"/>
                  <a:pt x="69" y="6"/>
                  <a:pt x="69" y="6"/>
                </a:cubicBezTo>
                <a:cubicBezTo>
                  <a:pt x="69" y="6"/>
                  <a:pt x="71" y="6"/>
                  <a:pt x="70" y="6"/>
                </a:cubicBezTo>
                <a:cubicBezTo>
                  <a:pt x="71" y="5"/>
                  <a:pt x="70" y="5"/>
                  <a:pt x="70" y="4"/>
                </a:cubicBezTo>
                <a:cubicBezTo>
                  <a:pt x="70" y="4"/>
                  <a:pt x="71" y="4"/>
                  <a:pt x="70" y="5"/>
                </a:cubicBezTo>
                <a:cubicBezTo>
                  <a:pt x="71" y="5"/>
                  <a:pt x="71" y="5"/>
                  <a:pt x="71" y="5"/>
                </a:cubicBezTo>
                <a:cubicBezTo>
                  <a:pt x="71" y="5"/>
                  <a:pt x="71" y="5"/>
                  <a:pt x="72" y="6"/>
                </a:cubicBezTo>
                <a:cubicBezTo>
                  <a:pt x="72" y="6"/>
                  <a:pt x="72" y="6"/>
                  <a:pt x="73" y="7"/>
                </a:cubicBezTo>
                <a:cubicBezTo>
                  <a:pt x="74" y="7"/>
                  <a:pt x="75" y="7"/>
                  <a:pt x="76" y="6"/>
                </a:cubicBezTo>
                <a:cubicBezTo>
                  <a:pt x="76" y="7"/>
                  <a:pt x="75" y="7"/>
                  <a:pt x="74" y="7"/>
                </a:cubicBezTo>
                <a:cubicBezTo>
                  <a:pt x="74" y="7"/>
                  <a:pt x="75" y="7"/>
                  <a:pt x="74" y="7"/>
                </a:cubicBezTo>
                <a:cubicBezTo>
                  <a:pt x="75" y="7"/>
                  <a:pt x="76" y="6"/>
                  <a:pt x="76" y="7"/>
                </a:cubicBezTo>
                <a:cubicBezTo>
                  <a:pt x="76" y="7"/>
                  <a:pt x="76" y="7"/>
                  <a:pt x="76" y="7"/>
                </a:cubicBezTo>
                <a:cubicBezTo>
                  <a:pt x="77" y="7"/>
                  <a:pt x="77" y="6"/>
                  <a:pt x="76" y="6"/>
                </a:cubicBezTo>
                <a:cubicBezTo>
                  <a:pt x="77" y="6"/>
                  <a:pt x="77" y="7"/>
                  <a:pt x="77" y="7"/>
                </a:cubicBezTo>
                <a:cubicBezTo>
                  <a:pt x="77" y="7"/>
                  <a:pt x="77" y="7"/>
                  <a:pt x="77" y="7"/>
                </a:cubicBezTo>
                <a:cubicBezTo>
                  <a:pt x="77" y="7"/>
                  <a:pt x="78" y="6"/>
                  <a:pt x="78" y="6"/>
                </a:cubicBezTo>
                <a:cubicBezTo>
                  <a:pt x="77" y="6"/>
                  <a:pt x="77" y="7"/>
                  <a:pt x="77" y="6"/>
                </a:cubicBezTo>
                <a:cubicBezTo>
                  <a:pt x="77" y="6"/>
                  <a:pt x="77" y="6"/>
                  <a:pt x="78" y="5"/>
                </a:cubicBezTo>
                <a:cubicBezTo>
                  <a:pt x="78" y="6"/>
                  <a:pt x="79" y="7"/>
                  <a:pt x="78" y="6"/>
                </a:cubicBezTo>
                <a:cubicBezTo>
                  <a:pt x="78" y="7"/>
                  <a:pt x="79" y="7"/>
                  <a:pt x="78" y="7"/>
                </a:cubicBezTo>
                <a:cubicBezTo>
                  <a:pt x="79" y="7"/>
                  <a:pt x="79" y="7"/>
                  <a:pt x="79" y="7"/>
                </a:cubicBezTo>
                <a:cubicBezTo>
                  <a:pt x="79" y="7"/>
                  <a:pt x="80" y="7"/>
                  <a:pt x="80" y="7"/>
                </a:cubicBezTo>
                <a:cubicBezTo>
                  <a:pt x="80" y="6"/>
                  <a:pt x="80" y="6"/>
                  <a:pt x="80" y="6"/>
                </a:cubicBezTo>
                <a:cubicBezTo>
                  <a:pt x="80" y="6"/>
                  <a:pt x="81" y="6"/>
                  <a:pt x="81" y="6"/>
                </a:cubicBezTo>
                <a:cubicBezTo>
                  <a:pt x="81" y="6"/>
                  <a:pt x="81" y="6"/>
                  <a:pt x="81" y="6"/>
                </a:cubicBezTo>
                <a:cubicBezTo>
                  <a:pt x="81" y="6"/>
                  <a:pt x="81" y="6"/>
                  <a:pt x="81" y="6"/>
                </a:cubicBezTo>
                <a:cubicBezTo>
                  <a:pt x="81" y="6"/>
                  <a:pt x="80" y="5"/>
                  <a:pt x="80" y="5"/>
                </a:cubicBezTo>
                <a:cubicBezTo>
                  <a:pt x="80" y="5"/>
                  <a:pt x="81" y="6"/>
                  <a:pt x="81" y="6"/>
                </a:cubicBezTo>
                <a:cubicBezTo>
                  <a:pt x="82" y="6"/>
                  <a:pt x="82" y="6"/>
                  <a:pt x="83" y="6"/>
                </a:cubicBezTo>
                <a:cubicBezTo>
                  <a:pt x="83" y="6"/>
                  <a:pt x="84" y="6"/>
                  <a:pt x="85" y="6"/>
                </a:cubicBezTo>
                <a:cubicBezTo>
                  <a:pt x="86" y="6"/>
                  <a:pt x="87" y="5"/>
                  <a:pt x="88" y="4"/>
                </a:cubicBezTo>
                <a:cubicBezTo>
                  <a:pt x="89" y="5"/>
                  <a:pt x="89" y="6"/>
                  <a:pt x="89" y="6"/>
                </a:cubicBezTo>
                <a:cubicBezTo>
                  <a:pt x="90" y="7"/>
                  <a:pt x="90" y="8"/>
                  <a:pt x="90" y="9"/>
                </a:cubicBezTo>
                <a:cubicBezTo>
                  <a:pt x="91" y="10"/>
                  <a:pt x="91" y="11"/>
                  <a:pt x="91" y="12"/>
                </a:cubicBezTo>
                <a:cubicBezTo>
                  <a:pt x="92" y="12"/>
                  <a:pt x="92" y="13"/>
                  <a:pt x="92" y="13"/>
                </a:cubicBezTo>
                <a:cubicBezTo>
                  <a:pt x="92" y="13"/>
                  <a:pt x="92" y="14"/>
                  <a:pt x="92" y="14"/>
                </a:cubicBezTo>
                <a:cubicBezTo>
                  <a:pt x="93" y="16"/>
                  <a:pt x="94" y="18"/>
                  <a:pt x="94" y="19"/>
                </a:cubicBezTo>
                <a:cubicBezTo>
                  <a:pt x="95" y="20"/>
                  <a:pt x="95" y="21"/>
                  <a:pt x="95" y="22"/>
                </a:cubicBezTo>
                <a:cubicBezTo>
                  <a:pt x="96" y="23"/>
                  <a:pt x="96" y="24"/>
                  <a:pt x="96" y="24"/>
                </a:cubicBezTo>
                <a:cubicBezTo>
                  <a:pt x="95" y="24"/>
                  <a:pt x="95" y="26"/>
                  <a:pt x="95" y="26"/>
                </a:cubicBezTo>
                <a:cubicBezTo>
                  <a:pt x="94" y="27"/>
                  <a:pt x="94" y="28"/>
                  <a:pt x="94" y="29"/>
                </a:cubicBezTo>
                <a:cubicBezTo>
                  <a:pt x="94" y="29"/>
                  <a:pt x="94" y="29"/>
                  <a:pt x="94" y="29"/>
                </a:cubicBezTo>
                <a:cubicBezTo>
                  <a:pt x="94" y="30"/>
                  <a:pt x="94" y="30"/>
                  <a:pt x="94" y="30"/>
                </a:cubicBezTo>
                <a:cubicBezTo>
                  <a:pt x="94" y="30"/>
                  <a:pt x="94" y="31"/>
                  <a:pt x="94" y="32"/>
                </a:cubicBezTo>
                <a:cubicBezTo>
                  <a:pt x="94" y="33"/>
                  <a:pt x="93" y="34"/>
                  <a:pt x="93" y="35"/>
                </a:cubicBezTo>
                <a:cubicBezTo>
                  <a:pt x="93" y="35"/>
                  <a:pt x="93" y="35"/>
                  <a:pt x="93" y="36"/>
                </a:cubicBezTo>
                <a:cubicBezTo>
                  <a:pt x="92" y="36"/>
                  <a:pt x="92" y="37"/>
                  <a:pt x="92" y="37"/>
                </a:cubicBezTo>
                <a:cubicBezTo>
                  <a:pt x="92" y="38"/>
                  <a:pt x="92" y="38"/>
                  <a:pt x="92" y="38"/>
                </a:cubicBezTo>
                <a:cubicBezTo>
                  <a:pt x="93" y="39"/>
                  <a:pt x="93" y="40"/>
                  <a:pt x="93" y="40"/>
                </a:cubicBezTo>
                <a:cubicBezTo>
                  <a:pt x="93" y="41"/>
                  <a:pt x="92" y="41"/>
                  <a:pt x="92" y="41"/>
                </a:cubicBezTo>
                <a:cubicBezTo>
                  <a:pt x="92" y="42"/>
                  <a:pt x="92" y="42"/>
                  <a:pt x="92" y="42"/>
                </a:cubicBezTo>
                <a:cubicBezTo>
                  <a:pt x="92" y="42"/>
                  <a:pt x="92" y="42"/>
                  <a:pt x="92" y="42"/>
                </a:cubicBezTo>
                <a:cubicBezTo>
                  <a:pt x="91" y="42"/>
                  <a:pt x="91" y="43"/>
                  <a:pt x="91" y="43"/>
                </a:cubicBezTo>
                <a:cubicBezTo>
                  <a:pt x="91" y="43"/>
                  <a:pt x="91" y="43"/>
                  <a:pt x="91" y="44"/>
                </a:cubicBezTo>
                <a:cubicBezTo>
                  <a:pt x="90" y="43"/>
                  <a:pt x="90" y="43"/>
                  <a:pt x="89" y="43"/>
                </a:cubicBezTo>
                <a:cubicBezTo>
                  <a:pt x="89" y="43"/>
                  <a:pt x="88" y="42"/>
                  <a:pt x="88" y="42"/>
                </a:cubicBezTo>
                <a:cubicBezTo>
                  <a:pt x="87" y="41"/>
                  <a:pt x="86" y="40"/>
                  <a:pt x="85" y="39"/>
                </a:cubicBezTo>
                <a:cubicBezTo>
                  <a:pt x="85" y="38"/>
                  <a:pt x="84" y="37"/>
                  <a:pt x="84" y="37"/>
                </a:cubicBezTo>
                <a:cubicBezTo>
                  <a:pt x="83" y="37"/>
                  <a:pt x="81" y="35"/>
                  <a:pt x="81" y="35"/>
                </a:cubicBezTo>
                <a:cubicBezTo>
                  <a:pt x="81" y="35"/>
                  <a:pt x="81" y="35"/>
                  <a:pt x="81" y="35"/>
                </a:cubicBezTo>
                <a:cubicBezTo>
                  <a:pt x="81" y="34"/>
                  <a:pt x="81" y="34"/>
                  <a:pt x="81" y="34"/>
                </a:cubicBezTo>
                <a:cubicBezTo>
                  <a:pt x="80" y="34"/>
                  <a:pt x="81" y="33"/>
                  <a:pt x="81" y="32"/>
                </a:cubicBezTo>
                <a:cubicBezTo>
                  <a:pt x="81" y="32"/>
                  <a:pt x="80" y="31"/>
                  <a:pt x="80" y="31"/>
                </a:cubicBezTo>
                <a:cubicBezTo>
                  <a:pt x="80" y="30"/>
                  <a:pt x="80" y="30"/>
                  <a:pt x="80" y="29"/>
                </a:cubicBezTo>
                <a:cubicBezTo>
                  <a:pt x="79" y="28"/>
                  <a:pt x="78" y="28"/>
                  <a:pt x="77" y="27"/>
                </a:cubicBezTo>
                <a:cubicBezTo>
                  <a:pt x="77" y="26"/>
                  <a:pt x="77" y="26"/>
                  <a:pt x="76" y="25"/>
                </a:cubicBezTo>
                <a:cubicBezTo>
                  <a:pt x="76" y="25"/>
                  <a:pt x="76" y="24"/>
                  <a:pt x="76" y="25"/>
                </a:cubicBezTo>
                <a:cubicBezTo>
                  <a:pt x="76" y="24"/>
                  <a:pt x="75" y="23"/>
                  <a:pt x="75" y="23"/>
                </a:cubicBezTo>
                <a:cubicBezTo>
                  <a:pt x="75" y="22"/>
                  <a:pt x="75" y="22"/>
                  <a:pt x="75" y="21"/>
                </a:cubicBezTo>
                <a:cubicBezTo>
                  <a:pt x="75" y="21"/>
                  <a:pt x="74" y="21"/>
                  <a:pt x="74" y="21"/>
                </a:cubicBezTo>
                <a:cubicBezTo>
                  <a:pt x="74" y="20"/>
                  <a:pt x="75" y="20"/>
                  <a:pt x="74" y="20"/>
                </a:cubicBezTo>
                <a:cubicBezTo>
                  <a:pt x="74" y="19"/>
                  <a:pt x="74" y="19"/>
                  <a:pt x="74" y="19"/>
                </a:cubicBezTo>
                <a:cubicBezTo>
                  <a:pt x="74" y="19"/>
                  <a:pt x="74" y="19"/>
                  <a:pt x="74" y="19"/>
                </a:cubicBezTo>
                <a:cubicBezTo>
                  <a:pt x="74" y="18"/>
                  <a:pt x="72" y="20"/>
                  <a:pt x="73" y="20"/>
                </a:cubicBezTo>
                <a:cubicBezTo>
                  <a:pt x="73" y="21"/>
                  <a:pt x="71" y="22"/>
                  <a:pt x="72" y="24"/>
                </a:cubicBezTo>
                <a:cubicBezTo>
                  <a:pt x="73" y="25"/>
                  <a:pt x="74" y="25"/>
                  <a:pt x="75" y="27"/>
                </a:cubicBezTo>
                <a:cubicBezTo>
                  <a:pt x="75" y="27"/>
                  <a:pt x="75" y="28"/>
                  <a:pt x="75" y="29"/>
                </a:cubicBezTo>
                <a:cubicBezTo>
                  <a:pt x="75" y="29"/>
                  <a:pt x="75" y="29"/>
                  <a:pt x="75" y="29"/>
                </a:cubicBezTo>
                <a:cubicBezTo>
                  <a:pt x="75" y="30"/>
                  <a:pt x="75" y="31"/>
                  <a:pt x="76" y="31"/>
                </a:cubicBezTo>
                <a:cubicBezTo>
                  <a:pt x="76" y="32"/>
                  <a:pt x="77" y="32"/>
                  <a:pt x="77" y="33"/>
                </a:cubicBezTo>
                <a:cubicBezTo>
                  <a:pt x="77" y="33"/>
                  <a:pt x="77" y="34"/>
                  <a:pt x="78" y="34"/>
                </a:cubicBezTo>
                <a:cubicBezTo>
                  <a:pt x="79" y="35"/>
                  <a:pt x="79" y="36"/>
                  <a:pt x="80" y="37"/>
                </a:cubicBezTo>
                <a:cubicBezTo>
                  <a:pt x="81" y="38"/>
                  <a:pt x="81" y="38"/>
                  <a:pt x="82" y="39"/>
                </a:cubicBezTo>
                <a:cubicBezTo>
                  <a:pt x="82" y="39"/>
                  <a:pt x="82" y="40"/>
                  <a:pt x="83" y="40"/>
                </a:cubicBezTo>
                <a:cubicBezTo>
                  <a:pt x="84" y="40"/>
                  <a:pt x="84" y="42"/>
                  <a:pt x="85" y="43"/>
                </a:cubicBezTo>
                <a:cubicBezTo>
                  <a:pt x="85" y="43"/>
                  <a:pt x="85" y="43"/>
                  <a:pt x="85" y="43"/>
                </a:cubicBezTo>
                <a:cubicBezTo>
                  <a:pt x="85" y="43"/>
                  <a:pt x="85" y="43"/>
                  <a:pt x="85" y="43"/>
                </a:cubicBezTo>
                <a:cubicBezTo>
                  <a:pt x="84" y="42"/>
                  <a:pt x="83" y="42"/>
                  <a:pt x="84" y="43"/>
                </a:cubicBezTo>
                <a:cubicBezTo>
                  <a:pt x="84" y="43"/>
                  <a:pt x="85" y="43"/>
                  <a:pt x="84" y="44"/>
                </a:cubicBezTo>
                <a:cubicBezTo>
                  <a:pt x="84" y="44"/>
                  <a:pt x="84" y="44"/>
                  <a:pt x="85" y="44"/>
                </a:cubicBezTo>
                <a:cubicBezTo>
                  <a:pt x="85" y="44"/>
                  <a:pt x="85" y="44"/>
                  <a:pt x="85" y="44"/>
                </a:cubicBezTo>
                <a:cubicBezTo>
                  <a:pt x="84" y="44"/>
                  <a:pt x="84" y="44"/>
                  <a:pt x="84" y="45"/>
                </a:cubicBezTo>
                <a:cubicBezTo>
                  <a:pt x="84" y="45"/>
                  <a:pt x="85" y="45"/>
                  <a:pt x="85" y="46"/>
                </a:cubicBezTo>
                <a:cubicBezTo>
                  <a:pt x="85" y="46"/>
                  <a:pt x="85" y="46"/>
                  <a:pt x="86" y="46"/>
                </a:cubicBezTo>
                <a:cubicBezTo>
                  <a:pt x="86" y="47"/>
                  <a:pt x="86" y="47"/>
                  <a:pt x="86" y="48"/>
                </a:cubicBezTo>
                <a:cubicBezTo>
                  <a:pt x="86" y="48"/>
                  <a:pt x="87" y="48"/>
                  <a:pt x="87" y="49"/>
                </a:cubicBezTo>
                <a:cubicBezTo>
                  <a:pt x="87" y="50"/>
                  <a:pt x="88" y="50"/>
                  <a:pt x="88" y="51"/>
                </a:cubicBezTo>
                <a:cubicBezTo>
                  <a:pt x="88" y="51"/>
                  <a:pt x="88" y="51"/>
                  <a:pt x="88" y="52"/>
                </a:cubicBezTo>
                <a:cubicBezTo>
                  <a:pt x="88" y="52"/>
                  <a:pt x="90" y="53"/>
                  <a:pt x="89" y="53"/>
                </a:cubicBezTo>
                <a:cubicBezTo>
                  <a:pt x="88" y="53"/>
                  <a:pt x="89" y="55"/>
                  <a:pt x="89" y="56"/>
                </a:cubicBezTo>
                <a:cubicBezTo>
                  <a:pt x="90" y="56"/>
                  <a:pt x="90" y="58"/>
                  <a:pt x="91" y="59"/>
                </a:cubicBezTo>
                <a:cubicBezTo>
                  <a:pt x="92" y="60"/>
                  <a:pt x="92" y="61"/>
                  <a:pt x="93" y="63"/>
                </a:cubicBezTo>
                <a:cubicBezTo>
                  <a:pt x="94" y="64"/>
                  <a:pt x="95" y="65"/>
                  <a:pt x="95" y="66"/>
                </a:cubicBezTo>
                <a:cubicBezTo>
                  <a:pt x="96" y="68"/>
                  <a:pt x="96" y="69"/>
                  <a:pt x="97" y="70"/>
                </a:cubicBezTo>
                <a:cubicBezTo>
                  <a:pt x="98" y="71"/>
                  <a:pt x="98" y="72"/>
                  <a:pt x="99" y="73"/>
                </a:cubicBezTo>
                <a:cubicBezTo>
                  <a:pt x="99" y="74"/>
                  <a:pt x="100" y="74"/>
                  <a:pt x="100" y="75"/>
                </a:cubicBezTo>
                <a:cubicBezTo>
                  <a:pt x="100" y="75"/>
                  <a:pt x="100" y="75"/>
                  <a:pt x="100" y="76"/>
                </a:cubicBezTo>
                <a:cubicBezTo>
                  <a:pt x="100" y="77"/>
                  <a:pt x="101" y="77"/>
                  <a:pt x="101" y="78"/>
                </a:cubicBezTo>
                <a:cubicBezTo>
                  <a:pt x="101" y="79"/>
                  <a:pt x="101" y="79"/>
                  <a:pt x="102" y="79"/>
                </a:cubicBezTo>
                <a:cubicBezTo>
                  <a:pt x="102" y="80"/>
                  <a:pt x="103" y="80"/>
                  <a:pt x="103" y="81"/>
                </a:cubicBezTo>
                <a:cubicBezTo>
                  <a:pt x="104" y="82"/>
                  <a:pt x="104" y="83"/>
                  <a:pt x="105" y="83"/>
                </a:cubicBezTo>
                <a:cubicBezTo>
                  <a:pt x="104" y="83"/>
                  <a:pt x="106" y="84"/>
                  <a:pt x="106" y="84"/>
                </a:cubicBezTo>
                <a:cubicBezTo>
                  <a:pt x="106" y="84"/>
                  <a:pt x="107" y="84"/>
                  <a:pt x="107" y="84"/>
                </a:cubicBezTo>
                <a:cubicBezTo>
                  <a:pt x="107" y="85"/>
                  <a:pt x="108" y="85"/>
                  <a:pt x="108" y="86"/>
                </a:cubicBezTo>
                <a:cubicBezTo>
                  <a:pt x="107" y="85"/>
                  <a:pt x="106" y="86"/>
                  <a:pt x="105" y="85"/>
                </a:cubicBezTo>
                <a:cubicBezTo>
                  <a:pt x="105" y="84"/>
                  <a:pt x="105" y="86"/>
                  <a:pt x="105" y="86"/>
                </a:cubicBezTo>
                <a:cubicBezTo>
                  <a:pt x="105" y="86"/>
                  <a:pt x="105" y="87"/>
                  <a:pt x="105" y="87"/>
                </a:cubicBezTo>
                <a:cubicBezTo>
                  <a:pt x="105" y="89"/>
                  <a:pt x="105" y="90"/>
                  <a:pt x="105" y="91"/>
                </a:cubicBezTo>
                <a:cubicBezTo>
                  <a:pt x="106" y="92"/>
                  <a:pt x="106" y="92"/>
                  <a:pt x="106" y="93"/>
                </a:cubicBezTo>
                <a:close/>
                <a:moveTo>
                  <a:pt x="71" y="12"/>
                </a:moveTo>
                <a:cubicBezTo>
                  <a:pt x="71" y="12"/>
                  <a:pt x="71" y="12"/>
                  <a:pt x="71" y="12"/>
                </a:cubicBezTo>
                <a:cubicBezTo>
                  <a:pt x="71" y="12"/>
                  <a:pt x="71" y="12"/>
                  <a:pt x="71" y="12"/>
                </a:cubicBezTo>
                <a:close/>
                <a:moveTo>
                  <a:pt x="73" y="16"/>
                </a:moveTo>
                <a:cubicBezTo>
                  <a:pt x="73" y="16"/>
                  <a:pt x="73" y="15"/>
                  <a:pt x="73" y="16"/>
                </a:cubicBezTo>
                <a:cubicBezTo>
                  <a:pt x="73" y="16"/>
                  <a:pt x="74" y="17"/>
                  <a:pt x="74" y="17"/>
                </a:cubicBezTo>
                <a:cubicBezTo>
                  <a:pt x="74" y="16"/>
                  <a:pt x="73" y="16"/>
                  <a:pt x="73" y="16"/>
                </a:cubicBezTo>
                <a:cubicBezTo>
                  <a:pt x="72" y="16"/>
                  <a:pt x="73" y="15"/>
                  <a:pt x="72" y="15"/>
                </a:cubicBezTo>
                <a:cubicBezTo>
                  <a:pt x="72" y="14"/>
                  <a:pt x="72" y="14"/>
                  <a:pt x="71" y="14"/>
                </a:cubicBezTo>
                <a:cubicBezTo>
                  <a:pt x="71" y="14"/>
                  <a:pt x="71" y="15"/>
                  <a:pt x="71" y="15"/>
                </a:cubicBezTo>
                <a:cubicBezTo>
                  <a:pt x="71" y="15"/>
                  <a:pt x="72" y="16"/>
                  <a:pt x="73" y="16"/>
                </a:cubicBezTo>
                <a:close/>
                <a:moveTo>
                  <a:pt x="67" y="5"/>
                </a:moveTo>
                <a:cubicBezTo>
                  <a:pt x="67" y="5"/>
                  <a:pt x="67" y="5"/>
                  <a:pt x="67" y="5"/>
                </a:cubicBezTo>
                <a:cubicBezTo>
                  <a:pt x="67" y="5"/>
                  <a:pt x="67" y="5"/>
                  <a:pt x="67" y="5"/>
                </a:cubicBezTo>
                <a:close/>
                <a:moveTo>
                  <a:pt x="67" y="2"/>
                </a:moveTo>
                <a:cubicBezTo>
                  <a:pt x="67" y="2"/>
                  <a:pt x="67" y="2"/>
                  <a:pt x="67" y="2"/>
                </a:cubicBezTo>
                <a:cubicBezTo>
                  <a:pt x="67" y="2"/>
                  <a:pt x="67" y="2"/>
                  <a:pt x="67" y="2"/>
                </a:cubicBezTo>
                <a:close/>
                <a:moveTo>
                  <a:pt x="79" y="5"/>
                </a:moveTo>
                <a:cubicBezTo>
                  <a:pt x="78" y="5"/>
                  <a:pt x="77" y="5"/>
                  <a:pt x="76" y="6"/>
                </a:cubicBezTo>
                <a:cubicBezTo>
                  <a:pt x="78" y="5"/>
                  <a:pt x="78" y="5"/>
                  <a:pt x="79" y="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8" name="Ecuador"/>
          <p:cNvSpPr>
            <a:spLocks noEditPoints="1"/>
          </p:cNvSpPr>
          <p:nvPr/>
        </p:nvSpPr>
        <p:spPr bwMode="auto">
          <a:xfrm>
            <a:off x="2577204" y="4605939"/>
            <a:ext cx="577978" cy="259991"/>
          </a:xfrm>
          <a:custGeom>
            <a:avLst/>
            <a:gdLst/>
            <a:ahLst/>
            <a:cxnLst>
              <a:cxn ang="0">
                <a:pos x="7" y="23"/>
              </a:cxn>
              <a:cxn ang="0">
                <a:pos x="4" y="15"/>
              </a:cxn>
              <a:cxn ang="0">
                <a:pos x="3" y="18"/>
              </a:cxn>
              <a:cxn ang="0">
                <a:pos x="6" y="23"/>
              </a:cxn>
              <a:cxn ang="0">
                <a:pos x="3" y="27"/>
              </a:cxn>
              <a:cxn ang="0">
                <a:pos x="8" y="26"/>
              </a:cxn>
              <a:cxn ang="0">
                <a:pos x="160" y="25"/>
              </a:cxn>
              <a:cxn ang="0">
                <a:pos x="156" y="18"/>
              </a:cxn>
              <a:cxn ang="0">
                <a:pos x="156" y="16"/>
              </a:cxn>
              <a:cxn ang="0">
                <a:pos x="152" y="13"/>
              </a:cxn>
              <a:cxn ang="0">
                <a:pos x="149" y="12"/>
              </a:cxn>
              <a:cxn ang="0">
                <a:pos x="143" y="13"/>
              </a:cxn>
              <a:cxn ang="0">
                <a:pos x="137" y="8"/>
              </a:cxn>
              <a:cxn ang="0">
                <a:pos x="130" y="3"/>
              </a:cxn>
              <a:cxn ang="0">
                <a:pos x="125" y="0"/>
              </a:cxn>
              <a:cxn ang="0">
                <a:pos x="125" y="2"/>
              </a:cxn>
              <a:cxn ang="0">
                <a:pos x="121" y="4"/>
              </a:cxn>
              <a:cxn ang="0">
                <a:pos x="117" y="6"/>
              </a:cxn>
              <a:cxn ang="0">
                <a:pos x="113" y="7"/>
              </a:cxn>
              <a:cxn ang="0">
                <a:pos x="114" y="13"/>
              </a:cxn>
              <a:cxn ang="0">
                <a:pos x="112" y="18"/>
              </a:cxn>
              <a:cxn ang="0">
                <a:pos x="110" y="23"/>
              </a:cxn>
              <a:cxn ang="0">
                <a:pos x="108" y="26"/>
              </a:cxn>
              <a:cxn ang="0">
                <a:pos x="106" y="34"/>
              </a:cxn>
              <a:cxn ang="0">
                <a:pos x="104" y="40"/>
              </a:cxn>
              <a:cxn ang="0">
                <a:pos x="111" y="45"/>
              </a:cxn>
              <a:cxn ang="0">
                <a:pos x="114" y="43"/>
              </a:cxn>
              <a:cxn ang="0">
                <a:pos x="115" y="44"/>
              </a:cxn>
              <a:cxn ang="0">
                <a:pos x="116" y="42"/>
              </a:cxn>
              <a:cxn ang="0">
                <a:pos x="114" y="52"/>
              </a:cxn>
              <a:cxn ang="0">
                <a:pos x="112" y="54"/>
              </a:cxn>
              <a:cxn ang="0">
                <a:pos x="113" y="58"/>
              </a:cxn>
              <a:cxn ang="0">
                <a:pos x="111" y="62"/>
              </a:cxn>
              <a:cxn ang="0">
                <a:pos x="113" y="63"/>
              </a:cxn>
              <a:cxn ang="0">
                <a:pos x="120" y="67"/>
              </a:cxn>
              <a:cxn ang="0">
                <a:pos x="125" y="70"/>
              </a:cxn>
              <a:cxn ang="0">
                <a:pos x="128" y="64"/>
              </a:cxn>
              <a:cxn ang="0">
                <a:pos x="130" y="58"/>
              </a:cxn>
              <a:cxn ang="0">
                <a:pos x="132" y="54"/>
              </a:cxn>
              <a:cxn ang="0">
                <a:pos x="136" y="49"/>
              </a:cxn>
              <a:cxn ang="0">
                <a:pos x="155" y="36"/>
              </a:cxn>
              <a:cxn ang="0">
                <a:pos x="160" y="25"/>
              </a:cxn>
              <a:cxn ang="0">
                <a:pos x="14" y="24"/>
              </a:cxn>
              <a:cxn ang="0">
                <a:pos x="13" y="22"/>
              </a:cxn>
              <a:cxn ang="0">
                <a:pos x="2" y="22"/>
              </a:cxn>
              <a:cxn ang="0">
                <a:pos x="9" y="10"/>
              </a:cxn>
              <a:cxn ang="0">
                <a:pos x="114" y="46"/>
              </a:cxn>
              <a:cxn ang="0">
                <a:pos x="113" y="47"/>
              </a:cxn>
              <a:cxn ang="0">
                <a:pos x="12" y="30"/>
              </a:cxn>
              <a:cxn ang="0">
                <a:pos x="10" y="18"/>
              </a:cxn>
              <a:cxn ang="0">
                <a:pos x="10" y="18"/>
              </a:cxn>
              <a:cxn ang="0">
                <a:pos x="23" y="26"/>
              </a:cxn>
            </a:cxnLst>
            <a:rect l="0" t="0" r="r" b="b"/>
            <a:pathLst>
              <a:path w="160" h="72">
                <a:moveTo>
                  <a:pt x="12" y="13"/>
                </a:moveTo>
                <a:cubicBezTo>
                  <a:pt x="12" y="13"/>
                  <a:pt x="11" y="12"/>
                  <a:pt x="12" y="12"/>
                </a:cubicBezTo>
                <a:cubicBezTo>
                  <a:pt x="13" y="12"/>
                  <a:pt x="13" y="13"/>
                  <a:pt x="12" y="13"/>
                </a:cubicBezTo>
                <a:close/>
                <a:moveTo>
                  <a:pt x="7" y="23"/>
                </a:moveTo>
                <a:cubicBezTo>
                  <a:pt x="8" y="21"/>
                  <a:pt x="7" y="20"/>
                  <a:pt x="6" y="20"/>
                </a:cubicBezTo>
                <a:cubicBezTo>
                  <a:pt x="5" y="19"/>
                  <a:pt x="5" y="19"/>
                  <a:pt x="5" y="18"/>
                </a:cubicBezTo>
                <a:cubicBezTo>
                  <a:pt x="5" y="18"/>
                  <a:pt x="5" y="17"/>
                  <a:pt x="5" y="16"/>
                </a:cubicBezTo>
                <a:cubicBezTo>
                  <a:pt x="4" y="16"/>
                  <a:pt x="4" y="15"/>
                  <a:pt x="4" y="15"/>
                </a:cubicBezTo>
                <a:cubicBezTo>
                  <a:pt x="2" y="15"/>
                  <a:pt x="2" y="16"/>
                  <a:pt x="1" y="16"/>
                </a:cubicBezTo>
                <a:cubicBezTo>
                  <a:pt x="1" y="17"/>
                  <a:pt x="2" y="17"/>
                  <a:pt x="2" y="16"/>
                </a:cubicBezTo>
                <a:cubicBezTo>
                  <a:pt x="3" y="16"/>
                  <a:pt x="3" y="17"/>
                  <a:pt x="3" y="17"/>
                </a:cubicBezTo>
                <a:cubicBezTo>
                  <a:pt x="3" y="18"/>
                  <a:pt x="3" y="18"/>
                  <a:pt x="3" y="18"/>
                </a:cubicBezTo>
                <a:cubicBezTo>
                  <a:pt x="3" y="18"/>
                  <a:pt x="3" y="19"/>
                  <a:pt x="3" y="19"/>
                </a:cubicBezTo>
                <a:cubicBezTo>
                  <a:pt x="3" y="19"/>
                  <a:pt x="4" y="20"/>
                  <a:pt x="4" y="20"/>
                </a:cubicBezTo>
                <a:cubicBezTo>
                  <a:pt x="5" y="21"/>
                  <a:pt x="5" y="21"/>
                  <a:pt x="5" y="22"/>
                </a:cubicBezTo>
                <a:cubicBezTo>
                  <a:pt x="6" y="22"/>
                  <a:pt x="6" y="23"/>
                  <a:pt x="6" y="23"/>
                </a:cubicBezTo>
                <a:cubicBezTo>
                  <a:pt x="5" y="24"/>
                  <a:pt x="5" y="23"/>
                  <a:pt x="4" y="24"/>
                </a:cubicBezTo>
                <a:cubicBezTo>
                  <a:pt x="4" y="24"/>
                  <a:pt x="4" y="24"/>
                  <a:pt x="3" y="24"/>
                </a:cubicBezTo>
                <a:cubicBezTo>
                  <a:pt x="3" y="25"/>
                  <a:pt x="2" y="26"/>
                  <a:pt x="2" y="26"/>
                </a:cubicBezTo>
                <a:cubicBezTo>
                  <a:pt x="2" y="26"/>
                  <a:pt x="3" y="27"/>
                  <a:pt x="3" y="27"/>
                </a:cubicBezTo>
                <a:cubicBezTo>
                  <a:pt x="3" y="28"/>
                  <a:pt x="5" y="28"/>
                  <a:pt x="5" y="28"/>
                </a:cubicBezTo>
                <a:cubicBezTo>
                  <a:pt x="6" y="28"/>
                  <a:pt x="6" y="27"/>
                  <a:pt x="7" y="27"/>
                </a:cubicBezTo>
                <a:cubicBezTo>
                  <a:pt x="7" y="27"/>
                  <a:pt x="7" y="27"/>
                  <a:pt x="7" y="27"/>
                </a:cubicBezTo>
                <a:cubicBezTo>
                  <a:pt x="8" y="27"/>
                  <a:pt x="8" y="26"/>
                  <a:pt x="8" y="26"/>
                </a:cubicBezTo>
                <a:cubicBezTo>
                  <a:pt x="8" y="25"/>
                  <a:pt x="9" y="24"/>
                  <a:pt x="9" y="24"/>
                </a:cubicBezTo>
                <a:cubicBezTo>
                  <a:pt x="9" y="24"/>
                  <a:pt x="8" y="23"/>
                  <a:pt x="8" y="23"/>
                </a:cubicBezTo>
                <a:cubicBezTo>
                  <a:pt x="8" y="23"/>
                  <a:pt x="7" y="23"/>
                  <a:pt x="7" y="23"/>
                </a:cubicBezTo>
                <a:close/>
                <a:moveTo>
                  <a:pt x="160" y="25"/>
                </a:moveTo>
                <a:cubicBezTo>
                  <a:pt x="160" y="24"/>
                  <a:pt x="160" y="24"/>
                  <a:pt x="160" y="23"/>
                </a:cubicBezTo>
                <a:cubicBezTo>
                  <a:pt x="160" y="22"/>
                  <a:pt x="159" y="22"/>
                  <a:pt x="159" y="21"/>
                </a:cubicBezTo>
                <a:cubicBezTo>
                  <a:pt x="158" y="20"/>
                  <a:pt x="158" y="20"/>
                  <a:pt x="158" y="19"/>
                </a:cubicBezTo>
                <a:cubicBezTo>
                  <a:pt x="157" y="18"/>
                  <a:pt x="157" y="19"/>
                  <a:pt x="156" y="18"/>
                </a:cubicBezTo>
                <a:cubicBezTo>
                  <a:pt x="156" y="17"/>
                  <a:pt x="157" y="18"/>
                  <a:pt x="157" y="18"/>
                </a:cubicBezTo>
                <a:cubicBezTo>
                  <a:pt x="158" y="18"/>
                  <a:pt x="159" y="18"/>
                  <a:pt x="160" y="18"/>
                </a:cubicBezTo>
                <a:cubicBezTo>
                  <a:pt x="159" y="17"/>
                  <a:pt x="158" y="17"/>
                  <a:pt x="157" y="16"/>
                </a:cubicBezTo>
                <a:cubicBezTo>
                  <a:pt x="156" y="16"/>
                  <a:pt x="156" y="16"/>
                  <a:pt x="156" y="16"/>
                </a:cubicBezTo>
                <a:cubicBezTo>
                  <a:pt x="155" y="16"/>
                  <a:pt x="155" y="16"/>
                  <a:pt x="154" y="15"/>
                </a:cubicBezTo>
                <a:cubicBezTo>
                  <a:pt x="154" y="15"/>
                  <a:pt x="153" y="14"/>
                  <a:pt x="153" y="14"/>
                </a:cubicBezTo>
                <a:cubicBezTo>
                  <a:pt x="153" y="14"/>
                  <a:pt x="153" y="13"/>
                  <a:pt x="152" y="13"/>
                </a:cubicBezTo>
                <a:cubicBezTo>
                  <a:pt x="152" y="13"/>
                  <a:pt x="152" y="13"/>
                  <a:pt x="152" y="13"/>
                </a:cubicBezTo>
                <a:cubicBezTo>
                  <a:pt x="152" y="12"/>
                  <a:pt x="152" y="12"/>
                  <a:pt x="151" y="12"/>
                </a:cubicBezTo>
                <a:cubicBezTo>
                  <a:pt x="151" y="12"/>
                  <a:pt x="151" y="12"/>
                  <a:pt x="150" y="12"/>
                </a:cubicBezTo>
                <a:cubicBezTo>
                  <a:pt x="150" y="12"/>
                  <a:pt x="150" y="12"/>
                  <a:pt x="149" y="12"/>
                </a:cubicBezTo>
                <a:cubicBezTo>
                  <a:pt x="149" y="12"/>
                  <a:pt x="149" y="12"/>
                  <a:pt x="149" y="12"/>
                </a:cubicBezTo>
                <a:cubicBezTo>
                  <a:pt x="149" y="13"/>
                  <a:pt x="149" y="13"/>
                  <a:pt x="148" y="13"/>
                </a:cubicBezTo>
                <a:cubicBezTo>
                  <a:pt x="148" y="14"/>
                  <a:pt x="148" y="14"/>
                  <a:pt x="147" y="14"/>
                </a:cubicBezTo>
                <a:cubicBezTo>
                  <a:pt x="147" y="14"/>
                  <a:pt x="146" y="13"/>
                  <a:pt x="145" y="14"/>
                </a:cubicBezTo>
                <a:cubicBezTo>
                  <a:pt x="145" y="14"/>
                  <a:pt x="144" y="13"/>
                  <a:pt x="143" y="13"/>
                </a:cubicBezTo>
                <a:cubicBezTo>
                  <a:pt x="143" y="13"/>
                  <a:pt x="142" y="12"/>
                  <a:pt x="142" y="12"/>
                </a:cubicBezTo>
                <a:cubicBezTo>
                  <a:pt x="141" y="12"/>
                  <a:pt x="141" y="13"/>
                  <a:pt x="140" y="12"/>
                </a:cubicBezTo>
                <a:cubicBezTo>
                  <a:pt x="139" y="12"/>
                  <a:pt x="138" y="11"/>
                  <a:pt x="139" y="10"/>
                </a:cubicBezTo>
                <a:cubicBezTo>
                  <a:pt x="139" y="9"/>
                  <a:pt x="137" y="9"/>
                  <a:pt x="137" y="8"/>
                </a:cubicBezTo>
                <a:cubicBezTo>
                  <a:pt x="136" y="8"/>
                  <a:pt x="137" y="7"/>
                  <a:pt x="136" y="7"/>
                </a:cubicBezTo>
                <a:cubicBezTo>
                  <a:pt x="134" y="8"/>
                  <a:pt x="134" y="7"/>
                  <a:pt x="133" y="6"/>
                </a:cubicBezTo>
                <a:cubicBezTo>
                  <a:pt x="133" y="6"/>
                  <a:pt x="130" y="5"/>
                  <a:pt x="131" y="5"/>
                </a:cubicBezTo>
                <a:cubicBezTo>
                  <a:pt x="131" y="4"/>
                  <a:pt x="131" y="3"/>
                  <a:pt x="130" y="3"/>
                </a:cubicBezTo>
                <a:cubicBezTo>
                  <a:pt x="130" y="3"/>
                  <a:pt x="129" y="4"/>
                  <a:pt x="129" y="3"/>
                </a:cubicBezTo>
                <a:cubicBezTo>
                  <a:pt x="128" y="4"/>
                  <a:pt x="128" y="3"/>
                  <a:pt x="127" y="2"/>
                </a:cubicBezTo>
                <a:cubicBezTo>
                  <a:pt x="127" y="2"/>
                  <a:pt x="127" y="2"/>
                  <a:pt x="126" y="2"/>
                </a:cubicBezTo>
                <a:cubicBezTo>
                  <a:pt x="126" y="1"/>
                  <a:pt x="126" y="1"/>
                  <a:pt x="125" y="0"/>
                </a:cubicBezTo>
                <a:cubicBezTo>
                  <a:pt x="125" y="1"/>
                  <a:pt x="125" y="1"/>
                  <a:pt x="125" y="1"/>
                </a:cubicBezTo>
                <a:cubicBezTo>
                  <a:pt x="125" y="1"/>
                  <a:pt x="125" y="1"/>
                  <a:pt x="125" y="2"/>
                </a:cubicBezTo>
                <a:cubicBezTo>
                  <a:pt x="125" y="2"/>
                  <a:pt x="125" y="2"/>
                  <a:pt x="125" y="2"/>
                </a:cubicBezTo>
                <a:cubicBezTo>
                  <a:pt x="125" y="2"/>
                  <a:pt x="125" y="2"/>
                  <a:pt x="125" y="2"/>
                </a:cubicBezTo>
                <a:cubicBezTo>
                  <a:pt x="125" y="2"/>
                  <a:pt x="125" y="3"/>
                  <a:pt x="124" y="3"/>
                </a:cubicBezTo>
                <a:cubicBezTo>
                  <a:pt x="124" y="3"/>
                  <a:pt x="124" y="4"/>
                  <a:pt x="124" y="4"/>
                </a:cubicBezTo>
                <a:cubicBezTo>
                  <a:pt x="124" y="4"/>
                  <a:pt x="124" y="2"/>
                  <a:pt x="123" y="3"/>
                </a:cubicBezTo>
                <a:cubicBezTo>
                  <a:pt x="122" y="4"/>
                  <a:pt x="122" y="4"/>
                  <a:pt x="121" y="4"/>
                </a:cubicBezTo>
                <a:cubicBezTo>
                  <a:pt x="120" y="4"/>
                  <a:pt x="119" y="5"/>
                  <a:pt x="118" y="5"/>
                </a:cubicBezTo>
                <a:cubicBezTo>
                  <a:pt x="117" y="6"/>
                  <a:pt x="118" y="6"/>
                  <a:pt x="117" y="7"/>
                </a:cubicBezTo>
                <a:cubicBezTo>
                  <a:pt x="117" y="7"/>
                  <a:pt x="117" y="7"/>
                  <a:pt x="117" y="6"/>
                </a:cubicBezTo>
                <a:cubicBezTo>
                  <a:pt x="117" y="6"/>
                  <a:pt x="117" y="6"/>
                  <a:pt x="117" y="6"/>
                </a:cubicBezTo>
                <a:cubicBezTo>
                  <a:pt x="117" y="5"/>
                  <a:pt x="116" y="6"/>
                  <a:pt x="116" y="6"/>
                </a:cubicBezTo>
                <a:cubicBezTo>
                  <a:pt x="116" y="6"/>
                  <a:pt x="115" y="7"/>
                  <a:pt x="115" y="7"/>
                </a:cubicBezTo>
                <a:cubicBezTo>
                  <a:pt x="114" y="7"/>
                  <a:pt x="114" y="7"/>
                  <a:pt x="114" y="7"/>
                </a:cubicBezTo>
                <a:cubicBezTo>
                  <a:pt x="114" y="7"/>
                  <a:pt x="113" y="7"/>
                  <a:pt x="113" y="7"/>
                </a:cubicBezTo>
                <a:cubicBezTo>
                  <a:pt x="113" y="8"/>
                  <a:pt x="112" y="8"/>
                  <a:pt x="113" y="9"/>
                </a:cubicBezTo>
                <a:cubicBezTo>
                  <a:pt x="113" y="9"/>
                  <a:pt x="114" y="9"/>
                  <a:pt x="114" y="10"/>
                </a:cubicBezTo>
                <a:cubicBezTo>
                  <a:pt x="114" y="10"/>
                  <a:pt x="113" y="11"/>
                  <a:pt x="113" y="11"/>
                </a:cubicBezTo>
                <a:cubicBezTo>
                  <a:pt x="114" y="12"/>
                  <a:pt x="114" y="12"/>
                  <a:pt x="114" y="13"/>
                </a:cubicBezTo>
                <a:cubicBezTo>
                  <a:pt x="114" y="13"/>
                  <a:pt x="113" y="12"/>
                  <a:pt x="113" y="12"/>
                </a:cubicBezTo>
                <a:cubicBezTo>
                  <a:pt x="113" y="13"/>
                  <a:pt x="113" y="14"/>
                  <a:pt x="113" y="14"/>
                </a:cubicBezTo>
                <a:cubicBezTo>
                  <a:pt x="113" y="15"/>
                  <a:pt x="113" y="15"/>
                  <a:pt x="113" y="16"/>
                </a:cubicBezTo>
                <a:cubicBezTo>
                  <a:pt x="112" y="17"/>
                  <a:pt x="112" y="17"/>
                  <a:pt x="112" y="18"/>
                </a:cubicBezTo>
                <a:cubicBezTo>
                  <a:pt x="111" y="18"/>
                  <a:pt x="111" y="18"/>
                  <a:pt x="110" y="18"/>
                </a:cubicBezTo>
                <a:cubicBezTo>
                  <a:pt x="110" y="19"/>
                  <a:pt x="110" y="19"/>
                  <a:pt x="109" y="20"/>
                </a:cubicBezTo>
                <a:cubicBezTo>
                  <a:pt x="109" y="20"/>
                  <a:pt x="109" y="21"/>
                  <a:pt x="109" y="21"/>
                </a:cubicBezTo>
                <a:cubicBezTo>
                  <a:pt x="109" y="22"/>
                  <a:pt x="110" y="22"/>
                  <a:pt x="110" y="23"/>
                </a:cubicBezTo>
                <a:cubicBezTo>
                  <a:pt x="110" y="23"/>
                  <a:pt x="111" y="23"/>
                  <a:pt x="111" y="23"/>
                </a:cubicBezTo>
                <a:cubicBezTo>
                  <a:pt x="111" y="23"/>
                  <a:pt x="110" y="23"/>
                  <a:pt x="110" y="23"/>
                </a:cubicBezTo>
                <a:cubicBezTo>
                  <a:pt x="109" y="23"/>
                  <a:pt x="109" y="24"/>
                  <a:pt x="109" y="25"/>
                </a:cubicBezTo>
                <a:cubicBezTo>
                  <a:pt x="109" y="25"/>
                  <a:pt x="109" y="25"/>
                  <a:pt x="108" y="26"/>
                </a:cubicBezTo>
                <a:cubicBezTo>
                  <a:pt x="108" y="27"/>
                  <a:pt x="107" y="26"/>
                  <a:pt x="106" y="26"/>
                </a:cubicBezTo>
                <a:cubicBezTo>
                  <a:pt x="105" y="27"/>
                  <a:pt x="105" y="28"/>
                  <a:pt x="105" y="29"/>
                </a:cubicBezTo>
                <a:cubicBezTo>
                  <a:pt x="106" y="30"/>
                  <a:pt x="107" y="30"/>
                  <a:pt x="106" y="31"/>
                </a:cubicBezTo>
                <a:cubicBezTo>
                  <a:pt x="106" y="33"/>
                  <a:pt x="105" y="33"/>
                  <a:pt x="106" y="34"/>
                </a:cubicBezTo>
                <a:cubicBezTo>
                  <a:pt x="106" y="35"/>
                  <a:pt x="107" y="37"/>
                  <a:pt x="107" y="38"/>
                </a:cubicBezTo>
                <a:cubicBezTo>
                  <a:pt x="107" y="39"/>
                  <a:pt x="107" y="39"/>
                  <a:pt x="106" y="40"/>
                </a:cubicBezTo>
                <a:cubicBezTo>
                  <a:pt x="106" y="40"/>
                  <a:pt x="105" y="41"/>
                  <a:pt x="105" y="40"/>
                </a:cubicBezTo>
                <a:cubicBezTo>
                  <a:pt x="105" y="40"/>
                  <a:pt x="104" y="40"/>
                  <a:pt x="104" y="40"/>
                </a:cubicBezTo>
                <a:cubicBezTo>
                  <a:pt x="104" y="40"/>
                  <a:pt x="106" y="42"/>
                  <a:pt x="106" y="42"/>
                </a:cubicBezTo>
                <a:cubicBezTo>
                  <a:pt x="108" y="43"/>
                  <a:pt x="108" y="43"/>
                  <a:pt x="109" y="44"/>
                </a:cubicBezTo>
                <a:cubicBezTo>
                  <a:pt x="110" y="45"/>
                  <a:pt x="110" y="46"/>
                  <a:pt x="111" y="46"/>
                </a:cubicBezTo>
                <a:cubicBezTo>
                  <a:pt x="112" y="47"/>
                  <a:pt x="111" y="45"/>
                  <a:pt x="111" y="45"/>
                </a:cubicBezTo>
                <a:cubicBezTo>
                  <a:pt x="111" y="45"/>
                  <a:pt x="112" y="45"/>
                  <a:pt x="112" y="45"/>
                </a:cubicBezTo>
                <a:cubicBezTo>
                  <a:pt x="113" y="44"/>
                  <a:pt x="113" y="44"/>
                  <a:pt x="113" y="44"/>
                </a:cubicBezTo>
                <a:cubicBezTo>
                  <a:pt x="114" y="43"/>
                  <a:pt x="114" y="42"/>
                  <a:pt x="114" y="42"/>
                </a:cubicBezTo>
                <a:cubicBezTo>
                  <a:pt x="114" y="42"/>
                  <a:pt x="113" y="43"/>
                  <a:pt x="114" y="43"/>
                </a:cubicBezTo>
                <a:cubicBezTo>
                  <a:pt x="114" y="43"/>
                  <a:pt x="115" y="43"/>
                  <a:pt x="115" y="44"/>
                </a:cubicBezTo>
                <a:cubicBezTo>
                  <a:pt x="115" y="44"/>
                  <a:pt x="114" y="43"/>
                  <a:pt x="114" y="44"/>
                </a:cubicBezTo>
                <a:cubicBezTo>
                  <a:pt x="114" y="44"/>
                  <a:pt x="114" y="44"/>
                  <a:pt x="114" y="45"/>
                </a:cubicBezTo>
                <a:cubicBezTo>
                  <a:pt x="114" y="45"/>
                  <a:pt x="115" y="44"/>
                  <a:pt x="115" y="44"/>
                </a:cubicBezTo>
                <a:cubicBezTo>
                  <a:pt x="115" y="43"/>
                  <a:pt x="116" y="42"/>
                  <a:pt x="115" y="41"/>
                </a:cubicBezTo>
                <a:cubicBezTo>
                  <a:pt x="115" y="40"/>
                  <a:pt x="115" y="39"/>
                  <a:pt x="116" y="38"/>
                </a:cubicBezTo>
                <a:cubicBezTo>
                  <a:pt x="116" y="39"/>
                  <a:pt x="116" y="39"/>
                  <a:pt x="115" y="40"/>
                </a:cubicBezTo>
                <a:cubicBezTo>
                  <a:pt x="115" y="40"/>
                  <a:pt x="115" y="41"/>
                  <a:pt x="116" y="42"/>
                </a:cubicBezTo>
                <a:cubicBezTo>
                  <a:pt x="116" y="42"/>
                  <a:pt x="116" y="43"/>
                  <a:pt x="116" y="43"/>
                </a:cubicBezTo>
                <a:cubicBezTo>
                  <a:pt x="117" y="44"/>
                  <a:pt x="117" y="44"/>
                  <a:pt x="117" y="45"/>
                </a:cubicBezTo>
                <a:cubicBezTo>
                  <a:pt x="116" y="46"/>
                  <a:pt x="116" y="47"/>
                  <a:pt x="116" y="49"/>
                </a:cubicBezTo>
                <a:cubicBezTo>
                  <a:pt x="115" y="50"/>
                  <a:pt x="115" y="51"/>
                  <a:pt x="114" y="52"/>
                </a:cubicBezTo>
                <a:cubicBezTo>
                  <a:pt x="114" y="51"/>
                  <a:pt x="113" y="53"/>
                  <a:pt x="113" y="53"/>
                </a:cubicBezTo>
                <a:cubicBezTo>
                  <a:pt x="113" y="53"/>
                  <a:pt x="111" y="53"/>
                  <a:pt x="111" y="53"/>
                </a:cubicBezTo>
                <a:cubicBezTo>
                  <a:pt x="111" y="52"/>
                  <a:pt x="111" y="53"/>
                  <a:pt x="111" y="53"/>
                </a:cubicBezTo>
                <a:cubicBezTo>
                  <a:pt x="111" y="54"/>
                  <a:pt x="112" y="54"/>
                  <a:pt x="112" y="54"/>
                </a:cubicBezTo>
                <a:cubicBezTo>
                  <a:pt x="112" y="54"/>
                  <a:pt x="112" y="54"/>
                  <a:pt x="112" y="55"/>
                </a:cubicBezTo>
                <a:cubicBezTo>
                  <a:pt x="112" y="55"/>
                  <a:pt x="112" y="55"/>
                  <a:pt x="112" y="56"/>
                </a:cubicBezTo>
                <a:cubicBezTo>
                  <a:pt x="113" y="56"/>
                  <a:pt x="112" y="57"/>
                  <a:pt x="112" y="57"/>
                </a:cubicBezTo>
                <a:cubicBezTo>
                  <a:pt x="112" y="57"/>
                  <a:pt x="113" y="58"/>
                  <a:pt x="113" y="58"/>
                </a:cubicBezTo>
                <a:cubicBezTo>
                  <a:pt x="113" y="59"/>
                  <a:pt x="113" y="59"/>
                  <a:pt x="113" y="59"/>
                </a:cubicBezTo>
                <a:cubicBezTo>
                  <a:pt x="112" y="60"/>
                  <a:pt x="112" y="60"/>
                  <a:pt x="111" y="60"/>
                </a:cubicBezTo>
                <a:cubicBezTo>
                  <a:pt x="110" y="60"/>
                  <a:pt x="110" y="60"/>
                  <a:pt x="110" y="61"/>
                </a:cubicBezTo>
                <a:cubicBezTo>
                  <a:pt x="110" y="62"/>
                  <a:pt x="110" y="63"/>
                  <a:pt x="111" y="62"/>
                </a:cubicBezTo>
                <a:cubicBezTo>
                  <a:pt x="111" y="62"/>
                  <a:pt x="111" y="63"/>
                  <a:pt x="111" y="63"/>
                </a:cubicBezTo>
                <a:cubicBezTo>
                  <a:pt x="111" y="63"/>
                  <a:pt x="110" y="64"/>
                  <a:pt x="110" y="64"/>
                </a:cubicBezTo>
                <a:cubicBezTo>
                  <a:pt x="110" y="65"/>
                  <a:pt x="111" y="66"/>
                  <a:pt x="112" y="65"/>
                </a:cubicBezTo>
                <a:cubicBezTo>
                  <a:pt x="112" y="65"/>
                  <a:pt x="113" y="64"/>
                  <a:pt x="113" y="63"/>
                </a:cubicBezTo>
                <a:cubicBezTo>
                  <a:pt x="114" y="63"/>
                  <a:pt x="114" y="64"/>
                  <a:pt x="115" y="64"/>
                </a:cubicBezTo>
                <a:cubicBezTo>
                  <a:pt x="116" y="65"/>
                  <a:pt x="116" y="65"/>
                  <a:pt x="117" y="66"/>
                </a:cubicBezTo>
                <a:cubicBezTo>
                  <a:pt x="117" y="66"/>
                  <a:pt x="118" y="64"/>
                  <a:pt x="119" y="65"/>
                </a:cubicBezTo>
                <a:cubicBezTo>
                  <a:pt x="119" y="65"/>
                  <a:pt x="120" y="66"/>
                  <a:pt x="120" y="67"/>
                </a:cubicBezTo>
                <a:cubicBezTo>
                  <a:pt x="119" y="67"/>
                  <a:pt x="120" y="68"/>
                  <a:pt x="120" y="69"/>
                </a:cubicBezTo>
                <a:cubicBezTo>
                  <a:pt x="121" y="69"/>
                  <a:pt x="121" y="70"/>
                  <a:pt x="122" y="70"/>
                </a:cubicBezTo>
                <a:cubicBezTo>
                  <a:pt x="122" y="71"/>
                  <a:pt x="123" y="71"/>
                  <a:pt x="123" y="71"/>
                </a:cubicBezTo>
                <a:cubicBezTo>
                  <a:pt x="125" y="72"/>
                  <a:pt x="124" y="70"/>
                  <a:pt x="125" y="70"/>
                </a:cubicBezTo>
                <a:cubicBezTo>
                  <a:pt x="126" y="69"/>
                  <a:pt x="125" y="69"/>
                  <a:pt x="125" y="68"/>
                </a:cubicBezTo>
                <a:cubicBezTo>
                  <a:pt x="126" y="68"/>
                  <a:pt x="126" y="67"/>
                  <a:pt x="127" y="67"/>
                </a:cubicBezTo>
                <a:cubicBezTo>
                  <a:pt x="127" y="67"/>
                  <a:pt x="128" y="66"/>
                  <a:pt x="128" y="66"/>
                </a:cubicBezTo>
                <a:cubicBezTo>
                  <a:pt x="128" y="65"/>
                  <a:pt x="128" y="65"/>
                  <a:pt x="128" y="64"/>
                </a:cubicBezTo>
                <a:cubicBezTo>
                  <a:pt x="127" y="64"/>
                  <a:pt x="128" y="63"/>
                  <a:pt x="128" y="62"/>
                </a:cubicBezTo>
                <a:cubicBezTo>
                  <a:pt x="128" y="62"/>
                  <a:pt x="128" y="60"/>
                  <a:pt x="129" y="60"/>
                </a:cubicBezTo>
                <a:cubicBezTo>
                  <a:pt x="130" y="60"/>
                  <a:pt x="129" y="59"/>
                  <a:pt x="129" y="58"/>
                </a:cubicBezTo>
                <a:cubicBezTo>
                  <a:pt x="130" y="58"/>
                  <a:pt x="130" y="58"/>
                  <a:pt x="130" y="58"/>
                </a:cubicBezTo>
                <a:cubicBezTo>
                  <a:pt x="130" y="58"/>
                  <a:pt x="130" y="57"/>
                  <a:pt x="130" y="57"/>
                </a:cubicBezTo>
                <a:cubicBezTo>
                  <a:pt x="130" y="57"/>
                  <a:pt x="130" y="53"/>
                  <a:pt x="131" y="53"/>
                </a:cubicBezTo>
                <a:cubicBezTo>
                  <a:pt x="131" y="54"/>
                  <a:pt x="131" y="54"/>
                  <a:pt x="132" y="54"/>
                </a:cubicBezTo>
                <a:cubicBezTo>
                  <a:pt x="132" y="55"/>
                  <a:pt x="132" y="55"/>
                  <a:pt x="132" y="54"/>
                </a:cubicBezTo>
                <a:cubicBezTo>
                  <a:pt x="133" y="54"/>
                  <a:pt x="132" y="54"/>
                  <a:pt x="132" y="53"/>
                </a:cubicBezTo>
                <a:cubicBezTo>
                  <a:pt x="132" y="52"/>
                  <a:pt x="133" y="52"/>
                  <a:pt x="133" y="51"/>
                </a:cubicBezTo>
                <a:cubicBezTo>
                  <a:pt x="134" y="51"/>
                  <a:pt x="134" y="50"/>
                  <a:pt x="134" y="50"/>
                </a:cubicBezTo>
                <a:cubicBezTo>
                  <a:pt x="135" y="49"/>
                  <a:pt x="136" y="49"/>
                  <a:pt x="136" y="49"/>
                </a:cubicBezTo>
                <a:cubicBezTo>
                  <a:pt x="138" y="48"/>
                  <a:pt x="140" y="47"/>
                  <a:pt x="142" y="46"/>
                </a:cubicBezTo>
                <a:cubicBezTo>
                  <a:pt x="144" y="46"/>
                  <a:pt x="146" y="45"/>
                  <a:pt x="147" y="44"/>
                </a:cubicBezTo>
                <a:cubicBezTo>
                  <a:pt x="149" y="43"/>
                  <a:pt x="151" y="41"/>
                  <a:pt x="152" y="40"/>
                </a:cubicBezTo>
                <a:cubicBezTo>
                  <a:pt x="153" y="39"/>
                  <a:pt x="154" y="37"/>
                  <a:pt x="155" y="36"/>
                </a:cubicBezTo>
                <a:cubicBezTo>
                  <a:pt x="156" y="35"/>
                  <a:pt x="157" y="34"/>
                  <a:pt x="157" y="32"/>
                </a:cubicBezTo>
                <a:cubicBezTo>
                  <a:pt x="158" y="30"/>
                  <a:pt x="158" y="28"/>
                  <a:pt x="158" y="26"/>
                </a:cubicBezTo>
                <a:cubicBezTo>
                  <a:pt x="159" y="27"/>
                  <a:pt x="160" y="28"/>
                  <a:pt x="160" y="27"/>
                </a:cubicBezTo>
                <a:cubicBezTo>
                  <a:pt x="160" y="26"/>
                  <a:pt x="160" y="25"/>
                  <a:pt x="160" y="25"/>
                </a:cubicBezTo>
                <a:close/>
                <a:moveTo>
                  <a:pt x="13" y="22"/>
                </a:moveTo>
                <a:cubicBezTo>
                  <a:pt x="13" y="22"/>
                  <a:pt x="11" y="22"/>
                  <a:pt x="12" y="24"/>
                </a:cubicBezTo>
                <a:cubicBezTo>
                  <a:pt x="12" y="24"/>
                  <a:pt x="13" y="25"/>
                  <a:pt x="13" y="25"/>
                </a:cubicBezTo>
                <a:cubicBezTo>
                  <a:pt x="14" y="25"/>
                  <a:pt x="14" y="25"/>
                  <a:pt x="14" y="24"/>
                </a:cubicBezTo>
                <a:cubicBezTo>
                  <a:pt x="14" y="24"/>
                  <a:pt x="14" y="24"/>
                  <a:pt x="15" y="24"/>
                </a:cubicBezTo>
                <a:cubicBezTo>
                  <a:pt x="15" y="24"/>
                  <a:pt x="15" y="24"/>
                  <a:pt x="15" y="24"/>
                </a:cubicBezTo>
                <a:cubicBezTo>
                  <a:pt x="15" y="23"/>
                  <a:pt x="15" y="23"/>
                  <a:pt x="15" y="23"/>
                </a:cubicBezTo>
                <a:cubicBezTo>
                  <a:pt x="15" y="22"/>
                  <a:pt x="14" y="22"/>
                  <a:pt x="13" y="22"/>
                </a:cubicBezTo>
                <a:close/>
                <a:moveTo>
                  <a:pt x="3" y="20"/>
                </a:moveTo>
                <a:cubicBezTo>
                  <a:pt x="3" y="19"/>
                  <a:pt x="2" y="19"/>
                  <a:pt x="1" y="19"/>
                </a:cubicBezTo>
                <a:cubicBezTo>
                  <a:pt x="1" y="20"/>
                  <a:pt x="0" y="20"/>
                  <a:pt x="1" y="20"/>
                </a:cubicBezTo>
                <a:cubicBezTo>
                  <a:pt x="1" y="21"/>
                  <a:pt x="1" y="21"/>
                  <a:pt x="2" y="22"/>
                </a:cubicBezTo>
                <a:cubicBezTo>
                  <a:pt x="3" y="21"/>
                  <a:pt x="3" y="21"/>
                  <a:pt x="3" y="20"/>
                </a:cubicBezTo>
                <a:close/>
                <a:moveTo>
                  <a:pt x="9" y="10"/>
                </a:moveTo>
                <a:cubicBezTo>
                  <a:pt x="10" y="10"/>
                  <a:pt x="9" y="9"/>
                  <a:pt x="9" y="9"/>
                </a:cubicBezTo>
                <a:cubicBezTo>
                  <a:pt x="9" y="9"/>
                  <a:pt x="9" y="10"/>
                  <a:pt x="9" y="10"/>
                </a:cubicBezTo>
                <a:close/>
                <a:moveTo>
                  <a:pt x="114" y="48"/>
                </a:moveTo>
                <a:cubicBezTo>
                  <a:pt x="114" y="47"/>
                  <a:pt x="114" y="47"/>
                  <a:pt x="114" y="47"/>
                </a:cubicBezTo>
                <a:cubicBezTo>
                  <a:pt x="115" y="47"/>
                  <a:pt x="115" y="47"/>
                  <a:pt x="115" y="46"/>
                </a:cubicBezTo>
                <a:cubicBezTo>
                  <a:pt x="115" y="46"/>
                  <a:pt x="114" y="46"/>
                  <a:pt x="114" y="46"/>
                </a:cubicBezTo>
                <a:cubicBezTo>
                  <a:pt x="113" y="45"/>
                  <a:pt x="112" y="47"/>
                  <a:pt x="112" y="48"/>
                </a:cubicBezTo>
                <a:cubicBezTo>
                  <a:pt x="112" y="49"/>
                  <a:pt x="111" y="50"/>
                  <a:pt x="112" y="50"/>
                </a:cubicBezTo>
                <a:cubicBezTo>
                  <a:pt x="113" y="50"/>
                  <a:pt x="113" y="49"/>
                  <a:pt x="113" y="49"/>
                </a:cubicBezTo>
                <a:cubicBezTo>
                  <a:pt x="113" y="48"/>
                  <a:pt x="113" y="48"/>
                  <a:pt x="113" y="47"/>
                </a:cubicBezTo>
                <a:cubicBezTo>
                  <a:pt x="113" y="47"/>
                  <a:pt x="114" y="48"/>
                  <a:pt x="114" y="48"/>
                </a:cubicBezTo>
                <a:close/>
                <a:moveTo>
                  <a:pt x="12" y="30"/>
                </a:moveTo>
                <a:cubicBezTo>
                  <a:pt x="12" y="30"/>
                  <a:pt x="12" y="31"/>
                  <a:pt x="13" y="31"/>
                </a:cubicBezTo>
                <a:cubicBezTo>
                  <a:pt x="14" y="31"/>
                  <a:pt x="13" y="29"/>
                  <a:pt x="12" y="30"/>
                </a:cubicBezTo>
                <a:close/>
                <a:moveTo>
                  <a:pt x="20" y="32"/>
                </a:moveTo>
                <a:cubicBezTo>
                  <a:pt x="21" y="31"/>
                  <a:pt x="20" y="31"/>
                  <a:pt x="20" y="31"/>
                </a:cubicBezTo>
                <a:cubicBezTo>
                  <a:pt x="19" y="31"/>
                  <a:pt x="20" y="32"/>
                  <a:pt x="20" y="32"/>
                </a:cubicBezTo>
                <a:close/>
                <a:moveTo>
                  <a:pt x="10" y="18"/>
                </a:moveTo>
                <a:cubicBezTo>
                  <a:pt x="10" y="18"/>
                  <a:pt x="9" y="18"/>
                  <a:pt x="9" y="18"/>
                </a:cubicBezTo>
                <a:cubicBezTo>
                  <a:pt x="8" y="19"/>
                  <a:pt x="8" y="20"/>
                  <a:pt x="9" y="20"/>
                </a:cubicBezTo>
                <a:cubicBezTo>
                  <a:pt x="9" y="20"/>
                  <a:pt x="10" y="20"/>
                  <a:pt x="11" y="20"/>
                </a:cubicBezTo>
                <a:cubicBezTo>
                  <a:pt x="12" y="20"/>
                  <a:pt x="11" y="19"/>
                  <a:pt x="10" y="18"/>
                </a:cubicBezTo>
                <a:close/>
                <a:moveTo>
                  <a:pt x="23" y="24"/>
                </a:moveTo>
                <a:cubicBezTo>
                  <a:pt x="22" y="24"/>
                  <a:pt x="22" y="25"/>
                  <a:pt x="21" y="26"/>
                </a:cubicBezTo>
                <a:cubicBezTo>
                  <a:pt x="20" y="26"/>
                  <a:pt x="20" y="27"/>
                  <a:pt x="21" y="27"/>
                </a:cubicBezTo>
                <a:cubicBezTo>
                  <a:pt x="22" y="26"/>
                  <a:pt x="22" y="27"/>
                  <a:pt x="23" y="26"/>
                </a:cubicBezTo>
                <a:cubicBezTo>
                  <a:pt x="23" y="26"/>
                  <a:pt x="23" y="25"/>
                  <a:pt x="24" y="25"/>
                </a:cubicBezTo>
                <a:cubicBezTo>
                  <a:pt x="24" y="24"/>
                  <a:pt x="24" y="24"/>
                  <a:pt x="23" y="2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69" name="East Timor"/>
          <p:cNvSpPr>
            <a:spLocks noEditPoints="1"/>
          </p:cNvSpPr>
          <p:nvPr/>
        </p:nvSpPr>
        <p:spPr bwMode="auto">
          <a:xfrm>
            <a:off x="10126920" y="4995925"/>
            <a:ext cx="118996" cy="46998"/>
          </a:xfrm>
          <a:custGeom>
            <a:avLst/>
            <a:gdLst/>
            <a:ahLst/>
            <a:cxnLst>
              <a:cxn ang="0">
                <a:pos x="32" y="1"/>
              </a:cxn>
              <a:cxn ang="0">
                <a:pos x="30" y="3"/>
              </a:cxn>
              <a:cxn ang="0">
                <a:pos x="28" y="4"/>
              </a:cxn>
              <a:cxn ang="0">
                <a:pos x="27" y="5"/>
              </a:cxn>
              <a:cxn ang="0">
                <a:pos x="25" y="5"/>
              </a:cxn>
              <a:cxn ang="0">
                <a:pos x="23" y="7"/>
              </a:cxn>
              <a:cxn ang="0">
                <a:pos x="20" y="7"/>
              </a:cxn>
              <a:cxn ang="0">
                <a:pos x="18" y="9"/>
              </a:cxn>
              <a:cxn ang="0">
                <a:pos x="17" y="9"/>
              </a:cxn>
              <a:cxn ang="0">
                <a:pos x="15" y="9"/>
              </a:cxn>
              <a:cxn ang="0">
                <a:pos x="14" y="10"/>
              </a:cxn>
              <a:cxn ang="0">
                <a:pos x="12" y="11"/>
              </a:cxn>
              <a:cxn ang="0">
                <a:pos x="11" y="12"/>
              </a:cxn>
              <a:cxn ang="0">
                <a:pos x="10" y="12"/>
              </a:cxn>
              <a:cxn ang="0">
                <a:pos x="9" y="10"/>
              </a:cxn>
              <a:cxn ang="0">
                <a:pos x="10" y="9"/>
              </a:cxn>
              <a:cxn ang="0">
                <a:pos x="11" y="8"/>
              </a:cxn>
              <a:cxn ang="0">
                <a:pos x="10" y="7"/>
              </a:cxn>
              <a:cxn ang="0">
                <a:pos x="9" y="8"/>
              </a:cxn>
              <a:cxn ang="0">
                <a:pos x="10" y="6"/>
              </a:cxn>
              <a:cxn ang="0">
                <a:pos x="11" y="5"/>
              </a:cxn>
              <a:cxn ang="0">
                <a:pos x="11" y="4"/>
              </a:cxn>
              <a:cxn ang="0">
                <a:pos x="13" y="3"/>
              </a:cxn>
              <a:cxn ang="0">
                <a:pos x="17" y="2"/>
              </a:cxn>
              <a:cxn ang="0">
                <a:pos x="20" y="2"/>
              </a:cxn>
              <a:cxn ang="0">
                <a:pos x="22" y="1"/>
              </a:cxn>
              <a:cxn ang="0">
                <a:pos x="24" y="1"/>
              </a:cxn>
              <a:cxn ang="0">
                <a:pos x="25" y="1"/>
              </a:cxn>
              <a:cxn ang="0">
                <a:pos x="27" y="1"/>
              </a:cxn>
              <a:cxn ang="0">
                <a:pos x="28" y="1"/>
              </a:cxn>
              <a:cxn ang="0">
                <a:pos x="30" y="0"/>
              </a:cxn>
              <a:cxn ang="0">
                <a:pos x="31" y="0"/>
              </a:cxn>
              <a:cxn ang="0">
                <a:pos x="32" y="1"/>
              </a:cxn>
              <a:cxn ang="0">
                <a:pos x="4" y="9"/>
              </a:cxn>
              <a:cxn ang="0">
                <a:pos x="2" y="10"/>
              </a:cxn>
              <a:cxn ang="0">
                <a:pos x="0" y="11"/>
              </a:cxn>
              <a:cxn ang="0">
                <a:pos x="1" y="12"/>
              </a:cxn>
              <a:cxn ang="0">
                <a:pos x="2" y="12"/>
              </a:cxn>
              <a:cxn ang="0">
                <a:pos x="3" y="13"/>
              </a:cxn>
              <a:cxn ang="0">
                <a:pos x="3" y="11"/>
              </a:cxn>
              <a:cxn ang="0">
                <a:pos x="4" y="10"/>
              </a:cxn>
              <a:cxn ang="0">
                <a:pos x="4" y="9"/>
              </a:cxn>
            </a:cxnLst>
            <a:rect l="0" t="0" r="r" b="b"/>
            <a:pathLst>
              <a:path w="33" h="13">
                <a:moveTo>
                  <a:pt x="32" y="1"/>
                </a:moveTo>
                <a:cubicBezTo>
                  <a:pt x="33" y="1"/>
                  <a:pt x="31" y="2"/>
                  <a:pt x="30" y="3"/>
                </a:cubicBezTo>
                <a:cubicBezTo>
                  <a:pt x="30" y="3"/>
                  <a:pt x="29" y="4"/>
                  <a:pt x="28" y="4"/>
                </a:cubicBezTo>
                <a:cubicBezTo>
                  <a:pt x="28" y="5"/>
                  <a:pt x="27" y="5"/>
                  <a:pt x="27" y="5"/>
                </a:cubicBezTo>
                <a:cubicBezTo>
                  <a:pt x="26" y="5"/>
                  <a:pt x="25" y="5"/>
                  <a:pt x="25" y="5"/>
                </a:cubicBezTo>
                <a:cubicBezTo>
                  <a:pt x="24" y="6"/>
                  <a:pt x="24" y="7"/>
                  <a:pt x="23" y="7"/>
                </a:cubicBezTo>
                <a:cubicBezTo>
                  <a:pt x="22" y="7"/>
                  <a:pt x="21" y="7"/>
                  <a:pt x="20" y="7"/>
                </a:cubicBezTo>
                <a:cubicBezTo>
                  <a:pt x="20" y="8"/>
                  <a:pt x="19" y="8"/>
                  <a:pt x="18" y="9"/>
                </a:cubicBezTo>
                <a:cubicBezTo>
                  <a:pt x="18" y="9"/>
                  <a:pt x="17" y="9"/>
                  <a:pt x="17" y="9"/>
                </a:cubicBezTo>
                <a:cubicBezTo>
                  <a:pt x="16" y="9"/>
                  <a:pt x="16" y="9"/>
                  <a:pt x="15" y="9"/>
                </a:cubicBezTo>
                <a:cubicBezTo>
                  <a:pt x="15" y="9"/>
                  <a:pt x="15" y="10"/>
                  <a:pt x="14" y="10"/>
                </a:cubicBezTo>
                <a:cubicBezTo>
                  <a:pt x="14" y="10"/>
                  <a:pt x="13" y="10"/>
                  <a:pt x="12" y="11"/>
                </a:cubicBezTo>
                <a:cubicBezTo>
                  <a:pt x="12" y="11"/>
                  <a:pt x="12" y="11"/>
                  <a:pt x="11" y="12"/>
                </a:cubicBezTo>
                <a:cubicBezTo>
                  <a:pt x="11" y="12"/>
                  <a:pt x="10" y="12"/>
                  <a:pt x="10" y="12"/>
                </a:cubicBezTo>
                <a:cubicBezTo>
                  <a:pt x="10" y="12"/>
                  <a:pt x="10" y="11"/>
                  <a:pt x="9" y="10"/>
                </a:cubicBezTo>
                <a:cubicBezTo>
                  <a:pt x="9" y="10"/>
                  <a:pt x="9" y="9"/>
                  <a:pt x="10" y="9"/>
                </a:cubicBezTo>
                <a:cubicBezTo>
                  <a:pt x="11" y="10"/>
                  <a:pt x="11" y="9"/>
                  <a:pt x="11" y="8"/>
                </a:cubicBezTo>
                <a:cubicBezTo>
                  <a:pt x="11" y="8"/>
                  <a:pt x="11" y="6"/>
                  <a:pt x="10" y="7"/>
                </a:cubicBezTo>
                <a:cubicBezTo>
                  <a:pt x="10" y="7"/>
                  <a:pt x="9" y="8"/>
                  <a:pt x="9" y="8"/>
                </a:cubicBezTo>
                <a:cubicBezTo>
                  <a:pt x="9" y="7"/>
                  <a:pt x="10" y="6"/>
                  <a:pt x="10" y="6"/>
                </a:cubicBezTo>
                <a:cubicBezTo>
                  <a:pt x="10" y="5"/>
                  <a:pt x="10" y="5"/>
                  <a:pt x="11" y="5"/>
                </a:cubicBezTo>
                <a:cubicBezTo>
                  <a:pt x="11" y="5"/>
                  <a:pt x="11" y="4"/>
                  <a:pt x="11" y="4"/>
                </a:cubicBezTo>
                <a:cubicBezTo>
                  <a:pt x="11" y="3"/>
                  <a:pt x="13" y="3"/>
                  <a:pt x="13" y="3"/>
                </a:cubicBezTo>
                <a:cubicBezTo>
                  <a:pt x="14" y="2"/>
                  <a:pt x="16" y="2"/>
                  <a:pt x="17" y="2"/>
                </a:cubicBezTo>
                <a:cubicBezTo>
                  <a:pt x="18" y="2"/>
                  <a:pt x="19" y="1"/>
                  <a:pt x="20" y="2"/>
                </a:cubicBezTo>
                <a:cubicBezTo>
                  <a:pt x="21" y="2"/>
                  <a:pt x="22" y="2"/>
                  <a:pt x="22" y="1"/>
                </a:cubicBezTo>
                <a:cubicBezTo>
                  <a:pt x="23" y="1"/>
                  <a:pt x="23" y="1"/>
                  <a:pt x="24" y="1"/>
                </a:cubicBezTo>
                <a:cubicBezTo>
                  <a:pt x="24" y="1"/>
                  <a:pt x="25" y="1"/>
                  <a:pt x="25" y="1"/>
                </a:cubicBezTo>
                <a:cubicBezTo>
                  <a:pt x="26" y="1"/>
                  <a:pt x="26" y="1"/>
                  <a:pt x="27" y="1"/>
                </a:cubicBezTo>
                <a:cubicBezTo>
                  <a:pt x="27" y="1"/>
                  <a:pt x="27" y="1"/>
                  <a:pt x="28" y="1"/>
                </a:cubicBezTo>
                <a:cubicBezTo>
                  <a:pt x="29" y="0"/>
                  <a:pt x="29" y="0"/>
                  <a:pt x="30" y="0"/>
                </a:cubicBezTo>
                <a:cubicBezTo>
                  <a:pt x="31" y="0"/>
                  <a:pt x="31" y="0"/>
                  <a:pt x="31" y="0"/>
                </a:cubicBezTo>
                <a:cubicBezTo>
                  <a:pt x="32" y="0"/>
                  <a:pt x="32" y="0"/>
                  <a:pt x="32" y="1"/>
                </a:cubicBezTo>
                <a:close/>
                <a:moveTo>
                  <a:pt x="4" y="9"/>
                </a:moveTo>
                <a:cubicBezTo>
                  <a:pt x="3" y="9"/>
                  <a:pt x="3" y="10"/>
                  <a:pt x="2" y="10"/>
                </a:cubicBezTo>
                <a:cubicBezTo>
                  <a:pt x="1" y="10"/>
                  <a:pt x="1" y="11"/>
                  <a:pt x="0" y="11"/>
                </a:cubicBezTo>
                <a:cubicBezTo>
                  <a:pt x="0" y="11"/>
                  <a:pt x="1" y="12"/>
                  <a:pt x="1" y="12"/>
                </a:cubicBezTo>
                <a:cubicBezTo>
                  <a:pt x="2" y="11"/>
                  <a:pt x="2" y="11"/>
                  <a:pt x="2" y="12"/>
                </a:cubicBezTo>
                <a:cubicBezTo>
                  <a:pt x="2" y="12"/>
                  <a:pt x="2" y="13"/>
                  <a:pt x="3" y="13"/>
                </a:cubicBezTo>
                <a:cubicBezTo>
                  <a:pt x="3" y="12"/>
                  <a:pt x="3" y="12"/>
                  <a:pt x="3" y="11"/>
                </a:cubicBezTo>
                <a:cubicBezTo>
                  <a:pt x="4" y="11"/>
                  <a:pt x="4" y="11"/>
                  <a:pt x="4" y="10"/>
                </a:cubicBezTo>
                <a:cubicBezTo>
                  <a:pt x="4" y="10"/>
                  <a:pt x="5" y="9"/>
                  <a:pt x="4" y="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0" name="Djibouti"/>
          <p:cNvSpPr>
            <a:spLocks/>
          </p:cNvSpPr>
          <p:nvPr/>
        </p:nvSpPr>
        <p:spPr bwMode="auto">
          <a:xfrm>
            <a:off x="7248028" y="4160956"/>
            <a:ext cx="60998" cy="68998"/>
          </a:xfrm>
          <a:custGeom>
            <a:avLst/>
            <a:gdLst/>
            <a:ahLst/>
            <a:cxnLst>
              <a:cxn ang="0">
                <a:pos x="10" y="12"/>
              </a:cxn>
              <a:cxn ang="0">
                <a:pos x="11" y="11"/>
              </a:cxn>
              <a:cxn ang="0">
                <a:pos x="13" y="10"/>
              </a:cxn>
              <a:cxn ang="0">
                <a:pos x="14" y="8"/>
              </a:cxn>
              <a:cxn ang="0">
                <a:pos x="17" y="6"/>
              </a:cxn>
              <a:cxn ang="0">
                <a:pos x="16" y="2"/>
              </a:cxn>
              <a:cxn ang="0">
                <a:pos x="14" y="0"/>
              </a:cxn>
              <a:cxn ang="0">
                <a:pos x="11" y="1"/>
              </a:cxn>
              <a:cxn ang="0">
                <a:pos x="10" y="3"/>
              </a:cxn>
              <a:cxn ang="0">
                <a:pos x="8" y="2"/>
              </a:cxn>
              <a:cxn ang="0">
                <a:pos x="6" y="3"/>
              </a:cxn>
              <a:cxn ang="0">
                <a:pos x="4" y="7"/>
              </a:cxn>
              <a:cxn ang="0">
                <a:pos x="2" y="10"/>
              </a:cxn>
              <a:cxn ang="0">
                <a:pos x="2" y="17"/>
              </a:cxn>
              <a:cxn ang="0">
                <a:pos x="2" y="19"/>
              </a:cxn>
              <a:cxn ang="0">
                <a:pos x="4" y="19"/>
              </a:cxn>
              <a:cxn ang="0">
                <a:pos x="5" y="18"/>
              </a:cxn>
              <a:cxn ang="0">
                <a:pos x="9" y="17"/>
              </a:cxn>
              <a:cxn ang="0">
                <a:pos x="11" y="18"/>
              </a:cxn>
              <a:cxn ang="0">
                <a:pos x="13" y="18"/>
              </a:cxn>
              <a:cxn ang="0">
                <a:pos x="14" y="16"/>
              </a:cxn>
              <a:cxn ang="0">
                <a:pos x="15" y="13"/>
              </a:cxn>
              <a:cxn ang="0">
                <a:pos x="15" y="13"/>
              </a:cxn>
              <a:cxn ang="0">
                <a:pos x="14" y="12"/>
              </a:cxn>
              <a:cxn ang="0">
                <a:pos x="13" y="12"/>
              </a:cxn>
              <a:cxn ang="0">
                <a:pos x="10" y="12"/>
              </a:cxn>
              <a:cxn ang="0">
                <a:pos x="9" y="13"/>
              </a:cxn>
              <a:cxn ang="0">
                <a:pos x="8" y="12"/>
              </a:cxn>
              <a:cxn ang="0">
                <a:pos x="10" y="12"/>
              </a:cxn>
            </a:cxnLst>
            <a:rect l="0" t="0" r="r" b="b"/>
            <a:pathLst>
              <a:path w="17" h="19">
                <a:moveTo>
                  <a:pt x="10" y="12"/>
                </a:moveTo>
                <a:cubicBezTo>
                  <a:pt x="10" y="12"/>
                  <a:pt x="10" y="11"/>
                  <a:pt x="11" y="11"/>
                </a:cubicBezTo>
                <a:cubicBezTo>
                  <a:pt x="11" y="10"/>
                  <a:pt x="12" y="10"/>
                  <a:pt x="13" y="10"/>
                </a:cubicBezTo>
                <a:cubicBezTo>
                  <a:pt x="13" y="10"/>
                  <a:pt x="14" y="9"/>
                  <a:pt x="14" y="8"/>
                </a:cubicBezTo>
                <a:cubicBezTo>
                  <a:pt x="15" y="7"/>
                  <a:pt x="17" y="8"/>
                  <a:pt x="17" y="6"/>
                </a:cubicBezTo>
                <a:cubicBezTo>
                  <a:pt x="17" y="5"/>
                  <a:pt x="16" y="4"/>
                  <a:pt x="16" y="2"/>
                </a:cubicBezTo>
                <a:cubicBezTo>
                  <a:pt x="15" y="2"/>
                  <a:pt x="14" y="0"/>
                  <a:pt x="14" y="0"/>
                </a:cubicBezTo>
                <a:cubicBezTo>
                  <a:pt x="13" y="0"/>
                  <a:pt x="12" y="0"/>
                  <a:pt x="11" y="1"/>
                </a:cubicBezTo>
                <a:cubicBezTo>
                  <a:pt x="11" y="2"/>
                  <a:pt x="11" y="2"/>
                  <a:pt x="10" y="3"/>
                </a:cubicBezTo>
                <a:cubicBezTo>
                  <a:pt x="9" y="4"/>
                  <a:pt x="9" y="2"/>
                  <a:pt x="8" y="2"/>
                </a:cubicBezTo>
                <a:cubicBezTo>
                  <a:pt x="7" y="2"/>
                  <a:pt x="6" y="3"/>
                  <a:pt x="6" y="3"/>
                </a:cubicBezTo>
                <a:cubicBezTo>
                  <a:pt x="6" y="5"/>
                  <a:pt x="5" y="6"/>
                  <a:pt x="4" y="7"/>
                </a:cubicBezTo>
                <a:cubicBezTo>
                  <a:pt x="3" y="8"/>
                  <a:pt x="3" y="9"/>
                  <a:pt x="2" y="10"/>
                </a:cubicBezTo>
                <a:cubicBezTo>
                  <a:pt x="0" y="11"/>
                  <a:pt x="2" y="15"/>
                  <a:pt x="2" y="17"/>
                </a:cubicBezTo>
                <a:cubicBezTo>
                  <a:pt x="2" y="18"/>
                  <a:pt x="1" y="19"/>
                  <a:pt x="2" y="19"/>
                </a:cubicBezTo>
                <a:cubicBezTo>
                  <a:pt x="3" y="19"/>
                  <a:pt x="3" y="19"/>
                  <a:pt x="4" y="19"/>
                </a:cubicBezTo>
                <a:cubicBezTo>
                  <a:pt x="4" y="19"/>
                  <a:pt x="5" y="18"/>
                  <a:pt x="5" y="18"/>
                </a:cubicBezTo>
                <a:cubicBezTo>
                  <a:pt x="6" y="19"/>
                  <a:pt x="8" y="18"/>
                  <a:pt x="9" y="17"/>
                </a:cubicBezTo>
                <a:cubicBezTo>
                  <a:pt x="9" y="17"/>
                  <a:pt x="11" y="17"/>
                  <a:pt x="11" y="18"/>
                </a:cubicBezTo>
                <a:cubicBezTo>
                  <a:pt x="11" y="19"/>
                  <a:pt x="12" y="19"/>
                  <a:pt x="13" y="18"/>
                </a:cubicBezTo>
                <a:cubicBezTo>
                  <a:pt x="13" y="17"/>
                  <a:pt x="14" y="17"/>
                  <a:pt x="14" y="16"/>
                </a:cubicBezTo>
                <a:cubicBezTo>
                  <a:pt x="14" y="15"/>
                  <a:pt x="15" y="14"/>
                  <a:pt x="15" y="13"/>
                </a:cubicBezTo>
                <a:cubicBezTo>
                  <a:pt x="15" y="13"/>
                  <a:pt x="15" y="13"/>
                  <a:pt x="15" y="13"/>
                </a:cubicBezTo>
                <a:cubicBezTo>
                  <a:pt x="15" y="12"/>
                  <a:pt x="15" y="12"/>
                  <a:pt x="14" y="12"/>
                </a:cubicBezTo>
                <a:cubicBezTo>
                  <a:pt x="14" y="12"/>
                  <a:pt x="13" y="12"/>
                  <a:pt x="13" y="12"/>
                </a:cubicBezTo>
                <a:cubicBezTo>
                  <a:pt x="12" y="12"/>
                  <a:pt x="11" y="12"/>
                  <a:pt x="10" y="12"/>
                </a:cubicBezTo>
                <a:cubicBezTo>
                  <a:pt x="9" y="13"/>
                  <a:pt x="10" y="13"/>
                  <a:pt x="9" y="13"/>
                </a:cubicBezTo>
                <a:cubicBezTo>
                  <a:pt x="9" y="13"/>
                  <a:pt x="9" y="12"/>
                  <a:pt x="8" y="12"/>
                </a:cubicBezTo>
                <a:cubicBezTo>
                  <a:pt x="9" y="12"/>
                  <a:pt x="9" y="13"/>
                  <a:pt x="10" y="1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1" name="Domincan Republic"/>
          <p:cNvSpPr>
            <a:spLocks noEditPoints="1"/>
          </p:cNvSpPr>
          <p:nvPr/>
        </p:nvSpPr>
        <p:spPr bwMode="auto">
          <a:xfrm>
            <a:off x="3310175" y="3867967"/>
            <a:ext cx="129995" cy="97997"/>
          </a:xfrm>
          <a:custGeom>
            <a:avLst/>
            <a:gdLst/>
            <a:ahLst/>
            <a:cxnLst>
              <a:cxn ang="0">
                <a:pos x="4" y="27"/>
              </a:cxn>
              <a:cxn ang="0">
                <a:pos x="35" y="14"/>
              </a:cxn>
              <a:cxn ang="0">
                <a:pos x="33" y="12"/>
              </a:cxn>
              <a:cxn ang="0">
                <a:pos x="30" y="12"/>
              </a:cxn>
              <a:cxn ang="0">
                <a:pos x="29" y="11"/>
              </a:cxn>
              <a:cxn ang="0">
                <a:pos x="27" y="11"/>
              </a:cxn>
              <a:cxn ang="0">
                <a:pos x="26" y="11"/>
              </a:cxn>
              <a:cxn ang="0">
                <a:pos x="24" y="10"/>
              </a:cxn>
              <a:cxn ang="0">
                <a:pos x="27" y="9"/>
              </a:cxn>
              <a:cxn ang="0">
                <a:pos x="28" y="8"/>
              </a:cxn>
              <a:cxn ang="0">
                <a:pos x="27" y="8"/>
              </a:cxn>
              <a:cxn ang="0">
                <a:pos x="25" y="8"/>
              </a:cxn>
              <a:cxn ang="0">
                <a:pos x="22" y="4"/>
              </a:cxn>
              <a:cxn ang="0">
                <a:pos x="18" y="4"/>
              </a:cxn>
              <a:cxn ang="0">
                <a:pos x="16" y="3"/>
              </a:cxn>
              <a:cxn ang="0">
                <a:pos x="13" y="2"/>
              </a:cxn>
              <a:cxn ang="0">
                <a:pos x="10" y="2"/>
              </a:cxn>
              <a:cxn ang="0">
                <a:pos x="6" y="2"/>
              </a:cxn>
              <a:cxn ang="0">
                <a:pos x="5" y="4"/>
              </a:cxn>
              <a:cxn ang="0">
                <a:pos x="5" y="7"/>
              </a:cxn>
              <a:cxn ang="0">
                <a:pos x="4" y="11"/>
              </a:cxn>
              <a:cxn ang="0">
                <a:pos x="3" y="12"/>
              </a:cxn>
              <a:cxn ang="0">
                <a:pos x="2" y="16"/>
              </a:cxn>
              <a:cxn ang="0">
                <a:pos x="2" y="17"/>
              </a:cxn>
              <a:cxn ang="0">
                <a:pos x="3" y="19"/>
              </a:cxn>
              <a:cxn ang="0">
                <a:pos x="2" y="21"/>
              </a:cxn>
              <a:cxn ang="0">
                <a:pos x="3" y="23"/>
              </a:cxn>
              <a:cxn ang="0">
                <a:pos x="4" y="26"/>
              </a:cxn>
              <a:cxn ang="0">
                <a:pos x="6" y="24"/>
              </a:cxn>
              <a:cxn ang="0">
                <a:pos x="9" y="21"/>
              </a:cxn>
              <a:cxn ang="0">
                <a:pos x="11" y="20"/>
              </a:cxn>
              <a:cxn ang="0">
                <a:pos x="13" y="18"/>
              </a:cxn>
              <a:cxn ang="0">
                <a:pos x="14" y="20"/>
              </a:cxn>
              <a:cxn ang="0">
                <a:pos x="17" y="20"/>
              </a:cxn>
              <a:cxn ang="0">
                <a:pos x="20" y="18"/>
              </a:cxn>
              <a:cxn ang="0">
                <a:pos x="23" y="18"/>
              </a:cxn>
              <a:cxn ang="0">
                <a:pos x="26" y="18"/>
              </a:cxn>
              <a:cxn ang="0">
                <a:pos x="29" y="18"/>
              </a:cxn>
              <a:cxn ang="0">
                <a:pos x="31" y="20"/>
              </a:cxn>
              <a:cxn ang="0">
                <a:pos x="34" y="18"/>
              </a:cxn>
              <a:cxn ang="0">
                <a:pos x="35" y="14"/>
              </a:cxn>
              <a:cxn ang="0">
                <a:pos x="31" y="21"/>
              </a:cxn>
              <a:cxn ang="0">
                <a:pos x="31" y="20"/>
              </a:cxn>
            </a:cxnLst>
            <a:rect l="0" t="0" r="r" b="b"/>
            <a:pathLst>
              <a:path w="36" h="27">
                <a:moveTo>
                  <a:pt x="5" y="27"/>
                </a:moveTo>
                <a:cubicBezTo>
                  <a:pt x="4" y="27"/>
                  <a:pt x="4" y="27"/>
                  <a:pt x="4" y="27"/>
                </a:cubicBezTo>
                <a:cubicBezTo>
                  <a:pt x="4" y="27"/>
                  <a:pt x="4" y="26"/>
                  <a:pt x="5" y="27"/>
                </a:cubicBezTo>
                <a:close/>
                <a:moveTo>
                  <a:pt x="35" y="14"/>
                </a:moveTo>
                <a:cubicBezTo>
                  <a:pt x="34" y="14"/>
                  <a:pt x="34" y="14"/>
                  <a:pt x="34" y="13"/>
                </a:cubicBezTo>
                <a:cubicBezTo>
                  <a:pt x="34" y="13"/>
                  <a:pt x="33" y="13"/>
                  <a:pt x="33" y="12"/>
                </a:cubicBezTo>
                <a:cubicBezTo>
                  <a:pt x="32" y="12"/>
                  <a:pt x="32" y="12"/>
                  <a:pt x="31" y="11"/>
                </a:cubicBezTo>
                <a:cubicBezTo>
                  <a:pt x="30" y="11"/>
                  <a:pt x="30" y="11"/>
                  <a:pt x="30" y="12"/>
                </a:cubicBezTo>
                <a:cubicBezTo>
                  <a:pt x="29" y="12"/>
                  <a:pt x="29" y="11"/>
                  <a:pt x="29" y="11"/>
                </a:cubicBezTo>
                <a:cubicBezTo>
                  <a:pt x="29" y="11"/>
                  <a:pt x="29" y="11"/>
                  <a:pt x="29" y="11"/>
                </a:cubicBezTo>
                <a:cubicBezTo>
                  <a:pt x="28" y="11"/>
                  <a:pt x="28" y="11"/>
                  <a:pt x="28" y="11"/>
                </a:cubicBezTo>
                <a:cubicBezTo>
                  <a:pt x="28" y="11"/>
                  <a:pt x="27" y="11"/>
                  <a:pt x="27" y="11"/>
                </a:cubicBezTo>
                <a:cubicBezTo>
                  <a:pt x="27" y="11"/>
                  <a:pt x="26" y="11"/>
                  <a:pt x="26" y="10"/>
                </a:cubicBezTo>
                <a:cubicBezTo>
                  <a:pt x="26" y="10"/>
                  <a:pt x="25" y="10"/>
                  <a:pt x="26" y="11"/>
                </a:cubicBezTo>
                <a:cubicBezTo>
                  <a:pt x="25" y="11"/>
                  <a:pt x="25" y="10"/>
                  <a:pt x="24" y="10"/>
                </a:cubicBezTo>
                <a:cubicBezTo>
                  <a:pt x="24" y="11"/>
                  <a:pt x="24" y="10"/>
                  <a:pt x="24" y="10"/>
                </a:cubicBezTo>
                <a:cubicBezTo>
                  <a:pt x="24" y="10"/>
                  <a:pt x="24" y="9"/>
                  <a:pt x="25" y="9"/>
                </a:cubicBezTo>
                <a:cubicBezTo>
                  <a:pt x="26" y="9"/>
                  <a:pt x="27" y="9"/>
                  <a:pt x="27" y="9"/>
                </a:cubicBezTo>
                <a:cubicBezTo>
                  <a:pt x="28" y="10"/>
                  <a:pt x="29" y="9"/>
                  <a:pt x="29" y="8"/>
                </a:cubicBezTo>
                <a:cubicBezTo>
                  <a:pt x="29" y="8"/>
                  <a:pt x="28" y="8"/>
                  <a:pt x="28" y="8"/>
                </a:cubicBezTo>
                <a:cubicBezTo>
                  <a:pt x="28" y="8"/>
                  <a:pt x="29" y="7"/>
                  <a:pt x="28" y="7"/>
                </a:cubicBezTo>
                <a:cubicBezTo>
                  <a:pt x="28" y="7"/>
                  <a:pt x="27" y="8"/>
                  <a:pt x="27" y="8"/>
                </a:cubicBezTo>
                <a:cubicBezTo>
                  <a:pt x="27" y="8"/>
                  <a:pt x="27" y="8"/>
                  <a:pt x="26" y="8"/>
                </a:cubicBezTo>
                <a:cubicBezTo>
                  <a:pt x="26" y="8"/>
                  <a:pt x="26" y="8"/>
                  <a:pt x="25" y="8"/>
                </a:cubicBezTo>
                <a:cubicBezTo>
                  <a:pt x="24" y="8"/>
                  <a:pt x="23" y="9"/>
                  <a:pt x="22" y="7"/>
                </a:cubicBezTo>
                <a:cubicBezTo>
                  <a:pt x="22" y="6"/>
                  <a:pt x="23" y="5"/>
                  <a:pt x="22" y="4"/>
                </a:cubicBezTo>
                <a:cubicBezTo>
                  <a:pt x="21" y="4"/>
                  <a:pt x="21" y="4"/>
                  <a:pt x="20" y="4"/>
                </a:cubicBezTo>
                <a:cubicBezTo>
                  <a:pt x="20" y="5"/>
                  <a:pt x="19" y="4"/>
                  <a:pt x="18" y="4"/>
                </a:cubicBezTo>
                <a:cubicBezTo>
                  <a:pt x="18" y="4"/>
                  <a:pt x="18" y="3"/>
                  <a:pt x="17" y="3"/>
                </a:cubicBezTo>
                <a:cubicBezTo>
                  <a:pt x="17" y="3"/>
                  <a:pt x="16" y="3"/>
                  <a:pt x="16" y="3"/>
                </a:cubicBezTo>
                <a:cubicBezTo>
                  <a:pt x="15" y="3"/>
                  <a:pt x="15" y="2"/>
                  <a:pt x="14" y="2"/>
                </a:cubicBezTo>
                <a:cubicBezTo>
                  <a:pt x="14" y="2"/>
                  <a:pt x="13" y="1"/>
                  <a:pt x="13" y="2"/>
                </a:cubicBezTo>
                <a:cubicBezTo>
                  <a:pt x="12" y="2"/>
                  <a:pt x="12" y="1"/>
                  <a:pt x="12" y="1"/>
                </a:cubicBezTo>
                <a:cubicBezTo>
                  <a:pt x="11" y="2"/>
                  <a:pt x="11" y="2"/>
                  <a:pt x="10" y="2"/>
                </a:cubicBezTo>
                <a:cubicBezTo>
                  <a:pt x="11" y="2"/>
                  <a:pt x="10" y="2"/>
                  <a:pt x="10" y="2"/>
                </a:cubicBezTo>
                <a:cubicBezTo>
                  <a:pt x="8" y="3"/>
                  <a:pt x="8" y="0"/>
                  <a:pt x="6" y="2"/>
                </a:cubicBezTo>
                <a:cubicBezTo>
                  <a:pt x="5" y="2"/>
                  <a:pt x="4" y="3"/>
                  <a:pt x="5" y="3"/>
                </a:cubicBezTo>
                <a:cubicBezTo>
                  <a:pt x="5" y="3"/>
                  <a:pt x="5" y="4"/>
                  <a:pt x="5" y="4"/>
                </a:cubicBezTo>
                <a:cubicBezTo>
                  <a:pt x="5" y="4"/>
                  <a:pt x="5" y="5"/>
                  <a:pt x="5" y="5"/>
                </a:cubicBezTo>
                <a:cubicBezTo>
                  <a:pt x="5" y="6"/>
                  <a:pt x="5" y="6"/>
                  <a:pt x="5" y="7"/>
                </a:cubicBezTo>
                <a:cubicBezTo>
                  <a:pt x="4" y="8"/>
                  <a:pt x="4" y="8"/>
                  <a:pt x="5" y="9"/>
                </a:cubicBezTo>
                <a:cubicBezTo>
                  <a:pt x="5" y="9"/>
                  <a:pt x="5" y="10"/>
                  <a:pt x="4" y="11"/>
                </a:cubicBezTo>
                <a:cubicBezTo>
                  <a:pt x="4" y="11"/>
                  <a:pt x="4" y="11"/>
                  <a:pt x="3" y="11"/>
                </a:cubicBezTo>
                <a:cubicBezTo>
                  <a:pt x="3" y="12"/>
                  <a:pt x="3" y="12"/>
                  <a:pt x="3" y="12"/>
                </a:cubicBezTo>
                <a:cubicBezTo>
                  <a:pt x="4" y="11"/>
                  <a:pt x="4" y="14"/>
                  <a:pt x="3" y="15"/>
                </a:cubicBezTo>
                <a:cubicBezTo>
                  <a:pt x="3" y="15"/>
                  <a:pt x="3" y="15"/>
                  <a:pt x="2" y="16"/>
                </a:cubicBezTo>
                <a:cubicBezTo>
                  <a:pt x="2" y="16"/>
                  <a:pt x="2" y="16"/>
                  <a:pt x="1" y="16"/>
                </a:cubicBezTo>
                <a:cubicBezTo>
                  <a:pt x="0" y="16"/>
                  <a:pt x="1" y="17"/>
                  <a:pt x="2" y="17"/>
                </a:cubicBezTo>
                <a:cubicBezTo>
                  <a:pt x="2" y="18"/>
                  <a:pt x="2" y="18"/>
                  <a:pt x="2" y="18"/>
                </a:cubicBezTo>
                <a:cubicBezTo>
                  <a:pt x="2" y="18"/>
                  <a:pt x="3" y="19"/>
                  <a:pt x="3" y="19"/>
                </a:cubicBezTo>
                <a:cubicBezTo>
                  <a:pt x="3" y="19"/>
                  <a:pt x="3" y="20"/>
                  <a:pt x="3" y="20"/>
                </a:cubicBezTo>
                <a:cubicBezTo>
                  <a:pt x="2" y="20"/>
                  <a:pt x="2" y="21"/>
                  <a:pt x="2" y="21"/>
                </a:cubicBezTo>
                <a:cubicBezTo>
                  <a:pt x="3" y="22"/>
                  <a:pt x="2" y="22"/>
                  <a:pt x="3" y="22"/>
                </a:cubicBezTo>
                <a:cubicBezTo>
                  <a:pt x="3" y="22"/>
                  <a:pt x="3" y="23"/>
                  <a:pt x="3" y="23"/>
                </a:cubicBezTo>
                <a:cubicBezTo>
                  <a:pt x="3" y="24"/>
                  <a:pt x="3" y="24"/>
                  <a:pt x="3" y="25"/>
                </a:cubicBezTo>
                <a:cubicBezTo>
                  <a:pt x="3" y="25"/>
                  <a:pt x="4" y="25"/>
                  <a:pt x="4" y="26"/>
                </a:cubicBezTo>
                <a:cubicBezTo>
                  <a:pt x="5" y="26"/>
                  <a:pt x="5" y="27"/>
                  <a:pt x="5" y="27"/>
                </a:cubicBezTo>
                <a:cubicBezTo>
                  <a:pt x="6" y="26"/>
                  <a:pt x="6" y="25"/>
                  <a:pt x="6" y="24"/>
                </a:cubicBezTo>
                <a:cubicBezTo>
                  <a:pt x="7" y="24"/>
                  <a:pt x="7" y="24"/>
                  <a:pt x="7" y="23"/>
                </a:cubicBezTo>
                <a:cubicBezTo>
                  <a:pt x="8" y="23"/>
                  <a:pt x="9" y="22"/>
                  <a:pt x="9" y="21"/>
                </a:cubicBezTo>
                <a:cubicBezTo>
                  <a:pt x="9" y="20"/>
                  <a:pt x="9" y="19"/>
                  <a:pt x="9" y="19"/>
                </a:cubicBezTo>
                <a:cubicBezTo>
                  <a:pt x="10" y="19"/>
                  <a:pt x="10" y="20"/>
                  <a:pt x="11" y="20"/>
                </a:cubicBezTo>
                <a:cubicBezTo>
                  <a:pt x="11" y="19"/>
                  <a:pt x="11" y="19"/>
                  <a:pt x="12" y="19"/>
                </a:cubicBezTo>
                <a:cubicBezTo>
                  <a:pt x="13" y="18"/>
                  <a:pt x="12" y="18"/>
                  <a:pt x="13" y="18"/>
                </a:cubicBezTo>
                <a:cubicBezTo>
                  <a:pt x="14" y="17"/>
                  <a:pt x="14" y="19"/>
                  <a:pt x="14" y="19"/>
                </a:cubicBezTo>
                <a:cubicBezTo>
                  <a:pt x="14" y="19"/>
                  <a:pt x="14" y="20"/>
                  <a:pt x="14" y="20"/>
                </a:cubicBezTo>
                <a:cubicBezTo>
                  <a:pt x="14" y="20"/>
                  <a:pt x="15" y="20"/>
                  <a:pt x="15" y="20"/>
                </a:cubicBezTo>
                <a:cubicBezTo>
                  <a:pt x="16" y="20"/>
                  <a:pt x="16" y="20"/>
                  <a:pt x="17" y="20"/>
                </a:cubicBezTo>
                <a:cubicBezTo>
                  <a:pt x="18" y="20"/>
                  <a:pt x="18" y="19"/>
                  <a:pt x="19" y="19"/>
                </a:cubicBezTo>
                <a:cubicBezTo>
                  <a:pt x="19" y="18"/>
                  <a:pt x="20" y="18"/>
                  <a:pt x="20" y="18"/>
                </a:cubicBezTo>
                <a:cubicBezTo>
                  <a:pt x="21" y="17"/>
                  <a:pt x="22" y="17"/>
                  <a:pt x="23" y="18"/>
                </a:cubicBezTo>
                <a:cubicBezTo>
                  <a:pt x="23" y="18"/>
                  <a:pt x="23" y="18"/>
                  <a:pt x="23" y="18"/>
                </a:cubicBezTo>
                <a:cubicBezTo>
                  <a:pt x="23" y="17"/>
                  <a:pt x="24" y="18"/>
                  <a:pt x="24" y="18"/>
                </a:cubicBezTo>
                <a:cubicBezTo>
                  <a:pt x="24" y="18"/>
                  <a:pt x="25" y="18"/>
                  <a:pt x="26" y="18"/>
                </a:cubicBezTo>
                <a:cubicBezTo>
                  <a:pt x="26" y="18"/>
                  <a:pt x="27" y="17"/>
                  <a:pt x="27" y="18"/>
                </a:cubicBezTo>
                <a:cubicBezTo>
                  <a:pt x="28" y="18"/>
                  <a:pt x="29" y="18"/>
                  <a:pt x="29" y="18"/>
                </a:cubicBezTo>
                <a:cubicBezTo>
                  <a:pt x="30" y="18"/>
                  <a:pt x="31" y="18"/>
                  <a:pt x="31" y="19"/>
                </a:cubicBezTo>
                <a:cubicBezTo>
                  <a:pt x="31" y="19"/>
                  <a:pt x="31" y="20"/>
                  <a:pt x="31" y="20"/>
                </a:cubicBezTo>
                <a:cubicBezTo>
                  <a:pt x="33" y="21"/>
                  <a:pt x="33" y="18"/>
                  <a:pt x="33" y="18"/>
                </a:cubicBezTo>
                <a:cubicBezTo>
                  <a:pt x="34" y="18"/>
                  <a:pt x="34" y="19"/>
                  <a:pt x="34" y="18"/>
                </a:cubicBezTo>
                <a:cubicBezTo>
                  <a:pt x="35" y="18"/>
                  <a:pt x="35" y="17"/>
                  <a:pt x="35" y="17"/>
                </a:cubicBezTo>
                <a:cubicBezTo>
                  <a:pt x="36" y="16"/>
                  <a:pt x="36" y="15"/>
                  <a:pt x="35" y="14"/>
                </a:cubicBezTo>
                <a:close/>
                <a:moveTo>
                  <a:pt x="31" y="20"/>
                </a:moveTo>
                <a:cubicBezTo>
                  <a:pt x="31" y="20"/>
                  <a:pt x="31" y="21"/>
                  <a:pt x="31" y="21"/>
                </a:cubicBezTo>
                <a:cubicBezTo>
                  <a:pt x="32" y="21"/>
                  <a:pt x="32" y="21"/>
                  <a:pt x="33" y="21"/>
                </a:cubicBezTo>
                <a:cubicBezTo>
                  <a:pt x="33" y="21"/>
                  <a:pt x="32" y="20"/>
                  <a:pt x="31" y="2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2" name="Dominica"/>
          <p:cNvSpPr>
            <a:spLocks/>
          </p:cNvSpPr>
          <p:nvPr/>
        </p:nvSpPr>
        <p:spPr bwMode="auto">
          <a:xfrm>
            <a:off x="3661163" y="4041960"/>
            <a:ext cx="9999" cy="21000"/>
          </a:xfrm>
          <a:custGeom>
            <a:avLst/>
            <a:gdLst/>
            <a:ahLst/>
            <a:cxnLst>
              <a:cxn ang="0">
                <a:pos x="3" y="2"/>
              </a:cxn>
              <a:cxn ang="0">
                <a:pos x="2" y="1"/>
              </a:cxn>
              <a:cxn ang="0">
                <a:pos x="1" y="0"/>
              </a:cxn>
              <a:cxn ang="0">
                <a:pos x="2" y="4"/>
              </a:cxn>
              <a:cxn ang="0">
                <a:pos x="2" y="5"/>
              </a:cxn>
              <a:cxn ang="0">
                <a:pos x="3" y="3"/>
              </a:cxn>
              <a:cxn ang="0">
                <a:pos x="3" y="2"/>
              </a:cxn>
            </a:cxnLst>
            <a:rect l="0" t="0" r="r" b="b"/>
            <a:pathLst>
              <a:path w="3" h="6">
                <a:moveTo>
                  <a:pt x="3" y="2"/>
                </a:moveTo>
                <a:cubicBezTo>
                  <a:pt x="3" y="2"/>
                  <a:pt x="3" y="1"/>
                  <a:pt x="2" y="1"/>
                </a:cubicBezTo>
                <a:cubicBezTo>
                  <a:pt x="2" y="1"/>
                  <a:pt x="2" y="1"/>
                  <a:pt x="1" y="0"/>
                </a:cubicBezTo>
                <a:cubicBezTo>
                  <a:pt x="0" y="1"/>
                  <a:pt x="2" y="3"/>
                  <a:pt x="2" y="4"/>
                </a:cubicBezTo>
                <a:cubicBezTo>
                  <a:pt x="2" y="4"/>
                  <a:pt x="1" y="6"/>
                  <a:pt x="2" y="5"/>
                </a:cubicBezTo>
                <a:cubicBezTo>
                  <a:pt x="3" y="4"/>
                  <a:pt x="3" y="4"/>
                  <a:pt x="3" y="3"/>
                </a:cubicBezTo>
                <a:cubicBezTo>
                  <a:pt x="3" y="3"/>
                  <a:pt x="3" y="2"/>
                  <a:pt x="3"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3" name="Denmark"/>
          <p:cNvSpPr>
            <a:spLocks noEditPoints="1"/>
          </p:cNvSpPr>
          <p:nvPr/>
        </p:nvSpPr>
        <p:spPr bwMode="auto">
          <a:xfrm>
            <a:off x="6088072" y="2392023"/>
            <a:ext cx="209992" cy="119995"/>
          </a:xfrm>
          <a:custGeom>
            <a:avLst/>
            <a:gdLst/>
            <a:ahLst/>
            <a:cxnLst>
              <a:cxn ang="0">
                <a:pos x="16" y="27"/>
              </a:cxn>
              <a:cxn ang="0">
                <a:pos x="14" y="24"/>
              </a:cxn>
              <a:cxn ang="0">
                <a:pos x="16" y="22"/>
              </a:cxn>
              <a:cxn ang="0">
                <a:pos x="20" y="23"/>
              </a:cxn>
              <a:cxn ang="0">
                <a:pos x="22" y="25"/>
              </a:cxn>
              <a:cxn ang="0">
                <a:pos x="54" y="26"/>
              </a:cxn>
              <a:cxn ang="0">
                <a:pos x="13" y="28"/>
              </a:cxn>
              <a:cxn ang="0">
                <a:pos x="15" y="29"/>
              </a:cxn>
              <a:cxn ang="0">
                <a:pos x="2" y="23"/>
              </a:cxn>
              <a:cxn ang="0">
                <a:pos x="13" y="26"/>
              </a:cxn>
              <a:cxn ang="0">
                <a:pos x="14" y="22"/>
              </a:cxn>
              <a:cxn ang="0">
                <a:pos x="16" y="21"/>
              </a:cxn>
              <a:cxn ang="0">
                <a:pos x="18" y="18"/>
              </a:cxn>
              <a:cxn ang="0">
                <a:pos x="18" y="16"/>
              </a:cxn>
              <a:cxn ang="0">
                <a:pos x="22" y="15"/>
              </a:cxn>
              <a:cxn ang="0">
                <a:pos x="18" y="12"/>
              </a:cxn>
              <a:cxn ang="0">
                <a:pos x="16" y="11"/>
              </a:cxn>
              <a:cxn ang="0">
                <a:pos x="20" y="5"/>
              </a:cxn>
              <a:cxn ang="0">
                <a:pos x="15" y="2"/>
              </a:cxn>
              <a:cxn ang="0">
                <a:pos x="1" y="11"/>
              </a:cxn>
              <a:cxn ang="0">
                <a:pos x="4" y="11"/>
              </a:cxn>
              <a:cxn ang="0">
                <a:pos x="8" y="7"/>
              </a:cxn>
              <a:cxn ang="0">
                <a:pos x="16" y="7"/>
              </a:cxn>
              <a:cxn ang="0">
                <a:pos x="9" y="9"/>
              </a:cxn>
              <a:cxn ang="0">
                <a:pos x="10" y="12"/>
              </a:cxn>
              <a:cxn ang="0">
                <a:pos x="8" y="12"/>
              </a:cxn>
              <a:cxn ang="0">
                <a:pos x="5" y="12"/>
              </a:cxn>
              <a:cxn ang="0">
                <a:pos x="1" y="11"/>
              </a:cxn>
              <a:cxn ang="0">
                <a:pos x="2" y="18"/>
              </a:cxn>
              <a:cxn ang="0">
                <a:pos x="2" y="22"/>
              </a:cxn>
              <a:cxn ang="0">
                <a:pos x="5" y="29"/>
              </a:cxn>
              <a:cxn ang="0">
                <a:pos x="12" y="29"/>
              </a:cxn>
              <a:cxn ang="0">
                <a:pos x="20" y="18"/>
              </a:cxn>
              <a:cxn ang="0">
                <a:pos x="34" y="17"/>
              </a:cxn>
              <a:cxn ang="0">
                <a:pos x="32" y="21"/>
              </a:cxn>
              <a:cxn ang="0">
                <a:pos x="30" y="21"/>
              </a:cxn>
              <a:cxn ang="0">
                <a:pos x="29" y="18"/>
              </a:cxn>
              <a:cxn ang="0">
                <a:pos x="25" y="21"/>
              </a:cxn>
              <a:cxn ang="0">
                <a:pos x="25" y="22"/>
              </a:cxn>
              <a:cxn ang="0">
                <a:pos x="25" y="25"/>
              </a:cxn>
              <a:cxn ang="0">
                <a:pos x="29" y="27"/>
              </a:cxn>
              <a:cxn ang="0">
                <a:pos x="30" y="29"/>
              </a:cxn>
              <a:cxn ang="0">
                <a:pos x="28" y="30"/>
              </a:cxn>
              <a:cxn ang="0">
                <a:pos x="25" y="31"/>
              </a:cxn>
              <a:cxn ang="0">
                <a:pos x="30" y="31"/>
              </a:cxn>
              <a:cxn ang="0">
                <a:pos x="32" y="29"/>
              </a:cxn>
              <a:cxn ang="0">
                <a:pos x="32" y="27"/>
              </a:cxn>
              <a:cxn ang="0">
                <a:pos x="35" y="22"/>
              </a:cxn>
              <a:cxn ang="0">
                <a:pos x="24" y="5"/>
              </a:cxn>
              <a:cxn ang="0">
                <a:pos x="6" y="11"/>
              </a:cxn>
              <a:cxn ang="0">
                <a:pos x="5" y="10"/>
              </a:cxn>
              <a:cxn ang="0">
                <a:pos x="35" y="29"/>
              </a:cxn>
              <a:cxn ang="0">
                <a:pos x="20" y="30"/>
              </a:cxn>
            </a:cxnLst>
            <a:rect l="0" t="0" r="r" b="b"/>
            <a:pathLst>
              <a:path w="58" h="33">
                <a:moveTo>
                  <a:pt x="21" y="28"/>
                </a:moveTo>
                <a:cubicBezTo>
                  <a:pt x="20" y="28"/>
                  <a:pt x="20" y="28"/>
                  <a:pt x="19" y="28"/>
                </a:cubicBezTo>
                <a:cubicBezTo>
                  <a:pt x="19" y="28"/>
                  <a:pt x="18" y="28"/>
                  <a:pt x="18" y="28"/>
                </a:cubicBezTo>
                <a:cubicBezTo>
                  <a:pt x="17" y="27"/>
                  <a:pt x="17" y="28"/>
                  <a:pt x="16" y="27"/>
                </a:cubicBezTo>
                <a:cubicBezTo>
                  <a:pt x="17" y="27"/>
                  <a:pt x="17" y="27"/>
                  <a:pt x="16" y="27"/>
                </a:cubicBezTo>
                <a:cubicBezTo>
                  <a:pt x="15" y="26"/>
                  <a:pt x="16" y="27"/>
                  <a:pt x="16" y="27"/>
                </a:cubicBezTo>
                <a:cubicBezTo>
                  <a:pt x="16" y="27"/>
                  <a:pt x="15" y="27"/>
                  <a:pt x="15" y="27"/>
                </a:cubicBezTo>
                <a:cubicBezTo>
                  <a:pt x="16" y="27"/>
                  <a:pt x="15" y="26"/>
                  <a:pt x="15" y="26"/>
                </a:cubicBezTo>
                <a:cubicBezTo>
                  <a:pt x="15" y="26"/>
                  <a:pt x="14" y="25"/>
                  <a:pt x="15" y="25"/>
                </a:cubicBezTo>
                <a:cubicBezTo>
                  <a:pt x="14" y="25"/>
                  <a:pt x="14" y="25"/>
                  <a:pt x="14" y="24"/>
                </a:cubicBezTo>
                <a:cubicBezTo>
                  <a:pt x="14" y="24"/>
                  <a:pt x="14" y="24"/>
                  <a:pt x="14" y="24"/>
                </a:cubicBezTo>
                <a:cubicBezTo>
                  <a:pt x="14" y="24"/>
                  <a:pt x="13" y="24"/>
                  <a:pt x="14" y="24"/>
                </a:cubicBezTo>
                <a:cubicBezTo>
                  <a:pt x="14" y="24"/>
                  <a:pt x="13" y="24"/>
                  <a:pt x="13" y="24"/>
                </a:cubicBezTo>
                <a:cubicBezTo>
                  <a:pt x="13" y="24"/>
                  <a:pt x="14" y="24"/>
                  <a:pt x="14" y="24"/>
                </a:cubicBezTo>
                <a:cubicBezTo>
                  <a:pt x="14" y="23"/>
                  <a:pt x="13" y="23"/>
                  <a:pt x="13" y="23"/>
                </a:cubicBezTo>
                <a:cubicBezTo>
                  <a:pt x="13" y="23"/>
                  <a:pt x="14" y="22"/>
                  <a:pt x="14" y="23"/>
                </a:cubicBezTo>
                <a:cubicBezTo>
                  <a:pt x="14" y="23"/>
                  <a:pt x="15" y="23"/>
                  <a:pt x="15" y="23"/>
                </a:cubicBezTo>
                <a:cubicBezTo>
                  <a:pt x="15" y="23"/>
                  <a:pt x="16" y="23"/>
                  <a:pt x="16" y="22"/>
                </a:cubicBezTo>
                <a:cubicBezTo>
                  <a:pt x="17" y="22"/>
                  <a:pt x="18" y="22"/>
                  <a:pt x="18" y="22"/>
                </a:cubicBezTo>
                <a:cubicBezTo>
                  <a:pt x="18" y="22"/>
                  <a:pt x="19" y="23"/>
                  <a:pt x="20" y="23"/>
                </a:cubicBezTo>
                <a:cubicBezTo>
                  <a:pt x="20" y="23"/>
                  <a:pt x="19" y="23"/>
                  <a:pt x="19" y="23"/>
                </a:cubicBezTo>
                <a:cubicBezTo>
                  <a:pt x="19" y="23"/>
                  <a:pt x="19" y="24"/>
                  <a:pt x="19" y="24"/>
                </a:cubicBezTo>
                <a:cubicBezTo>
                  <a:pt x="19" y="24"/>
                  <a:pt x="20" y="23"/>
                  <a:pt x="20" y="23"/>
                </a:cubicBezTo>
                <a:cubicBezTo>
                  <a:pt x="20" y="23"/>
                  <a:pt x="20" y="23"/>
                  <a:pt x="20" y="23"/>
                </a:cubicBezTo>
                <a:cubicBezTo>
                  <a:pt x="21" y="23"/>
                  <a:pt x="20" y="23"/>
                  <a:pt x="20" y="22"/>
                </a:cubicBezTo>
                <a:cubicBezTo>
                  <a:pt x="21" y="23"/>
                  <a:pt x="20" y="22"/>
                  <a:pt x="21" y="22"/>
                </a:cubicBezTo>
                <a:cubicBezTo>
                  <a:pt x="21" y="22"/>
                  <a:pt x="21" y="23"/>
                  <a:pt x="21" y="23"/>
                </a:cubicBezTo>
                <a:cubicBezTo>
                  <a:pt x="22" y="24"/>
                  <a:pt x="20" y="23"/>
                  <a:pt x="20" y="24"/>
                </a:cubicBezTo>
                <a:cubicBezTo>
                  <a:pt x="20" y="24"/>
                  <a:pt x="21" y="24"/>
                  <a:pt x="21" y="24"/>
                </a:cubicBezTo>
                <a:cubicBezTo>
                  <a:pt x="22" y="24"/>
                  <a:pt x="22" y="25"/>
                  <a:pt x="22" y="25"/>
                </a:cubicBezTo>
                <a:cubicBezTo>
                  <a:pt x="22" y="25"/>
                  <a:pt x="22" y="25"/>
                  <a:pt x="22" y="25"/>
                </a:cubicBezTo>
                <a:cubicBezTo>
                  <a:pt x="22" y="25"/>
                  <a:pt x="22" y="26"/>
                  <a:pt x="22" y="27"/>
                </a:cubicBezTo>
                <a:cubicBezTo>
                  <a:pt x="22" y="28"/>
                  <a:pt x="21" y="28"/>
                  <a:pt x="21" y="28"/>
                </a:cubicBezTo>
                <a:close/>
                <a:moveTo>
                  <a:pt x="56" y="26"/>
                </a:moveTo>
                <a:cubicBezTo>
                  <a:pt x="55" y="26"/>
                  <a:pt x="55" y="26"/>
                  <a:pt x="54" y="25"/>
                </a:cubicBezTo>
                <a:cubicBezTo>
                  <a:pt x="54" y="25"/>
                  <a:pt x="54" y="25"/>
                  <a:pt x="54" y="26"/>
                </a:cubicBezTo>
                <a:cubicBezTo>
                  <a:pt x="53" y="26"/>
                  <a:pt x="53" y="27"/>
                  <a:pt x="54" y="28"/>
                </a:cubicBezTo>
                <a:cubicBezTo>
                  <a:pt x="54" y="28"/>
                  <a:pt x="55" y="28"/>
                  <a:pt x="55" y="28"/>
                </a:cubicBezTo>
                <a:cubicBezTo>
                  <a:pt x="56" y="28"/>
                  <a:pt x="56" y="28"/>
                  <a:pt x="57" y="28"/>
                </a:cubicBezTo>
                <a:cubicBezTo>
                  <a:pt x="58" y="27"/>
                  <a:pt x="57" y="27"/>
                  <a:pt x="56" y="26"/>
                </a:cubicBezTo>
                <a:close/>
                <a:moveTo>
                  <a:pt x="14" y="28"/>
                </a:moveTo>
                <a:cubicBezTo>
                  <a:pt x="14" y="27"/>
                  <a:pt x="12" y="28"/>
                  <a:pt x="13" y="28"/>
                </a:cubicBezTo>
                <a:cubicBezTo>
                  <a:pt x="13" y="28"/>
                  <a:pt x="13" y="28"/>
                  <a:pt x="13" y="28"/>
                </a:cubicBezTo>
                <a:cubicBezTo>
                  <a:pt x="13" y="28"/>
                  <a:pt x="13" y="28"/>
                  <a:pt x="13" y="28"/>
                </a:cubicBezTo>
                <a:cubicBezTo>
                  <a:pt x="14" y="28"/>
                  <a:pt x="14" y="29"/>
                  <a:pt x="14" y="29"/>
                </a:cubicBezTo>
                <a:cubicBezTo>
                  <a:pt x="14" y="29"/>
                  <a:pt x="14" y="29"/>
                  <a:pt x="14" y="29"/>
                </a:cubicBezTo>
                <a:cubicBezTo>
                  <a:pt x="13" y="30"/>
                  <a:pt x="15" y="29"/>
                  <a:pt x="15" y="30"/>
                </a:cubicBezTo>
                <a:cubicBezTo>
                  <a:pt x="15" y="30"/>
                  <a:pt x="15" y="29"/>
                  <a:pt x="15" y="29"/>
                </a:cubicBezTo>
                <a:cubicBezTo>
                  <a:pt x="14" y="30"/>
                  <a:pt x="16" y="30"/>
                  <a:pt x="16" y="30"/>
                </a:cubicBezTo>
                <a:cubicBezTo>
                  <a:pt x="16" y="30"/>
                  <a:pt x="16" y="29"/>
                  <a:pt x="16" y="29"/>
                </a:cubicBezTo>
                <a:cubicBezTo>
                  <a:pt x="15" y="28"/>
                  <a:pt x="14" y="28"/>
                  <a:pt x="14" y="28"/>
                </a:cubicBezTo>
                <a:close/>
                <a:moveTo>
                  <a:pt x="2" y="23"/>
                </a:moveTo>
                <a:cubicBezTo>
                  <a:pt x="2" y="23"/>
                  <a:pt x="2" y="23"/>
                  <a:pt x="2" y="23"/>
                </a:cubicBezTo>
                <a:cubicBezTo>
                  <a:pt x="2" y="23"/>
                  <a:pt x="2" y="23"/>
                  <a:pt x="2" y="23"/>
                </a:cubicBezTo>
                <a:close/>
                <a:moveTo>
                  <a:pt x="13" y="28"/>
                </a:moveTo>
                <a:cubicBezTo>
                  <a:pt x="13" y="28"/>
                  <a:pt x="12" y="28"/>
                  <a:pt x="12" y="28"/>
                </a:cubicBezTo>
                <a:cubicBezTo>
                  <a:pt x="12" y="28"/>
                  <a:pt x="11" y="28"/>
                  <a:pt x="11" y="28"/>
                </a:cubicBezTo>
                <a:cubicBezTo>
                  <a:pt x="11" y="28"/>
                  <a:pt x="12" y="27"/>
                  <a:pt x="11" y="27"/>
                </a:cubicBezTo>
                <a:cubicBezTo>
                  <a:pt x="11" y="27"/>
                  <a:pt x="11" y="27"/>
                  <a:pt x="11" y="27"/>
                </a:cubicBezTo>
                <a:cubicBezTo>
                  <a:pt x="11" y="27"/>
                  <a:pt x="13" y="26"/>
                  <a:pt x="13" y="26"/>
                </a:cubicBezTo>
                <a:cubicBezTo>
                  <a:pt x="13" y="26"/>
                  <a:pt x="13" y="25"/>
                  <a:pt x="12" y="25"/>
                </a:cubicBezTo>
                <a:cubicBezTo>
                  <a:pt x="13" y="25"/>
                  <a:pt x="12" y="24"/>
                  <a:pt x="13" y="24"/>
                </a:cubicBezTo>
                <a:cubicBezTo>
                  <a:pt x="13" y="23"/>
                  <a:pt x="12" y="23"/>
                  <a:pt x="11" y="23"/>
                </a:cubicBezTo>
                <a:cubicBezTo>
                  <a:pt x="12" y="23"/>
                  <a:pt x="12" y="23"/>
                  <a:pt x="12" y="23"/>
                </a:cubicBezTo>
                <a:cubicBezTo>
                  <a:pt x="12" y="23"/>
                  <a:pt x="13" y="23"/>
                  <a:pt x="13" y="23"/>
                </a:cubicBezTo>
                <a:cubicBezTo>
                  <a:pt x="13" y="23"/>
                  <a:pt x="14" y="22"/>
                  <a:pt x="14" y="22"/>
                </a:cubicBezTo>
                <a:cubicBezTo>
                  <a:pt x="14" y="22"/>
                  <a:pt x="14" y="22"/>
                  <a:pt x="13" y="22"/>
                </a:cubicBezTo>
                <a:cubicBezTo>
                  <a:pt x="13" y="22"/>
                  <a:pt x="13" y="22"/>
                  <a:pt x="13" y="21"/>
                </a:cubicBezTo>
                <a:cubicBezTo>
                  <a:pt x="13" y="21"/>
                  <a:pt x="12" y="21"/>
                  <a:pt x="12" y="21"/>
                </a:cubicBezTo>
                <a:cubicBezTo>
                  <a:pt x="13" y="21"/>
                  <a:pt x="13" y="21"/>
                  <a:pt x="14" y="21"/>
                </a:cubicBezTo>
                <a:cubicBezTo>
                  <a:pt x="14" y="21"/>
                  <a:pt x="15" y="21"/>
                  <a:pt x="15" y="21"/>
                </a:cubicBezTo>
                <a:cubicBezTo>
                  <a:pt x="16" y="21"/>
                  <a:pt x="16" y="21"/>
                  <a:pt x="16" y="21"/>
                </a:cubicBezTo>
                <a:cubicBezTo>
                  <a:pt x="15" y="21"/>
                  <a:pt x="16" y="20"/>
                  <a:pt x="16" y="20"/>
                </a:cubicBezTo>
                <a:cubicBezTo>
                  <a:pt x="15" y="20"/>
                  <a:pt x="15" y="20"/>
                  <a:pt x="14" y="20"/>
                </a:cubicBezTo>
                <a:cubicBezTo>
                  <a:pt x="15" y="19"/>
                  <a:pt x="15" y="19"/>
                  <a:pt x="16" y="19"/>
                </a:cubicBezTo>
                <a:cubicBezTo>
                  <a:pt x="16" y="19"/>
                  <a:pt x="17" y="20"/>
                  <a:pt x="17" y="20"/>
                </a:cubicBezTo>
                <a:cubicBezTo>
                  <a:pt x="17" y="20"/>
                  <a:pt x="17" y="19"/>
                  <a:pt x="17" y="19"/>
                </a:cubicBezTo>
                <a:cubicBezTo>
                  <a:pt x="18" y="19"/>
                  <a:pt x="17" y="18"/>
                  <a:pt x="18" y="18"/>
                </a:cubicBezTo>
                <a:cubicBezTo>
                  <a:pt x="18" y="18"/>
                  <a:pt x="17" y="18"/>
                  <a:pt x="17" y="18"/>
                </a:cubicBezTo>
                <a:cubicBezTo>
                  <a:pt x="18" y="17"/>
                  <a:pt x="17" y="17"/>
                  <a:pt x="17" y="16"/>
                </a:cubicBezTo>
                <a:cubicBezTo>
                  <a:pt x="17" y="16"/>
                  <a:pt x="18" y="16"/>
                  <a:pt x="18" y="15"/>
                </a:cubicBezTo>
                <a:cubicBezTo>
                  <a:pt x="19" y="15"/>
                  <a:pt x="19" y="15"/>
                  <a:pt x="19" y="15"/>
                </a:cubicBezTo>
                <a:cubicBezTo>
                  <a:pt x="19" y="15"/>
                  <a:pt x="19" y="16"/>
                  <a:pt x="19" y="16"/>
                </a:cubicBezTo>
                <a:cubicBezTo>
                  <a:pt x="19" y="16"/>
                  <a:pt x="18" y="16"/>
                  <a:pt x="18" y="16"/>
                </a:cubicBezTo>
                <a:cubicBezTo>
                  <a:pt x="18" y="17"/>
                  <a:pt x="19" y="16"/>
                  <a:pt x="20" y="16"/>
                </a:cubicBezTo>
                <a:cubicBezTo>
                  <a:pt x="20" y="16"/>
                  <a:pt x="19" y="17"/>
                  <a:pt x="20" y="17"/>
                </a:cubicBezTo>
                <a:cubicBezTo>
                  <a:pt x="20" y="17"/>
                  <a:pt x="20" y="16"/>
                  <a:pt x="20" y="16"/>
                </a:cubicBezTo>
                <a:cubicBezTo>
                  <a:pt x="20" y="16"/>
                  <a:pt x="21" y="15"/>
                  <a:pt x="21" y="16"/>
                </a:cubicBezTo>
                <a:cubicBezTo>
                  <a:pt x="21" y="16"/>
                  <a:pt x="21" y="17"/>
                  <a:pt x="21" y="16"/>
                </a:cubicBezTo>
                <a:cubicBezTo>
                  <a:pt x="21" y="16"/>
                  <a:pt x="22" y="16"/>
                  <a:pt x="22" y="15"/>
                </a:cubicBezTo>
                <a:cubicBezTo>
                  <a:pt x="22" y="15"/>
                  <a:pt x="24" y="14"/>
                  <a:pt x="23" y="13"/>
                </a:cubicBezTo>
                <a:cubicBezTo>
                  <a:pt x="22" y="12"/>
                  <a:pt x="21" y="13"/>
                  <a:pt x="20" y="13"/>
                </a:cubicBezTo>
                <a:cubicBezTo>
                  <a:pt x="20" y="13"/>
                  <a:pt x="19" y="13"/>
                  <a:pt x="19" y="13"/>
                </a:cubicBezTo>
                <a:cubicBezTo>
                  <a:pt x="18" y="12"/>
                  <a:pt x="18" y="12"/>
                  <a:pt x="18" y="12"/>
                </a:cubicBezTo>
                <a:cubicBezTo>
                  <a:pt x="17" y="12"/>
                  <a:pt x="18" y="13"/>
                  <a:pt x="17" y="13"/>
                </a:cubicBezTo>
                <a:cubicBezTo>
                  <a:pt x="17" y="13"/>
                  <a:pt x="17" y="12"/>
                  <a:pt x="18" y="12"/>
                </a:cubicBezTo>
                <a:cubicBezTo>
                  <a:pt x="18" y="12"/>
                  <a:pt x="18" y="12"/>
                  <a:pt x="18" y="11"/>
                </a:cubicBezTo>
                <a:cubicBezTo>
                  <a:pt x="19" y="11"/>
                  <a:pt x="18" y="11"/>
                  <a:pt x="17" y="11"/>
                </a:cubicBezTo>
                <a:cubicBezTo>
                  <a:pt x="17" y="11"/>
                  <a:pt x="17" y="11"/>
                  <a:pt x="17" y="11"/>
                </a:cubicBezTo>
                <a:cubicBezTo>
                  <a:pt x="17" y="11"/>
                  <a:pt x="16" y="11"/>
                  <a:pt x="16" y="11"/>
                </a:cubicBezTo>
                <a:cubicBezTo>
                  <a:pt x="16" y="11"/>
                  <a:pt x="15" y="12"/>
                  <a:pt x="14" y="11"/>
                </a:cubicBezTo>
                <a:cubicBezTo>
                  <a:pt x="15" y="11"/>
                  <a:pt x="15" y="11"/>
                  <a:pt x="16" y="11"/>
                </a:cubicBezTo>
                <a:cubicBezTo>
                  <a:pt x="17" y="11"/>
                  <a:pt x="17" y="11"/>
                  <a:pt x="18" y="11"/>
                </a:cubicBezTo>
                <a:cubicBezTo>
                  <a:pt x="18" y="11"/>
                  <a:pt x="18" y="8"/>
                  <a:pt x="18" y="8"/>
                </a:cubicBezTo>
                <a:cubicBezTo>
                  <a:pt x="18" y="8"/>
                  <a:pt x="18" y="8"/>
                  <a:pt x="18" y="8"/>
                </a:cubicBezTo>
                <a:cubicBezTo>
                  <a:pt x="18" y="8"/>
                  <a:pt x="18" y="8"/>
                  <a:pt x="18" y="8"/>
                </a:cubicBezTo>
                <a:cubicBezTo>
                  <a:pt x="18" y="8"/>
                  <a:pt x="19" y="7"/>
                  <a:pt x="19" y="6"/>
                </a:cubicBezTo>
                <a:cubicBezTo>
                  <a:pt x="19" y="6"/>
                  <a:pt x="20" y="6"/>
                  <a:pt x="20" y="5"/>
                </a:cubicBezTo>
                <a:cubicBezTo>
                  <a:pt x="20" y="5"/>
                  <a:pt x="20" y="4"/>
                  <a:pt x="20" y="4"/>
                </a:cubicBezTo>
                <a:cubicBezTo>
                  <a:pt x="20" y="4"/>
                  <a:pt x="20" y="3"/>
                  <a:pt x="19" y="3"/>
                </a:cubicBezTo>
                <a:cubicBezTo>
                  <a:pt x="19" y="2"/>
                  <a:pt x="19" y="2"/>
                  <a:pt x="19" y="2"/>
                </a:cubicBezTo>
                <a:cubicBezTo>
                  <a:pt x="19" y="1"/>
                  <a:pt x="20" y="0"/>
                  <a:pt x="21" y="0"/>
                </a:cubicBezTo>
                <a:cubicBezTo>
                  <a:pt x="19" y="0"/>
                  <a:pt x="18" y="1"/>
                  <a:pt x="18" y="1"/>
                </a:cubicBezTo>
                <a:cubicBezTo>
                  <a:pt x="17" y="2"/>
                  <a:pt x="15" y="1"/>
                  <a:pt x="15" y="2"/>
                </a:cubicBezTo>
                <a:cubicBezTo>
                  <a:pt x="14" y="3"/>
                  <a:pt x="13" y="4"/>
                  <a:pt x="13" y="4"/>
                </a:cubicBezTo>
                <a:cubicBezTo>
                  <a:pt x="11" y="6"/>
                  <a:pt x="10" y="6"/>
                  <a:pt x="8" y="6"/>
                </a:cubicBezTo>
                <a:cubicBezTo>
                  <a:pt x="7" y="6"/>
                  <a:pt x="6" y="7"/>
                  <a:pt x="5" y="7"/>
                </a:cubicBezTo>
                <a:cubicBezTo>
                  <a:pt x="4" y="6"/>
                  <a:pt x="4" y="7"/>
                  <a:pt x="4" y="7"/>
                </a:cubicBezTo>
                <a:cubicBezTo>
                  <a:pt x="3" y="8"/>
                  <a:pt x="2" y="8"/>
                  <a:pt x="2" y="9"/>
                </a:cubicBezTo>
                <a:cubicBezTo>
                  <a:pt x="2" y="9"/>
                  <a:pt x="1" y="10"/>
                  <a:pt x="1" y="11"/>
                </a:cubicBezTo>
                <a:cubicBezTo>
                  <a:pt x="2" y="11"/>
                  <a:pt x="2" y="9"/>
                  <a:pt x="2" y="11"/>
                </a:cubicBezTo>
                <a:cubicBezTo>
                  <a:pt x="2" y="11"/>
                  <a:pt x="3" y="12"/>
                  <a:pt x="4" y="12"/>
                </a:cubicBezTo>
                <a:cubicBezTo>
                  <a:pt x="4" y="12"/>
                  <a:pt x="4" y="12"/>
                  <a:pt x="4" y="11"/>
                </a:cubicBezTo>
                <a:cubicBezTo>
                  <a:pt x="4" y="12"/>
                  <a:pt x="4" y="11"/>
                  <a:pt x="4" y="11"/>
                </a:cubicBezTo>
                <a:cubicBezTo>
                  <a:pt x="4" y="11"/>
                  <a:pt x="3" y="11"/>
                  <a:pt x="3" y="11"/>
                </a:cubicBezTo>
                <a:cubicBezTo>
                  <a:pt x="3" y="11"/>
                  <a:pt x="3" y="11"/>
                  <a:pt x="4" y="11"/>
                </a:cubicBezTo>
                <a:cubicBezTo>
                  <a:pt x="4" y="11"/>
                  <a:pt x="4" y="11"/>
                  <a:pt x="4" y="11"/>
                </a:cubicBezTo>
                <a:cubicBezTo>
                  <a:pt x="4" y="11"/>
                  <a:pt x="3" y="10"/>
                  <a:pt x="4" y="10"/>
                </a:cubicBezTo>
                <a:cubicBezTo>
                  <a:pt x="4" y="9"/>
                  <a:pt x="5" y="8"/>
                  <a:pt x="5" y="8"/>
                </a:cubicBezTo>
                <a:cubicBezTo>
                  <a:pt x="5" y="8"/>
                  <a:pt x="6" y="8"/>
                  <a:pt x="6" y="8"/>
                </a:cubicBezTo>
                <a:cubicBezTo>
                  <a:pt x="6" y="8"/>
                  <a:pt x="7" y="8"/>
                  <a:pt x="7" y="8"/>
                </a:cubicBezTo>
                <a:cubicBezTo>
                  <a:pt x="7" y="7"/>
                  <a:pt x="8" y="8"/>
                  <a:pt x="8" y="7"/>
                </a:cubicBezTo>
                <a:cubicBezTo>
                  <a:pt x="9" y="7"/>
                  <a:pt x="9" y="8"/>
                  <a:pt x="9" y="8"/>
                </a:cubicBezTo>
                <a:cubicBezTo>
                  <a:pt x="10" y="8"/>
                  <a:pt x="10" y="7"/>
                  <a:pt x="11" y="7"/>
                </a:cubicBezTo>
                <a:cubicBezTo>
                  <a:pt x="12" y="7"/>
                  <a:pt x="12" y="7"/>
                  <a:pt x="13" y="7"/>
                </a:cubicBezTo>
                <a:cubicBezTo>
                  <a:pt x="13" y="7"/>
                  <a:pt x="13" y="7"/>
                  <a:pt x="14" y="7"/>
                </a:cubicBezTo>
                <a:cubicBezTo>
                  <a:pt x="14" y="6"/>
                  <a:pt x="14" y="7"/>
                  <a:pt x="15" y="7"/>
                </a:cubicBezTo>
                <a:cubicBezTo>
                  <a:pt x="15" y="7"/>
                  <a:pt x="15" y="7"/>
                  <a:pt x="16" y="7"/>
                </a:cubicBezTo>
                <a:cubicBezTo>
                  <a:pt x="16" y="7"/>
                  <a:pt x="16" y="7"/>
                  <a:pt x="17" y="8"/>
                </a:cubicBezTo>
                <a:cubicBezTo>
                  <a:pt x="17" y="8"/>
                  <a:pt x="17" y="8"/>
                  <a:pt x="16" y="7"/>
                </a:cubicBezTo>
                <a:cubicBezTo>
                  <a:pt x="16" y="7"/>
                  <a:pt x="16" y="7"/>
                  <a:pt x="15" y="7"/>
                </a:cubicBezTo>
                <a:cubicBezTo>
                  <a:pt x="15" y="7"/>
                  <a:pt x="13" y="7"/>
                  <a:pt x="13" y="8"/>
                </a:cubicBezTo>
                <a:cubicBezTo>
                  <a:pt x="12" y="8"/>
                  <a:pt x="12" y="8"/>
                  <a:pt x="11" y="7"/>
                </a:cubicBezTo>
                <a:cubicBezTo>
                  <a:pt x="10" y="7"/>
                  <a:pt x="9" y="8"/>
                  <a:pt x="9" y="9"/>
                </a:cubicBezTo>
                <a:cubicBezTo>
                  <a:pt x="9" y="9"/>
                  <a:pt x="9" y="9"/>
                  <a:pt x="9" y="9"/>
                </a:cubicBezTo>
                <a:cubicBezTo>
                  <a:pt x="9" y="9"/>
                  <a:pt x="9" y="10"/>
                  <a:pt x="9" y="10"/>
                </a:cubicBezTo>
                <a:cubicBezTo>
                  <a:pt x="9" y="10"/>
                  <a:pt x="9" y="10"/>
                  <a:pt x="9" y="11"/>
                </a:cubicBezTo>
                <a:cubicBezTo>
                  <a:pt x="9" y="11"/>
                  <a:pt x="9" y="11"/>
                  <a:pt x="9" y="11"/>
                </a:cubicBezTo>
                <a:cubicBezTo>
                  <a:pt x="9" y="11"/>
                  <a:pt x="10" y="10"/>
                  <a:pt x="10" y="11"/>
                </a:cubicBezTo>
                <a:cubicBezTo>
                  <a:pt x="10" y="12"/>
                  <a:pt x="10" y="12"/>
                  <a:pt x="10" y="12"/>
                </a:cubicBezTo>
                <a:cubicBezTo>
                  <a:pt x="11" y="12"/>
                  <a:pt x="9" y="13"/>
                  <a:pt x="10" y="12"/>
                </a:cubicBezTo>
                <a:cubicBezTo>
                  <a:pt x="10" y="11"/>
                  <a:pt x="9" y="12"/>
                  <a:pt x="9" y="11"/>
                </a:cubicBezTo>
                <a:cubicBezTo>
                  <a:pt x="9" y="11"/>
                  <a:pt x="9" y="11"/>
                  <a:pt x="8" y="12"/>
                </a:cubicBezTo>
                <a:cubicBezTo>
                  <a:pt x="9" y="12"/>
                  <a:pt x="9" y="12"/>
                  <a:pt x="9" y="12"/>
                </a:cubicBezTo>
                <a:cubicBezTo>
                  <a:pt x="9" y="12"/>
                  <a:pt x="8" y="12"/>
                  <a:pt x="8" y="12"/>
                </a:cubicBezTo>
                <a:cubicBezTo>
                  <a:pt x="8" y="12"/>
                  <a:pt x="8" y="12"/>
                  <a:pt x="8" y="12"/>
                </a:cubicBezTo>
                <a:cubicBezTo>
                  <a:pt x="8" y="11"/>
                  <a:pt x="9" y="11"/>
                  <a:pt x="9" y="10"/>
                </a:cubicBezTo>
                <a:cubicBezTo>
                  <a:pt x="9" y="10"/>
                  <a:pt x="8" y="10"/>
                  <a:pt x="7" y="10"/>
                </a:cubicBezTo>
                <a:cubicBezTo>
                  <a:pt x="7" y="10"/>
                  <a:pt x="6" y="10"/>
                  <a:pt x="6" y="10"/>
                </a:cubicBezTo>
                <a:cubicBezTo>
                  <a:pt x="6" y="11"/>
                  <a:pt x="7" y="11"/>
                  <a:pt x="7" y="11"/>
                </a:cubicBezTo>
                <a:cubicBezTo>
                  <a:pt x="6" y="11"/>
                  <a:pt x="6" y="11"/>
                  <a:pt x="6" y="11"/>
                </a:cubicBezTo>
                <a:cubicBezTo>
                  <a:pt x="6" y="11"/>
                  <a:pt x="5" y="12"/>
                  <a:pt x="5" y="12"/>
                </a:cubicBezTo>
                <a:cubicBezTo>
                  <a:pt x="5" y="12"/>
                  <a:pt x="6" y="12"/>
                  <a:pt x="5" y="13"/>
                </a:cubicBezTo>
                <a:cubicBezTo>
                  <a:pt x="4" y="13"/>
                  <a:pt x="4" y="12"/>
                  <a:pt x="4" y="12"/>
                </a:cubicBezTo>
                <a:cubicBezTo>
                  <a:pt x="3" y="13"/>
                  <a:pt x="2" y="11"/>
                  <a:pt x="2" y="12"/>
                </a:cubicBezTo>
                <a:cubicBezTo>
                  <a:pt x="2" y="12"/>
                  <a:pt x="2" y="12"/>
                  <a:pt x="2" y="12"/>
                </a:cubicBezTo>
                <a:cubicBezTo>
                  <a:pt x="1" y="12"/>
                  <a:pt x="1" y="12"/>
                  <a:pt x="1" y="11"/>
                </a:cubicBezTo>
                <a:cubicBezTo>
                  <a:pt x="1" y="11"/>
                  <a:pt x="1" y="11"/>
                  <a:pt x="1" y="11"/>
                </a:cubicBezTo>
                <a:cubicBezTo>
                  <a:pt x="1" y="11"/>
                  <a:pt x="0" y="12"/>
                  <a:pt x="0" y="13"/>
                </a:cubicBezTo>
                <a:cubicBezTo>
                  <a:pt x="0" y="13"/>
                  <a:pt x="0" y="13"/>
                  <a:pt x="0" y="14"/>
                </a:cubicBezTo>
                <a:cubicBezTo>
                  <a:pt x="0" y="14"/>
                  <a:pt x="0" y="15"/>
                  <a:pt x="0" y="15"/>
                </a:cubicBezTo>
                <a:cubicBezTo>
                  <a:pt x="0" y="16"/>
                  <a:pt x="0" y="18"/>
                  <a:pt x="0" y="18"/>
                </a:cubicBezTo>
                <a:cubicBezTo>
                  <a:pt x="1" y="18"/>
                  <a:pt x="1" y="17"/>
                  <a:pt x="1" y="17"/>
                </a:cubicBezTo>
                <a:cubicBezTo>
                  <a:pt x="1" y="17"/>
                  <a:pt x="2" y="17"/>
                  <a:pt x="2" y="18"/>
                </a:cubicBezTo>
                <a:cubicBezTo>
                  <a:pt x="2" y="18"/>
                  <a:pt x="3" y="19"/>
                  <a:pt x="2" y="19"/>
                </a:cubicBezTo>
                <a:cubicBezTo>
                  <a:pt x="0" y="20"/>
                  <a:pt x="1" y="19"/>
                  <a:pt x="0" y="18"/>
                </a:cubicBezTo>
                <a:cubicBezTo>
                  <a:pt x="0" y="19"/>
                  <a:pt x="1" y="20"/>
                  <a:pt x="1" y="21"/>
                </a:cubicBezTo>
                <a:cubicBezTo>
                  <a:pt x="1" y="21"/>
                  <a:pt x="0" y="22"/>
                  <a:pt x="0" y="22"/>
                </a:cubicBezTo>
                <a:cubicBezTo>
                  <a:pt x="0" y="23"/>
                  <a:pt x="1" y="23"/>
                  <a:pt x="2" y="23"/>
                </a:cubicBezTo>
                <a:cubicBezTo>
                  <a:pt x="2" y="23"/>
                  <a:pt x="1" y="22"/>
                  <a:pt x="2" y="22"/>
                </a:cubicBezTo>
                <a:cubicBezTo>
                  <a:pt x="2" y="22"/>
                  <a:pt x="2" y="23"/>
                  <a:pt x="2" y="23"/>
                </a:cubicBezTo>
                <a:cubicBezTo>
                  <a:pt x="3" y="23"/>
                  <a:pt x="3" y="24"/>
                  <a:pt x="3" y="24"/>
                </a:cubicBezTo>
                <a:cubicBezTo>
                  <a:pt x="4" y="24"/>
                  <a:pt x="5" y="24"/>
                  <a:pt x="5" y="25"/>
                </a:cubicBezTo>
                <a:cubicBezTo>
                  <a:pt x="5" y="26"/>
                  <a:pt x="5" y="27"/>
                  <a:pt x="4" y="27"/>
                </a:cubicBezTo>
                <a:cubicBezTo>
                  <a:pt x="5" y="27"/>
                  <a:pt x="5" y="27"/>
                  <a:pt x="5" y="28"/>
                </a:cubicBezTo>
                <a:cubicBezTo>
                  <a:pt x="5" y="28"/>
                  <a:pt x="4" y="29"/>
                  <a:pt x="5" y="29"/>
                </a:cubicBezTo>
                <a:cubicBezTo>
                  <a:pt x="5" y="30"/>
                  <a:pt x="5" y="29"/>
                  <a:pt x="6" y="29"/>
                </a:cubicBezTo>
                <a:cubicBezTo>
                  <a:pt x="6" y="29"/>
                  <a:pt x="7" y="29"/>
                  <a:pt x="7" y="30"/>
                </a:cubicBezTo>
                <a:cubicBezTo>
                  <a:pt x="8" y="30"/>
                  <a:pt x="9" y="30"/>
                  <a:pt x="9" y="30"/>
                </a:cubicBezTo>
                <a:cubicBezTo>
                  <a:pt x="9" y="30"/>
                  <a:pt x="10" y="30"/>
                  <a:pt x="10" y="30"/>
                </a:cubicBezTo>
                <a:cubicBezTo>
                  <a:pt x="11" y="30"/>
                  <a:pt x="12" y="29"/>
                  <a:pt x="13" y="29"/>
                </a:cubicBezTo>
                <a:cubicBezTo>
                  <a:pt x="13" y="29"/>
                  <a:pt x="12" y="29"/>
                  <a:pt x="12" y="29"/>
                </a:cubicBezTo>
                <a:cubicBezTo>
                  <a:pt x="13" y="30"/>
                  <a:pt x="13" y="30"/>
                  <a:pt x="13" y="30"/>
                </a:cubicBezTo>
                <a:cubicBezTo>
                  <a:pt x="13" y="30"/>
                  <a:pt x="13" y="30"/>
                  <a:pt x="13" y="29"/>
                </a:cubicBezTo>
                <a:cubicBezTo>
                  <a:pt x="14" y="30"/>
                  <a:pt x="13" y="28"/>
                  <a:pt x="13" y="28"/>
                </a:cubicBezTo>
                <a:close/>
                <a:moveTo>
                  <a:pt x="20" y="20"/>
                </a:moveTo>
                <a:cubicBezTo>
                  <a:pt x="21" y="20"/>
                  <a:pt x="21" y="20"/>
                  <a:pt x="21" y="19"/>
                </a:cubicBezTo>
                <a:cubicBezTo>
                  <a:pt x="21" y="20"/>
                  <a:pt x="20" y="18"/>
                  <a:pt x="20" y="18"/>
                </a:cubicBezTo>
                <a:cubicBezTo>
                  <a:pt x="19" y="18"/>
                  <a:pt x="20" y="19"/>
                  <a:pt x="20" y="19"/>
                </a:cubicBezTo>
                <a:cubicBezTo>
                  <a:pt x="20" y="19"/>
                  <a:pt x="20" y="20"/>
                  <a:pt x="20" y="20"/>
                </a:cubicBezTo>
                <a:cubicBezTo>
                  <a:pt x="19" y="20"/>
                  <a:pt x="20" y="21"/>
                  <a:pt x="20" y="20"/>
                </a:cubicBezTo>
                <a:close/>
                <a:moveTo>
                  <a:pt x="36" y="19"/>
                </a:moveTo>
                <a:cubicBezTo>
                  <a:pt x="36" y="18"/>
                  <a:pt x="37" y="18"/>
                  <a:pt x="36" y="17"/>
                </a:cubicBezTo>
                <a:cubicBezTo>
                  <a:pt x="35" y="17"/>
                  <a:pt x="35" y="17"/>
                  <a:pt x="34" y="17"/>
                </a:cubicBezTo>
                <a:cubicBezTo>
                  <a:pt x="34" y="17"/>
                  <a:pt x="33" y="17"/>
                  <a:pt x="33" y="17"/>
                </a:cubicBezTo>
                <a:cubicBezTo>
                  <a:pt x="32" y="17"/>
                  <a:pt x="32" y="18"/>
                  <a:pt x="31" y="18"/>
                </a:cubicBezTo>
                <a:cubicBezTo>
                  <a:pt x="31" y="18"/>
                  <a:pt x="30" y="19"/>
                  <a:pt x="31" y="19"/>
                </a:cubicBezTo>
                <a:cubicBezTo>
                  <a:pt x="32" y="18"/>
                  <a:pt x="32" y="19"/>
                  <a:pt x="32" y="20"/>
                </a:cubicBezTo>
                <a:cubicBezTo>
                  <a:pt x="32" y="20"/>
                  <a:pt x="32" y="21"/>
                  <a:pt x="32" y="21"/>
                </a:cubicBezTo>
                <a:cubicBezTo>
                  <a:pt x="32" y="21"/>
                  <a:pt x="32" y="22"/>
                  <a:pt x="32" y="21"/>
                </a:cubicBezTo>
                <a:cubicBezTo>
                  <a:pt x="32" y="21"/>
                  <a:pt x="32" y="21"/>
                  <a:pt x="32" y="21"/>
                </a:cubicBezTo>
                <a:cubicBezTo>
                  <a:pt x="32" y="21"/>
                  <a:pt x="31" y="22"/>
                  <a:pt x="31" y="22"/>
                </a:cubicBezTo>
                <a:cubicBezTo>
                  <a:pt x="31" y="21"/>
                  <a:pt x="32" y="21"/>
                  <a:pt x="32" y="21"/>
                </a:cubicBezTo>
                <a:cubicBezTo>
                  <a:pt x="32" y="20"/>
                  <a:pt x="32" y="19"/>
                  <a:pt x="31" y="19"/>
                </a:cubicBezTo>
                <a:cubicBezTo>
                  <a:pt x="31" y="18"/>
                  <a:pt x="31" y="20"/>
                  <a:pt x="31" y="20"/>
                </a:cubicBezTo>
                <a:cubicBezTo>
                  <a:pt x="30" y="20"/>
                  <a:pt x="31" y="21"/>
                  <a:pt x="30" y="21"/>
                </a:cubicBezTo>
                <a:cubicBezTo>
                  <a:pt x="30" y="21"/>
                  <a:pt x="29" y="21"/>
                  <a:pt x="29" y="21"/>
                </a:cubicBezTo>
                <a:cubicBezTo>
                  <a:pt x="29" y="21"/>
                  <a:pt x="30" y="21"/>
                  <a:pt x="30" y="20"/>
                </a:cubicBezTo>
                <a:cubicBezTo>
                  <a:pt x="29" y="20"/>
                  <a:pt x="29" y="20"/>
                  <a:pt x="28" y="20"/>
                </a:cubicBezTo>
                <a:cubicBezTo>
                  <a:pt x="29" y="20"/>
                  <a:pt x="30" y="20"/>
                  <a:pt x="29" y="19"/>
                </a:cubicBezTo>
                <a:cubicBezTo>
                  <a:pt x="29" y="19"/>
                  <a:pt x="29" y="19"/>
                  <a:pt x="30" y="19"/>
                </a:cubicBezTo>
                <a:cubicBezTo>
                  <a:pt x="29" y="19"/>
                  <a:pt x="30" y="18"/>
                  <a:pt x="29" y="18"/>
                </a:cubicBezTo>
                <a:cubicBezTo>
                  <a:pt x="29" y="18"/>
                  <a:pt x="29" y="19"/>
                  <a:pt x="28" y="19"/>
                </a:cubicBezTo>
                <a:cubicBezTo>
                  <a:pt x="27" y="18"/>
                  <a:pt x="27" y="18"/>
                  <a:pt x="26" y="18"/>
                </a:cubicBezTo>
                <a:cubicBezTo>
                  <a:pt x="26" y="19"/>
                  <a:pt x="27" y="18"/>
                  <a:pt x="28" y="19"/>
                </a:cubicBezTo>
                <a:cubicBezTo>
                  <a:pt x="28" y="20"/>
                  <a:pt x="27" y="20"/>
                  <a:pt x="26" y="20"/>
                </a:cubicBezTo>
                <a:cubicBezTo>
                  <a:pt x="27" y="20"/>
                  <a:pt x="26" y="20"/>
                  <a:pt x="26" y="21"/>
                </a:cubicBezTo>
                <a:cubicBezTo>
                  <a:pt x="26" y="21"/>
                  <a:pt x="25" y="21"/>
                  <a:pt x="25" y="21"/>
                </a:cubicBezTo>
                <a:cubicBezTo>
                  <a:pt x="25" y="21"/>
                  <a:pt x="24" y="21"/>
                  <a:pt x="25" y="21"/>
                </a:cubicBezTo>
                <a:cubicBezTo>
                  <a:pt x="24" y="21"/>
                  <a:pt x="24" y="21"/>
                  <a:pt x="24" y="21"/>
                </a:cubicBezTo>
                <a:cubicBezTo>
                  <a:pt x="23" y="21"/>
                  <a:pt x="23" y="21"/>
                  <a:pt x="23" y="21"/>
                </a:cubicBezTo>
                <a:cubicBezTo>
                  <a:pt x="23" y="21"/>
                  <a:pt x="24" y="21"/>
                  <a:pt x="24" y="21"/>
                </a:cubicBezTo>
                <a:cubicBezTo>
                  <a:pt x="24" y="22"/>
                  <a:pt x="23" y="21"/>
                  <a:pt x="23" y="21"/>
                </a:cubicBezTo>
                <a:cubicBezTo>
                  <a:pt x="23" y="22"/>
                  <a:pt x="25" y="22"/>
                  <a:pt x="25" y="22"/>
                </a:cubicBezTo>
                <a:cubicBezTo>
                  <a:pt x="25" y="23"/>
                  <a:pt x="24" y="23"/>
                  <a:pt x="24" y="23"/>
                </a:cubicBezTo>
                <a:cubicBezTo>
                  <a:pt x="24" y="23"/>
                  <a:pt x="25" y="23"/>
                  <a:pt x="25" y="23"/>
                </a:cubicBezTo>
                <a:cubicBezTo>
                  <a:pt x="25" y="23"/>
                  <a:pt x="25" y="24"/>
                  <a:pt x="25" y="24"/>
                </a:cubicBezTo>
                <a:cubicBezTo>
                  <a:pt x="25" y="24"/>
                  <a:pt x="24" y="25"/>
                  <a:pt x="24" y="25"/>
                </a:cubicBezTo>
                <a:cubicBezTo>
                  <a:pt x="25" y="25"/>
                  <a:pt x="25" y="25"/>
                  <a:pt x="25" y="25"/>
                </a:cubicBezTo>
                <a:cubicBezTo>
                  <a:pt x="25" y="25"/>
                  <a:pt x="25" y="25"/>
                  <a:pt x="25" y="25"/>
                </a:cubicBezTo>
                <a:cubicBezTo>
                  <a:pt x="25" y="25"/>
                  <a:pt x="26" y="26"/>
                  <a:pt x="26" y="26"/>
                </a:cubicBezTo>
                <a:cubicBezTo>
                  <a:pt x="25" y="26"/>
                  <a:pt x="26" y="26"/>
                  <a:pt x="26" y="26"/>
                </a:cubicBezTo>
                <a:cubicBezTo>
                  <a:pt x="26" y="26"/>
                  <a:pt x="27" y="26"/>
                  <a:pt x="27" y="26"/>
                </a:cubicBezTo>
                <a:cubicBezTo>
                  <a:pt x="28" y="26"/>
                  <a:pt x="28" y="26"/>
                  <a:pt x="28" y="26"/>
                </a:cubicBezTo>
                <a:cubicBezTo>
                  <a:pt x="29" y="26"/>
                  <a:pt x="29" y="26"/>
                  <a:pt x="29" y="26"/>
                </a:cubicBezTo>
                <a:cubicBezTo>
                  <a:pt x="30" y="26"/>
                  <a:pt x="29" y="26"/>
                  <a:pt x="29" y="27"/>
                </a:cubicBezTo>
                <a:cubicBezTo>
                  <a:pt x="30" y="27"/>
                  <a:pt x="30" y="27"/>
                  <a:pt x="30" y="27"/>
                </a:cubicBezTo>
                <a:cubicBezTo>
                  <a:pt x="30" y="27"/>
                  <a:pt x="29" y="27"/>
                  <a:pt x="29" y="27"/>
                </a:cubicBezTo>
                <a:cubicBezTo>
                  <a:pt x="29" y="27"/>
                  <a:pt x="30" y="28"/>
                  <a:pt x="30" y="28"/>
                </a:cubicBezTo>
                <a:cubicBezTo>
                  <a:pt x="30" y="28"/>
                  <a:pt x="29" y="27"/>
                  <a:pt x="29" y="27"/>
                </a:cubicBezTo>
                <a:cubicBezTo>
                  <a:pt x="29" y="28"/>
                  <a:pt x="31" y="28"/>
                  <a:pt x="31" y="28"/>
                </a:cubicBezTo>
                <a:cubicBezTo>
                  <a:pt x="31" y="29"/>
                  <a:pt x="30" y="29"/>
                  <a:pt x="30" y="29"/>
                </a:cubicBezTo>
                <a:cubicBezTo>
                  <a:pt x="29" y="29"/>
                  <a:pt x="30" y="30"/>
                  <a:pt x="30" y="30"/>
                </a:cubicBezTo>
                <a:cubicBezTo>
                  <a:pt x="30" y="30"/>
                  <a:pt x="30" y="30"/>
                  <a:pt x="30" y="30"/>
                </a:cubicBezTo>
                <a:cubicBezTo>
                  <a:pt x="30" y="30"/>
                  <a:pt x="30" y="30"/>
                  <a:pt x="30" y="30"/>
                </a:cubicBezTo>
                <a:cubicBezTo>
                  <a:pt x="30" y="30"/>
                  <a:pt x="29" y="29"/>
                  <a:pt x="29" y="29"/>
                </a:cubicBezTo>
                <a:cubicBezTo>
                  <a:pt x="29" y="30"/>
                  <a:pt x="29" y="30"/>
                  <a:pt x="29" y="30"/>
                </a:cubicBezTo>
                <a:cubicBezTo>
                  <a:pt x="29" y="30"/>
                  <a:pt x="28" y="30"/>
                  <a:pt x="28" y="30"/>
                </a:cubicBezTo>
                <a:cubicBezTo>
                  <a:pt x="28" y="30"/>
                  <a:pt x="28" y="30"/>
                  <a:pt x="28" y="30"/>
                </a:cubicBezTo>
                <a:cubicBezTo>
                  <a:pt x="28" y="30"/>
                  <a:pt x="27" y="30"/>
                  <a:pt x="26" y="29"/>
                </a:cubicBezTo>
                <a:cubicBezTo>
                  <a:pt x="26" y="29"/>
                  <a:pt x="26" y="29"/>
                  <a:pt x="25" y="29"/>
                </a:cubicBezTo>
                <a:cubicBezTo>
                  <a:pt x="25" y="29"/>
                  <a:pt x="23" y="29"/>
                  <a:pt x="24" y="30"/>
                </a:cubicBezTo>
                <a:cubicBezTo>
                  <a:pt x="25" y="30"/>
                  <a:pt x="24" y="30"/>
                  <a:pt x="24" y="31"/>
                </a:cubicBezTo>
                <a:cubicBezTo>
                  <a:pt x="24" y="31"/>
                  <a:pt x="24" y="31"/>
                  <a:pt x="25" y="31"/>
                </a:cubicBezTo>
                <a:cubicBezTo>
                  <a:pt x="25" y="31"/>
                  <a:pt x="26" y="31"/>
                  <a:pt x="26" y="32"/>
                </a:cubicBezTo>
                <a:cubicBezTo>
                  <a:pt x="26" y="32"/>
                  <a:pt x="27" y="32"/>
                  <a:pt x="27" y="32"/>
                </a:cubicBezTo>
                <a:cubicBezTo>
                  <a:pt x="28" y="32"/>
                  <a:pt x="29" y="32"/>
                  <a:pt x="29" y="32"/>
                </a:cubicBezTo>
                <a:cubicBezTo>
                  <a:pt x="30" y="32"/>
                  <a:pt x="31" y="32"/>
                  <a:pt x="30" y="31"/>
                </a:cubicBezTo>
                <a:cubicBezTo>
                  <a:pt x="30" y="31"/>
                  <a:pt x="30" y="31"/>
                  <a:pt x="30" y="31"/>
                </a:cubicBezTo>
                <a:cubicBezTo>
                  <a:pt x="31" y="31"/>
                  <a:pt x="31" y="31"/>
                  <a:pt x="30" y="31"/>
                </a:cubicBezTo>
                <a:cubicBezTo>
                  <a:pt x="31" y="31"/>
                  <a:pt x="31" y="31"/>
                  <a:pt x="31" y="31"/>
                </a:cubicBezTo>
                <a:cubicBezTo>
                  <a:pt x="30" y="32"/>
                  <a:pt x="31" y="33"/>
                  <a:pt x="32" y="33"/>
                </a:cubicBezTo>
                <a:cubicBezTo>
                  <a:pt x="32" y="33"/>
                  <a:pt x="31" y="32"/>
                  <a:pt x="31" y="32"/>
                </a:cubicBezTo>
                <a:cubicBezTo>
                  <a:pt x="31" y="32"/>
                  <a:pt x="32" y="31"/>
                  <a:pt x="32" y="31"/>
                </a:cubicBezTo>
                <a:cubicBezTo>
                  <a:pt x="32" y="31"/>
                  <a:pt x="33" y="30"/>
                  <a:pt x="33" y="30"/>
                </a:cubicBezTo>
                <a:cubicBezTo>
                  <a:pt x="32" y="29"/>
                  <a:pt x="32" y="30"/>
                  <a:pt x="32" y="29"/>
                </a:cubicBezTo>
                <a:cubicBezTo>
                  <a:pt x="31" y="29"/>
                  <a:pt x="31" y="29"/>
                  <a:pt x="31" y="29"/>
                </a:cubicBezTo>
                <a:cubicBezTo>
                  <a:pt x="31" y="29"/>
                  <a:pt x="31" y="29"/>
                  <a:pt x="31" y="28"/>
                </a:cubicBezTo>
                <a:cubicBezTo>
                  <a:pt x="31" y="28"/>
                  <a:pt x="32" y="29"/>
                  <a:pt x="32" y="29"/>
                </a:cubicBezTo>
                <a:cubicBezTo>
                  <a:pt x="32" y="29"/>
                  <a:pt x="33" y="29"/>
                  <a:pt x="33" y="28"/>
                </a:cubicBezTo>
                <a:cubicBezTo>
                  <a:pt x="32" y="27"/>
                  <a:pt x="34" y="27"/>
                  <a:pt x="32" y="27"/>
                </a:cubicBezTo>
                <a:cubicBezTo>
                  <a:pt x="32" y="27"/>
                  <a:pt x="32" y="27"/>
                  <a:pt x="32" y="27"/>
                </a:cubicBezTo>
                <a:cubicBezTo>
                  <a:pt x="32" y="26"/>
                  <a:pt x="32" y="27"/>
                  <a:pt x="32" y="27"/>
                </a:cubicBezTo>
                <a:cubicBezTo>
                  <a:pt x="33" y="27"/>
                  <a:pt x="33" y="26"/>
                  <a:pt x="33" y="26"/>
                </a:cubicBezTo>
                <a:cubicBezTo>
                  <a:pt x="33" y="26"/>
                  <a:pt x="33" y="26"/>
                  <a:pt x="34" y="26"/>
                </a:cubicBezTo>
                <a:cubicBezTo>
                  <a:pt x="34" y="26"/>
                  <a:pt x="36" y="26"/>
                  <a:pt x="35" y="25"/>
                </a:cubicBezTo>
                <a:cubicBezTo>
                  <a:pt x="35" y="24"/>
                  <a:pt x="34" y="24"/>
                  <a:pt x="33" y="24"/>
                </a:cubicBezTo>
                <a:cubicBezTo>
                  <a:pt x="33" y="23"/>
                  <a:pt x="34" y="22"/>
                  <a:pt x="35" y="22"/>
                </a:cubicBezTo>
                <a:cubicBezTo>
                  <a:pt x="35" y="22"/>
                  <a:pt x="36" y="22"/>
                  <a:pt x="36" y="21"/>
                </a:cubicBezTo>
                <a:cubicBezTo>
                  <a:pt x="36" y="20"/>
                  <a:pt x="36" y="20"/>
                  <a:pt x="36" y="19"/>
                </a:cubicBezTo>
                <a:cubicBezTo>
                  <a:pt x="36" y="19"/>
                  <a:pt x="36" y="19"/>
                  <a:pt x="36" y="19"/>
                </a:cubicBezTo>
                <a:close/>
                <a:moveTo>
                  <a:pt x="23" y="5"/>
                </a:moveTo>
                <a:cubicBezTo>
                  <a:pt x="24" y="5"/>
                  <a:pt x="24" y="5"/>
                  <a:pt x="24" y="5"/>
                </a:cubicBezTo>
                <a:cubicBezTo>
                  <a:pt x="24" y="5"/>
                  <a:pt x="24" y="5"/>
                  <a:pt x="24" y="5"/>
                </a:cubicBezTo>
                <a:cubicBezTo>
                  <a:pt x="24" y="5"/>
                  <a:pt x="25" y="4"/>
                  <a:pt x="25" y="4"/>
                </a:cubicBezTo>
                <a:cubicBezTo>
                  <a:pt x="25" y="4"/>
                  <a:pt x="24" y="4"/>
                  <a:pt x="23" y="4"/>
                </a:cubicBezTo>
                <a:cubicBezTo>
                  <a:pt x="23" y="5"/>
                  <a:pt x="22" y="5"/>
                  <a:pt x="22" y="5"/>
                </a:cubicBezTo>
                <a:cubicBezTo>
                  <a:pt x="22" y="5"/>
                  <a:pt x="23" y="5"/>
                  <a:pt x="23" y="5"/>
                </a:cubicBezTo>
                <a:close/>
                <a:moveTo>
                  <a:pt x="5" y="11"/>
                </a:moveTo>
                <a:cubicBezTo>
                  <a:pt x="5" y="11"/>
                  <a:pt x="6" y="11"/>
                  <a:pt x="6" y="11"/>
                </a:cubicBezTo>
                <a:cubicBezTo>
                  <a:pt x="6" y="10"/>
                  <a:pt x="6" y="10"/>
                  <a:pt x="6" y="10"/>
                </a:cubicBezTo>
                <a:cubicBezTo>
                  <a:pt x="6" y="9"/>
                  <a:pt x="7" y="9"/>
                  <a:pt x="7" y="9"/>
                </a:cubicBezTo>
                <a:cubicBezTo>
                  <a:pt x="7" y="9"/>
                  <a:pt x="7" y="8"/>
                  <a:pt x="7" y="8"/>
                </a:cubicBezTo>
                <a:cubicBezTo>
                  <a:pt x="6" y="8"/>
                  <a:pt x="6" y="9"/>
                  <a:pt x="5" y="9"/>
                </a:cubicBezTo>
                <a:cubicBezTo>
                  <a:pt x="5" y="9"/>
                  <a:pt x="5" y="9"/>
                  <a:pt x="4" y="9"/>
                </a:cubicBezTo>
                <a:cubicBezTo>
                  <a:pt x="4" y="9"/>
                  <a:pt x="5" y="10"/>
                  <a:pt x="5" y="10"/>
                </a:cubicBezTo>
                <a:cubicBezTo>
                  <a:pt x="5" y="10"/>
                  <a:pt x="4" y="10"/>
                  <a:pt x="4" y="10"/>
                </a:cubicBezTo>
                <a:cubicBezTo>
                  <a:pt x="4" y="10"/>
                  <a:pt x="5" y="11"/>
                  <a:pt x="5" y="11"/>
                </a:cubicBezTo>
                <a:close/>
                <a:moveTo>
                  <a:pt x="34" y="28"/>
                </a:moveTo>
                <a:cubicBezTo>
                  <a:pt x="34" y="28"/>
                  <a:pt x="34" y="29"/>
                  <a:pt x="33" y="29"/>
                </a:cubicBezTo>
                <a:cubicBezTo>
                  <a:pt x="33" y="28"/>
                  <a:pt x="32" y="29"/>
                  <a:pt x="33" y="30"/>
                </a:cubicBezTo>
                <a:cubicBezTo>
                  <a:pt x="34" y="30"/>
                  <a:pt x="34" y="29"/>
                  <a:pt x="35" y="29"/>
                </a:cubicBezTo>
                <a:cubicBezTo>
                  <a:pt x="35" y="29"/>
                  <a:pt x="36" y="29"/>
                  <a:pt x="36" y="29"/>
                </a:cubicBezTo>
                <a:cubicBezTo>
                  <a:pt x="36" y="28"/>
                  <a:pt x="34" y="28"/>
                  <a:pt x="34" y="28"/>
                </a:cubicBezTo>
                <a:close/>
                <a:moveTo>
                  <a:pt x="23" y="27"/>
                </a:moveTo>
                <a:cubicBezTo>
                  <a:pt x="22" y="27"/>
                  <a:pt x="22" y="28"/>
                  <a:pt x="22" y="29"/>
                </a:cubicBezTo>
                <a:cubicBezTo>
                  <a:pt x="21" y="29"/>
                  <a:pt x="21" y="29"/>
                  <a:pt x="21" y="30"/>
                </a:cubicBezTo>
                <a:cubicBezTo>
                  <a:pt x="21" y="30"/>
                  <a:pt x="21" y="30"/>
                  <a:pt x="20" y="30"/>
                </a:cubicBezTo>
                <a:cubicBezTo>
                  <a:pt x="21" y="30"/>
                  <a:pt x="21" y="32"/>
                  <a:pt x="22" y="30"/>
                </a:cubicBezTo>
                <a:cubicBezTo>
                  <a:pt x="22" y="29"/>
                  <a:pt x="23" y="29"/>
                  <a:pt x="23" y="28"/>
                </a:cubicBezTo>
                <a:cubicBezTo>
                  <a:pt x="23" y="28"/>
                  <a:pt x="23" y="26"/>
                  <a:pt x="23" y="2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4" name="Democratic Republic of COngo"/>
          <p:cNvSpPr>
            <a:spLocks/>
          </p:cNvSpPr>
          <p:nvPr/>
        </p:nvSpPr>
        <p:spPr bwMode="auto">
          <a:xfrm>
            <a:off x="6218067" y="4449946"/>
            <a:ext cx="671975" cy="748972"/>
          </a:xfrm>
          <a:custGeom>
            <a:avLst/>
            <a:gdLst/>
            <a:ahLst/>
            <a:cxnLst>
              <a:cxn ang="0">
                <a:pos x="181" y="32"/>
              </a:cxn>
              <a:cxn ang="0">
                <a:pos x="182" y="20"/>
              </a:cxn>
              <a:cxn ang="0">
                <a:pos x="179" y="17"/>
              </a:cxn>
              <a:cxn ang="0">
                <a:pos x="173" y="12"/>
              </a:cxn>
              <a:cxn ang="0">
                <a:pos x="166" y="11"/>
              </a:cxn>
              <a:cxn ang="0">
                <a:pos x="159" y="11"/>
              </a:cxn>
              <a:cxn ang="0">
                <a:pos x="153" y="9"/>
              </a:cxn>
              <a:cxn ang="0">
                <a:pos x="141" y="3"/>
              </a:cxn>
              <a:cxn ang="0">
                <a:pos x="133" y="2"/>
              </a:cxn>
              <a:cxn ang="0">
                <a:pos x="128" y="3"/>
              </a:cxn>
              <a:cxn ang="0">
                <a:pos x="121" y="4"/>
              </a:cxn>
              <a:cxn ang="0">
                <a:pos x="116" y="5"/>
              </a:cxn>
              <a:cxn ang="0">
                <a:pos x="107" y="7"/>
              </a:cxn>
              <a:cxn ang="0">
                <a:pos x="102" y="11"/>
              </a:cxn>
              <a:cxn ang="0">
                <a:pos x="90" y="12"/>
              </a:cxn>
              <a:cxn ang="0">
                <a:pos x="80" y="7"/>
              </a:cxn>
              <a:cxn ang="0">
                <a:pos x="65" y="10"/>
              </a:cxn>
              <a:cxn ang="0">
                <a:pos x="60" y="31"/>
              </a:cxn>
              <a:cxn ang="0">
                <a:pos x="56" y="53"/>
              </a:cxn>
              <a:cxn ang="0">
                <a:pos x="47" y="72"/>
              </a:cxn>
              <a:cxn ang="0">
                <a:pos x="40" y="94"/>
              </a:cxn>
              <a:cxn ang="0">
                <a:pos x="31" y="106"/>
              </a:cxn>
              <a:cxn ang="0">
                <a:pos x="22" y="109"/>
              </a:cxn>
              <a:cxn ang="0">
                <a:pos x="16" y="110"/>
              </a:cxn>
              <a:cxn ang="0">
                <a:pos x="10" y="110"/>
              </a:cxn>
              <a:cxn ang="0">
                <a:pos x="4" y="115"/>
              </a:cxn>
              <a:cxn ang="0">
                <a:pos x="3" y="125"/>
              </a:cxn>
              <a:cxn ang="0">
                <a:pos x="18" y="124"/>
              </a:cxn>
              <a:cxn ang="0">
                <a:pos x="41" y="124"/>
              </a:cxn>
              <a:cxn ang="0">
                <a:pos x="46" y="135"/>
              </a:cxn>
              <a:cxn ang="0">
                <a:pos x="49" y="141"/>
              </a:cxn>
              <a:cxn ang="0">
                <a:pos x="52" y="147"/>
              </a:cxn>
              <a:cxn ang="0">
                <a:pos x="63" y="146"/>
              </a:cxn>
              <a:cxn ang="0">
                <a:pos x="71" y="140"/>
              </a:cxn>
              <a:cxn ang="0">
                <a:pos x="82" y="136"/>
              </a:cxn>
              <a:cxn ang="0">
                <a:pos x="94" y="150"/>
              </a:cxn>
              <a:cxn ang="0">
                <a:pos x="96" y="168"/>
              </a:cxn>
              <a:cxn ang="0">
                <a:pos x="97" y="180"/>
              </a:cxn>
              <a:cxn ang="0">
                <a:pos x="105" y="181"/>
              </a:cxn>
              <a:cxn ang="0">
                <a:pos x="114" y="179"/>
              </a:cxn>
              <a:cxn ang="0">
                <a:pos x="119" y="185"/>
              </a:cxn>
              <a:cxn ang="0">
                <a:pos x="128" y="188"/>
              </a:cxn>
              <a:cxn ang="0">
                <a:pos x="138" y="190"/>
              </a:cxn>
              <a:cxn ang="0">
                <a:pos x="146" y="188"/>
              </a:cxn>
              <a:cxn ang="0">
                <a:pos x="156" y="196"/>
              </a:cxn>
              <a:cxn ang="0">
                <a:pos x="161" y="204"/>
              </a:cxn>
              <a:cxn ang="0">
                <a:pos x="169" y="207"/>
              </a:cxn>
              <a:cxn ang="0">
                <a:pos x="168" y="193"/>
              </a:cxn>
              <a:cxn ang="0">
                <a:pos x="163" y="195"/>
              </a:cxn>
              <a:cxn ang="0">
                <a:pos x="157" y="188"/>
              </a:cxn>
              <a:cxn ang="0">
                <a:pos x="159" y="171"/>
              </a:cxn>
              <a:cxn ang="0">
                <a:pos x="162" y="152"/>
              </a:cxn>
              <a:cxn ang="0">
                <a:pos x="175" y="141"/>
              </a:cxn>
              <a:cxn ang="0">
                <a:pos x="165" y="124"/>
              </a:cxn>
              <a:cxn ang="0">
                <a:pos x="165" y="112"/>
              </a:cxn>
              <a:cxn ang="0">
                <a:pos x="165" y="105"/>
              </a:cxn>
              <a:cxn ang="0">
                <a:pos x="165" y="98"/>
              </a:cxn>
              <a:cxn ang="0">
                <a:pos x="165" y="91"/>
              </a:cxn>
              <a:cxn ang="0">
                <a:pos x="164" y="85"/>
              </a:cxn>
              <a:cxn ang="0">
                <a:pos x="169" y="75"/>
              </a:cxn>
              <a:cxn ang="0">
                <a:pos x="170" y="65"/>
              </a:cxn>
              <a:cxn ang="0">
                <a:pos x="173" y="52"/>
              </a:cxn>
              <a:cxn ang="0">
                <a:pos x="182" y="41"/>
              </a:cxn>
            </a:cxnLst>
            <a:rect l="0" t="0" r="r" b="b"/>
            <a:pathLst>
              <a:path w="186" h="207">
                <a:moveTo>
                  <a:pt x="186" y="35"/>
                </a:moveTo>
                <a:cubicBezTo>
                  <a:pt x="186" y="35"/>
                  <a:pt x="185" y="35"/>
                  <a:pt x="185" y="34"/>
                </a:cubicBezTo>
                <a:cubicBezTo>
                  <a:pt x="185" y="34"/>
                  <a:pt x="184" y="34"/>
                  <a:pt x="184" y="34"/>
                </a:cubicBezTo>
                <a:cubicBezTo>
                  <a:pt x="184" y="34"/>
                  <a:pt x="184" y="33"/>
                  <a:pt x="183" y="33"/>
                </a:cubicBezTo>
                <a:cubicBezTo>
                  <a:pt x="182" y="33"/>
                  <a:pt x="183" y="34"/>
                  <a:pt x="182" y="34"/>
                </a:cubicBezTo>
                <a:cubicBezTo>
                  <a:pt x="182" y="34"/>
                  <a:pt x="182" y="33"/>
                  <a:pt x="181" y="32"/>
                </a:cubicBezTo>
                <a:cubicBezTo>
                  <a:pt x="181" y="32"/>
                  <a:pt x="181" y="33"/>
                  <a:pt x="181" y="32"/>
                </a:cubicBezTo>
                <a:cubicBezTo>
                  <a:pt x="181" y="32"/>
                  <a:pt x="181" y="31"/>
                  <a:pt x="181" y="31"/>
                </a:cubicBezTo>
                <a:cubicBezTo>
                  <a:pt x="181" y="30"/>
                  <a:pt x="181" y="29"/>
                  <a:pt x="182" y="29"/>
                </a:cubicBezTo>
                <a:cubicBezTo>
                  <a:pt x="182" y="28"/>
                  <a:pt x="182" y="27"/>
                  <a:pt x="182" y="27"/>
                </a:cubicBezTo>
                <a:cubicBezTo>
                  <a:pt x="181" y="26"/>
                  <a:pt x="181" y="26"/>
                  <a:pt x="181" y="25"/>
                </a:cubicBezTo>
                <a:cubicBezTo>
                  <a:pt x="181" y="25"/>
                  <a:pt x="181" y="24"/>
                  <a:pt x="182" y="23"/>
                </a:cubicBezTo>
                <a:cubicBezTo>
                  <a:pt x="182" y="22"/>
                  <a:pt x="182" y="22"/>
                  <a:pt x="183" y="21"/>
                </a:cubicBezTo>
                <a:cubicBezTo>
                  <a:pt x="183" y="20"/>
                  <a:pt x="182" y="21"/>
                  <a:pt x="182" y="20"/>
                </a:cubicBezTo>
                <a:cubicBezTo>
                  <a:pt x="182" y="20"/>
                  <a:pt x="181" y="20"/>
                  <a:pt x="181" y="20"/>
                </a:cubicBezTo>
                <a:cubicBezTo>
                  <a:pt x="181" y="20"/>
                  <a:pt x="181" y="19"/>
                  <a:pt x="181" y="19"/>
                </a:cubicBezTo>
                <a:cubicBezTo>
                  <a:pt x="181" y="19"/>
                  <a:pt x="181" y="19"/>
                  <a:pt x="181" y="19"/>
                </a:cubicBezTo>
                <a:cubicBezTo>
                  <a:pt x="180" y="19"/>
                  <a:pt x="180" y="19"/>
                  <a:pt x="180" y="19"/>
                </a:cubicBezTo>
                <a:cubicBezTo>
                  <a:pt x="180" y="19"/>
                  <a:pt x="180" y="20"/>
                  <a:pt x="179" y="20"/>
                </a:cubicBezTo>
                <a:cubicBezTo>
                  <a:pt x="179" y="20"/>
                  <a:pt x="179" y="19"/>
                  <a:pt x="179" y="19"/>
                </a:cubicBezTo>
                <a:cubicBezTo>
                  <a:pt x="179" y="18"/>
                  <a:pt x="179" y="17"/>
                  <a:pt x="179" y="17"/>
                </a:cubicBezTo>
                <a:cubicBezTo>
                  <a:pt x="178" y="16"/>
                  <a:pt x="178" y="17"/>
                  <a:pt x="177" y="16"/>
                </a:cubicBezTo>
                <a:cubicBezTo>
                  <a:pt x="177" y="16"/>
                  <a:pt x="176" y="16"/>
                  <a:pt x="176" y="16"/>
                </a:cubicBezTo>
                <a:cubicBezTo>
                  <a:pt x="175" y="16"/>
                  <a:pt x="175" y="15"/>
                  <a:pt x="175" y="15"/>
                </a:cubicBezTo>
                <a:cubicBezTo>
                  <a:pt x="175" y="14"/>
                  <a:pt x="174" y="14"/>
                  <a:pt x="174" y="14"/>
                </a:cubicBezTo>
                <a:cubicBezTo>
                  <a:pt x="174" y="13"/>
                  <a:pt x="174" y="13"/>
                  <a:pt x="173" y="13"/>
                </a:cubicBezTo>
                <a:cubicBezTo>
                  <a:pt x="173" y="13"/>
                  <a:pt x="173" y="13"/>
                  <a:pt x="173" y="12"/>
                </a:cubicBezTo>
                <a:cubicBezTo>
                  <a:pt x="173" y="12"/>
                  <a:pt x="173" y="12"/>
                  <a:pt x="173" y="12"/>
                </a:cubicBezTo>
                <a:cubicBezTo>
                  <a:pt x="172" y="11"/>
                  <a:pt x="172" y="12"/>
                  <a:pt x="171" y="11"/>
                </a:cubicBezTo>
                <a:cubicBezTo>
                  <a:pt x="171" y="11"/>
                  <a:pt x="171" y="10"/>
                  <a:pt x="172" y="9"/>
                </a:cubicBezTo>
                <a:cubicBezTo>
                  <a:pt x="172" y="9"/>
                  <a:pt x="170" y="8"/>
                  <a:pt x="169" y="8"/>
                </a:cubicBezTo>
                <a:cubicBezTo>
                  <a:pt x="168" y="8"/>
                  <a:pt x="168" y="9"/>
                  <a:pt x="168" y="9"/>
                </a:cubicBezTo>
                <a:cubicBezTo>
                  <a:pt x="168" y="10"/>
                  <a:pt x="167" y="10"/>
                  <a:pt x="167" y="10"/>
                </a:cubicBezTo>
                <a:cubicBezTo>
                  <a:pt x="167" y="11"/>
                  <a:pt x="167" y="11"/>
                  <a:pt x="167" y="11"/>
                </a:cubicBezTo>
                <a:cubicBezTo>
                  <a:pt x="167" y="11"/>
                  <a:pt x="166" y="11"/>
                  <a:pt x="166" y="11"/>
                </a:cubicBezTo>
                <a:cubicBezTo>
                  <a:pt x="166" y="11"/>
                  <a:pt x="166" y="11"/>
                  <a:pt x="166" y="11"/>
                </a:cubicBezTo>
                <a:cubicBezTo>
                  <a:pt x="166" y="12"/>
                  <a:pt x="165" y="11"/>
                  <a:pt x="165" y="11"/>
                </a:cubicBezTo>
                <a:cubicBezTo>
                  <a:pt x="164" y="10"/>
                  <a:pt x="164" y="10"/>
                  <a:pt x="163" y="10"/>
                </a:cubicBezTo>
                <a:cubicBezTo>
                  <a:pt x="163" y="10"/>
                  <a:pt x="162" y="10"/>
                  <a:pt x="162" y="9"/>
                </a:cubicBezTo>
                <a:cubicBezTo>
                  <a:pt x="161" y="9"/>
                  <a:pt x="161" y="10"/>
                  <a:pt x="161" y="10"/>
                </a:cubicBezTo>
                <a:cubicBezTo>
                  <a:pt x="160" y="10"/>
                  <a:pt x="160" y="10"/>
                  <a:pt x="160" y="11"/>
                </a:cubicBezTo>
                <a:cubicBezTo>
                  <a:pt x="159" y="11"/>
                  <a:pt x="159" y="11"/>
                  <a:pt x="159" y="11"/>
                </a:cubicBezTo>
                <a:cubicBezTo>
                  <a:pt x="159" y="11"/>
                  <a:pt x="159" y="12"/>
                  <a:pt x="159" y="12"/>
                </a:cubicBezTo>
                <a:cubicBezTo>
                  <a:pt x="158" y="13"/>
                  <a:pt x="158" y="11"/>
                  <a:pt x="157" y="11"/>
                </a:cubicBezTo>
                <a:cubicBezTo>
                  <a:pt x="156" y="11"/>
                  <a:pt x="156" y="12"/>
                  <a:pt x="156" y="11"/>
                </a:cubicBezTo>
                <a:cubicBezTo>
                  <a:pt x="156" y="11"/>
                  <a:pt x="155" y="11"/>
                  <a:pt x="155" y="11"/>
                </a:cubicBezTo>
                <a:cubicBezTo>
                  <a:pt x="155" y="10"/>
                  <a:pt x="155" y="11"/>
                  <a:pt x="155" y="11"/>
                </a:cubicBezTo>
                <a:cubicBezTo>
                  <a:pt x="154" y="11"/>
                  <a:pt x="154" y="10"/>
                  <a:pt x="154" y="10"/>
                </a:cubicBezTo>
                <a:cubicBezTo>
                  <a:pt x="154" y="9"/>
                  <a:pt x="153" y="9"/>
                  <a:pt x="153" y="9"/>
                </a:cubicBezTo>
                <a:cubicBezTo>
                  <a:pt x="152" y="9"/>
                  <a:pt x="152" y="9"/>
                  <a:pt x="152" y="8"/>
                </a:cubicBezTo>
                <a:cubicBezTo>
                  <a:pt x="152" y="7"/>
                  <a:pt x="152" y="7"/>
                  <a:pt x="151" y="6"/>
                </a:cubicBezTo>
                <a:cubicBezTo>
                  <a:pt x="151" y="6"/>
                  <a:pt x="151" y="6"/>
                  <a:pt x="150" y="5"/>
                </a:cubicBezTo>
                <a:cubicBezTo>
                  <a:pt x="149" y="5"/>
                  <a:pt x="149" y="4"/>
                  <a:pt x="148" y="3"/>
                </a:cubicBezTo>
                <a:cubicBezTo>
                  <a:pt x="147" y="3"/>
                  <a:pt x="145" y="2"/>
                  <a:pt x="144" y="3"/>
                </a:cubicBezTo>
                <a:cubicBezTo>
                  <a:pt x="144" y="3"/>
                  <a:pt x="143" y="4"/>
                  <a:pt x="143" y="4"/>
                </a:cubicBezTo>
                <a:cubicBezTo>
                  <a:pt x="142" y="4"/>
                  <a:pt x="142" y="3"/>
                  <a:pt x="141" y="3"/>
                </a:cubicBezTo>
                <a:cubicBezTo>
                  <a:pt x="141" y="3"/>
                  <a:pt x="140" y="4"/>
                  <a:pt x="140" y="4"/>
                </a:cubicBezTo>
                <a:cubicBezTo>
                  <a:pt x="139" y="4"/>
                  <a:pt x="139" y="3"/>
                  <a:pt x="138" y="3"/>
                </a:cubicBezTo>
                <a:cubicBezTo>
                  <a:pt x="138" y="3"/>
                  <a:pt x="137" y="3"/>
                  <a:pt x="137" y="2"/>
                </a:cubicBezTo>
                <a:cubicBezTo>
                  <a:pt x="136" y="2"/>
                  <a:pt x="136" y="2"/>
                  <a:pt x="135" y="2"/>
                </a:cubicBezTo>
                <a:cubicBezTo>
                  <a:pt x="135" y="2"/>
                  <a:pt x="135" y="2"/>
                  <a:pt x="134" y="2"/>
                </a:cubicBezTo>
                <a:cubicBezTo>
                  <a:pt x="134" y="2"/>
                  <a:pt x="134" y="2"/>
                  <a:pt x="134" y="2"/>
                </a:cubicBezTo>
                <a:cubicBezTo>
                  <a:pt x="133" y="2"/>
                  <a:pt x="133" y="2"/>
                  <a:pt x="133" y="2"/>
                </a:cubicBezTo>
                <a:cubicBezTo>
                  <a:pt x="133" y="2"/>
                  <a:pt x="133" y="1"/>
                  <a:pt x="132" y="1"/>
                </a:cubicBezTo>
                <a:cubicBezTo>
                  <a:pt x="132" y="2"/>
                  <a:pt x="132" y="1"/>
                  <a:pt x="132" y="1"/>
                </a:cubicBezTo>
                <a:cubicBezTo>
                  <a:pt x="132" y="1"/>
                  <a:pt x="131" y="1"/>
                  <a:pt x="131" y="1"/>
                </a:cubicBezTo>
                <a:cubicBezTo>
                  <a:pt x="131" y="1"/>
                  <a:pt x="131" y="0"/>
                  <a:pt x="130" y="0"/>
                </a:cubicBezTo>
                <a:cubicBezTo>
                  <a:pt x="130" y="0"/>
                  <a:pt x="130" y="1"/>
                  <a:pt x="130" y="0"/>
                </a:cubicBezTo>
                <a:cubicBezTo>
                  <a:pt x="129" y="0"/>
                  <a:pt x="128" y="1"/>
                  <a:pt x="128" y="2"/>
                </a:cubicBezTo>
                <a:cubicBezTo>
                  <a:pt x="128" y="3"/>
                  <a:pt x="128" y="3"/>
                  <a:pt x="128" y="3"/>
                </a:cubicBezTo>
                <a:cubicBezTo>
                  <a:pt x="128" y="3"/>
                  <a:pt x="128" y="4"/>
                  <a:pt x="128" y="4"/>
                </a:cubicBezTo>
                <a:cubicBezTo>
                  <a:pt x="127" y="4"/>
                  <a:pt x="127" y="4"/>
                  <a:pt x="126" y="4"/>
                </a:cubicBezTo>
                <a:cubicBezTo>
                  <a:pt x="126" y="4"/>
                  <a:pt x="126" y="5"/>
                  <a:pt x="125" y="5"/>
                </a:cubicBezTo>
                <a:cubicBezTo>
                  <a:pt x="125" y="5"/>
                  <a:pt x="125" y="4"/>
                  <a:pt x="124" y="5"/>
                </a:cubicBezTo>
                <a:cubicBezTo>
                  <a:pt x="124" y="5"/>
                  <a:pt x="123" y="5"/>
                  <a:pt x="123" y="5"/>
                </a:cubicBezTo>
                <a:cubicBezTo>
                  <a:pt x="123" y="5"/>
                  <a:pt x="121" y="5"/>
                  <a:pt x="122" y="5"/>
                </a:cubicBezTo>
                <a:cubicBezTo>
                  <a:pt x="122" y="5"/>
                  <a:pt x="121" y="5"/>
                  <a:pt x="121" y="4"/>
                </a:cubicBezTo>
                <a:cubicBezTo>
                  <a:pt x="121" y="4"/>
                  <a:pt x="120" y="3"/>
                  <a:pt x="120" y="3"/>
                </a:cubicBezTo>
                <a:cubicBezTo>
                  <a:pt x="120" y="3"/>
                  <a:pt x="119" y="3"/>
                  <a:pt x="119" y="4"/>
                </a:cubicBezTo>
                <a:cubicBezTo>
                  <a:pt x="119" y="3"/>
                  <a:pt x="118" y="3"/>
                  <a:pt x="119" y="4"/>
                </a:cubicBezTo>
                <a:cubicBezTo>
                  <a:pt x="119" y="4"/>
                  <a:pt x="118" y="4"/>
                  <a:pt x="118" y="5"/>
                </a:cubicBezTo>
                <a:cubicBezTo>
                  <a:pt x="118" y="5"/>
                  <a:pt x="118" y="5"/>
                  <a:pt x="117" y="5"/>
                </a:cubicBezTo>
                <a:cubicBezTo>
                  <a:pt x="117" y="5"/>
                  <a:pt x="117" y="5"/>
                  <a:pt x="117" y="5"/>
                </a:cubicBezTo>
                <a:cubicBezTo>
                  <a:pt x="116" y="5"/>
                  <a:pt x="116" y="5"/>
                  <a:pt x="116" y="5"/>
                </a:cubicBezTo>
                <a:cubicBezTo>
                  <a:pt x="116" y="5"/>
                  <a:pt x="115" y="6"/>
                  <a:pt x="115" y="6"/>
                </a:cubicBezTo>
                <a:cubicBezTo>
                  <a:pt x="115" y="6"/>
                  <a:pt x="115" y="6"/>
                  <a:pt x="115" y="6"/>
                </a:cubicBezTo>
                <a:cubicBezTo>
                  <a:pt x="114" y="6"/>
                  <a:pt x="115" y="6"/>
                  <a:pt x="114" y="6"/>
                </a:cubicBezTo>
                <a:cubicBezTo>
                  <a:pt x="113" y="6"/>
                  <a:pt x="112" y="7"/>
                  <a:pt x="111" y="8"/>
                </a:cubicBezTo>
                <a:cubicBezTo>
                  <a:pt x="110" y="8"/>
                  <a:pt x="110" y="8"/>
                  <a:pt x="110" y="9"/>
                </a:cubicBezTo>
                <a:cubicBezTo>
                  <a:pt x="110" y="9"/>
                  <a:pt x="109" y="9"/>
                  <a:pt x="108" y="9"/>
                </a:cubicBezTo>
                <a:cubicBezTo>
                  <a:pt x="108" y="8"/>
                  <a:pt x="108" y="7"/>
                  <a:pt x="107" y="7"/>
                </a:cubicBezTo>
                <a:cubicBezTo>
                  <a:pt x="106" y="7"/>
                  <a:pt x="106" y="8"/>
                  <a:pt x="106" y="7"/>
                </a:cubicBezTo>
                <a:cubicBezTo>
                  <a:pt x="105" y="7"/>
                  <a:pt x="105" y="6"/>
                  <a:pt x="104" y="6"/>
                </a:cubicBezTo>
                <a:cubicBezTo>
                  <a:pt x="104" y="7"/>
                  <a:pt x="105" y="7"/>
                  <a:pt x="104" y="7"/>
                </a:cubicBezTo>
                <a:cubicBezTo>
                  <a:pt x="104" y="8"/>
                  <a:pt x="103" y="7"/>
                  <a:pt x="103" y="8"/>
                </a:cubicBezTo>
                <a:cubicBezTo>
                  <a:pt x="103" y="8"/>
                  <a:pt x="103" y="9"/>
                  <a:pt x="103" y="9"/>
                </a:cubicBezTo>
                <a:cubicBezTo>
                  <a:pt x="103" y="10"/>
                  <a:pt x="103" y="10"/>
                  <a:pt x="102" y="10"/>
                </a:cubicBezTo>
                <a:cubicBezTo>
                  <a:pt x="101" y="10"/>
                  <a:pt x="102" y="11"/>
                  <a:pt x="102" y="11"/>
                </a:cubicBezTo>
                <a:cubicBezTo>
                  <a:pt x="102" y="12"/>
                  <a:pt x="101" y="12"/>
                  <a:pt x="101" y="12"/>
                </a:cubicBezTo>
                <a:cubicBezTo>
                  <a:pt x="101" y="13"/>
                  <a:pt x="101" y="13"/>
                  <a:pt x="100" y="14"/>
                </a:cubicBezTo>
                <a:cubicBezTo>
                  <a:pt x="99" y="14"/>
                  <a:pt x="98" y="13"/>
                  <a:pt x="97" y="13"/>
                </a:cubicBezTo>
                <a:cubicBezTo>
                  <a:pt x="96" y="13"/>
                  <a:pt x="96" y="13"/>
                  <a:pt x="95" y="13"/>
                </a:cubicBezTo>
                <a:cubicBezTo>
                  <a:pt x="94" y="13"/>
                  <a:pt x="94" y="12"/>
                  <a:pt x="93" y="12"/>
                </a:cubicBezTo>
                <a:cubicBezTo>
                  <a:pt x="92" y="12"/>
                  <a:pt x="92" y="12"/>
                  <a:pt x="91" y="13"/>
                </a:cubicBezTo>
                <a:cubicBezTo>
                  <a:pt x="91" y="13"/>
                  <a:pt x="90" y="12"/>
                  <a:pt x="90" y="12"/>
                </a:cubicBezTo>
                <a:cubicBezTo>
                  <a:pt x="89" y="12"/>
                  <a:pt x="89" y="12"/>
                  <a:pt x="88" y="12"/>
                </a:cubicBezTo>
                <a:cubicBezTo>
                  <a:pt x="88" y="12"/>
                  <a:pt x="88" y="12"/>
                  <a:pt x="87" y="12"/>
                </a:cubicBezTo>
                <a:cubicBezTo>
                  <a:pt x="87" y="11"/>
                  <a:pt x="85" y="10"/>
                  <a:pt x="84" y="10"/>
                </a:cubicBezTo>
                <a:cubicBezTo>
                  <a:pt x="84" y="11"/>
                  <a:pt x="83" y="11"/>
                  <a:pt x="82" y="11"/>
                </a:cubicBezTo>
                <a:cubicBezTo>
                  <a:pt x="82" y="11"/>
                  <a:pt x="82" y="10"/>
                  <a:pt x="81" y="10"/>
                </a:cubicBezTo>
                <a:cubicBezTo>
                  <a:pt x="81" y="9"/>
                  <a:pt x="81" y="9"/>
                  <a:pt x="81" y="8"/>
                </a:cubicBezTo>
                <a:cubicBezTo>
                  <a:pt x="80" y="8"/>
                  <a:pt x="80" y="7"/>
                  <a:pt x="80" y="7"/>
                </a:cubicBezTo>
                <a:cubicBezTo>
                  <a:pt x="79" y="6"/>
                  <a:pt x="77" y="5"/>
                  <a:pt x="76" y="5"/>
                </a:cubicBezTo>
                <a:cubicBezTo>
                  <a:pt x="75" y="4"/>
                  <a:pt x="75" y="4"/>
                  <a:pt x="75" y="3"/>
                </a:cubicBezTo>
                <a:cubicBezTo>
                  <a:pt x="74" y="3"/>
                  <a:pt x="73" y="3"/>
                  <a:pt x="73" y="3"/>
                </a:cubicBezTo>
                <a:cubicBezTo>
                  <a:pt x="71" y="3"/>
                  <a:pt x="71" y="3"/>
                  <a:pt x="70" y="4"/>
                </a:cubicBezTo>
                <a:cubicBezTo>
                  <a:pt x="69" y="4"/>
                  <a:pt x="69" y="5"/>
                  <a:pt x="68" y="5"/>
                </a:cubicBezTo>
                <a:cubicBezTo>
                  <a:pt x="67" y="5"/>
                  <a:pt x="67" y="6"/>
                  <a:pt x="67" y="7"/>
                </a:cubicBezTo>
                <a:cubicBezTo>
                  <a:pt x="66" y="8"/>
                  <a:pt x="65" y="9"/>
                  <a:pt x="65" y="10"/>
                </a:cubicBezTo>
                <a:cubicBezTo>
                  <a:pt x="64" y="11"/>
                  <a:pt x="64" y="11"/>
                  <a:pt x="63" y="11"/>
                </a:cubicBezTo>
                <a:cubicBezTo>
                  <a:pt x="63" y="11"/>
                  <a:pt x="62" y="12"/>
                  <a:pt x="62" y="12"/>
                </a:cubicBezTo>
                <a:cubicBezTo>
                  <a:pt x="63" y="14"/>
                  <a:pt x="63" y="15"/>
                  <a:pt x="63" y="17"/>
                </a:cubicBezTo>
                <a:cubicBezTo>
                  <a:pt x="63" y="19"/>
                  <a:pt x="63" y="20"/>
                  <a:pt x="63" y="22"/>
                </a:cubicBezTo>
                <a:cubicBezTo>
                  <a:pt x="63" y="23"/>
                  <a:pt x="63" y="24"/>
                  <a:pt x="63" y="25"/>
                </a:cubicBezTo>
                <a:cubicBezTo>
                  <a:pt x="63" y="25"/>
                  <a:pt x="62" y="26"/>
                  <a:pt x="62" y="26"/>
                </a:cubicBezTo>
                <a:cubicBezTo>
                  <a:pt x="61" y="28"/>
                  <a:pt x="61" y="30"/>
                  <a:pt x="60" y="31"/>
                </a:cubicBezTo>
                <a:cubicBezTo>
                  <a:pt x="60" y="32"/>
                  <a:pt x="59" y="32"/>
                  <a:pt x="59" y="33"/>
                </a:cubicBezTo>
                <a:cubicBezTo>
                  <a:pt x="59" y="34"/>
                  <a:pt x="58" y="34"/>
                  <a:pt x="58" y="35"/>
                </a:cubicBezTo>
                <a:cubicBezTo>
                  <a:pt x="58" y="37"/>
                  <a:pt x="58" y="39"/>
                  <a:pt x="58" y="41"/>
                </a:cubicBezTo>
                <a:cubicBezTo>
                  <a:pt x="58" y="42"/>
                  <a:pt x="57" y="44"/>
                  <a:pt x="57" y="46"/>
                </a:cubicBezTo>
                <a:cubicBezTo>
                  <a:pt x="57" y="47"/>
                  <a:pt x="56" y="47"/>
                  <a:pt x="56" y="48"/>
                </a:cubicBezTo>
                <a:cubicBezTo>
                  <a:pt x="56" y="49"/>
                  <a:pt x="56" y="50"/>
                  <a:pt x="56" y="51"/>
                </a:cubicBezTo>
                <a:cubicBezTo>
                  <a:pt x="56" y="51"/>
                  <a:pt x="56" y="52"/>
                  <a:pt x="56" y="53"/>
                </a:cubicBezTo>
                <a:cubicBezTo>
                  <a:pt x="57" y="54"/>
                  <a:pt x="57" y="54"/>
                  <a:pt x="57" y="55"/>
                </a:cubicBezTo>
                <a:cubicBezTo>
                  <a:pt x="56" y="56"/>
                  <a:pt x="56" y="57"/>
                  <a:pt x="55" y="57"/>
                </a:cubicBezTo>
                <a:cubicBezTo>
                  <a:pt x="55" y="58"/>
                  <a:pt x="55" y="59"/>
                  <a:pt x="55" y="60"/>
                </a:cubicBezTo>
                <a:cubicBezTo>
                  <a:pt x="54" y="61"/>
                  <a:pt x="54" y="61"/>
                  <a:pt x="54" y="62"/>
                </a:cubicBezTo>
                <a:cubicBezTo>
                  <a:pt x="55" y="63"/>
                  <a:pt x="55" y="64"/>
                  <a:pt x="54" y="65"/>
                </a:cubicBezTo>
                <a:cubicBezTo>
                  <a:pt x="54" y="67"/>
                  <a:pt x="52" y="68"/>
                  <a:pt x="51" y="70"/>
                </a:cubicBezTo>
                <a:cubicBezTo>
                  <a:pt x="50" y="71"/>
                  <a:pt x="49" y="71"/>
                  <a:pt x="47" y="72"/>
                </a:cubicBezTo>
                <a:cubicBezTo>
                  <a:pt x="46" y="73"/>
                  <a:pt x="45" y="74"/>
                  <a:pt x="45" y="76"/>
                </a:cubicBezTo>
                <a:cubicBezTo>
                  <a:pt x="44" y="77"/>
                  <a:pt x="44" y="79"/>
                  <a:pt x="43" y="80"/>
                </a:cubicBezTo>
                <a:cubicBezTo>
                  <a:pt x="42" y="81"/>
                  <a:pt x="41" y="81"/>
                  <a:pt x="41" y="82"/>
                </a:cubicBezTo>
                <a:cubicBezTo>
                  <a:pt x="40" y="82"/>
                  <a:pt x="40" y="83"/>
                  <a:pt x="40" y="83"/>
                </a:cubicBezTo>
                <a:cubicBezTo>
                  <a:pt x="39" y="85"/>
                  <a:pt x="40" y="87"/>
                  <a:pt x="40" y="88"/>
                </a:cubicBezTo>
                <a:cubicBezTo>
                  <a:pt x="40" y="89"/>
                  <a:pt x="40" y="90"/>
                  <a:pt x="40" y="91"/>
                </a:cubicBezTo>
                <a:cubicBezTo>
                  <a:pt x="39" y="92"/>
                  <a:pt x="40" y="93"/>
                  <a:pt x="40" y="94"/>
                </a:cubicBezTo>
                <a:cubicBezTo>
                  <a:pt x="40" y="95"/>
                  <a:pt x="40" y="96"/>
                  <a:pt x="40" y="96"/>
                </a:cubicBezTo>
                <a:cubicBezTo>
                  <a:pt x="39" y="97"/>
                  <a:pt x="39" y="98"/>
                  <a:pt x="39" y="98"/>
                </a:cubicBezTo>
                <a:cubicBezTo>
                  <a:pt x="38" y="99"/>
                  <a:pt x="38" y="100"/>
                  <a:pt x="37" y="101"/>
                </a:cubicBezTo>
                <a:cubicBezTo>
                  <a:pt x="37" y="101"/>
                  <a:pt x="37" y="102"/>
                  <a:pt x="37" y="103"/>
                </a:cubicBezTo>
                <a:cubicBezTo>
                  <a:pt x="36" y="104"/>
                  <a:pt x="34" y="103"/>
                  <a:pt x="33" y="104"/>
                </a:cubicBezTo>
                <a:cubicBezTo>
                  <a:pt x="33" y="105"/>
                  <a:pt x="33" y="105"/>
                  <a:pt x="32" y="106"/>
                </a:cubicBezTo>
                <a:cubicBezTo>
                  <a:pt x="32" y="107"/>
                  <a:pt x="32" y="106"/>
                  <a:pt x="31" y="106"/>
                </a:cubicBezTo>
                <a:cubicBezTo>
                  <a:pt x="30" y="106"/>
                  <a:pt x="29" y="108"/>
                  <a:pt x="28" y="109"/>
                </a:cubicBezTo>
                <a:cubicBezTo>
                  <a:pt x="28" y="110"/>
                  <a:pt x="27" y="110"/>
                  <a:pt x="27" y="111"/>
                </a:cubicBezTo>
                <a:cubicBezTo>
                  <a:pt x="26" y="112"/>
                  <a:pt x="26" y="112"/>
                  <a:pt x="26" y="113"/>
                </a:cubicBezTo>
                <a:cubicBezTo>
                  <a:pt x="25" y="113"/>
                  <a:pt x="24" y="113"/>
                  <a:pt x="24" y="113"/>
                </a:cubicBezTo>
                <a:cubicBezTo>
                  <a:pt x="23" y="112"/>
                  <a:pt x="23" y="113"/>
                  <a:pt x="22" y="113"/>
                </a:cubicBezTo>
                <a:cubicBezTo>
                  <a:pt x="22" y="112"/>
                  <a:pt x="23" y="111"/>
                  <a:pt x="22" y="111"/>
                </a:cubicBezTo>
                <a:cubicBezTo>
                  <a:pt x="22" y="110"/>
                  <a:pt x="22" y="110"/>
                  <a:pt x="22" y="109"/>
                </a:cubicBezTo>
                <a:cubicBezTo>
                  <a:pt x="22" y="109"/>
                  <a:pt x="23" y="108"/>
                  <a:pt x="23" y="108"/>
                </a:cubicBezTo>
                <a:cubicBezTo>
                  <a:pt x="22" y="107"/>
                  <a:pt x="22" y="107"/>
                  <a:pt x="22" y="106"/>
                </a:cubicBezTo>
                <a:cubicBezTo>
                  <a:pt x="21" y="106"/>
                  <a:pt x="21" y="107"/>
                  <a:pt x="20" y="107"/>
                </a:cubicBezTo>
                <a:cubicBezTo>
                  <a:pt x="19" y="108"/>
                  <a:pt x="19" y="108"/>
                  <a:pt x="18" y="108"/>
                </a:cubicBezTo>
                <a:cubicBezTo>
                  <a:pt x="17" y="109"/>
                  <a:pt x="17" y="107"/>
                  <a:pt x="16" y="108"/>
                </a:cubicBezTo>
                <a:cubicBezTo>
                  <a:pt x="15" y="108"/>
                  <a:pt x="16" y="109"/>
                  <a:pt x="16" y="109"/>
                </a:cubicBezTo>
                <a:cubicBezTo>
                  <a:pt x="16" y="110"/>
                  <a:pt x="15" y="110"/>
                  <a:pt x="16" y="110"/>
                </a:cubicBezTo>
                <a:cubicBezTo>
                  <a:pt x="16" y="111"/>
                  <a:pt x="15" y="111"/>
                  <a:pt x="15" y="111"/>
                </a:cubicBezTo>
                <a:cubicBezTo>
                  <a:pt x="14" y="112"/>
                  <a:pt x="14" y="112"/>
                  <a:pt x="14" y="112"/>
                </a:cubicBezTo>
                <a:cubicBezTo>
                  <a:pt x="14" y="112"/>
                  <a:pt x="14" y="111"/>
                  <a:pt x="13" y="112"/>
                </a:cubicBezTo>
                <a:cubicBezTo>
                  <a:pt x="13" y="112"/>
                  <a:pt x="13" y="112"/>
                  <a:pt x="13" y="112"/>
                </a:cubicBezTo>
                <a:cubicBezTo>
                  <a:pt x="13" y="112"/>
                  <a:pt x="13" y="113"/>
                  <a:pt x="13" y="113"/>
                </a:cubicBezTo>
                <a:cubicBezTo>
                  <a:pt x="12" y="112"/>
                  <a:pt x="12" y="112"/>
                  <a:pt x="12" y="112"/>
                </a:cubicBezTo>
                <a:cubicBezTo>
                  <a:pt x="11" y="111"/>
                  <a:pt x="11" y="111"/>
                  <a:pt x="10" y="110"/>
                </a:cubicBezTo>
                <a:cubicBezTo>
                  <a:pt x="10" y="110"/>
                  <a:pt x="10" y="109"/>
                  <a:pt x="10" y="110"/>
                </a:cubicBezTo>
                <a:cubicBezTo>
                  <a:pt x="9" y="110"/>
                  <a:pt x="9" y="110"/>
                  <a:pt x="9" y="110"/>
                </a:cubicBezTo>
                <a:cubicBezTo>
                  <a:pt x="9" y="111"/>
                  <a:pt x="9" y="111"/>
                  <a:pt x="8" y="111"/>
                </a:cubicBezTo>
                <a:cubicBezTo>
                  <a:pt x="7" y="111"/>
                  <a:pt x="7" y="111"/>
                  <a:pt x="6" y="112"/>
                </a:cubicBezTo>
                <a:cubicBezTo>
                  <a:pt x="6" y="113"/>
                  <a:pt x="6" y="113"/>
                  <a:pt x="6" y="113"/>
                </a:cubicBezTo>
                <a:cubicBezTo>
                  <a:pt x="6" y="114"/>
                  <a:pt x="5" y="113"/>
                  <a:pt x="5" y="113"/>
                </a:cubicBezTo>
                <a:cubicBezTo>
                  <a:pt x="5" y="114"/>
                  <a:pt x="5" y="114"/>
                  <a:pt x="4" y="115"/>
                </a:cubicBezTo>
                <a:cubicBezTo>
                  <a:pt x="4" y="115"/>
                  <a:pt x="3" y="115"/>
                  <a:pt x="3" y="115"/>
                </a:cubicBezTo>
                <a:cubicBezTo>
                  <a:pt x="4" y="116"/>
                  <a:pt x="4" y="115"/>
                  <a:pt x="4" y="116"/>
                </a:cubicBezTo>
                <a:cubicBezTo>
                  <a:pt x="4" y="117"/>
                  <a:pt x="4" y="117"/>
                  <a:pt x="4" y="118"/>
                </a:cubicBezTo>
                <a:cubicBezTo>
                  <a:pt x="4" y="119"/>
                  <a:pt x="4" y="120"/>
                  <a:pt x="4" y="122"/>
                </a:cubicBezTo>
                <a:cubicBezTo>
                  <a:pt x="4" y="123"/>
                  <a:pt x="2" y="122"/>
                  <a:pt x="2" y="122"/>
                </a:cubicBezTo>
                <a:cubicBezTo>
                  <a:pt x="0" y="123"/>
                  <a:pt x="2" y="125"/>
                  <a:pt x="3" y="125"/>
                </a:cubicBezTo>
                <a:cubicBezTo>
                  <a:pt x="3" y="124"/>
                  <a:pt x="4" y="125"/>
                  <a:pt x="3" y="125"/>
                </a:cubicBezTo>
                <a:cubicBezTo>
                  <a:pt x="3" y="126"/>
                  <a:pt x="4" y="125"/>
                  <a:pt x="4" y="125"/>
                </a:cubicBezTo>
                <a:cubicBezTo>
                  <a:pt x="5" y="125"/>
                  <a:pt x="5" y="125"/>
                  <a:pt x="6" y="125"/>
                </a:cubicBezTo>
                <a:cubicBezTo>
                  <a:pt x="6" y="124"/>
                  <a:pt x="7" y="123"/>
                  <a:pt x="8" y="123"/>
                </a:cubicBezTo>
                <a:cubicBezTo>
                  <a:pt x="9" y="124"/>
                  <a:pt x="11" y="124"/>
                  <a:pt x="12" y="124"/>
                </a:cubicBezTo>
                <a:cubicBezTo>
                  <a:pt x="13" y="123"/>
                  <a:pt x="14" y="124"/>
                  <a:pt x="14" y="124"/>
                </a:cubicBezTo>
                <a:cubicBezTo>
                  <a:pt x="15" y="124"/>
                  <a:pt x="15" y="124"/>
                  <a:pt x="16" y="124"/>
                </a:cubicBezTo>
                <a:cubicBezTo>
                  <a:pt x="16" y="124"/>
                  <a:pt x="17" y="123"/>
                  <a:pt x="18" y="124"/>
                </a:cubicBezTo>
                <a:cubicBezTo>
                  <a:pt x="19" y="124"/>
                  <a:pt x="19" y="124"/>
                  <a:pt x="20" y="124"/>
                </a:cubicBezTo>
                <a:cubicBezTo>
                  <a:pt x="21" y="124"/>
                  <a:pt x="22" y="124"/>
                  <a:pt x="23" y="124"/>
                </a:cubicBezTo>
                <a:cubicBezTo>
                  <a:pt x="24" y="124"/>
                  <a:pt x="24" y="124"/>
                  <a:pt x="25" y="124"/>
                </a:cubicBezTo>
                <a:cubicBezTo>
                  <a:pt x="26" y="123"/>
                  <a:pt x="28" y="124"/>
                  <a:pt x="30" y="124"/>
                </a:cubicBezTo>
                <a:cubicBezTo>
                  <a:pt x="32" y="124"/>
                  <a:pt x="34" y="124"/>
                  <a:pt x="35" y="124"/>
                </a:cubicBezTo>
                <a:cubicBezTo>
                  <a:pt x="36" y="124"/>
                  <a:pt x="37" y="124"/>
                  <a:pt x="38" y="124"/>
                </a:cubicBezTo>
                <a:cubicBezTo>
                  <a:pt x="39" y="124"/>
                  <a:pt x="40" y="123"/>
                  <a:pt x="41" y="124"/>
                </a:cubicBezTo>
                <a:cubicBezTo>
                  <a:pt x="41" y="124"/>
                  <a:pt x="42" y="124"/>
                  <a:pt x="42" y="124"/>
                </a:cubicBezTo>
                <a:cubicBezTo>
                  <a:pt x="43" y="124"/>
                  <a:pt x="43" y="124"/>
                  <a:pt x="43" y="125"/>
                </a:cubicBezTo>
                <a:cubicBezTo>
                  <a:pt x="43" y="125"/>
                  <a:pt x="43" y="126"/>
                  <a:pt x="44" y="126"/>
                </a:cubicBezTo>
                <a:cubicBezTo>
                  <a:pt x="44" y="127"/>
                  <a:pt x="45" y="127"/>
                  <a:pt x="45" y="128"/>
                </a:cubicBezTo>
                <a:cubicBezTo>
                  <a:pt x="44" y="129"/>
                  <a:pt x="44" y="130"/>
                  <a:pt x="45" y="130"/>
                </a:cubicBezTo>
                <a:cubicBezTo>
                  <a:pt x="45" y="131"/>
                  <a:pt x="45" y="132"/>
                  <a:pt x="45" y="133"/>
                </a:cubicBezTo>
                <a:cubicBezTo>
                  <a:pt x="46" y="133"/>
                  <a:pt x="46" y="134"/>
                  <a:pt x="46" y="135"/>
                </a:cubicBezTo>
                <a:cubicBezTo>
                  <a:pt x="46" y="135"/>
                  <a:pt x="47" y="135"/>
                  <a:pt x="47" y="136"/>
                </a:cubicBezTo>
                <a:cubicBezTo>
                  <a:pt x="47" y="136"/>
                  <a:pt x="47" y="136"/>
                  <a:pt x="47" y="136"/>
                </a:cubicBezTo>
                <a:cubicBezTo>
                  <a:pt x="47" y="137"/>
                  <a:pt x="47" y="137"/>
                  <a:pt x="47" y="138"/>
                </a:cubicBezTo>
                <a:cubicBezTo>
                  <a:pt x="47" y="138"/>
                  <a:pt x="47" y="139"/>
                  <a:pt x="47" y="139"/>
                </a:cubicBezTo>
                <a:cubicBezTo>
                  <a:pt x="47" y="140"/>
                  <a:pt x="48" y="140"/>
                  <a:pt x="48" y="140"/>
                </a:cubicBezTo>
                <a:cubicBezTo>
                  <a:pt x="48" y="141"/>
                  <a:pt x="49" y="140"/>
                  <a:pt x="49" y="141"/>
                </a:cubicBezTo>
                <a:cubicBezTo>
                  <a:pt x="49" y="141"/>
                  <a:pt x="48" y="141"/>
                  <a:pt x="49" y="141"/>
                </a:cubicBezTo>
                <a:cubicBezTo>
                  <a:pt x="49" y="142"/>
                  <a:pt x="49" y="142"/>
                  <a:pt x="49" y="143"/>
                </a:cubicBezTo>
                <a:cubicBezTo>
                  <a:pt x="50" y="143"/>
                  <a:pt x="50" y="143"/>
                  <a:pt x="50" y="143"/>
                </a:cubicBezTo>
                <a:cubicBezTo>
                  <a:pt x="50" y="144"/>
                  <a:pt x="50" y="144"/>
                  <a:pt x="50" y="144"/>
                </a:cubicBezTo>
                <a:cubicBezTo>
                  <a:pt x="50" y="144"/>
                  <a:pt x="50" y="144"/>
                  <a:pt x="51" y="145"/>
                </a:cubicBezTo>
                <a:cubicBezTo>
                  <a:pt x="51" y="145"/>
                  <a:pt x="51" y="145"/>
                  <a:pt x="51" y="146"/>
                </a:cubicBezTo>
                <a:cubicBezTo>
                  <a:pt x="52" y="146"/>
                  <a:pt x="51" y="146"/>
                  <a:pt x="52" y="147"/>
                </a:cubicBezTo>
                <a:cubicBezTo>
                  <a:pt x="52" y="147"/>
                  <a:pt x="52" y="147"/>
                  <a:pt x="52" y="147"/>
                </a:cubicBezTo>
                <a:cubicBezTo>
                  <a:pt x="53" y="148"/>
                  <a:pt x="52" y="148"/>
                  <a:pt x="53" y="148"/>
                </a:cubicBezTo>
                <a:cubicBezTo>
                  <a:pt x="53" y="149"/>
                  <a:pt x="54" y="148"/>
                  <a:pt x="55" y="148"/>
                </a:cubicBezTo>
                <a:cubicBezTo>
                  <a:pt x="55" y="148"/>
                  <a:pt x="56" y="147"/>
                  <a:pt x="56" y="148"/>
                </a:cubicBezTo>
                <a:cubicBezTo>
                  <a:pt x="57" y="148"/>
                  <a:pt x="57" y="148"/>
                  <a:pt x="58" y="148"/>
                </a:cubicBezTo>
                <a:cubicBezTo>
                  <a:pt x="58" y="147"/>
                  <a:pt x="60" y="147"/>
                  <a:pt x="61" y="147"/>
                </a:cubicBezTo>
                <a:cubicBezTo>
                  <a:pt x="61" y="147"/>
                  <a:pt x="62" y="147"/>
                  <a:pt x="62" y="147"/>
                </a:cubicBezTo>
                <a:cubicBezTo>
                  <a:pt x="62" y="146"/>
                  <a:pt x="63" y="146"/>
                  <a:pt x="63" y="146"/>
                </a:cubicBezTo>
                <a:cubicBezTo>
                  <a:pt x="64" y="146"/>
                  <a:pt x="64" y="146"/>
                  <a:pt x="64" y="147"/>
                </a:cubicBezTo>
                <a:cubicBezTo>
                  <a:pt x="64" y="147"/>
                  <a:pt x="65" y="147"/>
                  <a:pt x="66" y="147"/>
                </a:cubicBezTo>
                <a:cubicBezTo>
                  <a:pt x="67" y="147"/>
                  <a:pt x="69" y="147"/>
                  <a:pt x="70" y="147"/>
                </a:cubicBezTo>
                <a:cubicBezTo>
                  <a:pt x="70" y="146"/>
                  <a:pt x="70" y="146"/>
                  <a:pt x="70" y="145"/>
                </a:cubicBezTo>
                <a:cubicBezTo>
                  <a:pt x="70" y="145"/>
                  <a:pt x="71" y="144"/>
                  <a:pt x="70" y="143"/>
                </a:cubicBezTo>
                <a:cubicBezTo>
                  <a:pt x="70" y="142"/>
                  <a:pt x="71" y="143"/>
                  <a:pt x="71" y="142"/>
                </a:cubicBezTo>
                <a:cubicBezTo>
                  <a:pt x="72" y="141"/>
                  <a:pt x="72" y="141"/>
                  <a:pt x="71" y="140"/>
                </a:cubicBezTo>
                <a:cubicBezTo>
                  <a:pt x="71" y="140"/>
                  <a:pt x="71" y="139"/>
                  <a:pt x="71" y="138"/>
                </a:cubicBezTo>
                <a:cubicBezTo>
                  <a:pt x="71" y="138"/>
                  <a:pt x="72" y="137"/>
                  <a:pt x="72" y="137"/>
                </a:cubicBezTo>
                <a:cubicBezTo>
                  <a:pt x="72" y="137"/>
                  <a:pt x="72" y="136"/>
                  <a:pt x="72" y="136"/>
                </a:cubicBezTo>
                <a:cubicBezTo>
                  <a:pt x="74" y="136"/>
                  <a:pt x="75" y="136"/>
                  <a:pt x="77" y="136"/>
                </a:cubicBezTo>
                <a:cubicBezTo>
                  <a:pt x="77" y="136"/>
                  <a:pt x="79" y="136"/>
                  <a:pt x="79" y="136"/>
                </a:cubicBezTo>
                <a:cubicBezTo>
                  <a:pt x="79" y="135"/>
                  <a:pt x="79" y="135"/>
                  <a:pt x="80" y="135"/>
                </a:cubicBezTo>
                <a:cubicBezTo>
                  <a:pt x="81" y="135"/>
                  <a:pt x="83" y="135"/>
                  <a:pt x="82" y="136"/>
                </a:cubicBezTo>
                <a:cubicBezTo>
                  <a:pt x="82" y="136"/>
                  <a:pt x="81" y="139"/>
                  <a:pt x="82" y="139"/>
                </a:cubicBezTo>
                <a:cubicBezTo>
                  <a:pt x="82" y="139"/>
                  <a:pt x="83" y="139"/>
                  <a:pt x="84" y="139"/>
                </a:cubicBezTo>
                <a:cubicBezTo>
                  <a:pt x="85" y="139"/>
                  <a:pt x="86" y="139"/>
                  <a:pt x="87" y="139"/>
                </a:cubicBezTo>
                <a:cubicBezTo>
                  <a:pt x="89" y="139"/>
                  <a:pt x="91" y="139"/>
                  <a:pt x="93" y="139"/>
                </a:cubicBezTo>
                <a:cubicBezTo>
                  <a:pt x="95" y="139"/>
                  <a:pt x="94" y="141"/>
                  <a:pt x="94" y="143"/>
                </a:cubicBezTo>
                <a:cubicBezTo>
                  <a:pt x="94" y="144"/>
                  <a:pt x="93" y="146"/>
                  <a:pt x="94" y="148"/>
                </a:cubicBezTo>
                <a:cubicBezTo>
                  <a:pt x="94" y="148"/>
                  <a:pt x="94" y="149"/>
                  <a:pt x="94" y="150"/>
                </a:cubicBezTo>
                <a:cubicBezTo>
                  <a:pt x="94" y="150"/>
                  <a:pt x="95" y="150"/>
                  <a:pt x="95" y="151"/>
                </a:cubicBezTo>
                <a:cubicBezTo>
                  <a:pt x="95" y="151"/>
                  <a:pt x="95" y="151"/>
                  <a:pt x="95" y="152"/>
                </a:cubicBezTo>
                <a:cubicBezTo>
                  <a:pt x="95" y="153"/>
                  <a:pt x="94" y="155"/>
                  <a:pt x="94" y="157"/>
                </a:cubicBezTo>
                <a:cubicBezTo>
                  <a:pt x="94" y="157"/>
                  <a:pt x="94" y="158"/>
                  <a:pt x="94" y="159"/>
                </a:cubicBezTo>
                <a:cubicBezTo>
                  <a:pt x="94" y="160"/>
                  <a:pt x="94" y="161"/>
                  <a:pt x="94" y="161"/>
                </a:cubicBezTo>
                <a:cubicBezTo>
                  <a:pt x="93" y="163"/>
                  <a:pt x="94" y="165"/>
                  <a:pt x="95" y="166"/>
                </a:cubicBezTo>
                <a:cubicBezTo>
                  <a:pt x="95" y="167"/>
                  <a:pt x="95" y="168"/>
                  <a:pt x="96" y="168"/>
                </a:cubicBezTo>
                <a:cubicBezTo>
                  <a:pt x="97" y="168"/>
                  <a:pt x="97" y="168"/>
                  <a:pt x="97" y="169"/>
                </a:cubicBezTo>
                <a:cubicBezTo>
                  <a:pt x="97" y="170"/>
                  <a:pt x="97" y="171"/>
                  <a:pt x="98" y="172"/>
                </a:cubicBezTo>
                <a:cubicBezTo>
                  <a:pt x="98" y="172"/>
                  <a:pt x="98" y="173"/>
                  <a:pt x="98" y="173"/>
                </a:cubicBezTo>
                <a:cubicBezTo>
                  <a:pt x="98" y="174"/>
                  <a:pt x="98" y="174"/>
                  <a:pt x="98" y="175"/>
                </a:cubicBezTo>
                <a:cubicBezTo>
                  <a:pt x="99" y="175"/>
                  <a:pt x="98" y="176"/>
                  <a:pt x="98" y="177"/>
                </a:cubicBezTo>
                <a:cubicBezTo>
                  <a:pt x="98" y="178"/>
                  <a:pt x="98" y="178"/>
                  <a:pt x="97" y="178"/>
                </a:cubicBezTo>
                <a:cubicBezTo>
                  <a:pt x="97" y="179"/>
                  <a:pt x="97" y="179"/>
                  <a:pt x="97" y="180"/>
                </a:cubicBezTo>
                <a:cubicBezTo>
                  <a:pt x="97" y="181"/>
                  <a:pt x="98" y="181"/>
                  <a:pt x="98" y="182"/>
                </a:cubicBezTo>
                <a:cubicBezTo>
                  <a:pt x="98" y="182"/>
                  <a:pt x="97" y="183"/>
                  <a:pt x="98" y="183"/>
                </a:cubicBezTo>
                <a:cubicBezTo>
                  <a:pt x="98" y="183"/>
                  <a:pt x="99" y="182"/>
                  <a:pt x="99" y="182"/>
                </a:cubicBezTo>
                <a:cubicBezTo>
                  <a:pt x="100" y="182"/>
                  <a:pt x="100" y="181"/>
                  <a:pt x="100" y="181"/>
                </a:cubicBezTo>
                <a:cubicBezTo>
                  <a:pt x="101" y="180"/>
                  <a:pt x="101" y="181"/>
                  <a:pt x="102" y="181"/>
                </a:cubicBezTo>
                <a:cubicBezTo>
                  <a:pt x="102" y="181"/>
                  <a:pt x="103" y="181"/>
                  <a:pt x="103" y="181"/>
                </a:cubicBezTo>
                <a:cubicBezTo>
                  <a:pt x="104" y="181"/>
                  <a:pt x="104" y="181"/>
                  <a:pt x="105" y="181"/>
                </a:cubicBezTo>
                <a:cubicBezTo>
                  <a:pt x="105" y="181"/>
                  <a:pt x="105" y="181"/>
                  <a:pt x="106" y="181"/>
                </a:cubicBezTo>
                <a:cubicBezTo>
                  <a:pt x="106" y="181"/>
                  <a:pt x="107" y="181"/>
                  <a:pt x="108" y="181"/>
                </a:cubicBezTo>
                <a:cubicBezTo>
                  <a:pt x="108" y="180"/>
                  <a:pt x="109" y="180"/>
                  <a:pt x="109" y="180"/>
                </a:cubicBezTo>
                <a:cubicBezTo>
                  <a:pt x="110" y="180"/>
                  <a:pt x="110" y="180"/>
                  <a:pt x="111" y="180"/>
                </a:cubicBezTo>
                <a:cubicBezTo>
                  <a:pt x="112" y="180"/>
                  <a:pt x="112" y="180"/>
                  <a:pt x="112" y="180"/>
                </a:cubicBezTo>
                <a:cubicBezTo>
                  <a:pt x="113" y="180"/>
                  <a:pt x="113" y="180"/>
                  <a:pt x="113" y="180"/>
                </a:cubicBezTo>
                <a:cubicBezTo>
                  <a:pt x="114" y="181"/>
                  <a:pt x="114" y="180"/>
                  <a:pt x="114" y="179"/>
                </a:cubicBezTo>
                <a:cubicBezTo>
                  <a:pt x="114" y="178"/>
                  <a:pt x="115" y="179"/>
                  <a:pt x="116" y="179"/>
                </a:cubicBezTo>
                <a:cubicBezTo>
                  <a:pt x="116" y="179"/>
                  <a:pt x="116" y="180"/>
                  <a:pt x="116" y="180"/>
                </a:cubicBezTo>
                <a:cubicBezTo>
                  <a:pt x="117" y="181"/>
                  <a:pt x="118" y="180"/>
                  <a:pt x="118" y="181"/>
                </a:cubicBezTo>
                <a:cubicBezTo>
                  <a:pt x="119" y="182"/>
                  <a:pt x="118" y="182"/>
                  <a:pt x="118" y="182"/>
                </a:cubicBezTo>
                <a:cubicBezTo>
                  <a:pt x="118" y="182"/>
                  <a:pt x="119" y="182"/>
                  <a:pt x="119" y="183"/>
                </a:cubicBezTo>
                <a:cubicBezTo>
                  <a:pt x="119" y="183"/>
                  <a:pt x="118" y="184"/>
                  <a:pt x="118" y="184"/>
                </a:cubicBezTo>
                <a:cubicBezTo>
                  <a:pt x="117" y="185"/>
                  <a:pt x="118" y="185"/>
                  <a:pt x="119" y="185"/>
                </a:cubicBezTo>
                <a:cubicBezTo>
                  <a:pt x="119" y="185"/>
                  <a:pt x="119" y="185"/>
                  <a:pt x="120" y="185"/>
                </a:cubicBezTo>
                <a:cubicBezTo>
                  <a:pt x="121" y="185"/>
                  <a:pt x="121" y="184"/>
                  <a:pt x="121" y="184"/>
                </a:cubicBezTo>
                <a:cubicBezTo>
                  <a:pt x="122" y="183"/>
                  <a:pt x="123" y="184"/>
                  <a:pt x="123" y="183"/>
                </a:cubicBezTo>
                <a:cubicBezTo>
                  <a:pt x="124" y="183"/>
                  <a:pt x="125" y="183"/>
                  <a:pt x="126" y="183"/>
                </a:cubicBezTo>
                <a:cubicBezTo>
                  <a:pt x="126" y="183"/>
                  <a:pt x="127" y="182"/>
                  <a:pt x="127" y="182"/>
                </a:cubicBezTo>
                <a:cubicBezTo>
                  <a:pt x="128" y="183"/>
                  <a:pt x="127" y="184"/>
                  <a:pt x="127" y="185"/>
                </a:cubicBezTo>
                <a:cubicBezTo>
                  <a:pt x="128" y="186"/>
                  <a:pt x="127" y="187"/>
                  <a:pt x="128" y="188"/>
                </a:cubicBezTo>
                <a:cubicBezTo>
                  <a:pt x="129" y="188"/>
                  <a:pt x="129" y="188"/>
                  <a:pt x="129" y="189"/>
                </a:cubicBezTo>
                <a:cubicBezTo>
                  <a:pt x="129" y="189"/>
                  <a:pt x="130" y="188"/>
                  <a:pt x="130" y="188"/>
                </a:cubicBezTo>
                <a:cubicBezTo>
                  <a:pt x="131" y="188"/>
                  <a:pt x="131" y="189"/>
                  <a:pt x="132" y="189"/>
                </a:cubicBezTo>
                <a:cubicBezTo>
                  <a:pt x="133" y="189"/>
                  <a:pt x="133" y="189"/>
                  <a:pt x="133" y="190"/>
                </a:cubicBezTo>
                <a:cubicBezTo>
                  <a:pt x="134" y="190"/>
                  <a:pt x="134" y="190"/>
                  <a:pt x="135" y="190"/>
                </a:cubicBezTo>
                <a:cubicBezTo>
                  <a:pt x="136" y="190"/>
                  <a:pt x="136" y="190"/>
                  <a:pt x="137" y="190"/>
                </a:cubicBezTo>
                <a:cubicBezTo>
                  <a:pt x="137" y="190"/>
                  <a:pt x="138" y="190"/>
                  <a:pt x="138" y="190"/>
                </a:cubicBezTo>
                <a:cubicBezTo>
                  <a:pt x="138" y="190"/>
                  <a:pt x="139" y="191"/>
                  <a:pt x="139" y="191"/>
                </a:cubicBezTo>
                <a:cubicBezTo>
                  <a:pt x="139" y="191"/>
                  <a:pt x="141" y="191"/>
                  <a:pt x="141" y="191"/>
                </a:cubicBezTo>
                <a:cubicBezTo>
                  <a:pt x="141" y="191"/>
                  <a:pt x="142" y="191"/>
                  <a:pt x="142" y="191"/>
                </a:cubicBezTo>
                <a:cubicBezTo>
                  <a:pt x="143" y="191"/>
                  <a:pt x="143" y="190"/>
                  <a:pt x="143" y="189"/>
                </a:cubicBezTo>
                <a:cubicBezTo>
                  <a:pt x="144" y="189"/>
                  <a:pt x="144" y="188"/>
                  <a:pt x="144" y="187"/>
                </a:cubicBezTo>
                <a:cubicBezTo>
                  <a:pt x="144" y="187"/>
                  <a:pt x="144" y="187"/>
                  <a:pt x="145" y="187"/>
                </a:cubicBezTo>
                <a:cubicBezTo>
                  <a:pt x="146" y="186"/>
                  <a:pt x="146" y="187"/>
                  <a:pt x="146" y="188"/>
                </a:cubicBezTo>
                <a:cubicBezTo>
                  <a:pt x="146" y="189"/>
                  <a:pt x="147" y="189"/>
                  <a:pt x="147" y="190"/>
                </a:cubicBezTo>
                <a:cubicBezTo>
                  <a:pt x="148" y="190"/>
                  <a:pt x="148" y="191"/>
                  <a:pt x="148" y="192"/>
                </a:cubicBezTo>
                <a:cubicBezTo>
                  <a:pt x="148" y="193"/>
                  <a:pt x="149" y="194"/>
                  <a:pt x="150" y="195"/>
                </a:cubicBezTo>
                <a:cubicBezTo>
                  <a:pt x="151" y="195"/>
                  <a:pt x="151" y="194"/>
                  <a:pt x="152" y="194"/>
                </a:cubicBezTo>
                <a:cubicBezTo>
                  <a:pt x="152" y="194"/>
                  <a:pt x="153" y="195"/>
                  <a:pt x="153" y="195"/>
                </a:cubicBezTo>
                <a:cubicBezTo>
                  <a:pt x="154" y="195"/>
                  <a:pt x="154" y="196"/>
                  <a:pt x="155" y="196"/>
                </a:cubicBezTo>
                <a:cubicBezTo>
                  <a:pt x="155" y="196"/>
                  <a:pt x="156" y="196"/>
                  <a:pt x="156" y="196"/>
                </a:cubicBezTo>
                <a:cubicBezTo>
                  <a:pt x="157" y="197"/>
                  <a:pt x="157" y="197"/>
                  <a:pt x="158" y="198"/>
                </a:cubicBezTo>
                <a:cubicBezTo>
                  <a:pt x="158" y="198"/>
                  <a:pt x="158" y="199"/>
                  <a:pt x="158" y="199"/>
                </a:cubicBezTo>
                <a:cubicBezTo>
                  <a:pt x="157" y="199"/>
                  <a:pt x="158" y="200"/>
                  <a:pt x="158" y="200"/>
                </a:cubicBezTo>
                <a:cubicBezTo>
                  <a:pt x="158" y="201"/>
                  <a:pt x="158" y="201"/>
                  <a:pt x="159" y="201"/>
                </a:cubicBezTo>
                <a:cubicBezTo>
                  <a:pt x="159" y="200"/>
                  <a:pt x="160" y="200"/>
                  <a:pt x="160" y="201"/>
                </a:cubicBezTo>
                <a:cubicBezTo>
                  <a:pt x="160" y="201"/>
                  <a:pt x="161" y="202"/>
                  <a:pt x="161" y="202"/>
                </a:cubicBezTo>
                <a:cubicBezTo>
                  <a:pt x="161" y="203"/>
                  <a:pt x="161" y="203"/>
                  <a:pt x="161" y="204"/>
                </a:cubicBezTo>
                <a:cubicBezTo>
                  <a:pt x="163" y="204"/>
                  <a:pt x="161" y="207"/>
                  <a:pt x="163" y="206"/>
                </a:cubicBezTo>
                <a:cubicBezTo>
                  <a:pt x="163" y="206"/>
                  <a:pt x="164" y="206"/>
                  <a:pt x="164" y="206"/>
                </a:cubicBezTo>
                <a:cubicBezTo>
                  <a:pt x="164" y="206"/>
                  <a:pt x="164" y="207"/>
                  <a:pt x="164" y="207"/>
                </a:cubicBezTo>
                <a:cubicBezTo>
                  <a:pt x="165" y="207"/>
                  <a:pt x="165" y="206"/>
                  <a:pt x="165" y="206"/>
                </a:cubicBezTo>
                <a:cubicBezTo>
                  <a:pt x="166" y="206"/>
                  <a:pt x="167" y="206"/>
                  <a:pt x="167" y="205"/>
                </a:cubicBezTo>
                <a:cubicBezTo>
                  <a:pt x="168" y="205"/>
                  <a:pt x="168" y="205"/>
                  <a:pt x="169" y="205"/>
                </a:cubicBezTo>
                <a:cubicBezTo>
                  <a:pt x="170" y="205"/>
                  <a:pt x="168" y="206"/>
                  <a:pt x="169" y="207"/>
                </a:cubicBezTo>
                <a:cubicBezTo>
                  <a:pt x="169" y="207"/>
                  <a:pt x="170" y="207"/>
                  <a:pt x="170" y="207"/>
                </a:cubicBezTo>
                <a:cubicBezTo>
                  <a:pt x="170" y="207"/>
                  <a:pt x="170" y="206"/>
                  <a:pt x="170" y="206"/>
                </a:cubicBezTo>
                <a:cubicBezTo>
                  <a:pt x="170" y="205"/>
                  <a:pt x="170" y="203"/>
                  <a:pt x="170" y="202"/>
                </a:cubicBezTo>
                <a:cubicBezTo>
                  <a:pt x="170" y="200"/>
                  <a:pt x="170" y="198"/>
                  <a:pt x="171" y="196"/>
                </a:cubicBezTo>
                <a:cubicBezTo>
                  <a:pt x="171" y="195"/>
                  <a:pt x="171" y="193"/>
                  <a:pt x="170" y="193"/>
                </a:cubicBezTo>
                <a:cubicBezTo>
                  <a:pt x="170" y="193"/>
                  <a:pt x="170" y="193"/>
                  <a:pt x="169" y="193"/>
                </a:cubicBezTo>
                <a:cubicBezTo>
                  <a:pt x="169" y="193"/>
                  <a:pt x="169" y="193"/>
                  <a:pt x="168" y="193"/>
                </a:cubicBezTo>
                <a:cubicBezTo>
                  <a:pt x="168" y="193"/>
                  <a:pt x="167" y="194"/>
                  <a:pt x="167" y="194"/>
                </a:cubicBezTo>
                <a:cubicBezTo>
                  <a:pt x="167" y="195"/>
                  <a:pt x="167" y="195"/>
                  <a:pt x="168" y="195"/>
                </a:cubicBezTo>
                <a:cubicBezTo>
                  <a:pt x="168" y="196"/>
                  <a:pt x="168" y="196"/>
                  <a:pt x="167" y="196"/>
                </a:cubicBezTo>
                <a:cubicBezTo>
                  <a:pt x="167" y="196"/>
                  <a:pt x="167" y="196"/>
                  <a:pt x="167" y="196"/>
                </a:cubicBezTo>
                <a:cubicBezTo>
                  <a:pt x="166" y="196"/>
                  <a:pt x="166" y="196"/>
                  <a:pt x="165" y="195"/>
                </a:cubicBezTo>
                <a:cubicBezTo>
                  <a:pt x="165" y="195"/>
                  <a:pt x="164" y="195"/>
                  <a:pt x="164" y="195"/>
                </a:cubicBezTo>
                <a:cubicBezTo>
                  <a:pt x="163" y="195"/>
                  <a:pt x="163" y="195"/>
                  <a:pt x="163" y="195"/>
                </a:cubicBezTo>
                <a:cubicBezTo>
                  <a:pt x="162" y="194"/>
                  <a:pt x="162" y="193"/>
                  <a:pt x="161" y="193"/>
                </a:cubicBezTo>
                <a:cubicBezTo>
                  <a:pt x="161" y="192"/>
                  <a:pt x="161" y="192"/>
                  <a:pt x="160" y="192"/>
                </a:cubicBezTo>
                <a:cubicBezTo>
                  <a:pt x="160" y="191"/>
                  <a:pt x="160" y="191"/>
                  <a:pt x="160" y="191"/>
                </a:cubicBezTo>
                <a:cubicBezTo>
                  <a:pt x="159" y="191"/>
                  <a:pt x="159" y="190"/>
                  <a:pt x="159" y="190"/>
                </a:cubicBezTo>
                <a:cubicBezTo>
                  <a:pt x="159" y="190"/>
                  <a:pt x="158" y="190"/>
                  <a:pt x="158" y="190"/>
                </a:cubicBezTo>
                <a:cubicBezTo>
                  <a:pt x="158" y="189"/>
                  <a:pt x="158" y="189"/>
                  <a:pt x="158" y="189"/>
                </a:cubicBezTo>
                <a:cubicBezTo>
                  <a:pt x="157" y="189"/>
                  <a:pt x="157" y="188"/>
                  <a:pt x="157" y="188"/>
                </a:cubicBezTo>
                <a:cubicBezTo>
                  <a:pt x="157" y="187"/>
                  <a:pt x="157" y="186"/>
                  <a:pt x="157" y="185"/>
                </a:cubicBezTo>
                <a:cubicBezTo>
                  <a:pt x="157" y="185"/>
                  <a:pt x="157" y="184"/>
                  <a:pt x="157" y="184"/>
                </a:cubicBezTo>
                <a:cubicBezTo>
                  <a:pt x="158" y="182"/>
                  <a:pt x="158" y="180"/>
                  <a:pt x="159" y="179"/>
                </a:cubicBezTo>
                <a:cubicBezTo>
                  <a:pt x="159" y="178"/>
                  <a:pt x="159" y="177"/>
                  <a:pt x="160" y="177"/>
                </a:cubicBezTo>
                <a:cubicBezTo>
                  <a:pt x="160" y="176"/>
                  <a:pt x="160" y="176"/>
                  <a:pt x="160" y="176"/>
                </a:cubicBezTo>
                <a:cubicBezTo>
                  <a:pt x="159" y="174"/>
                  <a:pt x="160" y="173"/>
                  <a:pt x="159" y="172"/>
                </a:cubicBezTo>
                <a:cubicBezTo>
                  <a:pt x="159" y="171"/>
                  <a:pt x="159" y="171"/>
                  <a:pt x="159" y="171"/>
                </a:cubicBezTo>
                <a:cubicBezTo>
                  <a:pt x="159" y="170"/>
                  <a:pt x="159" y="170"/>
                  <a:pt x="159" y="169"/>
                </a:cubicBezTo>
                <a:cubicBezTo>
                  <a:pt x="159" y="169"/>
                  <a:pt x="160" y="168"/>
                  <a:pt x="160" y="167"/>
                </a:cubicBezTo>
                <a:cubicBezTo>
                  <a:pt x="160" y="167"/>
                  <a:pt x="160" y="167"/>
                  <a:pt x="160" y="166"/>
                </a:cubicBezTo>
                <a:cubicBezTo>
                  <a:pt x="159" y="166"/>
                  <a:pt x="159" y="164"/>
                  <a:pt x="159" y="164"/>
                </a:cubicBezTo>
                <a:cubicBezTo>
                  <a:pt x="159" y="164"/>
                  <a:pt x="159" y="162"/>
                  <a:pt x="158" y="162"/>
                </a:cubicBezTo>
                <a:cubicBezTo>
                  <a:pt x="157" y="161"/>
                  <a:pt x="157" y="161"/>
                  <a:pt x="158" y="160"/>
                </a:cubicBezTo>
                <a:cubicBezTo>
                  <a:pt x="160" y="159"/>
                  <a:pt x="164" y="155"/>
                  <a:pt x="162" y="152"/>
                </a:cubicBezTo>
                <a:cubicBezTo>
                  <a:pt x="166" y="152"/>
                  <a:pt x="170" y="151"/>
                  <a:pt x="175" y="150"/>
                </a:cubicBezTo>
                <a:cubicBezTo>
                  <a:pt x="175" y="150"/>
                  <a:pt x="179" y="150"/>
                  <a:pt x="179" y="149"/>
                </a:cubicBezTo>
                <a:cubicBezTo>
                  <a:pt x="178" y="148"/>
                  <a:pt x="178" y="148"/>
                  <a:pt x="177" y="147"/>
                </a:cubicBezTo>
                <a:cubicBezTo>
                  <a:pt x="177" y="147"/>
                  <a:pt x="177" y="146"/>
                  <a:pt x="177" y="146"/>
                </a:cubicBezTo>
                <a:cubicBezTo>
                  <a:pt x="176" y="146"/>
                  <a:pt x="176" y="146"/>
                  <a:pt x="176" y="146"/>
                </a:cubicBezTo>
                <a:cubicBezTo>
                  <a:pt x="175" y="146"/>
                  <a:pt x="175" y="144"/>
                  <a:pt x="175" y="143"/>
                </a:cubicBezTo>
                <a:cubicBezTo>
                  <a:pt x="175" y="143"/>
                  <a:pt x="175" y="142"/>
                  <a:pt x="175" y="141"/>
                </a:cubicBezTo>
                <a:cubicBezTo>
                  <a:pt x="175" y="140"/>
                  <a:pt x="174" y="138"/>
                  <a:pt x="173" y="138"/>
                </a:cubicBezTo>
                <a:cubicBezTo>
                  <a:pt x="172" y="137"/>
                  <a:pt x="172" y="137"/>
                  <a:pt x="171" y="137"/>
                </a:cubicBezTo>
                <a:cubicBezTo>
                  <a:pt x="170" y="136"/>
                  <a:pt x="170" y="135"/>
                  <a:pt x="170" y="135"/>
                </a:cubicBezTo>
                <a:cubicBezTo>
                  <a:pt x="169" y="133"/>
                  <a:pt x="168" y="133"/>
                  <a:pt x="168" y="131"/>
                </a:cubicBezTo>
                <a:cubicBezTo>
                  <a:pt x="167" y="131"/>
                  <a:pt x="166" y="127"/>
                  <a:pt x="166" y="127"/>
                </a:cubicBezTo>
                <a:cubicBezTo>
                  <a:pt x="166" y="126"/>
                  <a:pt x="166" y="126"/>
                  <a:pt x="165" y="126"/>
                </a:cubicBezTo>
                <a:cubicBezTo>
                  <a:pt x="165" y="125"/>
                  <a:pt x="165" y="125"/>
                  <a:pt x="165" y="124"/>
                </a:cubicBezTo>
                <a:cubicBezTo>
                  <a:pt x="166" y="124"/>
                  <a:pt x="167" y="123"/>
                  <a:pt x="167" y="122"/>
                </a:cubicBezTo>
                <a:cubicBezTo>
                  <a:pt x="167" y="122"/>
                  <a:pt x="167" y="121"/>
                  <a:pt x="167" y="121"/>
                </a:cubicBezTo>
                <a:cubicBezTo>
                  <a:pt x="167" y="121"/>
                  <a:pt x="167" y="121"/>
                  <a:pt x="167" y="121"/>
                </a:cubicBezTo>
                <a:cubicBezTo>
                  <a:pt x="167" y="120"/>
                  <a:pt x="166" y="119"/>
                  <a:pt x="166" y="119"/>
                </a:cubicBezTo>
                <a:cubicBezTo>
                  <a:pt x="166" y="118"/>
                  <a:pt x="165" y="116"/>
                  <a:pt x="165" y="115"/>
                </a:cubicBezTo>
                <a:cubicBezTo>
                  <a:pt x="165" y="115"/>
                  <a:pt x="165" y="114"/>
                  <a:pt x="165" y="113"/>
                </a:cubicBezTo>
                <a:cubicBezTo>
                  <a:pt x="165" y="113"/>
                  <a:pt x="165" y="112"/>
                  <a:pt x="165" y="112"/>
                </a:cubicBezTo>
                <a:cubicBezTo>
                  <a:pt x="165" y="111"/>
                  <a:pt x="165" y="109"/>
                  <a:pt x="165" y="109"/>
                </a:cubicBezTo>
                <a:cubicBezTo>
                  <a:pt x="166" y="109"/>
                  <a:pt x="166" y="107"/>
                  <a:pt x="166" y="107"/>
                </a:cubicBezTo>
                <a:cubicBezTo>
                  <a:pt x="166" y="106"/>
                  <a:pt x="166" y="105"/>
                  <a:pt x="166" y="105"/>
                </a:cubicBezTo>
                <a:cubicBezTo>
                  <a:pt x="166" y="105"/>
                  <a:pt x="166" y="104"/>
                  <a:pt x="166" y="104"/>
                </a:cubicBezTo>
                <a:cubicBezTo>
                  <a:pt x="166" y="105"/>
                  <a:pt x="166" y="106"/>
                  <a:pt x="165" y="106"/>
                </a:cubicBezTo>
                <a:cubicBezTo>
                  <a:pt x="165" y="107"/>
                  <a:pt x="164" y="107"/>
                  <a:pt x="164" y="106"/>
                </a:cubicBezTo>
                <a:cubicBezTo>
                  <a:pt x="164" y="106"/>
                  <a:pt x="165" y="106"/>
                  <a:pt x="165" y="105"/>
                </a:cubicBezTo>
                <a:cubicBezTo>
                  <a:pt x="165" y="105"/>
                  <a:pt x="165" y="104"/>
                  <a:pt x="165" y="104"/>
                </a:cubicBezTo>
                <a:cubicBezTo>
                  <a:pt x="165" y="103"/>
                  <a:pt x="165" y="103"/>
                  <a:pt x="165" y="102"/>
                </a:cubicBezTo>
                <a:cubicBezTo>
                  <a:pt x="165" y="102"/>
                  <a:pt x="165" y="101"/>
                  <a:pt x="165" y="101"/>
                </a:cubicBezTo>
                <a:cubicBezTo>
                  <a:pt x="165" y="101"/>
                  <a:pt x="165" y="101"/>
                  <a:pt x="165" y="101"/>
                </a:cubicBezTo>
                <a:cubicBezTo>
                  <a:pt x="165" y="100"/>
                  <a:pt x="165" y="100"/>
                  <a:pt x="165" y="100"/>
                </a:cubicBezTo>
                <a:cubicBezTo>
                  <a:pt x="165" y="99"/>
                  <a:pt x="165" y="99"/>
                  <a:pt x="165" y="99"/>
                </a:cubicBezTo>
                <a:cubicBezTo>
                  <a:pt x="165" y="98"/>
                  <a:pt x="165" y="98"/>
                  <a:pt x="165" y="98"/>
                </a:cubicBezTo>
                <a:cubicBezTo>
                  <a:pt x="165" y="97"/>
                  <a:pt x="165" y="97"/>
                  <a:pt x="165" y="96"/>
                </a:cubicBezTo>
                <a:cubicBezTo>
                  <a:pt x="165" y="96"/>
                  <a:pt x="166" y="96"/>
                  <a:pt x="166" y="96"/>
                </a:cubicBezTo>
                <a:cubicBezTo>
                  <a:pt x="166" y="96"/>
                  <a:pt x="166" y="95"/>
                  <a:pt x="166" y="95"/>
                </a:cubicBezTo>
                <a:cubicBezTo>
                  <a:pt x="166" y="95"/>
                  <a:pt x="166" y="95"/>
                  <a:pt x="166" y="94"/>
                </a:cubicBezTo>
                <a:cubicBezTo>
                  <a:pt x="166" y="94"/>
                  <a:pt x="166" y="94"/>
                  <a:pt x="166" y="93"/>
                </a:cubicBezTo>
                <a:cubicBezTo>
                  <a:pt x="166" y="92"/>
                  <a:pt x="166" y="93"/>
                  <a:pt x="165" y="92"/>
                </a:cubicBezTo>
                <a:cubicBezTo>
                  <a:pt x="165" y="92"/>
                  <a:pt x="165" y="92"/>
                  <a:pt x="165" y="91"/>
                </a:cubicBezTo>
                <a:cubicBezTo>
                  <a:pt x="164" y="91"/>
                  <a:pt x="164" y="91"/>
                  <a:pt x="164" y="90"/>
                </a:cubicBezTo>
                <a:cubicBezTo>
                  <a:pt x="164" y="90"/>
                  <a:pt x="164" y="90"/>
                  <a:pt x="164" y="89"/>
                </a:cubicBezTo>
                <a:cubicBezTo>
                  <a:pt x="164" y="89"/>
                  <a:pt x="163" y="89"/>
                  <a:pt x="163" y="88"/>
                </a:cubicBezTo>
                <a:cubicBezTo>
                  <a:pt x="163" y="88"/>
                  <a:pt x="162" y="87"/>
                  <a:pt x="162" y="87"/>
                </a:cubicBezTo>
                <a:cubicBezTo>
                  <a:pt x="162" y="87"/>
                  <a:pt x="163" y="87"/>
                  <a:pt x="163" y="86"/>
                </a:cubicBezTo>
                <a:cubicBezTo>
                  <a:pt x="162" y="86"/>
                  <a:pt x="162" y="86"/>
                  <a:pt x="163" y="85"/>
                </a:cubicBezTo>
                <a:cubicBezTo>
                  <a:pt x="163" y="85"/>
                  <a:pt x="164" y="85"/>
                  <a:pt x="164" y="85"/>
                </a:cubicBezTo>
                <a:cubicBezTo>
                  <a:pt x="164" y="84"/>
                  <a:pt x="164" y="85"/>
                  <a:pt x="165" y="84"/>
                </a:cubicBezTo>
                <a:cubicBezTo>
                  <a:pt x="165" y="84"/>
                  <a:pt x="165" y="83"/>
                  <a:pt x="165" y="83"/>
                </a:cubicBezTo>
                <a:cubicBezTo>
                  <a:pt x="165" y="81"/>
                  <a:pt x="165" y="80"/>
                  <a:pt x="166" y="78"/>
                </a:cubicBezTo>
                <a:cubicBezTo>
                  <a:pt x="166" y="78"/>
                  <a:pt x="167" y="77"/>
                  <a:pt x="167" y="77"/>
                </a:cubicBezTo>
                <a:cubicBezTo>
                  <a:pt x="167" y="77"/>
                  <a:pt x="167" y="76"/>
                  <a:pt x="168" y="76"/>
                </a:cubicBezTo>
                <a:cubicBezTo>
                  <a:pt x="168" y="76"/>
                  <a:pt x="168" y="76"/>
                  <a:pt x="168" y="76"/>
                </a:cubicBezTo>
                <a:cubicBezTo>
                  <a:pt x="169" y="76"/>
                  <a:pt x="169" y="75"/>
                  <a:pt x="169" y="75"/>
                </a:cubicBezTo>
                <a:cubicBezTo>
                  <a:pt x="169" y="75"/>
                  <a:pt x="169" y="75"/>
                  <a:pt x="170" y="74"/>
                </a:cubicBezTo>
                <a:cubicBezTo>
                  <a:pt x="170" y="74"/>
                  <a:pt x="170" y="73"/>
                  <a:pt x="170" y="72"/>
                </a:cubicBezTo>
                <a:cubicBezTo>
                  <a:pt x="169" y="72"/>
                  <a:pt x="169" y="71"/>
                  <a:pt x="170" y="70"/>
                </a:cubicBezTo>
                <a:cubicBezTo>
                  <a:pt x="170" y="70"/>
                  <a:pt x="169" y="69"/>
                  <a:pt x="170" y="69"/>
                </a:cubicBezTo>
                <a:cubicBezTo>
                  <a:pt x="170" y="69"/>
                  <a:pt x="170" y="69"/>
                  <a:pt x="170" y="69"/>
                </a:cubicBezTo>
                <a:cubicBezTo>
                  <a:pt x="170" y="68"/>
                  <a:pt x="170" y="67"/>
                  <a:pt x="170" y="66"/>
                </a:cubicBezTo>
                <a:cubicBezTo>
                  <a:pt x="170" y="65"/>
                  <a:pt x="170" y="65"/>
                  <a:pt x="170" y="65"/>
                </a:cubicBezTo>
                <a:cubicBezTo>
                  <a:pt x="170" y="63"/>
                  <a:pt x="171" y="61"/>
                  <a:pt x="171" y="60"/>
                </a:cubicBezTo>
                <a:cubicBezTo>
                  <a:pt x="171" y="59"/>
                  <a:pt x="171" y="59"/>
                  <a:pt x="171" y="58"/>
                </a:cubicBezTo>
                <a:cubicBezTo>
                  <a:pt x="171" y="58"/>
                  <a:pt x="171" y="58"/>
                  <a:pt x="172" y="57"/>
                </a:cubicBezTo>
                <a:cubicBezTo>
                  <a:pt x="172" y="57"/>
                  <a:pt x="172" y="58"/>
                  <a:pt x="172" y="57"/>
                </a:cubicBezTo>
                <a:cubicBezTo>
                  <a:pt x="172" y="57"/>
                  <a:pt x="172" y="56"/>
                  <a:pt x="172" y="56"/>
                </a:cubicBezTo>
                <a:cubicBezTo>
                  <a:pt x="172" y="55"/>
                  <a:pt x="173" y="55"/>
                  <a:pt x="173" y="54"/>
                </a:cubicBezTo>
                <a:cubicBezTo>
                  <a:pt x="173" y="54"/>
                  <a:pt x="173" y="53"/>
                  <a:pt x="173" y="52"/>
                </a:cubicBezTo>
                <a:cubicBezTo>
                  <a:pt x="173" y="52"/>
                  <a:pt x="173" y="51"/>
                  <a:pt x="173" y="50"/>
                </a:cubicBezTo>
                <a:cubicBezTo>
                  <a:pt x="174" y="50"/>
                  <a:pt x="174" y="50"/>
                  <a:pt x="175" y="49"/>
                </a:cubicBezTo>
                <a:cubicBezTo>
                  <a:pt x="176" y="49"/>
                  <a:pt x="175" y="47"/>
                  <a:pt x="176" y="46"/>
                </a:cubicBezTo>
                <a:cubicBezTo>
                  <a:pt x="177" y="46"/>
                  <a:pt x="177" y="47"/>
                  <a:pt x="177" y="46"/>
                </a:cubicBezTo>
                <a:cubicBezTo>
                  <a:pt x="177" y="46"/>
                  <a:pt x="177" y="46"/>
                  <a:pt x="177" y="46"/>
                </a:cubicBezTo>
                <a:cubicBezTo>
                  <a:pt x="178" y="46"/>
                  <a:pt x="178" y="46"/>
                  <a:pt x="179" y="45"/>
                </a:cubicBezTo>
                <a:cubicBezTo>
                  <a:pt x="180" y="43"/>
                  <a:pt x="181" y="42"/>
                  <a:pt x="182" y="41"/>
                </a:cubicBezTo>
                <a:cubicBezTo>
                  <a:pt x="184" y="40"/>
                  <a:pt x="185" y="38"/>
                  <a:pt x="186" y="37"/>
                </a:cubicBezTo>
                <a:cubicBezTo>
                  <a:pt x="186" y="36"/>
                  <a:pt x="186" y="36"/>
                  <a:pt x="186" y="3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5" name="Czech Republic"/>
          <p:cNvSpPr>
            <a:spLocks/>
          </p:cNvSpPr>
          <p:nvPr/>
        </p:nvSpPr>
        <p:spPr bwMode="auto">
          <a:xfrm>
            <a:off x="6207067" y="2642012"/>
            <a:ext cx="205993" cy="97997"/>
          </a:xfrm>
          <a:custGeom>
            <a:avLst/>
            <a:gdLst/>
            <a:ahLst/>
            <a:cxnLst>
              <a:cxn ang="0">
                <a:pos x="55" y="14"/>
              </a:cxn>
              <a:cxn ang="0">
                <a:pos x="54" y="13"/>
              </a:cxn>
              <a:cxn ang="0">
                <a:pos x="51" y="12"/>
              </a:cxn>
              <a:cxn ang="0">
                <a:pos x="48" y="12"/>
              </a:cxn>
              <a:cxn ang="0">
                <a:pos x="48" y="9"/>
              </a:cxn>
              <a:cxn ang="0">
                <a:pos x="45" y="9"/>
              </a:cxn>
              <a:cxn ang="0">
                <a:pos x="43" y="8"/>
              </a:cxn>
              <a:cxn ang="0">
                <a:pos x="41" y="9"/>
              </a:cxn>
              <a:cxn ang="0">
                <a:pos x="39" y="10"/>
              </a:cxn>
              <a:cxn ang="0">
                <a:pos x="36" y="8"/>
              </a:cxn>
              <a:cxn ang="0">
                <a:pos x="35" y="7"/>
              </a:cxn>
              <a:cxn ang="0">
                <a:pos x="35" y="5"/>
              </a:cxn>
              <a:cxn ang="0">
                <a:pos x="33" y="5"/>
              </a:cxn>
              <a:cxn ang="0">
                <a:pos x="29" y="4"/>
              </a:cxn>
              <a:cxn ang="0">
                <a:pos x="27" y="3"/>
              </a:cxn>
              <a:cxn ang="0">
                <a:pos x="25" y="1"/>
              </a:cxn>
              <a:cxn ang="0">
                <a:pos x="23" y="3"/>
              </a:cxn>
              <a:cxn ang="0">
                <a:pos x="21" y="2"/>
              </a:cxn>
              <a:cxn ang="0">
                <a:pos x="20" y="1"/>
              </a:cxn>
              <a:cxn ang="0">
                <a:pos x="19" y="3"/>
              </a:cxn>
              <a:cxn ang="0">
                <a:pos x="14" y="4"/>
              </a:cxn>
              <a:cxn ang="0">
                <a:pos x="10" y="6"/>
              </a:cxn>
              <a:cxn ang="0">
                <a:pos x="8" y="7"/>
              </a:cxn>
              <a:cxn ang="0">
                <a:pos x="4" y="8"/>
              </a:cxn>
              <a:cxn ang="0">
                <a:pos x="1" y="9"/>
              </a:cxn>
              <a:cxn ang="0">
                <a:pos x="0" y="8"/>
              </a:cxn>
              <a:cxn ang="0">
                <a:pos x="1" y="10"/>
              </a:cxn>
              <a:cxn ang="0">
                <a:pos x="4" y="13"/>
              </a:cxn>
              <a:cxn ang="0">
                <a:pos x="4" y="16"/>
              </a:cxn>
              <a:cxn ang="0">
                <a:pos x="7" y="19"/>
              </a:cxn>
              <a:cxn ang="0">
                <a:pos x="11" y="22"/>
              </a:cxn>
              <a:cxn ang="0">
                <a:pos x="12" y="23"/>
              </a:cxn>
              <a:cxn ang="0">
                <a:pos x="15" y="25"/>
              </a:cxn>
              <a:cxn ang="0">
                <a:pos x="20" y="26"/>
              </a:cxn>
              <a:cxn ang="0">
                <a:pos x="23" y="25"/>
              </a:cxn>
              <a:cxn ang="0">
                <a:pos x="26" y="22"/>
              </a:cxn>
              <a:cxn ang="0">
                <a:pos x="30" y="24"/>
              </a:cxn>
              <a:cxn ang="0">
                <a:pos x="33" y="25"/>
              </a:cxn>
              <a:cxn ang="0">
                <a:pos x="39" y="25"/>
              </a:cxn>
              <a:cxn ang="0">
                <a:pos x="42" y="26"/>
              </a:cxn>
              <a:cxn ang="0">
                <a:pos x="49" y="23"/>
              </a:cxn>
              <a:cxn ang="0">
                <a:pos x="52" y="20"/>
              </a:cxn>
              <a:cxn ang="0">
                <a:pos x="56" y="17"/>
              </a:cxn>
            </a:cxnLst>
            <a:rect l="0" t="0" r="r" b="b"/>
            <a:pathLst>
              <a:path w="57" h="27">
                <a:moveTo>
                  <a:pt x="57" y="15"/>
                </a:moveTo>
                <a:cubicBezTo>
                  <a:pt x="57" y="15"/>
                  <a:pt x="57" y="15"/>
                  <a:pt x="56" y="15"/>
                </a:cubicBezTo>
                <a:cubicBezTo>
                  <a:pt x="56" y="15"/>
                  <a:pt x="55" y="15"/>
                  <a:pt x="55" y="14"/>
                </a:cubicBezTo>
                <a:cubicBezTo>
                  <a:pt x="55" y="14"/>
                  <a:pt x="55" y="14"/>
                  <a:pt x="55" y="13"/>
                </a:cubicBezTo>
                <a:cubicBezTo>
                  <a:pt x="55" y="13"/>
                  <a:pt x="55" y="13"/>
                  <a:pt x="55" y="13"/>
                </a:cubicBezTo>
                <a:cubicBezTo>
                  <a:pt x="55" y="12"/>
                  <a:pt x="55" y="13"/>
                  <a:pt x="54" y="13"/>
                </a:cubicBezTo>
                <a:cubicBezTo>
                  <a:pt x="54" y="13"/>
                  <a:pt x="53" y="13"/>
                  <a:pt x="53" y="13"/>
                </a:cubicBezTo>
                <a:cubicBezTo>
                  <a:pt x="53" y="13"/>
                  <a:pt x="52" y="13"/>
                  <a:pt x="52" y="12"/>
                </a:cubicBezTo>
                <a:cubicBezTo>
                  <a:pt x="52" y="12"/>
                  <a:pt x="51" y="12"/>
                  <a:pt x="51" y="12"/>
                </a:cubicBezTo>
                <a:cubicBezTo>
                  <a:pt x="51" y="12"/>
                  <a:pt x="51" y="12"/>
                  <a:pt x="50" y="11"/>
                </a:cubicBezTo>
                <a:cubicBezTo>
                  <a:pt x="50" y="11"/>
                  <a:pt x="50" y="12"/>
                  <a:pt x="50" y="12"/>
                </a:cubicBezTo>
                <a:cubicBezTo>
                  <a:pt x="50" y="12"/>
                  <a:pt x="49" y="12"/>
                  <a:pt x="48" y="12"/>
                </a:cubicBezTo>
                <a:cubicBezTo>
                  <a:pt x="48" y="12"/>
                  <a:pt x="48" y="11"/>
                  <a:pt x="48" y="11"/>
                </a:cubicBezTo>
                <a:cubicBezTo>
                  <a:pt x="47" y="11"/>
                  <a:pt x="47" y="11"/>
                  <a:pt x="47" y="10"/>
                </a:cubicBezTo>
                <a:cubicBezTo>
                  <a:pt x="46" y="10"/>
                  <a:pt x="48" y="10"/>
                  <a:pt x="48" y="9"/>
                </a:cubicBezTo>
                <a:cubicBezTo>
                  <a:pt x="48" y="9"/>
                  <a:pt x="48" y="8"/>
                  <a:pt x="47" y="9"/>
                </a:cubicBezTo>
                <a:cubicBezTo>
                  <a:pt x="47" y="9"/>
                  <a:pt x="46" y="9"/>
                  <a:pt x="46" y="9"/>
                </a:cubicBezTo>
                <a:cubicBezTo>
                  <a:pt x="45" y="9"/>
                  <a:pt x="45" y="9"/>
                  <a:pt x="45" y="9"/>
                </a:cubicBezTo>
                <a:cubicBezTo>
                  <a:pt x="44" y="9"/>
                  <a:pt x="45" y="9"/>
                  <a:pt x="44" y="9"/>
                </a:cubicBezTo>
                <a:cubicBezTo>
                  <a:pt x="44" y="9"/>
                  <a:pt x="44" y="9"/>
                  <a:pt x="44" y="9"/>
                </a:cubicBezTo>
                <a:cubicBezTo>
                  <a:pt x="44" y="9"/>
                  <a:pt x="44" y="8"/>
                  <a:pt x="43" y="8"/>
                </a:cubicBezTo>
                <a:cubicBezTo>
                  <a:pt x="43" y="8"/>
                  <a:pt x="43" y="8"/>
                  <a:pt x="43" y="8"/>
                </a:cubicBezTo>
                <a:cubicBezTo>
                  <a:pt x="43" y="8"/>
                  <a:pt x="40" y="7"/>
                  <a:pt x="40" y="8"/>
                </a:cubicBezTo>
                <a:cubicBezTo>
                  <a:pt x="41" y="8"/>
                  <a:pt x="41" y="8"/>
                  <a:pt x="41" y="9"/>
                </a:cubicBezTo>
                <a:cubicBezTo>
                  <a:pt x="41" y="9"/>
                  <a:pt x="42" y="9"/>
                  <a:pt x="42" y="9"/>
                </a:cubicBezTo>
                <a:cubicBezTo>
                  <a:pt x="41" y="9"/>
                  <a:pt x="41" y="10"/>
                  <a:pt x="40" y="10"/>
                </a:cubicBezTo>
                <a:cubicBezTo>
                  <a:pt x="40" y="10"/>
                  <a:pt x="40" y="10"/>
                  <a:pt x="39" y="10"/>
                </a:cubicBezTo>
                <a:cubicBezTo>
                  <a:pt x="39" y="11"/>
                  <a:pt x="38" y="11"/>
                  <a:pt x="38" y="10"/>
                </a:cubicBezTo>
                <a:cubicBezTo>
                  <a:pt x="38" y="10"/>
                  <a:pt x="37" y="9"/>
                  <a:pt x="37" y="9"/>
                </a:cubicBezTo>
                <a:cubicBezTo>
                  <a:pt x="37" y="9"/>
                  <a:pt x="36" y="8"/>
                  <a:pt x="36" y="8"/>
                </a:cubicBezTo>
                <a:cubicBezTo>
                  <a:pt x="36" y="8"/>
                  <a:pt x="36" y="8"/>
                  <a:pt x="36" y="8"/>
                </a:cubicBezTo>
                <a:cubicBezTo>
                  <a:pt x="36" y="8"/>
                  <a:pt x="36" y="8"/>
                  <a:pt x="35" y="8"/>
                </a:cubicBezTo>
                <a:cubicBezTo>
                  <a:pt x="35" y="8"/>
                  <a:pt x="35" y="8"/>
                  <a:pt x="35" y="7"/>
                </a:cubicBezTo>
                <a:cubicBezTo>
                  <a:pt x="34" y="7"/>
                  <a:pt x="36" y="7"/>
                  <a:pt x="36" y="6"/>
                </a:cubicBezTo>
                <a:cubicBezTo>
                  <a:pt x="37" y="6"/>
                  <a:pt x="37" y="6"/>
                  <a:pt x="36" y="5"/>
                </a:cubicBezTo>
                <a:cubicBezTo>
                  <a:pt x="36" y="5"/>
                  <a:pt x="36" y="5"/>
                  <a:pt x="35" y="5"/>
                </a:cubicBezTo>
                <a:cubicBezTo>
                  <a:pt x="35" y="5"/>
                  <a:pt x="35" y="5"/>
                  <a:pt x="34" y="5"/>
                </a:cubicBezTo>
                <a:cubicBezTo>
                  <a:pt x="34" y="5"/>
                  <a:pt x="34" y="5"/>
                  <a:pt x="33" y="5"/>
                </a:cubicBezTo>
                <a:cubicBezTo>
                  <a:pt x="33" y="6"/>
                  <a:pt x="33" y="5"/>
                  <a:pt x="33" y="5"/>
                </a:cubicBezTo>
                <a:cubicBezTo>
                  <a:pt x="32" y="4"/>
                  <a:pt x="32" y="5"/>
                  <a:pt x="32" y="4"/>
                </a:cubicBezTo>
                <a:cubicBezTo>
                  <a:pt x="31" y="4"/>
                  <a:pt x="31" y="4"/>
                  <a:pt x="31" y="4"/>
                </a:cubicBezTo>
                <a:cubicBezTo>
                  <a:pt x="30" y="4"/>
                  <a:pt x="29" y="4"/>
                  <a:pt x="29" y="4"/>
                </a:cubicBezTo>
                <a:cubicBezTo>
                  <a:pt x="29" y="4"/>
                  <a:pt x="28" y="3"/>
                  <a:pt x="28" y="3"/>
                </a:cubicBezTo>
                <a:cubicBezTo>
                  <a:pt x="28" y="3"/>
                  <a:pt x="28" y="3"/>
                  <a:pt x="28" y="4"/>
                </a:cubicBezTo>
                <a:cubicBezTo>
                  <a:pt x="27" y="4"/>
                  <a:pt x="27" y="3"/>
                  <a:pt x="27" y="3"/>
                </a:cubicBezTo>
                <a:cubicBezTo>
                  <a:pt x="26" y="2"/>
                  <a:pt x="27" y="2"/>
                  <a:pt x="26" y="1"/>
                </a:cubicBezTo>
                <a:cubicBezTo>
                  <a:pt x="26" y="1"/>
                  <a:pt x="26" y="1"/>
                  <a:pt x="26" y="1"/>
                </a:cubicBezTo>
                <a:cubicBezTo>
                  <a:pt x="25" y="1"/>
                  <a:pt x="25" y="1"/>
                  <a:pt x="25" y="1"/>
                </a:cubicBezTo>
                <a:cubicBezTo>
                  <a:pt x="24" y="0"/>
                  <a:pt x="25" y="2"/>
                  <a:pt x="24" y="2"/>
                </a:cubicBezTo>
                <a:cubicBezTo>
                  <a:pt x="24" y="2"/>
                  <a:pt x="24" y="3"/>
                  <a:pt x="24" y="3"/>
                </a:cubicBezTo>
                <a:cubicBezTo>
                  <a:pt x="24" y="3"/>
                  <a:pt x="24" y="3"/>
                  <a:pt x="23" y="3"/>
                </a:cubicBezTo>
                <a:cubicBezTo>
                  <a:pt x="23" y="3"/>
                  <a:pt x="23" y="3"/>
                  <a:pt x="23" y="3"/>
                </a:cubicBezTo>
                <a:cubicBezTo>
                  <a:pt x="22" y="3"/>
                  <a:pt x="22" y="3"/>
                  <a:pt x="21" y="3"/>
                </a:cubicBezTo>
                <a:cubicBezTo>
                  <a:pt x="21" y="3"/>
                  <a:pt x="21" y="2"/>
                  <a:pt x="21" y="2"/>
                </a:cubicBezTo>
                <a:cubicBezTo>
                  <a:pt x="21" y="2"/>
                  <a:pt x="21" y="2"/>
                  <a:pt x="21" y="2"/>
                </a:cubicBezTo>
                <a:cubicBezTo>
                  <a:pt x="21" y="2"/>
                  <a:pt x="21" y="2"/>
                  <a:pt x="21" y="1"/>
                </a:cubicBezTo>
                <a:cubicBezTo>
                  <a:pt x="21" y="1"/>
                  <a:pt x="20" y="1"/>
                  <a:pt x="20" y="1"/>
                </a:cubicBezTo>
                <a:cubicBezTo>
                  <a:pt x="19" y="1"/>
                  <a:pt x="19" y="1"/>
                  <a:pt x="18" y="1"/>
                </a:cubicBezTo>
                <a:cubicBezTo>
                  <a:pt x="18" y="1"/>
                  <a:pt x="18" y="1"/>
                  <a:pt x="19" y="2"/>
                </a:cubicBezTo>
                <a:cubicBezTo>
                  <a:pt x="18" y="2"/>
                  <a:pt x="20" y="2"/>
                  <a:pt x="19" y="3"/>
                </a:cubicBezTo>
                <a:cubicBezTo>
                  <a:pt x="18" y="3"/>
                  <a:pt x="17" y="3"/>
                  <a:pt x="17" y="3"/>
                </a:cubicBezTo>
                <a:cubicBezTo>
                  <a:pt x="16" y="3"/>
                  <a:pt x="15" y="3"/>
                  <a:pt x="15" y="4"/>
                </a:cubicBezTo>
                <a:cubicBezTo>
                  <a:pt x="15" y="4"/>
                  <a:pt x="14" y="4"/>
                  <a:pt x="14" y="4"/>
                </a:cubicBezTo>
                <a:cubicBezTo>
                  <a:pt x="13" y="4"/>
                  <a:pt x="13" y="4"/>
                  <a:pt x="13" y="4"/>
                </a:cubicBezTo>
                <a:cubicBezTo>
                  <a:pt x="12" y="4"/>
                  <a:pt x="12" y="5"/>
                  <a:pt x="11" y="5"/>
                </a:cubicBezTo>
                <a:cubicBezTo>
                  <a:pt x="11" y="5"/>
                  <a:pt x="10" y="6"/>
                  <a:pt x="10" y="6"/>
                </a:cubicBezTo>
                <a:cubicBezTo>
                  <a:pt x="9" y="6"/>
                  <a:pt x="9" y="6"/>
                  <a:pt x="9" y="7"/>
                </a:cubicBezTo>
                <a:cubicBezTo>
                  <a:pt x="9" y="7"/>
                  <a:pt x="8" y="6"/>
                  <a:pt x="8" y="7"/>
                </a:cubicBezTo>
                <a:cubicBezTo>
                  <a:pt x="8" y="7"/>
                  <a:pt x="8" y="7"/>
                  <a:pt x="8" y="7"/>
                </a:cubicBezTo>
                <a:cubicBezTo>
                  <a:pt x="7" y="8"/>
                  <a:pt x="6" y="7"/>
                  <a:pt x="6" y="7"/>
                </a:cubicBezTo>
                <a:cubicBezTo>
                  <a:pt x="6" y="7"/>
                  <a:pt x="6" y="8"/>
                  <a:pt x="5" y="8"/>
                </a:cubicBezTo>
                <a:cubicBezTo>
                  <a:pt x="5" y="8"/>
                  <a:pt x="5" y="7"/>
                  <a:pt x="4" y="8"/>
                </a:cubicBezTo>
                <a:cubicBezTo>
                  <a:pt x="4" y="8"/>
                  <a:pt x="3" y="8"/>
                  <a:pt x="3" y="9"/>
                </a:cubicBezTo>
                <a:cubicBezTo>
                  <a:pt x="2" y="9"/>
                  <a:pt x="2" y="10"/>
                  <a:pt x="2" y="10"/>
                </a:cubicBezTo>
                <a:cubicBezTo>
                  <a:pt x="2" y="10"/>
                  <a:pt x="2" y="9"/>
                  <a:pt x="1" y="9"/>
                </a:cubicBezTo>
                <a:cubicBezTo>
                  <a:pt x="1" y="9"/>
                  <a:pt x="1" y="9"/>
                  <a:pt x="1" y="9"/>
                </a:cubicBezTo>
                <a:cubicBezTo>
                  <a:pt x="1" y="9"/>
                  <a:pt x="1" y="9"/>
                  <a:pt x="1" y="9"/>
                </a:cubicBezTo>
                <a:cubicBezTo>
                  <a:pt x="1" y="8"/>
                  <a:pt x="0" y="8"/>
                  <a:pt x="0" y="8"/>
                </a:cubicBezTo>
                <a:cubicBezTo>
                  <a:pt x="1" y="9"/>
                  <a:pt x="0" y="9"/>
                  <a:pt x="0" y="9"/>
                </a:cubicBezTo>
                <a:cubicBezTo>
                  <a:pt x="0" y="9"/>
                  <a:pt x="1" y="10"/>
                  <a:pt x="1" y="10"/>
                </a:cubicBezTo>
                <a:cubicBezTo>
                  <a:pt x="1" y="10"/>
                  <a:pt x="1" y="10"/>
                  <a:pt x="1" y="10"/>
                </a:cubicBezTo>
                <a:cubicBezTo>
                  <a:pt x="1" y="11"/>
                  <a:pt x="2" y="11"/>
                  <a:pt x="2" y="12"/>
                </a:cubicBezTo>
                <a:cubicBezTo>
                  <a:pt x="2" y="12"/>
                  <a:pt x="3" y="12"/>
                  <a:pt x="3" y="12"/>
                </a:cubicBezTo>
                <a:cubicBezTo>
                  <a:pt x="3" y="13"/>
                  <a:pt x="4" y="13"/>
                  <a:pt x="4" y="13"/>
                </a:cubicBezTo>
                <a:cubicBezTo>
                  <a:pt x="4" y="13"/>
                  <a:pt x="3" y="14"/>
                  <a:pt x="3" y="14"/>
                </a:cubicBezTo>
                <a:cubicBezTo>
                  <a:pt x="2" y="15"/>
                  <a:pt x="3" y="15"/>
                  <a:pt x="3" y="15"/>
                </a:cubicBezTo>
                <a:cubicBezTo>
                  <a:pt x="4" y="15"/>
                  <a:pt x="4" y="16"/>
                  <a:pt x="4" y="16"/>
                </a:cubicBezTo>
                <a:cubicBezTo>
                  <a:pt x="4" y="17"/>
                  <a:pt x="5" y="17"/>
                  <a:pt x="5" y="17"/>
                </a:cubicBezTo>
                <a:cubicBezTo>
                  <a:pt x="5" y="18"/>
                  <a:pt x="5" y="18"/>
                  <a:pt x="6" y="19"/>
                </a:cubicBezTo>
                <a:cubicBezTo>
                  <a:pt x="6" y="19"/>
                  <a:pt x="7" y="19"/>
                  <a:pt x="7" y="19"/>
                </a:cubicBezTo>
                <a:cubicBezTo>
                  <a:pt x="7" y="19"/>
                  <a:pt x="8" y="19"/>
                  <a:pt x="8" y="19"/>
                </a:cubicBezTo>
                <a:cubicBezTo>
                  <a:pt x="9" y="20"/>
                  <a:pt x="9" y="21"/>
                  <a:pt x="9" y="21"/>
                </a:cubicBezTo>
                <a:cubicBezTo>
                  <a:pt x="10" y="21"/>
                  <a:pt x="10" y="21"/>
                  <a:pt x="11" y="22"/>
                </a:cubicBezTo>
                <a:cubicBezTo>
                  <a:pt x="11" y="22"/>
                  <a:pt x="11" y="22"/>
                  <a:pt x="11" y="22"/>
                </a:cubicBezTo>
                <a:cubicBezTo>
                  <a:pt x="11" y="22"/>
                  <a:pt x="11" y="22"/>
                  <a:pt x="11" y="23"/>
                </a:cubicBezTo>
                <a:cubicBezTo>
                  <a:pt x="12" y="23"/>
                  <a:pt x="12" y="23"/>
                  <a:pt x="12" y="23"/>
                </a:cubicBezTo>
                <a:cubicBezTo>
                  <a:pt x="13" y="23"/>
                  <a:pt x="13" y="23"/>
                  <a:pt x="14" y="24"/>
                </a:cubicBezTo>
                <a:cubicBezTo>
                  <a:pt x="14" y="24"/>
                  <a:pt x="14" y="24"/>
                  <a:pt x="15" y="24"/>
                </a:cubicBezTo>
                <a:cubicBezTo>
                  <a:pt x="15" y="25"/>
                  <a:pt x="15" y="25"/>
                  <a:pt x="15" y="25"/>
                </a:cubicBezTo>
                <a:cubicBezTo>
                  <a:pt x="16" y="25"/>
                  <a:pt x="17" y="25"/>
                  <a:pt x="17" y="26"/>
                </a:cubicBezTo>
                <a:cubicBezTo>
                  <a:pt x="16" y="27"/>
                  <a:pt x="18" y="27"/>
                  <a:pt x="19" y="27"/>
                </a:cubicBezTo>
                <a:cubicBezTo>
                  <a:pt x="20" y="27"/>
                  <a:pt x="20" y="27"/>
                  <a:pt x="20" y="26"/>
                </a:cubicBezTo>
                <a:cubicBezTo>
                  <a:pt x="21" y="26"/>
                  <a:pt x="21" y="27"/>
                  <a:pt x="22" y="27"/>
                </a:cubicBezTo>
                <a:cubicBezTo>
                  <a:pt x="22" y="27"/>
                  <a:pt x="23" y="27"/>
                  <a:pt x="23" y="26"/>
                </a:cubicBezTo>
                <a:cubicBezTo>
                  <a:pt x="23" y="26"/>
                  <a:pt x="23" y="25"/>
                  <a:pt x="23" y="25"/>
                </a:cubicBezTo>
                <a:cubicBezTo>
                  <a:pt x="24" y="25"/>
                  <a:pt x="24" y="25"/>
                  <a:pt x="25" y="25"/>
                </a:cubicBezTo>
                <a:cubicBezTo>
                  <a:pt x="25" y="24"/>
                  <a:pt x="25" y="24"/>
                  <a:pt x="25" y="23"/>
                </a:cubicBezTo>
                <a:cubicBezTo>
                  <a:pt x="25" y="22"/>
                  <a:pt x="25" y="22"/>
                  <a:pt x="26" y="22"/>
                </a:cubicBezTo>
                <a:cubicBezTo>
                  <a:pt x="27" y="22"/>
                  <a:pt x="26" y="23"/>
                  <a:pt x="26" y="23"/>
                </a:cubicBezTo>
                <a:cubicBezTo>
                  <a:pt x="27" y="23"/>
                  <a:pt x="27" y="23"/>
                  <a:pt x="28" y="23"/>
                </a:cubicBezTo>
                <a:cubicBezTo>
                  <a:pt x="29" y="23"/>
                  <a:pt x="29" y="23"/>
                  <a:pt x="30" y="24"/>
                </a:cubicBezTo>
                <a:cubicBezTo>
                  <a:pt x="30" y="24"/>
                  <a:pt x="31" y="24"/>
                  <a:pt x="31" y="24"/>
                </a:cubicBezTo>
                <a:cubicBezTo>
                  <a:pt x="31" y="24"/>
                  <a:pt x="32" y="24"/>
                  <a:pt x="32" y="24"/>
                </a:cubicBezTo>
                <a:cubicBezTo>
                  <a:pt x="32" y="24"/>
                  <a:pt x="33" y="24"/>
                  <a:pt x="33" y="25"/>
                </a:cubicBezTo>
                <a:cubicBezTo>
                  <a:pt x="34" y="25"/>
                  <a:pt x="35" y="25"/>
                  <a:pt x="36" y="25"/>
                </a:cubicBezTo>
                <a:cubicBezTo>
                  <a:pt x="36" y="25"/>
                  <a:pt x="37" y="25"/>
                  <a:pt x="37" y="25"/>
                </a:cubicBezTo>
                <a:cubicBezTo>
                  <a:pt x="37" y="24"/>
                  <a:pt x="38" y="25"/>
                  <a:pt x="39" y="25"/>
                </a:cubicBezTo>
                <a:cubicBezTo>
                  <a:pt x="39" y="25"/>
                  <a:pt x="39" y="25"/>
                  <a:pt x="40" y="25"/>
                </a:cubicBezTo>
                <a:cubicBezTo>
                  <a:pt x="40" y="25"/>
                  <a:pt x="41" y="25"/>
                  <a:pt x="41" y="26"/>
                </a:cubicBezTo>
                <a:cubicBezTo>
                  <a:pt x="41" y="26"/>
                  <a:pt x="41" y="27"/>
                  <a:pt x="42" y="26"/>
                </a:cubicBezTo>
                <a:cubicBezTo>
                  <a:pt x="43" y="26"/>
                  <a:pt x="43" y="23"/>
                  <a:pt x="44" y="24"/>
                </a:cubicBezTo>
                <a:cubicBezTo>
                  <a:pt x="45" y="24"/>
                  <a:pt x="46" y="24"/>
                  <a:pt x="48" y="24"/>
                </a:cubicBezTo>
                <a:cubicBezTo>
                  <a:pt x="48" y="24"/>
                  <a:pt x="48" y="23"/>
                  <a:pt x="49" y="23"/>
                </a:cubicBezTo>
                <a:cubicBezTo>
                  <a:pt x="50" y="23"/>
                  <a:pt x="50" y="23"/>
                  <a:pt x="50" y="22"/>
                </a:cubicBezTo>
                <a:cubicBezTo>
                  <a:pt x="50" y="22"/>
                  <a:pt x="51" y="22"/>
                  <a:pt x="51" y="21"/>
                </a:cubicBezTo>
                <a:cubicBezTo>
                  <a:pt x="51" y="21"/>
                  <a:pt x="51" y="20"/>
                  <a:pt x="52" y="20"/>
                </a:cubicBezTo>
                <a:cubicBezTo>
                  <a:pt x="52" y="19"/>
                  <a:pt x="54" y="19"/>
                  <a:pt x="54" y="18"/>
                </a:cubicBezTo>
                <a:cubicBezTo>
                  <a:pt x="54" y="18"/>
                  <a:pt x="54" y="18"/>
                  <a:pt x="55" y="18"/>
                </a:cubicBezTo>
                <a:cubicBezTo>
                  <a:pt x="55" y="17"/>
                  <a:pt x="55" y="17"/>
                  <a:pt x="56" y="17"/>
                </a:cubicBezTo>
                <a:cubicBezTo>
                  <a:pt x="56" y="17"/>
                  <a:pt x="57" y="17"/>
                  <a:pt x="57" y="17"/>
                </a:cubicBezTo>
                <a:cubicBezTo>
                  <a:pt x="57" y="16"/>
                  <a:pt x="57" y="16"/>
                  <a:pt x="57" y="1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6" name="Cyprus"/>
          <p:cNvSpPr>
            <a:spLocks/>
          </p:cNvSpPr>
          <p:nvPr/>
        </p:nvSpPr>
        <p:spPr bwMode="auto">
          <a:xfrm>
            <a:off x="6879042" y="3245990"/>
            <a:ext cx="75997" cy="42998"/>
          </a:xfrm>
          <a:custGeom>
            <a:avLst/>
            <a:gdLst/>
            <a:ahLst/>
            <a:cxnLst>
              <a:cxn ang="0">
                <a:pos x="19" y="1"/>
              </a:cxn>
              <a:cxn ang="0">
                <a:pos x="17" y="2"/>
              </a:cxn>
              <a:cxn ang="0">
                <a:pos x="15" y="3"/>
              </a:cxn>
              <a:cxn ang="0">
                <a:pos x="13" y="4"/>
              </a:cxn>
              <a:cxn ang="0">
                <a:pos x="10" y="4"/>
              </a:cxn>
              <a:cxn ang="0">
                <a:pos x="6" y="3"/>
              </a:cxn>
              <a:cxn ang="0">
                <a:pos x="6" y="5"/>
              </a:cxn>
              <a:cxn ang="0">
                <a:pos x="5" y="6"/>
              </a:cxn>
              <a:cxn ang="0">
                <a:pos x="2" y="6"/>
              </a:cxn>
              <a:cxn ang="0">
                <a:pos x="1" y="7"/>
              </a:cxn>
              <a:cxn ang="0">
                <a:pos x="0" y="7"/>
              </a:cxn>
              <a:cxn ang="0">
                <a:pos x="1" y="9"/>
              </a:cxn>
              <a:cxn ang="0">
                <a:pos x="2" y="10"/>
              </a:cxn>
              <a:cxn ang="0">
                <a:pos x="2" y="11"/>
              </a:cxn>
              <a:cxn ang="0">
                <a:pos x="5" y="11"/>
              </a:cxn>
              <a:cxn ang="0">
                <a:pos x="7" y="11"/>
              </a:cxn>
              <a:cxn ang="0">
                <a:pos x="7" y="11"/>
              </a:cxn>
              <a:cxn ang="0">
                <a:pos x="9" y="11"/>
              </a:cxn>
              <a:cxn ang="0">
                <a:pos x="11" y="10"/>
              </a:cxn>
              <a:cxn ang="0">
                <a:pos x="13" y="9"/>
              </a:cxn>
              <a:cxn ang="0">
                <a:pos x="13" y="8"/>
              </a:cxn>
              <a:cxn ang="0">
                <a:pos x="13" y="7"/>
              </a:cxn>
              <a:cxn ang="0">
                <a:pos x="13" y="7"/>
              </a:cxn>
              <a:cxn ang="0">
                <a:pos x="14" y="7"/>
              </a:cxn>
              <a:cxn ang="0">
                <a:pos x="15" y="7"/>
              </a:cxn>
              <a:cxn ang="0">
                <a:pos x="14" y="7"/>
              </a:cxn>
              <a:cxn ang="0">
                <a:pos x="15" y="8"/>
              </a:cxn>
              <a:cxn ang="0">
                <a:pos x="16" y="8"/>
              </a:cxn>
              <a:cxn ang="0">
                <a:pos x="17" y="8"/>
              </a:cxn>
              <a:cxn ang="0">
                <a:pos x="16" y="4"/>
              </a:cxn>
              <a:cxn ang="0">
                <a:pos x="16" y="4"/>
              </a:cxn>
              <a:cxn ang="0">
                <a:pos x="18" y="2"/>
              </a:cxn>
              <a:cxn ang="0">
                <a:pos x="20" y="1"/>
              </a:cxn>
              <a:cxn ang="0">
                <a:pos x="21" y="0"/>
              </a:cxn>
              <a:cxn ang="0">
                <a:pos x="19" y="1"/>
              </a:cxn>
            </a:cxnLst>
            <a:rect l="0" t="0" r="r" b="b"/>
            <a:pathLst>
              <a:path w="21" h="12">
                <a:moveTo>
                  <a:pt x="19" y="1"/>
                </a:moveTo>
                <a:cubicBezTo>
                  <a:pt x="18" y="1"/>
                  <a:pt x="18" y="2"/>
                  <a:pt x="17" y="2"/>
                </a:cubicBezTo>
                <a:cubicBezTo>
                  <a:pt x="16" y="2"/>
                  <a:pt x="16" y="3"/>
                  <a:pt x="15" y="3"/>
                </a:cubicBezTo>
                <a:cubicBezTo>
                  <a:pt x="14" y="3"/>
                  <a:pt x="13" y="3"/>
                  <a:pt x="13" y="4"/>
                </a:cubicBezTo>
                <a:cubicBezTo>
                  <a:pt x="12" y="4"/>
                  <a:pt x="11" y="4"/>
                  <a:pt x="10" y="4"/>
                </a:cubicBezTo>
                <a:cubicBezTo>
                  <a:pt x="9" y="4"/>
                  <a:pt x="7" y="4"/>
                  <a:pt x="6" y="3"/>
                </a:cubicBezTo>
                <a:cubicBezTo>
                  <a:pt x="6" y="4"/>
                  <a:pt x="6" y="5"/>
                  <a:pt x="6" y="5"/>
                </a:cubicBezTo>
                <a:cubicBezTo>
                  <a:pt x="6" y="6"/>
                  <a:pt x="6" y="6"/>
                  <a:pt x="5" y="6"/>
                </a:cubicBezTo>
                <a:cubicBezTo>
                  <a:pt x="4" y="6"/>
                  <a:pt x="3" y="5"/>
                  <a:pt x="2" y="6"/>
                </a:cubicBezTo>
                <a:cubicBezTo>
                  <a:pt x="2" y="7"/>
                  <a:pt x="2" y="7"/>
                  <a:pt x="1" y="7"/>
                </a:cubicBezTo>
                <a:cubicBezTo>
                  <a:pt x="1" y="7"/>
                  <a:pt x="1" y="7"/>
                  <a:pt x="0" y="7"/>
                </a:cubicBezTo>
                <a:cubicBezTo>
                  <a:pt x="0" y="7"/>
                  <a:pt x="1" y="8"/>
                  <a:pt x="1" y="9"/>
                </a:cubicBezTo>
                <a:cubicBezTo>
                  <a:pt x="1" y="9"/>
                  <a:pt x="2" y="9"/>
                  <a:pt x="2" y="10"/>
                </a:cubicBezTo>
                <a:cubicBezTo>
                  <a:pt x="2" y="10"/>
                  <a:pt x="2" y="11"/>
                  <a:pt x="2" y="11"/>
                </a:cubicBezTo>
                <a:cubicBezTo>
                  <a:pt x="3" y="11"/>
                  <a:pt x="4" y="12"/>
                  <a:pt x="5" y="11"/>
                </a:cubicBezTo>
                <a:cubicBezTo>
                  <a:pt x="6" y="11"/>
                  <a:pt x="6" y="11"/>
                  <a:pt x="7" y="11"/>
                </a:cubicBezTo>
                <a:cubicBezTo>
                  <a:pt x="7" y="11"/>
                  <a:pt x="7" y="12"/>
                  <a:pt x="7" y="11"/>
                </a:cubicBezTo>
                <a:cubicBezTo>
                  <a:pt x="8" y="11"/>
                  <a:pt x="8" y="11"/>
                  <a:pt x="9" y="11"/>
                </a:cubicBezTo>
                <a:cubicBezTo>
                  <a:pt x="9" y="11"/>
                  <a:pt x="11" y="11"/>
                  <a:pt x="11" y="10"/>
                </a:cubicBezTo>
                <a:cubicBezTo>
                  <a:pt x="11" y="11"/>
                  <a:pt x="13" y="9"/>
                  <a:pt x="13" y="9"/>
                </a:cubicBezTo>
                <a:cubicBezTo>
                  <a:pt x="13" y="8"/>
                  <a:pt x="13" y="8"/>
                  <a:pt x="13" y="8"/>
                </a:cubicBezTo>
                <a:cubicBezTo>
                  <a:pt x="13" y="8"/>
                  <a:pt x="13" y="7"/>
                  <a:pt x="13" y="7"/>
                </a:cubicBezTo>
                <a:cubicBezTo>
                  <a:pt x="14" y="7"/>
                  <a:pt x="13" y="7"/>
                  <a:pt x="13" y="7"/>
                </a:cubicBezTo>
                <a:cubicBezTo>
                  <a:pt x="14" y="7"/>
                  <a:pt x="14" y="7"/>
                  <a:pt x="14" y="7"/>
                </a:cubicBezTo>
                <a:cubicBezTo>
                  <a:pt x="15" y="7"/>
                  <a:pt x="15" y="6"/>
                  <a:pt x="15" y="7"/>
                </a:cubicBezTo>
                <a:cubicBezTo>
                  <a:pt x="15" y="7"/>
                  <a:pt x="15" y="7"/>
                  <a:pt x="14" y="7"/>
                </a:cubicBezTo>
                <a:cubicBezTo>
                  <a:pt x="14" y="7"/>
                  <a:pt x="15" y="8"/>
                  <a:pt x="15" y="8"/>
                </a:cubicBezTo>
                <a:cubicBezTo>
                  <a:pt x="15" y="8"/>
                  <a:pt x="16" y="8"/>
                  <a:pt x="16" y="8"/>
                </a:cubicBezTo>
                <a:cubicBezTo>
                  <a:pt x="16" y="8"/>
                  <a:pt x="17" y="8"/>
                  <a:pt x="17" y="8"/>
                </a:cubicBezTo>
                <a:cubicBezTo>
                  <a:pt x="17" y="7"/>
                  <a:pt x="14" y="5"/>
                  <a:pt x="16" y="4"/>
                </a:cubicBezTo>
                <a:cubicBezTo>
                  <a:pt x="16" y="4"/>
                  <a:pt x="16" y="4"/>
                  <a:pt x="16" y="4"/>
                </a:cubicBezTo>
                <a:cubicBezTo>
                  <a:pt x="17" y="3"/>
                  <a:pt x="17" y="3"/>
                  <a:pt x="18" y="2"/>
                </a:cubicBezTo>
                <a:cubicBezTo>
                  <a:pt x="19" y="2"/>
                  <a:pt x="19" y="1"/>
                  <a:pt x="20" y="1"/>
                </a:cubicBezTo>
                <a:cubicBezTo>
                  <a:pt x="20" y="1"/>
                  <a:pt x="21" y="1"/>
                  <a:pt x="21" y="0"/>
                </a:cubicBezTo>
                <a:cubicBezTo>
                  <a:pt x="20" y="0"/>
                  <a:pt x="19" y="1"/>
                  <a:pt x="19"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7" name="Cuba"/>
          <p:cNvSpPr>
            <a:spLocks noEditPoints="1"/>
          </p:cNvSpPr>
          <p:nvPr/>
        </p:nvSpPr>
        <p:spPr bwMode="auto">
          <a:xfrm>
            <a:off x="2884192" y="3740972"/>
            <a:ext cx="364987" cy="133995"/>
          </a:xfrm>
          <a:custGeom>
            <a:avLst/>
            <a:gdLst/>
            <a:ahLst/>
            <a:cxnLst>
              <a:cxn ang="0">
                <a:pos x="66" y="12"/>
              </a:cxn>
              <a:cxn ang="0">
                <a:pos x="68" y="11"/>
              </a:cxn>
              <a:cxn ang="0">
                <a:pos x="61" y="8"/>
              </a:cxn>
              <a:cxn ang="0">
                <a:pos x="64" y="8"/>
              </a:cxn>
              <a:cxn ang="0">
                <a:pos x="101" y="33"/>
              </a:cxn>
              <a:cxn ang="0">
                <a:pos x="93" y="28"/>
              </a:cxn>
              <a:cxn ang="0">
                <a:pos x="90" y="28"/>
              </a:cxn>
              <a:cxn ang="0">
                <a:pos x="86" y="28"/>
              </a:cxn>
              <a:cxn ang="0">
                <a:pos x="87" y="26"/>
              </a:cxn>
              <a:cxn ang="0">
                <a:pos x="85" y="23"/>
              </a:cxn>
              <a:cxn ang="0">
                <a:pos x="81" y="22"/>
              </a:cxn>
              <a:cxn ang="0">
                <a:pos x="78" y="21"/>
              </a:cxn>
              <a:cxn ang="0">
                <a:pos x="76" y="21"/>
              </a:cxn>
              <a:cxn ang="0">
                <a:pos x="73" y="19"/>
              </a:cxn>
              <a:cxn ang="0">
                <a:pos x="72" y="16"/>
              </a:cxn>
              <a:cxn ang="0">
                <a:pos x="72" y="17"/>
              </a:cxn>
              <a:cxn ang="0">
                <a:pos x="69" y="16"/>
              </a:cxn>
              <a:cxn ang="0">
                <a:pos x="63" y="11"/>
              </a:cxn>
              <a:cxn ang="0">
                <a:pos x="58" y="9"/>
              </a:cxn>
              <a:cxn ang="0">
                <a:pos x="52" y="6"/>
              </a:cxn>
              <a:cxn ang="0">
                <a:pos x="48" y="3"/>
              </a:cxn>
              <a:cxn ang="0">
                <a:pos x="43" y="1"/>
              </a:cxn>
              <a:cxn ang="0">
                <a:pos x="38" y="2"/>
              </a:cxn>
              <a:cxn ang="0">
                <a:pos x="34" y="1"/>
              </a:cxn>
              <a:cxn ang="0">
                <a:pos x="20" y="3"/>
              </a:cxn>
              <a:cxn ang="0">
                <a:pos x="16" y="4"/>
              </a:cxn>
              <a:cxn ang="0">
                <a:pos x="11" y="6"/>
              </a:cxn>
              <a:cxn ang="0">
                <a:pos x="6" y="10"/>
              </a:cxn>
              <a:cxn ang="0">
                <a:pos x="5" y="13"/>
              </a:cxn>
              <a:cxn ang="0">
                <a:pos x="1" y="15"/>
              </a:cxn>
              <a:cxn ang="0">
                <a:pos x="9" y="14"/>
              </a:cxn>
              <a:cxn ang="0">
                <a:pos x="14" y="11"/>
              </a:cxn>
              <a:cxn ang="0">
                <a:pos x="22" y="6"/>
              </a:cxn>
              <a:cxn ang="0">
                <a:pos x="29" y="9"/>
              </a:cxn>
              <a:cxn ang="0">
                <a:pos x="33" y="11"/>
              </a:cxn>
              <a:cxn ang="0">
                <a:pos x="37" y="11"/>
              </a:cxn>
              <a:cxn ang="0">
                <a:pos x="43" y="12"/>
              </a:cxn>
              <a:cxn ang="0">
                <a:pos x="46" y="16"/>
              </a:cxn>
              <a:cxn ang="0">
                <a:pos x="50" y="17"/>
              </a:cxn>
              <a:cxn ang="0">
                <a:pos x="54" y="18"/>
              </a:cxn>
              <a:cxn ang="0">
                <a:pos x="60" y="21"/>
              </a:cxn>
              <a:cxn ang="0">
                <a:pos x="63" y="26"/>
              </a:cxn>
              <a:cxn ang="0">
                <a:pos x="71" y="28"/>
              </a:cxn>
              <a:cxn ang="0">
                <a:pos x="71" y="32"/>
              </a:cxn>
              <a:cxn ang="0">
                <a:pos x="66" y="37"/>
              </a:cxn>
              <a:cxn ang="0">
                <a:pos x="75" y="36"/>
              </a:cxn>
              <a:cxn ang="0">
                <a:pos x="88" y="37"/>
              </a:cxn>
              <a:cxn ang="0">
                <a:pos x="91" y="35"/>
              </a:cxn>
              <a:cxn ang="0">
                <a:pos x="95" y="35"/>
              </a:cxn>
              <a:cxn ang="0">
                <a:pos x="67" y="13"/>
              </a:cxn>
              <a:cxn ang="0">
                <a:pos x="70" y="13"/>
              </a:cxn>
              <a:cxn ang="0">
                <a:pos x="22" y="16"/>
              </a:cxn>
              <a:cxn ang="0">
                <a:pos x="18" y="16"/>
              </a:cxn>
              <a:cxn ang="0">
                <a:pos x="17" y="19"/>
              </a:cxn>
              <a:cxn ang="0">
                <a:pos x="22" y="16"/>
              </a:cxn>
              <a:cxn ang="0">
                <a:pos x="54" y="25"/>
              </a:cxn>
              <a:cxn ang="0">
                <a:pos x="57" y="27"/>
              </a:cxn>
              <a:cxn ang="0">
                <a:pos x="61" y="29"/>
              </a:cxn>
              <a:cxn ang="0">
                <a:pos x="53" y="24"/>
              </a:cxn>
              <a:cxn ang="0">
                <a:pos x="65" y="9"/>
              </a:cxn>
              <a:cxn ang="0">
                <a:pos x="64" y="9"/>
              </a:cxn>
              <a:cxn ang="0">
                <a:pos x="52" y="5"/>
              </a:cxn>
            </a:cxnLst>
            <a:rect l="0" t="0" r="r" b="b"/>
            <a:pathLst>
              <a:path w="101" h="37">
                <a:moveTo>
                  <a:pt x="58" y="6"/>
                </a:moveTo>
                <a:cubicBezTo>
                  <a:pt x="57" y="6"/>
                  <a:pt x="57" y="6"/>
                  <a:pt x="57" y="6"/>
                </a:cubicBezTo>
                <a:cubicBezTo>
                  <a:pt x="57" y="6"/>
                  <a:pt x="58" y="6"/>
                  <a:pt x="58" y="6"/>
                </a:cubicBezTo>
                <a:cubicBezTo>
                  <a:pt x="58" y="6"/>
                  <a:pt x="58" y="6"/>
                  <a:pt x="58" y="6"/>
                </a:cubicBezTo>
                <a:close/>
                <a:moveTo>
                  <a:pt x="66" y="12"/>
                </a:moveTo>
                <a:cubicBezTo>
                  <a:pt x="67" y="12"/>
                  <a:pt x="67" y="12"/>
                  <a:pt x="67" y="12"/>
                </a:cubicBezTo>
                <a:cubicBezTo>
                  <a:pt x="67" y="12"/>
                  <a:pt x="67" y="12"/>
                  <a:pt x="67" y="12"/>
                </a:cubicBezTo>
                <a:cubicBezTo>
                  <a:pt x="67" y="12"/>
                  <a:pt x="67" y="13"/>
                  <a:pt x="68" y="12"/>
                </a:cubicBezTo>
                <a:cubicBezTo>
                  <a:pt x="68" y="12"/>
                  <a:pt x="68" y="12"/>
                  <a:pt x="68" y="12"/>
                </a:cubicBezTo>
                <a:cubicBezTo>
                  <a:pt x="68" y="11"/>
                  <a:pt x="68" y="12"/>
                  <a:pt x="68" y="11"/>
                </a:cubicBezTo>
                <a:cubicBezTo>
                  <a:pt x="68" y="11"/>
                  <a:pt x="67" y="11"/>
                  <a:pt x="67" y="11"/>
                </a:cubicBezTo>
                <a:cubicBezTo>
                  <a:pt x="67" y="11"/>
                  <a:pt x="67" y="11"/>
                  <a:pt x="67" y="11"/>
                </a:cubicBezTo>
                <a:cubicBezTo>
                  <a:pt x="67" y="10"/>
                  <a:pt x="67" y="10"/>
                  <a:pt x="67" y="10"/>
                </a:cubicBezTo>
                <a:cubicBezTo>
                  <a:pt x="67" y="10"/>
                  <a:pt x="66" y="11"/>
                  <a:pt x="66" y="12"/>
                </a:cubicBezTo>
                <a:close/>
                <a:moveTo>
                  <a:pt x="61" y="8"/>
                </a:moveTo>
                <a:cubicBezTo>
                  <a:pt x="61" y="8"/>
                  <a:pt x="61" y="8"/>
                  <a:pt x="61" y="8"/>
                </a:cubicBezTo>
                <a:cubicBezTo>
                  <a:pt x="61" y="8"/>
                  <a:pt x="62" y="9"/>
                  <a:pt x="62" y="9"/>
                </a:cubicBezTo>
                <a:cubicBezTo>
                  <a:pt x="62" y="9"/>
                  <a:pt x="63" y="8"/>
                  <a:pt x="63" y="9"/>
                </a:cubicBezTo>
                <a:cubicBezTo>
                  <a:pt x="63" y="9"/>
                  <a:pt x="63" y="9"/>
                  <a:pt x="63" y="9"/>
                </a:cubicBezTo>
                <a:cubicBezTo>
                  <a:pt x="63" y="9"/>
                  <a:pt x="64" y="9"/>
                  <a:pt x="64" y="8"/>
                </a:cubicBezTo>
                <a:cubicBezTo>
                  <a:pt x="64" y="8"/>
                  <a:pt x="64" y="8"/>
                  <a:pt x="64" y="7"/>
                </a:cubicBezTo>
                <a:cubicBezTo>
                  <a:pt x="63" y="7"/>
                  <a:pt x="62" y="8"/>
                  <a:pt x="61" y="8"/>
                </a:cubicBezTo>
                <a:cubicBezTo>
                  <a:pt x="61" y="7"/>
                  <a:pt x="60" y="7"/>
                  <a:pt x="61" y="8"/>
                </a:cubicBezTo>
                <a:cubicBezTo>
                  <a:pt x="61" y="8"/>
                  <a:pt x="61" y="8"/>
                  <a:pt x="61" y="8"/>
                </a:cubicBezTo>
                <a:close/>
                <a:moveTo>
                  <a:pt x="101" y="33"/>
                </a:moveTo>
                <a:cubicBezTo>
                  <a:pt x="100" y="32"/>
                  <a:pt x="100" y="32"/>
                  <a:pt x="99" y="32"/>
                </a:cubicBezTo>
                <a:cubicBezTo>
                  <a:pt x="99" y="32"/>
                  <a:pt x="97" y="32"/>
                  <a:pt x="97" y="31"/>
                </a:cubicBezTo>
                <a:cubicBezTo>
                  <a:pt x="97" y="30"/>
                  <a:pt x="96" y="30"/>
                  <a:pt x="96" y="29"/>
                </a:cubicBezTo>
                <a:cubicBezTo>
                  <a:pt x="95" y="29"/>
                  <a:pt x="95" y="29"/>
                  <a:pt x="95" y="29"/>
                </a:cubicBezTo>
                <a:cubicBezTo>
                  <a:pt x="95" y="28"/>
                  <a:pt x="94" y="28"/>
                  <a:pt x="93" y="28"/>
                </a:cubicBezTo>
                <a:cubicBezTo>
                  <a:pt x="93" y="28"/>
                  <a:pt x="92" y="28"/>
                  <a:pt x="92" y="28"/>
                </a:cubicBezTo>
                <a:cubicBezTo>
                  <a:pt x="92" y="28"/>
                  <a:pt x="92" y="28"/>
                  <a:pt x="91" y="28"/>
                </a:cubicBezTo>
                <a:cubicBezTo>
                  <a:pt x="91" y="27"/>
                  <a:pt x="90" y="28"/>
                  <a:pt x="90" y="28"/>
                </a:cubicBezTo>
                <a:cubicBezTo>
                  <a:pt x="90" y="28"/>
                  <a:pt x="90" y="28"/>
                  <a:pt x="90" y="28"/>
                </a:cubicBezTo>
                <a:cubicBezTo>
                  <a:pt x="90" y="28"/>
                  <a:pt x="89" y="28"/>
                  <a:pt x="90" y="28"/>
                </a:cubicBezTo>
                <a:cubicBezTo>
                  <a:pt x="90" y="27"/>
                  <a:pt x="89" y="27"/>
                  <a:pt x="89" y="27"/>
                </a:cubicBezTo>
                <a:cubicBezTo>
                  <a:pt x="88" y="27"/>
                  <a:pt x="89" y="28"/>
                  <a:pt x="89" y="28"/>
                </a:cubicBezTo>
                <a:cubicBezTo>
                  <a:pt x="89" y="28"/>
                  <a:pt x="87" y="28"/>
                  <a:pt x="87" y="28"/>
                </a:cubicBezTo>
                <a:cubicBezTo>
                  <a:pt x="87" y="27"/>
                  <a:pt x="87" y="27"/>
                  <a:pt x="87" y="27"/>
                </a:cubicBezTo>
                <a:cubicBezTo>
                  <a:pt x="87" y="27"/>
                  <a:pt x="87" y="28"/>
                  <a:pt x="86" y="28"/>
                </a:cubicBezTo>
                <a:cubicBezTo>
                  <a:pt x="86" y="28"/>
                  <a:pt x="85" y="27"/>
                  <a:pt x="86" y="26"/>
                </a:cubicBezTo>
                <a:cubicBezTo>
                  <a:pt x="86" y="26"/>
                  <a:pt x="88" y="27"/>
                  <a:pt x="88" y="27"/>
                </a:cubicBezTo>
                <a:cubicBezTo>
                  <a:pt x="88" y="26"/>
                  <a:pt x="87" y="25"/>
                  <a:pt x="86" y="26"/>
                </a:cubicBezTo>
                <a:cubicBezTo>
                  <a:pt x="86" y="26"/>
                  <a:pt x="86" y="26"/>
                  <a:pt x="86" y="25"/>
                </a:cubicBezTo>
                <a:cubicBezTo>
                  <a:pt x="87" y="25"/>
                  <a:pt x="87" y="25"/>
                  <a:pt x="87" y="26"/>
                </a:cubicBezTo>
                <a:cubicBezTo>
                  <a:pt x="87" y="26"/>
                  <a:pt x="88" y="24"/>
                  <a:pt x="88" y="24"/>
                </a:cubicBezTo>
                <a:cubicBezTo>
                  <a:pt x="88" y="24"/>
                  <a:pt x="87" y="24"/>
                  <a:pt x="87" y="24"/>
                </a:cubicBezTo>
                <a:cubicBezTo>
                  <a:pt x="87" y="23"/>
                  <a:pt x="87" y="23"/>
                  <a:pt x="87" y="23"/>
                </a:cubicBezTo>
                <a:cubicBezTo>
                  <a:pt x="87" y="23"/>
                  <a:pt x="86" y="23"/>
                  <a:pt x="86" y="23"/>
                </a:cubicBezTo>
                <a:cubicBezTo>
                  <a:pt x="86" y="23"/>
                  <a:pt x="85" y="24"/>
                  <a:pt x="85" y="23"/>
                </a:cubicBezTo>
                <a:cubicBezTo>
                  <a:pt x="85" y="23"/>
                  <a:pt x="84" y="23"/>
                  <a:pt x="84" y="23"/>
                </a:cubicBezTo>
                <a:cubicBezTo>
                  <a:pt x="84" y="24"/>
                  <a:pt x="84" y="24"/>
                  <a:pt x="83" y="23"/>
                </a:cubicBezTo>
                <a:cubicBezTo>
                  <a:pt x="83" y="23"/>
                  <a:pt x="83" y="23"/>
                  <a:pt x="83" y="23"/>
                </a:cubicBezTo>
                <a:cubicBezTo>
                  <a:pt x="83" y="24"/>
                  <a:pt x="83" y="23"/>
                  <a:pt x="83" y="22"/>
                </a:cubicBezTo>
                <a:cubicBezTo>
                  <a:pt x="82" y="22"/>
                  <a:pt x="82" y="22"/>
                  <a:pt x="81" y="22"/>
                </a:cubicBezTo>
                <a:cubicBezTo>
                  <a:pt x="81" y="21"/>
                  <a:pt x="80" y="21"/>
                  <a:pt x="79" y="21"/>
                </a:cubicBezTo>
                <a:cubicBezTo>
                  <a:pt x="79" y="22"/>
                  <a:pt x="79" y="22"/>
                  <a:pt x="80" y="22"/>
                </a:cubicBezTo>
                <a:cubicBezTo>
                  <a:pt x="79" y="22"/>
                  <a:pt x="78" y="23"/>
                  <a:pt x="78" y="22"/>
                </a:cubicBezTo>
                <a:cubicBezTo>
                  <a:pt x="79" y="22"/>
                  <a:pt x="79" y="22"/>
                  <a:pt x="79" y="21"/>
                </a:cubicBezTo>
                <a:cubicBezTo>
                  <a:pt x="79" y="22"/>
                  <a:pt x="79" y="21"/>
                  <a:pt x="78" y="21"/>
                </a:cubicBezTo>
                <a:cubicBezTo>
                  <a:pt x="78" y="22"/>
                  <a:pt x="78" y="22"/>
                  <a:pt x="78" y="22"/>
                </a:cubicBezTo>
                <a:cubicBezTo>
                  <a:pt x="78" y="22"/>
                  <a:pt x="77" y="22"/>
                  <a:pt x="77" y="21"/>
                </a:cubicBezTo>
                <a:cubicBezTo>
                  <a:pt x="77" y="21"/>
                  <a:pt x="79" y="21"/>
                  <a:pt x="78" y="21"/>
                </a:cubicBezTo>
                <a:cubicBezTo>
                  <a:pt x="77" y="20"/>
                  <a:pt x="77" y="20"/>
                  <a:pt x="76" y="21"/>
                </a:cubicBezTo>
                <a:cubicBezTo>
                  <a:pt x="77" y="21"/>
                  <a:pt x="76" y="21"/>
                  <a:pt x="76" y="21"/>
                </a:cubicBezTo>
                <a:cubicBezTo>
                  <a:pt x="76" y="21"/>
                  <a:pt x="76" y="21"/>
                  <a:pt x="76" y="21"/>
                </a:cubicBezTo>
                <a:cubicBezTo>
                  <a:pt x="76" y="20"/>
                  <a:pt x="77" y="21"/>
                  <a:pt x="77" y="20"/>
                </a:cubicBezTo>
                <a:cubicBezTo>
                  <a:pt x="77" y="20"/>
                  <a:pt x="76" y="20"/>
                  <a:pt x="76" y="19"/>
                </a:cubicBezTo>
                <a:cubicBezTo>
                  <a:pt x="75" y="19"/>
                  <a:pt x="75" y="19"/>
                  <a:pt x="75" y="18"/>
                </a:cubicBezTo>
                <a:cubicBezTo>
                  <a:pt x="74" y="17"/>
                  <a:pt x="74" y="20"/>
                  <a:pt x="73" y="19"/>
                </a:cubicBezTo>
                <a:cubicBezTo>
                  <a:pt x="73" y="19"/>
                  <a:pt x="72" y="19"/>
                  <a:pt x="73" y="19"/>
                </a:cubicBezTo>
                <a:cubicBezTo>
                  <a:pt x="73" y="18"/>
                  <a:pt x="72" y="18"/>
                  <a:pt x="72" y="18"/>
                </a:cubicBezTo>
                <a:cubicBezTo>
                  <a:pt x="72" y="18"/>
                  <a:pt x="73" y="18"/>
                  <a:pt x="73" y="18"/>
                </a:cubicBezTo>
                <a:cubicBezTo>
                  <a:pt x="74" y="19"/>
                  <a:pt x="74" y="18"/>
                  <a:pt x="74" y="17"/>
                </a:cubicBezTo>
                <a:cubicBezTo>
                  <a:pt x="73" y="17"/>
                  <a:pt x="73" y="16"/>
                  <a:pt x="72" y="16"/>
                </a:cubicBezTo>
                <a:cubicBezTo>
                  <a:pt x="72" y="16"/>
                  <a:pt x="71" y="15"/>
                  <a:pt x="71" y="15"/>
                </a:cubicBezTo>
                <a:cubicBezTo>
                  <a:pt x="70" y="14"/>
                  <a:pt x="70" y="14"/>
                  <a:pt x="70" y="15"/>
                </a:cubicBezTo>
                <a:cubicBezTo>
                  <a:pt x="70" y="15"/>
                  <a:pt x="71" y="15"/>
                  <a:pt x="71" y="16"/>
                </a:cubicBezTo>
                <a:cubicBezTo>
                  <a:pt x="71" y="16"/>
                  <a:pt x="71" y="16"/>
                  <a:pt x="71" y="16"/>
                </a:cubicBezTo>
                <a:cubicBezTo>
                  <a:pt x="71" y="16"/>
                  <a:pt x="72" y="16"/>
                  <a:pt x="72" y="17"/>
                </a:cubicBezTo>
                <a:cubicBezTo>
                  <a:pt x="72" y="17"/>
                  <a:pt x="72" y="17"/>
                  <a:pt x="72" y="17"/>
                </a:cubicBezTo>
                <a:cubicBezTo>
                  <a:pt x="72" y="18"/>
                  <a:pt x="71" y="17"/>
                  <a:pt x="71" y="17"/>
                </a:cubicBezTo>
                <a:cubicBezTo>
                  <a:pt x="71" y="17"/>
                  <a:pt x="71" y="16"/>
                  <a:pt x="71" y="16"/>
                </a:cubicBezTo>
                <a:cubicBezTo>
                  <a:pt x="71" y="16"/>
                  <a:pt x="71" y="16"/>
                  <a:pt x="70" y="16"/>
                </a:cubicBezTo>
                <a:cubicBezTo>
                  <a:pt x="70" y="16"/>
                  <a:pt x="69" y="16"/>
                  <a:pt x="69" y="16"/>
                </a:cubicBezTo>
                <a:cubicBezTo>
                  <a:pt x="68" y="16"/>
                  <a:pt x="69" y="15"/>
                  <a:pt x="68" y="15"/>
                </a:cubicBezTo>
                <a:cubicBezTo>
                  <a:pt x="67" y="15"/>
                  <a:pt x="67" y="14"/>
                  <a:pt x="68" y="14"/>
                </a:cubicBezTo>
                <a:cubicBezTo>
                  <a:pt x="67" y="14"/>
                  <a:pt x="68" y="16"/>
                  <a:pt x="67" y="14"/>
                </a:cubicBezTo>
                <a:cubicBezTo>
                  <a:pt x="66" y="13"/>
                  <a:pt x="66" y="13"/>
                  <a:pt x="65" y="12"/>
                </a:cubicBezTo>
                <a:cubicBezTo>
                  <a:pt x="64" y="12"/>
                  <a:pt x="64" y="12"/>
                  <a:pt x="63" y="11"/>
                </a:cubicBezTo>
                <a:cubicBezTo>
                  <a:pt x="63" y="11"/>
                  <a:pt x="63" y="11"/>
                  <a:pt x="62" y="11"/>
                </a:cubicBezTo>
                <a:cubicBezTo>
                  <a:pt x="62" y="10"/>
                  <a:pt x="61" y="10"/>
                  <a:pt x="61" y="10"/>
                </a:cubicBezTo>
                <a:cubicBezTo>
                  <a:pt x="61" y="10"/>
                  <a:pt x="60" y="9"/>
                  <a:pt x="60" y="9"/>
                </a:cubicBezTo>
                <a:cubicBezTo>
                  <a:pt x="60" y="10"/>
                  <a:pt x="60" y="10"/>
                  <a:pt x="59" y="9"/>
                </a:cubicBezTo>
                <a:cubicBezTo>
                  <a:pt x="59" y="9"/>
                  <a:pt x="58" y="9"/>
                  <a:pt x="58" y="9"/>
                </a:cubicBezTo>
                <a:cubicBezTo>
                  <a:pt x="57" y="9"/>
                  <a:pt x="56" y="9"/>
                  <a:pt x="56" y="9"/>
                </a:cubicBezTo>
                <a:cubicBezTo>
                  <a:pt x="55" y="9"/>
                  <a:pt x="54" y="9"/>
                  <a:pt x="54" y="9"/>
                </a:cubicBezTo>
                <a:cubicBezTo>
                  <a:pt x="54" y="8"/>
                  <a:pt x="53" y="8"/>
                  <a:pt x="53" y="8"/>
                </a:cubicBezTo>
                <a:cubicBezTo>
                  <a:pt x="53" y="7"/>
                  <a:pt x="53" y="7"/>
                  <a:pt x="52" y="7"/>
                </a:cubicBezTo>
                <a:cubicBezTo>
                  <a:pt x="52" y="6"/>
                  <a:pt x="52" y="6"/>
                  <a:pt x="52" y="6"/>
                </a:cubicBezTo>
                <a:cubicBezTo>
                  <a:pt x="52" y="6"/>
                  <a:pt x="52" y="5"/>
                  <a:pt x="52" y="5"/>
                </a:cubicBezTo>
                <a:cubicBezTo>
                  <a:pt x="51" y="5"/>
                  <a:pt x="50" y="5"/>
                  <a:pt x="50" y="5"/>
                </a:cubicBezTo>
                <a:cubicBezTo>
                  <a:pt x="50" y="4"/>
                  <a:pt x="50" y="4"/>
                  <a:pt x="51" y="4"/>
                </a:cubicBezTo>
                <a:cubicBezTo>
                  <a:pt x="50" y="4"/>
                  <a:pt x="50" y="4"/>
                  <a:pt x="49" y="4"/>
                </a:cubicBezTo>
                <a:cubicBezTo>
                  <a:pt x="49" y="4"/>
                  <a:pt x="49" y="3"/>
                  <a:pt x="48" y="3"/>
                </a:cubicBezTo>
                <a:cubicBezTo>
                  <a:pt x="48" y="4"/>
                  <a:pt x="48" y="3"/>
                  <a:pt x="48" y="3"/>
                </a:cubicBezTo>
                <a:cubicBezTo>
                  <a:pt x="47" y="3"/>
                  <a:pt x="47" y="3"/>
                  <a:pt x="47" y="3"/>
                </a:cubicBezTo>
                <a:cubicBezTo>
                  <a:pt x="46" y="4"/>
                  <a:pt x="45" y="3"/>
                  <a:pt x="45" y="3"/>
                </a:cubicBezTo>
                <a:cubicBezTo>
                  <a:pt x="44" y="3"/>
                  <a:pt x="44" y="3"/>
                  <a:pt x="44" y="2"/>
                </a:cubicBezTo>
                <a:cubicBezTo>
                  <a:pt x="43" y="2"/>
                  <a:pt x="43" y="2"/>
                  <a:pt x="43" y="1"/>
                </a:cubicBezTo>
                <a:cubicBezTo>
                  <a:pt x="43" y="1"/>
                  <a:pt x="44" y="1"/>
                  <a:pt x="43" y="1"/>
                </a:cubicBezTo>
                <a:cubicBezTo>
                  <a:pt x="43" y="1"/>
                  <a:pt x="43" y="1"/>
                  <a:pt x="43" y="1"/>
                </a:cubicBezTo>
                <a:cubicBezTo>
                  <a:pt x="43" y="2"/>
                  <a:pt x="41" y="2"/>
                  <a:pt x="41" y="2"/>
                </a:cubicBezTo>
                <a:cubicBezTo>
                  <a:pt x="40" y="2"/>
                  <a:pt x="39" y="1"/>
                  <a:pt x="39" y="2"/>
                </a:cubicBezTo>
                <a:cubicBezTo>
                  <a:pt x="39" y="2"/>
                  <a:pt x="38" y="2"/>
                  <a:pt x="38" y="2"/>
                </a:cubicBezTo>
                <a:cubicBezTo>
                  <a:pt x="38" y="2"/>
                  <a:pt x="38" y="2"/>
                  <a:pt x="37" y="1"/>
                </a:cubicBezTo>
                <a:cubicBezTo>
                  <a:pt x="36" y="1"/>
                  <a:pt x="38" y="1"/>
                  <a:pt x="39" y="0"/>
                </a:cubicBezTo>
                <a:cubicBezTo>
                  <a:pt x="38" y="0"/>
                  <a:pt x="37" y="1"/>
                  <a:pt x="36" y="1"/>
                </a:cubicBezTo>
                <a:cubicBezTo>
                  <a:pt x="36" y="1"/>
                  <a:pt x="34" y="2"/>
                  <a:pt x="34" y="2"/>
                </a:cubicBezTo>
                <a:cubicBezTo>
                  <a:pt x="34" y="2"/>
                  <a:pt x="35" y="1"/>
                  <a:pt x="34" y="1"/>
                </a:cubicBezTo>
                <a:cubicBezTo>
                  <a:pt x="34" y="1"/>
                  <a:pt x="33" y="1"/>
                  <a:pt x="32" y="1"/>
                </a:cubicBezTo>
                <a:cubicBezTo>
                  <a:pt x="31" y="1"/>
                  <a:pt x="29" y="0"/>
                  <a:pt x="28" y="0"/>
                </a:cubicBezTo>
                <a:cubicBezTo>
                  <a:pt x="26" y="0"/>
                  <a:pt x="25" y="2"/>
                  <a:pt x="23" y="2"/>
                </a:cubicBezTo>
                <a:cubicBezTo>
                  <a:pt x="23" y="2"/>
                  <a:pt x="22" y="2"/>
                  <a:pt x="21" y="2"/>
                </a:cubicBezTo>
                <a:cubicBezTo>
                  <a:pt x="21" y="2"/>
                  <a:pt x="21" y="3"/>
                  <a:pt x="20" y="3"/>
                </a:cubicBezTo>
                <a:cubicBezTo>
                  <a:pt x="21" y="2"/>
                  <a:pt x="20" y="2"/>
                  <a:pt x="20" y="2"/>
                </a:cubicBezTo>
                <a:cubicBezTo>
                  <a:pt x="19" y="3"/>
                  <a:pt x="19" y="3"/>
                  <a:pt x="19" y="3"/>
                </a:cubicBezTo>
                <a:cubicBezTo>
                  <a:pt x="18" y="3"/>
                  <a:pt x="19" y="3"/>
                  <a:pt x="19" y="2"/>
                </a:cubicBezTo>
                <a:cubicBezTo>
                  <a:pt x="18" y="2"/>
                  <a:pt x="18" y="3"/>
                  <a:pt x="18" y="3"/>
                </a:cubicBezTo>
                <a:cubicBezTo>
                  <a:pt x="17" y="3"/>
                  <a:pt x="17" y="4"/>
                  <a:pt x="16" y="4"/>
                </a:cubicBezTo>
                <a:cubicBezTo>
                  <a:pt x="16" y="3"/>
                  <a:pt x="16" y="4"/>
                  <a:pt x="16" y="4"/>
                </a:cubicBezTo>
                <a:cubicBezTo>
                  <a:pt x="15" y="4"/>
                  <a:pt x="16" y="4"/>
                  <a:pt x="15" y="4"/>
                </a:cubicBezTo>
                <a:cubicBezTo>
                  <a:pt x="15" y="4"/>
                  <a:pt x="14" y="4"/>
                  <a:pt x="14" y="4"/>
                </a:cubicBezTo>
                <a:cubicBezTo>
                  <a:pt x="14" y="5"/>
                  <a:pt x="14" y="5"/>
                  <a:pt x="13" y="5"/>
                </a:cubicBezTo>
                <a:cubicBezTo>
                  <a:pt x="12" y="5"/>
                  <a:pt x="12" y="5"/>
                  <a:pt x="11" y="6"/>
                </a:cubicBezTo>
                <a:cubicBezTo>
                  <a:pt x="11" y="6"/>
                  <a:pt x="10" y="6"/>
                  <a:pt x="10" y="6"/>
                </a:cubicBezTo>
                <a:cubicBezTo>
                  <a:pt x="11" y="6"/>
                  <a:pt x="9" y="7"/>
                  <a:pt x="9" y="7"/>
                </a:cubicBezTo>
                <a:cubicBezTo>
                  <a:pt x="9" y="7"/>
                  <a:pt x="8" y="7"/>
                  <a:pt x="8" y="7"/>
                </a:cubicBezTo>
                <a:cubicBezTo>
                  <a:pt x="8" y="8"/>
                  <a:pt x="8" y="8"/>
                  <a:pt x="7" y="8"/>
                </a:cubicBezTo>
                <a:cubicBezTo>
                  <a:pt x="7" y="8"/>
                  <a:pt x="7" y="9"/>
                  <a:pt x="6" y="10"/>
                </a:cubicBezTo>
                <a:cubicBezTo>
                  <a:pt x="6" y="10"/>
                  <a:pt x="6" y="11"/>
                  <a:pt x="5" y="11"/>
                </a:cubicBezTo>
                <a:cubicBezTo>
                  <a:pt x="6" y="11"/>
                  <a:pt x="6" y="12"/>
                  <a:pt x="6" y="12"/>
                </a:cubicBezTo>
                <a:cubicBezTo>
                  <a:pt x="6" y="12"/>
                  <a:pt x="6" y="12"/>
                  <a:pt x="6" y="12"/>
                </a:cubicBezTo>
                <a:cubicBezTo>
                  <a:pt x="6" y="13"/>
                  <a:pt x="6" y="13"/>
                  <a:pt x="7" y="13"/>
                </a:cubicBezTo>
                <a:cubicBezTo>
                  <a:pt x="7" y="14"/>
                  <a:pt x="6" y="13"/>
                  <a:pt x="5" y="13"/>
                </a:cubicBezTo>
                <a:cubicBezTo>
                  <a:pt x="5" y="13"/>
                  <a:pt x="5" y="13"/>
                  <a:pt x="5" y="13"/>
                </a:cubicBezTo>
                <a:cubicBezTo>
                  <a:pt x="4" y="13"/>
                  <a:pt x="4" y="13"/>
                  <a:pt x="4" y="14"/>
                </a:cubicBezTo>
                <a:cubicBezTo>
                  <a:pt x="3" y="14"/>
                  <a:pt x="1" y="15"/>
                  <a:pt x="1" y="14"/>
                </a:cubicBezTo>
                <a:cubicBezTo>
                  <a:pt x="1" y="14"/>
                  <a:pt x="1" y="15"/>
                  <a:pt x="0" y="14"/>
                </a:cubicBezTo>
                <a:cubicBezTo>
                  <a:pt x="0" y="15"/>
                  <a:pt x="0" y="15"/>
                  <a:pt x="1" y="15"/>
                </a:cubicBezTo>
                <a:cubicBezTo>
                  <a:pt x="2" y="15"/>
                  <a:pt x="2" y="15"/>
                  <a:pt x="3" y="14"/>
                </a:cubicBezTo>
                <a:cubicBezTo>
                  <a:pt x="4" y="14"/>
                  <a:pt x="5" y="14"/>
                  <a:pt x="5" y="15"/>
                </a:cubicBezTo>
                <a:cubicBezTo>
                  <a:pt x="5" y="15"/>
                  <a:pt x="4" y="16"/>
                  <a:pt x="4" y="16"/>
                </a:cubicBezTo>
                <a:cubicBezTo>
                  <a:pt x="5" y="17"/>
                  <a:pt x="7" y="14"/>
                  <a:pt x="8" y="14"/>
                </a:cubicBezTo>
                <a:cubicBezTo>
                  <a:pt x="8" y="14"/>
                  <a:pt x="9" y="15"/>
                  <a:pt x="9" y="14"/>
                </a:cubicBezTo>
                <a:cubicBezTo>
                  <a:pt x="9" y="14"/>
                  <a:pt x="10" y="13"/>
                  <a:pt x="10" y="13"/>
                </a:cubicBezTo>
                <a:cubicBezTo>
                  <a:pt x="9" y="13"/>
                  <a:pt x="10" y="12"/>
                  <a:pt x="11" y="12"/>
                </a:cubicBezTo>
                <a:cubicBezTo>
                  <a:pt x="11" y="12"/>
                  <a:pt x="11" y="11"/>
                  <a:pt x="12" y="11"/>
                </a:cubicBezTo>
                <a:cubicBezTo>
                  <a:pt x="11" y="11"/>
                  <a:pt x="12" y="12"/>
                  <a:pt x="12" y="12"/>
                </a:cubicBezTo>
                <a:cubicBezTo>
                  <a:pt x="13" y="11"/>
                  <a:pt x="13" y="11"/>
                  <a:pt x="14" y="11"/>
                </a:cubicBezTo>
                <a:cubicBezTo>
                  <a:pt x="14" y="13"/>
                  <a:pt x="17" y="10"/>
                  <a:pt x="17" y="10"/>
                </a:cubicBezTo>
                <a:cubicBezTo>
                  <a:pt x="18" y="10"/>
                  <a:pt x="18" y="9"/>
                  <a:pt x="19" y="9"/>
                </a:cubicBezTo>
                <a:cubicBezTo>
                  <a:pt x="19" y="8"/>
                  <a:pt x="20" y="7"/>
                  <a:pt x="21" y="7"/>
                </a:cubicBezTo>
                <a:cubicBezTo>
                  <a:pt x="21" y="7"/>
                  <a:pt x="22" y="7"/>
                  <a:pt x="22" y="6"/>
                </a:cubicBezTo>
                <a:cubicBezTo>
                  <a:pt x="22" y="6"/>
                  <a:pt x="22" y="6"/>
                  <a:pt x="22" y="6"/>
                </a:cubicBezTo>
                <a:cubicBezTo>
                  <a:pt x="22" y="6"/>
                  <a:pt x="23" y="6"/>
                  <a:pt x="23" y="6"/>
                </a:cubicBezTo>
                <a:cubicBezTo>
                  <a:pt x="24" y="6"/>
                  <a:pt x="25" y="6"/>
                  <a:pt x="26" y="6"/>
                </a:cubicBezTo>
                <a:cubicBezTo>
                  <a:pt x="27" y="6"/>
                  <a:pt x="28" y="6"/>
                  <a:pt x="29" y="6"/>
                </a:cubicBezTo>
                <a:cubicBezTo>
                  <a:pt x="31" y="6"/>
                  <a:pt x="31" y="6"/>
                  <a:pt x="32" y="7"/>
                </a:cubicBezTo>
                <a:cubicBezTo>
                  <a:pt x="34" y="9"/>
                  <a:pt x="30" y="9"/>
                  <a:pt x="29" y="9"/>
                </a:cubicBezTo>
                <a:cubicBezTo>
                  <a:pt x="29" y="9"/>
                  <a:pt x="27" y="9"/>
                  <a:pt x="28" y="9"/>
                </a:cubicBezTo>
                <a:cubicBezTo>
                  <a:pt x="28" y="10"/>
                  <a:pt x="29" y="10"/>
                  <a:pt x="30" y="11"/>
                </a:cubicBezTo>
                <a:cubicBezTo>
                  <a:pt x="30" y="11"/>
                  <a:pt x="30" y="12"/>
                  <a:pt x="31" y="12"/>
                </a:cubicBezTo>
                <a:cubicBezTo>
                  <a:pt x="31" y="12"/>
                  <a:pt x="31" y="11"/>
                  <a:pt x="32" y="11"/>
                </a:cubicBezTo>
                <a:cubicBezTo>
                  <a:pt x="32" y="11"/>
                  <a:pt x="33" y="11"/>
                  <a:pt x="33" y="11"/>
                </a:cubicBezTo>
                <a:cubicBezTo>
                  <a:pt x="33" y="11"/>
                  <a:pt x="34" y="11"/>
                  <a:pt x="34" y="12"/>
                </a:cubicBezTo>
                <a:cubicBezTo>
                  <a:pt x="34" y="12"/>
                  <a:pt x="35" y="13"/>
                  <a:pt x="35" y="12"/>
                </a:cubicBezTo>
                <a:cubicBezTo>
                  <a:pt x="36" y="11"/>
                  <a:pt x="36" y="12"/>
                  <a:pt x="36" y="13"/>
                </a:cubicBezTo>
                <a:cubicBezTo>
                  <a:pt x="36" y="13"/>
                  <a:pt x="36" y="11"/>
                  <a:pt x="36" y="11"/>
                </a:cubicBezTo>
                <a:cubicBezTo>
                  <a:pt x="36" y="10"/>
                  <a:pt x="37" y="10"/>
                  <a:pt x="37" y="11"/>
                </a:cubicBezTo>
                <a:cubicBezTo>
                  <a:pt x="37" y="11"/>
                  <a:pt x="37" y="12"/>
                  <a:pt x="37" y="12"/>
                </a:cubicBezTo>
                <a:cubicBezTo>
                  <a:pt x="37" y="13"/>
                  <a:pt x="39" y="13"/>
                  <a:pt x="40" y="13"/>
                </a:cubicBezTo>
                <a:cubicBezTo>
                  <a:pt x="40" y="13"/>
                  <a:pt x="43" y="13"/>
                  <a:pt x="43" y="13"/>
                </a:cubicBezTo>
                <a:cubicBezTo>
                  <a:pt x="43" y="12"/>
                  <a:pt x="43" y="12"/>
                  <a:pt x="42" y="12"/>
                </a:cubicBezTo>
                <a:cubicBezTo>
                  <a:pt x="42" y="11"/>
                  <a:pt x="43" y="11"/>
                  <a:pt x="43" y="12"/>
                </a:cubicBezTo>
                <a:cubicBezTo>
                  <a:pt x="43" y="12"/>
                  <a:pt x="43" y="12"/>
                  <a:pt x="43" y="12"/>
                </a:cubicBezTo>
                <a:cubicBezTo>
                  <a:pt x="43" y="12"/>
                  <a:pt x="44" y="12"/>
                  <a:pt x="44" y="12"/>
                </a:cubicBezTo>
                <a:cubicBezTo>
                  <a:pt x="44" y="13"/>
                  <a:pt x="43" y="13"/>
                  <a:pt x="43" y="13"/>
                </a:cubicBezTo>
                <a:cubicBezTo>
                  <a:pt x="44" y="14"/>
                  <a:pt x="45" y="15"/>
                  <a:pt x="45" y="15"/>
                </a:cubicBezTo>
                <a:cubicBezTo>
                  <a:pt x="46" y="15"/>
                  <a:pt x="46" y="15"/>
                  <a:pt x="46" y="16"/>
                </a:cubicBezTo>
                <a:cubicBezTo>
                  <a:pt x="47" y="16"/>
                  <a:pt x="47" y="17"/>
                  <a:pt x="47" y="16"/>
                </a:cubicBezTo>
                <a:cubicBezTo>
                  <a:pt x="47" y="16"/>
                  <a:pt x="48" y="16"/>
                  <a:pt x="48" y="16"/>
                </a:cubicBezTo>
                <a:cubicBezTo>
                  <a:pt x="48" y="16"/>
                  <a:pt x="48" y="17"/>
                  <a:pt x="48" y="17"/>
                </a:cubicBezTo>
                <a:cubicBezTo>
                  <a:pt x="49" y="17"/>
                  <a:pt x="49" y="17"/>
                  <a:pt x="49" y="17"/>
                </a:cubicBezTo>
                <a:cubicBezTo>
                  <a:pt x="50" y="17"/>
                  <a:pt x="50" y="17"/>
                  <a:pt x="50" y="17"/>
                </a:cubicBezTo>
                <a:cubicBezTo>
                  <a:pt x="50" y="17"/>
                  <a:pt x="51" y="17"/>
                  <a:pt x="51" y="18"/>
                </a:cubicBezTo>
                <a:cubicBezTo>
                  <a:pt x="51" y="18"/>
                  <a:pt x="51" y="18"/>
                  <a:pt x="51" y="18"/>
                </a:cubicBezTo>
                <a:cubicBezTo>
                  <a:pt x="52" y="18"/>
                  <a:pt x="52" y="18"/>
                  <a:pt x="52" y="18"/>
                </a:cubicBezTo>
                <a:cubicBezTo>
                  <a:pt x="53" y="18"/>
                  <a:pt x="53" y="18"/>
                  <a:pt x="53" y="18"/>
                </a:cubicBezTo>
                <a:cubicBezTo>
                  <a:pt x="53" y="18"/>
                  <a:pt x="54" y="18"/>
                  <a:pt x="54" y="18"/>
                </a:cubicBezTo>
                <a:cubicBezTo>
                  <a:pt x="54" y="19"/>
                  <a:pt x="55" y="18"/>
                  <a:pt x="56" y="18"/>
                </a:cubicBezTo>
                <a:cubicBezTo>
                  <a:pt x="57" y="18"/>
                  <a:pt x="57" y="18"/>
                  <a:pt x="58" y="18"/>
                </a:cubicBezTo>
                <a:cubicBezTo>
                  <a:pt x="59" y="17"/>
                  <a:pt x="59" y="18"/>
                  <a:pt x="59" y="18"/>
                </a:cubicBezTo>
                <a:cubicBezTo>
                  <a:pt x="59" y="18"/>
                  <a:pt x="60" y="18"/>
                  <a:pt x="60" y="19"/>
                </a:cubicBezTo>
                <a:cubicBezTo>
                  <a:pt x="60" y="20"/>
                  <a:pt x="60" y="20"/>
                  <a:pt x="60" y="21"/>
                </a:cubicBezTo>
                <a:cubicBezTo>
                  <a:pt x="60" y="21"/>
                  <a:pt x="61" y="22"/>
                  <a:pt x="60" y="22"/>
                </a:cubicBezTo>
                <a:cubicBezTo>
                  <a:pt x="60" y="22"/>
                  <a:pt x="60" y="22"/>
                  <a:pt x="60" y="22"/>
                </a:cubicBezTo>
                <a:cubicBezTo>
                  <a:pt x="60" y="22"/>
                  <a:pt x="60" y="23"/>
                  <a:pt x="60" y="24"/>
                </a:cubicBezTo>
                <a:cubicBezTo>
                  <a:pt x="60" y="24"/>
                  <a:pt x="60" y="24"/>
                  <a:pt x="61" y="25"/>
                </a:cubicBezTo>
                <a:cubicBezTo>
                  <a:pt x="61" y="25"/>
                  <a:pt x="62" y="26"/>
                  <a:pt x="63" y="26"/>
                </a:cubicBezTo>
                <a:cubicBezTo>
                  <a:pt x="63" y="27"/>
                  <a:pt x="64" y="28"/>
                  <a:pt x="65" y="28"/>
                </a:cubicBezTo>
                <a:cubicBezTo>
                  <a:pt x="65" y="28"/>
                  <a:pt x="66" y="27"/>
                  <a:pt x="66" y="28"/>
                </a:cubicBezTo>
                <a:cubicBezTo>
                  <a:pt x="66" y="28"/>
                  <a:pt x="67" y="28"/>
                  <a:pt x="67" y="28"/>
                </a:cubicBezTo>
                <a:cubicBezTo>
                  <a:pt x="68" y="28"/>
                  <a:pt x="69" y="28"/>
                  <a:pt x="70" y="28"/>
                </a:cubicBezTo>
                <a:cubicBezTo>
                  <a:pt x="70" y="28"/>
                  <a:pt x="71" y="27"/>
                  <a:pt x="71" y="28"/>
                </a:cubicBezTo>
                <a:cubicBezTo>
                  <a:pt x="71" y="28"/>
                  <a:pt x="71" y="28"/>
                  <a:pt x="72" y="28"/>
                </a:cubicBezTo>
                <a:cubicBezTo>
                  <a:pt x="72" y="28"/>
                  <a:pt x="71" y="30"/>
                  <a:pt x="72" y="30"/>
                </a:cubicBezTo>
                <a:cubicBezTo>
                  <a:pt x="73" y="30"/>
                  <a:pt x="73" y="30"/>
                  <a:pt x="72" y="31"/>
                </a:cubicBezTo>
                <a:cubicBezTo>
                  <a:pt x="72" y="32"/>
                  <a:pt x="72" y="32"/>
                  <a:pt x="72" y="32"/>
                </a:cubicBezTo>
                <a:cubicBezTo>
                  <a:pt x="71" y="33"/>
                  <a:pt x="71" y="32"/>
                  <a:pt x="71" y="32"/>
                </a:cubicBezTo>
                <a:cubicBezTo>
                  <a:pt x="70" y="33"/>
                  <a:pt x="69" y="33"/>
                  <a:pt x="69" y="34"/>
                </a:cubicBezTo>
                <a:cubicBezTo>
                  <a:pt x="68" y="34"/>
                  <a:pt x="67" y="35"/>
                  <a:pt x="67" y="35"/>
                </a:cubicBezTo>
                <a:cubicBezTo>
                  <a:pt x="67" y="35"/>
                  <a:pt x="67" y="35"/>
                  <a:pt x="67" y="35"/>
                </a:cubicBezTo>
                <a:cubicBezTo>
                  <a:pt x="67" y="36"/>
                  <a:pt x="66" y="36"/>
                  <a:pt x="66" y="37"/>
                </a:cubicBezTo>
                <a:cubicBezTo>
                  <a:pt x="66" y="37"/>
                  <a:pt x="66" y="37"/>
                  <a:pt x="66" y="37"/>
                </a:cubicBezTo>
                <a:cubicBezTo>
                  <a:pt x="67" y="37"/>
                  <a:pt x="68" y="37"/>
                  <a:pt x="68" y="37"/>
                </a:cubicBezTo>
                <a:cubicBezTo>
                  <a:pt x="69" y="37"/>
                  <a:pt x="69" y="37"/>
                  <a:pt x="70" y="37"/>
                </a:cubicBezTo>
                <a:cubicBezTo>
                  <a:pt x="69" y="37"/>
                  <a:pt x="70" y="36"/>
                  <a:pt x="70" y="36"/>
                </a:cubicBezTo>
                <a:cubicBezTo>
                  <a:pt x="71" y="36"/>
                  <a:pt x="71" y="37"/>
                  <a:pt x="72" y="37"/>
                </a:cubicBezTo>
                <a:cubicBezTo>
                  <a:pt x="73" y="37"/>
                  <a:pt x="74" y="36"/>
                  <a:pt x="75" y="36"/>
                </a:cubicBezTo>
                <a:cubicBezTo>
                  <a:pt x="75" y="36"/>
                  <a:pt x="76" y="36"/>
                  <a:pt x="77" y="36"/>
                </a:cubicBezTo>
                <a:cubicBezTo>
                  <a:pt x="77" y="36"/>
                  <a:pt x="78" y="36"/>
                  <a:pt x="78" y="36"/>
                </a:cubicBezTo>
                <a:cubicBezTo>
                  <a:pt x="80" y="36"/>
                  <a:pt x="80" y="36"/>
                  <a:pt x="82" y="36"/>
                </a:cubicBezTo>
                <a:cubicBezTo>
                  <a:pt x="83" y="36"/>
                  <a:pt x="84" y="36"/>
                  <a:pt x="85" y="36"/>
                </a:cubicBezTo>
                <a:cubicBezTo>
                  <a:pt x="86" y="36"/>
                  <a:pt x="86" y="37"/>
                  <a:pt x="88" y="37"/>
                </a:cubicBezTo>
                <a:cubicBezTo>
                  <a:pt x="88" y="37"/>
                  <a:pt x="89" y="37"/>
                  <a:pt x="90" y="37"/>
                </a:cubicBezTo>
                <a:cubicBezTo>
                  <a:pt x="90" y="36"/>
                  <a:pt x="90" y="36"/>
                  <a:pt x="90" y="36"/>
                </a:cubicBezTo>
                <a:cubicBezTo>
                  <a:pt x="90" y="36"/>
                  <a:pt x="91" y="36"/>
                  <a:pt x="90" y="35"/>
                </a:cubicBezTo>
                <a:cubicBezTo>
                  <a:pt x="90" y="35"/>
                  <a:pt x="91" y="35"/>
                  <a:pt x="91" y="35"/>
                </a:cubicBezTo>
                <a:cubicBezTo>
                  <a:pt x="91" y="35"/>
                  <a:pt x="91" y="35"/>
                  <a:pt x="91" y="35"/>
                </a:cubicBezTo>
                <a:cubicBezTo>
                  <a:pt x="91" y="35"/>
                  <a:pt x="91" y="36"/>
                  <a:pt x="91" y="36"/>
                </a:cubicBezTo>
                <a:cubicBezTo>
                  <a:pt x="91" y="36"/>
                  <a:pt x="91" y="36"/>
                  <a:pt x="91" y="37"/>
                </a:cubicBezTo>
                <a:cubicBezTo>
                  <a:pt x="91" y="36"/>
                  <a:pt x="92" y="37"/>
                  <a:pt x="92" y="36"/>
                </a:cubicBezTo>
                <a:cubicBezTo>
                  <a:pt x="92" y="36"/>
                  <a:pt x="93" y="35"/>
                  <a:pt x="93" y="35"/>
                </a:cubicBezTo>
                <a:cubicBezTo>
                  <a:pt x="94" y="35"/>
                  <a:pt x="94" y="35"/>
                  <a:pt x="95" y="35"/>
                </a:cubicBezTo>
                <a:cubicBezTo>
                  <a:pt x="95" y="35"/>
                  <a:pt x="96" y="35"/>
                  <a:pt x="97" y="35"/>
                </a:cubicBezTo>
                <a:cubicBezTo>
                  <a:pt x="98" y="35"/>
                  <a:pt x="99" y="35"/>
                  <a:pt x="99" y="35"/>
                </a:cubicBezTo>
                <a:cubicBezTo>
                  <a:pt x="99" y="35"/>
                  <a:pt x="100" y="34"/>
                  <a:pt x="100" y="34"/>
                </a:cubicBezTo>
                <a:cubicBezTo>
                  <a:pt x="100" y="34"/>
                  <a:pt x="101" y="33"/>
                  <a:pt x="101" y="33"/>
                </a:cubicBezTo>
                <a:close/>
                <a:moveTo>
                  <a:pt x="67" y="13"/>
                </a:moveTo>
                <a:cubicBezTo>
                  <a:pt x="67" y="13"/>
                  <a:pt x="68" y="14"/>
                  <a:pt x="68" y="13"/>
                </a:cubicBezTo>
                <a:cubicBezTo>
                  <a:pt x="68" y="13"/>
                  <a:pt x="68" y="14"/>
                  <a:pt x="69" y="14"/>
                </a:cubicBezTo>
                <a:cubicBezTo>
                  <a:pt x="69" y="15"/>
                  <a:pt x="69" y="14"/>
                  <a:pt x="69" y="14"/>
                </a:cubicBezTo>
                <a:cubicBezTo>
                  <a:pt x="69" y="14"/>
                  <a:pt x="69" y="14"/>
                  <a:pt x="69" y="14"/>
                </a:cubicBezTo>
                <a:cubicBezTo>
                  <a:pt x="70" y="14"/>
                  <a:pt x="70" y="13"/>
                  <a:pt x="70" y="13"/>
                </a:cubicBezTo>
                <a:cubicBezTo>
                  <a:pt x="69" y="13"/>
                  <a:pt x="69" y="13"/>
                  <a:pt x="69" y="13"/>
                </a:cubicBezTo>
                <a:cubicBezTo>
                  <a:pt x="68" y="13"/>
                  <a:pt x="69" y="12"/>
                  <a:pt x="68" y="12"/>
                </a:cubicBezTo>
                <a:cubicBezTo>
                  <a:pt x="68" y="12"/>
                  <a:pt x="68" y="13"/>
                  <a:pt x="68" y="13"/>
                </a:cubicBezTo>
                <a:cubicBezTo>
                  <a:pt x="67" y="13"/>
                  <a:pt x="67" y="12"/>
                  <a:pt x="67" y="13"/>
                </a:cubicBezTo>
                <a:close/>
                <a:moveTo>
                  <a:pt x="22" y="16"/>
                </a:moveTo>
                <a:cubicBezTo>
                  <a:pt x="21" y="15"/>
                  <a:pt x="22" y="15"/>
                  <a:pt x="21" y="14"/>
                </a:cubicBezTo>
                <a:cubicBezTo>
                  <a:pt x="21" y="14"/>
                  <a:pt x="20" y="14"/>
                  <a:pt x="19" y="14"/>
                </a:cubicBezTo>
                <a:cubicBezTo>
                  <a:pt x="19" y="14"/>
                  <a:pt x="19" y="14"/>
                  <a:pt x="19" y="14"/>
                </a:cubicBezTo>
                <a:cubicBezTo>
                  <a:pt x="19" y="14"/>
                  <a:pt x="18" y="15"/>
                  <a:pt x="18" y="15"/>
                </a:cubicBezTo>
                <a:cubicBezTo>
                  <a:pt x="18" y="15"/>
                  <a:pt x="18" y="16"/>
                  <a:pt x="18" y="16"/>
                </a:cubicBezTo>
                <a:cubicBezTo>
                  <a:pt x="18" y="17"/>
                  <a:pt x="19" y="18"/>
                  <a:pt x="18" y="18"/>
                </a:cubicBezTo>
                <a:cubicBezTo>
                  <a:pt x="19" y="18"/>
                  <a:pt x="19" y="18"/>
                  <a:pt x="19" y="18"/>
                </a:cubicBezTo>
                <a:cubicBezTo>
                  <a:pt x="18" y="18"/>
                  <a:pt x="18" y="18"/>
                  <a:pt x="18" y="18"/>
                </a:cubicBezTo>
                <a:cubicBezTo>
                  <a:pt x="17" y="19"/>
                  <a:pt x="17" y="18"/>
                  <a:pt x="16" y="18"/>
                </a:cubicBezTo>
                <a:cubicBezTo>
                  <a:pt x="16" y="18"/>
                  <a:pt x="17" y="19"/>
                  <a:pt x="17" y="19"/>
                </a:cubicBezTo>
                <a:cubicBezTo>
                  <a:pt x="18" y="20"/>
                  <a:pt x="18" y="19"/>
                  <a:pt x="19" y="20"/>
                </a:cubicBezTo>
                <a:cubicBezTo>
                  <a:pt x="19" y="20"/>
                  <a:pt x="20" y="20"/>
                  <a:pt x="21" y="19"/>
                </a:cubicBezTo>
                <a:cubicBezTo>
                  <a:pt x="21" y="19"/>
                  <a:pt x="22" y="19"/>
                  <a:pt x="22" y="18"/>
                </a:cubicBezTo>
                <a:cubicBezTo>
                  <a:pt x="23" y="18"/>
                  <a:pt x="22" y="18"/>
                  <a:pt x="22" y="17"/>
                </a:cubicBezTo>
                <a:cubicBezTo>
                  <a:pt x="22" y="17"/>
                  <a:pt x="22" y="16"/>
                  <a:pt x="22" y="16"/>
                </a:cubicBezTo>
                <a:close/>
                <a:moveTo>
                  <a:pt x="53" y="24"/>
                </a:moveTo>
                <a:cubicBezTo>
                  <a:pt x="53" y="24"/>
                  <a:pt x="53" y="24"/>
                  <a:pt x="53" y="25"/>
                </a:cubicBezTo>
                <a:cubicBezTo>
                  <a:pt x="53" y="24"/>
                  <a:pt x="54" y="25"/>
                  <a:pt x="54" y="25"/>
                </a:cubicBezTo>
                <a:cubicBezTo>
                  <a:pt x="54" y="25"/>
                  <a:pt x="54" y="25"/>
                  <a:pt x="54" y="25"/>
                </a:cubicBezTo>
                <a:cubicBezTo>
                  <a:pt x="54" y="25"/>
                  <a:pt x="54" y="26"/>
                  <a:pt x="54" y="25"/>
                </a:cubicBezTo>
                <a:cubicBezTo>
                  <a:pt x="54" y="25"/>
                  <a:pt x="54" y="24"/>
                  <a:pt x="53" y="24"/>
                </a:cubicBezTo>
                <a:close/>
                <a:moveTo>
                  <a:pt x="54" y="26"/>
                </a:moveTo>
                <a:cubicBezTo>
                  <a:pt x="55" y="26"/>
                  <a:pt x="55" y="26"/>
                  <a:pt x="55" y="26"/>
                </a:cubicBezTo>
                <a:cubicBezTo>
                  <a:pt x="55" y="26"/>
                  <a:pt x="55" y="26"/>
                  <a:pt x="54" y="26"/>
                </a:cubicBezTo>
                <a:close/>
                <a:moveTo>
                  <a:pt x="57" y="27"/>
                </a:moveTo>
                <a:cubicBezTo>
                  <a:pt x="57" y="27"/>
                  <a:pt x="57" y="28"/>
                  <a:pt x="57" y="28"/>
                </a:cubicBezTo>
                <a:cubicBezTo>
                  <a:pt x="57" y="27"/>
                  <a:pt x="57" y="27"/>
                  <a:pt x="57" y="27"/>
                </a:cubicBezTo>
                <a:close/>
                <a:moveTo>
                  <a:pt x="60" y="29"/>
                </a:moveTo>
                <a:cubicBezTo>
                  <a:pt x="60" y="29"/>
                  <a:pt x="60" y="29"/>
                  <a:pt x="60" y="29"/>
                </a:cubicBezTo>
                <a:cubicBezTo>
                  <a:pt x="61" y="30"/>
                  <a:pt x="61" y="29"/>
                  <a:pt x="61" y="29"/>
                </a:cubicBezTo>
                <a:cubicBezTo>
                  <a:pt x="60" y="29"/>
                  <a:pt x="60" y="29"/>
                  <a:pt x="60" y="29"/>
                </a:cubicBezTo>
                <a:close/>
                <a:moveTo>
                  <a:pt x="32" y="18"/>
                </a:moveTo>
                <a:cubicBezTo>
                  <a:pt x="33" y="18"/>
                  <a:pt x="33" y="17"/>
                  <a:pt x="34" y="17"/>
                </a:cubicBezTo>
                <a:cubicBezTo>
                  <a:pt x="34" y="17"/>
                  <a:pt x="32" y="18"/>
                  <a:pt x="32" y="18"/>
                </a:cubicBezTo>
                <a:close/>
                <a:moveTo>
                  <a:pt x="53" y="24"/>
                </a:moveTo>
                <a:cubicBezTo>
                  <a:pt x="52" y="23"/>
                  <a:pt x="52" y="23"/>
                  <a:pt x="52" y="23"/>
                </a:cubicBezTo>
                <a:cubicBezTo>
                  <a:pt x="52" y="23"/>
                  <a:pt x="52" y="24"/>
                  <a:pt x="53" y="24"/>
                </a:cubicBezTo>
                <a:close/>
                <a:moveTo>
                  <a:pt x="65" y="9"/>
                </a:moveTo>
                <a:cubicBezTo>
                  <a:pt x="65" y="9"/>
                  <a:pt x="64" y="10"/>
                  <a:pt x="65" y="10"/>
                </a:cubicBezTo>
                <a:cubicBezTo>
                  <a:pt x="65" y="10"/>
                  <a:pt x="65" y="10"/>
                  <a:pt x="65" y="9"/>
                </a:cubicBezTo>
                <a:cubicBezTo>
                  <a:pt x="65" y="10"/>
                  <a:pt x="65" y="10"/>
                  <a:pt x="65" y="10"/>
                </a:cubicBezTo>
                <a:cubicBezTo>
                  <a:pt x="65" y="10"/>
                  <a:pt x="66" y="10"/>
                  <a:pt x="66" y="11"/>
                </a:cubicBezTo>
                <a:cubicBezTo>
                  <a:pt x="66" y="10"/>
                  <a:pt x="66" y="10"/>
                  <a:pt x="67" y="10"/>
                </a:cubicBezTo>
                <a:cubicBezTo>
                  <a:pt x="66" y="10"/>
                  <a:pt x="66" y="9"/>
                  <a:pt x="66" y="9"/>
                </a:cubicBezTo>
                <a:cubicBezTo>
                  <a:pt x="65" y="9"/>
                  <a:pt x="64" y="9"/>
                  <a:pt x="64" y="9"/>
                </a:cubicBezTo>
                <a:cubicBezTo>
                  <a:pt x="64" y="9"/>
                  <a:pt x="65" y="9"/>
                  <a:pt x="65" y="9"/>
                </a:cubicBezTo>
                <a:close/>
                <a:moveTo>
                  <a:pt x="53" y="6"/>
                </a:moveTo>
                <a:cubicBezTo>
                  <a:pt x="54" y="6"/>
                  <a:pt x="54" y="6"/>
                  <a:pt x="55" y="7"/>
                </a:cubicBezTo>
                <a:cubicBezTo>
                  <a:pt x="54" y="6"/>
                  <a:pt x="53" y="4"/>
                  <a:pt x="52" y="5"/>
                </a:cubicBezTo>
                <a:cubicBezTo>
                  <a:pt x="52" y="5"/>
                  <a:pt x="52" y="5"/>
                  <a:pt x="52" y="5"/>
                </a:cubicBezTo>
                <a:cubicBezTo>
                  <a:pt x="52" y="5"/>
                  <a:pt x="52" y="5"/>
                  <a:pt x="53" y="5"/>
                </a:cubicBezTo>
                <a:cubicBezTo>
                  <a:pt x="53" y="5"/>
                  <a:pt x="53" y="5"/>
                  <a:pt x="53" y="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8" name="Croatia"/>
          <p:cNvSpPr>
            <a:spLocks noEditPoints="1"/>
          </p:cNvSpPr>
          <p:nvPr/>
        </p:nvSpPr>
        <p:spPr bwMode="auto">
          <a:xfrm>
            <a:off x="6251066" y="2819007"/>
            <a:ext cx="190993" cy="162994"/>
          </a:xfrm>
          <a:custGeom>
            <a:avLst/>
            <a:gdLst/>
            <a:ahLst/>
            <a:cxnLst>
              <a:cxn ang="0">
                <a:pos x="8" y="16"/>
              </a:cxn>
              <a:cxn ang="0">
                <a:pos x="10" y="20"/>
              </a:cxn>
              <a:cxn ang="0">
                <a:pos x="15" y="24"/>
              </a:cxn>
              <a:cxn ang="0">
                <a:pos x="16" y="24"/>
              </a:cxn>
              <a:cxn ang="0">
                <a:pos x="15" y="22"/>
              </a:cxn>
              <a:cxn ang="0">
                <a:pos x="14" y="22"/>
              </a:cxn>
              <a:cxn ang="0">
                <a:pos x="34" y="39"/>
              </a:cxn>
              <a:cxn ang="0">
                <a:pos x="30" y="41"/>
              </a:cxn>
              <a:cxn ang="0">
                <a:pos x="49" y="11"/>
              </a:cxn>
              <a:cxn ang="0">
                <a:pos x="48" y="8"/>
              </a:cxn>
              <a:cxn ang="0">
                <a:pos x="44" y="8"/>
              </a:cxn>
              <a:cxn ang="0">
                <a:pos x="39" y="8"/>
              </a:cxn>
              <a:cxn ang="0">
                <a:pos x="34" y="5"/>
              </a:cxn>
              <a:cxn ang="0">
                <a:pos x="28" y="1"/>
              </a:cxn>
              <a:cxn ang="0">
                <a:pos x="21" y="3"/>
              </a:cxn>
              <a:cxn ang="0">
                <a:pos x="19" y="8"/>
              </a:cxn>
              <a:cxn ang="0">
                <a:pos x="16" y="10"/>
              </a:cxn>
              <a:cxn ang="0">
                <a:pos x="13" y="11"/>
              </a:cxn>
              <a:cxn ang="0">
                <a:pos x="9" y="11"/>
              </a:cxn>
              <a:cxn ang="0">
                <a:pos x="4" y="12"/>
              </a:cxn>
              <a:cxn ang="0">
                <a:pos x="3" y="15"/>
              </a:cxn>
              <a:cxn ang="0">
                <a:pos x="5" y="19"/>
              </a:cxn>
              <a:cxn ang="0">
                <a:pos x="6" y="16"/>
              </a:cxn>
              <a:cxn ang="0">
                <a:pos x="9" y="13"/>
              </a:cxn>
              <a:cxn ang="0">
                <a:pos x="13" y="20"/>
              </a:cxn>
              <a:cxn ang="0">
                <a:pos x="20" y="25"/>
              </a:cxn>
              <a:cxn ang="0">
                <a:pos x="16" y="24"/>
              </a:cxn>
              <a:cxn ang="0">
                <a:pos x="16" y="25"/>
              </a:cxn>
              <a:cxn ang="0">
                <a:pos x="23" y="31"/>
              </a:cxn>
              <a:cxn ang="0">
                <a:pos x="27" y="32"/>
              </a:cxn>
              <a:cxn ang="0">
                <a:pos x="35" y="37"/>
              </a:cxn>
              <a:cxn ang="0">
                <a:pos x="35" y="35"/>
              </a:cxn>
              <a:cxn ang="0">
                <a:pos x="27" y="27"/>
              </a:cxn>
              <a:cxn ang="0">
                <a:pos x="24" y="21"/>
              </a:cxn>
              <a:cxn ang="0">
                <a:pos x="21" y="19"/>
              </a:cxn>
              <a:cxn ang="0">
                <a:pos x="23" y="14"/>
              </a:cxn>
              <a:cxn ang="0">
                <a:pos x="29" y="14"/>
              </a:cxn>
              <a:cxn ang="0">
                <a:pos x="35" y="15"/>
              </a:cxn>
              <a:cxn ang="0">
                <a:pos x="41" y="16"/>
              </a:cxn>
              <a:cxn ang="0">
                <a:pos x="46" y="16"/>
              </a:cxn>
              <a:cxn ang="0">
                <a:pos x="50" y="17"/>
              </a:cxn>
              <a:cxn ang="0">
                <a:pos x="50" y="14"/>
              </a:cxn>
              <a:cxn ang="0">
                <a:pos x="43" y="42"/>
              </a:cxn>
              <a:cxn ang="0">
                <a:pos x="37" y="39"/>
              </a:cxn>
              <a:cxn ang="0">
                <a:pos x="34" y="38"/>
              </a:cxn>
              <a:cxn ang="0">
                <a:pos x="40" y="40"/>
              </a:cxn>
              <a:cxn ang="0">
                <a:pos x="46" y="45"/>
              </a:cxn>
              <a:cxn ang="0">
                <a:pos x="30" y="34"/>
              </a:cxn>
              <a:cxn ang="0">
                <a:pos x="37" y="41"/>
              </a:cxn>
              <a:cxn ang="0">
                <a:pos x="37" y="41"/>
              </a:cxn>
              <a:cxn ang="0">
                <a:pos x="24" y="37"/>
              </a:cxn>
              <a:cxn ang="0">
                <a:pos x="15" y="27"/>
              </a:cxn>
              <a:cxn ang="0">
                <a:pos x="16" y="29"/>
              </a:cxn>
              <a:cxn ang="0">
                <a:pos x="12" y="17"/>
              </a:cxn>
              <a:cxn ang="0">
                <a:pos x="10" y="14"/>
              </a:cxn>
              <a:cxn ang="0">
                <a:pos x="12" y="17"/>
              </a:cxn>
              <a:cxn ang="0">
                <a:pos x="30" y="36"/>
              </a:cxn>
              <a:cxn ang="0">
                <a:pos x="27" y="36"/>
              </a:cxn>
            </a:cxnLst>
            <a:rect l="0" t="0" r="r" b="b"/>
            <a:pathLst>
              <a:path w="53" h="45">
                <a:moveTo>
                  <a:pt x="10" y="20"/>
                </a:moveTo>
                <a:cubicBezTo>
                  <a:pt x="10" y="20"/>
                  <a:pt x="10" y="21"/>
                  <a:pt x="10" y="21"/>
                </a:cubicBezTo>
                <a:cubicBezTo>
                  <a:pt x="9" y="20"/>
                  <a:pt x="8" y="17"/>
                  <a:pt x="8" y="17"/>
                </a:cubicBezTo>
                <a:cubicBezTo>
                  <a:pt x="8" y="17"/>
                  <a:pt x="8" y="18"/>
                  <a:pt x="9" y="18"/>
                </a:cubicBezTo>
                <a:cubicBezTo>
                  <a:pt x="9" y="17"/>
                  <a:pt x="9" y="16"/>
                  <a:pt x="8" y="16"/>
                </a:cubicBezTo>
                <a:cubicBezTo>
                  <a:pt x="8" y="16"/>
                  <a:pt x="8" y="16"/>
                  <a:pt x="8" y="15"/>
                </a:cubicBezTo>
                <a:cubicBezTo>
                  <a:pt x="8" y="14"/>
                  <a:pt x="8" y="15"/>
                  <a:pt x="8" y="15"/>
                </a:cubicBezTo>
                <a:cubicBezTo>
                  <a:pt x="8" y="16"/>
                  <a:pt x="9" y="16"/>
                  <a:pt x="9" y="17"/>
                </a:cubicBezTo>
                <a:cubicBezTo>
                  <a:pt x="9" y="17"/>
                  <a:pt x="9" y="17"/>
                  <a:pt x="9" y="18"/>
                </a:cubicBezTo>
                <a:cubicBezTo>
                  <a:pt x="9" y="19"/>
                  <a:pt x="9" y="19"/>
                  <a:pt x="10" y="20"/>
                </a:cubicBezTo>
                <a:close/>
                <a:moveTo>
                  <a:pt x="14" y="22"/>
                </a:moveTo>
                <a:cubicBezTo>
                  <a:pt x="14" y="23"/>
                  <a:pt x="14" y="23"/>
                  <a:pt x="14" y="23"/>
                </a:cubicBezTo>
                <a:cubicBezTo>
                  <a:pt x="15" y="23"/>
                  <a:pt x="15" y="23"/>
                  <a:pt x="15" y="23"/>
                </a:cubicBezTo>
                <a:cubicBezTo>
                  <a:pt x="15" y="24"/>
                  <a:pt x="15" y="24"/>
                  <a:pt x="16" y="24"/>
                </a:cubicBezTo>
                <a:cubicBezTo>
                  <a:pt x="16" y="24"/>
                  <a:pt x="15" y="24"/>
                  <a:pt x="15" y="24"/>
                </a:cubicBezTo>
                <a:cubicBezTo>
                  <a:pt x="16" y="24"/>
                  <a:pt x="16" y="24"/>
                  <a:pt x="16" y="24"/>
                </a:cubicBezTo>
                <a:cubicBezTo>
                  <a:pt x="16" y="24"/>
                  <a:pt x="16" y="24"/>
                  <a:pt x="16" y="24"/>
                </a:cubicBezTo>
                <a:cubicBezTo>
                  <a:pt x="16" y="24"/>
                  <a:pt x="16" y="24"/>
                  <a:pt x="16" y="24"/>
                </a:cubicBezTo>
                <a:cubicBezTo>
                  <a:pt x="16" y="24"/>
                  <a:pt x="16" y="24"/>
                  <a:pt x="16" y="23"/>
                </a:cubicBezTo>
                <a:cubicBezTo>
                  <a:pt x="16" y="23"/>
                  <a:pt x="16" y="24"/>
                  <a:pt x="16" y="24"/>
                </a:cubicBezTo>
                <a:cubicBezTo>
                  <a:pt x="16" y="24"/>
                  <a:pt x="15" y="23"/>
                  <a:pt x="15" y="23"/>
                </a:cubicBezTo>
                <a:cubicBezTo>
                  <a:pt x="15" y="23"/>
                  <a:pt x="15" y="22"/>
                  <a:pt x="15" y="22"/>
                </a:cubicBezTo>
                <a:cubicBezTo>
                  <a:pt x="15" y="22"/>
                  <a:pt x="14" y="22"/>
                  <a:pt x="15" y="22"/>
                </a:cubicBezTo>
                <a:cubicBezTo>
                  <a:pt x="14" y="22"/>
                  <a:pt x="14" y="21"/>
                  <a:pt x="13" y="21"/>
                </a:cubicBezTo>
                <a:cubicBezTo>
                  <a:pt x="14" y="21"/>
                  <a:pt x="15" y="22"/>
                  <a:pt x="15" y="22"/>
                </a:cubicBezTo>
                <a:cubicBezTo>
                  <a:pt x="15" y="22"/>
                  <a:pt x="14" y="22"/>
                  <a:pt x="14" y="21"/>
                </a:cubicBezTo>
                <a:cubicBezTo>
                  <a:pt x="14" y="21"/>
                  <a:pt x="13" y="21"/>
                  <a:pt x="13" y="21"/>
                </a:cubicBezTo>
                <a:cubicBezTo>
                  <a:pt x="13" y="21"/>
                  <a:pt x="12" y="20"/>
                  <a:pt x="12" y="20"/>
                </a:cubicBezTo>
                <a:cubicBezTo>
                  <a:pt x="12" y="20"/>
                  <a:pt x="12" y="21"/>
                  <a:pt x="13" y="21"/>
                </a:cubicBezTo>
                <a:cubicBezTo>
                  <a:pt x="13" y="22"/>
                  <a:pt x="13" y="22"/>
                  <a:pt x="14" y="22"/>
                </a:cubicBezTo>
                <a:close/>
                <a:moveTo>
                  <a:pt x="29" y="38"/>
                </a:moveTo>
                <a:cubicBezTo>
                  <a:pt x="29" y="38"/>
                  <a:pt x="29" y="38"/>
                  <a:pt x="29" y="39"/>
                </a:cubicBezTo>
                <a:cubicBezTo>
                  <a:pt x="28" y="39"/>
                  <a:pt x="31" y="39"/>
                  <a:pt x="31" y="39"/>
                </a:cubicBezTo>
                <a:cubicBezTo>
                  <a:pt x="31" y="39"/>
                  <a:pt x="32" y="39"/>
                  <a:pt x="32" y="39"/>
                </a:cubicBezTo>
                <a:cubicBezTo>
                  <a:pt x="33" y="39"/>
                  <a:pt x="33" y="39"/>
                  <a:pt x="34" y="39"/>
                </a:cubicBezTo>
                <a:cubicBezTo>
                  <a:pt x="33" y="39"/>
                  <a:pt x="33" y="38"/>
                  <a:pt x="31" y="38"/>
                </a:cubicBezTo>
                <a:cubicBezTo>
                  <a:pt x="31" y="39"/>
                  <a:pt x="30" y="38"/>
                  <a:pt x="29" y="38"/>
                </a:cubicBezTo>
                <a:close/>
                <a:moveTo>
                  <a:pt x="30" y="41"/>
                </a:moveTo>
                <a:cubicBezTo>
                  <a:pt x="31" y="41"/>
                  <a:pt x="31" y="41"/>
                  <a:pt x="31" y="41"/>
                </a:cubicBezTo>
                <a:cubicBezTo>
                  <a:pt x="32" y="41"/>
                  <a:pt x="31" y="40"/>
                  <a:pt x="30" y="41"/>
                </a:cubicBezTo>
                <a:close/>
                <a:moveTo>
                  <a:pt x="52" y="14"/>
                </a:moveTo>
                <a:cubicBezTo>
                  <a:pt x="52" y="14"/>
                  <a:pt x="51" y="14"/>
                  <a:pt x="51" y="14"/>
                </a:cubicBezTo>
                <a:cubicBezTo>
                  <a:pt x="50" y="14"/>
                  <a:pt x="50" y="13"/>
                  <a:pt x="49" y="13"/>
                </a:cubicBezTo>
                <a:cubicBezTo>
                  <a:pt x="48" y="12"/>
                  <a:pt x="49" y="12"/>
                  <a:pt x="49" y="12"/>
                </a:cubicBezTo>
                <a:cubicBezTo>
                  <a:pt x="48" y="11"/>
                  <a:pt x="50" y="11"/>
                  <a:pt x="49" y="11"/>
                </a:cubicBezTo>
                <a:cubicBezTo>
                  <a:pt x="49" y="11"/>
                  <a:pt x="49" y="10"/>
                  <a:pt x="48" y="10"/>
                </a:cubicBezTo>
                <a:cubicBezTo>
                  <a:pt x="48" y="10"/>
                  <a:pt x="48" y="11"/>
                  <a:pt x="48" y="10"/>
                </a:cubicBezTo>
                <a:cubicBezTo>
                  <a:pt x="48" y="10"/>
                  <a:pt x="48" y="10"/>
                  <a:pt x="48" y="9"/>
                </a:cubicBezTo>
                <a:cubicBezTo>
                  <a:pt x="48" y="9"/>
                  <a:pt x="48" y="9"/>
                  <a:pt x="48" y="9"/>
                </a:cubicBezTo>
                <a:cubicBezTo>
                  <a:pt x="48" y="8"/>
                  <a:pt x="48" y="9"/>
                  <a:pt x="48" y="8"/>
                </a:cubicBezTo>
                <a:cubicBezTo>
                  <a:pt x="48" y="8"/>
                  <a:pt x="47" y="7"/>
                  <a:pt x="47" y="7"/>
                </a:cubicBezTo>
                <a:cubicBezTo>
                  <a:pt x="47" y="7"/>
                  <a:pt x="47" y="7"/>
                  <a:pt x="47" y="7"/>
                </a:cubicBezTo>
                <a:cubicBezTo>
                  <a:pt x="47" y="7"/>
                  <a:pt x="47" y="6"/>
                  <a:pt x="48" y="6"/>
                </a:cubicBezTo>
                <a:cubicBezTo>
                  <a:pt x="47" y="7"/>
                  <a:pt x="46" y="6"/>
                  <a:pt x="46" y="7"/>
                </a:cubicBezTo>
                <a:cubicBezTo>
                  <a:pt x="45" y="7"/>
                  <a:pt x="45" y="8"/>
                  <a:pt x="44" y="8"/>
                </a:cubicBezTo>
                <a:cubicBezTo>
                  <a:pt x="44" y="8"/>
                  <a:pt x="44" y="8"/>
                  <a:pt x="43" y="8"/>
                </a:cubicBezTo>
                <a:cubicBezTo>
                  <a:pt x="43" y="8"/>
                  <a:pt x="43" y="8"/>
                  <a:pt x="43" y="8"/>
                </a:cubicBezTo>
                <a:cubicBezTo>
                  <a:pt x="42" y="8"/>
                  <a:pt x="42" y="8"/>
                  <a:pt x="41" y="8"/>
                </a:cubicBezTo>
                <a:cubicBezTo>
                  <a:pt x="41" y="8"/>
                  <a:pt x="40" y="8"/>
                  <a:pt x="40" y="8"/>
                </a:cubicBezTo>
                <a:cubicBezTo>
                  <a:pt x="39" y="8"/>
                  <a:pt x="39" y="8"/>
                  <a:pt x="39" y="8"/>
                </a:cubicBezTo>
                <a:cubicBezTo>
                  <a:pt x="38" y="8"/>
                  <a:pt x="38" y="8"/>
                  <a:pt x="38" y="8"/>
                </a:cubicBezTo>
                <a:cubicBezTo>
                  <a:pt x="37" y="7"/>
                  <a:pt x="36" y="6"/>
                  <a:pt x="35" y="6"/>
                </a:cubicBezTo>
                <a:cubicBezTo>
                  <a:pt x="35" y="6"/>
                  <a:pt x="34" y="6"/>
                  <a:pt x="34" y="6"/>
                </a:cubicBezTo>
                <a:cubicBezTo>
                  <a:pt x="35" y="6"/>
                  <a:pt x="34" y="6"/>
                  <a:pt x="34" y="6"/>
                </a:cubicBezTo>
                <a:cubicBezTo>
                  <a:pt x="34" y="6"/>
                  <a:pt x="33" y="6"/>
                  <a:pt x="34" y="5"/>
                </a:cubicBezTo>
                <a:cubicBezTo>
                  <a:pt x="33" y="5"/>
                  <a:pt x="33" y="5"/>
                  <a:pt x="33" y="5"/>
                </a:cubicBezTo>
                <a:cubicBezTo>
                  <a:pt x="33" y="5"/>
                  <a:pt x="33" y="5"/>
                  <a:pt x="33" y="5"/>
                </a:cubicBezTo>
                <a:cubicBezTo>
                  <a:pt x="32" y="4"/>
                  <a:pt x="31" y="3"/>
                  <a:pt x="30" y="2"/>
                </a:cubicBezTo>
                <a:cubicBezTo>
                  <a:pt x="30" y="2"/>
                  <a:pt x="30" y="2"/>
                  <a:pt x="29" y="2"/>
                </a:cubicBezTo>
                <a:cubicBezTo>
                  <a:pt x="28" y="2"/>
                  <a:pt x="28" y="1"/>
                  <a:pt x="28" y="1"/>
                </a:cubicBezTo>
                <a:cubicBezTo>
                  <a:pt x="28" y="0"/>
                  <a:pt x="27" y="1"/>
                  <a:pt x="27" y="0"/>
                </a:cubicBezTo>
                <a:cubicBezTo>
                  <a:pt x="26" y="0"/>
                  <a:pt x="26" y="0"/>
                  <a:pt x="25" y="0"/>
                </a:cubicBezTo>
                <a:cubicBezTo>
                  <a:pt x="24" y="0"/>
                  <a:pt x="25" y="1"/>
                  <a:pt x="25" y="2"/>
                </a:cubicBezTo>
                <a:cubicBezTo>
                  <a:pt x="25" y="2"/>
                  <a:pt x="23" y="2"/>
                  <a:pt x="23" y="2"/>
                </a:cubicBezTo>
                <a:cubicBezTo>
                  <a:pt x="23" y="2"/>
                  <a:pt x="22" y="3"/>
                  <a:pt x="21" y="3"/>
                </a:cubicBezTo>
                <a:cubicBezTo>
                  <a:pt x="21" y="3"/>
                  <a:pt x="21" y="3"/>
                  <a:pt x="20" y="3"/>
                </a:cubicBezTo>
                <a:cubicBezTo>
                  <a:pt x="20" y="3"/>
                  <a:pt x="20" y="3"/>
                  <a:pt x="19" y="3"/>
                </a:cubicBezTo>
                <a:cubicBezTo>
                  <a:pt x="19" y="4"/>
                  <a:pt x="19" y="5"/>
                  <a:pt x="19" y="5"/>
                </a:cubicBezTo>
                <a:cubicBezTo>
                  <a:pt x="20" y="5"/>
                  <a:pt x="20" y="6"/>
                  <a:pt x="20" y="6"/>
                </a:cubicBezTo>
                <a:cubicBezTo>
                  <a:pt x="20" y="7"/>
                  <a:pt x="20" y="8"/>
                  <a:pt x="19" y="8"/>
                </a:cubicBezTo>
                <a:cubicBezTo>
                  <a:pt x="19" y="8"/>
                  <a:pt x="18" y="8"/>
                  <a:pt x="18" y="8"/>
                </a:cubicBezTo>
                <a:cubicBezTo>
                  <a:pt x="18" y="8"/>
                  <a:pt x="18" y="8"/>
                  <a:pt x="17" y="8"/>
                </a:cubicBezTo>
                <a:cubicBezTo>
                  <a:pt x="17" y="8"/>
                  <a:pt x="16" y="9"/>
                  <a:pt x="16" y="9"/>
                </a:cubicBezTo>
                <a:cubicBezTo>
                  <a:pt x="17" y="9"/>
                  <a:pt x="17" y="9"/>
                  <a:pt x="17" y="10"/>
                </a:cubicBezTo>
                <a:cubicBezTo>
                  <a:pt x="17" y="9"/>
                  <a:pt x="16" y="10"/>
                  <a:pt x="16" y="10"/>
                </a:cubicBezTo>
                <a:cubicBezTo>
                  <a:pt x="16" y="11"/>
                  <a:pt x="17" y="11"/>
                  <a:pt x="17" y="11"/>
                </a:cubicBezTo>
                <a:cubicBezTo>
                  <a:pt x="17" y="12"/>
                  <a:pt x="15" y="12"/>
                  <a:pt x="15" y="12"/>
                </a:cubicBezTo>
                <a:cubicBezTo>
                  <a:pt x="15" y="11"/>
                  <a:pt x="14" y="11"/>
                  <a:pt x="14" y="11"/>
                </a:cubicBezTo>
                <a:cubicBezTo>
                  <a:pt x="14" y="11"/>
                  <a:pt x="13" y="11"/>
                  <a:pt x="13" y="11"/>
                </a:cubicBezTo>
                <a:cubicBezTo>
                  <a:pt x="13" y="11"/>
                  <a:pt x="13" y="11"/>
                  <a:pt x="13" y="11"/>
                </a:cubicBezTo>
                <a:cubicBezTo>
                  <a:pt x="12" y="11"/>
                  <a:pt x="12" y="11"/>
                  <a:pt x="11" y="11"/>
                </a:cubicBezTo>
                <a:cubicBezTo>
                  <a:pt x="11" y="11"/>
                  <a:pt x="11" y="10"/>
                  <a:pt x="11" y="10"/>
                </a:cubicBezTo>
                <a:cubicBezTo>
                  <a:pt x="11" y="10"/>
                  <a:pt x="11" y="10"/>
                  <a:pt x="11" y="10"/>
                </a:cubicBezTo>
                <a:cubicBezTo>
                  <a:pt x="10" y="10"/>
                  <a:pt x="10" y="9"/>
                  <a:pt x="10" y="9"/>
                </a:cubicBezTo>
                <a:cubicBezTo>
                  <a:pt x="10" y="9"/>
                  <a:pt x="9" y="11"/>
                  <a:pt x="9" y="11"/>
                </a:cubicBezTo>
                <a:cubicBezTo>
                  <a:pt x="8" y="12"/>
                  <a:pt x="8" y="11"/>
                  <a:pt x="7" y="11"/>
                </a:cubicBezTo>
                <a:cubicBezTo>
                  <a:pt x="7" y="11"/>
                  <a:pt x="6" y="11"/>
                  <a:pt x="6" y="11"/>
                </a:cubicBezTo>
                <a:cubicBezTo>
                  <a:pt x="6" y="11"/>
                  <a:pt x="5" y="11"/>
                  <a:pt x="5" y="11"/>
                </a:cubicBezTo>
                <a:cubicBezTo>
                  <a:pt x="5" y="11"/>
                  <a:pt x="5" y="12"/>
                  <a:pt x="5" y="12"/>
                </a:cubicBezTo>
                <a:cubicBezTo>
                  <a:pt x="4" y="12"/>
                  <a:pt x="4" y="12"/>
                  <a:pt x="4" y="12"/>
                </a:cubicBezTo>
                <a:cubicBezTo>
                  <a:pt x="3" y="12"/>
                  <a:pt x="3" y="12"/>
                  <a:pt x="3" y="12"/>
                </a:cubicBezTo>
                <a:cubicBezTo>
                  <a:pt x="2" y="11"/>
                  <a:pt x="2" y="11"/>
                  <a:pt x="1" y="11"/>
                </a:cubicBezTo>
                <a:cubicBezTo>
                  <a:pt x="0" y="11"/>
                  <a:pt x="1" y="13"/>
                  <a:pt x="2" y="13"/>
                </a:cubicBezTo>
                <a:cubicBezTo>
                  <a:pt x="1" y="13"/>
                  <a:pt x="2" y="14"/>
                  <a:pt x="2" y="15"/>
                </a:cubicBezTo>
                <a:cubicBezTo>
                  <a:pt x="2" y="15"/>
                  <a:pt x="2" y="15"/>
                  <a:pt x="3" y="15"/>
                </a:cubicBezTo>
                <a:cubicBezTo>
                  <a:pt x="3" y="15"/>
                  <a:pt x="2" y="15"/>
                  <a:pt x="2" y="15"/>
                </a:cubicBezTo>
                <a:cubicBezTo>
                  <a:pt x="2" y="16"/>
                  <a:pt x="2" y="16"/>
                  <a:pt x="3" y="16"/>
                </a:cubicBezTo>
                <a:cubicBezTo>
                  <a:pt x="3" y="17"/>
                  <a:pt x="3" y="18"/>
                  <a:pt x="4" y="18"/>
                </a:cubicBezTo>
                <a:cubicBezTo>
                  <a:pt x="4" y="18"/>
                  <a:pt x="4" y="18"/>
                  <a:pt x="3" y="18"/>
                </a:cubicBezTo>
                <a:cubicBezTo>
                  <a:pt x="4" y="18"/>
                  <a:pt x="4" y="18"/>
                  <a:pt x="5" y="19"/>
                </a:cubicBezTo>
                <a:cubicBezTo>
                  <a:pt x="5" y="19"/>
                  <a:pt x="5" y="19"/>
                  <a:pt x="4" y="18"/>
                </a:cubicBezTo>
                <a:cubicBezTo>
                  <a:pt x="5" y="18"/>
                  <a:pt x="5" y="19"/>
                  <a:pt x="5" y="19"/>
                </a:cubicBezTo>
                <a:cubicBezTo>
                  <a:pt x="5" y="19"/>
                  <a:pt x="5" y="18"/>
                  <a:pt x="5" y="18"/>
                </a:cubicBezTo>
                <a:cubicBezTo>
                  <a:pt x="5" y="18"/>
                  <a:pt x="5" y="18"/>
                  <a:pt x="5" y="17"/>
                </a:cubicBezTo>
                <a:cubicBezTo>
                  <a:pt x="6" y="17"/>
                  <a:pt x="5" y="17"/>
                  <a:pt x="6" y="16"/>
                </a:cubicBezTo>
                <a:cubicBezTo>
                  <a:pt x="6" y="16"/>
                  <a:pt x="6" y="17"/>
                  <a:pt x="6" y="17"/>
                </a:cubicBezTo>
                <a:cubicBezTo>
                  <a:pt x="6" y="17"/>
                  <a:pt x="7" y="17"/>
                  <a:pt x="7" y="16"/>
                </a:cubicBezTo>
                <a:cubicBezTo>
                  <a:pt x="7" y="16"/>
                  <a:pt x="7" y="15"/>
                  <a:pt x="7" y="15"/>
                </a:cubicBezTo>
                <a:cubicBezTo>
                  <a:pt x="7" y="15"/>
                  <a:pt x="8" y="13"/>
                  <a:pt x="8" y="13"/>
                </a:cubicBezTo>
                <a:cubicBezTo>
                  <a:pt x="8" y="13"/>
                  <a:pt x="9" y="13"/>
                  <a:pt x="9" y="13"/>
                </a:cubicBezTo>
                <a:cubicBezTo>
                  <a:pt x="9" y="13"/>
                  <a:pt x="10" y="14"/>
                  <a:pt x="10" y="13"/>
                </a:cubicBezTo>
                <a:cubicBezTo>
                  <a:pt x="10" y="13"/>
                  <a:pt x="10" y="14"/>
                  <a:pt x="10" y="14"/>
                </a:cubicBezTo>
                <a:cubicBezTo>
                  <a:pt x="11" y="14"/>
                  <a:pt x="11" y="14"/>
                  <a:pt x="11" y="15"/>
                </a:cubicBezTo>
                <a:cubicBezTo>
                  <a:pt x="12" y="15"/>
                  <a:pt x="13" y="15"/>
                  <a:pt x="13" y="16"/>
                </a:cubicBezTo>
                <a:cubicBezTo>
                  <a:pt x="14" y="17"/>
                  <a:pt x="13" y="18"/>
                  <a:pt x="13" y="20"/>
                </a:cubicBezTo>
                <a:cubicBezTo>
                  <a:pt x="14" y="21"/>
                  <a:pt x="14" y="21"/>
                  <a:pt x="15" y="22"/>
                </a:cubicBezTo>
                <a:cubicBezTo>
                  <a:pt x="16" y="22"/>
                  <a:pt x="16" y="23"/>
                  <a:pt x="17" y="23"/>
                </a:cubicBezTo>
                <a:cubicBezTo>
                  <a:pt x="17" y="23"/>
                  <a:pt x="18" y="24"/>
                  <a:pt x="18" y="24"/>
                </a:cubicBezTo>
                <a:cubicBezTo>
                  <a:pt x="19" y="24"/>
                  <a:pt x="19" y="25"/>
                  <a:pt x="19" y="25"/>
                </a:cubicBezTo>
                <a:cubicBezTo>
                  <a:pt x="19" y="25"/>
                  <a:pt x="19" y="25"/>
                  <a:pt x="20" y="25"/>
                </a:cubicBezTo>
                <a:cubicBezTo>
                  <a:pt x="19" y="25"/>
                  <a:pt x="19" y="26"/>
                  <a:pt x="20" y="26"/>
                </a:cubicBezTo>
                <a:cubicBezTo>
                  <a:pt x="19" y="26"/>
                  <a:pt x="19" y="25"/>
                  <a:pt x="19" y="25"/>
                </a:cubicBezTo>
                <a:cubicBezTo>
                  <a:pt x="18" y="26"/>
                  <a:pt x="19" y="25"/>
                  <a:pt x="19" y="25"/>
                </a:cubicBezTo>
                <a:cubicBezTo>
                  <a:pt x="19" y="24"/>
                  <a:pt x="18" y="24"/>
                  <a:pt x="17" y="24"/>
                </a:cubicBezTo>
                <a:cubicBezTo>
                  <a:pt x="17" y="24"/>
                  <a:pt x="16" y="24"/>
                  <a:pt x="16" y="24"/>
                </a:cubicBezTo>
                <a:cubicBezTo>
                  <a:pt x="16" y="24"/>
                  <a:pt x="17" y="25"/>
                  <a:pt x="17" y="24"/>
                </a:cubicBezTo>
                <a:cubicBezTo>
                  <a:pt x="17" y="24"/>
                  <a:pt x="16" y="24"/>
                  <a:pt x="16" y="24"/>
                </a:cubicBezTo>
                <a:cubicBezTo>
                  <a:pt x="16" y="24"/>
                  <a:pt x="16" y="25"/>
                  <a:pt x="16" y="25"/>
                </a:cubicBezTo>
                <a:cubicBezTo>
                  <a:pt x="16" y="25"/>
                  <a:pt x="15" y="24"/>
                  <a:pt x="15" y="24"/>
                </a:cubicBezTo>
                <a:cubicBezTo>
                  <a:pt x="15" y="24"/>
                  <a:pt x="16" y="25"/>
                  <a:pt x="16" y="25"/>
                </a:cubicBezTo>
                <a:cubicBezTo>
                  <a:pt x="16" y="26"/>
                  <a:pt x="17" y="26"/>
                  <a:pt x="17" y="27"/>
                </a:cubicBezTo>
                <a:cubicBezTo>
                  <a:pt x="18" y="27"/>
                  <a:pt x="18" y="28"/>
                  <a:pt x="19" y="28"/>
                </a:cubicBezTo>
                <a:cubicBezTo>
                  <a:pt x="19" y="29"/>
                  <a:pt x="20" y="29"/>
                  <a:pt x="20" y="29"/>
                </a:cubicBezTo>
                <a:cubicBezTo>
                  <a:pt x="20" y="29"/>
                  <a:pt x="20" y="29"/>
                  <a:pt x="20" y="29"/>
                </a:cubicBezTo>
                <a:cubicBezTo>
                  <a:pt x="20" y="29"/>
                  <a:pt x="23" y="31"/>
                  <a:pt x="23" y="31"/>
                </a:cubicBezTo>
                <a:cubicBezTo>
                  <a:pt x="23" y="31"/>
                  <a:pt x="23" y="31"/>
                  <a:pt x="22" y="31"/>
                </a:cubicBezTo>
                <a:cubicBezTo>
                  <a:pt x="22" y="31"/>
                  <a:pt x="23" y="31"/>
                  <a:pt x="23" y="31"/>
                </a:cubicBezTo>
                <a:cubicBezTo>
                  <a:pt x="22" y="31"/>
                  <a:pt x="22" y="32"/>
                  <a:pt x="23" y="32"/>
                </a:cubicBezTo>
                <a:cubicBezTo>
                  <a:pt x="22" y="33"/>
                  <a:pt x="25" y="33"/>
                  <a:pt x="24" y="33"/>
                </a:cubicBezTo>
                <a:cubicBezTo>
                  <a:pt x="25" y="33"/>
                  <a:pt x="26" y="32"/>
                  <a:pt x="27" y="32"/>
                </a:cubicBezTo>
                <a:cubicBezTo>
                  <a:pt x="27" y="32"/>
                  <a:pt x="27" y="33"/>
                  <a:pt x="27" y="33"/>
                </a:cubicBezTo>
                <a:cubicBezTo>
                  <a:pt x="27" y="33"/>
                  <a:pt x="28" y="33"/>
                  <a:pt x="28" y="33"/>
                </a:cubicBezTo>
                <a:cubicBezTo>
                  <a:pt x="29" y="33"/>
                  <a:pt x="29" y="33"/>
                  <a:pt x="30" y="34"/>
                </a:cubicBezTo>
                <a:cubicBezTo>
                  <a:pt x="31" y="34"/>
                  <a:pt x="32" y="34"/>
                  <a:pt x="32" y="35"/>
                </a:cubicBezTo>
                <a:cubicBezTo>
                  <a:pt x="33" y="36"/>
                  <a:pt x="34" y="36"/>
                  <a:pt x="35" y="37"/>
                </a:cubicBezTo>
                <a:cubicBezTo>
                  <a:pt x="35" y="37"/>
                  <a:pt x="36" y="38"/>
                  <a:pt x="36" y="38"/>
                </a:cubicBezTo>
                <a:cubicBezTo>
                  <a:pt x="36" y="38"/>
                  <a:pt x="36" y="38"/>
                  <a:pt x="36" y="38"/>
                </a:cubicBezTo>
                <a:cubicBezTo>
                  <a:pt x="36" y="38"/>
                  <a:pt x="37" y="39"/>
                  <a:pt x="38" y="39"/>
                </a:cubicBezTo>
                <a:cubicBezTo>
                  <a:pt x="39" y="39"/>
                  <a:pt x="38" y="37"/>
                  <a:pt x="37" y="37"/>
                </a:cubicBezTo>
                <a:cubicBezTo>
                  <a:pt x="36" y="36"/>
                  <a:pt x="35" y="36"/>
                  <a:pt x="35" y="35"/>
                </a:cubicBezTo>
                <a:cubicBezTo>
                  <a:pt x="34" y="34"/>
                  <a:pt x="35" y="34"/>
                  <a:pt x="35" y="33"/>
                </a:cubicBezTo>
                <a:cubicBezTo>
                  <a:pt x="35" y="33"/>
                  <a:pt x="34" y="33"/>
                  <a:pt x="33" y="33"/>
                </a:cubicBezTo>
                <a:cubicBezTo>
                  <a:pt x="32" y="32"/>
                  <a:pt x="31" y="31"/>
                  <a:pt x="30" y="30"/>
                </a:cubicBezTo>
                <a:cubicBezTo>
                  <a:pt x="29" y="30"/>
                  <a:pt x="29" y="29"/>
                  <a:pt x="29" y="29"/>
                </a:cubicBezTo>
                <a:cubicBezTo>
                  <a:pt x="28" y="28"/>
                  <a:pt x="28" y="28"/>
                  <a:pt x="27" y="27"/>
                </a:cubicBezTo>
                <a:cubicBezTo>
                  <a:pt x="27" y="27"/>
                  <a:pt x="26" y="27"/>
                  <a:pt x="26" y="26"/>
                </a:cubicBezTo>
                <a:cubicBezTo>
                  <a:pt x="26" y="26"/>
                  <a:pt x="26" y="26"/>
                  <a:pt x="25" y="25"/>
                </a:cubicBezTo>
                <a:cubicBezTo>
                  <a:pt x="25" y="25"/>
                  <a:pt x="25" y="24"/>
                  <a:pt x="25" y="24"/>
                </a:cubicBezTo>
                <a:cubicBezTo>
                  <a:pt x="25" y="23"/>
                  <a:pt x="25" y="23"/>
                  <a:pt x="24" y="23"/>
                </a:cubicBezTo>
                <a:cubicBezTo>
                  <a:pt x="25" y="23"/>
                  <a:pt x="24" y="22"/>
                  <a:pt x="24" y="21"/>
                </a:cubicBezTo>
                <a:cubicBezTo>
                  <a:pt x="24" y="21"/>
                  <a:pt x="23" y="22"/>
                  <a:pt x="23" y="21"/>
                </a:cubicBezTo>
                <a:cubicBezTo>
                  <a:pt x="23" y="21"/>
                  <a:pt x="23" y="21"/>
                  <a:pt x="23" y="21"/>
                </a:cubicBezTo>
                <a:cubicBezTo>
                  <a:pt x="23" y="20"/>
                  <a:pt x="23" y="20"/>
                  <a:pt x="23" y="20"/>
                </a:cubicBezTo>
                <a:cubicBezTo>
                  <a:pt x="22" y="20"/>
                  <a:pt x="22" y="20"/>
                  <a:pt x="22" y="20"/>
                </a:cubicBezTo>
                <a:cubicBezTo>
                  <a:pt x="21" y="19"/>
                  <a:pt x="21" y="20"/>
                  <a:pt x="21" y="19"/>
                </a:cubicBezTo>
                <a:cubicBezTo>
                  <a:pt x="21" y="19"/>
                  <a:pt x="21" y="19"/>
                  <a:pt x="20" y="19"/>
                </a:cubicBezTo>
                <a:cubicBezTo>
                  <a:pt x="20" y="18"/>
                  <a:pt x="21" y="19"/>
                  <a:pt x="21" y="18"/>
                </a:cubicBezTo>
                <a:cubicBezTo>
                  <a:pt x="21" y="18"/>
                  <a:pt x="20" y="17"/>
                  <a:pt x="21" y="17"/>
                </a:cubicBezTo>
                <a:cubicBezTo>
                  <a:pt x="21" y="16"/>
                  <a:pt x="21" y="15"/>
                  <a:pt x="21" y="15"/>
                </a:cubicBezTo>
                <a:cubicBezTo>
                  <a:pt x="21" y="14"/>
                  <a:pt x="23" y="14"/>
                  <a:pt x="23" y="14"/>
                </a:cubicBezTo>
                <a:cubicBezTo>
                  <a:pt x="23" y="15"/>
                  <a:pt x="24" y="15"/>
                  <a:pt x="24" y="16"/>
                </a:cubicBezTo>
                <a:cubicBezTo>
                  <a:pt x="24" y="16"/>
                  <a:pt x="25" y="16"/>
                  <a:pt x="25" y="16"/>
                </a:cubicBezTo>
                <a:cubicBezTo>
                  <a:pt x="26" y="16"/>
                  <a:pt x="26" y="16"/>
                  <a:pt x="26" y="16"/>
                </a:cubicBezTo>
                <a:cubicBezTo>
                  <a:pt x="26" y="15"/>
                  <a:pt x="27" y="15"/>
                  <a:pt x="27" y="15"/>
                </a:cubicBezTo>
                <a:cubicBezTo>
                  <a:pt x="27" y="14"/>
                  <a:pt x="28" y="14"/>
                  <a:pt x="29" y="14"/>
                </a:cubicBezTo>
                <a:cubicBezTo>
                  <a:pt x="30" y="15"/>
                  <a:pt x="30" y="14"/>
                  <a:pt x="31" y="14"/>
                </a:cubicBezTo>
                <a:cubicBezTo>
                  <a:pt x="30" y="14"/>
                  <a:pt x="32" y="14"/>
                  <a:pt x="32" y="14"/>
                </a:cubicBezTo>
                <a:cubicBezTo>
                  <a:pt x="32" y="15"/>
                  <a:pt x="33" y="15"/>
                  <a:pt x="33" y="15"/>
                </a:cubicBezTo>
                <a:cubicBezTo>
                  <a:pt x="34" y="15"/>
                  <a:pt x="34" y="14"/>
                  <a:pt x="34" y="15"/>
                </a:cubicBezTo>
                <a:cubicBezTo>
                  <a:pt x="34" y="15"/>
                  <a:pt x="35" y="15"/>
                  <a:pt x="35" y="15"/>
                </a:cubicBezTo>
                <a:cubicBezTo>
                  <a:pt x="35" y="15"/>
                  <a:pt x="36" y="15"/>
                  <a:pt x="36" y="15"/>
                </a:cubicBezTo>
                <a:cubicBezTo>
                  <a:pt x="36" y="16"/>
                  <a:pt x="37" y="15"/>
                  <a:pt x="38" y="15"/>
                </a:cubicBezTo>
                <a:cubicBezTo>
                  <a:pt x="38" y="16"/>
                  <a:pt x="39" y="16"/>
                  <a:pt x="39" y="16"/>
                </a:cubicBezTo>
                <a:cubicBezTo>
                  <a:pt x="39" y="16"/>
                  <a:pt x="40" y="15"/>
                  <a:pt x="40" y="15"/>
                </a:cubicBezTo>
                <a:cubicBezTo>
                  <a:pt x="40" y="15"/>
                  <a:pt x="41" y="16"/>
                  <a:pt x="41" y="16"/>
                </a:cubicBezTo>
                <a:cubicBezTo>
                  <a:pt x="42" y="16"/>
                  <a:pt x="42" y="15"/>
                  <a:pt x="42" y="15"/>
                </a:cubicBezTo>
                <a:cubicBezTo>
                  <a:pt x="42" y="15"/>
                  <a:pt x="43" y="15"/>
                  <a:pt x="43" y="15"/>
                </a:cubicBezTo>
                <a:cubicBezTo>
                  <a:pt x="43" y="15"/>
                  <a:pt x="45" y="16"/>
                  <a:pt x="45" y="16"/>
                </a:cubicBezTo>
                <a:cubicBezTo>
                  <a:pt x="45" y="16"/>
                  <a:pt x="45" y="16"/>
                  <a:pt x="45" y="16"/>
                </a:cubicBezTo>
                <a:cubicBezTo>
                  <a:pt x="45" y="16"/>
                  <a:pt x="45" y="15"/>
                  <a:pt x="46" y="16"/>
                </a:cubicBezTo>
                <a:cubicBezTo>
                  <a:pt x="45" y="16"/>
                  <a:pt x="46" y="16"/>
                  <a:pt x="46" y="16"/>
                </a:cubicBezTo>
                <a:cubicBezTo>
                  <a:pt x="46" y="16"/>
                  <a:pt x="46" y="17"/>
                  <a:pt x="47" y="17"/>
                </a:cubicBezTo>
                <a:cubicBezTo>
                  <a:pt x="47" y="17"/>
                  <a:pt x="47" y="17"/>
                  <a:pt x="47" y="17"/>
                </a:cubicBezTo>
                <a:cubicBezTo>
                  <a:pt x="47" y="18"/>
                  <a:pt x="48" y="18"/>
                  <a:pt x="49" y="18"/>
                </a:cubicBezTo>
                <a:cubicBezTo>
                  <a:pt x="48" y="17"/>
                  <a:pt x="50" y="18"/>
                  <a:pt x="50" y="17"/>
                </a:cubicBezTo>
                <a:cubicBezTo>
                  <a:pt x="50" y="17"/>
                  <a:pt x="50" y="17"/>
                  <a:pt x="50" y="17"/>
                </a:cubicBezTo>
                <a:cubicBezTo>
                  <a:pt x="50" y="16"/>
                  <a:pt x="50" y="16"/>
                  <a:pt x="50" y="16"/>
                </a:cubicBezTo>
                <a:cubicBezTo>
                  <a:pt x="50" y="16"/>
                  <a:pt x="50" y="15"/>
                  <a:pt x="49" y="15"/>
                </a:cubicBezTo>
                <a:cubicBezTo>
                  <a:pt x="49" y="15"/>
                  <a:pt x="50" y="15"/>
                  <a:pt x="50" y="15"/>
                </a:cubicBezTo>
                <a:cubicBezTo>
                  <a:pt x="50" y="15"/>
                  <a:pt x="50" y="14"/>
                  <a:pt x="50" y="14"/>
                </a:cubicBezTo>
                <a:cubicBezTo>
                  <a:pt x="50" y="14"/>
                  <a:pt x="51" y="15"/>
                  <a:pt x="51" y="15"/>
                </a:cubicBezTo>
                <a:cubicBezTo>
                  <a:pt x="51" y="15"/>
                  <a:pt x="52" y="15"/>
                  <a:pt x="52" y="15"/>
                </a:cubicBezTo>
                <a:cubicBezTo>
                  <a:pt x="52" y="15"/>
                  <a:pt x="53" y="14"/>
                  <a:pt x="52" y="14"/>
                </a:cubicBezTo>
                <a:close/>
                <a:moveTo>
                  <a:pt x="44" y="42"/>
                </a:moveTo>
                <a:cubicBezTo>
                  <a:pt x="44" y="42"/>
                  <a:pt x="43" y="43"/>
                  <a:pt x="43" y="42"/>
                </a:cubicBezTo>
                <a:cubicBezTo>
                  <a:pt x="42" y="42"/>
                  <a:pt x="42" y="41"/>
                  <a:pt x="42" y="41"/>
                </a:cubicBezTo>
                <a:cubicBezTo>
                  <a:pt x="41" y="41"/>
                  <a:pt x="40" y="40"/>
                  <a:pt x="40" y="39"/>
                </a:cubicBezTo>
                <a:cubicBezTo>
                  <a:pt x="39" y="39"/>
                  <a:pt x="38" y="39"/>
                  <a:pt x="38" y="39"/>
                </a:cubicBezTo>
                <a:cubicBezTo>
                  <a:pt x="38" y="39"/>
                  <a:pt x="38" y="40"/>
                  <a:pt x="39" y="40"/>
                </a:cubicBezTo>
                <a:cubicBezTo>
                  <a:pt x="38" y="40"/>
                  <a:pt x="38" y="39"/>
                  <a:pt x="37" y="39"/>
                </a:cubicBezTo>
                <a:cubicBezTo>
                  <a:pt x="37" y="39"/>
                  <a:pt x="36" y="39"/>
                  <a:pt x="36" y="39"/>
                </a:cubicBezTo>
                <a:cubicBezTo>
                  <a:pt x="36" y="39"/>
                  <a:pt x="36" y="39"/>
                  <a:pt x="36" y="39"/>
                </a:cubicBezTo>
                <a:cubicBezTo>
                  <a:pt x="35" y="38"/>
                  <a:pt x="33" y="38"/>
                  <a:pt x="32" y="38"/>
                </a:cubicBezTo>
                <a:cubicBezTo>
                  <a:pt x="32" y="38"/>
                  <a:pt x="32" y="38"/>
                  <a:pt x="33" y="38"/>
                </a:cubicBezTo>
                <a:cubicBezTo>
                  <a:pt x="33" y="38"/>
                  <a:pt x="33" y="38"/>
                  <a:pt x="34" y="38"/>
                </a:cubicBezTo>
                <a:cubicBezTo>
                  <a:pt x="35" y="38"/>
                  <a:pt x="35" y="39"/>
                  <a:pt x="36" y="39"/>
                </a:cubicBezTo>
                <a:cubicBezTo>
                  <a:pt x="36" y="39"/>
                  <a:pt x="37" y="40"/>
                  <a:pt x="37" y="40"/>
                </a:cubicBezTo>
                <a:cubicBezTo>
                  <a:pt x="38" y="40"/>
                  <a:pt x="39" y="40"/>
                  <a:pt x="39" y="41"/>
                </a:cubicBezTo>
                <a:cubicBezTo>
                  <a:pt x="39" y="40"/>
                  <a:pt x="39" y="40"/>
                  <a:pt x="39" y="40"/>
                </a:cubicBezTo>
                <a:cubicBezTo>
                  <a:pt x="39" y="40"/>
                  <a:pt x="39" y="40"/>
                  <a:pt x="40" y="40"/>
                </a:cubicBezTo>
                <a:cubicBezTo>
                  <a:pt x="40" y="40"/>
                  <a:pt x="40" y="40"/>
                  <a:pt x="40" y="41"/>
                </a:cubicBezTo>
                <a:cubicBezTo>
                  <a:pt x="41" y="41"/>
                  <a:pt x="41" y="41"/>
                  <a:pt x="42" y="42"/>
                </a:cubicBezTo>
                <a:cubicBezTo>
                  <a:pt x="42" y="42"/>
                  <a:pt x="42" y="42"/>
                  <a:pt x="43" y="42"/>
                </a:cubicBezTo>
                <a:cubicBezTo>
                  <a:pt x="43" y="42"/>
                  <a:pt x="43" y="43"/>
                  <a:pt x="43" y="43"/>
                </a:cubicBezTo>
                <a:cubicBezTo>
                  <a:pt x="44" y="43"/>
                  <a:pt x="45" y="44"/>
                  <a:pt x="46" y="45"/>
                </a:cubicBezTo>
                <a:cubicBezTo>
                  <a:pt x="46" y="44"/>
                  <a:pt x="46" y="44"/>
                  <a:pt x="46" y="44"/>
                </a:cubicBezTo>
                <a:cubicBezTo>
                  <a:pt x="45" y="44"/>
                  <a:pt x="45" y="43"/>
                  <a:pt x="44" y="42"/>
                </a:cubicBezTo>
                <a:close/>
                <a:moveTo>
                  <a:pt x="29" y="35"/>
                </a:moveTo>
                <a:cubicBezTo>
                  <a:pt x="30" y="35"/>
                  <a:pt x="30" y="35"/>
                  <a:pt x="31" y="35"/>
                </a:cubicBezTo>
                <a:cubicBezTo>
                  <a:pt x="31" y="35"/>
                  <a:pt x="31" y="34"/>
                  <a:pt x="30" y="34"/>
                </a:cubicBezTo>
                <a:cubicBezTo>
                  <a:pt x="30" y="34"/>
                  <a:pt x="28" y="34"/>
                  <a:pt x="28" y="34"/>
                </a:cubicBezTo>
                <a:cubicBezTo>
                  <a:pt x="28" y="34"/>
                  <a:pt x="27" y="34"/>
                  <a:pt x="27" y="34"/>
                </a:cubicBezTo>
                <a:cubicBezTo>
                  <a:pt x="27" y="34"/>
                  <a:pt x="27" y="35"/>
                  <a:pt x="27" y="35"/>
                </a:cubicBezTo>
                <a:cubicBezTo>
                  <a:pt x="27" y="35"/>
                  <a:pt x="29" y="35"/>
                  <a:pt x="29" y="35"/>
                </a:cubicBezTo>
                <a:close/>
                <a:moveTo>
                  <a:pt x="37" y="41"/>
                </a:moveTo>
                <a:cubicBezTo>
                  <a:pt x="38" y="41"/>
                  <a:pt x="36" y="41"/>
                  <a:pt x="35" y="40"/>
                </a:cubicBezTo>
                <a:cubicBezTo>
                  <a:pt x="36" y="40"/>
                  <a:pt x="35" y="40"/>
                  <a:pt x="35" y="40"/>
                </a:cubicBezTo>
                <a:cubicBezTo>
                  <a:pt x="35" y="40"/>
                  <a:pt x="35" y="41"/>
                  <a:pt x="35" y="41"/>
                </a:cubicBezTo>
                <a:cubicBezTo>
                  <a:pt x="35" y="40"/>
                  <a:pt x="36" y="41"/>
                  <a:pt x="36" y="41"/>
                </a:cubicBezTo>
                <a:cubicBezTo>
                  <a:pt x="36" y="41"/>
                  <a:pt x="36" y="41"/>
                  <a:pt x="37" y="41"/>
                </a:cubicBezTo>
                <a:cubicBezTo>
                  <a:pt x="37" y="41"/>
                  <a:pt x="38" y="41"/>
                  <a:pt x="39" y="41"/>
                </a:cubicBezTo>
                <a:cubicBezTo>
                  <a:pt x="39" y="41"/>
                  <a:pt x="38" y="41"/>
                  <a:pt x="37" y="41"/>
                </a:cubicBezTo>
                <a:close/>
                <a:moveTo>
                  <a:pt x="25" y="38"/>
                </a:moveTo>
                <a:cubicBezTo>
                  <a:pt x="25" y="37"/>
                  <a:pt x="25" y="37"/>
                  <a:pt x="25" y="37"/>
                </a:cubicBezTo>
                <a:cubicBezTo>
                  <a:pt x="25" y="37"/>
                  <a:pt x="24" y="37"/>
                  <a:pt x="24" y="37"/>
                </a:cubicBezTo>
                <a:cubicBezTo>
                  <a:pt x="24" y="37"/>
                  <a:pt x="24" y="37"/>
                  <a:pt x="24" y="38"/>
                </a:cubicBezTo>
                <a:cubicBezTo>
                  <a:pt x="24" y="38"/>
                  <a:pt x="24" y="38"/>
                  <a:pt x="24" y="38"/>
                </a:cubicBezTo>
                <a:cubicBezTo>
                  <a:pt x="25" y="38"/>
                  <a:pt x="25" y="38"/>
                  <a:pt x="25" y="38"/>
                </a:cubicBezTo>
                <a:cubicBezTo>
                  <a:pt x="26" y="38"/>
                  <a:pt x="25" y="37"/>
                  <a:pt x="25" y="38"/>
                </a:cubicBezTo>
                <a:close/>
                <a:moveTo>
                  <a:pt x="15" y="27"/>
                </a:moveTo>
                <a:cubicBezTo>
                  <a:pt x="14" y="27"/>
                  <a:pt x="14" y="25"/>
                  <a:pt x="13" y="25"/>
                </a:cubicBezTo>
                <a:cubicBezTo>
                  <a:pt x="13" y="26"/>
                  <a:pt x="13" y="26"/>
                  <a:pt x="13" y="26"/>
                </a:cubicBezTo>
                <a:cubicBezTo>
                  <a:pt x="13" y="26"/>
                  <a:pt x="13" y="26"/>
                  <a:pt x="13" y="26"/>
                </a:cubicBezTo>
                <a:cubicBezTo>
                  <a:pt x="13" y="26"/>
                  <a:pt x="14" y="27"/>
                  <a:pt x="14" y="27"/>
                </a:cubicBezTo>
                <a:cubicBezTo>
                  <a:pt x="15" y="27"/>
                  <a:pt x="15" y="28"/>
                  <a:pt x="16" y="29"/>
                </a:cubicBezTo>
                <a:cubicBezTo>
                  <a:pt x="16" y="28"/>
                  <a:pt x="16" y="28"/>
                  <a:pt x="15" y="28"/>
                </a:cubicBezTo>
                <a:cubicBezTo>
                  <a:pt x="16" y="28"/>
                  <a:pt x="16" y="28"/>
                  <a:pt x="16" y="28"/>
                </a:cubicBezTo>
                <a:cubicBezTo>
                  <a:pt x="16" y="28"/>
                  <a:pt x="15" y="27"/>
                  <a:pt x="15" y="27"/>
                </a:cubicBezTo>
                <a:close/>
                <a:moveTo>
                  <a:pt x="12" y="17"/>
                </a:moveTo>
                <a:cubicBezTo>
                  <a:pt x="12" y="17"/>
                  <a:pt x="12" y="17"/>
                  <a:pt x="12" y="17"/>
                </a:cubicBezTo>
                <a:cubicBezTo>
                  <a:pt x="12" y="16"/>
                  <a:pt x="12" y="16"/>
                  <a:pt x="11" y="16"/>
                </a:cubicBezTo>
                <a:cubicBezTo>
                  <a:pt x="11" y="16"/>
                  <a:pt x="11" y="15"/>
                  <a:pt x="11" y="15"/>
                </a:cubicBezTo>
                <a:cubicBezTo>
                  <a:pt x="11" y="15"/>
                  <a:pt x="11" y="15"/>
                  <a:pt x="10" y="15"/>
                </a:cubicBezTo>
                <a:cubicBezTo>
                  <a:pt x="10" y="15"/>
                  <a:pt x="11" y="14"/>
                  <a:pt x="10" y="14"/>
                </a:cubicBezTo>
                <a:cubicBezTo>
                  <a:pt x="10" y="14"/>
                  <a:pt x="10" y="15"/>
                  <a:pt x="10" y="14"/>
                </a:cubicBezTo>
                <a:cubicBezTo>
                  <a:pt x="10" y="14"/>
                  <a:pt x="10" y="15"/>
                  <a:pt x="10" y="15"/>
                </a:cubicBezTo>
                <a:cubicBezTo>
                  <a:pt x="9" y="15"/>
                  <a:pt x="9" y="15"/>
                  <a:pt x="9" y="15"/>
                </a:cubicBezTo>
                <a:cubicBezTo>
                  <a:pt x="9" y="16"/>
                  <a:pt x="10" y="16"/>
                  <a:pt x="11" y="16"/>
                </a:cubicBezTo>
                <a:cubicBezTo>
                  <a:pt x="10" y="16"/>
                  <a:pt x="12" y="17"/>
                  <a:pt x="12" y="17"/>
                </a:cubicBezTo>
                <a:cubicBezTo>
                  <a:pt x="12" y="17"/>
                  <a:pt x="12" y="17"/>
                  <a:pt x="12" y="17"/>
                </a:cubicBezTo>
                <a:close/>
                <a:moveTo>
                  <a:pt x="30" y="37"/>
                </a:moveTo>
                <a:cubicBezTo>
                  <a:pt x="31" y="37"/>
                  <a:pt x="32" y="37"/>
                  <a:pt x="33" y="37"/>
                </a:cubicBezTo>
                <a:cubicBezTo>
                  <a:pt x="33" y="37"/>
                  <a:pt x="33" y="37"/>
                  <a:pt x="34" y="37"/>
                </a:cubicBezTo>
                <a:cubicBezTo>
                  <a:pt x="33" y="36"/>
                  <a:pt x="33" y="37"/>
                  <a:pt x="32" y="37"/>
                </a:cubicBezTo>
                <a:cubicBezTo>
                  <a:pt x="32" y="37"/>
                  <a:pt x="31" y="36"/>
                  <a:pt x="30" y="36"/>
                </a:cubicBezTo>
                <a:cubicBezTo>
                  <a:pt x="30" y="36"/>
                  <a:pt x="30" y="36"/>
                  <a:pt x="29" y="36"/>
                </a:cubicBezTo>
                <a:cubicBezTo>
                  <a:pt x="29" y="36"/>
                  <a:pt x="28" y="36"/>
                  <a:pt x="28" y="36"/>
                </a:cubicBezTo>
                <a:cubicBezTo>
                  <a:pt x="28" y="36"/>
                  <a:pt x="28" y="36"/>
                  <a:pt x="28" y="36"/>
                </a:cubicBezTo>
                <a:cubicBezTo>
                  <a:pt x="28" y="36"/>
                  <a:pt x="28" y="36"/>
                  <a:pt x="27" y="36"/>
                </a:cubicBezTo>
                <a:cubicBezTo>
                  <a:pt x="27" y="36"/>
                  <a:pt x="27" y="36"/>
                  <a:pt x="27" y="36"/>
                </a:cubicBezTo>
                <a:cubicBezTo>
                  <a:pt x="27" y="37"/>
                  <a:pt x="29" y="37"/>
                  <a:pt x="30" y="3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79" name="Cote d'Ivoire"/>
          <p:cNvSpPr>
            <a:spLocks noEditPoints="1"/>
          </p:cNvSpPr>
          <p:nvPr/>
        </p:nvSpPr>
        <p:spPr bwMode="auto">
          <a:xfrm>
            <a:off x="5492094" y="4236953"/>
            <a:ext cx="216992" cy="259991"/>
          </a:xfrm>
          <a:custGeom>
            <a:avLst/>
            <a:gdLst/>
            <a:ahLst/>
            <a:cxnLst>
              <a:cxn ang="0">
                <a:pos x="56" y="34"/>
              </a:cxn>
              <a:cxn ang="0">
                <a:pos x="53" y="43"/>
              </a:cxn>
              <a:cxn ang="0">
                <a:pos x="53" y="49"/>
              </a:cxn>
              <a:cxn ang="0">
                <a:pos x="56" y="56"/>
              </a:cxn>
              <a:cxn ang="0">
                <a:pos x="57" y="61"/>
              </a:cxn>
              <a:cxn ang="0">
                <a:pos x="55" y="62"/>
              </a:cxn>
              <a:cxn ang="0">
                <a:pos x="52" y="61"/>
              </a:cxn>
              <a:cxn ang="0">
                <a:pos x="47" y="61"/>
              </a:cxn>
              <a:cxn ang="0">
                <a:pos x="47" y="59"/>
              </a:cxn>
              <a:cxn ang="0">
                <a:pos x="45" y="60"/>
              </a:cxn>
              <a:cxn ang="0">
                <a:pos x="41" y="60"/>
              </a:cxn>
              <a:cxn ang="0">
                <a:pos x="38" y="60"/>
              </a:cxn>
              <a:cxn ang="0">
                <a:pos x="39" y="61"/>
              </a:cxn>
              <a:cxn ang="0">
                <a:pos x="44" y="60"/>
              </a:cxn>
              <a:cxn ang="0">
                <a:pos x="34" y="61"/>
              </a:cxn>
              <a:cxn ang="0">
                <a:pos x="32" y="62"/>
              </a:cxn>
              <a:cxn ang="0">
                <a:pos x="33" y="61"/>
              </a:cxn>
              <a:cxn ang="0">
                <a:pos x="34" y="62"/>
              </a:cxn>
              <a:cxn ang="0">
                <a:pos x="26" y="63"/>
              </a:cxn>
              <a:cxn ang="0">
                <a:pos x="13" y="69"/>
              </a:cxn>
              <a:cxn ang="0">
                <a:pos x="10" y="63"/>
              </a:cxn>
              <a:cxn ang="0">
                <a:pos x="12" y="60"/>
              </a:cxn>
              <a:cxn ang="0">
                <a:pos x="12" y="55"/>
              </a:cxn>
              <a:cxn ang="0">
                <a:pos x="10" y="54"/>
              </a:cxn>
              <a:cxn ang="0">
                <a:pos x="8" y="50"/>
              </a:cxn>
              <a:cxn ang="0">
                <a:pos x="2" y="48"/>
              </a:cxn>
              <a:cxn ang="0">
                <a:pos x="2" y="45"/>
              </a:cxn>
              <a:cxn ang="0">
                <a:pos x="3" y="38"/>
              </a:cxn>
              <a:cxn ang="0">
                <a:pos x="4" y="35"/>
              </a:cxn>
              <a:cxn ang="0">
                <a:pos x="6" y="29"/>
              </a:cxn>
              <a:cxn ang="0">
                <a:pos x="4" y="26"/>
              </a:cxn>
              <a:cxn ang="0">
                <a:pos x="8" y="26"/>
              </a:cxn>
              <a:cxn ang="0">
                <a:pos x="8" y="22"/>
              </a:cxn>
              <a:cxn ang="0">
                <a:pos x="7" y="15"/>
              </a:cxn>
              <a:cxn ang="0">
                <a:pos x="5" y="8"/>
              </a:cxn>
              <a:cxn ang="0">
                <a:pos x="9" y="6"/>
              </a:cxn>
              <a:cxn ang="0">
                <a:pos x="12" y="4"/>
              </a:cxn>
              <a:cxn ang="0">
                <a:pos x="17" y="6"/>
              </a:cxn>
              <a:cxn ang="0">
                <a:pos x="20" y="1"/>
              </a:cxn>
              <a:cxn ang="0">
                <a:pos x="24" y="0"/>
              </a:cxn>
              <a:cxn ang="0">
                <a:pos x="24" y="4"/>
              </a:cxn>
              <a:cxn ang="0">
                <a:pos x="26" y="5"/>
              </a:cxn>
              <a:cxn ang="0">
                <a:pos x="32" y="5"/>
              </a:cxn>
              <a:cxn ang="0">
                <a:pos x="35" y="6"/>
              </a:cxn>
              <a:cxn ang="0">
                <a:pos x="37" y="10"/>
              </a:cxn>
              <a:cxn ang="0">
                <a:pos x="40" y="12"/>
              </a:cxn>
              <a:cxn ang="0">
                <a:pos x="42" y="12"/>
              </a:cxn>
              <a:cxn ang="0">
                <a:pos x="48" y="9"/>
              </a:cxn>
              <a:cxn ang="0">
                <a:pos x="53" y="9"/>
              </a:cxn>
              <a:cxn ang="0">
                <a:pos x="55" y="12"/>
              </a:cxn>
              <a:cxn ang="0">
                <a:pos x="57" y="18"/>
              </a:cxn>
              <a:cxn ang="0">
                <a:pos x="60" y="28"/>
              </a:cxn>
              <a:cxn ang="0">
                <a:pos x="52" y="62"/>
              </a:cxn>
            </a:cxnLst>
            <a:rect l="0" t="0" r="r" b="b"/>
            <a:pathLst>
              <a:path w="60" h="72">
                <a:moveTo>
                  <a:pt x="59" y="29"/>
                </a:moveTo>
                <a:cubicBezTo>
                  <a:pt x="58" y="29"/>
                  <a:pt x="59" y="30"/>
                  <a:pt x="58" y="30"/>
                </a:cubicBezTo>
                <a:cubicBezTo>
                  <a:pt x="57" y="30"/>
                  <a:pt x="57" y="31"/>
                  <a:pt x="57" y="32"/>
                </a:cubicBezTo>
                <a:cubicBezTo>
                  <a:pt x="56" y="33"/>
                  <a:pt x="56" y="33"/>
                  <a:pt x="56" y="34"/>
                </a:cubicBezTo>
                <a:cubicBezTo>
                  <a:pt x="55" y="35"/>
                  <a:pt x="55" y="36"/>
                  <a:pt x="55" y="37"/>
                </a:cubicBezTo>
                <a:cubicBezTo>
                  <a:pt x="55" y="38"/>
                  <a:pt x="55" y="39"/>
                  <a:pt x="54" y="40"/>
                </a:cubicBezTo>
                <a:cubicBezTo>
                  <a:pt x="54" y="41"/>
                  <a:pt x="54" y="41"/>
                  <a:pt x="54" y="41"/>
                </a:cubicBezTo>
                <a:cubicBezTo>
                  <a:pt x="53" y="42"/>
                  <a:pt x="53" y="42"/>
                  <a:pt x="53" y="43"/>
                </a:cubicBezTo>
                <a:cubicBezTo>
                  <a:pt x="52" y="43"/>
                  <a:pt x="52" y="44"/>
                  <a:pt x="52" y="44"/>
                </a:cubicBezTo>
                <a:cubicBezTo>
                  <a:pt x="53" y="44"/>
                  <a:pt x="53" y="45"/>
                  <a:pt x="52" y="45"/>
                </a:cubicBezTo>
                <a:cubicBezTo>
                  <a:pt x="52" y="45"/>
                  <a:pt x="52" y="46"/>
                  <a:pt x="52" y="46"/>
                </a:cubicBezTo>
                <a:cubicBezTo>
                  <a:pt x="52" y="47"/>
                  <a:pt x="53" y="48"/>
                  <a:pt x="53" y="49"/>
                </a:cubicBezTo>
                <a:cubicBezTo>
                  <a:pt x="53" y="50"/>
                  <a:pt x="54" y="51"/>
                  <a:pt x="54" y="52"/>
                </a:cubicBezTo>
                <a:cubicBezTo>
                  <a:pt x="54" y="53"/>
                  <a:pt x="54" y="53"/>
                  <a:pt x="54" y="54"/>
                </a:cubicBezTo>
                <a:cubicBezTo>
                  <a:pt x="54" y="54"/>
                  <a:pt x="54" y="56"/>
                  <a:pt x="55" y="56"/>
                </a:cubicBezTo>
                <a:cubicBezTo>
                  <a:pt x="55" y="56"/>
                  <a:pt x="55" y="57"/>
                  <a:pt x="56" y="56"/>
                </a:cubicBezTo>
                <a:cubicBezTo>
                  <a:pt x="57" y="56"/>
                  <a:pt x="57" y="57"/>
                  <a:pt x="57" y="57"/>
                </a:cubicBezTo>
                <a:cubicBezTo>
                  <a:pt x="57" y="58"/>
                  <a:pt x="57" y="59"/>
                  <a:pt x="57" y="59"/>
                </a:cubicBezTo>
                <a:cubicBezTo>
                  <a:pt x="57" y="60"/>
                  <a:pt x="57" y="59"/>
                  <a:pt x="57" y="60"/>
                </a:cubicBezTo>
                <a:cubicBezTo>
                  <a:pt x="57" y="60"/>
                  <a:pt x="57" y="61"/>
                  <a:pt x="57" y="61"/>
                </a:cubicBezTo>
                <a:cubicBezTo>
                  <a:pt x="57" y="62"/>
                  <a:pt x="57" y="62"/>
                  <a:pt x="56" y="62"/>
                </a:cubicBezTo>
                <a:cubicBezTo>
                  <a:pt x="56" y="62"/>
                  <a:pt x="55" y="62"/>
                  <a:pt x="55" y="62"/>
                </a:cubicBezTo>
                <a:cubicBezTo>
                  <a:pt x="55" y="62"/>
                  <a:pt x="56" y="62"/>
                  <a:pt x="56" y="62"/>
                </a:cubicBezTo>
                <a:cubicBezTo>
                  <a:pt x="56" y="61"/>
                  <a:pt x="55" y="61"/>
                  <a:pt x="55" y="62"/>
                </a:cubicBezTo>
                <a:cubicBezTo>
                  <a:pt x="55" y="62"/>
                  <a:pt x="53" y="62"/>
                  <a:pt x="53" y="61"/>
                </a:cubicBezTo>
                <a:cubicBezTo>
                  <a:pt x="53" y="61"/>
                  <a:pt x="54" y="59"/>
                  <a:pt x="53" y="59"/>
                </a:cubicBezTo>
                <a:cubicBezTo>
                  <a:pt x="53" y="59"/>
                  <a:pt x="52" y="59"/>
                  <a:pt x="52" y="60"/>
                </a:cubicBezTo>
                <a:cubicBezTo>
                  <a:pt x="52" y="60"/>
                  <a:pt x="51" y="61"/>
                  <a:pt x="52" y="61"/>
                </a:cubicBezTo>
                <a:cubicBezTo>
                  <a:pt x="52" y="61"/>
                  <a:pt x="51" y="61"/>
                  <a:pt x="51" y="61"/>
                </a:cubicBezTo>
                <a:cubicBezTo>
                  <a:pt x="51" y="62"/>
                  <a:pt x="52" y="62"/>
                  <a:pt x="51" y="62"/>
                </a:cubicBezTo>
                <a:cubicBezTo>
                  <a:pt x="51" y="62"/>
                  <a:pt x="50" y="62"/>
                  <a:pt x="49" y="62"/>
                </a:cubicBezTo>
                <a:cubicBezTo>
                  <a:pt x="49" y="61"/>
                  <a:pt x="48" y="62"/>
                  <a:pt x="47" y="61"/>
                </a:cubicBezTo>
                <a:cubicBezTo>
                  <a:pt x="47" y="62"/>
                  <a:pt x="45" y="61"/>
                  <a:pt x="45" y="61"/>
                </a:cubicBezTo>
                <a:cubicBezTo>
                  <a:pt x="46" y="60"/>
                  <a:pt x="46" y="60"/>
                  <a:pt x="47" y="61"/>
                </a:cubicBezTo>
                <a:cubicBezTo>
                  <a:pt x="47" y="60"/>
                  <a:pt x="47" y="61"/>
                  <a:pt x="47" y="60"/>
                </a:cubicBezTo>
                <a:cubicBezTo>
                  <a:pt x="48" y="60"/>
                  <a:pt x="47" y="59"/>
                  <a:pt x="47" y="59"/>
                </a:cubicBezTo>
                <a:cubicBezTo>
                  <a:pt x="46" y="59"/>
                  <a:pt x="47" y="60"/>
                  <a:pt x="47" y="60"/>
                </a:cubicBezTo>
                <a:cubicBezTo>
                  <a:pt x="47" y="60"/>
                  <a:pt x="46" y="60"/>
                  <a:pt x="46" y="60"/>
                </a:cubicBezTo>
                <a:cubicBezTo>
                  <a:pt x="46" y="60"/>
                  <a:pt x="45" y="60"/>
                  <a:pt x="45" y="60"/>
                </a:cubicBezTo>
                <a:cubicBezTo>
                  <a:pt x="45" y="60"/>
                  <a:pt x="45" y="60"/>
                  <a:pt x="45" y="60"/>
                </a:cubicBezTo>
                <a:cubicBezTo>
                  <a:pt x="45" y="61"/>
                  <a:pt x="44" y="60"/>
                  <a:pt x="43" y="60"/>
                </a:cubicBezTo>
                <a:cubicBezTo>
                  <a:pt x="43" y="60"/>
                  <a:pt x="42" y="60"/>
                  <a:pt x="42" y="60"/>
                </a:cubicBezTo>
                <a:cubicBezTo>
                  <a:pt x="42" y="60"/>
                  <a:pt x="42" y="60"/>
                  <a:pt x="41" y="60"/>
                </a:cubicBezTo>
                <a:cubicBezTo>
                  <a:pt x="41" y="60"/>
                  <a:pt x="41" y="60"/>
                  <a:pt x="41" y="60"/>
                </a:cubicBezTo>
                <a:cubicBezTo>
                  <a:pt x="41" y="60"/>
                  <a:pt x="40" y="60"/>
                  <a:pt x="40" y="60"/>
                </a:cubicBezTo>
                <a:cubicBezTo>
                  <a:pt x="40" y="60"/>
                  <a:pt x="40" y="60"/>
                  <a:pt x="39" y="60"/>
                </a:cubicBezTo>
                <a:cubicBezTo>
                  <a:pt x="39" y="61"/>
                  <a:pt x="38" y="61"/>
                  <a:pt x="38" y="61"/>
                </a:cubicBezTo>
                <a:cubicBezTo>
                  <a:pt x="38" y="61"/>
                  <a:pt x="38" y="60"/>
                  <a:pt x="38" y="60"/>
                </a:cubicBezTo>
                <a:cubicBezTo>
                  <a:pt x="38" y="60"/>
                  <a:pt x="38" y="60"/>
                  <a:pt x="38" y="60"/>
                </a:cubicBezTo>
                <a:cubicBezTo>
                  <a:pt x="38" y="61"/>
                  <a:pt x="36" y="61"/>
                  <a:pt x="37" y="61"/>
                </a:cubicBezTo>
                <a:cubicBezTo>
                  <a:pt x="37" y="62"/>
                  <a:pt x="37" y="61"/>
                  <a:pt x="38" y="61"/>
                </a:cubicBezTo>
                <a:cubicBezTo>
                  <a:pt x="38" y="61"/>
                  <a:pt x="39" y="61"/>
                  <a:pt x="39" y="61"/>
                </a:cubicBezTo>
                <a:cubicBezTo>
                  <a:pt x="39" y="61"/>
                  <a:pt x="39" y="61"/>
                  <a:pt x="39" y="61"/>
                </a:cubicBezTo>
                <a:cubicBezTo>
                  <a:pt x="40" y="61"/>
                  <a:pt x="40" y="61"/>
                  <a:pt x="41" y="61"/>
                </a:cubicBezTo>
                <a:cubicBezTo>
                  <a:pt x="41" y="60"/>
                  <a:pt x="42" y="61"/>
                  <a:pt x="43" y="60"/>
                </a:cubicBezTo>
                <a:cubicBezTo>
                  <a:pt x="43" y="60"/>
                  <a:pt x="44" y="60"/>
                  <a:pt x="44" y="60"/>
                </a:cubicBezTo>
                <a:cubicBezTo>
                  <a:pt x="44" y="61"/>
                  <a:pt x="44" y="61"/>
                  <a:pt x="45" y="61"/>
                </a:cubicBezTo>
                <a:cubicBezTo>
                  <a:pt x="43" y="61"/>
                  <a:pt x="41" y="61"/>
                  <a:pt x="40" y="61"/>
                </a:cubicBezTo>
                <a:cubicBezTo>
                  <a:pt x="39" y="61"/>
                  <a:pt x="35" y="63"/>
                  <a:pt x="35" y="61"/>
                </a:cubicBezTo>
                <a:cubicBezTo>
                  <a:pt x="35" y="61"/>
                  <a:pt x="34" y="61"/>
                  <a:pt x="34" y="61"/>
                </a:cubicBezTo>
                <a:cubicBezTo>
                  <a:pt x="34" y="61"/>
                  <a:pt x="34" y="61"/>
                  <a:pt x="33" y="61"/>
                </a:cubicBezTo>
                <a:cubicBezTo>
                  <a:pt x="33" y="61"/>
                  <a:pt x="32" y="61"/>
                  <a:pt x="32" y="61"/>
                </a:cubicBezTo>
                <a:cubicBezTo>
                  <a:pt x="32" y="61"/>
                  <a:pt x="32" y="61"/>
                  <a:pt x="32" y="61"/>
                </a:cubicBezTo>
                <a:cubicBezTo>
                  <a:pt x="32" y="62"/>
                  <a:pt x="32" y="61"/>
                  <a:pt x="32" y="62"/>
                </a:cubicBezTo>
                <a:cubicBezTo>
                  <a:pt x="31" y="62"/>
                  <a:pt x="31" y="62"/>
                  <a:pt x="31" y="61"/>
                </a:cubicBezTo>
                <a:cubicBezTo>
                  <a:pt x="31" y="62"/>
                  <a:pt x="32" y="62"/>
                  <a:pt x="32" y="62"/>
                </a:cubicBezTo>
                <a:cubicBezTo>
                  <a:pt x="32" y="62"/>
                  <a:pt x="32" y="62"/>
                  <a:pt x="32" y="62"/>
                </a:cubicBezTo>
                <a:cubicBezTo>
                  <a:pt x="32" y="62"/>
                  <a:pt x="33" y="61"/>
                  <a:pt x="33" y="61"/>
                </a:cubicBezTo>
                <a:cubicBezTo>
                  <a:pt x="33" y="61"/>
                  <a:pt x="33" y="61"/>
                  <a:pt x="33" y="61"/>
                </a:cubicBezTo>
                <a:cubicBezTo>
                  <a:pt x="33" y="61"/>
                  <a:pt x="34" y="62"/>
                  <a:pt x="34" y="61"/>
                </a:cubicBezTo>
                <a:cubicBezTo>
                  <a:pt x="34" y="61"/>
                  <a:pt x="35" y="61"/>
                  <a:pt x="35" y="61"/>
                </a:cubicBezTo>
                <a:cubicBezTo>
                  <a:pt x="36" y="62"/>
                  <a:pt x="34" y="62"/>
                  <a:pt x="34" y="62"/>
                </a:cubicBezTo>
                <a:cubicBezTo>
                  <a:pt x="33" y="62"/>
                  <a:pt x="32" y="62"/>
                  <a:pt x="31" y="62"/>
                </a:cubicBezTo>
                <a:cubicBezTo>
                  <a:pt x="31" y="62"/>
                  <a:pt x="30" y="62"/>
                  <a:pt x="30" y="62"/>
                </a:cubicBezTo>
                <a:cubicBezTo>
                  <a:pt x="30" y="63"/>
                  <a:pt x="28" y="63"/>
                  <a:pt x="28" y="63"/>
                </a:cubicBezTo>
                <a:cubicBezTo>
                  <a:pt x="27" y="63"/>
                  <a:pt x="27" y="63"/>
                  <a:pt x="26" y="63"/>
                </a:cubicBezTo>
                <a:cubicBezTo>
                  <a:pt x="24" y="64"/>
                  <a:pt x="24" y="64"/>
                  <a:pt x="23" y="65"/>
                </a:cubicBezTo>
                <a:cubicBezTo>
                  <a:pt x="21" y="65"/>
                  <a:pt x="19" y="66"/>
                  <a:pt x="17" y="67"/>
                </a:cubicBezTo>
                <a:cubicBezTo>
                  <a:pt x="16" y="67"/>
                  <a:pt x="16" y="68"/>
                  <a:pt x="15" y="68"/>
                </a:cubicBezTo>
                <a:cubicBezTo>
                  <a:pt x="15" y="69"/>
                  <a:pt x="14" y="69"/>
                  <a:pt x="13" y="69"/>
                </a:cubicBezTo>
                <a:cubicBezTo>
                  <a:pt x="13" y="69"/>
                  <a:pt x="10" y="72"/>
                  <a:pt x="10" y="70"/>
                </a:cubicBezTo>
                <a:cubicBezTo>
                  <a:pt x="10" y="69"/>
                  <a:pt x="11" y="67"/>
                  <a:pt x="10" y="66"/>
                </a:cubicBezTo>
                <a:cubicBezTo>
                  <a:pt x="10" y="65"/>
                  <a:pt x="10" y="65"/>
                  <a:pt x="10" y="64"/>
                </a:cubicBezTo>
                <a:cubicBezTo>
                  <a:pt x="11" y="64"/>
                  <a:pt x="10" y="63"/>
                  <a:pt x="10" y="63"/>
                </a:cubicBezTo>
                <a:cubicBezTo>
                  <a:pt x="10" y="62"/>
                  <a:pt x="11" y="62"/>
                  <a:pt x="11" y="62"/>
                </a:cubicBezTo>
                <a:cubicBezTo>
                  <a:pt x="11" y="61"/>
                  <a:pt x="11" y="60"/>
                  <a:pt x="12" y="60"/>
                </a:cubicBezTo>
                <a:cubicBezTo>
                  <a:pt x="12" y="60"/>
                  <a:pt x="12" y="60"/>
                  <a:pt x="12" y="60"/>
                </a:cubicBezTo>
                <a:cubicBezTo>
                  <a:pt x="12" y="60"/>
                  <a:pt x="12" y="60"/>
                  <a:pt x="12" y="60"/>
                </a:cubicBezTo>
                <a:cubicBezTo>
                  <a:pt x="12" y="59"/>
                  <a:pt x="12" y="60"/>
                  <a:pt x="12" y="59"/>
                </a:cubicBezTo>
                <a:cubicBezTo>
                  <a:pt x="11" y="59"/>
                  <a:pt x="12" y="58"/>
                  <a:pt x="12" y="58"/>
                </a:cubicBezTo>
                <a:cubicBezTo>
                  <a:pt x="12" y="57"/>
                  <a:pt x="12" y="57"/>
                  <a:pt x="12" y="56"/>
                </a:cubicBezTo>
                <a:cubicBezTo>
                  <a:pt x="12" y="56"/>
                  <a:pt x="12" y="55"/>
                  <a:pt x="12" y="55"/>
                </a:cubicBezTo>
                <a:cubicBezTo>
                  <a:pt x="12" y="55"/>
                  <a:pt x="12" y="54"/>
                  <a:pt x="11" y="54"/>
                </a:cubicBezTo>
                <a:cubicBezTo>
                  <a:pt x="11" y="54"/>
                  <a:pt x="11" y="54"/>
                  <a:pt x="11" y="54"/>
                </a:cubicBezTo>
                <a:cubicBezTo>
                  <a:pt x="11" y="54"/>
                  <a:pt x="11" y="54"/>
                  <a:pt x="11" y="54"/>
                </a:cubicBezTo>
                <a:cubicBezTo>
                  <a:pt x="11" y="54"/>
                  <a:pt x="10" y="54"/>
                  <a:pt x="10" y="54"/>
                </a:cubicBezTo>
                <a:cubicBezTo>
                  <a:pt x="10" y="53"/>
                  <a:pt x="9" y="53"/>
                  <a:pt x="9" y="53"/>
                </a:cubicBezTo>
                <a:cubicBezTo>
                  <a:pt x="9" y="54"/>
                  <a:pt x="8" y="53"/>
                  <a:pt x="8" y="52"/>
                </a:cubicBezTo>
                <a:cubicBezTo>
                  <a:pt x="8" y="52"/>
                  <a:pt x="8" y="51"/>
                  <a:pt x="8" y="51"/>
                </a:cubicBezTo>
                <a:cubicBezTo>
                  <a:pt x="7" y="51"/>
                  <a:pt x="8" y="50"/>
                  <a:pt x="8" y="50"/>
                </a:cubicBezTo>
                <a:cubicBezTo>
                  <a:pt x="7" y="49"/>
                  <a:pt x="6" y="49"/>
                  <a:pt x="6" y="49"/>
                </a:cubicBezTo>
                <a:cubicBezTo>
                  <a:pt x="5" y="49"/>
                  <a:pt x="5" y="49"/>
                  <a:pt x="4" y="49"/>
                </a:cubicBezTo>
                <a:cubicBezTo>
                  <a:pt x="3" y="49"/>
                  <a:pt x="2" y="48"/>
                  <a:pt x="2" y="48"/>
                </a:cubicBezTo>
                <a:cubicBezTo>
                  <a:pt x="2" y="48"/>
                  <a:pt x="2" y="48"/>
                  <a:pt x="2" y="48"/>
                </a:cubicBezTo>
                <a:cubicBezTo>
                  <a:pt x="2" y="47"/>
                  <a:pt x="2" y="47"/>
                  <a:pt x="2" y="47"/>
                </a:cubicBezTo>
                <a:cubicBezTo>
                  <a:pt x="2" y="48"/>
                  <a:pt x="0" y="47"/>
                  <a:pt x="0" y="47"/>
                </a:cubicBezTo>
                <a:cubicBezTo>
                  <a:pt x="1" y="46"/>
                  <a:pt x="1" y="46"/>
                  <a:pt x="1" y="46"/>
                </a:cubicBezTo>
                <a:cubicBezTo>
                  <a:pt x="2" y="46"/>
                  <a:pt x="2" y="45"/>
                  <a:pt x="2" y="45"/>
                </a:cubicBezTo>
                <a:cubicBezTo>
                  <a:pt x="2" y="44"/>
                  <a:pt x="3" y="44"/>
                  <a:pt x="3" y="43"/>
                </a:cubicBezTo>
                <a:cubicBezTo>
                  <a:pt x="3" y="43"/>
                  <a:pt x="3" y="42"/>
                  <a:pt x="3" y="42"/>
                </a:cubicBezTo>
                <a:cubicBezTo>
                  <a:pt x="4" y="41"/>
                  <a:pt x="3" y="40"/>
                  <a:pt x="3" y="40"/>
                </a:cubicBezTo>
                <a:cubicBezTo>
                  <a:pt x="4" y="39"/>
                  <a:pt x="3" y="39"/>
                  <a:pt x="3" y="38"/>
                </a:cubicBezTo>
                <a:cubicBezTo>
                  <a:pt x="2" y="38"/>
                  <a:pt x="2" y="37"/>
                  <a:pt x="2" y="36"/>
                </a:cubicBezTo>
                <a:cubicBezTo>
                  <a:pt x="2" y="36"/>
                  <a:pt x="2" y="35"/>
                  <a:pt x="2" y="35"/>
                </a:cubicBezTo>
                <a:cubicBezTo>
                  <a:pt x="2" y="34"/>
                  <a:pt x="2" y="35"/>
                  <a:pt x="3" y="35"/>
                </a:cubicBezTo>
                <a:cubicBezTo>
                  <a:pt x="3" y="35"/>
                  <a:pt x="4" y="36"/>
                  <a:pt x="4" y="35"/>
                </a:cubicBezTo>
                <a:cubicBezTo>
                  <a:pt x="4" y="34"/>
                  <a:pt x="6" y="33"/>
                  <a:pt x="5" y="32"/>
                </a:cubicBezTo>
                <a:cubicBezTo>
                  <a:pt x="5" y="32"/>
                  <a:pt x="6" y="31"/>
                  <a:pt x="6" y="30"/>
                </a:cubicBezTo>
                <a:cubicBezTo>
                  <a:pt x="6" y="30"/>
                  <a:pt x="6" y="30"/>
                  <a:pt x="7" y="30"/>
                </a:cubicBezTo>
                <a:cubicBezTo>
                  <a:pt x="7" y="30"/>
                  <a:pt x="6" y="29"/>
                  <a:pt x="6" y="29"/>
                </a:cubicBezTo>
                <a:cubicBezTo>
                  <a:pt x="6" y="29"/>
                  <a:pt x="6" y="28"/>
                  <a:pt x="6" y="28"/>
                </a:cubicBezTo>
                <a:cubicBezTo>
                  <a:pt x="6" y="28"/>
                  <a:pt x="5" y="28"/>
                  <a:pt x="5" y="28"/>
                </a:cubicBezTo>
                <a:cubicBezTo>
                  <a:pt x="5" y="28"/>
                  <a:pt x="4" y="28"/>
                  <a:pt x="4" y="28"/>
                </a:cubicBezTo>
                <a:cubicBezTo>
                  <a:pt x="4" y="27"/>
                  <a:pt x="4" y="26"/>
                  <a:pt x="4" y="26"/>
                </a:cubicBezTo>
                <a:cubicBezTo>
                  <a:pt x="4" y="25"/>
                  <a:pt x="5" y="25"/>
                  <a:pt x="5" y="25"/>
                </a:cubicBezTo>
                <a:cubicBezTo>
                  <a:pt x="5" y="25"/>
                  <a:pt x="6" y="25"/>
                  <a:pt x="6" y="25"/>
                </a:cubicBezTo>
                <a:cubicBezTo>
                  <a:pt x="6" y="25"/>
                  <a:pt x="7" y="25"/>
                  <a:pt x="7" y="25"/>
                </a:cubicBezTo>
                <a:cubicBezTo>
                  <a:pt x="7" y="25"/>
                  <a:pt x="7" y="26"/>
                  <a:pt x="8" y="26"/>
                </a:cubicBezTo>
                <a:cubicBezTo>
                  <a:pt x="8" y="25"/>
                  <a:pt x="8" y="25"/>
                  <a:pt x="8" y="25"/>
                </a:cubicBezTo>
                <a:cubicBezTo>
                  <a:pt x="9" y="26"/>
                  <a:pt x="9" y="26"/>
                  <a:pt x="9" y="26"/>
                </a:cubicBezTo>
                <a:cubicBezTo>
                  <a:pt x="10" y="26"/>
                  <a:pt x="9" y="23"/>
                  <a:pt x="9" y="23"/>
                </a:cubicBezTo>
                <a:cubicBezTo>
                  <a:pt x="9" y="23"/>
                  <a:pt x="9" y="22"/>
                  <a:pt x="8" y="22"/>
                </a:cubicBezTo>
                <a:cubicBezTo>
                  <a:pt x="8" y="22"/>
                  <a:pt x="7" y="22"/>
                  <a:pt x="7" y="21"/>
                </a:cubicBezTo>
                <a:cubicBezTo>
                  <a:pt x="7" y="20"/>
                  <a:pt x="7" y="19"/>
                  <a:pt x="8" y="19"/>
                </a:cubicBezTo>
                <a:cubicBezTo>
                  <a:pt x="10" y="18"/>
                  <a:pt x="7" y="18"/>
                  <a:pt x="7" y="17"/>
                </a:cubicBezTo>
                <a:cubicBezTo>
                  <a:pt x="7" y="16"/>
                  <a:pt x="9" y="14"/>
                  <a:pt x="7" y="15"/>
                </a:cubicBezTo>
                <a:cubicBezTo>
                  <a:pt x="5" y="16"/>
                  <a:pt x="5" y="12"/>
                  <a:pt x="5" y="11"/>
                </a:cubicBezTo>
                <a:cubicBezTo>
                  <a:pt x="5" y="11"/>
                  <a:pt x="6" y="10"/>
                  <a:pt x="5" y="10"/>
                </a:cubicBezTo>
                <a:cubicBezTo>
                  <a:pt x="5" y="9"/>
                  <a:pt x="5" y="9"/>
                  <a:pt x="5" y="9"/>
                </a:cubicBezTo>
                <a:cubicBezTo>
                  <a:pt x="5" y="9"/>
                  <a:pt x="5" y="8"/>
                  <a:pt x="5" y="8"/>
                </a:cubicBezTo>
                <a:cubicBezTo>
                  <a:pt x="5" y="8"/>
                  <a:pt x="6" y="8"/>
                  <a:pt x="6" y="8"/>
                </a:cubicBezTo>
                <a:cubicBezTo>
                  <a:pt x="6" y="7"/>
                  <a:pt x="6" y="7"/>
                  <a:pt x="7" y="7"/>
                </a:cubicBezTo>
                <a:cubicBezTo>
                  <a:pt x="7" y="6"/>
                  <a:pt x="7" y="7"/>
                  <a:pt x="7" y="7"/>
                </a:cubicBezTo>
                <a:cubicBezTo>
                  <a:pt x="8" y="6"/>
                  <a:pt x="8" y="6"/>
                  <a:pt x="9" y="6"/>
                </a:cubicBezTo>
                <a:cubicBezTo>
                  <a:pt x="9" y="5"/>
                  <a:pt x="9" y="5"/>
                  <a:pt x="9" y="5"/>
                </a:cubicBezTo>
                <a:cubicBezTo>
                  <a:pt x="9" y="5"/>
                  <a:pt x="9" y="4"/>
                  <a:pt x="10" y="4"/>
                </a:cubicBezTo>
                <a:cubicBezTo>
                  <a:pt x="10" y="3"/>
                  <a:pt x="11" y="4"/>
                  <a:pt x="11" y="4"/>
                </a:cubicBezTo>
                <a:cubicBezTo>
                  <a:pt x="12" y="3"/>
                  <a:pt x="12" y="3"/>
                  <a:pt x="12" y="4"/>
                </a:cubicBezTo>
                <a:cubicBezTo>
                  <a:pt x="12" y="4"/>
                  <a:pt x="12" y="5"/>
                  <a:pt x="13" y="5"/>
                </a:cubicBezTo>
                <a:cubicBezTo>
                  <a:pt x="13" y="4"/>
                  <a:pt x="13" y="5"/>
                  <a:pt x="13" y="6"/>
                </a:cubicBezTo>
                <a:cubicBezTo>
                  <a:pt x="14" y="6"/>
                  <a:pt x="15" y="6"/>
                  <a:pt x="15" y="6"/>
                </a:cubicBezTo>
                <a:cubicBezTo>
                  <a:pt x="16" y="6"/>
                  <a:pt x="16" y="7"/>
                  <a:pt x="17" y="6"/>
                </a:cubicBezTo>
                <a:cubicBezTo>
                  <a:pt x="17" y="6"/>
                  <a:pt x="16" y="5"/>
                  <a:pt x="17" y="5"/>
                </a:cubicBezTo>
                <a:cubicBezTo>
                  <a:pt x="17" y="4"/>
                  <a:pt x="17" y="5"/>
                  <a:pt x="18" y="4"/>
                </a:cubicBezTo>
                <a:cubicBezTo>
                  <a:pt x="18" y="4"/>
                  <a:pt x="19" y="5"/>
                  <a:pt x="20" y="4"/>
                </a:cubicBezTo>
                <a:cubicBezTo>
                  <a:pt x="20" y="4"/>
                  <a:pt x="19" y="1"/>
                  <a:pt x="20" y="1"/>
                </a:cubicBezTo>
                <a:cubicBezTo>
                  <a:pt x="21" y="1"/>
                  <a:pt x="21" y="3"/>
                  <a:pt x="22" y="2"/>
                </a:cubicBezTo>
                <a:cubicBezTo>
                  <a:pt x="23" y="2"/>
                  <a:pt x="21" y="1"/>
                  <a:pt x="22" y="1"/>
                </a:cubicBezTo>
                <a:cubicBezTo>
                  <a:pt x="22" y="1"/>
                  <a:pt x="23" y="1"/>
                  <a:pt x="23" y="1"/>
                </a:cubicBezTo>
                <a:cubicBezTo>
                  <a:pt x="23" y="1"/>
                  <a:pt x="23" y="0"/>
                  <a:pt x="24" y="0"/>
                </a:cubicBezTo>
                <a:cubicBezTo>
                  <a:pt x="24" y="0"/>
                  <a:pt x="24" y="1"/>
                  <a:pt x="24" y="1"/>
                </a:cubicBezTo>
                <a:cubicBezTo>
                  <a:pt x="24" y="1"/>
                  <a:pt x="23" y="2"/>
                  <a:pt x="24" y="3"/>
                </a:cubicBezTo>
                <a:cubicBezTo>
                  <a:pt x="24" y="3"/>
                  <a:pt x="24" y="3"/>
                  <a:pt x="24" y="3"/>
                </a:cubicBezTo>
                <a:cubicBezTo>
                  <a:pt x="24" y="3"/>
                  <a:pt x="24" y="4"/>
                  <a:pt x="24" y="4"/>
                </a:cubicBezTo>
                <a:cubicBezTo>
                  <a:pt x="24" y="4"/>
                  <a:pt x="24" y="4"/>
                  <a:pt x="24" y="5"/>
                </a:cubicBezTo>
                <a:cubicBezTo>
                  <a:pt x="24" y="5"/>
                  <a:pt x="24" y="5"/>
                  <a:pt x="24" y="5"/>
                </a:cubicBezTo>
                <a:cubicBezTo>
                  <a:pt x="23" y="5"/>
                  <a:pt x="25" y="6"/>
                  <a:pt x="25" y="6"/>
                </a:cubicBezTo>
                <a:cubicBezTo>
                  <a:pt x="26" y="6"/>
                  <a:pt x="26" y="6"/>
                  <a:pt x="26" y="5"/>
                </a:cubicBezTo>
                <a:cubicBezTo>
                  <a:pt x="27" y="5"/>
                  <a:pt x="27" y="6"/>
                  <a:pt x="27" y="5"/>
                </a:cubicBezTo>
                <a:cubicBezTo>
                  <a:pt x="27" y="5"/>
                  <a:pt x="27" y="4"/>
                  <a:pt x="27" y="4"/>
                </a:cubicBezTo>
                <a:cubicBezTo>
                  <a:pt x="28" y="4"/>
                  <a:pt x="29" y="3"/>
                  <a:pt x="30" y="3"/>
                </a:cubicBezTo>
                <a:cubicBezTo>
                  <a:pt x="31" y="3"/>
                  <a:pt x="31" y="5"/>
                  <a:pt x="32" y="5"/>
                </a:cubicBezTo>
                <a:cubicBezTo>
                  <a:pt x="32" y="5"/>
                  <a:pt x="32" y="5"/>
                  <a:pt x="33" y="5"/>
                </a:cubicBezTo>
                <a:cubicBezTo>
                  <a:pt x="33" y="5"/>
                  <a:pt x="33" y="5"/>
                  <a:pt x="34" y="5"/>
                </a:cubicBezTo>
                <a:cubicBezTo>
                  <a:pt x="34" y="5"/>
                  <a:pt x="34" y="5"/>
                  <a:pt x="35" y="5"/>
                </a:cubicBezTo>
                <a:cubicBezTo>
                  <a:pt x="35" y="6"/>
                  <a:pt x="34" y="6"/>
                  <a:pt x="35" y="6"/>
                </a:cubicBezTo>
                <a:cubicBezTo>
                  <a:pt x="35" y="6"/>
                  <a:pt x="35" y="7"/>
                  <a:pt x="35" y="7"/>
                </a:cubicBezTo>
                <a:cubicBezTo>
                  <a:pt x="35" y="7"/>
                  <a:pt x="35" y="7"/>
                  <a:pt x="35" y="8"/>
                </a:cubicBezTo>
                <a:cubicBezTo>
                  <a:pt x="36" y="8"/>
                  <a:pt x="36" y="8"/>
                  <a:pt x="36" y="9"/>
                </a:cubicBezTo>
                <a:cubicBezTo>
                  <a:pt x="36" y="10"/>
                  <a:pt x="36" y="10"/>
                  <a:pt x="37" y="10"/>
                </a:cubicBezTo>
                <a:cubicBezTo>
                  <a:pt x="38" y="10"/>
                  <a:pt x="37" y="11"/>
                  <a:pt x="38" y="11"/>
                </a:cubicBezTo>
                <a:cubicBezTo>
                  <a:pt x="38" y="11"/>
                  <a:pt x="38" y="12"/>
                  <a:pt x="39" y="12"/>
                </a:cubicBezTo>
                <a:cubicBezTo>
                  <a:pt x="39" y="12"/>
                  <a:pt x="39" y="12"/>
                  <a:pt x="39" y="12"/>
                </a:cubicBezTo>
                <a:cubicBezTo>
                  <a:pt x="39" y="11"/>
                  <a:pt x="40" y="12"/>
                  <a:pt x="40" y="12"/>
                </a:cubicBezTo>
                <a:cubicBezTo>
                  <a:pt x="40" y="11"/>
                  <a:pt x="40" y="11"/>
                  <a:pt x="40" y="12"/>
                </a:cubicBezTo>
                <a:cubicBezTo>
                  <a:pt x="40" y="13"/>
                  <a:pt x="41" y="12"/>
                  <a:pt x="41" y="12"/>
                </a:cubicBezTo>
                <a:cubicBezTo>
                  <a:pt x="41" y="13"/>
                  <a:pt x="41" y="13"/>
                  <a:pt x="42" y="13"/>
                </a:cubicBezTo>
                <a:cubicBezTo>
                  <a:pt x="42" y="12"/>
                  <a:pt x="42" y="13"/>
                  <a:pt x="42" y="12"/>
                </a:cubicBezTo>
                <a:cubicBezTo>
                  <a:pt x="42" y="11"/>
                  <a:pt x="43" y="11"/>
                  <a:pt x="44" y="11"/>
                </a:cubicBezTo>
                <a:cubicBezTo>
                  <a:pt x="44" y="10"/>
                  <a:pt x="44" y="11"/>
                  <a:pt x="45" y="11"/>
                </a:cubicBezTo>
                <a:cubicBezTo>
                  <a:pt x="45" y="11"/>
                  <a:pt x="45" y="10"/>
                  <a:pt x="46" y="10"/>
                </a:cubicBezTo>
                <a:cubicBezTo>
                  <a:pt x="46" y="10"/>
                  <a:pt x="48" y="9"/>
                  <a:pt x="48" y="9"/>
                </a:cubicBezTo>
                <a:cubicBezTo>
                  <a:pt x="49" y="9"/>
                  <a:pt x="51" y="9"/>
                  <a:pt x="52" y="9"/>
                </a:cubicBezTo>
                <a:cubicBezTo>
                  <a:pt x="52" y="9"/>
                  <a:pt x="52" y="9"/>
                  <a:pt x="52" y="10"/>
                </a:cubicBezTo>
                <a:cubicBezTo>
                  <a:pt x="52" y="10"/>
                  <a:pt x="52" y="10"/>
                  <a:pt x="52" y="10"/>
                </a:cubicBezTo>
                <a:cubicBezTo>
                  <a:pt x="53" y="10"/>
                  <a:pt x="53" y="9"/>
                  <a:pt x="53" y="9"/>
                </a:cubicBezTo>
                <a:cubicBezTo>
                  <a:pt x="53" y="9"/>
                  <a:pt x="53" y="10"/>
                  <a:pt x="53" y="10"/>
                </a:cubicBezTo>
                <a:cubicBezTo>
                  <a:pt x="53" y="10"/>
                  <a:pt x="53" y="10"/>
                  <a:pt x="54" y="10"/>
                </a:cubicBezTo>
                <a:cubicBezTo>
                  <a:pt x="54" y="11"/>
                  <a:pt x="54" y="11"/>
                  <a:pt x="54" y="11"/>
                </a:cubicBezTo>
                <a:cubicBezTo>
                  <a:pt x="55" y="11"/>
                  <a:pt x="55" y="11"/>
                  <a:pt x="55" y="12"/>
                </a:cubicBezTo>
                <a:cubicBezTo>
                  <a:pt x="56" y="13"/>
                  <a:pt x="56" y="14"/>
                  <a:pt x="57" y="14"/>
                </a:cubicBezTo>
                <a:cubicBezTo>
                  <a:pt x="57" y="15"/>
                  <a:pt x="57" y="15"/>
                  <a:pt x="58" y="14"/>
                </a:cubicBezTo>
                <a:cubicBezTo>
                  <a:pt x="58" y="15"/>
                  <a:pt x="57" y="16"/>
                  <a:pt x="58" y="16"/>
                </a:cubicBezTo>
                <a:cubicBezTo>
                  <a:pt x="58" y="16"/>
                  <a:pt x="57" y="18"/>
                  <a:pt x="57" y="18"/>
                </a:cubicBezTo>
                <a:cubicBezTo>
                  <a:pt x="57" y="19"/>
                  <a:pt x="58" y="19"/>
                  <a:pt x="58" y="19"/>
                </a:cubicBezTo>
                <a:cubicBezTo>
                  <a:pt x="58" y="20"/>
                  <a:pt x="59" y="21"/>
                  <a:pt x="58" y="22"/>
                </a:cubicBezTo>
                <a:cubicBezTo>
                  <a:pt x="59" y="22"/>
                  <a:pt x="59" y="25"/>
                  <a:pt x="59" y="26"/>
                </a:cubicBezTo>
                <a:cubicBezTo>
                  <a:pt x="59" y="26"/>
                  <a:pt x="60" y="27"/>
                  <a:pt x="60" y="28"/>
                </a:cubicBezTo>
                <a:cubicBezTo>
                  <a:pt x="60" y="29"/>
                  <a:pt x="59" y="28"/>
                  <a:pt x="59" y="29"/>
                </a:cubicBezTo>
                <a:close/>
                <a:moveTo>
                  <a:pt x="52" y="62"/>
                </a:moveTo>
                <a:cubicBezTo>
                  <a:pt x="51" y="62"/>
                  <a:pt x="53" y="62"/>
                  <a:pt x="53" y="62"/>
                </a:cubicBezTo>
                <a:cubicBezTo>
                  <a:pt x="53" y="62"/>
                  <a:pt x="52" y="62"/>
                  <a:pt x="52" y="6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0" name="Costa Rica"/>
          <p:cNvSpPr>
            <a:spLocks/>
          </p:cNvSpPr>
          <p:nvPr/>
        </p:nvSpPr>
        <p:spPr bwMode="auto">
          <a:xfrm>
            <a:off x="2797195" y="4218954"/>
            <a:ext cx="115996" cy="125995"/>
          </a:xfrm>
          <a:custGeom>
            <a:avLst/>
            <a:gdLst/>
            <a:ahLst/>
            <a:cxnLst>
              <a:cxn ang="0">
                <a:pos x="29" y="16"/>
              </a:cxn>
              <a:cxn ang="0">
                <a:pos x="27" y="13"/>
              </a:cxn>
              <a:cxn ang="0">
                <a:pos x="25" y="11"/>
              </a:cxn>
              <a:cxn ang="0">
                <a:pos x="23" y="7"/>
              </a:cxn>
              <a:cxn ang="0">
                <a:pos x="23" y="5"/>
              </a:cxn>
              <a:cxn ang="0">
                <a:pos x="22" y="4"/>
              </a:cxn>
              <a:cxn ang="0">
                <a:pos x="23" y="4"/>
              </a:cxn>
              <a:cxn ang="0">
                <a:pos x="22" y="5"/>
              </a:cxn>
              <a:cxn ang="0">
                <a:pos x="19" y="5"/>
              </a:cxn>
              <a:cxn ang="0">
                <a:pos x="16" y="3"/>
              </a:cxn>
              <a:cxn ang="0">
                <a:pos x="16" y="3"/>
              </a:cxn>
              <a:cxn ang="0">
                <a:pos x="14" y="2"/>
              </a:cxn>
              <a:cxn ang="0">
                <a:pos x="11" y="3"/>
              </a:cxn>
              <a:cxn ang="0">
                <a:pos x="5" y="1"/>
              </a:cxn>
              <a:cxn ang="0">
                <a:pos x="3" y="2"/>
              </a:cxn>
              <a:cxn ang="0">
                <a:pos x="2" y="3"/>
              </a:cxn>
              <a:cxn ang="0">
                <a:pos x="1" y="3"/>
              </a:cxn>
              <a:cxn ang="0">
                <a:pos x="1" y="3"/>
              </a:cxn>
              <a:cxn ang="0">
                <a:pos x="2" y="4"/>
              </a:cxn>
              <a:cxn ang="0">
                <a:pos x="2" y="4"/>
              </a:cxn>
              <a:cxn ang="0">
                <a:pos x="3" y="6"/>
              </a:cxn>
              <a:cxn ang="0">
                <a:pos x="1" y="9"/>
              </a:cxn>
              <a:cxn ang="0">
                <a:pos x="1" y="12"/>
              </a:cxn>
              <a:cxn ang="0">
                <a:pos x="3" y="15"/>
              </a:cxn>
              <a:cxn ang="0">
                <a:pos x="6" y="16"/>
              </a:cxn>
              <a:cxn ang="0">
                <a:pos x="7" y="18"/>
              </a:cxn>
              <a:cxn ang="0">
                <a:pos x="8" y="17"/>
              </a:cxn>
              <a:cxn ang="0">
                <a:pos x="9" y="16"/>
              </a:cxn>
              <a:cxn ang="0">
                <a:pos x="9" y="15"/>
              </a:cxn>
              <a:cxn ang="0">
                <a:pos x="7" y="13"/>
              </a:cxn>
              <a:cxn ang="0">
                <a:pos x="6" y="12"/>
              </a:cxn>
              <a:cxn ang="0">
                <a:pos x="6" y="10"/>
              </a:cxn>
              <a:cxn ang="0">
                <a:pos x="8" y="12"/>
              </a:cxn>
              <a:cxn ang="0">
                <a:pos x="10" y="14"/>
              </a:cxn>
              <a:cxn ang="0">
                <a:pos x="11" y="15"/>
              </a:cxn>
              <a:cxn ang="0">
                <a:pos x="11" y="17"/>
              </a:cxn>
              <a:cxn ang="0">
                <a:pos x="16" y="19"/>
              </a:cxn>
              <a:cxn ang="0">
                <a:pos x="17" y="20"/>
              </a:cxn>
              <a:cxn ang="0">
                <a:pos x="20" y="22"/>
              </a:cxn>
              <a:cxn ang="0">
                <a:pos x="21" y="25"/>
              </a:cxn>
              <a:cxn ang="0">
                <a:pos x="21" y="26"/>
              </a:cxn>
              <a:cxn ang="0">
                <a:pos x="21" y="27"/>
              </a:cxn>
              <a:cxn ang="0">
                <a:pos x="20" y="28"/>
              </a:cxn>
              <a:cxn ang="0">
                <a:pos x="21" y="30"/>
              </a:cxn>
              <a:cxn ang="0">
                <a:pos x="24" y="31"/>
              </a:cxn>
              <a:cxn ang="0">
                <a:pos x="22" y="28"/>
              </a:cxn>
              <a:cxn ang="0">
                <a:pos x="24" y="28"/>
              </a:cxn>
              <a:cxn ang="0">
                <a:pos x="25" y="29"/>
              </a:cxn>
              <a:cxn ang="0">
                <a:pos x="26" y="30"/>
              </a:cxn>
              <a:cxn ang="0">
                <a:pos x="27" y="33"/>
              </a:cxn>
              <a:cxn ang="0">
                <a:pos x="27" y="35"/>
              </a:cxn>
              <a:cxn ang="0">
                <a:pos x="28" y="31"/>
              </a:cxn>
              <a:cxn ang="0">
                <a:pos x="28" y="27"/>
              </a:cxn>
              <a:cxn ang="0">
                <a:pos x="29" y="26"/>
              </a:cxn>
              <a:cxn ang="0">
                <a:pos x="28" y="24"/>
              </a:cxn>
              <a:cxn ang="0">
                <a:pos x="29" y="19"/>
              </a:cxn>
              <a:cxn ang="0">
                <a:pos x="30" y="19"/>
              </a:cxn>
              <a:cxn ang="0">
                <a:pos x="32" y="18"/>
              </a:cxn>
            </a:cxnLst>
            <a:rect l="0" t="0" r="r" b="b"/>
            <a:pathLst>
              <a:path w="32" h="35">
                <a:moveTo>
                  <a:pt x="31" y="17"/>
                </a:moveTo>
                <a:cubicBezTo>
                  <a:pt x="30" y="17"/>
                  <a:pt x="29" y="17"/>
                  <a:pt x="29" y="16"/>
                </a:cubicBezTo>
                <a:cubicBezTo>
                  <a:pt x="29" y="17"/>
                  <a:pt x="28" y="15"/>
                  <a:pt x="28" y="14"/>
                </a:cubicBezTo>
                <a:cubicBezTo>
                  <a:pt x="28" y="14"/>
                  <a:pt x="28" y="13"/>
                  <a:pt x="27" y="13"/>
                </a:cubicBezTo>
                <a:cubicBezTo>
                  <a:pt x="27" y="13"/>
                  <a:pt x="27" y="13"/>
                  <a:pt x="26" y="12"/>
                </a:cubicBezTo>
                <a:cubicBezTo>
                  <a:pt x="26" y="12"/>
                  <a:pt x="25" y="11"/>
                  <a:pt x="25" y="11"/>
                </a:cubicBezTo>
                <a:cubicBezTo>
                  <a:pt x="25" y="10"/>
                  <a:pt x="24" y="9"/>
                  <a:pt x="24" y="9"/>
                </a:cubicBezTo>
                <a:cubicBezTo>
                  <a:pt x="24" y="8"/>
                  <a:pt x="23" y="8"/>
                  <a:pt x="23" y="7"/>
                </a:cubicBezTo>
                <a:cubicBezTo>
                  <a:pt x="23" y="6"/>
                  <a:pt x="23" y="6"/>
                  <a:pt x="23" y="5"/>
                </a:cubicBezTo>
                <a:cubicBezTo>
                  <a:pt x="23" y="5"/>
                  <a:pt x="23" y="5"/>
                  <a:pt x="23" y="5"/>
                </a:cubicBezTo>
                <a:cubicBezTo>
                  <a:pt x="23" y="5"/>
                  <a:pt x="22" y="5"/>
                  <a:pt x="22" y="5"/>
                </a:cubicBezTo>
                <a:cubicBezTo>
                  <a:pt x="23" y="5"/>
                  <a:pt x="22" y="4"/>
                  <a:pt x="22" y="4"/>
                </a:cubicBezTo>
                <a:cubicBezTo>
                  <a:pt x="23" y="4"/>
                  <a:pt x="23" y="5"/>
                  <a:pt x="23" y="5"/>
                </a:cubicBezTo>
                <a:cubicBezTo>
                  <a:pt x="23" y="5"/>
                  <a:pt x="23" y="4"/>
                  <a:pt x="23" y="4"/>
                </a:cubicBezTo>
                <a:cubicBezTo>
                  <a:pt x="23" y="3"/>
                  <a:pt x="22" y="3"/>
                  <a:pt x="22" y="3"/>
                </a:cubicBezTo>
                <a:cubicBezTo>
                  <a:pt x="22" y="4"/>
                  <a:pt x="22" y="4"/>
                  <a:pt x="22" y="5"/>
                </a:cubicBezTo>
                <a:cubicBezTo>
                  <a:pt x="21" y="5"/>
                  <a:pt x="21" y="5"/>
                  <a:pt x="20" y="5"/>
                </a:cubicBezTo>
                <a:cubicBezTo>
                  <a:pt x="19" y="6"/>
                  <a:pt x="19" y="5"/>
                  <a:pt x="19" y="5"/>
                </a:cubicBezTo>
                <a:cubicBezTo>
                  <a:pt x="18" y="5"/>
                  <a:pt x="18" y="5"/>
                  <a:pt x="17" y="5"/>
                </a:cubicBezTo>
                <a:cubicBezTo>
                  <a:pt x="16" y="4"/>
                  <a:pt x="17" y="4"/>
                  <a:pt x="16" y="3"/>
                </a:cubicBezTo>
                <a:cubicBezTo>
                  <a:pt x="16" y="3"/>
                  <a:pt x="16" y="3"/>
                  <a:pt x="16" y="3"/>
                </a:cubicBezTo>
                <a:cubicBezTo>
                  <a:pt x="16" y="3"/>
                  <a:pt x="16" y="3"/>
                  <a:pt x="16" y="3"/>
                </a:cubicBezTo>
                <a:cubicBezTo>
                  <a:pt x="15" y="2"/>
                  <a:pt x="15" y="3"/>
                  <a:pt x="15" y="3"/>
                </a:cubicBezTo>
                <a:cubicBezTo>
                  <a:pt x="15" y="3"/>
                  <a:pt x="14" y="3"/>
                  <a:pt x="14" y="2"/>
                </a:cubicBezTo>
                <a:cubicBezTo>
                  <a:pt x="14" y="2"/>
                  <a:pt x="13" y="2"/>
                  <a:pt x="13" y="2"/>
                </a:cubicBezTo>
                <a:cubicBezTo>
                  <a:pt x="12" y="2"/>
                  <a:pt x="12" y="2"/>
                  <a:pt x="11" y="3"/>
                </a:cubicBezTo>
                <a:cubicBezTo>
                  <a:pt x="10" y="3"/>
                  <a:pt x="10" y="3"/>
                  <a:pt x="9" y="3"/>
                </a:cubicBezTo>
                <a:cubicBezTo>
                  <a:pt x="8" y="2"/>
                  <a:pt x="6" y="1"/>
                  <a:pt x="5" y="1"/>
                </a:cubicBezTo>
                <a:cubicBezTo>
                  <a:pt x="4" y="1"/>
                  <a:pt x="4" y="0"/>
                  <a:pt x="3" y="0"/>
                </a:cubicBezTo>
                <a:cubicBezTo>
                  <a:pt x="3" y="1"/>
                  <a:pt x="3" y="1"/>
                  <a:pt x="3" y="2"/>
                </a:cubicBezTo>
                <a:cubicBezTo>
                  <a:pt x="3" y="2"/>
                  <a:pt x="2" y="2"/>
                  <a:pt x="2" y="2"/>
                </a:cubicBezTo>
                <a:cubicBezTo>
                  <a:pt x="2" y="2"/>
                  <a:pt x="3" y="3"/>
                  <a:pt x="2" y="3"/>
                </a:cubicBezTo>
                <a:cubicBezTo>
                  <a:pt x="2" y="3"/>
                  <a:pt x="2" y="3"/>
                  <a:pt x="2" y="3"/>
                </a:cubicBezTo>
                <a:cubicBezTo>
                  <a:pt x="2" y="3"/>
                  <a:pt x="2" y="3"/>
                  <a:pt x="1" y="3"/>
                </a:cubicBezTo>
                <a:cubicBezTo>
                  <a:pt x="1" y="3"/>
                  <a:pt x="1" y="3"/>
                  <a:pt x="1" y="3"/>
                </a:cubicBezTo>
                <a:cubicBezTo>
                  <a:pt x="1" y="3"/>
                  <a:pt x="1" y="3"/>
                  <a:pt x="1" y="3"/>
                </a:cubicBezTo>
                <a:cubicBezTo>
                  <a:pt x="1" y="3"/>
                  <a:pt x="0" y="3"/>
                  <a:pt x="0" y="4"/>
                </a:cubicBezTo>
                <a:cubicBezTo>
                  <a:pt x="0" y="4"/>
                  <a:pt x="1" y="4"/>
                  <a:pt x="2" y="4"/>
                </a:cubicBezTo>
                <a:cubicBezTo>
                  <a:pt x="2" y="4"/>
                  <a:pt x="1" y="4"/>
                  <a:pt x="1" y="4"/>
                </a:cubicBezTo>
                <a:cubicBezTo>
                  <a:pt x="2" y="4"/>
                  <a:pt x="2" y="4"/>
                  <a:pt x="2" y="4"/>
                </a:cubicBezTo>
                <a:cubicBezTo>
                  <a:pt x="3" y="5"/>
                  <a:pt x="3" y="6"/>
                  <a:pt x="2" y="7"/>
                </a:cubicBezTo>
                <a:cubicBezTo>
                  <a:pt x="2" y="7"/>
                  <a:pt x="3" y="6"/>
                  <a:pt x="3" y="6"/>
                </a:cubicBezTo>
                <a:cubicBezTo>
                  <a:pt x="3" y="7"/>
                  <a:pt x="1" y="7"/>
                  <a:pt x="1" y="8"/>
                </a:cubicBezTo>
                <a:cubicBezTo>
                  <a:pt x="1" y="9"/>
                  <a:pt x="1" y="9"/>
                  <a:pt x="1" y="9"/>
                </a:cubicBezTo>
                <a:cubicBezTo>
                  <a:pt x="0" y="9"/>
                  <a:pt x="1" y="9"/>
                  <a:pt x="1" y="10"/>
                </a:cubicBezTo>
                <a:cubicBezTo>
                  <a:pt x="1" y="11"/>
                  <a:pt x="0" y="11"/>
                  <a:pt x="1" y="12"/>
                </a:cubicBezTo>
                <a:cubicBezTo>
                  <a:pt x="1" y="12"/>
                  <a:pt x="1" y="13"/>
                  <a:pt x="2" y="13"/>
                </a:cubicBezTo>
                <a:cubicBezTo>
                  <a:pt x="2" y="14"/>
                  <a:pt x="2" y="14"/>
                  <a:pt x="3" y="15"/>
                </a:cubicBezTo>
                <a:cubicBezTo>
                  <a:pt x="3" y="15"/>
                  <a:pt x="3" y="15"/>
                  <a:pt x="4" y="15"/>
                </a:cubicBezTo>
                <a:cubicBezTo>
                  <a:pt x="4" y="15"/>
                  <a:pt x="5" y="15"/>
                  <a:pt x="6" y="16"/>
                </a:cubicBezTo>
                <a:cubicBezTo>
                  <a:pt x="6" y="16"/>
                  <a:pt x="6" y="17"/>
                  <a:pt x="7" y="17"/>
                </a:cubicBezTo>
                <a:cubicBezTo>
                  <a:pt x="7" y="18"/>
                  <a:pt x="7" y="19"/>
                  <a:pt x="7" y="18"/>
                </a:cubicBezTo>
                <a:cubicBezTo>
                  <a:pt x="8" y="18"/>
                  <a:pt x="8" y="17"/>
                  <a:pt x="8" y="17"/>
                </a:cubicBezTo>
                <a:cubicBezTo>
                  <a:pt x="8" y="17"/>
                  <a:pt x="8" y="17"/>
                  <a:pt x="8" y="17"/>
                </a:cubicBezTo>
                <a:cubicBezTo>
                  <a:pt x="8" y="16"/>
                  <a:pt x="8" y="16"/>
                  <a:pt x="8" y="16"/>
                </a:cubicBezTo>
                <a:cubicBezTo>
                  <a:pt x="8" y="16"/>
                  <a:pt x="9" y="16"/>
                  <a:pt x="9" y="16"/>
                </a:cubicBezTo>
                <a:cubicBezTo>
                  <a:pt x="9" y="16"/>
                  <a:pt x="10" y="15"/>
                  <a:pt x="10" y="15"/>
                </a:cubicBezTo>
                <a:cubicBezTo>
                  <a:pt x="10" y="15"/>
                  <a:pt x="9" y="15"/>
                  <a:pt x="9" y="15"/>
                </a:cubicBezTo>
                <a:cubicBezTo>
                  <a:pt x="9" y="15"/>
                  <a:pt x="10" y="14"/>
                  <a:pt x="9" y="14"/>
                </a:cubicBezTo>
                <a:cubicBezTo>
                  <a:pt x="8" y="14"/>
                  <a:pt x="7" y="14"/>
                  <a:pt x="7" y="13"/>
                </a:cubicBezTo>
                <a:cubicBezTo>
                  <a:pt x="7" y="13"/>
                  <a:pt x="7" y="13"/>
                  <a:pt x="7" y="13"/>
                </a:cubicBezTo>
                <a:cubicBezTo>
                  <a:pt x="7" y="13"/>
                  <a:pt x="6" y="12"/>
                  <a:pt x="6" y="12"/>
                </a:cubicBezTo>
                <a:cubicBezTo>
                  <a:pt x="6" y="11"/>
                  <a:pt x="6" y="11"/>
                  <a:pt x="6" y="11"/>
                </a:cubicBezTo>
                <a:cubicBezTo>
                  <a:pt x="6" y="11"/>
                  <a:pt x="6" y="10"/>
                  <a:pt x="6" y="10"/>
                </a:cubicBezTo>
                <a:cubicBezTo>
                  <a:pt x="6" y="11"/>
                  <a:pt x="6" y="11"/>
                  <a:pt x="7" y="11"/>
                </a:cubicBezTo>
                <a:cubicBezTo>
                  <a:pt x="7" y="12"/>
                  <a:pt x="7" y="11"/>
                  <a:pt x="8" y="12"/>
                </a:cubicBezTo>
                <a:cubicBezTo>
                  <a:pt x="9" y="12"/>
                  <a:pt x="9" y="13"/>
                  <a:pt x="10" y="14"/>
                </a:cubicBezTo>
                <a:cubicBezTo>
                  <a:pt x="10" y="14"/>
                  <a:pt x="10" y="14"/>
                  <a:pt x="10" y="14"/>
                </a:cubicBezTo>
                <a:cubicBezTo>
                  <a:pt x="10" y="14"/>
                  <a:pt x="11" y="14"/>
                  <a:pt x="11" y="14"/>
                </a:cubicBezTo>
                <a:cubicBezTo>
                  <a:pt x="11" y="14"/>
                  <a:pt x="11" y="14"/>
                  <a:pt x="11" y="15"/>
                </a:cubicBezTo>
                <a:cubicBezTo>
                  <a:pt x="11" y="15"/>
                  <a:pt x="12" y="15"/>
                  <a:pt x="12" y="16"/>
                </a:cubicBezTo>
                <a:cubicBezTo>
                  <a:pt x="12" y="16"/>
                  <a:pt x="11" y="17"/>
                  <a:pt x="11" y="17"/>
                </a:cubicBezTo>
                <a:cubicBezTo>
                  <a:pt x="12" y="18"/>
                  <a:pt x="12" y="19"/>
                  <a:pt x="13" y="19"/>
                </a:cubicBezTo>
                <a:cubicBezTo>
                  <a:pt x="14" y="19"/>
                  <a:pt x="15" y="19"/>
                  <a:pt x="16" y="19"/>
                </a:cubicBezTo>
                <a:cubicBezTo>
                  <a:pt x="15" y="19"/>
                  <a:pt x="16" y="19"/>
                  <a:pt x="16" y="20"/>
                </a:cubicBezTo>
                <a:cubicBezTo>
                  <a:pt x="16" y="20"/>
                  <a:pt x="17" y="20"/>
                  <a:pt x="17" y="20"/>
                </a:cubicBezTo>
                <a:cubicBezTo>
                  <a:pt x="18" y="21"/>
                  <a:pt x="18" y="21"/>
                  <a:pt x="18" y="21"/>
                </a:cubicBezTo>
                <a:cubicBezTo>
                  <a:pt x="19" y="22"/>
                  <a:pt x="19" y="22"/>
                  <a:pt x="20" y="22"/>
                </a:cubicBezTo>
                <a:cubicBezTo>
                  <a:pt x="20" y="23"/>
                  <a:pt x="21" y="24"/>
                  <a:pt x="21" y="25"/>
                </a:cubicBezTo>
                <a:cubicBezTo>
                  <a:pt x="21" y="25"/>
                  <a:pt x="21" y="25"/>
                  <a:pt x="21" y="25"/>
                </a:cubicBezTo>
                <a:cubicBezTo>
                  <a:pt x="21" y="25"/>
                  <a:pt x="22" y="26"/>
                  <a:pt x="21" y="26"/>
                </a:cubicBezTo>
                <a:cubicBezTo>
                  <a:pt x="21" y="26"/>
                  <a:pt x="21" y="26"/>
                  <a:pt x="21" y="26"/>
                </a:cubicBezTo>
                <a:cubicBezTo>
                  <a:pt x="21" y="26"/>
                  <a:pt x="21" y="26"/>
                  <a:pt x="21" y="26"/>
                </a:cubicBezTo>
                <a:cubicBezTo>
                  <a:pt x="21" y="26"/>
                  <a:pt x="21" y="26"/>
                  <a:pt x="21" y="27"/>
                </a:cubicBezTo>
                <a:cubicBezTo>
                  <a:pt x="21" y="27"/>
                  <a:pt x="21" y="27"/>
                  <a:pt x="21" y="27"/>
                </a:cubicBezTo>
                <a:cubicBezTo>
                  <a:pt x="21" y="27"/>
                  <a:pt x="21" y="28"/>
                  <a:pt x="20" y="28"/>
                </a:cubicBezTo>
                <a:cubicBezTo>
                  <a:pt x="20" y="28"/>
                  <a:pt x="20" y="29"/>
                  <a:pt x="20" y="29"/>
                </a:cubicBezTo>
                <a:cubicBezTo>
                  <a:pt x="20" y="29"/>
                  <a:pt x="21" y="30"/>
                  <a:pt x="21" y="30"/>
                </a:cubicBezTo>
                <a:cubicBezTo>
                  <a:pt x="22" y="31"/>
                  <a:pt x="23" y="31"/>
                  <a:pt x="23" y="31"/>
                </a:cubicBezTo>
                <a:cubicBezTo>
                  <a:pt x="23" y="31"/>
                  <a:pt x="24" y="31"/>
                  <a:pt x="24" y="31"/>
                </a:cubicBezTo>
                <a:cubicBezTo>
                  <a:pt x="24" y="31"/>
                  <a:pt x="24" y="30"/>
                  <a:pt x="24" y="30"/>
                </a:cubicBezTo>
                <a:cubicBezTo>
                  <a:pt x="24" y="29"/>
                  <a:pt x="22" y="29"/>
                  <a:pt x="22" y="28"/>
                </a:cubicBezTo>
                <a:cubicBezTo>
                  <a:pt x="22" y="28"/>
                  <a:pt x="23" y="27"/>
                  <a:pt x="23" y="27"/>
                </a:cubicBezTo>
                <a:cubicBezTo>
                  <a:pt x="24" y="27"/>
                  <a:pt x="24" y="28"/>
                  <a:pt x="24" y="28"/>
                </a:cubicBezTo>
                <a:cubicBezTo>
                  <a:pt x="25" y="28"/>
                  <a:pt x="26" y="28"/>
                  <a:pt x="26" y="29"/>
                </a:cubicBezTo>
                <a:cubicBezTo>
                  <a:pt x="26" y="29"/>
                  <a:pt x="25" y="29"/>
                  <a:pt x="25" y="29"/>
                </a:cubicBezTo>
                <a:cubicBezTo>
                  <a:pt x="25" y="29"/>
                  <a:pt x="26" y="29"/>
                  <a:pt x="26" y="29"/>
                </a:cubicBezTo>
                <a:cubicBezTo>
                  <a:pt x="25" y="29"/>
                  <a:pt x="26" y="30"/>
                  <a:pt x="26" y="30"/>
                </a:cubicBezTo>
                <a:cubicBezTo>
                  <a:pt x="26" y="31"/>
                  <a:pt x="25" y="31"/>
                  <a:pt x="25" y="31"/>
                </a:cubicBezTo>
                <a:cubicBezTo>
                  <a:pt x="26" y="32"/>
                  <a:pt x="27" y="32"/>
                  <a:pt x="27" y="33"/>
                </a:cubicBezTo>
                <a:cubicBezTo>
                  <a:pt x="27" y="33"/>
                  <a:pt x="27" y="34"/>
                  <a:pt x="27" y="34"/>
                </a:cubicBezTo>
                <a:cubicBezTo>
                  <a:pt x="27" y="34"/>
                  <a:pt x="27" y="35"/>
                  <a:pt x="27" y="35"/>
                </a:cubicBezTo>
                <a:cubicBezTo>
                  <a:pt x="28" y="34"/>
                  <a:pt x="28" y="33"/>
                  <a:pt x="27" y="32"/>
                </a:cubicBezTo>
                <a:cubicBezTo>
                  <a:pt x="26" y="32"/>
                  <a:pt x="27" y="31"/>
                  <a:pt x="28" y="31"/>
                </a:cubicBezTo>
                <a:cubicBezTo>
                  <a:pt x="28" y="30"/>
                  <a:pt x="29" y="29"/>
                  <a:pt x="28" y="28"/>
                </a:cubicBezTo>
                <a:cubicBezTo>
                  <a:pt x="28" y="28"/>
                  <a:pt x="28" y="28"/>
                  <a:pt x="28" y="27"/>
                </a:cubicBezTo>
                <a:cubicBezTo>
                  <a:pt x="28" y="27"/>
                  <a:pt x="28" y="27"/>
                  <a:pt x="28" y="26"/>
                </a:cubicBezTo>
                <a:cubicBezTo>
                  <a:pt x="28" y="26"/>
                  <a:pt x="29" y="26"/>
                  <a:pt x="29" y="26"/>
                </a:cubicBezTo>
                <a:cubicBezTo>
                  <a:pt x="29" y="26"/>
                  <a:pt x="30" y="25"/>
                  <a:pt x="30" y="25"/>
                </a:cubicBezTo>
                <a:cubicBezTo>
                  <a:pt x="30" y="24"/>
                  <a:pt x="28" y="23"/>
                  <a:pt x="28" y="24"/>
                </a:cubicBezTo>
                <a:cubicBezTo>
                  <a:pt x="28" y="22"/>
                  <a:pt x="28" y="21"/>
                  <a:pt x="28" y="20"/>
                </a:cubicBezTo>
                <a:cubicBezTo>
                  <a:pt x="28" y="19"/>
                  <a:pt x="28" y="19"/>
                  <a:pt x="29" y="19"/>
                </a:cubicBezTo>
                <a:cubicBezTo>
                  <a:pt x="29" y="19"/>
                  <a:pt x="29" y="18"/>
                  <a:pt x="29" y="18"/>
                </a:cubicBezTo>
                <a:cubicBezTo>
                  <a:pt x="29" y="17"/>
                  <a:pt x="30" y="19"/>
                  <a:pt x="30" y="19"/>
                </a:cubicBezTo>
                <a:cubicBezTo>
                  <a:pt x="31" y="19"/>
                  <a:pt x="31" y="19"/>
                  <a:pt x="31" y="19"/>
                </a:cubicBezTo>
                <a:cubicBezTo>
                  <a:pt x="31" y="18"/>
                  <a:pt x="32" y="18"/>
                  <a:pt x="32" y="18"/>
                </a:cubicBezTo>
                <a:cubicBezTo>
                  <a:pt x="32" y="18"/>
                  <a:pt x="31" y="17"/>
                  <a:pt x="31" y="1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1" name="Comoros"/>
          <p:cNvSpPr>
            <a:spLocks noEditPoints="1"/>
          </p:cNvSpPr>
          <p:nvPr/>
        </p:nvSpPr>
        <p:spPr bwMode="auto">
          <a:xfrm>
            <a:off x="7302025" y="5111921"/>
            <a:ext cx="71997" cy="68998"/>
          </a:xfrm>
          <a:custGeom>
            <a:avLst/>
            <a:gdLst/>
            <a:ahLst/>
            <a:cxnLst>
              <a:cxn ang="0">
                <a:pos x="19" y="17"/>
              </a:cxn>
              <a:cxn ang="0">
                <a:pos x="19" y="17"/>
              </a:cxn>
              <a:cxn ang="0">
                <a:pos x="18" y="15"/>
              </a:cxn>
              <a:cxn ang="0">
                <a:pos x="17" y="16"/>
              </a:cxn>
              <a:cxn ang="0">
                <a:pos x="18" y="17"/>
              </a:cxn>
              <a:cxn ang="0">
                <a:pos x="18" y="18"/>
              </a:cxn>
              <a:cxn ang="0">
                <a:pos x="17" y="18"/>
              </a:cxn>
              <a:cxn ang="0">
                <a:pos x="18" y="19"/>
              </a:cxn>
              <a:cxn ang="0">
                <a:pos x="19" y="18"/>
              </a:cxn>
              <a:cxn ang="0">
                <a:pos x="19" y="17"/>
              </a:cxn>
              <a:cxn ang="0">
                <a:pos x="19" y="16"/>
              </a:cxn>
              <a:cxn ang="0">
                <a:pos x="18" y="15"/>
              </a:cxn>
              <a:cxn ang="0">
                <a:pos x="11" y="10"/>
              </a:cxn>
              <a:cxn ang="0">
                <a:pos x="9" y="10"/>
              </a:cxn>
              <a:cxn ang="0">
                <a:pos x="11" y="11"/>
              </a:cxn>
              <a:cxn ang="0">
                <a:pos x="12" y="12"/>
              </a:cxn>
              <a:cxn ang="0">
                <a:pos x="12" y="9"/>
              </a:cxn>
              <a:cxn ang="0">
                <a:pos x="11" y="10"/>
              </a:cxn>
              <a:cxn ang="0">
                <a:pos x="4" y="11"/>
              </a:cxn>
              <a:cxn ang="0">
                <a:pos x="4" y="12"/>
              </a:cxn>
              <a:cxn ang="0">
                <a:pos x="6" y="12"/>
              </a:cxn>
              <a:cxn ang="0">
                <a:pos x="4" y="11"/>
              </a:cxn>
              <a:cxn ang="0">
                <a:pos x="1" y="1"/>
              </a:cxn>
              <a:cxn ang="0">
                <a:pos x="0" y="3"/>
              </a:cxn>
              <a:cxn ang="0">
                <a:pos x="0" y="5"/>
              </a:cxn>
              <a:cxn ang="0">
                <a:pos x="1" y="7"/>
              </a:cxn>
              <a:cxn ang="0">
                <a:pos x="2" y="7"/>
              </a:cxn>
              <a:cxn ang="0">
                <a:pos x="2" y="4"/>
              </a:cxn>
              <a:cxn ang="0">
                <a:pos x="1" y="1"/>
              </a:cxn>
            </a:cxnLst>
            <a:rect l="0" t="0" r="r" b="b"/>
            <a:pathLst>
              <a:path w="20" h="19">
                <a:moveTo>
                  <a:pt x="19" y="17"/>
                </a:moveTo>
                <a:cubicBezTo>
                  <a:pt x="19" y="16"/>
                  <a:pt x="20" y="16"/>
                  <a:pt x="19" y="17"/>
                </a:cubicBezTo>
                <a:close/>
                <a:moveTo>
                  <a:pt x="18" y="15"/>
                </a:moveTo>
                <a:cubicBezTo>
                  <a:pt x="17" y="16"/>
                  <a:pt x="17" y="16"/>
                  <a:pt x="17" y="16"/>
                </a:cubicBezTo>
                <a:cubicBezTo>
                  <a:pt x="17" y="17"/>
                  <a:pt x="18" y="17"/>
                  <a:pt x="18" y="17"/>
                </a:cubicBezTo>
                <a:cubicBezTo>
                  <a:pt x="18" y="18"/>
                  <a:pt x="18" y="18"/>
                  <a:pt x="18" y="18"/>
                </a:cubicBezTo>
                <a:cubicBezTo>
                  <a:pt x="18" y="19"/>
                  <a:pt x="18" y="18"/>
                  <a:pt x="17" y="18"/>
                </a:cubicBezTo>
                <a:cubicBezTo>
                  <a:pt x="18" y="18"/>
                  <a:pt x="17" y="19"/>
                  <a:pt x="18" y="19"/>
                </a:cubicBezTo>
                <a:cubicBezTo>
                  <a:pt x="18" y="19"/>
                  <a:pt x="18" y="18"/>
                  <a:pt x="19" y="18"/>
                </a:cubicBezTo>
                <a:cubicBezTo>
                  <a:pt x="19" y="18"/>
                  <a:pt x="18" y="17"/>
                  <a:pt x="19" y="17"/>
                </a:cubicBezTo>
                <a:cubicBezTo>
                  <a:pt x="19" y="17"/>
                  <a:pt x="19" y="16"/>
                  <a:pt x="19" y="16"/>
                </a:cubicBezTo>
                <a:cubicBezTo>
                  <a:pt x="18" y="16"/>
                  <a:pt x="18" y="16"/>
                  <a:pt x="18" y="15"/>
                </a:cubicBezTo>
                <a:close/>
                <a:moveTo>
                  <a:pt x="11" y="10"/>
                </a:moveTo>
                <a:cubicBezTo>
                  <a:pt x="11" y="10"/>
                  <a:pt x="9" y="10"/>
                  <a:pt x="9" y="10"/>
                </a:cubicBezTo>
                <a:cubicBezTo>
                  <a:pt x="9" y="10"/>
                  <a:pt x="11" y="11"/>
                  <a:pt x="11" y="11"/>
                </a:cubicBezTo>
                <a:cubicBezTo>
                  <a:pt x="11" y="11"/>
                  <a:pt x="12" y="12"/>
                  <a:pt x="12" y="12"/>
                </a:cubicBezTo>
                <a:cubicBezTo>
                  <a:pt x="13" y="12"/>
                  <a:pt x="12" y="10"/>
                  <a:pt x="12" y="9"/>
                </a:cubicBezTo>
                <a:cubicBezTo>
                  <a:pt x="12" y="8"/>
                  <a:pt x="11" y="10"/>
                  <a:pt x="11" y="10"/>
                </a:cubicBezTo>
                <a:close/>
                <a:moveTo>
                  <a:pt x="4" y="11"/>
                </a:moveTo>
                <a:cubicBezTo>
                  <a:pt x="3" y="11"/>
                  <a:pt x="4" y="12"/>
                  <a:pt x="4" y="12"/>
                </a:cubicBezTo>
                <a:cubicBezTo>
                  <a:pt x="5" y="12"/>
                  <a:pt x="5" y="12"/>
                  <a:pt x="6" y="12"/>
                </a:cubicBezTo>
                <a:cubicBezTo>
                  <a:pt x="6" y="12"/>
                  <a:pt x="4" y="11"/>
                  <a:pt x="4" y="11"/>
                </a:cubicBezTo>
                <a:close/>
                <a:moveTo>
                  <a:pt x="1" y="1"/>
                </a:moveTo>
                <a:cubicBezTo>
                  <a:pt x="0" y="2"/>
                  <a:pt x="0" y="3"/>
                  <a:pt x="0" y="3"/>
                </a:cubicBezTo>
                <a:cubicBezTo>
                  <a:pt x="0" y="4"/>
                  <a:pt x="0" y="5"/>
                  <a:pt x="0" y="5"/>
                </a:cubicBezTo>
                <a:cubicBezTo>
                  <a:pt x="0" y="6"/>
                  <a:pt x="0" y="6"/>
                  <a:pt x="1" y="7"/>
                </a:cubicBezTo>
                <a:cubicBezTo>
                  <a:pt x="2" y="7"/>
                  <a:pt x="2" y="7"/>
                  <a:pt x="2" y="7"/>
                </a:cubicBezTo>
                <a:cubicBezTo>
                  <a:pt x="3" y="7"/>
                  <a:pt x="2" y="4"/>
                  <a:pt x="2" y="4"/>
                </a:cubicBezTo>
                <a:cubicBezTo>
                  <a:pt x="2" y="3"/>
                  <a:pt x="2" y="0"/>
                  <a:pt x="1"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2" name="Colombia"/>
          <p:cNvSpPr>
            <a:spLocks noEditPoints="1"/>
          </p:cNvSpPr>
          <p:nvPr/>
        </p:nvSpPr>
        <p:spPr bwMode="auto">
          <a:xfrm>
            <a:off x="2949189" y="4131956"/>
            <a:ext cx="498982" cy="701974"/>
          </a:xfrm>
          <a:custGeom>
            <a:avLst/>
            <a:gdLst/>
            <a:ahLst/>
            <a:cxnLst>
              <a:cxn ang="0">
                <a:pos x="134" y="125"/>
              </a:cxn>
              <a:cxn ang="0">
                <a:pos x="125" y="127"/>
              </a:cxn>
              <a:cxn ang="0">
                <a:pos x="111" y="135"/>
              </a:cxn>
              <a:cxn ang="0">
                <a:pos x="116" y="140"/>
              </a:cxn>
              <a:cxn ang="0">
                <a:pos x="109" y="151"/>
              </a:cxn>
              <a:cxn ang="0">
                <a:pos x="112" y="170"/>
              </a:cxn>
              <a:cxn ang="0">
                <a:pos x="104" y="189"/>
              </a:cxn>
              <a:cxn ang="0">
                <a:pos x="105" y="175"/>
              </a:cxn>
              <a:cxn ang="0">
                <a:pos x="99" y="172"/>
              </a:cxn>
              <a:cxn ang="0">
                <a:pos x="92" y="171"/>
              </a:cxn>
              <a:cxn ang="0">
                <a:pos x="84" y="174"/>
              </a:cxn>
              <a:cxn ang="0">
                <a:pos x="78" y="172"/>
              </a:cxn>
              <a:cxn ang="0">
                <a:pos x="75" y="167"/>
              </a:cxn>
              <a:cxn ang="0">
                <a:pos x="71" y="161"/>
              </a:cxn>
              <a:cxn ang="0">
                <a:pos x="65" y="154"/>
              </a:cxn>
              <a:cxn ang="0">
                <a:pos x="56" y="148"/>
              </a:cxn>
              <a:cxn ang="0">
                <a:pos x="47" y="143"/>
              </a:cxn>
              <a:cxn ang="0">
                <a:pos x="38" y="144"/>
              </a:cxn>
              <a:cxn ang="0">
                <a:pos x="28" y="136"/>
              </a:cxn>
              <a:cxn ang="0">
                <a:pos x="22" y="131"/>
              </a:cxn>
              <a:cxn ang="0">
                <a:pos x="25" y="125"/>
              </a:cxn>
              <a:cxn ang="0">
                <a:pos x="28" y="120"/>
              </a:cxn>
              <a:cxn ang="0">
                <a:pos x="32" y="117"/>
              </a:cxn>
              <a:cxn ang="0">
                <a:pos x="33" y="115"/>
              </a:cxn>
              <a:cxn ang="0">
                <a:pos x="37" y="109"/>
              </a:cxn>
              <a:cxn ang="0">
                <a:pos x="39" y="106"/>
              </a:cxn>
              <a:cxn ang="0">
                <a:pos x="39" y="104"/>
              </a:cxn>
              <a:cxn ang="0">
                <a:pos x="36" y="102"/>
              </a:cxn>
              <a:cxn ang="0">
                <a:pos x="38" y="94"/>
              </a:cxn>
              <a:cxn ang="0">
                <a:pos x="38" y="81"/>
              </a:cxn>
              <a:cxn ang="0">
                <a:pos x="37" y="73"/>
              </a:cxn>
              <a:cxn ang="0">
                <a:pos x="35" y="64"/>
              </a:cxn>
              <a:cxn ang="0">
                <a:pos x="41" y="60"/>
              </a:cxn>
              <a:cxn ang="0">
                <a:pos x="41" y="55"/>
              </a:cxn>
              <a:cxn ang="0">
                <a:pos x="44" y="59"/>
              </a:cxn>
              <a:cxn ang="0">
                <a:pos x="44" y="54"/>
              </a:cxn>
              <a:cxn ang="0">
                <a:pos x="55" y="44"/>
              </a:cxn>
              <a:cxn ang="0">
                <a:pos x="56" y="36"/>
              </a:cxn>
              <a:cxn ang="0">
                <a:pos x="59" y="31"/>
              </a:cxn>
              <a:cxn ang="0">
                <a:pos x="64" y="27"/>
              </a:cxn>
              <a:cxn ang="0">
                <a:pos x="68" y="28"/>
              </a:cxn>
              <a:cxn ang="0">
                <a:pos x="72" y="23"/>
              </a:cxn>
              <a:cxn ang="0">
                <a:pos x="88" y="18"/>
              </a:cxn>
              <a:cxn ang="0">
                <a:pos x="94" y="12"/>
              </a:cxn>
              <a:cxn ang="0">
                <a:pos x="96" y="11"/>
              </a:cxn>
              <a:cxn ang="0">
                <a:pos x="90" y="25"/>
              </a:cxn>
              <a:cxn ang="0">
                <a:pos x="80" y="43"/>
              </a:cxn>
              <a:cxn ang="0">
                <a:pos x="85" y="53"/>
              </a:cxn>
              <a:cxn ang="0">
                <a:pos x="90" y="70"/>
              </a:cxn>
              <a:cxn ang="0">
                <a:pos x="107" y="71"/>
              </a:cxn>
              <a:cxn ang="0">
                <a:pos x="121" y="79"/>
              </a:cxn>
              <a:cxn ang="0">
                <a:pos x="134" y="79"/>
              </a:cxn>
              <a:cxn ang="0">
                <a:pos x="130" y="95"/>
              </a:cxn>
              <a:cxn ang="0">
                <a:pos x="135" y="110"/>
              </a:cxn>
              <a:cxn ang="0">
                <a:pos x="135" y="121"/>
              </a:cxn>
              <a:cxn ang="0">
                <a:pos x="97" y="10"/>
              </a:cxn>
            </a:cxnLst>
            <a:rect l="0" t="0" r="r" b="b"/>
            <a:pathLst>
              <a:path w="138" h="194">
                <a:moveTo>
                  <a:pt x="1" y="9"/>
                </a:moveTo>
                <a:cubicBezTo>
                  <a:pt x="1" y="9"/>
                  <a:pt x="0" y="10"/>
                  <a:pt x="0" y="10"/>
                </a:cubicBezTo>
                <a:cubicBezTo>
                  <a:pt x="0" y="10"/>
                  <a:pt x="0" y="9"/>
                  <a:pt x="1" y="9"/>
                </a:cubicBezTo>
                <a:close/>
                <a:moveTo>
                  <a:pt x="138" y="134"/>
                </a:moveTo>
                <a:cubicBezTo>
                  <a:pt x="138" y="134"/>
                  <a:pt x="136" y="135"/>
                  <a:pt x="136" y="134"/>
                </a:cubicBezTo>
                <a:cubicBezTo>
                  <a:pt x="136" y="133"/>
                  <a:pt x="137" y="131"/>
                  <a:pt x="136" y="130"/>
                </a:cubicBezTo>
                <a:cubicBezTo>
                  <a:pt x="136" y="129"/>
                  <a:pt x="136" y="128"/>
                  <a:pt x="135" y="127"/>
                </a:cubicBezTo>
                <a:cubicBezTo>
                  <a:pt x="135" y="126"/>
                  <a:pt x="135" y="126"/>
                  <a:pt x="134" y="125"/>
                </a:cubicBezTo>
                <a:cubicBezTo>
                  <a:pt x="134" y="125"/>
                  <a:pt x="134" y="124"/>
                  <a:pt x="134" y="124"/>
                </a:cubicBezTo>
                <a:cubicBezTo>
                  <a:pt x="132" y="123"/>
                  <a:pt x="130" y="127"/>
                  <a:pt x="129" y="128"/>
                </a:cubicBezTo>
                <a:cubicBezTo>
                  <a:pt x="128" y="128"/>
                  <a:pt x="127" y="128"/>
                  <a:pt x="127" y="127"/>
                </a:cubicBezTo>
                <a:cubicBezTo>
                  <a:pt x="127" y="126"/>
                  <a:pt x="126" y="126"/>
                  <a:pt x="126" y="126"/>
                </a:cubicBezTo>
                <a:cubicBezTo>
                  <a:pt x="126" y="126"/>
                  <a:pt x="126" y="125"/>
                  <a:pt x="126" y="125"/>
                </a:cubicBezTo>
                <a:cubicBezTo>
                  <a:pt x="126" y="125"/>
                  <a:pt x="125" y="126"/>
                  <a:pt x="125" y="126"/>
                </a:cubicBezTo>
                <a:cubicBezTo>
                  <a:pt x="125" y="127"/>
                  <a:pt x="125" y="127"/>
                  <a:pt x="125" y="127"/>
                </a:cubicBezTo>
                <a:cubicBezTo>
                  <a:pt x="125" y="127"/>
                  <a:pt x="125" y="127"/>
                  <a:pt x="125" y="127"/>
                </a:cubicBezTo>
                <a:cubicBezTo>
                  <a:pt x="125" y="128"/>
                  <a:pt x="125" y="128"/>
                  <a:pt x="126" y="128"/>
                </a:cubicBezTo>
                <a:cubicBezTo>
                  <a:pt x="123" y="129"/>
                  <a:pt x="120" y="128"/>
                  <a:pt x="117" y="128"/>
                </a:cubicBezTo>
                <a:cubicBezTo>
                  <a:pt x="115" y="128"/>
                  <a:pt x="114" y="128"/>
                  <a:pt x="113" y="128"/>
                </a:cubicBezTo>
                <a:cubicBezTo>
                  <a:pt x="112" y="128"/>
                  <a:pt x="111" y="129"/>
                  <a:pt x="109" y="128"/>
                </a:cubicBezTo>
                <a:cubicBezTo>
                  <a:pt x="109" y="131"/>
                  <a:pt x="109" y="133"/>
                  <a:pt x="109" y="135"/>
                </a:cubicBezTo>
                <a:cubicBezTo>
                  <a:pt x="109" y="135"/>
                  <a:pt x="109" y="136"/>
                  <a:pt x="110" y="135"/>
                </a:cubicBezTo>
                <a:cubicBezTo>
                  <a:pt x="110" y="135"/>
                  <a:pt x="110" y="135"/>
                  <a:pt x="111" y="135"/>
                </a:cubicBezTo>
                <a:cubicBezTo>
                  <a:pt x="111" y="136"/>
                  <a:pt x="111" y="136"/>
                  <a:pt x="111" y="135"/>
                </a:cubicBezTo>
                <a:cubicBezTo>
                  <a:pt x="112" y="135"/>
                  <a:pt x="113" y="136"/>
                  <a:pt x="113" y="136"/>
                </a:cubicBezTo>
                <a:cubicBezTo>
                  <a:pt x="114" y="136"/>
                  <a:pt x="113" y="136"/>
                  <a:pt x="114" y="136"/>
                </a:cubicBezTo>
                <a:cubicBezTo>
                  <a:pt x="114" y="136"/>
                  <a:pt x="114" y="135"/>
                  <a:pt x="114" y="136"/>
                </a:cubicBezTo>
                <a:cubicBezTo>
                  <a:pt x="115" y="136"/>
                  <a:pt x="115" y="136"/>
                  <a:pt x="116" y="137"/>
                </a:cubicBezTo>
                <a:cubicBezTo>
                  <a:pt x="116" y="137"/>
                  <a:pt x="116" y="137"/>
                  <a:pt x="116" y="137"/>
                </a:cubicBezTo>
                <a:cubicBezTo>
                  <a:pt x="115" y="137"/>
                  <a:pt x="116" y="137"/>
                  <a:pt x="116" y="138"/>
                </a:cubicBezTo>
                <a:cubicBezTo>
                  <a:pt x="116" y="138"/>
                  <a:pt x="116" y="139"/>
                  <a:pt x="116" y="139"/>
                </a:cubicBezTo>
                <a:cubicBezTo>
                  <a:pt x="116" y="140"/>
                  <a:pt x="117" y="140"/>
                  <a:pt x="116" y="140"/>
                </a:cubicBezTo>
                <a:cubicBezTo>
                  <a:pt x="116" y="140"/>
                  <a:pt x="115" y="141"/>
                  <a:pt x="115" y="140"/>
                </a:cubicBezTo>
                <a:cubicBezTo>
                  <a:pt x="115" y="140"/>
                  <a:pt x="114" y="140"/>
                  <a:pt x="114" y="140"/>
                </a:cubicBezTo>
                <a:cubicBezTo>
                  <a:pt x="114" y="140"/>
                  <a:pt x="113" y="139"/>
                  <a:pt x="113" y="139"/>
                </a:cubicBezTo>
                <a:cubicBezTo>
                  <a:pt x="112" y="140"/>
                  <a:pt x="112" y="140"/>
                  <a:pt x="111" y="140"/>
                </a:cubicBezTo>
                <a:cubicBezTo>
                  <a:pt x="111" y="140"/>
                  <a:pt x="110" y="141"/>
                  <a:pt x="110" y="141"/>
                </a:cubicBezTo>
                <a:cubicBezTo>
                  <a:pt x="109" y="141"/>
                  <a:pt x="108" y="141"/>
                  <a:pt x="107" y="141"/>
                </a:cubicBezTo>
                <a:cubicBezTo>
                  <a:pt x="107" y="143"/>
                  <a:pt x="107" y="146"/>
                  <a:pt x="107" y="148"/>
                </a:cubicBezTo>
                <a:cubicBezTo>
                  <a:pt x="107" y="149"/>
                  <a:pt x="108" y="150"/>
                  <a:pt x="109" y="151"/>
                </a:cubicBezTo>
                <a:cubicBezTo>
                  <a:pt x="109" y="151"/>
                  <a:pt x="109" y="151"/>
                  <a:pt x="110" y="151"/>
                </a:cubicBezTo>
                <a:cubicBezTo>
                  <a:pt x="110" y="152"/>
                  <a:pt x="110" y="152"/>
                  <a:pt x="111" y="152"/>
                </a:cubicBezTo>
                <a:cubicBezTo>
                  <a:pt x="112" y="153"/>
                  <a:pt x="112" y="153"/>
                  <a:pt x="112" y="154"/>
                </a:cubicBezTo>
                <a:cubicBezTo>
                  <a:pt x="112" y="155"/>
                  <a:pt x="112" y="155"/>
                  <a:pt x="112" y="155"/>
                </a:cubicBezTo>
                <a:cubicBezTo>
                  <a:pt x="112" y="156"/>
                  <a:pt x="112" y="156"/>
                  <a:pt x="112" y="157"/>
                </a:cubicBezTo>
                <a:cubicBezTo>
                  <a:pt x="113" y="158"/>
                  <a:pt x="113" y="158"/>
                  <a:pt x="113" y="159"/>
                </a:cubicBezTo>
                <a:cubicBezTo>
                  <a:pt x="114" y="160"/>
                  <a:pt x="114" y="161"/>
                  <a:pt x="114" y="162"/>
                </a:cubicBezTo>
                <a:cubicBezTo>
                  <a:pt x="113" y="165"/>
                  <a:pt x="113" y="167"/>
                  <a:pt x="112" y="170"/>
                </a:cubicBezTo>
                <a:cubicBezTo>
                  <a:pt x="112" y="171"/>
                  <a:pt x="112" y="172"/>
                  <a:pt x="112" y="173"/>
                </a:cubicBezTo>
                <a:cubicBezTo>
                  <a:pt x="112" y="175"/>
                  <a:pt x="112" y="176"/>
                  <a:pt x="111" y="178"/>
                </a:cubicBezTo>
                <a:cubicBezTo>
                  <a:pt x="111" y="181"/>
                  <a:pt x="111" y="184"/>
                  <a:pt x="110" y="186"/>
                </a:cubicBezTo>
                <a:cubicBezTo>
                  <a:pt x="110" y="188"/>
                  <a:pt x="110" y="189"/>
                  <a:pt x="110" y="190"/>
                </a:cubicBezTo>
                <a:cubicBezTo>
                  <a:pt x="110" y="191"/>
                  <a:pt x="110" y="193"/>
                  <a:pt x="109" y="194"/>
                </a:cubicBezTo>
                <a:cubicBezTo>
                  <a:pt x="109" y="193"/>
                  <a:pt x="108" y="193"/>
                  <a:pt x="108" y="192"/>
                </a:cubicBezTo>
                <a:cubicBezTo>
                  <a:pt x="107" y="192"/>
                  <a:pt x="107" y="191"/>
                  <a:pt x="107" y="191"/>
                </a:cubicBezTo>
                <a:cubicBezTo>
                  <a:pt x="106" y="190"/>
                  <a:pt x="105" y="188"/>
                  <a:pt x="104" y="189"/>
                </a:cubicBezTo>
                <a:cubicBezTo>
                  <a:pt x="104" y="190"/>
                  <a:pt x="103" y="190"/>
                  <a:pt x="102" y="189"/>
                </a:cubicBezTo>
                <a:cubicBezTo>
                  <a:pt x="102" y="189"/>
                  <a:pt x="102" y="188"/>
                  <a:pt x="102" y="188"/>
                </a:cubicBezTo>
                <a:cubicBezTo>
                  <a:pt x="103" y="186"/>
                  <a:pt x="104" y="184"/>
                  <a:pt x="105" y="182"/>
                </a:cubicBezTo>
                <a:cubicBezTo>
                  <a:pt x="106" y="181"/>
                  <a:pt x="106" y="180"/>
                  <a:pt x="107" y="179"/>
                </a:cubicBezTo>
                <a:cubicBezTo>
                  <a:pt x="107" y="178"/>
                  <a:pt x="107" y="178"/>
                  <a:pt x="108" y="178"/>
                </a:cubicBezTo>
                <a:cubicBezTo>
                  <a:pt x="108" y="177"/>
                  <a:pt x="108" y="176"/>
                  <a:pt x="107" y="177"/>
                </a:cubicBezTo>
                <a:cubicBezTo>
                  <a:pt x="107" y="177"/>
                  <a:pt x="106" y="176"/>
                  <a:pt x="106" y="176"/>
                </a:cubicBezTo>
                <a:cubicBezTo>
                  <a:pt x="106" y="175"/>
                  <a:pt x="105" y="176"/>
                  <a:pt x="105" y="175"/>
                </a:cubicBezTo>
                <a:cubicBezTo>
                  <a:pt x="105" y="175"/>
                  <a:pt x="106" y="175"/>
                  <a:pt x="105" y="175"/>
                </a:cubicBezTo>
                <a:cubicBezTo>
                  <a:pt x="105" y="175"/>
                  <a:pt x="104" y="175"/>
                  <a:pt x="104" y="175"/>
                </a:cubicBezTo>
                <a:cubicBezTo>
                  <a:pt x="104" y="175"/>
                  <a:pt x="103" y="174"/>
                  <a:pt x="103" y="174"/>
                </a:cubicBezTo>
                <a:cubicBezTo>
                  <a:pt x="103" y="174"/>
                  <a:pt x="103" y="174"/>
                  <a:pt x="103" y="174"/>
                </a:cubicBezTo>
                <a:cubicBezTo>
                  <a:pt x="102" y="175"/>
                  <a:pt x="102" y="174"/>
                  <a:pt x="102" y="174"/>
                </a:cubicBezTo>
                <a:cubicBezTo>
                  <a:pt x="102" y="173"/>
                  <a:pt x="101" y="173"/>
                  <a:pt x="100" y="172"/>
                </a:cubicBezTo>
                <a:cubicBezTo>
                  <a:pt x="100" y="172"/>
                  <a:pt x="100" y="172"/>
                  <a:pt x="99" y="172"/>
                </a:cubicBezTo>
                <a:cubicBezTo>
                  <a:pt x="99" y="172"/>
                  <a:pt x="99" y="172"/>
                  <a:pt x="99" y="172"/>
                </a:cubicBezTo>
                <a:cubicBezTo>
                  <a:pt x="98" y="173"/>
                  <a:pt x="98" y="172"/>
                  <a:pt x="98" y="173"/>
                </a:cubicBezTo>
                <a:cubicBezTo>
                  <a:pt x="97" y="173"/>
                  <a:pt x="97" y="173"/>
                  <a:pt x="97" y="173"/>
                </a:cubicBezTo>
                <a:cubicBezTo>
                  <a:pt x="96" y="173"/>
                  <a:pt x="95" y="174"/>
                  <a:pt x="95" y="173"/>
                </a:cubicBezTo>
                <a:cubicBezTo>
                  <a:pt x="95" y="172"/>
                  <a:pt x="95" y="172"/>
                  <a:pt x="94" y="173"/>
                </a:cubicBezTo>
                <a:cubicBezTo>
                  <a:pt x="94" y="173"/>
                  <a:pt x="94" y="172"/>
                  <a:pt x="94" y="172"/>
                </a:cubicBezTo>
                <a:cubicBezTo>
                  <a:pt x="94" y="172"/>
                  <a:pt x="93" y="172"/>
                  <a:pt x="93" y="172"/>
                </a:cubicBezTo>
                <a:cubicBezTo>
                  <a:pt x="92" y="172"/>
                  <a:pt x="92" y="172"/>
                  <a:pt x="92" y="172"/>
                </a:cubicBezTo>
                <a:cubicBezTo>
                  <a:pt x="92" y="171"/>
                  <a:pt x="92" y="171"/>
                  <a:pt x="92" y="171"/>
                </a:cubicBezTo>
                <a:cubicBezTo>
                  <a:pt x="91" y="171"/>
                  <a:pt x="91" y="172"/>
                  <a:pt x="90" y="173"/>
                </a:cubicBezTo>
                <a:cubicBezTo>
                  <a:pt x="90" y="173"/>
                  <a:pt x="90" y="173"/>
                  <a:pt x="90" y="173"/>
                </a:cubicBezTo>
                <a:cubicBezTo>
                  <a:pt x="89" y="173"/>
                  <a:pt x="89" y="173"/>
                  <a:pt x="88" y="174"/>
                </a:cubicBezTo>
                <a:cubicBezTo>
                  <a:pt x="88" y="174"/>
                  <a:pt x="88" y="174"/>
                  <a:pt x="88" y="174"/>
                </a:cubicBezTo>
                <a:cubicBezTo>
                  <a:pt x="87" y="174"/>
                  <a:pt x="87" y="174"/>
                  <a:pt x="87" y="175"/>
                </a:cubicBezTo>
                <a:cubicBezTo>
                  <a:pt x="87" y="175"/>
                  <a:pt x="86" y="175"/>
                  <a:pt x="86" y="175"/>
                </a:cubicBezTo>
                <a:cubicBezTo>
                  <a:pt x="85" y="174"/>
                  <a:pt x="85" y="174"/>
                  <a:pt x="85" y="174"/>
                </a:cubicBezTo>
                <a:cubicBezTo>
                  <a:pt x="84" y="174"/>
                  <a:pt x="84" y="174"/>
                  <a:pt x="84" y="174"/>
                </a:cubicBezTo>
                <a:cubicBezTo>
                  <a:pt x="83" y="174"/>
                  <a:pt x="83" y="174"/>
                  <a:pt x="83" y="174"/>
                </a:cubicBezTo>
                <a:cubicBezTo>
                  <a:pt x="83" y="174"/>
                  <a:pt x="83" y="175"/>
                  <a:pt x="82" y="174"/>
                </a:cubicBezTo>
                <a:cubicBezTo>
                  <a:pt x="82" y="174"/>
                  <a:pt x="82" y="174"/>
                  <a:pt x="82" y="174"/>
                </a:cubicBezTo>
                <a:cubicBezTo>
                  <a:pt x="81" y="174"/>
                  <a:pt x="81" y="175"/>
                  <a:pt x="80" y="174"/>
                </a:cubicBezTo>
                <a:cubicBezTo>
                  <a:pt x="80" y="174"/>
                  <a:pt x="80" y="174"/>
                  <a:pt x="80" y="174"/>
                </a:cubicBezTo>
                <a:cubicBezTo>
                  <a:pt x="80" y="174"/>
                  <a:pt x="79" y="174"/>
                  <a:pt x="79" y="174"/>
                </a:cubicBezTo>
                <a:cubicBezTo>
                  <a:pt x="79" y="174"/>
                  <a:pt x="79" y="173"/>
                  <a:pt x="79" y="173"/>
                </a:cubicBezTo>
                <a:cubicBezTo>
                  <a:pt x="78" y="173"/>
                  <a:pt x="78" y="173"/>
                  <a:pt x="78" y="172"/>
                </a:cubicBezTo>
                <a:cubicBezTo>
                  <a:pt x="78" y="172"/>
                  <a:pt x="78" y="172"/>
                  <a:pt x="78" y="171"/>
                </a:cubicBezTo>
                <a:cubicBezTo>
                  <a:pt x="79" y="171"/>
                  <a:pt x="78" y="170"/>
                  <a:pt x="78" y="170"/>
                </a:cubicBezTo>
                <a:cubicBezTo>
                  <a:pt x="78" y="169"/>
                  <a:pt x="78" y="169"/>
                  <a:pt x="78" y="168"/>
                </a:cubicBezTo>
                <a:cubicBezTo>
                  <a:pt x="78" y="168"/>
                  <a:pt x="78" y="168"/>
                  <a:pt x="77" y="168"/>
                </a:cubicBezTo>
                <a:cubicBezTo>
                  <a:pt x="77" y="167"/>
                  <a:pt x="77" y="167"/>
                  <a:pt x="77" y="167"/>
                </a:cubicBezTo>
                <a:cubicBezTo>
                  <a:pt x="77" y="167"/>
                  <a:pt x="77" y="167"/>
                  <a:pt x="77" y="167"/>
                </a:cubicBezTo>
                <a:cubicBezTo>
                  <a:pt x="76" y="167"/>
                  <a:pt x="76" y="168"/>
                  <a:pt x="76" y="168"/>
                </a:cubicBezTo>
                <a:cubicBezTo>
                  <a:pt x="76" y="168"/>
                  <a:pt x="76" y="167"/>
                  <a:pt x="75" y="167"/>
                </a:cubicBezTo>
                <a:cubicBezTo>
                  <a:pt x="75" y="167"/>
                  <a:pt x="74" y="167"/>
                  <a:pt x="74" y="167"/>
                </a:cubicBezTo>
                <a:cubicBezTo>
                  <a:pt x="74" y="166"/>
                  <a:pt x="75" y="165"/>
                  <a:pt x="74" y="165"/>
                </a:cubicBezTo>
                <a:cubicBezTo>
                  <a:pt x="74" y="164"/>
                  <a:pt x="74" y="164"/>
                  <a:pt x="74" y="164"/>
                </a:cubicBezTo>
                <a:cubicBezTo>
                  <a:pt x="73" y="163"/>
                  <a:pt x="74" y="163"/>
                  <a:pt x="73" y="162"/>
                </a:cubicBezTo>
                <a:cubicBezTo>
                  <a:pt x="73" y="162"/>
                  <a:pt x="73" y="162"/>
                  <a:pt x="72" y="162"/>
                </a:cubicBezTo>
                <a:cubicBezTo>
                  <a:pt x="72" y="161"/>
                  <a:pt x="72" y="161"/>
                  <a:pt x="72" y="161"/>
                </a:cubicBezTo>
                <a:cubicBezTo>
                  <a:pt x="71" y="161"/>
                  <a:pt x="72" y="161"/>
                  <a:pt x="71" y="161"/>
                </a:cubicBezTo>
                <a:cubicBezTo>
                  <a:pt x="71" y="161"/>
                  <a:pt x="71" y="161"/>
                  <a:pt x="71" y="161"/>
                </a:cubicBezTo>
                <a:cubicBezTo>
                  <a:pt x="70" y="161"/>
                  <a:pt x="71" y="160"/>
                  <a:pt x="70" y="160"/>
                </a:cubicBezTo>
                <a:cubicBezTo>
                  <a:pt x="70" y="160"/>
                  <a:pt x="70" y="160"/>
                  <a:pt x="70" y="160"/>
                </a:cubicBezTo>
                <a:cubicBezTo>
                  <a:pt x="70" y="160"/>
                  <a:pt x="70" y="160"/>
                  <a:pt x="69" y="160"/>
                </a:cubicBezTo>
                <a:cubicBezTo>
                  <a:pt x="69" y="160"/>
                  <a:pt x="69" y="159"/>
                  <a:pt x="69" y="159"/>
                </a:cubicBezTo>
                <a:cubicBezTo>
                  <a:pt x="67" y="159"/>
                  <a:pt x="67" y="158"/>
                  <a:pt x="66" y="157"/>
                </a:cubicBezTo>
                <a:cubicBezTo>
                  <a:pt x="66" y="157"/>
                  <a:pt x="67" y="157"/>
                  <a:pt x="67" y="157"/>
                </a:cubicBezTo>
                <a:cubicBezTo>
                  <a:pt x="67" y="157"/>
                  <a:pt x="66" y="156"/>
                  <a:pt x="66" y="156"/>
                </a:cubicBezTo>
                <a:cubicBezTo>
                  <a:pt x="66" y="155"/>
                  <a:pt x="66" y="154"/>
                  <a:pt x="65" y="154"/>
                </a:cubicBezTo>
                <a:cubicBezTo>
                  <a:pt x="65" y="153"/>
                  <a:pt x="65" y="153"/>
                  <a:pt x="64" y="153"/>
                </a:cubicBezTo>
                <a:cubicBezTo>
                  <a:pt x="64" y="152"/>
                  <a:pt x="64" y="152"/>
                  <a:pt x="63" y="152"/>
                </a:cubicBezTo>
                <a:cubicBezTo>
                  <a:pt x="63" y="152"/>
                  <a:pt x="63" y="152"/>
                  <a:pt x="63" y="152"/>
                </a:cubicBezTo>
                <a:cubicBezTo>
                  <a:pt x="63" y="151"/>
                  <a:pt x="63" y="151"/>
                  <a:pt x="62" y="151"/>
                </a:cubicBezTo>
                <a:cubicBezTo>
                  <a:pt x="62" y="151"/>
                  <a:pt x="62" y="150"/>
                  <a:pt x="62" y="150"/>
                </a:cubicBezTo>
                <a:cubicBezTo>
                  <a:pt x="61" y="149"/>
                  <a:pt x="61" y="149"/>
                  <a:pt x="60" y="150"/>
                </a:cubicBezTo>
                <a:cubicBezTo>
                  <a:pt x="60" y="149"/>
                  <a:pt x="58" y="147"/>
                  <a:pt x="57" y="148"/>
                </a:cubicBezTo>
                <a:cubicBezTo>
                  <a:pt x="57" y="148"/>
                  <a:pt x="57" y="149"/>
                  <a:pt x="56" y="148"/>
                </a:cubicBezTo>
                <a:cubicBezTo>
                  <a:pt x="56" y="148"/>
                  <a:pt x="55" y="148"/>
                  <a:pt x="55" y="148"/>
                </a:cubicBezTo>
                <a:cubicBezTo>
                  <a:pt x="55" y="147"/>
                  <a:pt x="54" y="147"/>
                  <a:pt x="53" y="147"/>
                </a:cubicBezTo>
                <a:cubicBezTo>
                  <a:pt x="53" y="147"/>
                  <a:pt x="52" y="146"/>
                  <a:pt x="51" y="146"/>
                </a:cubicBezTo>
                <a:cubicBezTo>
                  <a:pt x="51" y="145"/>
                  <a:pt x="50" y="145"/>
                  <a:pt x="50" y="144"/>
                </a:cubicBezTo>
                <a:cubicBezTo>
                  <a:pt x="50" y="144"/>
                  <a:pt x="49" y="144"/>
                  <a:pt x="49" y="144"/>
                </a:cubicBezTo>
                <a:cubicBezTo>
                  <a:pt x="49" y="144"/>
                  <a:pt x="49" y="144"/>
                  <a:pt x="49" y="144"/>
                </a:cubicBezTo>
                <a:cubicBezTo>
                  <a:pt x="48" y="143"/>
                  <a:pt x="48" y="143"/>
                  <a:pt x="48" y="143"/>
                </a:cubicBezTo>
                <a:cubicBezTo>
                  <a:pt x="47" y="143"/>
                  <a:pt x="47" y="143"/>
                  <a:pt x="47" y="143"/>
                </a:cubicBezTo>
                <a:cubicBezTo>
                  <a:pt x="47" y="143"/>
                  <a:pt x="47" y="143"/>
                  <a:pt x="46" y="143"/>
                </a:cubicBezTo>
                <a:cubicBezTo>
                  <a:pt x="45" y="143"/>
                  <a:pt x="46" y="144"/>
                  <a:pt x="45" y="145"/>
                </a:cubicBezTo>
                <a:cubicBezTo>
                  <a:pt x="45" y="145"/>
                  <a:pt x="44" y="145"/>
                  <a:pt x="44" y="145"/>
                </a:cubicBezTo>
                <a:cubicBezTo>
                  <a:pt x="44" y="145"/>
                  <a:pt x="43" y="144"/>
                  <a:pt x="43" y="144"/>
                </a:cubicBezTo>
                <a:cubicBezTo>
                  <a:pt x="42" y="145"/>
                  <a:pt x="42" y="145"/>
                  <a:pt x="41" y="145"/>
                </a:cubicBezTo>
                <a:cubicBezTo>
                  <a:pt x="41" y="145"/>
                  <a:pt x="41" y="144"/>
                  <a:pt x="41" y="144"/>
                </a:cubicBezTo>
                <a:cubicBezTo>
                  <a:pt x="40" y="144"/>
                  <a:pt x="40" y="144"/>
                  <a:pt x="40" y="144"/>
                </a:cubicBezTo>
                <a:cubicBezTo>
                  <a:pt x="39" y="144"/>
                  <a:pt x="39" y="143"/>
                  <a:pt x="38" y="144"/>
                </a:cubicBezTo>
                <a:cubicBezTo>
                  <a:pt x="38" y="144"/>
                  <a:pt x="37" y="143"/>
                  <a:pt x="36" y="143"/>
                </a:cubicBezTo>
                <a:cubicBezTo>
                  <a:pt x="36" y="142"/>
                  <a:pt x="36" y="141"/>
                  <a:pt x="36" y="141"/>
                </a:cubicBezTo>
                <a:cubicBezTo>
                  <a:pt x="36" y="140"/>
                  <a:pt x="35" y="140"/>
                  <a:pt x="34" y="140"/>
                </a:cubicBezTo>
                <a:cubicBezTo>
                  <a:pt x="33" y="139"/>
                  <a:pt x="34" y="138"/>
                  <a:pt x="33" y="138"/>
                </a:cubicBezTo>
                <a:cubicBezTo>
                  <a:pt x="33" y="138"/>
                  <a:pt x="32" y="138"/>
                  <a:pt x="32" y="138"/>
                </a:cubicBezTo>
                <a:cubicBezTo>
                  <a:pt x="31" y="138"/>
                  <a:pt x="31" y="138"/>
                  <a:pt x="31" y="138"/>
                </a:cubicBezTo>
                <a:cubicBezTo>
                  <a:pt x="30" y="137"/>
                  <a:pt x="29" y="137"/>
                  <a:pt x="29" y="137"/>
                </a:cubicBezTo>
                <a:cubicBezTo>
                  <a:pt x="28" y="137"/>
                  <a:pt x="28" y="136"/>
                  <a:pt x="28" y="136"/>
                </a:cubicBezTo>
                <a:cubicBezTo>
                  <a:pt x="28" y="136"/>
                  <a:pt x="28" y="136"/>
                  <a:pt x="28" y="135"/>
                </a:cubicBezTo>
                <a:cubicBezTo>
                  <a:pt x="28" y="135"/>
                  <a:pt x="28" y="135"/>
                  <a:pt x="28" y="135"/>
                </a:cubicBezTo>
                <a:cubicBezTo>
                  <a:pt x="27" y="135"/>
                  <a:pt x="27" y="134"/>
                  <a:pt x="27" y="134"/>
                </a:cubicBezTo>
                <a:cubicBezTo>
                  <a:pt x="27" y="134"/>
                  <a:pt x="26" y="135"/>
                  <a:pt x="26" y="134"/>
                </a:cubicBezTo>
                <a:cubicBezTo>
                  <a:pt x="26" y="134"/>
                  <a:pt x="25" y="134"/>
                  <a:pt x="25" y="134"/>
                </a:cubicBezTo>
                <a:cubicBezTo>
                  <a:pt x="25" y="134"/>
                  <a:pt x="25" y="133"/>
                  <a:pt x="24" y="133"/>
                </a:cubicBezTo>
                <a:cubicBezTo>
                  <a:pt x="24" y="133"/>
                  <a:pt x="24" y="133"/>
                  <a:pt x="23" y="133"/>
                </a:cubicBezTo>
                <a:cubicBezTo>
                  <a:pt x="23" y="132"/>
                  <a:pt x="23" y="132"/>
                  <a:pt x="22" y="131"/>
                </a:cubicBezTo>
                <a:cubicBezTo>
                  <a:pt x="22" y="131"/>
                  <a:pt x="22" y="130"/>
                  <a:pt x="21" y="130"/>
                </a:cubicBezTo>
                <a:cubicBezTo>
                  <a:pt x="20" y="130"/>
                  <a:pt x="20" y="128"/>
                  <a:pt x="21" y="128"/>
                </a:cubicBezTo>
                <a:cubicBezTo>
                  <a:pt x="22" y="127"/>
                  <a:pt x="22" y="127"/>
                  <a:pt x="23" y="127"/>
                </a:cubicBezTo>
                <a:cubicBezTo>
                  <a:pt x="23" y="127"/>
                  <a:pt x="24" y="127"/>
                  <a:pt x="24" y="128"/>
                </a:cubicBezTo>
                <a:cubicBezTo>
                  <a:pt x="24" y="128"/>
                  <a:pt x="25" y="128"/>
                  <a:pt x="25" y="127"/>
                </a:cubicBezTo>
                <a:cubicBezTo>
                  <a:pt x="25" y="127"/>
                  <a:pt x="25" y="127"/>
                  <a:pt x="25" y="126"/>
                </a:cubicBezTo>
                <a:cubicBezTo>
                  <a:pt x="25" y="126"/>
                  <a:pt x="25" y="126"/>
                  <a:pt x="25" y="126"/>
                </a:cubicBezTo>
                <a:cubicBezTo>
                  <a:pt x="24" y="126"/>
                  <a:pt x="25" y="126"/>
                  <a:pt x="25" y="125"/>
                </a:cubicBezTo>
                <a:cubicBezTo>
                  <a:pt x="24" y="125"/>
                  <a:pt x="24" y="125"/>
                  <a:pt x="24" y="125"/>
                </a:cubicBezTo>
                <a:cubicBezTo>
                  <a:pt x="24" y="125"/>
                  <a:pt x="24" y="124"/>
                  <a:pt x="24" y="124"/>
                </a:cubicBezTo>
                <a:cubicBezTo>
                  <a:pt x="24" y="124"/>
                  <a:pt x="24" y="123"/>
                  <a:pt x="24" y="123"/>
                </a:cubicBezTo>
                <a:cubicBezTo>
                  <a:pt x="25" y="122"/>
                  <a:pt x="25" y="121"/>
                  <a:pt x="25" y="120"/>
                </a:cubicBezTo>
                <a:cubicBezTo>
                  <a:pt x="25" y="121"/>
                  <a:pt x="25" y="121"/>
                  <a:pt x="25" y="121"/>
                </a:cubicBezTo>
                <a:cubicBezTo>
                  <a:pt x="25" y="121"/>
                  <a:pt x="26" y="121"/>
                  <a:pt x="26" y="120"/>
                </a:cubicBezTo>
                <a:cubicBezTo>
                  <a:pt x="26" y="120"/>
                  <a:pt x="26" y="119"/>
                  <a:pt x="27" y="120"/>
                </a:cubicBezTo>
                <a:cubicBezTo>
                  <a:pt x="27" y="120"/>
                  <a:pt x="27" y="120"/>
                  <a:pt x="28" y="120"/>
                </a:cubicBezTo>
                <a:cubicBezTo>
                  <a:pt x="28" y="120"/>
                  <a:pt x="28" y="119"/>
                  <a:pt x="28" y="120"/>
                </a:cubicBezTo>
                <a:cubicBezTo>
                  <a:pt x="29" y="119"/>
                  <a:pt x="29" y="120"/>
                  <a:pt x="29" y="120"/>
                </a:cubicBezTo>
                <a:cubicBezTo>
                  <a:pt x="30" y="120"/>
                  <a:pt x="30" y="119"/>
                  <a:pt x="30" y="119"/>
                </a:cubicBezTo>
                <a:cubicBezTo>
                  <a:pt x="30" y="119"/>
                  <a:pt x="30" y="120"/>
                  <a:pt x="31" y="119"/>
                </a:cubicBezTo>
                <a:cubicBezTo>
                  <a:pt x="31" y="119"/>
                  <a:pt x="31" y="118"/>
                  <a:pt x="31" y="118"/>
                </a:cubicBezTo>
                <a:cubicBezTo>
                  <a:pt x="31" y="118"/>
                  <a:pt x="31" y="118"/>
                  <a:pt x="32" y="118"/>
                </a:cubicBezTo>
                <a:cubicBezTo>
                  <a:pt x="31" y="119"/>
                  <a:pt x="34" y="119"/>
                  <a:pt x="33" y="118"/>
                </a:cubicBezTo>
                <a:cubicBezTo>
                  <a:pt x="33" y="118"/>
                  <a:pt x="33" y="117"/>
                  <a:pt x="32" y="117"/>
                </a:cubicBezTo>
                <a:cubicBezTo>
                  <a:pt x="33" y="117"/>
                  <a:pt x="33" y="117"/>
                  <a:pt x="33" y="117"/>
                </a:cubicBezTo>
                <a:cubicBezTo>
                  <a:pt x="33" y="117"/>
                  <a:pt x="33" y="117"/>
                  <a:pt x="33" y="116"/>
                </a:cubicBezTo>
                <a:cubicBezTo>
                  <a:pt x="33" y="116"/>
                  <a:pt x="33" y="116"/>
                  <a:pt x="34" y="117"/>
                </a:cubicBezTo>
                <a:cubicBezTo>
                  <a:pt x="34" y="116"/>
                  <a:pt x="33" y="116"/>
                  <a:pt x="33" y="116"/>
                </a:cubicBezTo>
                <a:cubicBezTo>
                  <a:pt x="34" y="116"/>
                  <a:pt x="34" y="116"/>
                  <a:pt x="34" y="116"/>
                </a:cubicBezTo>
                <a:cubicBezTo>
                  <a:pt x="34" y="116"/>
                  <a:pt x="33" y="116"/>
                  <a:pt x="33" y="116"/>
                </a:cubicBezTo>
                <a:cubicBezTo>
                  <a:pt x="33" y="115"/>
                  <a:pt x="34" y="115"/>
                  <a:pt x="34" y="115"/>
                </a:cubicBezTo>
                <a:cubicBezTo>
                  <a:pt x="34" y="116"/>
                  <a:pt x="34" y="113"/>
                  <a:pt x="33" y="115"/>
                </a:cubicBezTo>
                <a:cubicBezTo>
                  <a:pt x="34" y="114"/>
                  <a:pt x="33" y="114"/>
                  <a:pt x="34" y="114"/>
                </a:cubicBezTo>
                <a:cubicBezTo>
                  <a:pt x="35" y="114"/>
                  <a:pt x="35" y="112"/>
                  <a:pt x="36" y="112"/>
                </a:cubicBezTo>
                <a:cubicBezTo>
                  <a:pt x="36" y="112"/>
                  <a:pt x="36" y="112"/>
                  <a:pt x="36" y="111"/>
                </a:cubicBezTo>
                <a:cubicBezTo>
                  <a:pt x="37" y="111"/>
                  <a:pt x="36" y="111"/>
                  <a:pt x="36" y="111"/>
                </a:cubicBezTo>
                <a:cubicBezTo>
                  <a:pt x="36" y="110"/>
                  <a:pt x="37" y="110"/>
                  <a:pt x="37" y="110"/>
                </a:cubicBezTo>
                <a:cubicBezTo>
                  <a:pt x="37" y="110"/>
                  <a:pt x="37" y="111"/>
                  <a:pt x="37" y="111"/>
                </a:cubicBezTo>
                <a:cubicBezTo>
                  <a:pt x="37" y="111"/>
                  <a:pt x="37" y="109"/>
                  <a:pt x="37" y="110"/>
                </a:cubicBezTo>
                <a:cubicBezTo>
                  <a:pt x="37" y="109"/>
                  <a:pt x="37" y="109"/>
                  <a:pt x="37" y="109"/>
                </a:cubicBezTo>
                <a:cubicBezTo>
                  <a:pt x="37" y="109"/>
                  <a:pt x="38" y="109"/>
                  <a:pt x="38" y="109"/>
                </a:cubicBezTo>
                <a:cubicBezTo>
                  <a:pt x="38" y="109"/>
                  <a:pt x="38" y="109"/>
                  <a:pt x="38" y="109"/>
                </a:cubicBezTo>
                <a:cubicBezTo>
                  <a:pt x="38" y="108"/>
                  <a:pt x="38" y="108"/>
                  <a:pt x="38" y="108"/>
                </a:cubicBezTo>
                <a:cubicBezTo>
                  <a:pt x="38" y="108"/>
                  <a:pt x="38" y="108"/>
                  <a:pt x="38" y="108"/>
                </a:cubicBezTo>
                <a:cubicBezTo>
                  <a:pt x="38" y="108"/>
                  <a:pt x="39" y="108"/>
                  <a:pt x="38" y="108"/>
                </a:cubicBezTo>
                <a:cubicBezTo>
                  <a:pt x="38" y="107"/>
                  <a:pt x="39" y="107"/>
                  <a:pt x="39" y="107"/>
                </a:cubicBezTo>
                <a:cubicBezTo>
                  <a:pt x="39" y="107"/>
                  <a:pt x="39" y="107"/>
                  <a:pt x="39" y="107"/>
                </a:cubicBezTo>
                <a:cubicBezTo>
                  <a:pt x="39" y="107"/>
                  <a:pt x="39" y="107"/>
                  <a:pt x="39" y="106"/>
                </a:cubicBezTo>
                <a:cubicBezTo>
                  <a:pt x="39" y="106"/>
                  <a:pt x="39" y="107"/>
                  <a:pt x="39" y="106"/>
                </a:cubicBezTo>
                <a:cubicBezTo>
                  <a:pt x="39" y="106"/>
                  <a:pt x="39" y="106"/>
                  <a:pt x="39" y="106"/>
                </a:cubicBezTo>
                <a:cubicBezTo>
                  <a:pt x="39" y="106"/>
                  <a:pt x="39" y="106"/>
                  <a:pt x="39" y="106"/>
                </a:cubicBezTo>
                <a:cubicBezTo>
                  <a:pt x="39" y="106"/>
                  <a:pt x="40" y="106"/>
                  <a:pt x="39" y="106"/>
                </a:cubicBezTo>
                <a:cubicBezTo>
                  <a:pt x="39" y="105"/>
                  <a:pt x="39" y="105"/>
                  <a:pt x="39" y="106"/>
                </a:cubicBezTo>
                <a:cubicBezTo>
                  <a:pt x="40" y="105"/>
                  <a:pt x="40" y="105"/>
                  <a:pt x="40" y="105"/>
                </a:cubicBezTo>
                <a:cubicBezTo>
                  <a:pt x="40" y="105"/>
                  <a:pt x="40" y="104"/>
                  <a:pt x="40" y="104"/>
                </a:cubicBezTo>
                <a:cubicBezTo>
                  <a:pt x="40" y="104"/>
                  <a:pt x="40" y="104"/>
                  <a:pt x="39" y="104"/>
                </a:cubicBezTo>
                <a:cubicBezTo>
                  <a:pt x="40" y="105"/>
                  <a:pt x="38" y="105"/>
                  <a:pt x="38" y="105"/>
                </a:cubicBezTo>
                <a:cubicBezTo>
                  <a:pt x="38" y="105"/>
                  <a:pt x="38" y="104"/>
                  <a:pt x="38" y="104"/>
                </a:cubicBezTo>
                <a:cubicBezTo>
                  <a:pt x="38" y="103"/>
                  <a:pt x="38" y="104"/>
                  <a:pt x="39" y="104"/>
                </a:cubicBezTo>
                <a:cubicBezTo>
                  <a:pt x="38" y="104"/>
                  <a:pt x="39" y="103"/>
                  <a:pt x="39" y="103"/>
                </a:cubicBezTo>
                <a:cubicBezTo>
                  <a:pt x="39" y="103"/>
                  <a:pt x="38" y="102"/>
                  <a:pt x="38" y="102"/>
                </a:cubicBezTo>
                <a:cubicBezTo>
                  <a:pt x="38" y="103"/>
                  <a:pt x="38" y="103"/>
                  <a:pt x="38" y="103"/>
                </a:cubicBezTo>
                <a:cubicBezTo>
                  <a:pt x="37" y="104"/>
                  <a:pt x="37" y="104"/>
                  <a:pt x="37" y="103"/>
                </a:cubicBezTo>
                <a:cubicBezTo>
                  <a:pt x="36" y="103"/>
                  <a:pt x="36" y="102"/>
                  <a:pt x="36" y="102"/>
                </a:cubicBezTo>
                <a:cubicBezTo>
                  <a:pt x="37" y="101"/>
                  <a:pt x="37" y="101"/>
                  <a:pt x="38" y="101"/>
                </a:cubicBezTo>
                <a:cubicBezTo>
                  <a:pt x="38" y="101"/>
                  <a:pt x="39" y="100"/>
                  <a:pt x="38" y="100"/>
                </a:cubicBezTo>
                <a:cubicBezTo>
                  <a:pt x="37" y="100"/>
                  <a:pt x="37" y="100"/>
                  <a:pt x="37" y="99"/>
                </a:cubicBezTo>
                <a:cubicBezTo>
                  <a:pt x="37" y="99"/>
                  <a:pt x="38" y="98"/>
                  <a:pt x="38" y="98"/>
                </a:cubicBezTo>
                <a:cubicBezTo>
                  <a:pt x="38" y="98"/>
                  <a:pt x="38" y="98"/>
                  <a:pt x="38" y="97"/>
                </a:cubicBezTo>
                <a:cubicBezTo>
                  <a:pt x="38" y="97"/>
                  <a:pt x="38" y="96"/>
                  <a:pt x="38" y="96"/>
                </a:cubicBezTo>
                <a:cubicBezTo>
                  <a:pt x="38" y="96"/>
                  <a:pt x="37" y="95"/>
                  <a:pt x="38" y="95"/>
                </a:cubicBezTo>
                <a:cubicBezTo>
                  <a:pt x="38" y="95"/>
                  <a:pt x="38" y="94"/>
                  <a:pt x="38" y="94"/>
                </a:cubicBezTo>
                <a:cubicBezTo>
                  <a:pt x="38" y="94"/>
                  <a:pt x="38" y="93"/>
                  <a:pt x="38" y="93"/>
                </a:cubicBezTo>
                <a:cubicBezTo>
                  <a:pt x="38" y="92"/>
                  <a:pt x="38" y="91"/>
                  <a:pt x="38" y="90"/>
                </a:cubicBezTo>
                <a:cubicBezTo>
                  <a:pt x="38" y="89"/>
                  <a:pt x="38" y="89"/>
                  <a:pt x="37" y="88"/>
                </a:cubicBezTo>
                <a:cubicBezTo>
                  <a:pt x="38" y="88"/>
                  <a:pt x="37" y="87"/>
                  <a:pt x="37" y="87"/>
                </a:cubicBezTo>
                <a:cubicBezTo>
                  <a:pt x="37" y="87"/>
                  <a:pt x="36" y="87"/>
                  <a:pt x="36" y="87"/>
                </a:cubicBezTo>
                <a:cubicBezTo>
                  <a:pt x="36" y="87"/>
                  <a:pt x="37" y="86"/>
                  <a:pt x="37" y="86"/>
                </a:cubicBezTo>
                <a:cubicBezTo>
                  <a:pt x="37" y="85"/>
                  <a:pt x="38" y="86"/>
                  <a:pt x="38" y="85"/>
                </a:cubicBezTo>
                <a:cubicBezTo>
                  <a:pt x="40" y="84"/>
                  <a:pt x="39" y="82"/>
                  <a:pt x="38" y="81"/>
                </a:cubicBezTo>
                <a:cubicBezTo>
                  <a:pt x="38" y="82"/>
                  <a:pt x="37" y="80"/>
                  <a:pt x="37" y="80"/>
                </a:cubicBezTo>
                <a:cubicBezTo>
                  <a:pt x="37" y="79"/>
                  <a:pt x="37" y="79"/>
                  <a:pt x="37" y="78"/>
                </a:cubicBezTo>
                <a:cubicBezTo>
                  <a:pt x="37" y="78"/>
                  <a:pt x="38" y="79"/>
                  <a:pt x="38" y="78"/>
                </a:cubicBezTo>
                <a:cubicBezTo>
                  <a:pt x="38" y="78"/>
                  <a:pt x="38" y="77"/>
                  <a:pt x="38" y="77"/>
                </a:cubicBezTo>
                <a:cubicBezTo>
                  <a:pt x="38" y="77"/>
                  <a:pt x="38" y="76"/>
                  <a:pt x="38" y="76"/>
                </a:cubicBezTo>
                <a:cubicBezTo>
                  <a:pt x="39" y="75"/>
                  <a:pt x="38" y="75"/>
                  <a:pt x="38" y="74"/>
                </a:cubicBezTo>
                <a:cubicBezTo>
                  <a:pt x="38" y="74"/>
                  <a:pt x="37" y="73"/>
                  <a:pt x="37" y="74"/>
                </a:cubicBezTo>
                <a:cubicBezTo>
                  <a:pt x="37" y="74"/>
                  <a:pt x="37" y="74"/>
                  <a:pt x="37" y="73"/>
                </a:cubicBezTo>
                <a:cubicBezTo>
                  <a:pt x="37" y="73"/>
                  <a:pt x="35" y="71"/>
                  <a:pt x="35" y="72"/>
                </a:cubicBezTo>
                <a:cubicBezTo>
                  <a:pt x="35" y="72"/>
                  <a:pt x="35" y="71"/>
                  <a:pt x="35" y="71"/>
                </a:cubicBezTo>
                <a:cubicBezTo>
                  <a:pt x="36" y="71"/>
                  <a:pt x="36" y="70"/>
                  <a:pt x="36" y="70"/>
                </a:cubicBezTo>
                <a:cubicBezTo>
                  <a:pt x="36" y="70"/>
                  <a:pt x="35" y="69"/>
                  <a:pt x="35" y="70"/>
                </a:cubicBezTo>
                <a:cubicBezTo>
                  <a:pt x="35" y="69"/>
                  <a:pt x="34" y="69"/>
                  <a:pt x="34" y="68"/>
                </a:cubicBezTo>
                <a:cubicBezTo>
                  <a:pt x="33" y="68"/>
                  <a:pt x="34" y="67"/>
                  <a:pt x="34" y="67"/>
                </a:cubicBezTo>
                <a:cubicBezTo>
                  <a:pt x="34" y="66"/>
                  <a:pt x="34" y="65"/>
                  <a:pt x="34" y="65"/>
                </a:cubicBezTo>
                <a:cubicBezTo>
                  <a:pt x="35" y="65"/>
                  <a:pt x="35" y="65"/>
                  <a:pt x="35" y="64"/>
                </a:cubicBezTo>
                <a:cubicBezTo>
                  <a:pt x="35" y="64"/>
                  <a:pt x="35" y="63"/>
                  <a:pt x="35" y="63"/>
                </a:cubicBezTo>
                <a:cubicBezTo>
                  <a:pt x="36" y="62"/>
                  <a:pt x="36" y="63"/>
                  <a:pt x="36" y="63"/>
                </a:cubicBezTo>
                <a:cubicBezTo>
                  <a:pt x="36" y="64"/>
                  <a:pt x="36" y="65"/>
                  <a:pt x="37" y="64"/>
                </a:cubicBezTo>
                <a:cubicBezTo>
                  <a:pt x="37" y="64"/>
                  <a:pt x="38" y="63"/>
                  <a:pt x="38" y="63"/>
                </a:cubicBezTo>
                <a:cubicBezTo>
                  <a:pt x="38" y="63"/>
                  <a:pt x="39" y="63"/>
                  <a:pt x="39" y="62"/>
                </a:cubicBezTo>
                <a:cubicBezTo>
                  <a:pt x="39" y="62"/>
                  <a:pt x="39" y="62"/>
                  <a:pt x="39" y="61"/>
                </a:cubicBezTo>
                <a:cubicBezTo>
                  <a:pt x="39" y="61"/>
                  <a:pt x="39" y="60"/>
                  <a:pt x="40" y="60"/>
                </a:cubicBezTo>
                <a:cubicBezTo>
                  <a:pt x="40" y="60"/>
                  <a:pt x="41" y="60"/>
                  <a:pt x="41" y="60"/>
                </a:cubicBezTo>
                <a:cubicBezTo>
                  <a:pt x="40" y="59"/>
                  <a:pt x="41" y="57"/>
                  <a:pt x="39" y="56"/>
                </a:cubicBezTo>
                <a:cubicBezTo>
                  <a:pt x="39" y="56"/>
                  <a:pt x="39" y="56"/>
                  <a:pt x="39" y="55"/>
                </a:cubicBezTo>
                <a:cubicBezTo>
                  <a:pt x="39" y="55"/>
                  <a:pt x="39" y="55"/>
                  <a:pt x="39" y="54"/>
                </a:cubicBezTo>
                <a:cubicBezTo>
                  <a:pt x="39" y="54"/>
                  <a:pt x="38" y="54"/>
                  <a:pt x="38" y="54"/>
                </a:cubicBezTo>
                <a:cubicBezTo>
                  <a:pt x="38" y="54"/>
                  <a:pt x="39" y="53"/>
                  <a:pt x="39" y="53"/>
                </a:cubicBezTo>
                <a:cubicBezTo>
                  <a:pt x="39" y="52"/>
                  <a:pt x="39" y="52"/>
                  <a:pt x="39" y="52"/>
                </a:cubicBezTo>
                <a:cubicBezTo>
                  <a:pt x="40" y="52"/>
                  <a:pt x="40" y="53"/>
                  <a:pt x="40" y="54"/>
                </a:cubicBezTo>
                <a:cubicBezTo>
                  <a:pt x="40" y="54"/>
                  <a:pt x="41" y="54"/>
                  <a:pt x="41" y="55"/>
                </a:cubicBezTo>
                <a:cubicBezTo>
                  <a:pt x="42" y="55"/>
                  <a:pt x="42" y="56"/>
                  <a:pt x="42" y="56"/>
                </a:cubicBezTo>
                <a:cubicBezTo>
                  <a:pt x="42" y="57"/>
                  <a:pt x="43" y="56"/>
                  <a:pt x="43" y="56"/>
                </a:cubicBezTo>
                <a:cubicBezTo>
                  <a:pt x="43" y="56"/>
                  <a:pt x="43" y="57"/>
                  <a:pt x="43" y="57"/>
                </a:cubicBezTo>
                <a:cubicBezTo>
                  <a:pt x="43" y="57"/>
                  <a:pt x="43" y="57"/>
                  <a:pt x="43" y="57"/>
                </a:cubicBezTo>
                <a:cubicBezTo>
                  <a:pt x="43" y="57"/>
                  <a:pt x="43" y="59"/>
                  <a:pt x="44" y="58"/>
                </a:cubicBezTo>
                <a:cubicBezTo>
                  <a:pt x="44" y="58"/>
                  <a:pt x="44" y="58"/>
                  <a:pt x="44" y="58"/>
                </a:cubicBezTo>
                <a:cubicBezTo>
                  <a:pt x="44" y="58"/>
                  <a:pt x="44" y="59"/>
                  <a:pt x="44" y="59"/>
                </a:cubicBezTo>
                <a:cubicBezTo>
                  <a:pt x="44" y="59"/>
                  <a:pt x="44" y="59"/>
                  <a:pt x="44" y="59"/>
                </a:cubicBezTo>
                <a:cubicBezTo>
                  <a:pt x="44" y="59"/>
                  <a:pt x="43" y="59"/>
                  <a:pt x="43" y="59"/>
                </a:cubicBezTo>
                <a:cubicBezTo>
                  <a:pt x="43" y="60"/>
                  <a:pt x="43" y="60"/>
                  <a:pt x="44" y="60"/>
                </a:cubicBezTo>
                <a:cubicBezTo>
                  <a:pt x="45" y="60"/>
                  <a:pt x="45" y="60"/>
                  <a:pt x="45" y="60"/>
                </a:cubicBezTo>
                <a:cubicBezTo>
                  <a:pt x="45" y="59"/>
                  <a:pt x="45" y="59"/>
                  <a:pt x="45" y="59"/>
                </a:cubicBezTo>
                <a:cubicBezTo>
                  <a:pt x="45" y="59"/>
                  <a:pt x="45" y="58"/>
                  <a:pt x="45" y="59"/>
                </a:cubicBezTo>
                <a:cubicBezTo>
                  <a:pt x="45" y="58"/>
                  <a:pt x="45" y="58"/>
                  <a:pt x="45" y="57"/>
                </a:cubicBezTo>
                <a:cubicBezTo>
                  <a:pt x="45" y="56"/>
                  <a:pt x="45" y="56"/>
                  <a:pt x="45" y="55"/>
                </a:cubicBezTo>
                <a:cubicBezTo>
                  <a:pt x="45" y="55"/>
                  <a:pt x="45" y="54"/>
                  <a:pt x="44" y="54"/>
                </a:cubicBezTo>
                <a:cubicBezTo>
                  <a:pt x="44" y="54"/>
                  <a:pt x="43" y="53"/>
                  <a:pt x="43" y="53"/>
                </a:cubicBezTo>
                <a:cubicBezTo>
                  <a:pt x="44" y="52"/>
                  <a:pt x="45" y="52"/>
                  <a:pt x="45" y="52"/>
                </a:cubicBezTo>
                <a:cubicBezTo>
                  <a:pt x="46" y="52"/>
                  <a:pt x="46" y="51"/>
                  <a:pt x="47" y="51"/>
                </a:cubicBezTo>
                <a:cubicBezTo>
                  <a:pt x="48" y="51"/>
                  <a:pt x="48" y="49"/>
                  <a:pt x="49" y="49"/>
                </a:cubicBezTo>
                <a:cubicBezTo>
                  <a:pt x="50" y="49"/>
                  <a:pt x="51" y="48"/>
                  <a:pt x="51" y="47"/>
                </a:cubicBezTo>
                <a:cubicBezTo>
                  <a:pt x="51" y="47"/>
                  <a:pt x="51" y="46"/>
                  <a:pt x="51" y="46"/>
                </a:cubicBezTo>
                <a:cubicBezTo>
                  <a:pt x="52" y="45"/>
                  <a:pt x="52" y="45"/>
                  <a:pt x="52" y="45"/>
                </a:cubicBezTo>
                <a:cubicBezTo>
                  <a:pt x="52" y="45"/>
                  <a:pt x="55" y="43"/>
                  <a:pt x="55" y="44"/>
                </a:cubicBezTo>
                <a:cubicBezTo>
                  <a:pt x="55" y="44"/>
                  <a:pt x="55" y="44"/>
                  <a:pt x="55" y="44"/>
                </a:cubicBezTo>
                <a:cubicBezTo>
                  <a:pt x="55" y="44"/>
                  <a:pt x="56" y="44"/>
                  <a:pt x="56" y="44"/>
                </a:cubicBezTo>
                <a:cubicBezTo>
                  <a:pt x="57" y="43"/>
                  <a:pt x="57" y="43"/>
                  <a:pt x="57" y="42"/>
                </a:cubicBezTo>
                <a:cubicBezTo>
                  <a:pt x="57" y="41"/>
                  <a:pt x="57" y="41"/>
                  <a:pt x="56" y="41"/>
                </a:cubicBezTo>
                <a:cubicBezTo>
                  <a:pt x="56" y="41"/>
                  <a:pt x="57" y="40"/>
                  <a:pt x="57" y="39"/>
                </a:cubicBezTo>
                <a:cubicBezTo>
                  <a:pt x="57" y="39"/>
                  <a:pt x="57" y="38"/>
                  <a:pt x="57" y="37"/>
                </a:cubicBezTo>
                <a:cubicBezTo>
                  <a:pt x="57" y="36"/>
                  <a:pt x="58" y="36"/>
                  <a:pt x="58" y="35"/>
                </a:cubicBezTo>
                <a:cubicBezTo>
                  <a:pt x="59" y="34"/>
                  <a:pt x="56" y="36"/>
                  <a:pt x="56" y="36"/>
                </a:cubicBezTo>
                <a:cubicBezTo>
                  <a:pt x="56" y="36"/>
                  <a:pt x="57" y="35"/>
                  <a:pt x="57" y="35"/>
                </a:cubicBezTo>
                <a:cubicBezTo>
                  <a:pt x="57" y="35"/>
                  <a:pt x="57" y="34"/>
                  <a:pt x="58" y="34"/>
                </a:cubicBezTo>
                <a:cubicBezTo>
                  <a:pt x="58" y="35"/>
                  <a:pt x="58" y="34"/>
                  <a:pt x="58" y="34"/>
                </a:cubicBezTo>
                <a:cubicBezTo>
                  <a:pt x="58" y="33"/>
                  <a:pt x="58" y="33"/>
                  <a:pt x="58" y="33"/>
                </a:cubicBezTo>
                <a:cubicBezTo>
                  <a:pt x="58" y="33"/>
                  <a:pt x="58" y="32"/>
                  <a:pt x="59" y="32"/>
                </a:cubicBezTo>
                <a:cubicBezTo>
                  <a:pt x="58" y="32"/>
                  <a:pt x="58" y="32"/>
                  <a:pt x="58" y="33"/>
                </a:cubicBezTo>
                <a:cubicBezTo>
                  <a:pt x="58" y="33"/>
                  <a:pt x="59" y="32"/>
                  <a:pt x="59" y="32"/>
                </a:cubicBezTo>
                <a:cubicBezTo>
                  <a:pt x="58" y="31"/>
                  <a:pt x="59" y="31"/>
                  <a:pt x="59" y="31"/>
                </a:cubicBezTo>
                <a:cubicBezTo>
                  <a:pt x="59" y="30"/>
                  <a:pt x="60" y="30"/>
                  <a:pt x="60" y="30"/>
                </a:cubicBezTo>
                <a:cubicBezTo>
                  <a:pt x="60" y="30"/>
                  <a:pt x="61" y="29"/>
                  <a:pt x="61" y="30"/>
                </a:cubicBezTo>
                <a:cubicBezTo>
                  <a:pt x="61" y="30"/>
                  <a:pt x="62" y="29"/>
                  <a:pt x="61" y="29"/>
                </a:cubicBezTo>
                <a:cubicBezTo>
                  <a:pt x="61" y="29"/>
                  <a:pt x="61" y="29"/>
                  <a:pt x="61" y="29"/>
                </a:cubicBezTo>
                <a:cubicBezTo>
                  <a:pt x="61" y="29"/>
                  <a:pt x="61" y="29"/>
                  <a:pt x="62" y="29"/>
                </a:cubicBezTo>
                <a:cubicBezTo>
                  <a:pt x="62" y="28"/>
                  <a:pt x="62" y="28"/>
                  <a:pt x="62" y="28"/>
                </a:cubicBezTo>
                <a:cubicBezTo>
                  <a:pt x="63" y="28"/>
                  <a:pt x="63" y="28"/>
                  <a:pt x="63" y="27"/>
                </a:cubicBezTo>
                <a:cubicBezTo>
                  <a:pt x="63" y="27"/>
                  <a:pt x="63" y="27"/>
                  <a:pt x="64" y="27"/>
                </a:cubicBezTo>
                <a:cubicBezTo>
                  <a:pt x="64" y="27"/>
                  <a:pt x="64" y="26"/>
                  <a:pt x="64" y="26"/>
                </a:cubicBezTo>
                <a:cubicBezTo>
                  <a:pt x="64" y="26"/>
                  <a:pt x="65" y="25"/>
                  <a:pt x="65" y="25"/>
                </a:cubicBezTo>
                <a:cubicBezTo>
                  <a:pt x="66" y="25"/>
                  <a:pt x="66" y="25"/>
                  <a:pt x="67" y="26"/>
                </a:cubicBezTo>
                <a:cubicBezTo>
                  <a:pt x="68" y="26"/>
                  <a:pt x="69" y="27"/>
                  <a:pt x="71" y="26"/>
                </a:cubicBezTo>
                <a:cubicBezTo>
                  <a:pt x="70" y="27"/>
                  <a:pt x="69" y="27"/>
                  <a:pt x="69" y="27"/>
                </a:cubicBezTo>
                <a:cubicBezTo>
                  <a:pt x="68" y="27"/>
                  <a:pt x="69" y="28"/>
                  <a:pt x="69" y="28"/>
                </a:cubicBezTo>
                <a:cubicBezTo>
                  <a:pt x="68" y="28"/>
                  <a:pt x="68" y="28"/>
                  <a:pt x="68" y="28"/>
                </a:cubicBezTo>
                <a:cubicBezTo>
                  <a:pt x="67" y="28"/>
                  <a:pt x="68" y="29"/>
                  <a:pt x="68" y="28"/>
                </a:cubicBezTo>
                <a:cubicBezTo>
                  <a:pt x="68" y="28"/>
                  <a:pt x="68" y="29"/>
                  <a:pt x="68" y="29"/>
                </a:cubicBezTo>
                <a:cubicBezTo>
                  <a:pt x="69" y="29"/>
                  <a:pt x="68" y="28"/>
                  <a:pt x="68" y="28"/>
                </a:cubicBezTo>
                <a:cubicBezTo>
                  <a:pt x="69" y="28"/>
                  <a:pt x="69" y="29"/>
                  <a:pt x="69" y="29"/>
                </a:cubicBezTo>
                <a:cubicBezTo>
                  <a:pt x="69" y="29"/>
                  <a:pt x="69" y="29"/>
                  <a:pt x="69" y="29"/>
                </a:cubicBezTo>
                <a:cubicBezTo>
                  <a:pt x="70" y="29"/>
                  <a:pt x="70" y="28"/>
                  <a:pt x="70" y="28"/>
                </a:cubicBezTo>
                <a:cubicBezTo>
                  <a:pt x="70" y="27"/>
                  <a:pt x="71" y="27"/>
                  <a:pt x="71" y="26"/>
                </a:cubicBezTo>
                <a:cubicBezTo>
                  <a:pt x="72" y="25"/>
                  <a:pt x="71" y="25"/>
                  <a:pt x="71" y="24"/>
                </a:cubicBezTo>
                <a:cubicBezTo>
                  <a:pt x="71" y="24"/>
                  <a:pt x="72" y="23"/>
                  <a:pt x="72" y="23"/>
                </a:cubicBezTo>
                <a:cubicBezTo>
                  <a:pt x="72" y="23"/>
                  <a:pt x="73" y="23"/>
                  <a:pt x="73" y="23"/>
                </a:cubicBezTo>
                <a:cubicBezTo>
                  <a:pt x="73" y="23"/>
                  <a:pt x="73" y="23"/>
                  <a:pt x="73" y="23"/>
                </a:cubicBezTo>
                <a:cubicBezTo>
                  <a:pt x="73" y="23"/>
                  <a:pt x="73" y="22"/>
                  <a:pt x="74" y="23"/>
                </a:cubicBezTo>
                <a:cubicBezTo>
                  <a:pt x="75" y="23"/>
                  <a:pt x="75" y="23"/>
                  <a:pt x="76" y="23"/>
                </a:cubicBezTo>
                <a:cubicBezTo>
                  <a:pt x="78" y="23"/>
                  <a:pt x="80" y="24"/>
                  <a:pt x="81" y="23"/>
                </a:cubicBezTo>
                <a:cubicBezTo>
                  <a:pt x="82" y="22"/>
                  <a:pt x="83" y="21"/>
                  <a:pt x="84" y="20"/>
                </a:cubicBezTo>
                <a:cubicBezTo>
                  <a:pt x="84" y="20"/>
                  <a:pt x="85" y="20"/>
                  <a:pt x="86" y="19"/>
                </a:cubicBezTo>
                <a:cubicBezTo>
                  <a:pt x="86" y="19"/>
                  <a:pt x="87" y="19"/>
                  <a:pt x="88" y="18"/>
                </a:cubicBezTo>
                <a:cubicBezTo>
                  <a:pt x="88" y="18"/>
                  <a:pt x="88" y="18"/>
                  <a:pt x="89" y="18"/>
                </a:cubicBezTo>
                <a:cubicBezTo>
                  <a:pt x="89" y="18"/>
                  <a:pt x="90" y="17"/>
                  <a:pt x="90" y="17"/>
                </a:cubicBezTo>
                <a:cubicBezTo>
                  <a:pt x="91" y="17"/>
                  <a:pt x="92" y="15"/>
                  <a:pt x="92" y="14"/>
                </a:cubicBezTo>
                <a:cubicBezTo>
                  <a:pt x="92" y="13"/>
                  <a:pt x="92" y="13"/>
                  <a:pt x="93" y="13"/>
                </a:cubicBezTo>
                <a:cubicBezTo>
                  <a:pt x="93" y="13"/>
                  <a:pt x="94" y="12"/>
                  <a:pt x="94" y="13"/>
                </a:cubicBezTo>
                <a:cubicBezTo>
                  <a:pt x="94" y="13"/>
                  <a:pt x="93" y="14"/>
                  <a:pt x="94" y="14"/>
                </a:cubicBezTo>
                <a:cubicBezTo>
                  <a:pt x="94" y="14"/>
                  <a:pt x="95" y="13"/>
                  <a:pt x="95" y="13"/>
                </a:cubicBezTo>
                <a:cubicBezTo>
                  <a:pt x="95" y="12"/>
                  <a:pt x="95" y="12"/>
                  <a:pt x="94" y="12"/>
                </a:cubicBezTo>
                <a:cubicBezTo>
                  <a:pt x="94" y="12"/>
                  <a:pt x="95" y="11"/>
                  <a:pt x="96" y="11"/>
                </a:cubicBezTo>
                <a:cubicBezTo>
                  <a:pt x="95" y="12"/>
                  <a:pt x="96" y="12"/>
                  <a:pt x="96" y="12"/>
                </a:cubicBezTo>
                <a:cubicBezTo>
                  <a:pt x="96" y="12"/>
                  <a:pt x="96" y="11"/>
                  <a:pt x="97" y="11"/>
                </a:cubicBezTo>
                <a:cubicBezTo>
                  <a:pt x="96" y="12"/>
                  <a:pt x="97" y="11"/>
                  <a:pt x="97" y="11"/>
                </a:cubicBezTo>
                <a:cubicBezTo>
                  <a:pt x="97" y="11"/>
                  <a:pt x="97" y="11"/>
                  <a:pt x="97" y="11"/>
                </a:cubicBezTo>
                <a:cubicBezTo>
                  <a:pt x="97" y="11"/>
                  <a:pt x="97" y="11"/>
                  <a:pt x="97" y="11"/>
                </a:cubicBezTo>
                <a:cubicBezTo>
                  <a:pt x="97" y="11"/>
                  <a:pt x="97" y="11"/>
                  <a:pt x="97" y="11"/>
                </a:cubicBezTo>
                <a:cubicBezTo>
                  <a:pt x="97" y="11"/>
                  <a:pt x="97" y="11"/>
                  <a:pt x="96" y="11"/>
                </a:cubicBezTo>
                <a:cubicBezTo>
                  <a:pt x="97" y="10"/>
                  <a:pt x="99" y="11"/>
                  <a:pt x="99" y="11"/>
                </a:cubicBezTo>
                <a:cubicBezTo>
                  <a:pt x="100" y="11"/>
                  <a:pt x="101" y="11"/>
                  <a:pt x="101" y="12"/>
                </a:cubicBezTo>
                <a:cubicBezTo>
                  <a:pt x="102" y="12"/>
                  <a:pt x="102" y="13"/>
                  <a:pt x="102" y="14"/>
                </a:cubicBezTo>
                <a:cubicBezTo>
                  <a:pt x="103" y="15"/>
                  <a:pt x="101" y="16"/>
                  <a:pt x="100" y="16"/>
                </a:cubicBezTo>
                <a:cubicBezTo>
                  <a:pt x="99" y="18"/>
                  <a:pt x="98" y="18"/>
                  <a:pt x="97" y="18"/>
                </a:cubicBezTo>
                <a:cubicBezTo>
                  <a:pt x="95" y="19"/>
                  <a:pt x="94" y="19"/>
                  <a:pt x="93" y="20"/>
                </a:cubicBezTo>
                <a:cubicBezTo>
                  <a:pt x="92" y="21"/>
                  <a:pt x="92" y="22"/>
                  <a:pt x="92" y="23"/>
                </a:cubicBezTo>
                <a:cubicBezTo>
                  <a:pt x="91" y="23"/>
                  <a:pt x="91" y="24"/>
                  <a:pt x="90" y="25"/>
                </a:cubicBezTo>
                <a:cubicBezTo>
                  <a:pt x="90" y="25"/>
                  <a:pt x="89" y="25"/>
                  <a:pt x="88" y="25"/>
                </a:cubicBezTo>
                <a:cubicBezTo>
                  <a:pt x="88" y="25"/>
                  <a:pt x="88" y="26"/>
                  <a:pt x="87" y="27"/>
                </a:cubicBezTo>
                <a:cubicBezTo>
                  <a:pt x="87" y="27"/>
                  <a:pt x="86" y="28"/>
                  <a:pt x="86" y="28"/>
                </a:cubicBezTo>
                <a:cubicBezTo>
                  <a:pt x="86" y="29"/>
                  <a:pt x="85" y="30"/>
                  <a:pt x="85" y="31"/>
                </a:cubicBezTo>
                <a:cubicBezTo>
                  <a:pt x="84" y="32"/>
                  <a:pt x="84" y="33"/>
                  <a:pt x="83" y="35"/>
                </a:cubicBezTo>
                <a:cubicBezTo>
                  <a:pt x="83" y="36"/>
                  <a:pt x="83" y="37"/>
                  <a:pt x="83" y="38"/>
                </a:cubicBezTo>
                <a:cubicBezTo>
                  <a:pt x="83" y="39"/>
                  <a:pt x="83" y="39"/>
                  <a:pt x="82" y="40"/>
                </a:cubicBezTo>
                <a:cubicBezTo>
                  <a:pt x="82" y="41"/>
                  <a:pt x="81" y="42"/>
                  <a:pt x="80" y="43"/>
                </a:cubicBezTo>
                <a:cubicBezTo>
                  <a:pt x="80" y="44"/>
                  <a:pt x="79" y="45"/>
                  <a:pt x="79" y="45"/>
                </a:cubicBezTo>
                <a:cubicBezTo>
                  <a:pt x="79" y="45"/>
                  <a:pt x="78" y="46"/>
                  <a:pt x="78" y="46"/>
                </a:cubicBezTo>
                <a:cubicBezTo>
                  <a:pt x="79" y="47"/>
                  <a:pt x="80" y="46"/>
                  <a:pt x="81" y="46"/>
                </a:cubicBezTo>
                <a:cubicBezTo>
                  <a:pt x="81" y="46"/>
                  <a:pt x="82" y="45"/>
                  <a:pt x="82" y="45"/>
                </a:cubicBezTo>
                <a:cubicBezTo>
                  <a:pt x="82" y="46"/>
                  <a:pt x="82" y="46"/>
                  <a:pt x="82" y="47"/>
                </a:cubicBezTo>
                <a:cubicBezTo>
                  <a:pt x="82" y="48"/>
                  <a:pt x="83" y="47"/>
                  <a:pt x="83" y="47"/>
                </a:cubicBezTo>
                <a:cubicBezTo>
                  <a:pt x="84" y="47"/>
                  <a:pt x="84" y="48"/>
                  <a:pt x="84" y="48"/>
                </a:cubicBezTo>
                <a:cubicBezTo>
                  <a:pt x="84" y="50"/>
                  <a:pt x="84" y="51"/>
                  <a:pt x="85" y="53"/>
                </a:cubicBezTo>
                <a:cubicBezTo>
                  <a:pt x="86" y="54"/>
                  <a:pt x="87" y="55"/>
                  <a:pt x="87" y="56"/>
                </a:cubicBezTo>
                <a:cubicBezTo>
                  <a:pt x="87" y="57"/>
                  <a:pt x="88" y="58"/>
                  <a:pt x="88" y="58"/>
                </a:cubicBezTo>
                <a:cubicBezTo>
                  <a:pt x="88" y="59"/>
                  <a:pt x="87" y="59"/>
                  <a:pt x="87" y="59"/>
                </a:cubicBezTo>
                <a:cubicBezTo>
                  <a:pt x="86" y="60"/>
                  <a:pt x="86" y="60"/>
                  <a:pt x="87" y="61"/>
                </a:cubicBezTo>
                <a:cubicBezTo>
                  <a:pt x="87" y="61"/>
                  <a:pt x="86" y="62"/>
                  <a:pt x="86" y="63"/>
                </a:cubicBezTo>
                <a:cubicBezTo>
                  <a:pt x="86" y="64"/>
                  <a:pt x="86" y="66"/>
                  <a:pt x="88" y="66"/>
                </a:cubicBezTo>
                <a:cubicBezTo>
                  <a:pt x="90" y="66"/>
                  <a:pt x="89" y="67"/>
                  <a:pt x="89" y="69"/>
                </a:cubicBezTo>
                <a:cubicBezTo>
                  <a:pt x="90" y="69"/>
                  <a:pt x="90" y="70"/>
                  <a:pt x="90" y="70"/>
                </a:cubicBezTo>
                <a:cubicBezTo>
                  <a:pt x="91" y="70"/>
                  <a:pt x="92" y="70"/>
                  <a:pt x="93" y="70"/>
                </a:cubicBezTo>
                <a:cubicBezTo>
                  <a:pt x="93" y="70"/>
                  <a:pt x="94" y="70"/>
                  <a:pt x="94" y="70"/>
                </a:cubicBezTo>
                <a:cubicBezTo>
                  <a:pt x="95" y="70"/>
                  <a:pt x="96" y="70"/>
                  <a:pt x="97" y="70"/>
                </a:cubicBezTo>
                <a:cubicBezTo>
                  <a:pt x="97" y="70"/>
                  <a:pt x="98" y="71"/>
                  <a:pt x="98" y="71"/>
                </a:cubicBezTo>
                <a:cubicBezTo>
                  <a:pt x="99" y="70"/>
                  <a:pt x="100" y="71"/>
                  <a:pt x="100" y="70"/>
                </a:cubicBezTo>
                <a:cubicBezTo>
                  <a:pt x="101" y="70"/>
                  <a:pt x="101" y="70"/>
                  <a:pt x="102" y="69"/>
                </a:cubicBezTo>
                <a:cubicBezTo>
                  <a:pt x="102" y="69"/>
                  <a:pt x="103" y="69"/>
                  <a:pt x="103" y="69"/>
                </a:cubicBezTo>
                <a:cubicBezTo>
                  <a:pt x="104" y="69"/>
                  <a:pt x="105" y="71"/>
                  <a:pt x="107" y="71"/>
                </a:cubicBezTo>
                <a:cubicBezTo>
                  <a:pt x="107" y="71"/>
                  <a:pt x="108" y="70"/>
                  <a:pt x="108" y="71"/>
                </a:cubicBezTo>
                <a:cubicBezTo>
                  <a:pt x="109" y="71"/>
                  <a:pt x="109" y="71"/>
                  <a:pt x="109" y="71"/>
                </a:cubicBezTo>
                <a:cubicBezTo>
                  <a:pt x="110" y="73"/>
                  <a:pt x="111" y="74"/>
                  <a:pt x="112" y="75"/>
                </a:cubicBezTo>
                <a:cubicBezTo>
                  <a:pt x="113" y="77"/>
                  <a:pt x="113" y="78"/>
                  <a:pt x="114" y="79"/>
                </a:cubicBezTo>
                <a:cubicBezTo>
                  <a:pt x="115" y="80"/>
                  <a:pt x="115" y="80"/>
                  <a:pt x="115" y="80"/>
                </a:cubicBezTo>
                <a:cubicBezTo>
                  <a:pt x="116" y="79"/>
                  <a:pt x="116" y="80"/>
                  <a:pt x="117" y="80"/>
                </a:cubicBezTo>
                <a:cubicBezTo>
                  <a:pt x="118" y="80"/>
                  <a:pt x="118" y="79"/>
                  <a:pt x="119" y="79"/>
                </a:cubicBezTo>
                <a:cubicBezTo>
                  <a:pt x="120" y="79"/>
                  <a:pt x="121" y="79"/>
                  <a:pt x="121" y="79"/>
                </a:cubicBezTo>
                <a:cubicBezTo>
                  <a:pt x="122" y="79"/>
                  <a:pt x="122" y="80"/>
                  <a:pt x="122" y="80"/>
                </a:cubicBezTo>
                <a:cubicBezTo>
                  <a:pt x="123" y="80"/>
                  <a:pt x="123" y="80"/>
                  <a:pt x="124" y="79"/>
                </a:cubicBezTo>
                <a:cubicBezTo>
                  <a:pt x="125" y="79"/>
                  <a:pt x="126" y="79"/>
                  <a:pt x="127" y="79"/>
                </a:cubicBezTo>
                <a:cubicBezTo>
                  <a:pt x="127" y="79"/>
                  <a:pt x="127" y="79"/>
                  <a:pt x="128" y="79"/>
                </a:cubicBezTo>
                <a:cubicBezTo>
                  <a:pt x="129" y="79"/>
                  <a:pt x="129" y="79"/>
                  <a:pt x="129" y="79"/>
                </a:cubicBezTo>
                <a:cubicBezTo>
                  <a:pt x="130" y="78"/>
                  <a:pt x="131" y="78"/>
                  <a:pt x="132" y="78"/>
                </a:cubicBezTo>
                <a:cubicBezTo>
                  <a:pt x="132" y="78"/>
                  <a:pt x="133" y="78"/>
                  <a:pt x="133" y="78"/>
                </a:cubicBezTo>
                <a:cubicBezTo>
                  <a:pt x="133" y="79"/>
                  <a:pt x="134" y="79"/>
                  <a:pt x="134" y="79"/>
                </a:cubicBezTo>
                <a:cubicBezTo>
                  <a:pt x="133" y="80"/>
                  <a:pt x="134" y="80"/>
                  <a:pt x="134" y="81"/>
                </a:cubicBezTo>
                <a:cubicBezTo>
                  <a:pt x="135" y="82"/>
                  <a:pt x="134" y="82"/>
                  <a:pt x="133" y="83"/>
                </a:cubicBezTo>
                <a:cubicBezTo>
                  <a:pt x="132" y="84"/>
                  <a:pt x="132" y="85"/>
                  <a:pt x="132" y="86"/>
                </a:cubicBezTo>
                <a:cubicBezTo>
                  <a:pt x="132" y="87"/>
                  <a:pt x="132" y="87"/>
                  <a:pt x="131" y="88"/>
                </a:cubicBezTo>
                <a:cubicBezTo>
                  <a:pt x="131" y="88"/>
                  <a:pt x="130" y="88"/>
                  <a:pt x="130" y="89"/>
                </a:cubicBezTo>
                <a:cubicBezTo>
                  <a:pt x="130" y="90"/>
                  <a:pt x="130" y="91"/>
                  <a:pt x="130" y="92"/>
                </a:cubicBezTo>
                <a:cubicBezTo>
                  <a:pt x="130" y="92"/>
                  <a:pt x="130" y="93"/>
                  <a:pt x="130" y="93"/>
                </a:cubicBezTo>
                <a:cubicBezTo>
                  <a:pt x="130" y="94"/>
                  <a:pt x="130" y="94"/>
                  <a:pt x="130" y="95"/>
                </a:cubicBezTo>
                <a:cubicBezTo>
                  <a:pt x="130" y="96"/>
                  <a:pt x="129" y="97"/>
                  <a:pt x="130" y="98"/>
                </a:cubicBezTo>
                <a:cubicBezTo>
                  <a:pt x="130" y="99"/>
                  <a:pt x="130" y="100"/>
                  <a:pt x="130" y="101"/>
                </a:cubicBezTo>
                <a:cubicBezTo>
                  <a:pt x="130" y="102"/>
                  <a:pt x="131" y="102"/>
                  <a:pt x="131" y="103"/>
                </a:cubicBezTo>
                <a:cubicBezTo>
                  <a:pt x="131" y="104"/>
                  <a:pt x="131" y="106"/>
                  <a:pt x="132" y="106"/>
                </a:cubicBezTo>
                <a:cubicBezTo>
                  <a:pt x="132" y="106"/>
                  <a:pt x="133" y="106"/>
                  <a:pt x="133" y="106"/>
                </a:cubicBezTo>
                <a:cubicBezTo>
                  <a:pt x="133" y="107"/>
                  <a:pt x="133" y="107"/>
                  <a:pt x="133" y="107"/>
                </a:cubicBezTo>
                <a:cubicBezTo>
                  <a:pt x="133" y="108"/>
                  <a:pt x="133" y="108"/>
                  <a:pt x="134" y="109"/>
                </a:cubicBezTo>
                <a:cubicBezTo>
                  <a:pt x="134" y="109"/>
                  <a:pt x="134" y="109"/>
                  <a:pt x="135" y="110"/>
                </a:cubicBezTo>
                <a:cubicBezTo>
                  <a:pt x="135" y="110"/>
                  <a:pt x="134" y="111"/>
                  <a:pt x="133" y="112"/>
                </a:cubicBezTo>
                <a:cubicBezTo>
                  <a:pt x="132" y="112"/>
                  <a:pt x="132" y="113"/>
                  <a:pt x="131" y="114"/>
                </a:cubicBezTo>
                <a:cubicBezTo>
                  <a:pt x="130" y="115"/>
                  <a:pt x="129" y="115"/>
                  <a:pt x="129" y="117"/>
                </a:cubicBezTo>
                <a:cubicBezTo>
                  <a:pt x="129" y="116"/>
                  <a:pt x="131" y="116"/>
                  <a:pt x="131" y="116"/>
                </a:cubicBezTo>
                <a:cubicBezTo>
                  <a:pt x="131" y="117"/>
                  <a:pt x="132" y="117"/>
                  <a:pt x="132" y="117"/>
                </a:cubicBezTo>
                <a:cubicBezTo>
                  <a:pt x="132" y="118"/>
                  <a:pt x="132" y="118"/>
                  <a:pt x="132" y="118"/>
                </a:cubicBezTo>
                <a:cubicBezTo>
                  <a:pt x="133" y="119"/>
                  <a:pt x="134" y="120"/>
                  <a:pt x="135" y="121"/>
                </a:cubicBezTo>
                <a:cubicBezTo>
                  <a:pt x="135" y="121"/>
                  <a:pt x="135" y="121"/>
                  <a:pt x="135" y="121"/>
                </a:cubicBezTo>
                <a:cubicBezTo>
                  <a:pt x="136" y="122"/>
                  <a:pt x="135" y="122"/>
                  <a:pt x="135" y="122"/>
                </a:cubicBezTo>
                <a:cubicBezTo>
                  <a:pt x="135" y="123"/>
                  <a:pt x="136" y="124"/>
                  <a:pt x="136" y="124"/>
                </a:cubicBezTo>
                <a:cubicBezTo>
                  <a:pt x="136" y="125"/>
                  <a:pt x="136" y="125"/>
                  <a:pt x="136" y="125"/>
                </a:cubicBezTo>
                <a:cubicBezTo>
                  <a:pt x="136" y="126"/>
                  <a:pt x="136" y="126"/>
                  <a:pt x="137" y="127"/>
                </a:cubicBezTo>
                <a:cubicBezTo>
                  <a:pt x="137" y="128"/>
                  <a:pt x="137" y="130"/>
                  <a:pt x="138" y="131"/>
                </a:cubicBezTo>
                <a:cubicBezTo>
                  <a:pt x="138" y="132"/>
                  <a:pt x="138" y="132"/>
                  <a:pt x="138" y="132"/>
                </a:cubicBezTo>
                <a:cubicBezTo>
                  <a:pt x="138" y="133"/>
                  <a:pt x="138" y="133"/>
                  <a:pt x="138" y="134"/>
                </a:cubicBezTo>
                <a:close/>
                <a:moveTo>
                  <a:pt x="97" y="10"/>
                </a:moveTo>
                <a:cubicBezTo>
                  <a:pt x="97" y="11"/>
                  <a:pt x="97" y="11"/>
                  <a:pt x="97" y="11"/>
                </a:cubicBezTo>
                <a:cubicBezTo>
                  <a:pt x="97" y="11"/>
                  <a:pt x="97" y="10"/>
                  <a:pt x="97" y="10"/>
                </a:cubicBezTo>
                <a:close/>
                <a:moveTo>
                  <a:pt x="4" y="1"/>
                </a:moveTo>
                <a:cubicBezTo>
                  <a:pt x="5" y="1"/>
                  <a:pt x="5" y="0"/>
                  <a:pt x="5" y="0"/>
                </a:cubicBezTo>
                <a:cubicBezTo>
                  <a:pt x="4" y="0"/>
                  <a:pt x="4" y="1"/>
                  <a:pt x="4"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3" name="Cocos Islands"/>
          <p:cNvSpPr>
            <a:spLocks noEditPoints="1"/>
          </p:cNvSpPr>
          <p:nvPr/>
        </p:nvSpPr>
        <p:spPr bwMode="auto">
          <a:xfrm>
            <a:off x="9169955" y="5147919"/>
            <a:ext cx="3001" cy="1001"/>
          </a:xfrm>
          <a:custGeom>
            <a:avLst/>
            <a:gdLst/>
            <a:ahLst/>
            <a:cxnLst>
              <a:cxn ang="0">
                <a:pos x="0" y="0"/>
              </a:cxn>
              <a:cxn ang="0">
                <a:pos x="0" y="0"/>
              </a:cxn>
              <a:cxn ang="0">
                <a:pos x="0" y="0"/>
              </a:cxn>
              <a:cxn ang="0">
                <a:pos x="1" y="0"/>
              </a:cxn>
              <a:cxn ang="0">
                <a:pos x="0" y="0"/>
              </a:cxn>
              <a:cxn ang="0">
                <a:pos x="0" y="0"/>
              </a:cxn>
              <a:cxn ang="0">
                <a:pos x="1" y="0"/>
              </a:cxn>
            </a:cxnLst>
            <a:rect l="0" t="0" r="r" b="b"/>
            <a:pathLst>
              <a:path w="1">
                <a:moveTo>
                  <a:pt x="0" y="0"/>
                </a:moveTo>
                <a:cubicBezTo>
                  <a:pt x="0" y="0"/>
                  <a:pt x="0" y="0"/>
                  <a:pt x="0" y="0"/>
                </a:cubicBezTo>
                <a:cubicBezTo>
                  <a:pt x="0" y="0"/>
                  <a:pt x="0" y="0"/>
                  <a:pt x="0" y="0"/>
                </a:cubicBezTo>
                <a:close/>
                <a:moveTo>
                  <a:pt x="1" y="0"/>
                </a:moveTo>
                <a:cubicBezTo>
                  <a:pt x="1" y="0"/>
                  <a:pt x="1" y="0"/>
                  <a:pt x="0" y="0"/>
                </a:cubicBezTo>
                <a:cubicBezTo>
                  <a:pt x="0" y="0"/>
                  <a:pt x="0" y="0"/>
                  <a:pt x="0" y="0"/>
                </a:cubicBezTo>
                <a:cubicBezTo>
                  <a:pt x="1" y="0"/>
                  <a:pt x="1" y="0"/>
                  <a:pt x="1"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4" name="China"/>
          <p:cNvSpPr>
            <a:spLocks noEditPoints="1"/>
          </p:cNvSpPr>
          <p:nvPr/>
        </p:nvSpPr>
        <p:spPr bwMode="auto">
          <a:xfrm>
            <a:off x="8208993" y="2548016"/>
            <a:ext cx="1801933" cy="1395947"/>
          </a:xfrm>
          <a:custGeom>
            <a:avLst/>
            <a:gdLst/>
            <a:ahLst/>
            <a:cxnLst>
              <a:cxn ang="0">
                <a:pos x="383" y="355"/>
              </a:cxn>
              <a:cxn ang="0">
                <a:pos x="378" y="366"/>
              </a:cxn>
              <a:cxn ang="0">
                <a:pos x="382" y="383"/>
              </a:cxn>
              <a:cxn ang="0">
                <a:pos x="430" y="334"/>
              </a:cxn>
              <a:cxn ang="0">
                <a:pos x="490" y="117"/>
              </a:cxn>
              <a:cxn ang="0">
                <a:pos x="478" y="124"/>
              </a:cxn>
              <a:cxn ang="0">
                <a:pos x="458" y="137"/>
              </a:cxn>
              <a:cxn ang="0">
                <a:pos x="435" y="156"/>
              </a:cxn>
              <a:cxn ang="0">
                <a:pos x="428" y="151"/>
              </a:cxn>
              <a:cxn ang="0">
                <a:pos x="415" y="144"/>
              </a:cxn>
              <a:cxn ang="0">
                <a:pos x="410" y="166"/>
              </a:cxn>
              <a:cxn ang="0">
                <a:pos x="447" y="174"/>
              </a:cxn>
              <a:cxn ang="0">
                <a:pos x="441" y="181"/>
              </a:cxn>
              <a:cxn ang="0">
                <a:pos x="429" y="197"/>
              </a:cxn>
              <a:cxn ang="0">
                <a:pos x="458" y="231"/>
              </a:cxn>
              <a:cxn ang="0">
                <a:pos x="467" y="246"/>
              </a:cxn>
              <a:cxn ang="0">
                <a:pos x="469" y="261"/>
              </a:cxn>
              <a:cxn ang="0">
                <a:pos x="472" y="267"/>
              </a:cxn>
              <a:cxn ang="0">
                <a:pos x="468" y="278"/>
              </a:cxn>
              <a:cxn ang="0">
                <a:pos x="463" y="290"/>
              </a:cxn>
              <a:cxn ang="0">
                <a:pos x="463" y="296"/>
              </a:cxn>
              <a:cxn ang="0">
                <a:pos x="459" y="307"/>
              </a:cxn>
              <a:cxn ang="0">
                <a:pos x="456" y="314"/>
              </a:cxn>
              <a:cxn ang="0">
                <a:pos x="446" y="323"/>
              </a:cxn>
              <a:cxn ang="0">
                <a:pos x="435" y="334"/>
              </a:cxn>
              <a:cxn ang="0">
                <a:pos x="423" y="337"/>
              </a:cxn>
              <a:cxn ang="0">
                <a:pos x="411" y="333"/>
              </a:cxn>
              <a:cxn ang="0">
                <a:pos x="404" y="346"/>
              </a:cxn>
              <a:cxn ang="0">
                <a:pos x="389" y="349"/>
              </a:cxn>
              <a:cxn ang="0">
                <a:pos x="385" y="362"/>
              </a:cxn>
              <a:cxn ang="0">
                <a:pos x="376" y="347"/>
              </a:cxn>
              <a:cxn ang="0">
                <a:pos x="366" y="345"/>
              </a:cxn>
              <a:cxn ang="0">
                <a:pos x="351" y="345"/>
              </a:cxn>
              <a:cxn ang="0">
                <a:pos x="320" y="338"/>
              </a:cxn>
              <a:cxn ang="0">
                <a:pos x="301" y="347"/>
              </a:cxn>
              <a:cxn ang="0">
                <a:pos x="277" y="336"/>
              </a:cxn>
              <a:cxn ang="0">
                <a:pos x="256" y="314"/>
              </a:cxn>
              <a:cxn ang="0">
                <a:pos x="254" y="276"/>
              </a:cxn>
              <a:cxn ang="0">
                <a:pos x="235" y="267"/>
              </a:cxn>
              <a:cxn ang="0">
                <a:pos x="202" y="279"/>
              </a:cxn>
              <a:cxn ang="0">
                <a:pos x="165" y="277"/>
              </a:cxn>
              <a:cxn ang="0">
                <a:pos x="132" y="271"/>
              </a:cxn>
              <a:cxn ang="0">
                <a:pos x="93" y="254"/>
              </a:cxn>
              <a:cxn ang="0">
                <a:pos x="63" y="227"/>
              </a:cxn>
              <a:cxn ang="0">
                <a:pos x="71" y="199"/>
              </a:cxn>
              <a:cxn ang="0">
                <a:pos x="29" y="189"/>
              </a:cxn>
              <a:cxn ang="0">
                <a:pos x="13" y="163"/>
              </a:cxn>
              <a:cxn ang="0">
                <a:pos x="16" y="142"/>
              </a:cxn>
              <a:cxn ang="0">
                <a:pos x="49" y="120"/>
              </a:cxn>
              <a:cxn ang="0">
                <a:pos x="54" y="90"/>
              </a:cxn>
              <a:cxn ang="0">
                <a:pos x="79" y="54"/>
              </a:cxn>
              <a:cxn ang="0">
                <a:pos x="121" y="69"/>
              </a:cxn>
              <a:cxn ang="0">
                <a:pos x="183" y="109"/>
              </a:cxn>
              <a:cxn ang="0">
                <a:pos x="304" y="119"/>
              </a:cxn>
              <a:cxn ang="0">
                <a:pos x="336" y="87"/>
              </a:cxn>
              <a:cxn ang="0">
                <a:pos x="363" y="64"/>
              </a:cxn>
              <a:cxn ang="0">
                <a:pos x="345" y="34"/>
              </a:cxn>
              <a:cxn ang="0">
                <a:pos x="353" y="1"/>
              </a:cxn>
              <a:cxn ang="0">
                <a:pos x="396" y="17"/>
              </a:cxn>
              <a:cxn ang="0">
                <a:pos x="438" y="45"/>
              </a:cxn>
              <a:cxn ang="0">
                <a:pos x="483" y="58"/>
              </a:cxn>
              <a:cxn ang="0">
                <a:pos x="499" y="85"/>
              </a:cxn>
              <a:cxn ang="0">
                <a:pos x="474" y="258"/>
              </a:cxn>
            </a:cxnLst>
            <a:rect l="0" t="0" r="r" b="b"/>
            <a:pathLst>
              <a:path w="499" h="386">
                <a:moveTo>
                  <a:pt x="454" y="316"/>
                </a:moveTo>
                <a:cubicBezTo>
                  <a:pt x="454" y="316"/>
                  <a:pt x="454" y="316"/>
                  <a:pt x="454" y="316"/>
                </a:cubicBezTo>
                <a:cubicBezTo>
                  <a:pt x="454" y="317"/>
                  <a:pt x="453" y="316"/>
                  <a:pt x="453" y="316"/>
                </a:cubicBezTo>
                <a:cubicBezTo>
                  <a:pt x="453" y="316"/>
                  <a:pt x="453" y="317"/>
                  <a:pt x="453" y="317"/>
                </a:cubicBezTo>
                <a:cubicBezTo>
                  <a:pt x="453" y="317"/>
                  <a:pt x="454" y="317"/>
                  <a:pt x="454" y="317"/>
                </a:cubicBezTo>
                <a:cubicBezTo>
                  <a:pt x="455" y="317"/>
                  <a:pt x="454" y="316"/>
                  <a:pt x="454" y="316"/>
                </a:cubicBezTo>
                <a:close/>
                <a:moveTo>
                  <a:pt x="474" y="255"/>
                </a:moveTo>
                <a:cubicBezTo>
                  <a:pt x="474" y="254"/>
                  <a:pt x="471" y="254"/>
                  <a:pt x="472" y="254"/>
                </a:cubicBezTo>
                <a:cubicBezTo>
                  <a:pt x="472" y="254"/>
                  <a:pt x="472" y="255"/>
                  <a:pt x="472" y="256"/>
                </a:cubicBezTo>
                <a:cubicBezTo>
                  <a:pt x="473" y="256"/>
                  <a:pt x="473" y="255"/>
                  <a:pt x="473" y="255"/>
                </a:cubicBezTo>
                <a:cubicBezTo>
                  <a:pt x="473" y="255"/>
                  <a:pt x="473" y="255"/>
                  <a:pt x="473" y="256"/>
                </a:cubicBezTo>
                <a:cubicBezTo>
                  <a:pt x="474" y="256"/>
                  <a:pt x="475" y="256"/>
                  <a:pt x="475" y="256"/>
                </a:cubicBezTo>
                <a:cubicBezTo>
                  <a:pt x="475" y="255"/>
                  <a:pt x="475" y="255"/>
                  <a:pt x="474" y="255"/>
                </a:cubicBezTo>
                <a:close/>
                <a:moveTo>
                  <a:pt x="464" y="305"/>
                </a:moveTo>
                <a:cubicBezTo>
                  <a:pt x="465" y="305"/>
                  <a:pt x="465" y="305"/>
                  <a:pt x="465" y="304"/>
                </a:cubicBezTo>
                <a:cubicBezTo>
                  <a:pt x="465" y="304"/>
                  <a:pt x="464" y="304"/>
                  <a:pt x="464" y="304"/>
                </a:cubicBezTo>
                <a:cubicBezTo>
                  <a:pt x="464" y="304"/>
                  <a:pt x="464" y="304"/>
                  <a:pt x="464" y="304"/>
                </a:cubicBezTo>
                <a:cubicBezTo>
                  <a:pt x="464" y="303"/>
                  <a:pt x="463" y="304"/>
                  <a:pt x="463" y="304"/>
                </a:cubicBezTo>
                <a:cubicBezTo>
                  <a:pt x="463" y="304"/>
                  <a:pt x="463" y="304"/>
                  <a:pt x="464" y="304"/>
                </a:cubicBezTo>
                <a:cubicBezTo>
                  <a:pt x="464" y="305"/>
                  <a:pt x="464" y="305"/>
                  <a:pt x="464" y="305"/>
                </a:cubicBezTo>
                <a:cubicBezTo>
                  <a:pt x="464" y="305"/>
                  <a:pt x="463" y="305"/>
                  <a:pt x="463" y="305"/>
                </a:cubicBezTo>
                <a:cubicBezTo>
                  <a:pt x="463" y="305"/>
                  <a:pt x="464" y="305"/>
                  <a:pt x="464" y="305"/>
                </a:cubicBezTo>
                <a:cubicBezTo>
                  <a:pt x="464" y="305"/>
                  <a:pt x="463" y="306"/>
                  <a:pt x="464" y="306"/>
                </a:cubicBezTo>
                <a:cubicBezTo>
                  <a:pt x="464" y="306"/>
                  <a:pt x="464" y="306"/>
                  <a:pt x="464" y="306"/>
                </a:cubicBezTo>
                <a:cubicBezTo>
                  <a:pt x="464" y="306"/>
                  <a:pt x="464" y="306"/>
                  <a:pt x="464" y="306"/>
                </a:cubicBezTo>
                <a:cubicBezTo>
                  <a:pt x="465" y="305"/>
                  <a:pt x="465" y="305"/>
                  <a:pt x="465" y="305"/>
                </a:cubicBezTo>
                <a:cubicBezTo>
                  <a:pt x="465" y="305"/>
                  <a:pt x="464" y="305"/>
                  <a:pt x="464" y="305"/>
                </a:cubicBezTo>
                <a:close/>
                <a:moveTo>
                  <a:pt x="372" y="354"/>
                </a:moveTo>
                <a:cubicBezTo>
                  <a:pt x="372" y="354"/>
                  <a:pt x="372" y="354"/>
                  <a:pt x="372" y="354"/>
                </a:cubicBezTo>
                <a:cubicBezTo>
                  <a:pt x="371" y="354"/>
                  <a:pt x="372" y="354"/>
                  <a:pt x="372" y="354"/>
                </a:cubicBezTo>
                <a:close/>
                <a:moveTo>
                  <a:pt x="383" y="354"/>
                </a:moveTo>
                <a:cubicBezTo>
                  <a:pt x="383" y="354"/>
                  <a:pt x="383" y="354"/>
                  <a:pt x="383" y="355"/>
                </a:cubicBezTo>
                <a:cubicBezTo>
                  <a:pt x="382" y="355"/>
                  <a:pt x="383" y="355"/>
                  <a:pt x="383" y="355"/>
                </a:cubicBezTo>
                <a:cubicBezTo>
                  <a:pt x="384" y="355"/>
                  <a:pt x="384" y="354"/>
                  <a:pt x="384" y="354"/>
                </a:cubicBezTo>
                <a:cubicBezTo>
                  <a:pt x="385" y="354"/>
                  <a:pt x="385" y="355"/>
                  <a:pt x="385" y="355"/>
                </a:cubicBezTo>
                <a:cubicBezTo>
                  <a:pt x="385" y="355"/>
                  <a:pt x="385" y="354"/>
                  <a:pt x="385" y="354"/>
                </a:cubicBezTo>
                <a:cubicBezTo>
                  <a:pt x="385" y="354"/>
                  <a:pt x="385" y="354"/>
                  <a:pt x="385" y="354"/>
                </a:cubicBezTo>
                <a:cubicBezTo>
                  <a:pt x="384" y="354"/>
                  <a:pt x="384" y="354"/>
                  <a:pt x="384" y="354"/>
                </a:cubicBezTo>
                <a:cubicBezTo>
                  <a:pt x="384" y="353"/>
                  <a:pt x="383" y="354"/>
                  <a:pt x="383" y="354"/>
                </a:cubicBezTo>
                <a:cubicBezTo>
                  <a:pt x="383" y="354"/>
                  <a:pt x="383" y="354"/>
                  <a:pt x="383" y="354"/>
                </a:cubicBezTo>
                <a:cubicBezTo>
                  <a:pt x="383" y="354"/>
                  <a:pt x="383" y="354"/>
                  <a:pt x="383" y="354"/>
                </a:cubicBezTo>
                <a:close/>
                <a:moveTo>
                  <a:pt x="391" y="366"/>
                </a:moveTo>
                <a:cubicBezTo>
                  <a:pt x="391" y="365"/>
                  <a:pt x="390" y="366"/>
                  <a:pt x="389" y="365"/>
                </a:cubicBezTo>
                <a:cubicBezTo>
                  <a:pt x="389" y="365"/>
                  <a:pt x="389" y="365"/>
                  <a:pt x="388" y="364"/>
                </a:cubicBezTo>
                <a:cubicBezTo>
                  <a:pt x="388" y="364"/>
                  <a:pt x="388" y="364"/>
                  <a:pt x="388" y="364"/>
                </a:cubicBezTo>
                <a:cubicBezTo>
                  <a:pt x="387" y="365"/>
                  <a:pt x="388" y="366"/>
                  <a:pt x="388" y="366"/>
                </a:cubicBezTo>
                <a:cubicBezTo>
                  <a:pt x="388" y="366"/>
                  <a:pt x="388" y="366"/>
                  <a:pt x="387" y="366"/>
                </a:cubicBezTo>
                <a:cubicBezTo>
                  <a:pt x="387" y="365"/>
                  <a:pt x="387" y="366"/>
                  <a:pt x="387" y="366"/>
                </a:cubicBezTo>
                <a:cubicBezTo>
                  <a:pt x="387" y="365"/>
                  <a:pt x="386" y="365"/>
                  <a:pt x="386" y="365"/>
                </a:cubicBezTo>
                <a:cubicBezTo>
                  <a:pt x="385" y="364"/>
                  <a:pt x="386" y="366"/>
                  <a:pt x="386" y="366"/>
                </a:cubicBezTo>
                <a:cubicBezTo>
                  <a:pt x="386" y="366"/>
                  <a:pt x="386" y="366"/>
                  <a:pt x="385" y="365"/>
                </a:cubicBezTo>
                <a:cubicBezTo>
                  <a:pt x="386" y="365"/>
                  <a:pt x="385" y="365"/>
                  <a:pt x="384" y="365"/>
                </a:cubicBezTo>
                <a:cubicBezTo>
                  <a:pt x="384" y="365"/>
                  <a:pt x="383" y="365"/>
                  <a:pt x="383" y="365"/>
                </a:cubicBezTo>
                <a:cubicBezTo>
                  <a:pt x="383" y="365"/>
                  <a:pt x="383" y="366"/>
                  <a:pt x="383" y="366"/>
                </a:cubicBezTo>
                <a:cubicBezTo>
                  <a:pt x="383" y="366"/>
                  <a:pt x="383" y="366"/>
                  <a:pt x="383" y="365"/>
                </a:cubicBezTo>
                <a:cubicBezTo>
                  <a:pt x="383" y="366"/>
                  <a:pt x="382" y="365"/>
                  <a:pt x="382" y="366"/>
                </a:cubicBezTo>
                <a:cubicBezTo>
                  <a:pt x="382" y="367"/>
                  <a:pt x="382" y="366"/>
                  <a:pt x="382" y="366"/>
                </a:cubicBezTo>
                <a:cubicBezTo>
                  <a:pt x="382" y="366"/>
                  <a:pt x="381" y="366"/>
                  <a:pt x="381" y="366"/>
                </a:cubicBezTo>
                <a:cubicBezTo>
                  <a:pt x="381" y="366"/>
                  <a:pt x="381" y="366"/>
                  <a:pt x="381" y="366"/>
                </a:cubicBezTo>
                <a:cubicBezTo>
                  <a:pt x="380" y="367"/>
                  <a:pt x="380" y="366"/>
                  <a:pt x="380" y="366"/>
                </a:cubicBezTo>
                <a:cubicBezTo>
                  <a:pt x="380" y="366"/>
                  <a:pt x="380" y="366"/>
                  <a:pt x="380" y="366"/>
                </a:cubicBezTo>
                <a:cubicBezTo>
                  <a:pt x="380" y="366"/>
                  <a:pt x="380" y="365"/>
                  <a:pt x="379" y="366"/>
                </a:cubicBezTo>
                <a:cubicBezTo>
                  <a:pt x="379" y="365"/>
                  <a:pt x="378" y="365"/>
                  <a:pt x="378" y="366"/>
                </a:cubicBezTo>
                <a:cubicBezTo>
                  <a:pt x="377" y="366"/>
                  <a:pt x="378" y="366"/>
                  <a:pt x="378" y="366"/>
                </a:cubicBezTo>
                <a:cubicBezTo>
                  <a:pt x="377" y="366"/>
                  <a:pt x="378" y="367"/>
                  <a:pt x="378" y="367"/>
                </a:cubicBezTo>
                <a:cubicBezTo>
                  <a:pt x="378" y="367"/>
                  <a:pt x="377" y="367"/>
                  <a:pt x="377" y="367"/>
                </a:cubicBezTo>
                <a:cubicBezTo>
                  <a:pt x="377" y="367"/>
                  <a:pt x="376" y="367"/>
                  <a:pt x="376" y="367"/>
                </a:cubicBezTo>
                <a:cubicBezTo>
                  <a:pt x="375" y="366"/>
                  <a:pt x="375" y="367"/>
                  <a:pt x="375" y="367"/>
                </a:cubicBezTo>
                <a:cubicBezTo>
                  <a:pt x="374" y="368"/>
                  <a:pt x="374" y="368"/>
                  <a:pt x="374" y="368"/>
                </a:cubicBezTo>
                <a:cubicBezTo>
                  <a:pt x="375" y="368"/>
                  <a:pt x="376" y="368"/>
                  <a:pt x="376" y="368"/>
                </a:cubicBezTo>
                <a:cubicBezTo>
                  <a:pt x="376" y="368"/>
                  <a:pt x="375" y="368"/>
                  <a:pt x="376" y="369"/>
                </a:cubicBezTo>
                <a:cubicBezTo>
                  <a:pt x="375" y="368"/>
                  <a:pt x="375" y="369"/>
                  <a:pt x="374" y="370"/>
                </a:cubicBezTo>
                <a:cubicBezTo>
                  <a:pt x="373" y="370"/>
                  <a:pt x="372" y="370"/>
                  <a:pt x="373" y="371"/>
                </a:cubicBezTo>
                <a:cubicBezTo>
                  <a:pt x="372" y="371"/>
                  <a:pt x="372" y="372"/>
                  <a:pt x="371" y="372"/>
                </a:cubicBezTo>
                <a:cubicBezTo>
                  <a:pt x="371" y="372"/>
                  <a:pt x="370" y="372"/>
                  <a:pt x="370" y="373"/>
                </a:cubicBezTo>
                <a:cubicBezTo>
                  <a:pt x="370" y="373"/>
                  <a:pt x="370" y="374"/>
                  <a:pt x="370" y="374"/>
                </a:cubicBezTo>
                <a:cubicBezTo>
                  <a:pt x="370" y="374"/>
                  <a:pt x="370" y="374"/>
                  <a:pt x="370" y="374"/>
                </a:cubicBezTo>
                <a:cubicBezTo>
                  <a:pt x="371" y="374"/>
                  <a:pt x="371" y="375"/>
                  <a:pt x="371" y="375"/>
                </a:cubicBezTo>
                <a:cubicBezTo>
                  <a:pt x="370" y="375"/>
                  <a:pt x="371" y="377"/>
                  <a:pt x="371" y="377"/>
                </a:cubicBezTo>
                <a:cubicBezTo>
                  <a:pt x="371" y="378"/>
                  <a:pt x="372" y="379"/>
                  <a:pt x="372" y="380"/>
                </a:cubicBezTo>
                <a:cubicBezTo>
                  <a:pt x="372" y="381"/>
                  <a:pt x="371" y="382"/>
                  <a:pt x="372" y="382"/>
                </a:cubicBezTo>
                <a:cubicBezTo>
                  <a:pt x="373" y="382"/>
                  <a:pt x="373" y="382"/>
                  <a:pt x="374" y="383"/>
                </a:cubicBezTo>
                <a:cubicBezTo>
                  <a:pt x="374" y="383"/>
                  <a:pt x="374" y="383"/>
                  <a:pt x="375" y="383"/>
                </a:cubicBezTo>
                <a:cubicBezTo>
                  <a:pt x="375" y="384"/>
                  <a:pt x="376" y="383"/>
                  <a:pt x="376" y="384"/>
                </a:cubicBezTo>
                <a:cubicBezTo>
                  <a:pt x="376" y="384"/>
                  <a:pt x="376" y="384"/>
                  <a:pt x="377" y="384"/>
                </a:cubicBezTo>
                <a:cubicBezTo>
                  <a:pt x="377" y="384"/>
                  <a:pt x="378" y="384"/>
                  <a:pt x="379" y="384"/>
                </a:cubicBezTo>
                <a:cubicBezTo>
                  <a:pt x="379" y="384"/>
                  <a:pt x="379" y="384"/>
                  <a:pt x="380" y="384"/>
                </a:cubicBezTo>
                <a:cubicBezTo>
                  <a:pt x="380" y="384"/>
                  <a:pt x="380" y="385"/>
                  <a:pt x="380" y="385"/>
                </a:cubicBezTo>
                <a:cubicBezTo>
                  <a:pt x="380" y="385"/>
                  <a:pt x="380" y="385"/>
                  <a:pt x="380" y="385"/>
                </a:cubicBezTo>
                <a:cubicBezTo>
                  <a:pt x="380" y="385"/>
                  <a:pt x="380" y="385"/>
                  <a:pt x="381" y="385"/>
                </a:cubicBezTo>
                <a:cubicBezTo>
                  <a:pt x="381" y="385"/>
                  <a:pt x="381" y="386"/>
                  <a:pt x="381" y="386"/>
                </a:cubicBezTo>
                <a:cubicBezTo>
                  <a:pt x="381" y="385"/>
                  <a:pt x="381" y="385"/>
                  <a:pt x="382" y="385"/>
                </a:cubicBezTo>
                <a:cubicBezTo>
                  <a:pt x="382" y="385"/>
                  <a:pt x="382" y="385"/>
                  <a:pt x="382" y="385"/>
                </a:cubicBezTo>
                <a:cubicBezTo>
                  <a:pt x="383" y="385"/>
                  <a:pt x="382" y="385"/>
                  <a:pt x="382" y="384"/>
                </a:cubicBezTo>
                <a:cubicBezTo>
                  <a:pt x="382" y="384"/>
                  <a:pt x="382" y="384"/>
                  <a:pt x="382" y="384"/>
                </a:cubicBezTo>
                <a:cubicBezTo>
                  <a:pt x="382" y="384"/>
                  <a:pt x="382" y="383"/>
                  <a:pt x="382" y="383"/>
                </a:cubicBezTo>
                <a:cubicBezTo>
                  <a:pt x="383" y="383"/>
                  <a:pt x="384" y="383"/>
                  <a:pt x="385" y="383"/>
                </a:cubicBezTo>
                <a:cubicBezTo>
                  <a:pt x="385" y="383"/>
                  <a:pt x="384" y="383"/>
                  <a:pt x="384" y="383"/>
                </a:cubicBezTo>
                <a:cubicBezTo>
                  <a:pt x="384" y="383"/>
                  <a:pt x="385" y="383"/>
                  <a:pt x="385" y="383"/>
                </a:cubicBezTo>
                <a:cubicBezTo>
                  <a:pt x="385" y="383"/>
                  <a:pt x="385" y="383"/>
                  <a:pt x="385" y="383"/>
                </a:cubicBezTo>
                <a:cubicBezTo>
                  <a:pt x="385" y="383"/>
                  <a:pt x="385" y="383"/>
                  <a:pt x="385" y="383"/>
                </a:cubicBezTo>
                <a:cubicBezTo>
                  <a:pt x="385" y="382"/>
                  <a:pt x="385" y="382"/>
                  <a:pt x="385" y="382"/>
                </a:cubicBezTo>
                <a:cubicBezTo>
                  <a:pt x="385" y="382"/>
                  <a:pt x="386" y="381"/>
                  <a:pt x="386" y="381"/>
                </a:cubicBezTo>
                <a:cubicBezTo>
                  <a:pt x="386" y="380"/>
                  <a:pt x="387" y="380"/>
                  <a:pt x="387" y="380"/>
                </a:cubicBezTo>
                <a:cubicBezTo>
                  <a:pt x="387" y="380"/>
                  <a:pt x="388" y="380"/>
                  <a:pt x="388" y="380"/>
                </a:cubicBezTo>
                <a:cubicBezTo>
                  <a:pt x="388" y="380"/>
                  <a:pt x="387" y="380"/>
                  <a:pt x="387" y="380"/>
                </a:cubicBezTo>
                <a:cubicBezTo>
                  <a:pt x="387" y="380"/>
                  <a:pt x="388" y="380"/>
                  <a:pt x="388" y="380"/>
                </a:cubicBezTo>
                <a:cubicBezTo>
                  <a:pt x="388" y="380"/>
                  <a:pt x="388" y="379"/>
                  <a:pt x="388" y="379"/>
                </a:cubicBezTo>
                <a:cubicBezTo>
                  <a:pt x="389" y="379"/>
                  <a:pt x="389" y="379"/>
                  <a:pt x="389" y="379"/>
                </a:cubicBezTo>
                <a:cubicBezTo>
                  <a:pt x="389" y="378"/>
                  <a:pt x="389" y="378"/>
                  <a:pt x="389" y="378"/>
                </a:cubicBezTo>
                <a:cubicBezTo>
                  <a:pt x="388" y="378"/>
                  <a:pt x="389" y="379"/>
                  <a:pt x="388" y="379"/>
                </a:cubicBezTo>
                <a:cubicBezTo>
                  <a:pt x="388" y="379"/>
                  <a:pt x="388" y="378"/>
                  <a:pt x="388" y="378"/>
                </a:cubicBezTo>
                <a:cubicBezTo>
                  <a:pt x="389" y="377"/>
                  <a:pt x="389" y="377"/>
                  <a:pt x="389" y="377"/>
                </a:cubicBezTo>
                <a:cubicBezTo>
                  <a:pt x="389" y="376"/>
                  <a:pt x="389" y="375"/>
                  <a:pt x="389" y="375"/>
                </a:cubicBezTo>
                <a:cubicBezTo>
                  <a:pt x="389" y="375"/>
                  <a:pt x="389" y="375"/>
                  <a:pt x="389" y="375"/>
                </a:cubicBezTo>
                <a:cubicBezTo>
                  <a:pt x="389" y="375"/>
                  <a:pt x="388" y="375"/>
                  <a:pt x="388" y="375"/>
                </a:cubicBezTo>
                <a:cubicBezTo>
                  <a:pt x="389" y="375"/>
                  <a:pt x="389" y="374"/>
                  <a:pt x="389" y="373"/>
                </a:cubicBezTo>
                <a:cubicBezTo>
                  <a:pt x="389" y="373"/>
                  <a:pt x="389" y="373"/>
                  <a:pt x="389" y="373"/>
                </a:cubicBezTo>
                <a:cubicBezTo>
                  <a:pt x="390" y="373"/>
                  <a:pt x="389" y="372"/>
                  <a:pt x="389" y="372"/>
                </a:cubicBezTo>
                <a:cubicBezTo>
                  <a:pt x="390" y="372"/>
                  <a:pt x="390" y="371"/>
                  <a:pt x="390" y="371"/>
                </a:cubicBezTo>
                <a:cubicBezTo>
                  <a:pt x="390" y="370"/>
                  <a:pt x="390" y="370"/>
                  <a:pt x="390" y="370"/>
                </a:cubicBezTo>
                <a:cubicBezTo>
                  <a:pt x="390" y="370"/>
                  <a:pt x="391" y="370"/>
                  <a:pt x="391" y="370"/>
                </a:cubicBezTo>
                <a:cubicBezTo>
                  <a:pt x="390" y="370"/>
                  <a:pt x="390" y="370"/>
                  <a:pt x="391" y="371"/>
                </a:cubicBezTo>
                <a:cubicBezTo>
                  <a:pt x="391" y="371"/>
                  <a:pt x="391" y="370"/>
                  <a:pt x="391" y="370"/>
                </a:cubicBezTo>
                <a:cubicBezTo>
                  <a:pt x="391" y="370"/>
                  <a:pt x="392" y="369"/>
                  <a:pt x="392" y="369"/>
                </a:cubicBezTo>
                <a:cubicBezTo>
                  <a:pt x="392" y="369"/>
                  <a:pt x="392" y="369"/>
                  <a:pt x="392" y="368"/>
                </a:cubicBezTo>
                <a:cubicBezTo>
                  <a:pt x="392" y="368"/>
                  <a:pt x="391" y="367"/>
                  <a:pt x="391" y="366"/>
                </a:cubicBezTo>
                <a:close/>
                <a:moveTo>
                  <a:pt x="430" y="334"/>
                </a:moveTo>
                <a:cubicBezTo>
                  <a:pt x="430" y="334"/>
                  <a:pt x="430" y="334"/>
                  <a:pt x="430" y="334"/>
                </a:cubicBezTo>
                <a:cubicBezTo>
                  <a:pt x="430" y="334"/>
                  <a:pt x="430" y="334"/>
                  <a:pt x="430" y="334"/>
                </a:cubicBezTo>
                <a:close/>
                <a:moveTo>
                  <a:pt x="499" y="90"/>
                </a:moveTo>
                <a:cubicBezTo>
                  <a:pt x="499" y="92"/>
                  <a:pt x="497" y="91"/>
                  <a:pt x="496" y="91"/>
                </a:cubicBezTo>
                <a:cubicBezTo>
                  <a:pt x="494" y="90"/>
                  <a:pt x="492" y="90"/>
                  <a:pt x="490" y="89"/>
                </a:cubicBezTo>
                <a:cubicBezTo>
                  <a:pt x="490" y="89"/>
                  <a:pt x="488" y="89"/>
                  <a:pt x="488" y="89"/>
                </a:cubicBezTo>
                <a:cubicBezTo>
                  <a:pt x="487" y="88"/>
                  <a:pt x="487" y="88"/>
                  <a:pt x="486" y="88"/>
                </a:cubicBezTo>
                <a:cubicBezTo>
                  <a:pt x="486" y="88"/>
                  <a:pt x="487" y="89"/>
                  <a:pt x="486" y="89"/>
                </a:cubicBezTo>
                <a:cubicBezTo>
                  <a:pt x="486" y="89"/>
                  <a:pt x="485" y="89"/>
                  <a:pt x="486" y="90"/>
                </a:cubicBezTo>
                <a:cubicBezTo>
                  <a:pt x="486" y="90"/>
                  <a:pt x="486" y="91"/>
                  <a:pt x="486" y="91"/>
                </a:cubicBezTo>
                <a:cubicBezTo>
                  <a:pt x="485" y="92"/>
                  <a:pt x="485" y="91"/>
                  <a:pt x="484" y="92"/>
                </a:cubicBezTo>
                <a:cubicBezTo>
                  <a:pt x="483" y="93"/>
                  <a:pt x="483" y="92"/>
                  <a:pt x="483" y="92"/>
                </a:cubicBezTo>
                <a:cubicBezTo>
                  <a:pt x="482" y="92"/>
                  <a:pt x="483" y="93"/>
                  <a:pt x="482" y="93"/>
                </a:cubicBezTo>
                <a:cubicBezTo>
                  <a:pt x="481" y="93"/>
                  <a:pt x="482" y="94"/>
                  <a:pt x="483" y="94"/>
                </a:cubicBezTo>
                <a:cubicBezTo>
                  <a:pt x="483" y="94"/>
                  <a:pt x="484" y="95"/>
                  <a:pt x="484" y="95"/>
                </a:cubicBezTo>
                <a:cubicBezTo>
                  <a:pt x="486" y="97"/>
                  <a:pt x="487" y="98"/>
                  <a:pt x="488" y="99"/>
                </a:cubicBezTo>
                <a:cubicBezTo>
                  <a:pt x="488" y="100"/>
                  <a:pt x="489" y="101"/>
                  <a:pt x="489" y="101"/>
                </a:cubicBezTo>
                <a:cubicBezTo>
                  <a:pt x="490" y="102"/>
                  <a:pt x="490" y="102"/>
                  <a:pt x="490" y="103"/>
                </a:cubicBezTo>
                <a:cubicBezTo>
                  <a:pt x="490" y="104"/>
                  <a:pt x="490" y="105"/>
                  <a:pt x="491" y="105"/>
                </a:cubicBezTo>
                <a:cubicBezTo>
                  <a:pt x="491" y="106"/>
                  <a:pt x="492" y="107"/>
                  <a:pt x="492" y="107"/>
                </a:cubicBezTo>
                <a:cubicBezTo>
                  <a:pt x="492" y="108"/>
                  <a:pt x="493" y="108"/>
                  <a:pt x="494" y="109"/>
                </a:cubicBezTo>
                <a:cubicBezTo>
                  <a:pt x="494" y="109"/>
                  <a:pt x="494" y="109"/>
                  <a:pt x="494" y="110"/>
                </a:cubicBezTo>
                <a:cubicBezTo>
                  <a:pt x="494" y="110"/>
                  <a:pt x="494" y="110"/>
                  <a:pt x="494" y="110"/>
                </a:cubicBezTo>
                <a:cubicBezTo>
                  <a:pt x="494" y="111"/>
                  <a:pt x="494" y="111"/>
                  <a:pt x="495" y="112"/>
                </a:cubicBezTo>
                <a:cubicBezTo>
                  <a:pt x="495" y="112"/>
                  <a:pt x="494" y="113"/>
                  <a:pt x="495" y="113"/>
                </a:cubicBezTo>
                <a:cubicBezTo>
                  <a:pt x="495" y="114"/>
                  <a:pt x="495" y="114"/>
                  <a:pt x="495" y="114"/>
                </a:cubicBezTo>
                <a:cubicBezTo>
                  <a:pt x="495" y="114"/>
                  <a:pt x="495" y="114"/>
                  <a:pt x="495" y="114"/>
                </a:cubicBezTo>
                <a:cubicBezTo>
                  <a:pt x="495" y="114"/>
                  <a:pt x="495" y="115"/>
                  <a:pt x="495" y="115"/>
                </a:cubicBezTo>
                <a:cubicBezTo>
                  <a:pt x="494" y="115"/>
                  <a:pt x="494" y="115"/>
                  <a:pt x="494" y="115"/>
                </a:cubicBezTo>
                <a:cubicBezTo>
                  <a:pt x="494" y="115"/>
                  <a:pt x="492" y="114"/>
                  <a:pt x="493" y="115"/>
                </a:cubicBezTo>
                <a:cubicBezTo>
                  <a:pt x="493" y="115"/>
                  <a:pt x="491" y="115"/>
                  <a:pt x="491" y="115"/>
                </a:cubicBezTo>
                <a:cubicBezTo>
                  <a:pt x="491" y="115"/>
                  <a:pt x="490" y="116"/>
                  <a:pt x="490" y="117"/>
                </a:cubicBezTo>
                <a:cubicBezTo>
                  <a:pt x="491" y="117"/>
                  <a:pt x="491" y="117"/>
                  <a:pt x="492" y="117"/>
                </a:cubicBezTo>
                <a:cubicBezTo>
                  <a:pt x="492" y="117"/>
                  <a:pt x="493" y="117"/>
                  <a:pt x="493" y="118"/>
                </a:cubicBezTo>
                <a:cubicBezTo>
                  <a:pt x="493" y="119"/>
                  <a:pt x="493" y="119"/>
                  <a:pt x="494" y="119"/>
                </a:cubicBezTo>
                <a:cubicBezTo>
                  <a:pt x="493" y="119"/>
                  <a:pt x="492" y="118"/>
                  <a:pt x="492" y="118"/>
                </a:cubicBezTo>
                <a:cubicBezTo>
                  <a:pt x="492" y="118"/>
                  <a:pt x="492" y="117"/>
                  <a:pt x="491" y="117"/>
                </a:cubicBezTo>
                <a:cubicBezTo>
                  <a:pt x="491" y="118"/>
                  <a:pt x="492" y="118"/>
                  <a:pt x="492" y="118"/>
                </a:cubicBezTo>
                <a:cubicBezTo>
                  <a:pt x="492" y="118"/>
                  <a:pt x="491" y="118"/>
                  <a:pt x="491" y="118"/>
                </a:cubicBezTo>
                <a:cubicBezTo>
                  <a:pt x="490" y="117"/>
                  <a:pt x="490" y="117"/>
                  <a:pt x="489" y="117"/>
                </a:cubicBezTo>
                <a:cubicBezTo>
                  <a:pt x="489" y="116"/>
                  <a:pt x="488" y="116"/>
                  <a:pt x="488" y="115"/>
                </a:cubicBezTo>
                <a:cubicBezTo>
                  <a:pt x="488" y="115"/>
                  <a:pt x="488" y="114"/>
                  <a:pt x="487" y="114"/>
                </a:cubicBezTo>
                <a:cubicBezTo>
                  <a:pt x="487" y="114"/>
                  <a:pt x="486" y="114"/>
                  <a:pt x="486" y="114"/>
                </a:cubicBezTo>
                <a:cubicBezTo>
                  <a:pt x="486" y="114"/>
                  <a:pt x="486" y="113"/>
                  <a:pt x="486" y="114"/>
                </a:cubicBezTo>
                <a:cubicBezTo>
                  <a:pt x="485" y="114"/>
                  <a:pt x="485" y="113"/>
                  <a:pt x="484" y="113"/>
                </a:cubicBezTo>
                <a:cubicBezTo>
                  <a:pt x="484" y="113"/>
                  <a:pt x="484" y="113"/>
                  <a:pt x="484" y="113"/>
                </a:cubicBezTo>
                <a:cubicBezTo>
                  <a:pt x="484" y="113"/>
                  <a:pt x="484" y="115"/>
                  <a:pt x="484" y="115"/>
                </a:cubicBezTo>
                <a:cubicBezTo>
                  <a:pt x="484" y="115"/>
                  <a:pt x="484" y="116"/>
                  <a:pt x="484" y="116"/>
                </a:cubicBezTo>
                <a:cubicBezTo>
                  <a:pt x="485" y="117"/>
                  <a:pt x="485" y="117"/>
                  <a:pt x="485" y="117"/>
                </a:cubicBezTo>
                <a:cubicBezTo>
                  <a:pt x="485" y="117"/>
                  <a:pt x="485" y="118"/>
                  <a:pt x="485" y="119"/>
                </a:cubicBezTo>
                <a:cubicBezTo>
                  <a:pt x="486" y="119"/>
                  <a:pt x="485" y="119"/>
                  <a:pt x="485" y="119"/>
                </a:cubicBezTo>
                <a:cubicBezTo>
                  <a:pt x="485" y="119"/>
                  <a:pt x="485" y="120"/>
                  <a:pt x="484" y="120"/>
                </a:cubicBezTo>
                <a:cubicBezTo>
                  <a:pt x="484" y="120"/>
                  <a:pt x="484" y="120"/>
                  <a:pt x="484" y="120"/>
                </a:cubicBezTo>
                <a:cubicBezTo>
                  <a:pt x="484" y="120"/>
                  <a:pt x="484" y="119"/>
                  <a:pt x="483" y="119"/>
                </a:cubicBezTo>
                <a:cubicBezTo>
                  <a:pt x="483" y="119"/>
                  <a:pt x="483" y="119"/>
                  <a:pt x="482" y="119"/>
                </a:cubicBezTo>
                <a:cubicBezTo>
                  <a:pt x="483" y="119"/>
                  <a:pt x="482" y="120"/>
                  <a:pt x="482" y="120"/>
                </a:cubicBezTo>
                <a:cubicBezTo>
                  <a:pt x="482" y="120"/>
                  <a:pt x="482" y="120"/>
                  <a:pt x="482" y="121"/>
                </a:cubicBezTo>
                <a:cubicBezTo>
                  <a:pt x="482" y="121"/>
                  <a:pt x="482" y="121"/>
                  <a:pt x="482" y="121"/>
                </a:cubicBezTo>
                <a:cubicBezTo>
                  <a:pt x="482" y="122"/>
                  <a:pt x="482" y="121"/>
                  <a:pt x="482" y="122"/>
                </a:cubicBezTo>
                <a:cubicBezTo>
                  <a:pt x="483" y="122"/>
                  <a:pt x="482" y="122"/>
                  <a:pt x="482" y="123"/>
                </a:cubicBezTo>
                <a:cubicBezTo>
                  <a:pt x="482" y="123"/>
                  <a:pt x="481" y="123"/>
                  <a:pt x="481" y="123"/>
                </a:cubicBezTo>
                <a:cubicBezTo>
                  <a:pt x="481" y="123"/>
                  <a:pt x="481" y="124"/>
                  <a:pt x="481" y="124"/>
                </a:cubicBezTo>
                <a:cubicBezTo>
                  <a:pt x="480" y="124"/>
                  <a:pt x="480" y="124"/>
                  <a:pt x="480" y="124"/>
                </a:cubicBezTo>
                <a:cubicBezTo>
                  <a:pt x="479" y="124"/>
                  <a:pt x="479" y="124"/>
                  <a:pt x="478" y="124"/>
                </a:cubicBezTo>
                <a:cubicBezTo>
                  <a:pt x="477" y="124"/>
                  <a:pt x="476" y="124"/>
                  <a:pt x="475" y="124"/>
                </a:cubicBezTo>
                <a:cubicBezTo>
                  <a:pt x="474" y="124"/>
                  <a:pt x="473" y="124"/>
                  <a:pt x="474" y="125"/>
                </a:cubicBezTo>
                <a:cubicBezTo>
                  <a:pt x="475" y="126"/>
                  <a:pt x="475" y="126"/>
                  <a:pt x="476" y="127"/>
                </a:cubicBezTo>
                <a:cubicBezTo>
                  <a:pt x="477" y="128"/>
                  <a:pt x="478" y="128"/>
                  <a:pt x="478" y="129"/>
                </a:cubicBezTo>
                <a:cubicBezTo>
                  <a:pt x="478" y="129"/>
                  <a:pt x="478" y="131"/>
                  <a:pt x="478" y="131"/>
                </a:cubicBezTo>
                <a:cubicBezTo>
                  <a:pt x="477" y="131"/>
                  <a:pt x="477" y="130"/>
                  <a:pt x="476" y="130"/>
                </a:cubicBezTo>
                <a:cubicBezTo>
                  <a:pt x="476" y="130"/>
                  <a:pt x="475" y="130"/>
                  <a:pt x="475" y="130"/>
                </a:cubicBezTo>
                <a:cubicBezTo>
                  <a:pt x="475" y="131"/>
                  <a:pt x="474" y="130"/>
                  <a:pt x="474" y="130"/>
                </a:cubicBezTo>
                <a:cubicBezTo>
                  <a:pt x="473" y="130"/>
                  <a:pt x="473" y="130"/>
                  <a:pt x="472" y="130"/>
                </a:cubicBezTo>
                <a:cubicBezTo>
                  <a:pt x="471" y="130"/>
                  <a:pt x="470" y="130"/>
                  <a:pt x="470" y="130"/>
                </a:cubicBezTo>
                <a:cubicBezTo>
                  <a:pt x="470" y="129"/>
                  <a:pt x="467" y="129"/>
                  <a:pt x="468" y="129"/>
                </a:cubicBezTo>
                <a:cubicBezTo>
                  <a:pt x="468" y="128"/>
                  <a:pt x="468" y="129"/>
                  <a:pt x="467" y="128"/>
                </a:cubicBezTo>
                <a:cubicBezTo>
                  <a:pt x="467" y="128"/>
                  <a:pt x="466" y="128"/>
                  <a:pt x="467" y="128"/>
                </a:cubicBezTo>
                <a:cubicBezTo>
                  <a:pt x="466" y="127"/>
                  <a:pt x="466" y="127"/>
                  <a:pt x="466" y="127"/>
                </a:cubicBezTo>
                <a:cubicBezTo>
                  <a:pt x="465" y="127"/>
                  <a:pt x="465" y="127"/>
                  <a:pt x="465" y="126"/>
                </a:cubicBezTo>
                <a:cubicBezTo>
                  <a:pt x="464" y="126"/>
                  <a:pt x="465" y="127"/>
                  <a:pt x="464" y="127"/>
                </a:cubicBezTo>
                <a:cubicBezTo>
                  <a:pt x="464" y="128"/>
                  <a:pt x="463" y="127"/>
                  <a:pt x="463" y="127"/>
                </a:cubicBezTo>
                <a:cubicBezTo>
                  <a:pt x="463" y="127"/>
                  <a:pt x="464" y="127"/>
                  <a:pt x="463" y="128"/>
                </a:cubicBezTo>
                <a:cubicBezTo>
                  <a:pt x="463" y="128"/>
                  <a:pt x="463" y="128"/>
                  <a:pt x="463" y="128"/>
                </a:cubicBezTo>
                <a:cubicBezTo>
                  <a:pt x="463" y="128"/>
                  <a:pt x="463" y="128"/>
                  <a:pt x="463" y="129"/>
                </a:cubicBezTo>
                <a:cubicBezTo>
                  <a:pt x="463" y="129"/>
                  <a:pt x="463" y="129"/>
                  <a:pt x="463" y="130"/>
                </a:cubicBezTo>
                <a:cubicBezTo>
                  <a:pt x="463" y="130"/>
                  <a:pt x="463" y="131"/>
                  <a:pt x="463" y="131"/>
                </a:cubicBezTo>
                <a:cubicBezTo>
                  <a:pt x="463" y="131"/>
                  <a:pt x="464" y="131"/>
                  <a:pt x="463" y="131"/>
                </a:cubicBezTo>
                <a:cubicBezTo>
                  <a:pt x="463" y="131"/>
                  <a:pt x="463" y="132"/>
                  <a:pt x="463" y="132"/>
                </a:cubicBezTo>
                <a:cubicBezTo>
                  <a:pt x="463" y="133"/>
                  <a:pt x="463" y="133"/>
                  <a:pt x="462" y="134"/>
                </a:cubicBezTo>
                <a:cubicBezTo>
                  <a:pt x="462" y="134"/>
                  <a:pt x="462" y="134"/>
                  <a:pt x="462" y="135"/>
                </a:cubicBezTo>
                <a:cubicBezTo>
                  <a:pt x="462" y="135"/>
                  <a:pt x="461" y="136"/>
                  <a:pt x="462" y="136"/>
                </a:cubicBezTo>
                <a:cubicBezTo>
                  <a:pt x="461" y="136"/>
                  <a:pt x="461" y="136"/>
                  <a:pt x="461" y="136"/>
                </a:cubicBezTo>
                <a:cubicBezTo>
                  <a:pt x="460" y="136"/>
                  <a:pt x="460" y="136"/>
                  <a:pt x="460" y="136"/>
                </a:cubicBezTo>
                <a:cubicBezTo>
                  <a:pt x="459" y="136"/>
                  <a:pt x="459" y="136"/>
                  <a:pt x="459" y="137"/>
                </a:cubicBezTo>
                <a:cubicBezTo>
                  <a:pt x="459" y="137"/>
                  <a:pt x="459" y="137"/>
                  <a:pt x="459" y="137"/>
                </a:cubicBezTo>
                <a:cubicBezTo>
                  <a:pt x="459" y="138"/>
                  <a:pt x="459" y="137"/>
                  <a:pt x="458" y="137"/>
                </a:cubicBezTo>
                <a:cubicBezTo>
                  <a:pt x="458" y="137"/>
                  <a:pt x="459" y="138"/>
                  <a:pt x="458" y="138"/>
                </a:cubicBezTo>
                <a:cubicBezTo>
                  <a:pt x="458" y="138"/>
                  <a:pt x="458" y="139"/>
                  <a:pt x="458" y="139"/>
                </a:cubicBezTo>
                <a:cubicBezTo>
                  <a:pt x="457" y="139"/>
                  <a:pt x="457" y="139"/>
                  <a:pt x="457" y="139"/>
                </a:cubicBezTo>
                <a:cubicBezTo>
                  <a:pt x="456" y="139"/>
                  <a:pt x="456" y="139"/>
                  <a:pt x="456" y="139"/>
                </a:cubicBezTo>
                <a:cubicBezTo>
                  <a:pt x="456" y="139"/>
                  <a:pt x="456" y="139"/>
                  <a:pt x="455" y="139"/>
                </a:cubicBezTo>
                <a:cubicBezTo>
                  <a:pt x="455" y="140"/>
                  <a:pt x="455" y="140"/>
                  <a:pt x="455" y="141"/>
                </a:cubicBezTo>
                <a:cubicBezTo>
                  <a:pt x="455" y="141"/>
                  <a:pt x="454" y="141"/>
                  <a:pt x="454" y="141"/>
                </a:cubicBezTo>
                <a:cubicBezTo>
                  <a:pt x="454" y="141"/>
                  <a:pt x="453" y="142"/>
                  <a:pt x="453" y="142"/>
                </a:cubicBezTo>
                <a:cubicBezTo>
                  <a:pt x="453" y="143"/>
                  <a:pt x="451" y="144"/>
                  <a:pt x="451" y="145"/>
                </a:cubicBezTo>
                <a:cubicBezTo>
                  <a:pt x="452" y="146"/>
                  <a:pt x="451" y="147"/>
                  <a:pt x="451" y="147"/>
                </a:cubicBezTo>
                <a:cubicBezTo>
                  <a:pt x="450" y="148"/>
                  <a:pt x="450" y="148"/>
                  <a:pt x="449" y="148"/>
                </a:cubicBezTo>
                <a:cubicBezTo>
                  <a:pt x="448" y="148"/>
                  <a:pt x="448" y="148"/>
                  <a:pt x="447" y="148"/>
                </a:cubicBezTo>
                <a:cubicBezTo>
                  <a:pt x="447" y="148"/>
                  <a:pt x="446" y="147"/>
                  <a:pt x="446" y="147"/>
                </a:cubicBezTo>
                <a:cubicBezTo>
                  <a:pt x="446" y="147"/>
                  <a:pt x="446" y="148"/>
                  <a:pt x="446" y="148"/>
                </a:cubicBezTo>
                <a:cubicBezTo>
                  <a:pt x="446" y="149"/>
                  <a:pt x="445" y="148"/>
                  <a:pt x="445" y="148"/>
                </a:cubicBezTo>
                <a:cubicBezTo>
                  <a:pt x="445" y="148"/>
                  <a:pt x="445" y="149"/>
                  <a:pt x="445" y="149"/>
                </a:cubicBezTo>
                <a:cubicBezTo>
                  <a:pt x="444" y="149"/>
                  <a:pt x="444" y="148"/>
                  <a:pt x="444" y="148"/>
                </a:cubicBezTo>
                <a:cubicBezTo>
                  <a:pt x="444" y="149"/>
                  <a:pt x="443" y="148"/>
                  <a:pt x="443" y="148"/>
                </a:cubicBezTo>
                <a:cubicBezTo>
                  <a:pt x="443" y="148"/>
                  <a:pt x="443" y="148"/>
                  <a:pt x="443" y="149"/>
                </a:cubicBezTo>
                <a:cubicBezTo>
                  <a:pt x="443" y="149"/>
                  <a:pt x="443" y="149"/>
                  <a:pt x="443" y="149"/>
                </a:cubicBezTo>
                <a:cubicBezTo>
                  <a:pt x="443" y="149"/>
                  <a:pt x="444" y="149"/>
                  <a:pt x="443" y="150"/>
                </a:cubicBezTo>
                <a:cubicBezTo>
                  <a:pt x="442" y="150"/>
                  <a:pt x="442" y="149"/>
                  <a:pt x="442" y="149"/>
                </a:cubicBezTo>
                <a:cubicBezTo>
                  <a:pt x="442" y="149"/>
                  <a:pt x="441" y="149"/>
                  <a:pt x="441" y="150"/>
                </a:cubicBezTo>
                <a:cubicBezTo>
                  <a:pt x="442" y="150"/>
                  <a:pt x="441" y="150"/>
                  <a:pt x="440" y="150"/>
                </a:cubicBezTo>
                <a:cubicBezTo>
                  <a:pt x="440" y="150"/>
                  <a:pt x="440" y="150"/>
                  <a:pt x="440" y="151"/>
                </a:cubicBezTo>
                <a:cubicBezTo>
                  <a:pt x="439" y="151"/>
                  <a:pt x="439" y="151"/>
                  <a:pt x="439" y="151"/>
                </a:cubicBezTo>
                <a:cubicBezTo>
                  <a:pt x="439" y="152"/>
                  <a:pt x="438" y="152"/>
                  <a:pt x="438" y="152"/>
                </a:cubicBezTo>
                <a:cubicBezTo>
                  <a:pt x="438" y="152"/>
                  <a:pt x="437" y="153"/>
                  <a:pt x="436" y="153"/>
                </a:cubicBezTo>
                <a:cubicBezTo>
                  <a:pt x="436" y="153"/>
                  <a:pt x="436" y="154"/>
                  <a:pt x="436" y="154"/>
                </a:cubicBezTo>
                <a:cubicBezTo>
                  <a:pt x="436" y="154"/>
                  <a:pt x="436" y="154"/>
                  <a:pt x="436" y="154"/>
                </a:cubicBezTo>
                <a:cubicBezTo>
                  <a:pt x="435" y="155"/>
                  <a:pt x="436" y="155"/>
                  <a:pt x="436" y="155"/>
                </a:cubicBezTo>
                <a:cubicBezTo>
                  <a:pt x="436" y="155"/>
                  <a:pt x="436" y="156"/>
                  <a:pt x="435" y="156"/>
                </a:cubicBezTo>
                <a:cubicBezTo>
                  <a:pt x="435" y="156"/>
                  <a:pt x="435" y="156"/>
                  <a:pt x="434" y="156"/>
                </a:cubicBezTo>
                <a:cubicBezTo>
                  <a:pt x="434" y="156"/>
                  <a:pt x="435" y="157"/>
                  <a:pt x="435" y="157"/>
                </a:cubicBezTo>
                <a:cubicBezTo>
                  <a:pt x="435" y="157"/>
                  <a:pt x="434" y="157"/>
                  <a:pt x="434" y="157"/>
                </a:cubicBezTo>
                <a:cubicBezTo>
                  <a:pt x="434" y="157"/>
                  <a:pt x="435" y="157"/>
                  <a:pt x="435" y="157"/>
                </a:cubicBezTo>
                <a:cubicBezTo>
                  <a:pt x="434" y="158"/>
                  <a:pt x="433" y="156"/>
                  <a:pt x="433" y="157"/>
                </a:cubicBezTo>
                <a:cubicBezTo>
                  <a:pt x="433" y="157"/>
                  <a:pt x="433" y="157"/>
                  <a:pt x="433" y="157"/>
                </a:cubicBezTo>
                <a:cubicBezTo>
                  <a:pt x="432" y="157"/>
                  <a:pt x="433" y="157"/>
                  <a:pt x="432" y="157"/>
                </a:cubicBezTo>
                <a:cubicBezTo>
                  <a:pt x="432" y="158"/>
                  <a:pt x="433" y="158"/>
                  <a:pt x="433" y="158"/>
                </a:cubicBezTo>
                <a:cubicBezTo>
                  <a:pt x="434" y="159"/>
                  <a:pt x="433" y="158"/>
                  <a:pt x="432" y="158"/>
                </a:cubicBezTo>
                <a:cubicBezTo>
                  <a:pt x="432" y="158"/>
                  <a:pt x="432" y="159"/>
                  <a:pt x="432" y="159"/>
                </a:cubicBezTo>
                <a:cubicBezTo>
                  <a:pt x="431" y="159"/>
                  <a:pt x="431" y="159"/>
                  <a:pt x="431" y="159"/>
                </a:cubicBezTo>
                <a:cubicBezTo>
                  <a:pt x="431" y="159"/>
                  <a:pt x="430" y="159"/>
                  <a:pt x="430" y="159"/>
                </a:cubicBezTo>
                <a:cubicBezTo>
                  <a:pt x="430" y="159"/>
                  <a:pt x="430" y="159"/>
                  <a:pt x="430" y="159"/>
                </a:cubicBezTo>
                <a:cubicBezTo>
                  <a:pt x="430" y="159"/>
                  <a:pt x="429" y="161"/>
                  <a:pt x="429" y="160"/>
                </a:cubicBezTo>
                <a:cubicBezTo>
                  <a:pt x="429" y="159"/>
                  <a:pt x="429" y="159"/>
                  <a:pt x="428" y="159"/>
                </a:cubicBezTo>
                <a:cubicBezTo>
                  <a:pt x="428" y="158"/>
                  <a:pt x="428" y="158"/>
                  <a:pt x="428" y="158"/>
                </a:cubicBezTo>
                <a:cubicBezTo>
                  <a:pt x="428" y="158"/>
                  <a:pt x="428" y="158"/>
                  <a:pt x="428" y="158"/>
                </a:cubicBezTo>
                <a:cubicBezTo>
                  <a:pt x="428" y="157"/>
                  <a:pt x="428" y="157"/>
                  <a:pt x="428" y="157"/>
                </a:cubicBezTo>
                <a:cubicBezTo>
                  <a:pt x="429" y="157"/>
                  <a:pt x="429" y="157"/>
                  <a:pt x="429" y="157"/>
                </a:cubicBezTo>
                <a:cubicBezTo>
                  <a:pt x="430" y="157"/>
                  <a:pt x="429" y="156"/>
                  <a:pt x="430" y="156"/>
                </a:cubicBezTo>
                <a:cubicBezTo>
                  <a:pt x="430" y="156"/>
                  <a:pt x="430" y="157"/>
                  <a:pt x="431" y="157"/>
                </a:cubicBezTo>
                <a:cubicBezTo>
                  <a:pt x="431" y="157"/>
                  <a:pt x="431" y="156"/>
                  <a:pt x="431" y="156"/>
                </a:cubicBezTo>
                <a:cubicBezTo>
                  <a:pt x="432" y="156"/>
                  <a:pt x="432" y="155"/>
                  <a:pt x="431" y="155"/>
                </a:cubicBezTo>
                <a:cubicBezTo>
                  <a:pt x="431" y="155"/>
                  <a:pt x="431" y="154"/>
                  <a:pt x="431" y="154"/>
                </a:cubicBezTo>
                <a:cubicBezTo>
                  <a:pt x="431" y="154"/>
                  <a:pt x="431" y="154"/>
                  <a:pt x="432" y="153"/>
                </a:cubicBezTo>
                <a:cubicBezTo>
                  <a:pt x="432" y="153"/>
                  <a:pt x="431" y="153"/>
                  <a:pt x="432" y="153"/>
                </a:cubicBezTo>
                <a:cubicBezTo>
                  <a:pt x="432" y="153"/>
                  <a:pt x="433" y="153"/>
                  <a:pt x="433" y="152"/>
                </a:cubicBezTo>
                <a:cubicBezTo>
                  <a:pt x="433" y="152"/>
                  <a:pt x="432" y="152"/>
                  <a:pt x="432" y="152"/>
                </a:cubicBezTo>
                <a:cubicBezTo>
                  <a:pt x="432" y="153"/>
                  <a:pt x="431" y="152"/>
                  <a:pt x="431" y="152"/>
                </a:cubicBezTo>
                <a:cubicBezTo>
                  <a:pt x="431" y="152"/>
                  <a:pt x="431" y="153"/>
                  <a:pt x="431" y="153"/>
                </a:cubicBezTo>
                <a:cubicBezTo>
                  <a:pt x="430" y="153"/>
                  <a:pt x="430" y="153"/>
                  <a:pt x="430" y="153"/>
                </a:cubicBezTo>
                <a:cubicBezTo>
                  <a:pt x="429" y="153"/>
                  <a:pt x="429" y="152"/>
                  <a:pt x="428" y="151"/>
                </a:cubicBezTo>
                <a:cubicBezTo>
                  <a:pt x="427" y="151"/>
                  <a:pt x="427" y="151"/>
                  <a:pt x="427" y="151"/>
                </a:cubicBezTo>
                <a:cubicBezTo>
                  <a:pt x="427" y="151"/>
                  <a:pt x="426" y="151"/>
                  <a:pt x="426" y="151"/>
                </a:cubicBezTo>
                <a:cubicBezTo>
                  <a:pt x="426" y="150"/>
                  <a:pt x="428" y="150"/>
                  <a:pt x="428" y="150"/>
                </a:cubicBezTo>
                <a:cubicBezTo>
                  <a:pt x="428" y="150"/>
                  <a:pt x="428" y="150"/>
                  <a:pt x="428" y="149"/>
                </a:cubicBezTo>
                <a:cubicBezTo>
                  <a:pt x="427" y="149"/>
                  <a:pt x="426" y="148"/>
                  <a:pt x="427" y="147"/>
                </a:cubicBezTo>
                <a:cubicBezTo>
                  <a:pt x="428" y="147"/>
                  <a:pt x="428" y="147"/>
                  <a:pt x="428" y="147"/>
                </a:cubicBezTo>
                <a:cubicBezTo>
                  <a:pt x="429" y="147"/>
                  <a:pt x="429" y="147"/>
                  <a:pt x="429" y="147"/>
                </a:cubicBezTo>
                <a:cubicBezTo>
                  <a:pt x="429" y="146"/>
                  <a:pt x="429" y="146"/>
                  <a:pt x="429" y="146"/>
                </a:cubicBezTo>
                <a:cubicBezTo>
                  <a:pt x="429" y="145"/>
                  <a:pt x="430" y="144"/>
                  <a:pt x="429" y="144"/>
                </a:cubicBezTo>
                <a:cubicBezTo>
                  <a:pt x="430" y="144"/>
                  <a:pt x="430" y="143"/>
                  <a:pt x="430" y="142"/>
                </a:cubicBezTo>
                <a:cubicBezTo>
                  <a:pt x="430" y="142"/>
                  <a:pt x="430" y="142"/>
                  <a:pt x="430" y="142"/>
                </a:cubicBezTo>
                <a:cubicBezTo>
                  <a:pt x="430" y="142"/>
                  <a:pt x="430" y="141"/>
                  <a:pt x="430" y="141"/>
                </a:cubicBezTo>
                <a:cubicBezTo>
                  <a:pt x="431" y="140"/>
                  <a:pt x="429" y="140"/>
                  <a:pt x="429" y="139"/>
                </a:cubicBezTo>
                <a:cubicBezTo>
                  <a:pt x="429" y="139"/>
                  <a:pt x="429" y="138"/>
                  <a:pt x="428" y="138"/>
                </a:cubicBezTo>
                <a:cubicBezTo>
                  <a:pt x="428" y="138"/>
                  <a:pt x="428" y="138"/>
                  <a:pt x="428" y="138"/>
                </a:cubicBezTo>
                <a:cubicBezTo>
                  <a:pt x="427" y="138"/>
                  <a:pt x="426" y="138"/>
                  <a:pt x="426" y="137"/>
                </a:cubicBezTo>
                <a:cubicBezTo>
                  <a:pt x="425" y="137"/>
                  <a:pt x="425" y="137"/>
                  <a:pt x="424" y="136"/>
                </a:cubicBezTo>
                <a:cubicBezTo>
                  <a:pt x="424" y="136"/>
                  <a:pt x="424" y="135"/>
                  <a:pt x="424" y="135"/>
                </a:cubicBezTo>
                <a:cubicBezTo>
                  <a:pt x="424" y="135"/>
                  <a:pt x="424" y="136"/>
                  <a:pt x="424" y="137"/>
                </a:cubicBezTo>
                <a:cubicBezTo>
                  <a:pt x="424" y="137"/>
                  <a:pt x="423" y="137"/>
                  <a:pt x="423" y="137"/>
                </a:cubicBezTo>
                <a:cubicBezTo>
                  <a:pt x="422" y="137"/>
                  <a:pt x="420" y="135"/>
                  <a:pt x="420" y="136"/>
                </a:cubicBezTo>
                <a:cubicBezTo>
                  <a:pt x="420" y="136"/>
                  <a:pt x="419" y="136"/>
                  <a:pt x="418" y="136"/>
                </a:cubicBezTo>
                <a:cubicBezTo>
                  <a:pt x="418" y="136"/>
                  <a:pt x="418" y="137"/>
                  <a:pt x="418" y="137"/>
                </a:cubicBezTo>
                <a:cubicBezTo>
                  <a:pt x="418" y="137"/>
                  <a:pt x="417" y="137"/>
                  <a:pt x="417" y="137"/>
                </a:cubicBezTo>
                <a:cubicBezTo>
                  <a:pt x="417" y="138"/>
                  <a:pt x="418" y="138"/>
                  <a:pt x="418" y="138"/>
                </a:cubicBezTo>
                <a:cubicBezTo>
                  <a:pt x="417" y="138"/>
                  <a:pt x="417" y="139"/>
                  <a:pt x="416" y="140"/>
                </a:cubicBezTo>
                <a:cubicBezTo>
                  <a:pt x="416" y="140"/>
                  <a:pt x="416" y="141"/>
                  <a:pt x="416" y="141"/>
                </a:cubicBezTo>
                <a:cubicBezTo>
                  <a:pt x="416" y="141"/>
                  <a:pt x="416" y="141"/>
                  <a:pt x="416" y="141"/>
                </a:cubicBezTo>
                <a:cubicBezTo>
                  <a:pt x="416" y="141"/>
                  <a:pt x="416" y="141"/>
                  <a:pt x="416" y="141"/>
                </a:cubicBezTo>
                <a:cubicBezTo>
                  <a:pt x="415" y="142"/>
                  <a:pt x="417" y="142"/>
                  <a:pt x="416" y="142"/>
                </a:cubicBezTo>
                <a:cubicBezTo>
                  <a:pt x="415" y="142"/>
                  <a:pt x="416" y="143"/>
                  <a:pt x="416" y="143"/>
                </a:cubicBezTo>
                <a:cubicBezTo>
                  <a:pt x="416" y="144"/>
                  <a:pt x="415" y="144"/>
                  <a:pt x="415" y="144"/>
                </a:cubicBezTo>
                <a:cubicBezTo>
                  <a:pt x="414" y="145"/>
                  <a:pt x="413" y="145"/>
                  <a:pt x="412" y="146"/>
                </a:cubicBezTo>
                <a:cubicBezTo>
                  <a:pt x="411" y="146"/>
                  <a:pt x="409" y="146"/>
                  <a:pt x="409" y="147"/>
                </a:cubicBezTo>
                <a:cubicBezTo>
                  <a:pt x="409" y="148"/>
                  <a:pt x="409" y="148"/>
                  <a:pt x="409" y="148"/>
                </a:cubicBezTo>
                <a:cubicBezTo>
                  <a:pt x="409" y="148"/>
                  <a:pt x="408" y="149"/>
                  <a:pt x="408" y="149"/>
                </a:cubicBezTo>
                <a:cubicBezTo>
                  <a:pt x="408" y="149"/>
                  <a:pt x="408" y="150"/>
                  <a:pt x="408" y="150"/>
                </a:cubicBezTo>
                <a:cubicBezTo>
                  <a:pt x="408" y="150"/>
                  <a:pt x="408" y="150"/>
                  <a:pt x="408" y="151"/>
                </a:cubicBezTo>
                <a:cubicBezTo>
                  <a:pt x="408" y="151"/>
                  <a:pt x="408" y="151"/>
                  <a:pt x="408" y="151"/>
                </a:cubicBezTo>
                <a:cubicBezTo>
                  <a:pt x="408" y="151"/>
                  <a:pt x="408" y="151"/>
                  <a:pt x="408" y="151"/>
                </a:cubicBezTo>
                <a:cubicBezTo>
                  <a:pt x="408" y="151"/>
                  <a:pt x="409" y="152"/>
                  <a:pt x="409" y="152"/>
                </a:cubicBezTo>
                <a:cubicBezTo>
                  <a:pt x="409" y="153"/>
                  <a:pt x="408" y="153"/>
                  <a:pt x="408" y="154"/>
                </a:cubicBezTo>
                <a:cubicBezTo>
                  <a:pt x="408" y="154"/>
                  <a:pt x="408" y="154"/>
                  <a:pt x="408" y="155"/>
                </a:cubicBezTo>
                <a:cubicBezTo>
                  <a:pt x="408" y="155"/>
                  <a:pt x="407" y="156"/>
                  <a:pt x="407" y="155"/>
                </a:cubicBezTo>
                <a:cubicBezTo>
                  <a:pt x="407" y="155"/>
                  <a:pt x="407" y="155"/>
                  <a:pt x="407" y="155"/>
                </a:cubicBezTo>
                <a:cubicBezTo>
                  <a:pt x="407" y="155"/>
                  <a:pt x="407" y="155"/>
                  <a:pt x="406" y="154"/>
                </a:cubicBezTo>
                <a:cubicBezTo>
                  <a:pt x="406" y="156"/>
                  <a:pt x="404" y="154"/>
                  <a:pt x="404" y="155"/>
                </a:cubicBezTo>
                <a:cubicBezTo>
                  <a:pt x="403" y="155"/>
                  <a:pt x="403" y="157"/>
                  <a:pt x="401" y="156"/>
                </a:cubicBezTo>
                <a:cubicBezTo>
                  <a:pt x="400" y="155"/>
                  <a:pt x="399" y="154"/>
                  <a:pt x="398" y="154"/>
                </a:cubicBezTo>
                <a:cubicBezTo>
                  <a:pt x="397" y="155"/>
                  <a:pt x="396" y="156"/>
                  <a:pt x="397" y="157"/>
                </a:cubicBezTo>
                <a:cubicBezTo>
                  <a:pt x="397" y="157"/>
                  <a:pt x="397" y="157"/>
                  <a:pt x="397" y="157"/>
                </a:cubicBezTo>
                <a:cubicBezTo>
                  <a:pt x="397" y="158"/>
                  <a:pt x="397" y="158"/>
                  <a:pt x="397" y="159"/>
                </a:cubicBezTo>
                <a:cubicBezTo>
                  <a:pt x="397" y="160"/>
                  <a:pt x="397" y="161"/>
                  <a:pt x="398" y="162"/>
                </a:cubicBezTo>
                <a:cubicBezTo>
                  <a:pt x="399" y="163"/>
                  <a:pt x="400" y="164"/>
                  <a:pt x="402" y="165"/>
                </a:cubicBezTo>
                <a:cubicBezTo>
                  <a:pt x="402" y="165"/>
                  <a:pt x="403" y="166"/>
                  <a:pt x="404" y="166"/>
                </a:cubicBezTo>
                <a:cubicBezTo>
                  <a:pt x="404" y="166"/>
                  <a:pt x="405" y="166"/>
                  <a:pt x="406" y="166"/>
                </a:cubicBezTo>
                <a:cubicBezTo>
                  <a:pt x="406" y="167"/>
                  <a:pt x="407" y="167"/>
                  <a:pt x="407" y="167"/>
                </a:cubicBezTo>
                <a:cubicBezTo>
                  <a:pt x="407" y="167"/>
                  <a:pt x="407" y="167"/>
                  <a:pt x="407" y="166"/>
                </a:cubicBezTo>
                <a:cubicBezTo>
                  <a:pt x="407" y="166"/>
                  <a:pt x="407" y="167"/>
                  <a:pt x="407" y="167"/>
                </a:cubicBezTo>
                <a:cubicBezTo>
                  <a:pt x="407" y="166"/>
                  <a:pt x="408" y="166"/>
                  <a:pt x="408" y="166"/>
                </a:cubicBezTo>
                <a:cubicBezTo>
                  <a:pt x="408" y="167"/>
                  <a:pt x="408" y="167"/>
                  <a:pt x="408" y="167"/>
                </a:cubicBezTo>
                <a:cubicBezTo>
                  <a:pt x="408" y="167"/>
                  <a:pt x="409" y="168"/>
                  <a:pt x="409" y="168"/>
                </a:cubicBezTo>
                <a:cubicBezTo>
                  <a:pt x="409" y="167"/>
                  <a:pt x="410" y="167"/>
                  <a:pt x="409" y="166"/>
                </a:cubicBezTo>
                <a:cubicBezTo>
                  <a:pt x="409" y="166"/>
                  <a:pt x="410" y="166"/>
                  <a:pt x="410" y="166"/>
                </a:cubicBezTo>
                <a:cubicBezTo>
                  <a:pt x="411" y="166"/>
                  <a:pt x="412" y="166"/>
                  <a:pt x="412" y="167"/>
                </a:cubicBezTo>
                <a:cubicBezTo>
                  <a:pt x="413" y="168"/>
                  <a:pt x="413" y="168"/>
                  <a:pt x="414" y="169"/>
                </a:cubicBezTo>
                <a:cubicBezTo>
                  <a:pt x="415" y="169"/>
                  <a:pt x="415" y="170"/>
                  <a:pt x="415" y="170"/>
                </a:cubicBezTo>
                <a:cubicBezTo>
                  <a:pt x="415" y="171"/>
                  <a:pt x="415" y="171"/>
                  <a:pt x="415" y="171"/>
                </a:cubicBezTo>
                <a:cubicBezTo>
                  <a:pt x="414" y="172"/>
                  <a:pt x="415" y="172"/>
                  <a:pt x="415" y="173"/>
                </a:cubicBezTo>
                <a:cubicBezTo>
                  <a:pt x="415" y="173"/>
                  <a:pt x="415" y="175"/>
                  <a:pt x="416" y="175"/>
                </a:cubicBezTo>
                <a:cubicBezTo>
                  <a:pt x="416" y="176"/>
                  <a:pt x="417" y="176"/>
                  <a:pt x="418" y="177"/>
                </a:cubicBezTo>
                <a:cubicBezTo>
                  <a:pt x="419" y="177"/>
                  <a:pt x="420" y="177"/>
                  <a:pt x="421" y="177"/>
                </a:cubicBezTo>
                <a:cubicBezTo>
                  <a:pt x="422" y="177"/>
                  <a:pt x="423" y="178"/>
                  <a:pt x="424" y="177"/>
                </a:cubicBezTo>
                <a:cubicBezTo>
                  <a:pt x="425" y="176"/>
                  <a:pt x="424" y="176"/>
                  <a:pt x="424" y="175"/>
                </a:cubicBezTo>
                <a:cubicBezTo>
                  <a:pt x="424" y="175"/>
                  <a:pt x="425" y="174"/>
                  <a:pt x="425" y="174"/>
                </a:cubicBezTo>
                <a:cubicBezTo>
                  <a:pt x="426" y="173"/>
                  <a:pt x="426" y="173"/>
                  <a:pt x="427" y="172"/>
                </a:cubicBezTo>
                <a:cubicBezTo>
                  <a:pt x="427" y="171"/>
                  <a:pt x="426" y="171"/>
                  <a:pt x="426" y="171"/>
                </a:cubicBezTo>
                <a:cubicBezTo>
                  <a:pt x="426" y="171"/>
                  <a:pt x="427" y="171"/>
                  <a:pt x="427" y="171"/>
                </a:cubicBezTo>
                <a:cubicBezTo>
                  <a:pt x="428" y="170"/>
                  <a:pt x="428" y="170"/>
                  <a:pt x="429" y="170"/>
                </a:cubicBezTo>
                <a:cubicBezTo>
                  <a:pt x="430" y="170"/>
                  <a:pt x="430" y="169"/>
                  <a:pt x="430" y="170"/>
                </a:cubicBezTo>
                <a:cubicBezTo>
                  <a:pt x="431" y="170"/>
                  <a:pt x="431" y="170"/>
                  <a:pt x="432" y="170"/>
                </a:cubicBezTo>
                <a:cubicBezTo>
                  <a:pt x="432" y="171"/>
                  <a:pt x="433" y="171"/>
                  <a:pt x="434" y="171"/>
                </a:cubicBezTo>
                <a:cubicBezTo>
                  <a:pt x="434" y="171"/>
                  <a:pt x="434" y="172"/>
                  <a:pt x="434" y="172"/>
                </a:cubicBezTo>
                <a:cubicBezTo>
                  <a:pt x="435" y="173"/>
                  <a:pt x="437" y="172"/>
                  <a:pt x="436" y="172"/>
                </a:cubicBezTo>
                <a:cubicBezTo>
                  <a:pt x="436" y="172"/>
                  <a:pt x="437" y="172"/>
                  <a:pt x="437" y="172"/>
                </a:cubicBezTo>
                <a:cubicBezTo>
                  <a:pt x="436" y="172"/>
                  <a:pt x="437" y="173"/>
                  <a:pt x="438" y="173"/>
                </a:cubicBezTo>
                <a:cubicBezTo>
                  <a:pt x="438" y="174"/>
                  <a:pt x="439" y="174"/>
                  <a:pt x="440" y="174"/>
                </a:cubicBezTo>
                <a:cubicBezTo>
                  <a:pt x="440" y="174"/>
                  <a:pt x="439" y="174"/>
                  <a:pt x="439" y="174"/>
                </a:cubicBezTo>
                <a:cubicBezTo>
                  <a:pt x="439" y="173"/>
                  <a:pt x="440" y="174"/>
                  <a:pt x="441" y="174"/>
                </a:cubicBezTo>
                <a:cubicBezTo>
                  <a:pt x="441" y="174"/>
                  <a:pt x="442" y="173"/>
                  <a:pt x="442" y="174"/>
                </a:cubicBezTo>
                <a:cubicBezTo>
                  <a:pt x="443" y="175"/>
                  <a:pt x="443" y="174"/>
                  <a:pt x="442" y="173"/>
                </a:cubicBezTo>
                <a:cubicBezTo>
                  <a:pt x="442" y="173"/>
                  <a:pt x="443" y="173"/>
                  <a:pt x="443" y="173"/>
                </a:cubicBezTo>
                <a:cubicBezTo>
                  <a:pt x="444" y="173"/>
                  <a:pt x="444" y="173"/>
                  <a:pt x="444" y="174"/>
                </a:cubicBezTo>
                <a:cubicBezTo>
                  <a:pt x="444" y="174"/>
                  <a:pt x="445" y="174"/>
                  <a:pt x="445" y="174"/>
                </a:cubicBezTo>
                <a:cubicBezTo>
                  <a:pt x="445" y="173"/>
                  <a:pt x="445" y="174"/>
                  <a:pt x="445" y="174"/>
                </a:cubicBezTo>
                <a:cubicBezTo>
                  <a:pt x="446" y="174"/>
                  <a:pt x="447" y="174"/>
                  <a:pt x="447" y="174"/>
                </a:cubicBezTo>
                <a:cubicBezTo>
                  <a:pt x="448" y="174"/>
                  <a:pt x="449" y="174"/>
                  <a:pt x="449" y="174"/>
                </a:cubicBezTo>
                <a:cubicBezTo>
                  <a:pt x="449" y="175"/>
                  <a:pt x="449" y="175"/>
                  <a:pt x="449" y="175"/>
                </a:cubicBezTo>
                <a:cubicBezTo>
                  <a:pt x="448" y="175"/>
                  <a:pt x="449" y="175"/>
                  <a:pt x="449" y="175"/>
                </a:cubicBezTo>
                <a:cubicBezTo>
                  <a:pt x="449" y="175"/>
                  <a:pt x="449" y="175"/>
                  <a:pt x="448" y="175"/>
                </a:cubicBezTo>
                <a:cubicBezTo>
                  <a:pt x="449" y="176"/>
                  <a:pt x="449" y="176"/>
                  <a:pt x="449" y="176"/>
                </a:cubicBezTo>
                <a:cubicBezTo>
                  <a:pt x="450" y="177"/>
                  <a:pt x="449" y="177"/>
                  <a:pt x="449" y="177"/>
                </a:cubicBezTo>
                <a:cubicBezTo>
                  <a:pt x="449" y="177"/>
                  <a:pt x="449" y="177"/>
                  <a:pt x="449" y="177"/>
                </a:cubicBezTo>
                <a:cubicBezTo>
                  <a:pt x="448" y="177"/>
                  <a:pt x="448" y="177"/>
                  <a:pt x="448" y="177"/>
                </a:cubicBezTo>
                <a:cubicBezTo>
                  <a:pt x="448" y="177"/>
                  <a:pt x="449" y="178"/>
                  <a:pt x="449" y="178"/>
                </a:cubicBezTo>
                <a:cubicBezTo>
                  <a:pt x="449" y="178"/>
                  <a:pt x="448" y="179"/>
                  <a:pt x="449" y="179"/>
                </a:cubicBezTo>
                <a:cubicBezTo>
                  <a:pt x="449" y="179"/>
                  <a:pt x="449" y="178"/>
                  <a:pt x="450" y="179"/>
                </a:cubicBezTo>
                <a:cubicBezTo>
                  <a:pt x="450" y="179"/>
                  <a:pt x="450" y="180"/>
                  <a:pt x="450" y="180"/>
                </a:cubicBezTo>
                <a:cubicBezTo>
                  <a:pt x="450" y="180"/>
                  <a:pt x="450" y="180"/>
                  <a:pt x="450" y="180"/>
                </a:cubicBezTo>
                <a:cubicBezTo>
                  <a:pt x="450" y="179"/>
                  <a:pt x="449" y="180"/>
                  <a:pt x="449" y="180"/>
                </a:cubicBezTo>
                <a:cubicBezTo>
                  <a:pt x="449" y="180"/>
                  <a:pt x="450" y="180"/>
                  <a:pt x="449" y="180"/>
                </a:cubicBezTo>
                <a:cubicBezTo>
                  <a:pt x="449" y="180"/>
                  <a:pt x="449" y="180"/>
                  <a:pt x="449" y="181"/>
                </a:cubicBezTo>
                <a:cubicBezTo>
                  <a:pt x="448" y="181"/>
                  <a:pt x="446" y="180"/>
                  <a:pt x="448" y="180"/>
                </a:cubicBezTo>
                <a:cubicBezTo>
                  <a:pt x="447" y="180"/>
                  <a:pt x="447" y="180"/>
                  <a:pt x="447" y="179"/>
                </a:cubicBezTo>
                <a:cubicBezTo>
                  <a:pt x="447" y="179"/>
                  <a:pt x="447" y="179"/>
                  <a:pt x="446" y="179"/>
                </a:cubicBezTo>
                <a:cubicBezTo>
                  <a:pt x="446" y="179"/>
                  <a:pt x="446" y="180"/>
                  <a:pt x="445" y="180"/>
                </a:cubicBezTo>
                <a:cubicBezTo>
                  <a:pt x="445" y="179"/>
                  <a:pt x="446" y="179"/>
                  <a:pt x="445" y="179"/>
                </a:cubicBezTo>
                <a:cubicBezTo>
                  <a:pt x="445" y="179"/>
                  <a:pt x="444" y="179"/>
                  <a:pt x="444" y="179"/>
                </a:cubicBezTo>
                <a:cubicBezTo>
                  <a:pt x="444" y="179"/>
                  <a:pt x="445" y="179"/>
                  <a:pt x="445" y="179"/>
                </a:cubicBezTo>
                <a:cubicBezTo>
                  <a:pt x="444" y="180"/>
                  <a:pt x="444" y="180"/>
                  <a:pt x="444" y="180"/>
                </a:cubicBezTo>
                <a:cubicBezTo>
                  <a:pt x="444" y="180"/>
                  <a:pt x="443" y="180"/>
                  <a:pt x="443" y="180"/>
                </a:cubicBezTo>
                <a:cubicBezTo>
                  <a:pt x="443" y="181"/>
                  <a:pt x="442" y="181"/>
                  <a:pt x="443" y="180"/>
                </a:cubicBezTo>
                <a:cubicBezTo>
                  <a:pt x="442" y="180"/>
                  <a:pt x="442" y="181"/>
                  <a:pt x="443" y="181"/>
                </a:cubicBezTo>
                <a:cubicBezTo>
                  <a:pt x="442" y="181"/>
                  <a:pt x="441" y="181"/>
                  <a:pt x="442" y="181"/>
                </a:cubicBezTo>
                <a:cubicBezTo>
                  <a:pt x="442" y="180"/>
                  <a:pt x="442" y="180"/>
                  <a:pt x="441" y="181"/>
                </a:cubicBezTo>
                <a:cubicBezTo>
                  <a:pt x="441" y="181"/>
                  <a:pt x="441" y="181"/>
                  <a:pt x="441" y="181"/>
                </a:cubicBezTo>
                <a:cubicBezTo>
                  <a:pt x="441" y="181"/>
                  <a:pt x="441" y="181"/>
                  <a:pt x="441" y="181"/>
                </a:cubicBezTo>
                <a:cubicBezTo>
                  <a:pt x="441" y="181"/>
                  <a:pt x="441" y="181"/>
                  <a:pt x="441" y="181"/>
                </a:cubicBezTo>
                <a:cubicBezTo>
                  <a:pt x="441" y="182"/>
                  <a:pt x="440" y="182"/>
                  <a:pt x="441" y="182"/>
                </a:cubicBezTo>
                <a:cubicBezTo>
                  <a:pt x="440" y="182"/>
                  <a:pt x="439" y="182"/>
                  <a:pt x="438" y="183"/>
                </a:cubicBezTo>
                <a:cubicBezTo>
                  <a:pt x="438" y="183"/>
                  <a:pt x="438" y="183"/>
                  <a:pt x="438" y="183"/>
                </a:cubicBezTo>
                <a:cubicBezTo>
                  <a:pt x="438" y="183"/>
                  <a:pt x="438" y="183"/>
                  <a:pt x="438" y="183"/>
                </a:cubicBezTo>
                <a:cubicBezTo>
                  <a:pt x="437" y="183"/>
                  <a:pt x="437" y="183"/>
                  <a:pt x="437" y="183"/>
                </a:cubicBezTo>
                <a:cubicBezTo>
                  <a:pt x="436" y="182"/>
                  <a:pt x="435" y="183"/>
                  <a:pt x="435" y="183"/>
                </a:cubicBezTo>
                <a:cubicBezTo>
                  <a:pt x="435" y="184"/>
                  <a:pt x="435" y="184"/>
                  <a:pt x="436" y="184"/>
                </a:cubicBezTo>
                <a:cubicBezTo>
                  <a:pt x="436" y="184"/>
                  <a:pt x="436" y="183"/>
                  <a:pt x="436" y="183"/>
                </a:cubicBezTo>
                <a:cubicBezTo>
                  <a:pt x="436" y="183"/>
                  <a:pt x="437" y="184"/>
                  <a:pt x="437" y="184"/>
                </a:cubicBezTo>
                <a:cubicBezTo>
                  <a:pt x="437" y="184"/>
                  <a:pt x="437" y="185"/>
                  <a:pt x="437" y="185"/>
                </a:cubicBezTo>
                <a:cubicBezTo>
                  <a:pt x="438" y="186"/>
                  <a:pt x="436" y="185"/>
                  <a:pt x="436" y="185"/>
                </a:cubicBezTo>
                <a:cubicBezTo>
                  <a:pt x="436" y="184"/>
                  <a:pt x="435" y="185"/>
                  <a:pt x="436" y="186"/>
                </a:cubicBezTo>
                <a:cubicBezTo>
                  <a:pt x="436" y="186"/>
                  <a:pt x="436" y="186"/>
                  <a:pt x="435" y="186"/>
                </a:cubicBezTo>
                <a:cubicBezTo>
                  <a:pt x="436" y="187"/>
                  <a:pt x="436" y="187"/>
                  <a:pt x="437" y="188"/>
                </a:cubicBezTo>
                <a:cubicBezTo>
                  <a:pt x="437" y="188"/>
                  <a:pt x="435" y="189"/>
                  <a:pt x="434" y="189"/>
                </a:cubicBezTo>
                <a:cubicBezTo>
                  <a:pt x="433" y="190"/>
                  <a:pt x="434" y="188"/>
                  <a:pt x="433" y="187"/>
                </a:cubicBezTo>
                <a:cubicBezTo>
                  <a:pt x="433" y="186"/>
                  <a:pt x="432" y="187"/>
                  <a:pt x="433" y="188"/>
                </a:cubicBezTo>
                <a:cubicBezTo>
                  <a:pt x="433" y="188"/>
                  <a:pt x="431" y="187"/>
                  <a:pt x="431" y="187"/>
                </a:cubicBezTo>
                <a:cubicBezTo>
                  <a:pt x="431" y="187"/>
                  <a:pt x="431" y="188"/>
                  <a:pt x="431" y="188"/>
                </a:cubicBezTo>
                <a:cubicBezTo>
                  <a:pt x="432" y="189"/>
                  <a:pt x="432" y="189"/>
                  <a:pt x="433" y="190"/>
                </a:cubicBezTo>
                <a:cubicBezTo>
                  <a:pt x="433" y="190"/>
                  <a:pt x="433" y="190"/>
                  <a:pt x="433" y="190"/>
                </a:cubicBezTo>
                <a:cubicBezTo>
                  <a:pt x="433" y="190"/>
                  <a:pt x="434" y="190"/>
                  <a:pt x="434" y="190"/>
                </a:cubicBezTo>
                <a:cubicBezTo>
                  <a:pt x="434" y="190"/>
                  <a:pt x="433" y="190"/>
                  <a:pt x="433" y="191"/>
                </a:cubicBezTo>
                <a:cubicBezTo>
                  <a:pt x="433" y="191"/>
                  <a:pt x="433" y="190"/>
                  <a:pt x="433" y="190"/>
                </a:cubicBezTo>
                <a:cubicBezTo>
                  <a:pt x="432" y="191"/>
                  <a:pt x="432" y="191"/>
                  <a:pt x="432" y="192"/>
                </a:cubicBezTo>
                <a:cubicBezTo>
                  <a:pt x="433" y="193"/>
                  <a:pt x="431" y="192"/>
                  <a:pt x="431" y="192"/>
                </a:cubicBezTo>
                <a:cubicBezTo>
                  <a:pt x="431" y="192"/>
                  <a:pt x="432" y="193"/>
                  <a:pt x="432" y="194"/>
                </a:cubicBezTo>
                <a:cubicBezTo>
                  <a:pt x="432" y="194"/>
                  <a:pt x="431" y="194"/>
                  <a:pt x="431" y="194"/>
                </a:cubicBezTo>
                <a:cubicBezTo>
                  <a:pt x="431" y="194"/>
                  <a:pt x="431" y="194"/>
                  <a:pt x="430" y="194"/>
                </a:cubicBezTo>
                <a:cubicBezTo>
                  <a:pt x="430" y="194"/>
                  <a:pt x="430" y="194"/>
                  <a:pt x="430" y="194"/>
                </a:cubicBezTo>
                <a:cubicBezTo>
                  <a:pt x="429" y="194"/>
                  <a:pt x="430" y="195"/>
                  <a:pt x="430" y="195"/>
                </a:cubicBezTo>
                <a:cubicBezTo>
                  <a:pt x="430" y="196"/>
                  <a:pt x="430" y="196"/>
                  <a:pt x="429" y="197"/>
                </a:cubicBezTo>
                <a:cubicBezTo>
                  <a:pt x="429" y="197"/>
                  <a:pt x="429" y="197"/>
                  <a:pt x="429" y="197"/>
                </a:cubicBezTo>
                <a:cubicBezTo>
                  <a:pt x="428" y="198"/>
                  <a:pt x="429" y="199"/>
                  <a:pt x="429" y="200"/>
                </a:cubicBezTo>
                <a:cubicBezTo>
                  <a:pt x="428" y="200"/>
                  <a:pt x="428" y="200"/>
                  <a:pt x="428" y="200"/>
                </a:cubicBezTo>
                <a:cubicBezTo>
                  <a:pt x="428" y="200"/>
                  <a:pt x="428" y="201"/>
                  <a:pt x="428" y="201"/>
                </a:cubicBezTo>
                <a:cubicBezTo>
                  <a:pt x="428" y="201"/>
                  <a:pt x="428" y="202"/>
                  <a:pt x="428" y="202"/>
                </a:cubicBezTo>
                <a:cubicBezTo>
                  <a:pt x="428" y="202"/>
                  <a:pt x="429" y="204"/>
                  <a:pt x="429" y="204"/>
                </a:cubicBezTo>
                <a:cubicBezTo>
                  <a:pt x="429" y="204"/>
                  <a:pt x="429" y="203"/>
                  <a:pt x="429" y="203"/>
                </a:cubicBezTo>
                <a:cubicBezTo>
                  <a:pt x="429" y="203"/>
                  <a:pt x="430" y="203"/>
                  <a:pt x="430" y="203"/>
                </a:cubicBezTo>
                <a:cubicBezTo>
                  <a:pt x="430" y="203"/>
                  <a:pt x="431" y="203"/>
                  <a:pt x="431" y="204"/>
                </a:cubicBezTo>
                <a:cubicBezTo>
                  <a:pt x="432" y="204"/>
                  <a:pt x="431" y="204"/>
                  <a:pt x="431" y="204"/>
                </a:cubicBezTo>
                <a:cubicBezTo>
                  <a:pt x="432" y="205"/>
                  <a:pt x="433" y="205"/>
                  <a:pt x="433" y="205"/>
                </a:cubicBezTo>
                <a:cubicBezTo>
                  <a:pt x="434" y="206"/>
                  <a:pt x="435" y="206"/>
                  <a:pt x="435" y="206"/>
                </a:cubicBezTo>
                <a:cubicBezTo>
                  <a:pt x="436" y="207"/>
                  <a:pt x="437" y="207"/>
                  <a:pt x="437" y="207"/>
                </a:cubicBezTo>
                <a:cubicBezTo>
                  <a:pt x="438" y="207"/>
                  <a:pt x="438" y="207"/>
                  <a:pt x="438" y="207"/>
                </a:cubicBezTo>
                <a:cubicBezTo>
                  <a:pt x="439" y="208"/>
                  <a:pt x="440" y="208"/>
                  <a:pt x="440" y="209"/>
                </a:cubicBezTo>
                <a:cubicBezTo>
                  <a:pt x="441" y="210"/>
                  <a:pt x="443" y="211"/>
                  <a:pt x="443" y="213"/>
                </a:cubicBezTo>
                <a:cubicBezTo>
                  <a:pt x="443" y="214"/>
                  <a:pt x="445" y="214"/>
                  <a:pt x="445" y="215"/>
                </a:cubicBezTo>
                <a:cubicBezTo>
                  <a:pt x="445" y="215"/>
                  <a:pt x="445" y="216"/>
                  <a:pt x="446" y="216"/>
                </a:cubicBezTo>
                <a:cubicBezTo>
                  <a:pt x="446" y="217"/>
                  <a:pt x="447" y="217"/>
                  <a:pt x="447" y="218"/>
                </a:cubicBezTo>
                <a:cubicBezTo>
                  <a:pt x="448" y="219"/>
                  <a:pt x="448" y="219"/>
                  <a:pt x="449" y="220"/>
                </a:cubicBezTo>
                <a:cubicBezTo>
                  <a:pt x="449" y="220"/>
                  <a:pt x="449" y="220"/>
                  <a:pt x="449" y="220"/>
                </a:cubicBezTo>
                <a:cubicBezTo>
                  <a:pt x="449" y="221"/>
                  <a:pt x="450" y="221"/>
                  <a:pt x="450" y="221"/>
                </a:cubicBezTo>
                <a:cubicBezTo>
                  <a:pt x="450" y="221"/>
                  <a:pt x="450" y="222"/>
                  <a:pt x="451" y="222"/>
                </a:cubicBezTo>
                <a:cubicBezTo>
                  <a:pt x="451" y="222"/>
                  <a:pt x="451" y="222"/>
                  <a:pt x="451" y="223"/>
                </a:cubicBezTo>
                <a:cubicBezTo>
                  <a:pt x="452" y="223"/>
                  <a:pt x="452" y="224"/>
                  <a:pt x="452" y="225"/>
                </a:cubicBezTo>
                <a:cubicBezTo>
                  <a:pt x="452" y="225"/>
                  <a:pt x="452" y="225"/>
                  <a:pt x="452" y="225"/>
                </a:cubicBezTo>
                <a:cubicBezTo>
                  <a:pt x="452" y="225"/>
                  <a:pt x="452" y="226"/>
                  <a:pt x="452" y="226"/>
                </a:cubicBezTo>
                <a:cubicBezTo>
                  <a:pt x="452" y="225"/>
                  <a:pt x="452" y="226"/>
                  <a:pt x="452" y="226"/>
                </a:cubicBezTo>
                <a:cubicBezTo>
                  <a:pt x="452" y="227"/>
                  <a:pt x="453" y="227"/>
                  <a:pt x="453" y="227"/>
                </a:cubicBezTo>
                <a:cubicBezTo>
                  <a:pt x="454" y="227"/>
                  <a:pt x="455" y="228"/>
                  <a:pt x="456" y="228"/>
                </a:cubicBezTo>
                <a:cubicBezTo>
                  <a:pt x="457" y="229"/>
                  <a:pt x="458" y="229"/>
                  <a:pt x="458" y="229"/>
                </a:cubicBezTo>
                <a:cubicBezTo>
                  <a:pt x="458" y="230"/>
                  <a:pt x="459" y="231"/>
                  <a:pt x="458" y="231"/>
                </a:cubicBezTo>
                <a:cubicBezTo>
                  <a:pt x="459" y="231"/>
                  <a:pt x="459" y="232"/>
                  <a:pt x="460" y="232"/>
                </a:cubicBezTo>
                <a:cubicBezTo>
                  <a:pt x="460" y="232"/>
                  <a:pt x="460" y="232"/>
                  <a:pt x="461" y="232"/>
                </a:cubicBezTo>
                <a:cubicBezTo>
                  <a:pt x="462" y="233"/>
                  <a:pt x="463" y="233"/>
                  <a:pt x="464" y="234"/>
                </a:cubicBezTo>
                <a:cubicBezTo>
                  <a:pt x="464" y="235"/>
                  <a:pt x="466" y="237"/>
                  <a:pt x="465" y="237"/>
                </a:cubicBezTo>
                <a:cubicBezTo>
                  <a:pt x="464" y="238"/>
                  <a:pt x="462" y="236"/>
                  <a:pt x="462" y="236"/>
                </a:cubicBezTo>
                <a:cubicBezTo>
                  <a:pt x="461" y="236"/>
                  <a:pt x="461" y="235"/>
                  <a:pt x="460" y="235"/>
                </a:cubicBezTo>
                <a:cubicBezTo>
                  <a:pt x="459" y="235"/>
                  <a:pt x="459" y="235"/>
                  <a:pt x="458" y="235"/>
                </a:cubicBezTo>
                <a:cubicBezTo>
                  <a:pt x="457" y="235"/>
                  <a:pt x="456" y="236"/>
                  <a:pt x="456" y="235"/>
                </a:cubicBezTo>
                <a:cubicBezTo>
                  <a:pt x="455" y="234"/>
                  <a:pt x="454" y="233"/>
                  <a:pt x="454" y="233"/>
                </a:cubicBezTo>
                <a:cubicBezTo>
                  <a:pt x="453" y="233"/>
                  <a:pt x="452" y="232"/>
                  <a:pt x="451" y="233"/>
                </a:cubicBezTo>
                <a:cubicBezTo>
                  <a:pt x="450" y="233"/>
                  <a:pt x="450" y="234"/>
                  <a:pt x="449" y="234"/>
                </a:cubicBezTo>
                <a:cubicBezTo>
                  <a:pt x="448" y="235"/>
                  <a:pt x="446" y="233"/>
                  <a:pt x="445" y="232"/>
                </a:cubicBezTo>
                <a:cubicBezTo>
                  <a:pt x="445" y="231"/>
                  <a:pt x="445" y="231"/>
                  <a:pt x="444" y="230"/>
                </a:cubicBezTo>
                <a:cubicBezTo>
                  <a:pt x="444" y="230"/>
                  <a:pt x="443" y="230"/>
                  <a:pt x="443" y="230"/>
                </a:cubicBezTo>
                <a:cubicBezTo>
                  <a:pt x="443" y="230"/>
                  <a:pt x="442" y="230"/>
                  <a:pt x="442" y="230"/>
                </a:cubicBezTo>
                <a:cubicBezTo>
                  <a:pt x="442" y="230"/>
                  <a:pt x="443" y="230"/>
                  <a:pt x="443" y="231"/>
                </a:cubicBezTo>
                <a:cubicBezTo>
                  <a:pt x="443" y="231"/>
                  <a:pt x="442" y="232"/>
                  <a:pt x="443" y="232"/>
                </a:cubicBezTo>
                <a:cubicBezTo>
                  <a:pt x="443" y="231"/>
                  <a:pt x="443" y="231"/>
                  <a:pt x="443" y="231"/>
                </a:cubicBezTo>
                <a:cubicBezTo>
                  <a:pt x="443" y="231"/>
                  <a:pt x="444" y="231"/>
                  <a:pt x="444" y="231"/>
                </a:cubicBezTo>
                <a:cubicBezTo>
                  <a:pt x="444" y="231"/>
                  <a:pt x="444" y="232"/>
                  <a:pt x="444" y="232"/>
                </a:cubicBezTo>
                <a:cubicBezTo>
                  <a:pt x="444" y="232"/>
                  <a:pt x="445" y="232"/>
                  <a:pt x="445" y="233"/>
                </a:cubicBezTo>
                <a:cubicBezTo>
                  <a:pt x="446" y="233"/>
                  <a:pt x="445" y="234"/>
                  <a:pt x="446" y="234"/>
                </a:cubicBezTo>
                <a:cubicBezTo>
                  <a:pt x="447" y="234"/>
                  <a:pt x="447" y="234"/>
                  <a:pt x="447" y="234"/>
                </a:cubicBezTo>
                <a:cubicBezTo>
                  <a:pt x="448" y="235"/>
                  <a:pt x="449" y="235"/>
                  <a:pt x="450" y="234"/>
                </a:cubicBezTo>
                <a:cubicBezTo>
                  <a:pt x="451" y="234"/>
                  <a:pt x="451" y="234"/>
                  <a:pt x="451" y="233"/>
                </a:cubicBezTo>
                <a:cubicBezTo>
                  <a:pt x="451" y="233"/>
                  <a:pt x="453" y="234"/>
                  <a:pt x="454" y="234"/>
                </a:cubicBezTo>
                <a:cubicBezTo>
                  <a:pt x="454" y="234"/>
                  <a:pt x="455" y="236"/>
                  <a:pt x="454" y="235"/>
                </a:cubicBezTo>
                <a:cubicBezTo>
                  <a:pt x="454" y="236"/>
                  <a:pt x="456" y="236"/>
                  <a:pt x="457" y="236"/>
                </a:cubicBezTo>
                <a:cubicBezTo>
                  <a:pt x="458" y="237"/>
                  <a:pt x="459" y="237"/>
                  <a:pt x="460" y="238"/>
                </a:cubicBezTo>
                <a:cubicBezTo>
                  <a:pt x="460" y="239"/>
                  <a:pt x="461" y="239"/>
                  <a:pt x="462" y="240"/>
                </a:cubicBezTo>
                <a:cubicBezTo>
                  <a:pt x="463" y="241"/>
                  <a:pt x="465" y="241"/>
                  <a:pt x="466" y="243"/>
                </a:cubicBezTo>
                <a:cubicBezTo>
                  <a:pt x="467" y="244"/>
                  <a:pt x="469" y="246"/>
                  <a:pt x="467" y="246"/>
                </a:cubicBezTo>
                <a:cubicBezTo>
                  <a:pt x="466" y="246"/>
                  <a:pt x="465" y="246"/>
                  <a:pt x="464" y="247"/>
                </a:cubicBezTo>
                <a:cubicBezTo>
                  <a:pt x="464" y="247"/>
                  <a:pt x="464" y="248"/>
                  <a:pt x="463" y="248"/>
                </a:cubicBezTo>
                <a:cubicBezTo>
                  <a:pt x="463" y="248"/>
                  <a:pt x="463" y="248"/>
                  <a:pt x="463" y="248"/>
                </a:cubicBezTo>
                <a:cubicBezTo>
                  <a:pt x="462" y="249"/>
                  <a:pt x="462" y="249"/>
                  <a:pt x="462" y="249"/>
                </a:cubicBezTo>
                <a:cubicBezTo>
                  <a:pt x="461" y="249"/>
                  <a:pt x="461" y="249"/>
                  <a:pt x="461" y="250"/>
                </a:cubicBezTo>
                <a:cubicBezTo>
                  <a:pt x="461" y="250"/>
                  <a:pt x="461" y="251"/>
                  <a:pt x="461" y="251"/>
                </a:cubicBezTo>
                <a:cubicBezTo>
                  <a:pt x="461" y="252"/>
                  <a:pt x="460" y="252"/>
                  <a:pt x="459" y="252"/>
                </a:cubicBezTo>
                <a:cubicBezTo>
                  <a:pt x="458" y="251"/>
                  <a:pt x="458" y="251"/>
                  <a:pt x="457" y="251"/>
                </a:cubicBezTo>
                <a:cubicBezTo>
                  <a:pt x="457" y="251"/>
                  <a:pt x="456" y="251"/>
                  <a:pt x="456" y="252"/>
                </a:cubicBezTo>
                <a:cubicBezTo>
                  <a:pt x="456" y="252"/>
                  <a:pt x="456" y="252"/>
                  <a:pt x="456" y="252"/>
                </a:cubicBezTo>
                <a:cubicBezTo>
                  <a:pt x="456" y="253"/>
                  <a:pt x="455" y="252"/>
                  <a:pt x="455" y="253"/>
                </a:cubicBezTo>
                <a:cubicBezTo>
                  <a:pt x="455" y="253"/>
                  <a:pt x="455" y="253"/>
                  <a:pt x="454" y="253"/>
                </a:cubicBezTo>
                <a:cubicBezTo>
                  <a:pt x="455" y="253"/>
                  <a:pt x="455" y="253"/>
                  <a:pt x="455" y="253"/>
                </a:cubicBezTo>
                <a:cubicBezTo>
                  <a:pt x="455" y="252"/>
                  <a:pt x="456" y="253"/>
                  <a:pt x="456" y="253"/>
                </a:cubicBezTo>
                <a:cubicBezTo>
                  <a:pt x="457" y="253"/>
                  <a:pt x="456" y="252"/>
                  <a:pt x="457" y="252"/>
                </a:cubicBezTo>
                <a:cubicBezTo>
                  <a:pt x="458" y="251"/>
                  <a:pt x="459" y="253"/>
                  <a:pt x="459" y="253"/>
                </a:cubicBezTo>
                <a:cubicBezTo>
                  <a:pt x="459" y="254"/>
                  <a:pt x="459" y="254"/>
                  <a:pt x="459" y="254"/>
                </a:cubicBezTo>
                <a:cubicBezTo>
                  <a:pt x="460" y="255"/>
                  <a:pt x="460" y="254"/>
                  <a:pt x="461" y="255"/>
                </a:cubicBezTo>
                <a:cubicBezTo>
                  <a:pt x="461" y="254"/>
                  <a:pt x="459" y="255"/>
                  <a:pt x="459" y="254"/>
                </a:cubicBezTo>
                <a:cubicBezTo>
                  <a:pt x="459" y="254"/>
                  <a:pt x="461" y="254"/>
                  <a:pt x="461" y="254"/>
                </a:cubicBezTo>
                <a:cubicBezTo>
                  <a:pt x="461" y="254"/>
                  <a:pt x="462" y="254"/>
                  <a:pt x="462" y="253"/>
                </a:cubicBezTo>
                <a:cubicBezTo>
                  <a:pt x="464" y="252"/>
                  <a:pt x="465" y="252"/>
                  <a:pt x="466" y="253"/>
                </a:cubicBezTo>
                <a:cubicBezTo>
                  <a:pt x="467" y="254"/>
                  <a:pt x="467" y="254"/>
                  <a:pt x="468" y="255"/>
                </a:cubicBezTo>
                <a:cubicBezTo>
                  <a:pt x="468" y="255"/>
                  <a:pt x="469" y="256"/>
                  <a:pt x="470" y="256"/>
                </a:cubicBezTo>
                <a:cubicBezTo>
                  <a:pt x="471" y="256"/>
                  <a:pt x="472" y="257"/>
                  <a:pt x="473" y="257"/>
                </a:cubicBezTo>
                <a:cubicBezTo>
                  <a:pt x="473" y="257"/>
                  <a:pt x="474" y="257"/>
                  <a:pt x="473" y="257"/>
                </a:cubicBezTo>
                <a:cubicBezTo>
                  <a:pt x="473" y="258"/>
                  <a:pt x="472" y="258"/>
                  <a:pt x="472" y="259"/>
                </a:cubicBezTo>
                <a:cubicBezTo>
                  <a:pt x="471" y="259"/>
                  <a:pt x="471" y="260"/>
                  <a:pt x="471" y="260"/>
                </a:cubicBezTo>
                <a:cubicBezTo>
                  <a:pt x="470" y="261"/>
                  <a:pt x="470" y="260"/>
                  <a:pt x="469" y="261"/>
                </a:cubicBezTo>
                <a:cubicBezTo>
                  <a:pt x="469" y="261"/>
                  <a:pt x="469" y="260"/>
                  <a:pt x="469" y="261"/>
                </a:cubicBezTo>
                <a:cubicBezTo>
                  <a:pt x="469" y="261"/>
                  <a:pt x="469" y="262"/>
                  <a:pt x="469" y="262"/>
                </a:cubicBezTo>
                <a:cubicBezTo>
                  <a:pt x="469" y="262"/>
                  <a:pt x="469" y="261"/>
                  <a:pt x="469" y="261"/>
                </a:cubicBezTo>
                <a:cubicBezTo>
                  <a:pt x="469" y="261"/>
                  <a:pt x="469" y="262"/>
                  <a:pt x="469" y="262"/>
                </a:cubicBezTo>
                <a:cubicBezTo>
                  <a:pt x="470" y="262"/>
                  <a:pt x="470" y="261"/>
                  <a:pt x="470" y="261"/>
                </a:cubicBezTo>
                <a:cubicBezTo>
                  <a:pt x="470" y="261"/>
                  <a:pt x="471" y="261"/>
                  <a:pt x="471" y="261"/>
                </a:cubicBezTo>
                <a:cubicBezTo>
                  <a:pt x="471" y="261"/>
                  <a:pt x="471" y="261"/>
                  <a:pt x="471" y="261"/>
                </a:cubicBezTo>
                <a:cubicBezTo>
                  <a:pt x="472" y="261"/>
                  <a:pt x="471" y="262"/>
                  <a:pt x="472" y="261"/>
                </a:cubicBezTo>
                <a:cubicBezTo>
                  <a:pt x="472" y="261"/>
                  <a:pt x="472" y="261"/>
                  <a:pt x="472" y="261"/>
                </a:cubicBezTo>
                <a:cubicBezTo>
                  <a:pt x="472" y="261"/>
                  <a:pt x="471" y="261"/>
                  <a:pt x="471" y="260"/>
                </a:cubicBezTo>
                <a:cubicBezTo>
                  <a:pt x="472" y="260"/>
                  <a:pt x="472" y="260"/>
                  <a:pt x="473" y="260"/>
                </a:cubicBezTo>
                <a:cubicBezTo>
                  <a:pt x="474" y="260"/>
                  <a:pt x="473" y="260"/>
                  <a:pt x="473" y="261"/>
                </a:cubicBezTo>
                <a:cubicBezTo>
                  <a:pt x="473" y="261"/>
                  <a:pt x="474" y="261"/>
                  <a:pt x="474" y="262"/>
                </a:cubicBezTo>
                <a:cubicBezTo>
                  <a:pt x="473" y="262"/>
                  <a:pt x="473" y="262"/>
                  <a:pt x="473" y="262"/>
                </a:cubicBezTo>
                <a:cubicBezTo>
                  <a:pt x="473" y="263"/>
                  <a:pt x="474" y="263"/>
                  <a:pt x="474" y="263"/>
                </a:cubicBezTo>
                <a:cubicBezTo>
                  <a:pt x="474" y="263"/>
                  <a:pt x="474" y="264"/>
                  <a:pt x="474" y="264"/>
                </a:cubicBezTo>
                <a:cubicBezTo>
                  <a:pt x="475" y="263"/>
                  <a:pt x="474" y="264"/>
                  <a:pt x="474" y="264"/>
                </a:cubicBezTo>
                <a:cubicBezTo>
                  <a:pt x="473" y="266"/>
                  <a:pt x="473" y="264"/>
                  <a:pt x="473" y="263"/>
                </a:cubicBezTo>
                <a:cubicBezTo>
                  <a:pt x="473" y="263"/>
                  <a:pt x="473" y="263"/>
                  <a:pt x="473" y="263"/>
                </a:cubicBezTo>
                <a:cubicBezTo>
                  <a:pt x="473" y="263"/>
                  <a:pt x="473" y="263"/>
                  <a:pt x="473" y="263"/>
                </a:cubicBezTo>
                <a:cubicBezTo>
                  <a:pt x="473" y="263"/>
                  <a:pt x="472" y="262"/>
                  <a:pt x="472" y="262"/>
                </a:cubicBezTo>
                <a:cubicBezTo>
                  <a:pt x="472" y="263"/>
                  <a:pt x="473" y="264"/>
                  <a:pt x="472" y="264"/>
                </a:cubicBezTo>
                <a:cubicBezTo>
                  <a:pt x="471" y="265"/>
                  <a:pt x="472" y="263"/>
                  <a:pt x="471" y="263"/>
                </a:cubicBezTo>
                <a:cubicBezTo>
                  <a:pt x="471" y="263"/>
                  <a:pt x="471" y="264"/>
                  <a:pt x="471" y="264"/>
                </a:cubicBezTo>
                <a:cubicBezTo>
                  <a:pt x="471" y="264"/>
                  <a:pt x="471" y="263"/>
                  <a:pt x="470" y="263"/>
                </a:cubicBezTo>
                <a:cubicBezTo>
                  <a:pt x="471" y="264"/>
                  <a:pt x="470" y="264"/>
                  <a:pt x="470" y="264"/>
                </a:cubicBezTo>
                <a:cubicBezTo>
                  <a:pt x="471" y="264"/>
                  <a:pt x="469" y="265"/>
                  <a:pt x="470" y="265"/>
                </a:cubicBezTo>
                <a:cubicBezTo>
                  <a:pt x="470" y="265"/>
                  <a:pt x="470" y="265"/>
                  <a:pt x="470" y="265"/>
                </a:cubicBezTo>
                <a:cubicBezTo>
                  <a:pt x="470" y="265"/>
                  <a:pt x="471" y="265"/>
                  <a:pt x="472" y="265"/>
                </a:cubicBezTo>
                <a:cubicBezTo>
                  <a:pt x="472" y="266"/>
                  <a:pt x="471" y="266"/>
                  <a:pt x="471" y="266"/>
                </a:cubicBezTo>
                <a:cubicBezTo>
                  <a:pt x="471" y="266"/>
                  <a:pt x="471" y="266"/>
                  <a:pt x="471" y="266"/>
                </a:cubicBezTo>
                <a:cubicBezTo>
                  <a:pt x="471" y="266"/>
                  <a:pt x="471" y="266"/>
                  <a:pt x="471" y="266"/>
                </a:cubicBezTo>
                <a:cubicBezTo>
                  <a:pt x="472" y="266"/>
                  <a:pt x="472" y="266"/>
                  <a:pt x="472" y="266"/>
                </a:cubicBezTo>
                <a:cubicBezTo>
                  <a:pt x="472" y="267"/>
                  <a:pt x="473" y="267"/>
                  <a:pt x="473" y="267"/>
                </a:cubicBezTo>
                <a:cubicBezTo>
                  <a:pt x="473" y="268"/>
                  <a:pt x="472" y="267"/>
                  <a:pt x="472" y="267"/>
                </a:cubicBezTo>
                <a:cubicBezTo>
                  <a:pt x="472" y="268"/>
                  <a:pt x="471" y="267"/>
                  <a:pt x="471" y="267"/>
                </a:cubicBezTo>
                <a:cubicBezTo>
                  <a:pt x="471" y="267"/>
                  <a:pt x="471" y="267"/>
                  <a:pt x="471" y="268"/>
                </a:cubicBezTo>
                <a:cubicBezTo>
                  <a:pt x="472" y="268"/>
                  <a:pt x="472" y="268"/>
                  <a:pt x="472" y="268"/>
                </a:cubicBezTo>
                <a:cubicBezTo>
                  <a:pt x="472" y="268"/>
                  <a:pt x="473" y="268"/>
                  <a:pt x="473" y="269"/>
                </a:cubicBezTo>
                <a:cubicBezTo>
                  <a:pt x="473" y="269"/>
                  <a:pt x="473" y="270"/>
                  <a:pt x="471" y="270"/>
                </a:cubicBezTo>
                <a:cubicBezTo>
                  <a:pt x="471" y="270"/>
                  <a:pt x="470" y="270"/>
                  <a:pt x="470" y="270"/>
                </a:cubicBezTo>
                <a:cubicBezTo>
                  <a:pt x="470" y="269"/>
                  <a:pt x="470" y="269"/>
                  <a:pt x="469" y="269"/>
                </a:cubicBezTo>
                <a:cubicBezTo>
                  <a:pt x="470" y="269"/>
                  <a:pt x="469" y="270"/>
                  <a:pt x="470" y="270"/>
                </a:cubicBezTo>
                <a:cubicBezTo>
                  <a:pt x="470" y="270"/>
                  <a:pt x="470" y="270"/>
                  <a:pt x="471" y="270"/>
                </a:cubicBezTo>
                <a:cubicBezTo>
                  <a:pt x="471" y="270"/>
                  <a:pt x="472" y="270"/>
                  <a:pt x="472" y="271"/>
                </a:cubicBezTo>
                <a:cubicBezTo>
                  <a:pt x="472" y="271"/>
                  <a:pt x="473" y="272"/>
                  <a:pt x="473" y="272"/>
                </a:cubicBezTo>
                <a:cubicBezTo>
                  <a:pt x="473" y="272"/>
                  <a:pt x="475" y="275"/>
                  <a:pt x="474" y="275"/>
                </a:cubicBezTo>
                <a:cubicBezTo>
                  <a:pt x="474" y="275"/>
                  <a:pt x="473" y="274"/>
                  <a:pt x="473" y="274"/>
                </a:cubicBezTo>
                <a:cubicBezTo>
                  <a:pt x="473" y="274"/>
                  <a:pt x="472" y="274"/>
                  <a:pt x="472" y="274"/>
                </a:cubicBezTo>
                <a:cubicBezTo>
                  <a:pt x="472" y="274"/>
                  <a:pt x="473" y="275"/>
                  <a:pt x="472" y="275"/>
                </a:cubicBezTo>
                <a:cubicBezTo>
                  <a:pt x="472" y="275"/>
                  <a:pt x="472" y="275"/>
                  <a:pt x="472" y="276"/>
                </a:cubicBezTo>
                <a:cubicBezTo>
                  <a:pt x="472" y="276"/>
                  <a:pt x="472" y="276"/>
                  <a:pt x="472" y="276"/>
                </a:cubicBezTo>
                <a:cubicBezTo>
                  <a:pt x="471" y="276"/>
                  <a:pt x="471" y="275"/>
                  <a:pt x="471" y="275"/>
                </a:cubicBezTo>
                <a:cubicBezTo>
                  <a:pt x="471" y="275"/>
                  <a:pt x="470" y="274"/>
                  <a:pt x="470" y="274"/>
                </a:cubicBezTo>
                <a:cubicBezTo>
                  <a:pt x="470" y="274"/>
                  <a:pt x="470" y="273"/>
                  <a:pt x="470" y="274"/>
                </a:cubicBezTo>
                <a:cubicBezTo>
                  <a:pt x="469" y="274"/>
                  <a:pt x="469" y="275"/>
                  <a:pt x="469" y="274"/>
                </a:cubicBezTo>
                <a:cubicBezTo>
                  <a:pt x="469" y="274"/>
                  <a:pt x="468" y="274"/>
                  <a:pt x="469" y="274"/>
                </a:cubicBezTo>
                <a:cubicBezTo>
                  <a:pt x="469" y="275"/>
                  <a:pt x="469" y="275"/>
                  <a:pt x="469" y="275"/>
                </a:cubicBezTo>
                <a:cubicBezTo>
                  <a:pt x="470" y="275"/>
                  <a:pt x="470" y="275"/>
                  <a:pt x="469" y="275"/>
                </a:cubicBezTo>
                <a:cubicBezTo>
                  <a:pt x="469" y="276"/>
                  <a:pt x="469" y="276"/>
                  <a:pt x="469" y="277"/>
                </a:cubicBezTo>
                <a:cubicBezTo>
                  <a:pt x="469" y="278"/>
                  <a:pt x="468" y="278"/>
                  <a:pt x="468" y="278"/>
                </a:cubicBezTo>
                <a:cubicBezTo>
                  <a:pt x="467" y="278"/>
                  <a:pt x="467" y="277"/>
                  <a:pt x="466" y="277"/>
                </a:cubicBezTo>
                <a:cubicBezTo>
                  <a:pt x="466" y="277"/>
                  <a:pt x="466" y="277"/>
                  <a:pt x="465" y="277"/>
                </a:cubicBezTo>
                <a:cubicBezTo>
                  <a:pt x="465" y="277"/>
                  <a:pt x="465" y="276"/>
                  <a:pt x="465" y="276"/>
                </a:cubicBezTo>
                <a:cubicBezTo>
                  <a:pt x="465" y="277"/>
                  <a:pt x="465" y="277"/>
                  <a:pt x="465" y="277"/>
                </a:cubicBezTo>
                <a:cubicBezTo>
                  <a:pt x="466" y="277"/>
                  <a:pt x="466" y="277"/>
                  <a:pt x="466" y="277"/>
                </a:cubicBezTo>
                <a:cubicBezTo>
                  <a:pt x="467" y="278"/>
                  <a:pt x="468" y="278"/>
                  <a:pt x="468" y="278"/>
                </a:cubicBezTo>
                <a:cubicBezTo>
                  <a:pt x="468" y="279"/>
                  <a:pt x="468" y="280"/>
                  <a:pt x="467" y="280"/>
                </a:cubicBezTo>
                <a:cubicBezTo>
                  <a:pt x="467" y="281"/>
                  <a:pt x="467" y="280"/>
                  <a:pt x="466" y="280"/>
                </a:cubicBezTo>
                <a:cubicBezTo>
                  <a:pt x="467" y="281"/>
                  <a:pt x="467" y="282"/>
                  <a:pt x="466" y="282"/>
                </a:cubicBezTo>
                <a:cubicBezTo>
                  <a:pt x="466" y="282"/>
                  <a:pt x="467" y="283"/>
                  <a:pt x="467" y="283"/>
                </a:cubicBezTo>
                <a:cubicBezTo>
                  <a:pt x="468" y="283"/>
                  <a:pt x="467" y="284"/>
                  <a:pt x="467" y="284"/>
                </a:cubicBezTo>
                <a:cubicBezTo>
                  <a:pt x="468" y="285"/>
                  <a:pt x="467" y="284"/>
                  <a:pt x="467" y="284"/>
                </a:cubicBezTo>
                <a:cubicBezTo>
                  <a:pt x="466" y="284"/>
                  <a:pt x="467" y="285"/>
                  <a:pt x="466" y="285"/>
                </a:cubicBezTo>
                <a:cubicBezTo>
                  <a:pt x="467" y="285"/>
                  <a:pt x="467" y="286"/>
                  <a:pt x="467" y="286"/>
                </a:cubicBezTo>
                <a:cubicBezTo>
                  <a:pt x="467" y="287"/>
                  <a:pt x="466" y="286"/>
                  <a:pt x="466" y="286"/>
                </a:cubicBezTo>
                <a:cubicBezTo>
                  <a:pt x="466" y="286"/>
                  <a:pt x="466" y="286"/>
                  <a:pt x="466" y="287"/>
                </a:cubicBezTo>
                <a:cubicBezTo>
                  <a:pt x="466" y="286"/>
                  <a:pt x="466" y="286"/>
                  <a:pt x="465" y="286"/>
                </a:cubicBezTo>
                <a:cubicBezTo>
                  <a:pt x="465" y="286"/>
                  <a:pt x="465" y="286"/>
                  <a:pt x="465" y="286"/>
                </a:cubicBezTo>
                <a:cubicBezTo>
                  <a:pt x="464" y="286"/>
                  <a:pt x="465" y="285"/>
                  <a:pt x="465" y="285"/>
                </a:cubicBezTo>
                <a:cubicBezTo>
                  <a:pt x="464" y="285"/>
                  <a:pt x="464" y="285"/>
                  <a:pt x="464" y="285"/>
                </a:cubicBezTo>
                <a:cubicBezTo>
                  <a:pt x="464" y="286"/>
                  <a:pt x="464" y="286"/>
                  <a:pt x="464" y="285"/>
                </a:cubicBezTo>
                <a:cubicBezTo>
                  <a:pt x="464" y="286"/>
                  <a:pt x="464" y="286"/>
                  <a:pt x="464" y="286"/>
                </a:cubicBezTo>
                <a:cubicBezTo>
                  <a:pt x="464" y="286"/>
                  <a:pt x="464" y="286"/>
                  <a:pt x="465" y="286"/>
                </a:cubicBezTo>
                <a:cubicBezTo>
                  <a:pt x="465" y="286"/>
                  <a:pt x="465" y="286"/>
                  <a:pt x="465" y="286"/>
                </a:cubicBezTo>
                <a:cubicBezTo>
                  <a:pt x="465" y="286"/>
                  <a:pt x="465" y="287"/>
                  <a:pt x="465" y="287"/>
                </a:cubicBezTo>
                <a:cubicBezTo>
                  <a:pt x="466" y="287"/>
                  <a:pt x="467" y="287"/>
                  <a:pt x="466" y="287"/>
                </a:cubicBezTo>
                <a:cubicBezTo>
                  <a:pt x="466" y="287"/>
                  <a:pt x="466" y="287"/>
                  <a:pt x="466" y="287"/>
                </a:cubicBezTo>
                <a:cubicBezTo>
                  <a:pt x="466" y="287"/>
                  <a:pt x="466" y="287"/>
                  <a:pt x="466" y="287"/>
                </a:cubicBezTo>
                <a:cubicBezTo>
                  <a:pt x="465" y="288"/>
                  <a:pt x="465" y="287"/>
                  <a:pt x="465" y="287"/>
                </a:cubicBezTo>
                <a:cubicBezTo>
                  <a:pt x="465" y="287"/>
                  <a:pt x="465" y="288"/>
                  <a:pt x="465" y="288"/>
                </a:cubicBezTo>
                <a:cubicBezTo>
                  <a:pt x="465" y="288"/>
                  <a:pt x="465" y="288"/>
                  <a:pt x="464" y="288"/>
                </a:cubicBezTo>
                <a:cubicBezTo>
                  <a:pt x="465" y="288"/>
                  <a:pt x="465" y="288"/>
                  <a:pt x="465" y="288"/>
                </a:cubicBezTo>
                <a:cubicBezTo>
                  <a:pt x="465" y="289"/>
                  <a:pt x="464" y="289"/>
                  <a:pt x="464" y="289"/>
                </a:cubicBezTo>
                <a:cubicBezTo>
                  <a:pt x="464" y="289"/>
                  <a:pt x="465" y="289"/>
                  <a:pt x="465" y="289"/>
                </a:cubicBezTo>
                <a:cubicBezTo>
                  <a:pt x="465" y="289"/>
                  <a:pt x="465" y="289"/>
                  <a:pt x="464" y="289"/>
                </a:cubicBezTo>
                <a:cubicBezTo>
                  <a:pt x="464" y="289"/>
                  <a:pt x="464" y="289"/>
                  <a:pt x="464" y="290"/>
                </a:cubicBezTo>
                <a:cubicBezTo>
                  <a:pt x="464" y="290"/>
                  <a:pt x="463" y="290"/>
                  <a:pt x="463" y="290"/>
                </a:cubicBezTo>
                <a:cubicBezTo>
                  <a:pt x="463" y="290"/>
                  <a:pt x="463" y="290"/>
                  <a:pt x="463" y="290"/>
                </a:cubicBezTo>
                <a:cubicBezTo>
                  <a:pt x="463" y="291"/>
                  <a:pt x="464" y="291"/>
                  <a:pt x="464" y="291"/>
                </a:cubicBezTo>
                <a:cubicBezTo>
                  <a:pt x="464" y="291"/>
                  <a:pt x="464" y="291"/>
                  <a:pt x="464" y="291"/>
                </a:cubicBezTo>
                <a:cubicBezTo>
                  <a:pt x="464" y="292"/>
                  <a:pt x="465" y="291"/>
                  <a:pt x="465" y="292"/>
                </a:cubicBezTo>
                <a:cubicBezTo>
                  <a:pt x="465" y="292"/>
                  <a:pt x="464" y="292"/>
                  <a:pt x="465" y="292"/>
                </a:cubicBezTo>
                <a:cubicBezTo>
                  <a:pt x="464" y="293"/>
                  <a:pt x="464" y="292"/>
                  <a:pt x="464" y="293"/>
                </a:cubicBezTo>
                <a:cubicBezTo>
                  <a:pt x="464" y="293"/>
                  <a:pt x="463" y="293"/>
                  <a:pt x="463" y="293"/>
                </a:cubicBezTo>
                <a:cubicBezTo>
                  <a:pt x="463" y="293"/>
                  <a:pt x="462" y="295"/>
                  <a:pt x="462" y="293"/>
                </a:cubicBezTo>
                <a:cubicBezTo>
                  <a:pt x="462" y="293"/>
                  <a:pt x="463" y="293"/>
                  <a:pt x="463" y="292"/>
                </a:cubicBezTo>
                <a:cubicBezTo>
                  <a:pt x="463" y="292"/>
                  <a:pt x="464" y="291"/>
                  <a:pt x="464" y="291"/>
                </a:cubicBezTo>
                <a:cubicBezTo>
                  <a:pt x="463" y="291"/>
                  <a:pt x="463" y="291"/>
                  <a:pt x="463" y="291"/>
                </a:cubicBezTo>
                <a:cubicBezTo>
                  <a:pt x="462" y="291"/>
                  <a:pt x="463" y="292"/>
                  <a:pt x="462" y="292"/>
                </a:cubicBezTo>
                <a:cubicBezTo>
                  <a:pt x="462" y="292"/>
                  <a:pt x="461" y="292"/>
                  <a:pt x="461" y="292"/>
                </a:cubicBezTo>
                <a:cubicBezTo>
                  <a:pt x="461" y="291"/>
                  <a:pt x="461" y="291"/>
                  <a:pt x="461" y="291"/>
                </a:cubicBezTo>
                <a:cubicBezTo>
                  <a:pt x="461" y="291"/>
                  <a:pt x="461" y="291"/>
                  <a:pt x="461" y="291"/>
                </a:cubicBezTo>
                <a:cubicBezTo>
                  <a:pt x="461" y="291"/>
                  <a:pt x="461" y="290"/>
                  <a:pt x="461" y="290"/>
                </a:cubicBezTo>
                <a:cubicBezTo>
                  <a:pt x="461" y="290"/>
                  <a:pt x="461" y="291"/>
                  <a:pt x="461" y="291"/>
                </a:cubicBezTo>
                <a:cubicBezTo>
                  <a:pt x="461" y="291"/>
                  <a:pt x="460" y="291"/>
                  <a:pt x="460" y="291"/>
                </a:cubicBezTo>
                <a:cubicBezTo>
                  <a:pt x="460" y="291"/>
                  <a:pt x="461" y="291"/>
                  <a:pt x="460" y="292"/>
                </a:cubicBezTo>
                <a:cubicBezTo>
                  <a:pt x="460" y="292"/>
                  <a:pt x="459" y="291"/>
                  <a:pt x="459" y="291"/>
                </a:cubicBezTo>
                <a:cubicBezTo>
                  <a:pt x="459" y="291"/>
                  <a:pt x="459" y="291"/>
                  <a:pt x="459" y="291"/>
                </a:cubicBezTo>
                <a:cubicBezTo>
                  <a:pt x="459" y="291"/>
                  <a:pt x="459" y="291"/>
                  <a:pt x="459" y="292"/>
                </a:cubicBezTo>
                <a:cubicBezTo>
                  <a:pt x="459" y="292"/>
                  <a:pt x="459" y="291"/>
                  <a:pt x="460" y="292"/>
                </a:cubicBezTo>
                <a:cubicBezTo>
                  <a:pt x="460" y="292"/>
                  <a:pt x="459" y="293"/>
                  <a:pt x="460" y="293"/>
                </a:cubicBezTo>
                <a:cubicBezTo>
                  <a:pt x="460" y="293"/>
                  <a:pt x="460" y="293"/>
                  <a:pt x="461" y="293"/>
                </a:cubicBezTo>
                <a:cubicBezTo>
                  <a:pt x="461" y="293"/>
                  <a:pt x="462" y="293"/>
                  <a:pt x="461" y="293"/>
                </a:cubicBezTo>
                <a:cubicBezTo>
                  <a:pt x="462" y="294"/>
                  <a:pt x="462" y="294"/>
                  <a:pt x="462" y="295"/>
                </a:cubicBezTo>
                <a:cubicBezTo>
                  <a:pt x="462" y="295"/>
                  <a:pt x="461" y="294"/>
                  <a:pt x="460" y="294"/>
                </a:cubicBezTo>
                <a:cubicBezTo>
                  <a:pt x="461" y="294"/>
                  <a:pt x="460" y="294"/>
                  <a:pt x="460" y="294"/>
                </a:cubicBezTo>
                <a:cubicBezTo>
                  <a:pt x="460" y="295"/>
                  <a:pt x="461" y="295"/>
                  <a:pt x="461" y="295"/>
                </a:cubicBezTo>
                <a:cubicBezTo>
                  <a:pt x="461" y="295"/>
                  <a:pt x="461" y="296"/>
                  <a:pt x="462" y="296"/>
                </a:cubicBezTo>
                <a:cubicBezTo>
                  <a:pt x="462" y="296"/>
                  <a:pt x="462" y="295"/>
                  <a:pt x="462" y="295"/>
                </a:cubicBezTo>
                <a:cubicBezTo>
                  <a:pt x="463" y="295"/>
                  <a:pt x="463" y="295"/>
                  <a:pt x="463" y="296"/>
                </a:cubicBezTo>
                <a:cubicBezTo>
                  <a:pt x="463" y="296"/>
                  <a:pt x="464" y="296"/>
                  <a:pt x="464" y="296"/>
                </a:cubicBezTo>
                <a:cubicBezTo>
                  <a:pt x="464" y="296"/>
                  <a:pt x="463" y="296"/>
                  <a:pt x="463" y="296"/>
                </a:cubicBezTo>
                <a:cubicBezTo>
                  <a:pt x="463" y="296"/>
                  <a:pt x="462" y="296"/>
                  <a:pt x="462" y="296"/>
                </a:cubicBezTo>
                <a:cubicBezTo>
                  <a:pt x="462" y="296"/>
                  <a:pt x="461" y="296"/>
                  <a:pt x="461" y="297"/>
                </a:cubicBezTo>
                <a:cubicBezTo>
                  <a:pt x="461" y="297"/>
                  <a:pt x="461" y="298"/>
                  <a:pt x="461" y="298"/>
                </a:cubicBezTo>
                <a:cubicBezTo>
                  <a:pt x="460" y="299"/>
                  <a:pt x="460" y="300"/>
                  <a:pt x="459" y="299"/>
                </a:cubicBezTo>
                <a:cubicBezTo>
                  <a:pt x="459" y="299"/>
                  <a:pt x="458" y="299"/>
                  <a:pt x="457" y="299"/>
                </a:cubicBezTo>
                <a:cubicBezTo>
                  <a:pt x="457" y="298"/>
                  <a:pt x="457" y="298"/>
                  <a:pt x="456" y="298"/>
                </a:cubicBezTo>
                <a:cubicBezTo>
                  <a:pt x="457" y="298"/>
                  <a:pt x="457" y="298"/>
                  <a:pt x="458" y="299"/>
                </a:cubicBezTo>
                <a:cubicBezTo>
                  <a:pt x="458" y="299"/>
                  <a:pt x="458" y="300"/>
                  <a:pt x="458" y="300"/>
                </a:cubicBezTo>
                <a:cubicBezTo>
                  <a:pt x="459" y="300"/>
                  <a:pt x="460" y="300"/>
                  <a:pt x="460" y="299"/>
                </a:cubicBezTo>
                <a:cubicBezTo>
                  <a:pt x="461" y="299"/>
                  <a:pt x="462" y="299"/>
                  <a:pt x="462" y="299"/>
                </a:cubicBezTo>
                <a:cubicBezTo>
                  <a:pt x="463" y="300"/>
                  <a:pt x="462" y="301"/>
                  <a:pt x="461" y="301"/>
                </a:cubicBezTo>
                <a:cubicBezTo>
                  <a:pt x="462" y="301"/>
                  <a:pt x="462" y="302"/>
                  <a:pt x="462" y="303"/>
                </a:cubicBezTo>
                <a:cubicBezTo>
                  <a:pt x="462" y="303"/>
                  <a:pt x="461" y="303"/>
                  <a:pt x="461" y="303"/>
                </a:cubicBezTo>
                <a:cubicBezTo>
                  <a:pt x="460" y="303"/>
                  <a:pt x="461" y="304"/>
                  <a:pt x="461" y="304"/>
                </a:cubicBezTo>
                <a:cubicBezTo>
                  <a:pt x="461" y="304"/>
                  <a:pt x="461" y="304"/>
                  <a:pt x="462" y="304"/>
                </a:cubicBezTo>
                <a:cubicBezTo>
                  <a:pt x="462" y="305"/>
                  <a:pt x="462" y="305"/>
                  <a:pt x="462" y="305"/>
                </a:cubicBezTo>
                <a:cubicBezTo>
                  <a:pt x="462" y="305"/>
                  <a:pt x="463" y="306"/>
                  <a:pt x="463" y="306"/>
                </a:cubicBezTo>
                <a:cubicBezTo>
                  <a:pt x="463" y="306"/>
                  <a:pt x="463" y="307"/>
                  <a:pt x="463" y="307"/>
                </a:cubicBezTo>
                <a:cubicBezTo>
                  <a:pt x="463" y="307"/>
                  <a:pt x="463" y="306"/>
                  <a:pt x="463" y="306"/>
                </a:cubicBezTo>
                <a:cubicBezTo>
                  <a:pt x="463" y="306"/>
                  <a:pt x="463" y="306"/>
                  <a:pt x="462" y="305"/>
                </a:cubicBezTo>
                <a:cubicBezTo>
                  <a:pt x="462" y="305"/>
                  <a:pt x="462" y="306"/>
                  <a:pt x="462" y="306"/>
                </a:cubicBezTo>
                <a:cubicBezTo>
                  <a:pt x="462" y="306"/>
                  <a:pt x="463" y="306"/>
                  <a:pt x="462" y="306"/>
                </a:cubicBezTo>
                <a:cubicBezTo>
                  <a:pt x="462" y="306"/>
                  <a:pt x="462" y="307"/>
                  <a:pt x="462" y="306"/>
                </a:cubicBezTo>
                <a:cubicBezTo>
                  <a:pt x="462" y="306"/>
                  <a:pt x="462" y="305"/>
                  <a:pt x="461" y="306"/>
                </a:cubicBezTo>
                <a:cubicBezTo>
                  <a:pt x="461" y="305"/>
                  <a:pt x="461" y="305"/>
                  <a:pt x="461" y="305"/>
                </a:cubicBezTo>
                <a:cubicBezTo>
                  <a:pt x="461" y="305"/>
                  <a:pt x="460" y="305"/>
                  <a:pt x="460" y="305"/>
                </a:cubicBezTo>
                <a:cubicBezTo>
                  <a:pt x="460" y="304"/>
                  <a:pt x="460" y="304"/>
                  <a:pt x="460" y="304"/>
                </a:cubicBezTo>
                <a:cubicBezTo>
                  <a:pt x="460" y="304"/>
                  <a:pt x="460" y="304"/>
                  <a:pt x="460" y="304"/>
                </a:cubicBezTo>
                <a:cubicBezTo>
                  <a:pt x="460" y="305"/>
                  <a:pt x="459" y="305"/>
                  <a:pt x="459" y="305"/>
                </a:cubicBezTo>
                <a:cubicBezTo>
                  <a:pt x="458" y="306"/>
                  <a:pt x="459" y="306"/>
                  <a:pt x="459" y="307"/>
                </a:cubicBezTo>
                <a:cubicBezTo>
                  <a:pt x="459" y="307"/>
                  <a:pt x="459" y="307"/>
                  <a:pt x="459" y="307"/>
                </a:cubicBezTo>
                <a:cubicBezTo>
                  <a:pt x="459" y="307"/>
                  <a:pt x="459" y="308"/>
                  <a:pt x="460" y="307"/>
                </a:cubicBezTo>
                <a:cubicBezTo>
                  <a:pt x="460" y="307"/>
                  <a:pt x="461" y="308"/>
                  <a:pt x="461" y="308"/>
                </a:cubicBezTo>
                <a:cubicBezTo>
                  <a:pt x="461" y="308"/>
                  <a:pt x="460" y="308"/>
                  <a:pt x="460" y="308"/>
                </a:cubicBezTo>
                <a:cubicBezTo>
                  <a:pt x="460" y="309"/>
                  <a:pt x="460" y="309"/>
                  <a:pt x="460" y="309"/>
                </a:cubicBezTo>
                <a:cubicBezTo>
                  <a:pt x="460" y="308"/>
                  <a:pt x="459" y="309"/>
                  <a:pt x="459" y="308"/>
                </a:cubicBezTo>
                <a:cubicBezTo>
                  <a:pt x="459" y="308"/>
                  <a:pt x="459" y="308"/>
                  <a:pt x="459" y="308"/>
                </a:cubicBezTo>
                <a:cubicBezTo>
                  <a:pt x="458" y="308"/>
                  <a:pt x="459" y="309"/>
                  <a:pt x="459" y="309"/>
                </a:cubicBezTo>
                <a:cubicBezTo>
                  <a:pt x="459" y="309"/>
                  <a:pt x="458" y="309"/>
                  <a:pt x="459" y="309"/>
                </a:cubicBezTo>
                <a:cubicBezTo>
                  <a:pt x="458" y="309"/>
                  <a:pt x="458" y="309"/>
                  <a:pt x="458" y="309"/>
                </a:cubicBezTo>
                <a:cubicBezTo>
                  <a:pt x="458" y="309"/>
                  <a:pt x="458" y="309"/>
                  <a:pt x="458" y="309"/>
                </a:cubicBezTo>
                <a:cubicBezTo>
                  <a:pt x="458" y="309"/>
                  <a:pt x="459" y="308"/>
                  <a:pt x="458" y="308"/>
                </a:cubicBezTo>
                <a:cubicBezTo>
                  <a:pt x="457" y="308"/>
                  <a:pt x="458" y="307"/>
                  <a:pt x="458" y="308"/>
                </a:cubicBezTo>
                <a:cubicBezTo>
                  <a:pt x="458" y="307"/>
                  <a:pt x="457" y="308"/>
                  <a:pt x="456" y="308"/>
                </a:cubicBezTo>
                <a:cubicBezTo>
                  <a:pt x="456" y="308"/>
                  <a:pt x="457" y="308"/>
                  <a:pt x="457" y="309"/>
                </a:cubicBezTo>
                <a:cubicBezTo>
                  <a:pt x="457" y="309"/>
                  <a:pt x="457" y="308"/>
                  <a:pt x="457" y="309"/>
                </a:cubicBezTo>
                <a:cubicBezTo>
                  <a:pt x="457" y="309"/>
                  <a:pt x="457" y="309"/>
                  <a:pt x="457" y="309"/>
                </a:cubicBezTo>
                <a:cubicBezTo>
                  <a:pt x="457" y="309"/>
                  <a:pt x="456" y="309"/>
                  <a:pt x="457" y="310"/>
                </a:cubicBezTo>
                <a:cubicBezTo>
                  <a:pt x="457" y="310"/>
                  <a:pt x="457" y="310"/>
                  <a:pt x="458" y="310"/>
                </a:cubicBezTo>
                <a:cubicBezTo>
                  <a:pt x="458" y="311"/>
                  <a:pt x="458" y="310"/>
                  <a:pt x="458" y="310"/>
                </a:cubicBezTo>
                <a:cubicBezTo>
                  <a:pt x="458" y="310"/>
                  <a:pt x="458" y="311"/>
                  <a:pt x="458" y="311"/>
                </a:cubicBezTo>
                <a:cubicBezTo>
                  <a:pt x="458" y="311"/>
                  <a:pt x="457" y="311"/>
                  <a:pt x="457" y="311"/>
                </a:cubicBezTo>
                <a:cubicBezTo>
                  <a:pt x="458" y="312"/>
                  <a:pt x="458" y="312"/>
                  <a:pt x="458" y="312"/>
                </a:cubicBezTo>
                <a:cubicBezTo>
                  <a:pt x="458" y="312"/>
                  <a:pt x="457" y="312"/>
                  <a:pt x="457" y="312"/>
                </a:cubicBezTo>
                <a:cubicBezTo>
                  <a:pt x="456" y="312"/>
                  <a:pt x="456" y="312"/>
                  <a:pt x="456" y="312"/>
                </a:cubicBezTo>
                <a:cubicBezTo>
                  <a:pt x="455" y="312"/>
                  <a:pt x="456" y="312"/>
                  <a:pt x="456" y="312"/>
                </a:cubicBezTo>
                <a:cubicBezTo>
                  <a:pt x="456" y="312"/>
                  <a:pt x="456" y="311"/>
                  <a:pt x="455" y="311"/>
                </a:cubicBezTo>
                <a:cubicBezTo>
                  <a:pt x="455" y="311"/>
                  <a:pt x="455" y="312"/>
                  <a:pt x="455" y="312"/>
                </a:cubicBezTo>
                <a:cubicBezTo>
                  <a:pt x="455" y="312"/>
                  <a:pt x="455" y="311"/>
                  <a:pt x="455" y="311"/>
                </a:cubicBezTo>
                <a:cubicBezTo>
                  <a:pt x="455" y="311"/>
                  <a:pt x="455" y="312"/>
                  <a:pt x="455" y="312"/>
                </a:cubicBezTo>
                <a:cubicBezTo>
                  <a:pt x="455" y="312"/>
                  <a:pt x="455" y="312"/>
                  <a:pt x="455" y="312"/>
                </a:cubicBezTo>
                <a:cubicBezTo>
                  <a:pt x="455" y="313"/>
                  <a:pt x="457" y="312"/>
                  <a:pt x="456" y="314"/>
                </a:cubicBezTo>
                <a:cubicBezTo>
                  <a:pt x="456" y="314"/>
                  <a:pt x="455" y="314"/>
                  <a:pt x="456" y="315"/>
                </a:cubicBezTo>
                <a:cubicBezTo>
                  <a:pt x="456" y="315"/>
                  <a:pt x="456" y="316"/>
                  <a:pt x="455" y="316"/>
                </a:cubicBezTo>
                <a:cubicBezTo>
                  <a:pt x="455" y="316"/>
                  <a:pt x="455" y="315"/>
                  <a:pt x="454" y="315"/>
                </a:cubicBezTo>
                <a:cubicBezTo>
                  <a:pt x="454" y="315"/>
                  <a:pt x="454" y="314"/>
                  <a:pt x="454" y="314"/>
                </a:cubicBezTo>
                <a:cubicBezTo>
                  <a:pt x="453" y="314"/>
                  <a:pt x="454" y="315"/>
                  <a:pt x="453" y="315"/>
                </a:cubicBezTo>
                <a:cubicBezTo>
                  <a:pt x="453" y="315"/>
                  <a:pt x="453" y="315"/>
                  <a:pt x="452" y="316"/>
                </a:cubicBezTo>
                <a:cubicBezTo>
                  <a:pt x="452" y="316"/>
                  <a:pt x="451" y="315"/>
                  <a:pt x="451" y="314"/>
                </a:cubicBezTo>
                <a:cubicBezTo>
                  <a:pt x="451" y="315"/>
                  <a:pt x="451" y="315"/>
                  <a:pt x="450" y="315"/>
                </a:cubicBezTo>
                <a:cubicBezTo>
                  <a:pt x="450" y="315"/>
                  <a:pt x="450" y="315"/>
                  <a:pt x="450" y="315"/>
                </a:cubicBezTo>
                <a:cubicBezTo>
                  <a:pt x="450" y="316"/>
                  <a:pt x="450" y="316"/>
                  <a:pt x="449" y="316"/>
                </a:cubicBezTo>
                <a:cubicBezTo>
                  <a:pt x="450" y="316"/>
                  <a:pt x="450" y="316"/>
                  <a:pt x="450" y="316"/>
                </a:cubicBezTo>
                <a:cubicBezTo>
                  <a:pt x="450" y="317"/>
                  <a:pt x="450" y="316"/>
                  <a:pt x="450" y="317"/>
                </a:cubicBezTo>
                <a:cubicBezTo>
                  <a:pt x="450" y="317"/>
                  <a:pt x="449" y="316"/>
                  <a:pt x="449" y="316"/>
                </a:cubicBezTo>
                <a:cubicBezTo>
                  <a:pt x="449" y="316"/>
                  <a:pt x="447" y="316"/>
                  <a:pt x="448" y="317"/>
                </a:cubicBezTo>
                <a:cubicBezTo>
                  <a:pt x="449" y="317"/>
                  <a:pt x="450" y="317"/>
                  <a:pt x="450" y="317"/>
                </a:cubicBezTo>
                <a:cubicBezTo>
                  <a:pt x="451" y="317"/>
                  <a:pt x="450" y="318"/>
                  <a:pt x="450" y="318"/>
                </a:cubicBezTo>
                <a:cubicBezTo>
                  <a:pt x="450" y="318"/>
                  <a:pt x="451" y="318"/>
                  <a:pt x="451" y="318"/>
                </a:cubicBezTo>
                <a:cubicBezTo>
                  <a:pt x="451" y="318"/>
                  <a:pt x="451" y="318"/>
                  <a:pt x="451" y="319"/>
                </a:cubicBezTo>
                <a:cubicBezTo>
                  <a:pt x="451" y="319"/>
                  <a:pt x="450" y="320"/>
                  <a:pt x="450" y="320"/>
                </a:cubicBezTo>
                <a:cubicBezTo>
                  <a:pt x="450" y="319"/>
                  <a:pt x="450" y="319"/>
                  <a:pt x="450" y="319"/>
                </a:cubicBezTo>
                <a:cubicBezTo>
                  <a:pt x="450" y="320"/>
                  <a:pt x="450" y="320"/>
                  <a:pt x="450" y="320"/>
                </a:cubicBezTo>
                <a:cubicBezTo>
                  <a:pt x="450" y="320"/>
                  <a:pt x="450" y="320"/>
                  <a:pt x="450" y="320"/>
                </a:cubicBezTo>
                <a:cubicBezTo>
                  <a:pt x="450" y="321"/>
                  <a:pt x="450" y="321"/>
                  <a:pt x="449" y="321"/>
                </a:cubicBezTo>
                <a:cubicBezTo>
                  <a:pt x="449" y="322"/>
                  <a:pt x="449" y="323"/>
                  <a:pt x="448" y="323"/>
                </a:cubicBezTo>
                <a:cubicBezTo>
                  <a:pt x="448" y="322"/>
                  <a:pt x="449" y="321"/>
                  <a:pt x="448" y="321"/>
                </a:cubicBezTo>
                <a:cubicBezTo>
                  <a:pt x="449" y="321"/>
                  <a:pt x="449" y="321"/>
                  <a:pt x="448" y="321"/>
                </a:cubicBezTo>
                <a:cubicBezTo>
                  <a:pt x="449" y="321"/>
                  <a:pt x="448" y="321"/>
                  <a:pt x="447" y="321"/>
                </a:cubicBezTo>
                <a:cubicBezTo>
                  <a:pt x="448" y="321"/>
                  <a:pt x="448" y="322"/>
                  <a:pt x="448" y="323"/>
                </a:cubicBezTo>
                <a:cubicBezTo>
                  <a:pt x="447" y="323"/>
                  <a:pt x="448" y="324"/>
                  <a:pt x="447" y="325"/>
                </a:cubicBezTo>
                <a:cubicBezTo>
                  <a:pt x="447" y="324"/>
                  <a:pt x="448" y="323"/>
                  <a:pt x="447" y="323"/>
                </a:cubicBezTo>
                <a:cubicBezTo>
                  <a:pt x="446" y="322"/>
                  <a:pt x="445" y="322"/>
                  <a:pt x="445" y="322"/>
                </a:cubicBezTo>
                <a:cubicBezTo>
                  <a:pt x="446" y="323"/>
                  <a:pt x="446" y="322"/>
                  <a:pt x="446" y="323"/>
                </a:cubicBezTo>
                <a:cubicBezTo>
                  <a:pt x="446" y="323"/>
                  <a:pt x="446" y="324"/>
                  <a:pt x="446" y="324"/>
                </a:cubicBezTo>
                <a:cubicBezTo>
                  <a:pt x="446" y="324"/>
                  <a:pt x="445" y="324"/>
                  <a:pt x="445" y="324"/>
                </a:cubicBezTo>
                <a:cubicBezTo>
                  <a:pt x="445" y="324"/>
                  <a:pt x="445" y="324"/>
                  <a:pt x="445" y="324"/>
                </a:cubicBezTo>
                <a:cubicBezTo>
                  <a:pt x="445" y="324"/>
                  <a:pt x="444" y="325"/>
                  <a:pt x="444" y="326"/>
                </a:cubicBezTo>
                <a:cubicBezTo>
                  <a:pt x="444" y="326"/>
                  <a:pt x="444" y="325"/>
                  <a:pt x="444" y="325"/>
                </a:cubicBezTo>
                <a:cubicBezTo>
                  <a:pt x="444" y="325"/>
                  <a:pt x="443" y="326"/>
                  <a:pt x="443" y="326"/>
                </a:cubicBezTo>
                <a:cubicBezTo>
                  <a:pt x="443" y="326"/>
                  <a:pt x="443" y="326"/>
                  <a:pt x="443" y="326"/>
                </a:cubicBezTo>
                <a:cubicBezTo>
                  <a:pt x="442" y="325"/>
                  <a:pt x="442" y="325"/>
                  <a:pt x="442" y="326"/>
                </a:cubicBezTo>
                <a:cubicBezTo>
                  <a:pt x="442" y="325"/>
                  <a:pt x="442" y="325"/>
                  <a:pt x="442" y="326"/>
                </a:cubicBezTo>
                <a:cubicBezTo>
                  <a:pt x="441" y="326"/>
                  <a:pt x="441" y="326"/>
                  <a:pt x="441" y="325"/>
                </a:cubicBezTo>
                <a:cubicBezTo>
                  <a:pt x="441" y="325"/>
                  <a:pt x="441" y="326"/>
                  <a:pt x="441" y="326"/>
                </a:cubicBezTo>
                <a:cubicBezTo>
                  <a:pt x="441" y="326"/>
                  <a:pt x="441" y="326"/>
                  <a:pt x="441" y="327"/>
                </a:cubicBezTo>
                <a:cubicBezTo>
                  <a:pt x="441" y="327"/>
                  <a:pt x="441" y="328"/>
                  <a:pt x="441" y="328"/>
                </a:cubicBezTo>
                <a:cubicBezTo>
                  <a:pt x="440" y="329"/>
                  <a:pt x="440" y="329"/>
                  <a:pt x="439" y="328"/>
                </a:cubicBezTo>
                <a:cubicBezTo>
                  <a:pt x="439" y="328"/>
                  <a:pt x="438" y="328"/>
                  <a:pt x="438" y="328"/>
                </a:cubicBezTo>
                <a:cubicBezTo>
                  <a:pt x="438" y="328"/>
                  <a:pt x="439" y="329"/>
                  <a:pt x="439" y="329"/>
                </a:cubicBezTo>
                <a:cubicBezTo>
                  <a:pt x="439" y="329"/>
                  <a:pt x="439" y="329"/>
                  <a:pt x="439" y="329"/>
                </a:cubicBezTo>
                <a:cubicBezTo>
                  <a:pt x="439" y="329"/>
                  <a:pt x="439" y="329"/>
                  <a:pt x="440" y="329"/>
                </a:cubicBezTo>
                <a:cubicBezTo>
                  <a:pt x="440" y="329"/>
                  <a:pt x="440" y="329"/>
                  <a:pt x="440" y="329"/>
                </a:cubicBezTo>
                <a:cubicBezTo>
                  <a:pt x="440" y="329"/>
                  <a:pt x="441" y="330"/>
                  <a:pt x="441" y="330"/>
                </a:cubicBezTo>
                <a:cubicBezTo>
                  <a:pt x="440" y="330"/>
                  <a:pt x="440" y="329"/>
                  <a:pt x="440" y="329"/>
                </a:cubicBezTo>
                <a:cubicBezTo>
                  <a:pt x="440" y="330"/>
                  <a:pt x="440" y="330"/>
                  <a:pt x="440" y="330"/>
                </a:cubicBezTo>
                <a:cubicBezTo>
                  <a:pt x="440" y="330"/>
                  <a:pt x="439" y="331"/>
                  <a:pt x="439" y="330"/>
                </a:cubicBezTo>
                <a:cubicBezTo>
                  <a:pt x="439" y="330"/>
                  <a:pt x="438" y="329"/>
                  <a:pt x="438" y="330"/>
                </a:cubicBezTo>
                <a:cubicBezTo>
                  <a:pt x="438" y="330"/>
                  <a:pt x="439" y="330"/>
                  <a:pt x="439" y="331"/>
                </a:cubicBezTo>
                <a:cubicBezTo>
                  <a:pt x="438" y="331"/>
                  <a:pt x="439" y="332"/>
                  <a:pt x="439" y="332"/>
                </a:cubicBezTo>
                <a:cubicBezTo>
                  <a:pt x="439" y="333"/>
                  <a:pt x="438" y="333"/>
                  <a:pt x="437" y="333"/>
                </a:cubicBezTo>
                <a:cubicBezTo>
                  <a:pt x="437" y="333"/>
                  <a:pt x="437" y="333"/>
                  <a:pt x="437" y="333"/>
                </a:cubicBezTo>
                <a:cubicBezTo>
                  <a:pt x="436" y="333"/>
                  <a:pt x="436" y="333"/>
                  <a:pt x="436" y="333"/>
                </a:cubicBezTo>
                <a:cubicBezTo>
                  <a:pt x="436" y="333"/>
                  <a:pt x="436" y="333"/>
                  <a:pt x="436" y="333"/>
                </a:cubicBezTo>
                <a:cubicBezTo>
                  <a:pt x="436" y="333"/>
                  <a:pt x="436" y="334"/>
                  <a:pt x="435" y="334"/>
                </a:cubicBezTo>
                <a:cubicBezTo>
                  <a:pt x="435" y="335"/>
                  <a:pt x="435" y="334"/>
                  <a:pt x="435" y="334"/>
                </a:cubicBezTo>
                <a:cubicBezTo>
                  <a:pt x="435" y="333"/>
                  <a:pt x="434" y="333"/>
                  <a:pt x="434" y="333"/>
                </a:cubicBezTo>
                <a:cubicBezTo>
                  <a:pt x="434" y="334"/>
                  <a:pt x="435" y="334"/>
                  <a:pt x="434" y="334"/>
                </a:cubicBezTo>
                <a:cubicBezTo>
                  <a:pt x="434" y="334"/>
                  <a:pt x="434" y="335"/>
                  <a:pt x="434" y="334"/>
                </a:cubicBezTo>
                <a:cubicBezTo>
                  <a:pt x="433" y="335"/>
                  <a:pt x="433" y="335"/>
                  <a:pt x="433" y="335"/>
                </a:cubicBezTo>
                <a:cubicBezTo>
                  <a:pt x="432" y="336"/>
                  <a:pt x="432" y="335"/>
                  <a:pt x="432" y="335"/>
                </a:cubicBezTo>
                <a:cubicBezTo>
                  <a:pt x="433" y="335"/>
                  <a:pt x="432" y="335"/>
                  <a:pt x="432" y="334"/>
                </a:cubicBezTo>
                <a:cubicBezTo>
                  <a:pt x="432" y="334"/>
                  <a:pt x="432" y="334"/>
                  <a:pt x="431" y="334"/>
                </a:cubicBezTo>
                <a:cubicBezTo>
                  <a:pt x="430" y="334"/>
                  <a:pt x="432" y="333"/>
                  <a:pt x="431" y="333"/>
                </a:cubicBezTo>
                <a:cubicBezTo>
                  <a:pt x="431" y="333"/>
                  <a:pt x="430" y="334"/>
                  <a:pt x="430" y="334"/>
                </a:cubicBezTo>
                <a:cubicBezTo>
                  <a:pt x="430" y="334"/>
                  <a:pt x="430" y="334"/>
                  <a:pt x="429" y="334"/>
                </a:cubicBezTo>
                <a:cubicBezTo>
                  <a:pt x="429" y="333"/>
                  <a:pt x="429" y="333"/>
                  <a:pt x="428" y="333"/>
                </a:cubicBezTo>
                <a:cubicBezTo>
                  <a:pt x="428" y="334"/>
                  <a:pt x="430" y="334"/>
                  <a:pt x="429" y="334"/>
                </a:cubicBezTo>
                <a:cubicBezTo>
                  <a:pt x="429" y="334"/>
                  <a:pt x="430" y="334"/>
                  <a:pt x="430" y="334"/>
                </a:cubicBezTo>
                <a:cubicBezTo>
                  <a:pt x="430" y="334"/>
                  <a:pt x="430" y="335"/>
                  <a:pt x="430" y="335"/>
                </a:cubicBezTo>
                <a:cubicBezTo>
                  <a:pt x="430" y="335"/>
                  <a:pt x="430" y="336"/>
                  <a:pt x="430" y="335"/>
                </a:cubicBezTo>
                <a:cubicBezTo>
                  <a:pt x="430" y="335"/>
                  <a:pt x="430" y="335"/>
                  <a:pt x="430" y="336"/>
                </a:cubicBezTo>
                <a:cubicBezTo>
                  <a:pt x="430" y="336"/>
                  <a:pt x="430" y="336"/>
                  <a:pt x="430" y="336"/>
                </a:cubicBezTo>
                <a:cubicBezTo>
                  <a:pt x="430" y="336"/>
                  <a:pt x="428" y="336"/>
                  <a:pt x="428" y="336"/>
                </a:cubicBezTo>
                <a:cubicBezTo>
                  <a:pt x="428" y="336"/>
                  <a:pt x="429" y="335"/>
                  <a:pt x="429" y="335"/>
                </a:cubicBezTo>
                <a:cubicBezTo>
                  <a:pt x="428" y="335"/>
                  <a:pt x="428" y="335"/>
                  <a:pt x="428" y="335"/>
                </a:cubicBezTo>
                <a:cubicBezTo>
                  <a:pt x="428" y="335"/>
                  <a:pt x="427" y="335"/>
                  <a:pt x="427" y="335"/>
                </a:cubicBezTo>
                <a:cubicBezTo>
                  <a:pt x="427" y="335"/>
                  <a:pt x="427" y="334"/>
                  <a:pt x="427" y="334"/>
                </a:cubicBezTo>
                <a:cubicBezTo>
                  <a:pt x="428" y="334"/>
                  <a:pt x="427" y="334"/>
                  <a:pt x="427" y="334"/>
                </a:cubicBezTo>
                <a:cubicBezTo>
                  <a:pt x="427" y="334"/>
                  <a:pt x="427" y="334"/>
                  <a:pt x="427" y="334"/>
                </a:cubicBezTo>
                <a:cubicBezTo>
                  <a:pt x="426" y="335"/>
                  <a:pt x="426" y="335"/>
                  <a:pt x="426" y="335"/>
                </a:cubicBezTo>
                <a:cubicBezTo>
                  <a:pt x="425" y="334"/>
                  <a:pt x="425" y="336"/>
                  <a:pt x="425" y="336"/>
                </a:cubicBezTo>
                <a:cubicBezTo>
                  <a:pt x="424" y="336"/>
                  <a:pt x="424" y="335"/>
                  <a:pt x="424" y="335"/>
                </a:cubicBezTo>
                <a:cubicBezTo>
                  <a:pt x="424" y="335"/>
                  <a:pt x="423" y="335"/>
                  <a:pt x="423" y="335"/>
                </a:cubicBezTo>
                <a:cubicBezTo>
                  <a:pt x="424" y="336"/>
                  <a:pt x="425" y="336"/>
                  <a:pt x="424" y="336"/>
                </a:cubicBezTo>
                <a:cubicBezTo>
                  <a:pt x="424" y="336"/>
                  <a:pt x="424" y="338"/>
                  <a:pt x="424" y="337"/>
                </a:cubicBezTo>
                <a:cubicBezTo>
                  <a:pt x="424" y="337"/>
                  <a:pt x="424" y="337"/>
                  <a:pt x="423" y="337"/>
                </a:cubicBezTo>
                <a:cubicBezTo>
                  <a:pt x="423" y="337"/>
                  <a:pt x="423" y="337"/>
                  <a:pt x="423" y="337"/>
                </a:cubicBezTo>
                <a:cubicBezTo>
                  <a:pt x="422" y="336"/>
                  <a:pt x="422" y="336"/>
                  <a:pt x="422" y="335"/>
                </a:cubicBezTo>
                <a:cubicBezTo>
                  <a:pt x="423" y="335"/>
                  <a:pt x="423" y="335"/>
                  <a:pt x="423" y="335"/>
                </a:cubicBezTo>
                <a:cubicBezTo>
                  <a:pt x="423" y="335"/>
                  <a:pt x="423" y="335"/>
                  <a:pt x="423" y="335"/>
                </a:cubicBezTo>
                <a:cubicBezTo>
                  <a:pt x="423" y="335"/>
                  <a:pt x="422" y="335"/>
                  <a:pt x="422" y="335"/>
                </a:cubicBezTo>
                <a:cubicBezTo>
                  <a:pt x="422" y="335"/>
                  <a:pt x="422" y="335"/>
                  <a:pt x="421" y="335"/>
                </a:cubicBezTo>
                <a:cubicBezTo>
                  <a:pt x="421" y="335"/>
                  <a:pt x="420" y="336"/>
                  <a:pt x="420" y="336"/>
                </a:cubicBezTo>
                <a:cubicBezTo>
                  <a:pt x="420" y="337"/>
                  <a:pt x="421" y="336"/>
                  <a:pt x="421" y="336"/>
                </a:cubicBezTo>
                <a:cubicBezTo>
                  <a:pt x="421" y="336"/>
                  <a:pt x="420" y="337"/>
                  <a:pt x="420" y="337"/>
                </a:cubicBezTo>
                <a:cubicBezTo>
                  <a:pt x="420" y="337"/>
                  <a:pt x="421" y="337"/>
                  <a:pt x="421" y="337"/>
                </a:cubicBezTo>
                <a:cubicBezTo>
                  <a:pt x="422" y="338"/>
                  <a:pt x="421" y="338"/>
                  <a:pt x="421" y="339"/>
                </a:cubicBezTo>
                <a:cubicBezTo>
                  <a:pt x="420" y="338"/>
                  <a:pt x="420" y="336"/>
                  <a:pt x="419" y="337"/>
                </a:cubicBezTo>
                <a:cubicBezTo>
                  <a:pt x="418" y="337"/>
                  <a:pt x="418" y="338"/>
                  <a:pt x="419" y="338"/>
                </a:cubicBezTo>
                <a:cubicBezTo>
                  <a:pt x="419" y="338"/>
                  <a:pt x="418" y="338"/>
                  <a:pt x="417" y="338"/>
                </a:cubicBezTo>
                <a:cubicBezTo>
                  <a:pt x="418" y="339"/>
                  <a:pt x="418" y="339"/>
                  <a:pt x="418" y="339"/>
                </a:cubicBezTo>
                <a:cubicBezTo>
                  <a:pt x="418" y="339"/>
                  <a:pt x="419" y="338"/>
                  <a:pt x="419" y="339"/>
                </a:cubicBezTo>
                <a:cubicBezTo>
                  <a:pt x="419" y="339"/>
                  <a:pt x="420" y="339"/>
                  <a:pt x="420" y="339"/>
                </a:cubicBezTo>
                <a:cubicBezTo>
                  <a:pt x="420" y="339"/>
                  <a:pt x="420" y="340"/>
                  <a:pt x="419" y="340"/>
                </a:cubicBezTo>
                <a:cubicBezTo>
                  <a:pt x="419" y="339"/>
                  <a:pt x="418" y="339"/>
                  <a:pt x="419" y="340"/>
                </a:cubicBezTo>
                <a:cubicBezTo>
                  <a:pt x="419" y="340"/>
                  <a:pt x="419" y="340"/>
                  <a:pt x="419" y="341"/>
                </a:cubicBezTo>
                <a:cubicBezTo>
                  <a:pt x="419" y="341"/>
                  <a:pt x="419" y="340"/>
                  <a:pt x="418" y="340"/>
                </a:cubicBezTo>
                <a:cubicBezTo>
                  <a:pt x="418" y="340"/>
                  <a:pt x="417" y="340"/>
                  <a:pt x="416" y="339"/>
                </a:cubicBezTo>
                <a:cubicBezTo>
                  <a:pt x="416" y="339"/>
                  <a:pt x="415" y="339"/>
                  <a:pt x="415" y="339"/>
                </a:cubicBezTo>
                <a:cubicBezTo>
                  <a:pt x="415" y="339"/>
                  <a:pt x="416" y="338"/>
                  <a:pt x="416" y="338"/>
                </a:cubicBezTo>
                <a:cubicBezTo>
                  <a:pt x="415" y="337"/>
                  <a:pt x="415" y="338"/>
                  <a:pt x="414" y="338"/>
                </a:cubicBezTo>
                <a:cubicBezTo>
                  <a:pt x="415" y="337"/>
                  <a:pt x="414" y="336"/>
                  <a:pt x="413" y="335"/>
                </a:cubicBezTo>
                <a:cubicBezTo>
                  <a:pt x="413" y="335"/>
                  <a:pt x="412" y="335"/>
                  <a:pt x="412" y="335"/>
                </a:cubicBezTo>
                <a:cubicBezTo>
                  <a:pt x="412" y="335"/>
                  <a:pt x="411" y="334"/>
                  <a:pt x="411" y="334"/>
                </a:cubicBezTo>
                <a:cubicBezTo>
                  <a:pt x="411" y="334"/>
                  <a:pt x="411" y="334"/>
                  <a:pt x="411" y="334"/>
                </a:cubicBezTo>
                <a:cubicBezTo>
                  <a:pt x="411" y="334"/>
                  <a:pt x="411" y="334"/>
                  <a:pt x="411" y="334"/>
                </a:cubicBezTo>
                <a:cubicBezTo>
                  <a:pt x="411" y="334"/>
                  <a:pt x="411" y="333"/>
                  <a:pt x="411" y="333"/>
                </a:cubicBezTo>
                <a:cubicBezTo>
                  <a:pt x="411" y="333"/>
                  <a:pt x="411" y="333"/>
                  <a:pt x="411" y="332"/>
                </a:cubicBezTo>
                <a:cubicBezTo>
                  <a:pt x="411" y="332"/>
                  <a:pt x="411" y="333"/>
                  <a:pt x="411" y="333"/>
                </a:cubicBezTo>
                <a:cubicBezTo>
                  <a:pt x="411" y="333"/>
                  <a:pt x="411" y="333"/>
                  <a:pt x="411" y="332"/>
                </a:cubicBezTo>
                <a:cubicBezTo>
                  <a:pt x="411" y="332"/>
                  <a:pt x="411" y="333"/>
                  <a:pt x="411" y="333"/>
                </a:cubicBezTo>
                <a:cubicBezTo>
                  <a:pt x="411" y="333"/>
                  <a:pt x="411" y="333"/>
                  <a:pt x="411" y="332"/>
                </a:cubicBezTo>
                <a:cubicBezTo>
                  <a:pt x="411" y="333"/>
                  <a:pt x="410" y="332"/>
                  <a:pt x="411" y="331"/>
                </a:cubicBezTo>
                <a:cubicBezTo>
                  <a:pt x="411" y="331"/>
                  <a:pt x="412" y="331"/>
                  <a:pt x="413" y="331"/>
                </a:cubicBezTo>
                <a:cubicBezTo>
                  <a:pt x="412" y="331"/>
                  <a:pt x="411" y="331"/>
                  <a:pt x="411" y="331"/>
                </a:cubicBezTo>
                <a:cubicBezTo>
                  <a:pt x="410" y="332"/>
                  <a:pt x="410" y="332"/>
                  <a:pt x="410" y="332"/>
                </a:cubicBezTo>
                <a:cubicBezTo>
                  <a:pt x="410" y="332"/>
                  <a:pt x="409" y="332"/>
                  <a:pt x="409" y="332"/>
                </a:cubicBezTo>
                <a:cubicBezTo>
                  <a:pt x="409" y="332"/>
                  <a:pt x="410" y="332"/>
                  <a:pt x="410" y="332"/>
                </a:cubicBezTo>
                <a:cubicBezTo>
                  <a:pt x="410" y="333"/>
                  <a:pt x="410" y="333"/>
                  <a:pt x="410" y="333"/>
                </a:cubicBezTo>
                <a:cubicBezTo>
                  <a:pt x="409" y="334"/>
                  <a:pt x="408" y="333"/>
                  <a:pt x="408" y="333"/>
                </a:cubicBezTo>
                <a:cubicBezTo>
                  <a:pt x="408" y="334"/>
                  <a:pt x="409" y="334"/>
                  <a:pt x="409" y="334"/>
                </a:cubicBezTo>
                <a:cubicBezTo>
                  <a:pt x="409" y="334"/>
                  <a:pt x="410" y="334"/>
                  <a:pt x="410" y="335"/>
                </a:cubicBezTo>
                <a:cubicBezTo>
                  <a:pt x="411" y="335"/>
                  <a:pt x="410" y="335"/>
                  <a:pt x="409" y="335"/>
                </a:cubicBezTo>
                <a:cubicBezTo>
                  <a:pt x="410" y="336"/>
                  <a:pt x="411" y="336"/>
                  <a:pt x="411" y="336"/>
                </a:cubicBezTo>
                <a:cubicBezTo>
                  <a:pt x="411" y="337"/>
                  <a:pt x="412" y="338"/>
                  <a:pt x="412" y="338"/>
                </a:cubicBezTo>
                <a:cubicBezTo>
                  <a:pt x="412" y="339"/>
                  <a:pt x="411" y="339"/>
                  <a:pt x="412" y="339"/>
                </a:cubicBezTo>
                <a:cubicBezTo>
                  <a:pt x="412" y="339"/>
                  <a:pt x="412" y="340"/>
                  <a:pt x="412" y="340"/>
                </a:cubicBezTo>
                <a:cubicBezTo>
                  <a:pt x="412" y="341"/>
                  <a:pt x="412" y="341"/>
                  <a:pt x="412" y="342"/>
                </a:cubicBezTo>
                <a:cubicBezTo>
                  <a:pt x="411" y="342"/>
                  <a:pt x="411" y="341"/>
                  <a:pt x="410" y="341"/>
                </a:cubicBezTo>
                <a:cubicBezTo>
                  <a:pt x="410" y="340"/>
                  <a:pt x="409" y="339"/>
                  <a:pt x="409" y="339"/>
                </a:cubicBezTo>
                <a:cubicBezTo>
                  <a:pt x="409" y="338"/>
                  <a:pt x="408" y="338"/>
                  <a:pt x="408" y="337"/>
                </a:cubicBezTo>
                <a:cubicBezTo>
                  <a:pt x="408" y="338"/>
                  <a:pt x="408" y="338"/>
                  <a:pt x="408" y="338"/>
                </a:cubicBezTo>
                <a:cubicBezTo>
                  <a:pt x="408" y="339"/>
                  <a:pt x="409" y="339"/>
                  <a:pt x="409" y="339"/>
                </a:cubicBezTo>
                <a:cubicBezTo>
                  <a:pt x="409" y="340"/>
                  <a:pt x="410" y="341"/>
                  <a:pt x="410" y="341"/>
                </a:cubicBezTo>
                <a:cubicBezTo>
                  <a:pt x="411" y="342"/>
                  <a:pt x="410" y="341"/>
                  <a:pt x="410" y="342"/>
                </a:cubicBezTo>
                <a:cubicBezTo>
                  <a:pt x="410" y="342"/>
                  <a:pt x="409" y="344"/>
                  <a:pt x="409" y="343"/>
                </a:cubicBezTo>
                <a:cubicBezTo>
                  <a:pt x="409" y="343"/>
                  <a:pt x="408" y="342"/>
                  <a:pt x="408" y="342"/>
                </a:cubicBezTo>
                <a:cubicBezTo>
                  <a:pt x="408" y="341"/>
                  <a:pt x="407" y="342"/>
                  <a:pt x="407" y="342"/>
                </a:cubicBezTo>
                <a:cubicBezTo>
                  <a:pt x="407" y="343"/>
                  <a:pt x="408" y="344"/>
                  <a:pt x="407" y="344"/>
                </a:cubicBezTo>
                <a:cubicBezTo>
                  <a:pt x="407" y="345"/>
                  <a:pt x="406" y="345"/>
                  <a:pt x="406" y="345"/>
                </a:cubicBezTo>
                <a:cubicBezTo>
                  <a:pt x="405" y="343"/>
                  <a:pt x="404" y="346"/>
                  <a:pt x="404" y="346"/>
                </a:cubicBezTo>
                <a:cubicBezTo>
                  <a:pt x="403" y="346"/>
                  <a:pt x="402" y="346"/>
                  <a:pt x="402" y="345"/>
                </a:cubicBezTo>
                <a:cubicBezTo>
                  <a:pt x="401" y="345"/>
                  <a:pt x="402" y="344"/>
                  <a:pt x="402" y="344"/>
                </a:cubicBezTo>
                <a:cubicBezTo>
                  <a:pt x="402" y="344"/>
                  <a:pt x="402" y="344"/>
                  <a:pt x="401" y="344"/>
                </a:cubicBezTo>
                <a:cubicBezTo>
                  <a:pt x="401" y="344"/>
                  <a:pt x="401" y="343"/>
                  <a:pt x="401" y="343"/>
                </a:cubicBezTo>
                <a:cubicBezTo>
                  <a:pt x="401" y="343"/>
                  <a:pt x="401" y="344"/>
                  <a:pt x="401" y="344"/>
                </a:cubicBezTo>
                <a:cubicBezTo>
                  <a:pt x="402" y="345"/>
                  <a:pt x="402" y="345"/>
                  <a:pt x="402" y="346"/>
                </a:cubicBezTo>
                <a:cubicBezTo>
                  <a:pt x="402" y="347"/>
                  <a:pt x="401" y="347"/>
                  <a:pt x="400" y="346"/>
                </a:cubicBezTo>
                <a:cubicBezTo>
                  <a:pt x="400" y="346"/>
                  <a:pt x="400" y="346"/>
                  <a:pt x="400" y="345"/>
                </a:cubicBezTo>
                <a:cubicBezTo>
                  <a:pt x="400" y="346"/>
                  <a:pt x="399" y="346"/>
                  <a:pt x="398" y="346"/>
                </a:cubicBezTo>
                <a:cubicBezTo>
                  <a:pt x="398" y="345"/>
                  <a:pt x="398" y="345"/>
                  <a:pt x="398" y="345"/>
                </a:cubicBezTo>
                <a:cubicBezTo>
                  <a:pt x="398" y="346"/>
                  <a:pt x="398" y="345"/>
                  <a:pt x="397" y="344"/>
                </a:cubicBezTo>
                <a:cubicBezTo>
                  <a:pt x="397" y="344"/>
                  <a:pt x="397" y="345"/>
                  <a:pt x="397" y="345"/>
                </a:cubicBezTo>
                <a:cubicBezTo>
                  <a:pt x="397" y="346"/>
                  <a:pt x="398" y="346"/>
                  <a:pt x="398" y="346"/>
                </a:cubicBezTo>
                <a:cubicBezTo>
                  <a:pt x="398" y="346"/>
                  <a:pt x="398" y="347"/>
                  <a:pt x="397" y="347"/>
                </a:cubicBezTo>
                <a:cubicBezTo>
                  <a:pt x="397" y="347"/>
                  <a:pt x="396" y="347"/>
                  <a:pt x="397" y="347"/>
                </a:cubicBezTo>
                <a:cubicBezTo>
                  <a:pt x="397" y="346"/>
                  <a:pt x="396" y="347"/>
                  <a:pt x="396" y="346"/>
                </a:cubicBezTo>
                <a:cubicBezTo>
                  <a:pt x="396" y="347"/>
                  <a:pt x="395" y="346"/>
                  <a:pt x="395" y="346"/>
                </a:cubicBezTo>
                <a:cubicBezTo>
                  <a:pt x="395" y="346"/>
                  <a:pt x="396" y="346"/>
                  <a:pt x="396" y="347"/>
                </a:cubicBezTo>
                <a:cubicBezTo>
                  <a:pt x="396" y="347"/>
                  <a:pt x="396" y="347"/>
                  <a:pt x="396" y="348"/>
                </a:cubicBezTo>
                <a:cubicBezTo>
                  <a:pt x="396" y="348"/>
                  <a:pt x="395" y="348"/>
                  <a:pt x="395" y="348"/>
                </a:cubicBezTo>
                <a:cubicBezTo>
                  <a:pt x="395" y="349"/>
                  <a:pt x="395" y="348"/>
                  <a:pt x="394" y="348"/>
                </a:cubicBezTo>
                <a:cubicBezTo>
                  <a:pt x="395" y="349"/>
                  <a:pt x="395" y="349"/>
                  <a:pt x="394" y="349"/>
                </a:cubicBezTo>
                <a:cubicBezTo>
                  <a:pt x="394" y="349"/>
                  <a:pt x="393" y="349"/>
                  <a:pt x="393" y="348"/>
                </a:cubicBezTo>
                <a:cubicBezTo>
                  <a:pt x="393" y="348"/>
                  <a:pt x="393" y="348"/>
                  <a:pt x="393" y="349"/>
                </a:cubicBezTo>
                <a:cubicBezTo>
                  <a:pt x="393" y="349"/>
                  <a:pt x="393" y="349"/>
                  <a:pt x="392" y="349"/>
                </a:cubicBezTo>
                <a:cubicBezTo>
                  <a:pt x="392" y="349"/>
                  <a:pt x="393" y="349"/>
                  <a:pt x="393" y="349"/>
                </a:cubicBezTo>
                <a:cubicBezTo>
                  <a:pt x="392" y="349"/>
                  <a:pt x="392" y="350"/>
                  <a:pt x="392" y="350"/>
                </a:cubicBezTo>
                <a:cubicBezTo>
                  <a:pt x="392" y="349"/>
                  <a:pt x="392" y="349"/>
                  <a:pt x="391" y="349"/>
                </a:cubicBezTo>
                <a:cubicBezTo>
                  <a:pt x="391" y="349"/>
                  <a:pt x="390" y="349"/>
                  <a:pt x="391" y="349"/>
                </a:cubicBezTo>
                <a:cubicBezTo>
                  <a:pt x="391" y="349"/>
                  <a:pt x="390" y="349"/>
                  <a:pt x="390" y="349"/>
                </a:cubicBezTo>
                <a:cubicBezTo>
                  <a:pt x="390" y="349"/>
                  <a:pt x="390" y="349"/>
                  <a:pt x="390" y="349"/>
                </a:cubicBezTo>
                <a:cubicBezTo>
                  <a:pt x="390" y="349"/>
                  <a:pt x="389" y="348"/>
                  <a:pt x="389" y="349"/>
                </a:cubicBezTo>
                <a:cubicBezTo>
                  <a:pt x="389" y="349"/>
                  <a:pt x="389" y="349"/>
                  <a:pt x="389" y="350"/>
                </a:cubicBezTo>
                <a:cubicBezTo>
                  <a:pt x="389" y="350"/>
                  <a:pt x="389" y="349"/>
                  <a:pt x="390" y="349"/>
                </a:cubicBezTo>
                <a:cubicBezTo>
                  <a:pt x="390" y="349"/>
                  <a:pt x="388" y="350"/>
                  <a:pt x="388" y="350"/>
                </a:cubicBezTo>
                <a:cubicBezTo>
                  <a:pt x="387" y="350"/>
                  <a:pt x="386" y="351"/>
                  <a:pt x="386" y="352"/>
                </a:cubicBezTo>
                <a:cubicBezTo>
                  <a:pt x="386" y="351"/>
                  <a:pt x="386" y="351"/>
                  <a:pt x="386" y="351"/>
                </a:cubicBezTo>
                <a:cubicBezTo>
                  <a:pt x="386" y="351"/>
                  <a:pt x="386" y="351"/>
                  <a:pt x="386" y="351"/>
                </a:cubicBezTo>
                <a:cubicBezTo>
                  <a:pt x="385" y="350"/>
                  <a:pt x="387" y="350"/>
                  <a:pt x="387" y="350"/>
                </a:cubicBezTo>
                <a:cubicBezTo>
                  <a:pt x="387" y="350"/>
                  <a:pt x="386" y="350"/>
                  <a:pt x="386" y="351"/>
                </a:cubicBezTo>
                <a:cubicBezTo>
                  <a:pt x="386" y="351"/>
                  <a:pt x="386" y="352"/>
                  <a:pt x="385" y="352"/>
                </a:cubicBezTo>
                <a:cubicBezTo>
                  <a:pt x="386" y="352"/>
                  <a:pt x="384" y="352"/>
                  <a:pt x="384" y="352"/>
                </a:cubicBezTo>
                <a:cubicBezTo>
                  <a:pt x="384" y="352"/>
                  <a:pt x="384" y="352"/>
                  <a:pt x="384" y="351"/>
                </a:cubicBezTo>
                <a:cubicBezTo>
                  <a:pt x="384" y="351"/>
                  <a:pt x="384" y="351"/>
                  <a:pt x="384" y="351"/>
                </a:cubicBezTo>
                <a:cubicBezTo>
                  <a:pt x="384" y="351"/>
                  <a:pt x="384" y="351"/>
                  <a:pt x="384" y="351"/>
                </a:cubicBezTo>
                <a:cubicBezTo>
                  <a:pt x="384" y="351"/>
                  <a:pt x="384" y="351"/>
                  <a:pt x="384" y="351"/>
                </a:cubicBezTo>
                <a:cubicBezTo>
                  <a:pt x="384" y="351"/>
                  <a:pt x="384" y="351"/>
                  <a:pt x="384" y="351"/>
                </a:cubicBezTo>
                <a:cubicBezTo>
                  <a:pt x="384" y="351"/>
                  <a:pt x="384" y="350"/>
                  <a:pt x="384" y="350"/>
                </a:cubicBezTo>
                <a:cubicBezTo>
                  <a:pt x="384" y="351"/>
                  <a:pt x="383" y="350"/>
                  <a:pt x="383" y="350"/>
                </a:cubicBezTo>
                <a:cubicBezTo>
                  <a:pt x="383" y="350"/>
                  <a:pt x="384" y="351"/>
                  <a:pt x="383" y="351"/>
                </a:cubicBezTo>
                <a:cubicBezTo>
                  <a:pt x="384" y="351"/>
                  <a:pt x="384" y="352"/>
                  <a:pt x="384" y="353"/>
                </a:cubicBezTo>
                <a:cubicBezTo>
                  <a:pt x="383" y="353"/>
                  <a:pt x="383" y="354"/>
                  <a:pt x="382" y="354"/>
                </a:cubicBezTo>
                <a:cubicBezTo>
                  <a:pt x="382" y="354"/>
                  <a:pt x="382" y="354"/>
                  <a:pt x="382" y="354"/>
                </a:cubicBezTo>
                <a:cubicBezTo>
                  <a:pt x="382" y="354"/>
                  <a:pt x="382" y="355"/>
                  <a:pt x="382" y="356"/>
                </a:cubicBezTo>
                <a:cubicBezTo>
                  <a:pt x="382" y="356"/>
                  <a:pt x="383" y="356"/>
                  <a:pt x="383" y="356"/>
                </a:cubicBezTo>
                <a:cubicBezTo>
                  <a:pt x="384" y="356"/>
                  <a:pt x="385" y="357"/>
                  <a:pt x="385" y="357"/>
                </a:cubicBezTo>
                <a:cubicBezTo>
                  <a:pt x="385" y="358"/>
                  <a:pt x="384" y="357"/>
                  <a:pt x="384" y="357"/>
                </a:cubicBezTo>
                <a:cubicBezTo>
                  <a:pt x="384" y="357"/>
                  <a:pt x="384" y="357"/>
                  <a:pt x="384" y="357"/>
                </a:cubicBezTo>
                <a:cubicBezTo>
                  <a:pt x="384" y="358"/>
                  <a:pt x="384" y="358"/>
                  <a:pt x="384" y="358"/>
                </a:cubicBezTo>
                <a:cubicBezTo>
                  <a:pt x="384" y="358"/>
                  <a:pt x="384" y="358"/>
                  <a:pt x="384" y="358"/>
                </a:cubicBezTo>
                <a:cubicBezTo>
                  <a:pt x="384" y="358"/>
                  <a:pt x="384" y="359"/>
                  <a:pt x="384" y="359"/>
                </a:cubicBezTo>
                <a:cubicBezTo>
                  <a:pt x="385" y="358"/>
                  <a:pt x="385" y="359"/>
                  <a:pt x="385" y="359"/>
                </a:cubicBezTo>
                <a:cubicBezTo>
                  <a:pt x="386" y="359"/>
                  <a:pt x="386" y="361"/>
                  <a:pt x="386" y="361"/>
                </a:cubicBezTo>
                <a:cubicBezTo>
                  <a:pt x="385" y="362"/>
                  <a:pt x="385" y="362"/>
                  <a:pt x="385" y="362"/>
                </a:cubicBezTo>
                <a:cubicBezTo>
                  <a:pt x="384" y="363"/>
                  <a:pt x="384" y="362"/>
                  <a:pt x="384" y="363"/>
                </a:cubicBezTo>
                <a:cubicBezTo>
                  <a:pt x="383" y="363"/>
                  <a:pt x="381" y="362"/>
                  <a:pt x="381" y="363"/>
                </a:cubicBezTo>
                <a:cubicBezTo>
                  <a:pt x="381" y="362"/>
                  <a:pt x="380" y="362"/>
                  <a:pt x="380" y="361"/>
                </a:cubicBezTo>
                <a:cubicBezTo>
                  <a:pt x="381" y="361"/>
                  <a:pt x="381" y="361"/>
                  <a:pt x="381" y="362"/>
                </a:cubicBezTo>
                <a:cubicBezTo>
                  <a:pt x="381" y="361"/>
                  <a:pt x="381" y="361"/>
                  <a:pt x="381" y="361"/>
                </a:cubicBezTo>
                <a:cubicBezTo>
                  <a:pt x="381" y="360"/>
                  <a:pt x="381" y="360"/>
                  <a:pt x="381" y="360"/>
                </a:cubicBezTo>
                <a:cubicBezTo>
                  <a:pt x="381" y="360"/>
                  <a:pt x="381" y="360"/>
                  <a:pt x="380" y="360"/>
                </a:cubicBezTo>
                <a:cubicBezTo>
                  <a:pt x="380" y="360"/>
                  <a:pt x="381" y="360"/>
                  <a:pt x="381" y="360"/>
                </a:cubicBezTo>
                <a:cubicBezTo>
                  <a:pt x="380" y="361"/>
                  <a:pt x="380" y="360"/>
                  <a:pt x="380" y="360"/>
                </a:cubicBezTo>
                <a:cubicBezTo>
                  <a:pt x="379" y="360"/>
                  <a:pt x="380" y="359"/>
                  <a:pt x="379" y="359"/>
                </a:cubicBezTo>
                <a:cubicBezTo>
                  <a:pt x="379" y="359"/>
                  <a:pt x="379" y="359"/>
                  <a:pt x="379" y="359"/>
                </a:cubicBezTo>
                <a:cubicBezTo>
                  <a:pt x="379" y="359"/>
                  <a:pt x="378" y="359"/>
                  <a:pt x="378" y="358"/>
                </a:cubicBezTo>
                <a:cubicBezTo>
                  <a:pt x="378" y="358"/>
                  <a:pt x="379" y="358"/>
                  <a:pt x="379" y="358"/>
                </a:cubicBezTo>
                <a:cubicBezTo>
                  <a:pt x="379" y="358"/>
                  <a:pt x="379" y="358"/>
                  <a:pt x="378" y="357"/>
                </a:cubicBezTo>
                <a:cubicBezTo>
                  <a:pt x="378" y="357"/>
                  <a:pt x="378" y="356"/>
                  <a:pt x="378" y="356"/>
                </a:cubicBezTo>
                <a:cubicBezTo>
                  <a:pt x="378" y="356"/>
                  <a:pt x="378" y="356"/>
                  <a:pt x="378" y="357"/>
                </a:cubicBezTo>
                <a:cubicBezTo>
                  <a:pt x="378" y="356"/>
                  <a:pt x="378" y="356"/>
                  <a:pt x="378" y="356"/>
                </a:cubicBezTo>
                <a:cubicBezTo>
                  <a:pt x="377" y="356"/>
                  <a:pt x="377" y="355"/>
                  <a:pt x="377" y="354"/>
                </a:cubicBezTo>
                <a:cubicBezTo>
                  <a:pt x="378" y="354"/>
                  <a:pt x="377" y="354"/>
                  <a:pt x="377" y="353"/>
                </a:cubicBezTo>
                <a:cubicBezTo>
                  <a:pt x="377" y="353"/>
                  <a:pt x="377" y="352"/>
                  <a:pt x="378" y="353"/>
                </a:cubicBezTo>
                <a:cubicBezTo>
                  <a:pt x="378" y="352"/>
                  <a:pt x="378" y="351"/>
                  <a:pt x="378" y="351"/>
                </a:cubicBezTo>
                <a:cubicBezTo>
                  <a:pt x="378" y="351"/>
                  <a:pt x="379" y="351"/>
                  <a:pt x="379" y="350"/>
                </a:cubicBezTo>
                <a:cubicBezTo>
                  <a:pt x="379" y="350"/>
                  <a:pt x="379" y="350"/>
                  <a:pt x="379" y="349"/>
                </a:cubicBezTo>
                <a:cubicBezTo>
                  <a:pt x="379" y="350"/>
                  <a:pt x="379" y="349"/>
                  <a:pt x="379" y="349"/>
                </a:cubicBezTo>
                <a:cubicBezTo>
                  <a:pt x="378" y="349"/>
                  <a:pt x="378" y="349"/>
                  <a:pt x="378" y="349"/>
                </a:cubicBezTo>
                <a:cubicBezTo>
                  <a:pt x="378" y="349"/>
                  <a:pt x="378" y="349"/>
                  <a:pt x="378" y="349"/>
                </a:cubicBezTo>
                <a:cubicBezTo>
                  <a:pt x="378" y="350"/>
                  <a:pt x="377" y="348"/>
                  <a:pt x="377" y="348"/>
                </a:cubicBezTo>
                <a:cubicBezTo>
                  <a:pt x="377" y="349"/>
                  <a:pt x="377" y="348"/>
                  <a:pt x="377" y="348"/>
                </a:cubicBezTo>
                <a:cubicBezTo>
                  <a:pt x="377" y="349"/>
                  <a:pt x="378" y="350"/>
                  <a:pt x="376" y="349"/>
                </a:cubicBezTo>
                <a:cubicBezTo>
                  <a:pt x="376" y="349"/>
                  <a:pt x="376" y="348"/>
                  <a:pt x="376" y="348"/>
                </a:cubicBezTo>
                <a:cubicBezTo>
                  <a:pt x="376" y="348"/>
                  <a:pt x="376" y="348"/>
                  <a:pt x="376" y="348"/>
                </a:cubicBezTo>
                <a:cubicBezTo>
                  <a:pt x="376" y="348"/>
                  <a:pt x="375" y="348"/>
                  <a:pt x="376" y="347"/>
                </a:cubicBezTo>
                <a:cubicBezTo>
                  <a:pt x="375" y="348"/>
                  <a:pt x="375" y="346"/>
                  <a:pt x="375" y="346"/>
                </a:cubicBezTo>
                <a:cubicBezTo>
                  <a:pt x="375" y="346"/>
                  <a:pt x="375" y="347"/>
                  <a:pt x="374" y="347"/>
                </a:cubicBezTo>
                <a:cubicBezTo>
                  <a:pt x="374" y="347"/>
                  <a:pt x="374" y="347"/>
                  <a:pt x="375" y="347"/>
                </a:cubicBezTo>
                <a:cubicBezTo>
                  <a:pt x="375" y="347"/>
                  <a:pt x="374" y="347"/>
                  <a:pt x="374" y="347"/>
                </a:cubicBezTo>
                <a:cubicBezTo>
                  <a:pt x="375" y="348"/>
                  <a:pt x="375" y="348"/>
                  <a:pt x="375" y="349"/>
                </a:cubicBezTo>
                <a:cubicBezTo>
                  <a:pt x="375" y="349"/>
                  <a:pt x="374" y="350"/>
                  <a:pt x="374" y="349"/>
                </a:cubicBezTo>
                <a:cubicBezTo>
                  <a:pt x="374" y="350"/>
                  <a:pt x="373" y="350"/>
                  <a:pt x="373" y="349"/>
                </a:cubicBezTo>
                <a:cubicBezTo>
                  <a:pt x="373" y="350"/>
                  <a:pt x="372" y="350"/>
                  <a:pt x="372" y="349"/>
                </a:cubicBezTo>
                <a:cubicBezTo>
                  <a:pt x="372" y="350"/>
                  <a:pt x="372" y="350"/>
                  <a:pt x="372" y="350"/>
                </a:cubicBezTo>
                <a:cubicBezTo>
                  <a:pt x="372" y="350"/>
                  <a:pt x="371" y="350"/>
                  <a:pt x="371" y="350"/>
                </a:cubicBezTo>
                <a:cubicBezTo>
                  <a:pt x="370" y="349"/>
                  <a:pt x="371" y="349"/>
                  <a:pt x="371" y="349"/>
                </a:cubicBezTo>
                <a:cubicBezTo>
                  <a:pt x="371" y="349"/>
                  <a:pt x="371" y="348"/>
                  <a:pt x="371" y="348"/>
                </a:cubicBezTo>
                <a:cubicBezTo>
                  <a:pt x="371" y="348"/>
                  <a:pt x="370" y="348"/>
                  <a:pt x="370" y="347"/>
                </a:cubicBezTo>
                <a:cubicBezTo>
                  <a:pt x="370" y="348"/>
                  <a:pt x="370" y="348"/>
                  <a:pt x="369" y="348"/>
                </a:cubicBezTo>
                <a:cubicBezTo>
                  <a:pt x="369" y="348"/>
                  <a:pt x="369" y="347"/>
                  <a:pt x="369" y="347"/>
                </a:cubicBezTo>
                <a:cubicBezTo>
                  <a:pt x="369" y="347"/>
                  <a:pt x="368" y="347"/>
                  <a:pt x="368" y="347"/>
                </a:cubicBezTo>
                <a:cubicBezTo>
                  <a:pt x="368" y="346"/>
                  <a:pt x="369" y="346"/>
                  <a:pt x="369" y="346"/>
                </a:cubicBezTo>
                <a:cubicBezTo>
                  <a:pt x="369" y="346"/>
                  <a:pt x="368" y="346"/>
                  <a:pt x="368" y="346"/>
                </a:cubicBezTo>
                <a:cubicBezTo>
                  <a:pt x="368" y="346"/>
                  <a:pt x="368" y="346"/>
                  <a:pt x="368" y="346"/>
                </a:cubicBezTo>
                <a:cubicBezTo>
                  <a:pt x="368" y="346"/>
                  <a:pt x="368" y="346"/>
                  <a:pt x="367" y="346"/>
                </a:cubicBezTo>
                <a:cubicBezTo>
                  <a:pt x="368" y="346"/>
                  <a:pt x="368" y="346"/>
                  <a:pt x="368" y="347"/>
                </a:cubicBezTo>
                <a:cubicBezTo>
                  <a:pt x="368" y="347"/>
                  <a:pt x="368" y="346"/>
                  <a:pt x="368" y="346"/>
                </a:cubicBezTo>
                <a:cubicBezTo>
                  <a:pt x="367" y="347"/>
                  <a:pt x="368" y="347"/>
                  <a:pt x="368" y="348"/>
                </a:cubicBezTo>
                <a:cubicBezTo>
                  <a:pt x="368" y="347"/>
                  <a:pt x="368" y="347"/>
                  <a:pt x="367" y="348"/>
                </a:cubicBezTo>
                <a:cubicBezTo>
                  <a:pt x="367" y="348"/>
                  <a:pt x="367" y="347"/>
                  <a:pt x="367" y="347"/>
                </a:cubicBezTo>
                <a:cubicBezTo>
                  <a:pt x="367" y="347"/>
                  <a:pt x="367" y="347"/>
                  <a:pt x="367" y="347"/>
                </a:cubicBezTo>
                <a:cubicBezTo>
                  <a:pt x="367" y="347"/>
                  <a:pt x="367" y="347"/>
                  <a:pt x="367" y="347"/>
                </a:cubicBezTo>
                <a:cubicBezTo>
                  <a:pt x="367" y="347"/>
                  <a:pt x="367" y="347"/>
                  <a:pt x="367" y="347"/>
                </a:cubicBezTo>
                <a:cubicBezTo>
                  <a:pt x="367" y="347"/>
                  <a:pt x="367" y="346"/>
                  <a:pt x="367" y="346"/>
                </a:cubicBezTo>
                <a:cubicBezTo>
                  <a:pt x="367" y="346"/>
                  <a:pt x="367" y="347"/>
                  <a:pt x="367" y="347"/>
                </a:cubicBezTo>
                <a:cubicBezTo>
                  <a:pt x="366" y="347"/>
                  <a:pt x="366" y="346"/>
                  <a:pt x="366" y="346"/>
                </a:cubicBezTo>
                <a:cubicBezTo>
                  <a:pt x="366" y="346"/>
                  <a:pt x="366" y="346"/>
                  <a:pt x="366" y="345"/>
                </a:cubicBezTo>
                <a:cubicBezTo>
                  <a:pt x="366" y="346"/>
                  <a:pt x="366" y="346"/>
                  <a:pt x="366" y="346"/>
                </a:cubicBezTo>
                <a:cubicBezTo>
                  <a:pt x="366" y="346"/>
                  <a:pt x="366" y="346"/>
                  <a:pt x="366" y="346"/>
                </a:cubicBezTo>
                <a:cubicBezTo>
                  <a:pt x="366" y="346"/>
                  <a:pt x="366" y="346"/>
                  <a:pt x="366" y="346"/>
                </a:cubicBezTo>
                <a:cubicBezTo>
                  <a:pt x="366" y="346"/>
                  <a:pt x="365" y="346"/>
                  <a:pt x="365" y="346"/>
                </a:cubicBezTo>
                <a:cubicBezTo>
                  <a:pt x="365" y="345"/>
                  <a:pt x="366" y="345"/>
                  <a:pt x="366" y="345"/>
                </a:cubicBezTo>
                <a:cubicBezTo>
                  <a:pt x="366" y="344"/>
                  <a:pt x="365" y="344"/>
                  <a:pt x="365" y="345"/>
                </a:cubicBezTo>
                <a:cubicBezTo>
                  <a:pt x="365" y="345"/>
                  <a:pt x="365" y="344"/>
                  <a:pt x="365" y="344"/>
                </a:cubicBezTo>
                <a:cubicBezTo>
                  <a:pt x="365" y="344"/>
                  <a:pt x="364" y="345"/>
                  <a:pt x="364" y="345"/>
                </a:cubicBezTo>
                <a:cubicBezTo>
                  <a:pt x="364" y="345"/>
                  <a:pt x="364" y="344"/>
                  <a:pt x="364" y="344"/>
                </a:cubicBezTo>
                <a:cubicBezTo>
                  <a:pt x="364" y="345"/>
                  <a:pt x="365" y="346"/>
                  <a:pt x="365" y="346"/>
                </a:cubicBezTo>
                <a:cubicBezTo>
                  <a:pt x="365" y="347"/>
                  <a:pt x="365" y="347"/>
                  <a:pt x="365" y="347"/>
                </a:cubicBezTo>
                <a:cubicBezTo>
                  <a:pt x="365" y="347"/>
                  <a:pt x="365" y="347"/>
                  <a:pt x="365" y="347"/>
                </a:cubicBezTo>
                <a:cubicBezTo>
                  <a:pt x="365" y="347"/>
                  <a:pt x="365" y="347"/>
                  <a:pt x="365" y="347"/>
                </a:cubicBezTo>
                <a:cubicBezTo>
                  <a:pt x="366" y="347"/>
                  <a:pt x="366" y="347"/>
                  <a:pt x="365" y="347"/>
                </a:cubicBezTo>
                <a:cubicBezTo>
                  <a:pt x="366" y="348"/>
                  <a:pt x="365" y="348"/>
                  <a:pt x="365" y="348"/>
                </a:cubicBezTo>
                <a:cubicBezTo>
                  <a:pt x="365" y="347"/>
                  <a:pt x="365" y="348"/>
                  <a:pt x="365" y="348"/>
                </a:cubicBezTo>
                <a:cubicBezTo>
                  <a:pt x="364" y="348"/>
                  <a:pt x="364" y="348"/>
                  <a:pt x="364" y="348"/>
                </a:cubicBezTo>
                <a:cubicBezTo>
                  <a:pt x="364" y="348"/>
                  <a:pt x="364" y="348"/>
                  <a:pt x="364" y="348"/>
                </a:cubicBezTo>
                <a:cubicBezTo>
                  <a:pt x="365" y="348"/>
                  <a:pt x="364" y="347"/>
                  <a:pt x="365" y="347"/>
                </a:cubicBezTo>
                <a:cubicBezTo>
                  <a:pt x="364" y="347"/>
                  <a:pt x="364" y="347"/>
                  <a:pt x="364" y="347"/>
                </a:cubicBezTo>
                <a:cubicBezTo>
                  <a:pt x="364" y="347"/>
                  <a:pt x="363" y="347"/>
                  <a:pt x="363" y="347"/>
                </a:cubicBezTo>
                <a:cubicBezTo>
                  <a:pt x="363" y="347"/>
                  <a:pt x="364" y="348"/>
                  <a:pt x="363" y="349"/>
                </a:cubicBezTo>
                <a:cubicBezTo>
                  <a:pt x="362" y="349"/>
                  <a:pt x="363" y="348"/>
                  <a:pt x="363" y="348"/>
                </a:cubicBezTo>
                <a:cubicBezTo>
                  <a:pt x="363" y="348"/>
                  <a:pt x="363" y="347"/>
                  <a:pt x="362" y="347"/>
                </a:cubicBezTo>
                <a:cubicBezTo>
                  <a:pt x="363" y="348"/>
                  <a:pt x="361" y="348"/>
                  <a:pt x="361" y="349"/>
                </a:cubicBezTo>
                <a:cubicBezTo>
                  <a:pt x="360" y="349"/>
                  <a:pt x="360" y="348"/>
                  <a:pt x="359" y="348"/>
                </a:cubicBezTo>
                <a:cubicBezTo>
                  <a:pt x="359" y="347"/>
                  <a:pt x="358" y="347"/>
                  <a:pt x="357" y="348"/>
                </a:cubicBezTo>
                <a:cubicBezTo>
                  <a:pt x="357" y="348"/>
                  <a:pt x="356" y="348"/>
                  <a:pt x="355" y="348"/>
                </a:cubicBezTo>
                <a:cubicBezTo>
                  <a:pt x="355" y="347"/>
                  <a:pt x="355" y="347"/>
                  <a:pt x="355" y="348"/>
                </a:cubicBezTo>
                <a:cubicBezTo>
                  <a:pt x="354" y="348"/>
                  <a:pt x="354" y="346"/>
                  <a:pt x="353" y="347"/>
                </a:cubicBezTo>
                <a:cubicBezTo>
                  <a:pt x="353" y="347"/>
                  <a:pt x="352" y="346"/>
                  <a:pt x="351" y="346"/>
                </a:cubicBezTo>
                <a:cubicBezTo>
                  <a:pt x="351" y="346"/>
                  <a:pt x="350" y="345"/>
                  <a:pt x="351" y="345"/>
                </a:cubicBezTo>
                <a:cubicBezTo>
                  <a:pt x="351" y="345"/>
                  <a:pt x="351" y="345"/>
                  <a:pt x="351" y="344"/>
                </a:cubicBezTo>
                <a:cubicBezTo>
                  <a:pt x="350" y="344"/>
                  <a:pt x="350" y="345"/>
                  <a:pt x="350" y="344"/>
                </a:cubicBezTo>
                <a:cubicBezTo>
                  <a:pt x="349" y="344"/>
                  <a:pt x="348" y="343"/>
                  <a:pt x="348" y="343"/>
                </a:cubicBezTo>
                <a:cubicBezTo>
                  <a:pt x="348" y="344"/>
                  <a:pt x="347" y="344"/>
                  <a:pt x="347" y="343"/>
                </a:cubicBezTo>
                <a:cubicBezTo>
                  <a:pt x="347" y="342"/>
                  <a:pt x="347" y="342"/>
                  <a:pt x="347" y="341"/>
                </a:cubicBezTo>
                <a:cubicBezTo>
                  <a:pt x="347" y="340"/>
                  <a:pt x="346" y="340"/>
                  <a:pt x="346" y="340"/>
                </a:cubicBezTo>
                <a:cubicBezTo>
                  <a:pt x="345" y="340"/>
                  <a:pt x="345" y="338"/>
                  <a:pt x="345" y="338"/>
                </a:cubicBezTo>
                <a:cubicBezTo>
                  <a:pt x="345" y="337"/>
                  <a:pt x="346" y="336"/>
                  <a:pt x="346" y="337"/>
                </a:cubicBezTo>
                <a:cubicBezTo>
                  <a:pt x="346" y="338"/>
                  <a:pt x="347" y="335"/>
                  <a:pt x="347" y="335"/>
                </a:cubicBezTo>
                <a:cubicBezTo>
                  <a:pt x="347" y="335"/>
                  <a:pt x="346" y="334"/>
                  <a:pt x="346" y="334"/>
                </a:cubicBezTo>
                <a:cubicBezTo>
                  <a:pt x="346" y="334"/>
                  <a:pt x="345" y="334"/>
                  <a:pt x="345" y="334"/>
                </a:cubicBezTo>
                <a:cubicBezTo>
                  <a:pt x="345" y="334"/>
                  <a:pt x="345" y="334"/>
                  <a:pt x="345" y="333"/>
                </a:cubicBezTo>
                <a:cubicBezTo>
                  <a:pt x="344" y="333"/>
                  <a:pt x="342" y="335"/>
                  <a:pt x="341" y="334"/>
                </a:cubicBezTo>
                <a:cubicBezTo>
                  <a:pt x="341" y="333"/>
                  <a:pt x="340" y="333"/>
                  <a:pt x="340" y="333"/>
                </a:cubicBezTo>
                <a:cubicBezTo>
                  <a:pt x="339" y="333"/>
                  <a:pt x="339" y="333"/>
                  <a:pt x="339" y="333"/>
                </a:cubicBezTo>
                <a:cubicBezTo>
                  <a:pt x="339" y="333"/>
                  <a:pt x="338" y="333"/>
                  <a:pt x="338" y="333"/>
                </a:cubicBezTo>
                <a:cubicBezTo>
                  <a:pt x="338" y="333"/>
                  <a:pt x="338" y="333"/>
                  <a:pt x="337" y="333"/>
                </a:cubicBezTo>
                <a:cubicBezTo>
                  <a:pt x="336" y="332"/>
                  <a:pt x="336" y="332"/>
                  <a:pt x="335" y="332"/>
                </a:cubicBezTo>
                <a:cubicBezTo>
                  <a:pt x="335" y="332"/>
                  <a:pt x="335" y="331"/>
                  <a:pt x="334" y="331"/>
                </a:cubicBezTo>
                <a:cubicBezTo>
                  <a:pt x="334" y="331"/>
                  <a:pt x="334" y="330"/>
                  <a:pt x="334" y="330"/>
                </a:cubicBezTo>
                <a:cubicBezTo>
                  <a:pt x="333" y="329"/>
                  <a:pt x="332" y="329"/>
                  <a:pt x="332" y="328"/>
                </a:cubicBezTo>
                <a:cubicBezTo>
                  <a:pt x="332" y="328"/>
                  <a:pt x="331" y="329"/>
                  <a:pt x="331" y="330"/>
                </a:cubicBezTo>
                <a:cubicBezTo>
                  <a:pt x="331" y="330"/>
                  <a:pt x="330" y="330"/>
                  <a:pt x="330" y="330"/>
                </a:cubicBezTo>
                <a:cubicBezTo>
                  <a:pt x="329" y="330"/>
                  <a:pt x="329" y="331"/>
                  <a:pt x="328" y="331"/>
                </a:cubicBezTo>
                <a:cubicBezTo>
                  <a:pt x="328" y="331"/>
                  <a:pt x="328" y="331"/>
                  <a:pt x="328" y="331"/>
                </a:cubicBezTo>
                <a:cubicBezTo>
                  <a:pt x="327" y="332"/>
                  <a:pt x="328" y="332"/>
                  <a:pt x="328" y="332"/>
                </a:cubicBezTo>
                <a:cubicBezTo>
                  <a:pt x="328" y="333"/>
                  <a:pt x="328" y="334"/>
                  <a:pt x="327" y="334"/>
                </a:cubicBezTo>
                <a:cubicBezTo>
                  <a:pt x="327" y="335"/>
                  <a:pt x="326" y="335"/>
                  <a:pt x="326" y="334"/>
                </a:cubicBezTo>
                <a:cubicBezTo>
                  <a:pt x="325" y="335"/>
                  <a:pt x="324" y="336"/>
                  <a:pt x="323" y="336"/>
                </a:cubicBezTo>
                <a:cubicBezTo>
                  <a:pt x="322" y="335"/>
                  <a:pt x="323" y="334"/>
                  <a:pt x="322" y="335"/>
                </a:cubicBezTo>
                <a:cubicBezTo>
                  <a:pt x="321" y="335"/>
                  <a:pt x="321" y="336"/>
                  <a:pt x="321" y="337"/>
                </a:cubicBezTo>
                <a:cubicBezTo>
                  <a:pt x="321" y="337"/>
                  <a:pt x="321" y="338"/>
                  <a:pt x="320" y="338"/>
                </a:cubicBezTo>
                <a:cubicBezTo>
                  <a:pt x="319" y="337"/>
                  <a:pt x="319" y="336"/>
                  <a:pt x="318" y="335"/>
                </a:cubicBezTo>
                <a:cubicBezTo>
                  <a:pt x="317" y="335"/>
                  <a:pt x="317" y="335"/>
                  <a:pt x="317" y="335"/>
                </a:cubicBezTo>
                <a:cubicBezTo>
                  <a:pt x="316" y="336"/>
                  <a:pt x="317" y="336"/>
                  <a:pt x="317" y="336"/>
                </a:cubicBezTo>
                <a:cubicBezTo>
                  <a:pt x="317" y="337"/>
                  <a:pt x="316" y="337"/>
                  <a:pt x="315" y="336"/>
                </a:cubicBezTo>
                <a:cubicBezTo>
                  <a:pt x="315" y="336"/>
                  <a:pt x="315" y="335"/>
                  <a:pt x="314" y="335"/>
                </a:cubicBezTo>
                <a:cubicBezTo>
                  <a:pt x="314" y="335"/>
                  <a:pt x="314" y="336"/>
                  <a:pt x="313" y="336"/>
                </a:cubicBezTo>
                <a:cubicBezTo>
                  <a:pt x="313" y="337"/>
                  <a:pt x="313" y="337"/>
                  <a:pt x="313" y="337"/>
                </a:cubicBezTo>
                <a:cubicBezTo>
                  <a:pt x="313" y="338"/>
                  <a:pt x="312" y="338"/>
                  <a:pt x="312" y="338"/>
                </a:cubicBezTo>
                <a:cubicBezTo>
                  <a:pt x="312" y="338"/>
                  <a:pt x="312" y="339"/>
                  <a:pt x="312" y="339"/>
                </a:cubicBezTo>
                <a:cubicBezTo>
                  <a:pt x="312" y="339"/>
                  <a:pt x="311" y="338"/>
                  <a:pt x="311" y="338"/>
                </a:cubicBezTo>
                <a:cubicBezTo>
                  <a:pt x="311" y="338"/>
                  <a:pt x="310" y="338"/>
                  <a:pt x="310" y="337"/>
                </a:cubicBezTo>
                <a:cubicBezTo>
                  <a:pt x="310" y="337"/>
                  <a:pt x="310" y="337"/>
                  <a:pt x="309" y="337"/>
                </a:cubicBezTo>
                <a:cubicBezTo>
                  <a:pt x="309" y="336"/>
                  <a:pt x="308" y="336"/>
                  <a:pt x="308" y="336"/>
                </a:cubicBezTo>
                <a:cubicBezTo>
                  <a:pt x="307" y="336"/>
                  <a:pt x="307" y="335"/>
                  <a:pt x="307" y="336"/>
                </a:cubicBezTo>
                <a:cubicBezTo>
                  <a:pt x="307" y="336"/>
                  <a:pt x="307" y="336"/>
                  <a:pt x="307" y="336"/>
                </a:cubicBezTo>
                <a:cubicBezTo>
                  <a:pt x="306" y="336"/>
                  <a:pt x="307" y="335"/>
                  <a:pt x="306" y="335"/>
                </a:cubicBezTo>
                <a:cubicBezTo>
                  <a:pt x="306" y="335"/>
                  <a:pt x="306" y="336"/>
                  <a:pt x="305" y="336"/>
                </a:cubicBezTo>
                <a:cubicBezTo>
                  <a:pt x="305" y="336"/>
                  <a:pt x="306" y="336"/>
                  <a:pt x="305" y="337"/>
                </a:cubicBezTo>
                <a:cubicBezTo>
                  <a:pt x="305" y="337"/>
                  <a:pt x="305" y="337"/>
                  <a:pt x="305" y="338"/>
                </a:cubicBezTo>
                <a:cubicBezTo>
                  <a:pt x="304" y="338"/>
                  <a:pt x="304" y="339"/>
                  <a:pt x="304" y="339"/>
                </a:cubicBezTo>
                <a:cubicBezTo>
                  <a:pt x="304" y="339"/>
                  <a:pt x="304" y="339"/>
                  <a:pt x="303" y="339"/>
                </a:cubicBezTo>
                <a:cubicBezTo>
                  <a:pt x="303" y="339"/>
                  <a:pt x="302" y="338"/>
                  <a:pt x="302" y="339"/>
                </a:cubicBezTo>
                <a:cubicBezTo>
                  <a:pt x="301" y="339"/>
                  <a:pt x="301" y="339"/>
                  <a:pt x="301" y="339"/>
                </a:cubicBezTo>
                <a:cubicBezTo>
                  <a:pt x="301" y="339"/>
                  <a:pt x="300" y="338"/>
                  <a:pt x="299" y="338"/>
                </a:cubicBezTo>
                <a:cubicBezTo>
                  <a:pt x="299" y="339"/>
                  <a:pt x="299" y="339"/>
                  <a:pt x="299" y="339"/>
                </a:cubicBezTo>
                <a:cubicBezTo>
                  <a:pt x="299" y="339"/>
                  <a:pt x="299" y="340"/>
                  <a:pt x="299" y="340"/>
                </a:cubicBezTo>
                <a:cubicBezTo>
                  <a:pt x="298" y="341"/>
                  <a:pt x="297" y="341"/>
                  <a:pt x="298" y="341"/>
                </a:cubicBezTo>
                <a:cubicBezTo>
                  <a:pt x="299" y="342"/>
                  <a:pt x="298" y="342"/>
                  <a:pt x="299" y="342"/>
                </a:cubicBezTo>
                <a:cubicBezTo>
                  <a:pt x="299" y="343"/>
                  <a:pt x="299" y="343"/>
                  <a:pt x="299" y="344"/>
                </a:cubicBezTo>
                <a:cubicBezTo>
                  <a:pt x="299" y="344"/>
                  <a:pt x="300" y="344"/>
                  <a:pt x="300" y="344"/>
                </a:cubicBezTo>
                <a:cubicBezTo>
                  <a:pt x="300" y="344"/>
                  <a:pt x="300" y="345"/>
                  <a:pt x="301" y="345"/>
                </a:cubicBezTo>
                <a:cubicBezTo>
                  <a:pt x="301" y="346"/>
                  <a:pt x="301" y="347"/>
                  <a:pt x="301" y="347"/>
                </a:cubicBezTo>
                <a:cubicBezTo>
                  <a:pt x="301" y="348"/>
                  <a:pt x="302" y="348"/>
                  <a:pt x="301" y="348"/>
                </a:cubicBezTo>
                <a:cubicBezTo>
                  <a:pt x="301" y="348"/>
                  <a:pt x="301" y="350"/>
                  <a:pt x="301" y="350"/>
                </a:cubicBezTo>
                <a:cubicBezTo>
                  <a:pt x="301" y="351"/>
                  <a:pt x="302" y="351"/>
                  <a:pt x="302" y="352"/>
                </a:cubicBezTo>
                <a:cubicBezTo>
                  <a:pt x="303" y="352"/>
                  <a:pt x="302" y="352"/>
                  <a:pt x="302" y="352"/>
                </a:cubicBezTo>
                <a:cubicBezTo>
                  <a:pt x="302" y="352"/>
                  <a:pt x="302" y="353"/>
                  <a:pt x="302" y="353"/>
                </a:cubicBezTo>
                <a:cubicBezTo>
                  <a:pt x="301" y="353"/>
                  <a:pt x="301" y="352"/>
                  <a:pt x="300" y="352"/>
                </a:cubicBezTo>
                <a:cubicBezTo>
                  <a:pt x="300" y="353"/>
                  <a:pt x="300" y="352"/>
                  <a:pt x="300" y="352"/>
                </a:cubicBezTo>
                <a:cubicBezTo>
                  <a:pt x="300" y="352"/>
                  <a:pt x="299" y="352"/>
                  <a:pt x="299" y="352"/>
                </a:cubicBezTo>
                <a:cubicBezTo>
                  <a:pt x="298" y="352"/>
                  <a:pt x="297" y="353"/>
                  <a:pt x="297" y="352"/>
                </a:cubicBezTo>
                <a:cubicBezTo>
                  <a:pt x="297" y="351"/>
                  <a:pt x="296" y="351"/>
                  <a:pt x="296" y="351"/>
                </a:cubicBezTo>
                <a:cubicBezTo>
                  <a:pt x="296" y="351"/>
                  <a:pt x="297" y="351"/>
                  <a:pt x="297" y="351"/>
                </a:cubicBezTo>
                <a:cubicBezTo>
                  <a:pt x="296" y="350"/>
                  <a:pt x="296" y="350"/>
                  <a:pt x="296" y="350"/>
                </a:cubicBezTo>
                <a:cubicBezTo>
                  <a:pt x="296" y="349"/>
                  <a:pt x="296" y="348"/>
                  <a:pt x="295" y="348"/>
                </a:cubicBezTo>
                <a:cubicBezTo>
                  <a:pt x="296" y="348"/>
                  <a:pt x="295" y="347"/>
                  <a:pt x="295" y="347"/>
                </a:cubicBezTo>
                <a:cubicBezTo>
                  <a:pt x="295" y="347"/>
                  <a:pt x="295" y="346"/>
                  <a:pt x="295" y="346"/>
                </a:cubicBezTo>
                <a:cubicBezTo>
                  <a:pt x="294" y="346"/>
                  <a:pt x="292" y="347"/>
                  <a:pt x="292" y="347"/>
                </a:cubicBezTo>
                <a:cubicBezTo>
                  <a:pt x="292" y="348"/>
                  <a:pt x="291" y="349"/>
                  <a:pt x="290" y="349"/>
                </a:cubicBezTo>
                <a:cubicBezTo>
                  <a:pt x="289" y="350"/>
                  <a:pt x="289" y="348"/>
                  <a:pt x="288" y="349"/>
                </a:cubicBezTo>
                <a:cubicBezTo>
                  <a:pt x="287" y="349"/>
                  <a:pt x="286" y="350"/>
                  <a:pt x="286" y="349"/>
                </a:cubicBezTo>
                <a:cubicBezTo>
                  <a:pt x="285" y="348"/>
                  <a:pt x="286" y="347"/>
                  <a:pt x="285" y="347"/>
                </a:cubicBezTo>
                <a:cubicBezTo>
                  <a:pt x="284" y="347"/>
                  <a:pt x="284" y="347"/>
                  <a:pt x="283" y="346"/>
                </a:cubicBezTo>
                <a:cubicBezTo>
                  <a:pt x="283" y="345"/>
                  <a:pt x="284" y="344"/>
                  <a:pt x="284" y="344"/>
                </a:cubicBezTo>
                <a:cubicBezTo>
                  <a:pt x="284" y="344"/>
                  <a:pt x="283" y="343"/>
                  <a:pt x="283" y="343"/>
                </a:cubicBezTo>
                <a:cubicBezTo>
                  <a:pt x="283" y="343"/>
                  <a:pt x="282" y="343"/>
                  <a:pt x="282" y="343"/>
                </a:cubicBezTo>
                <a:cubicBezTo>
                  <a:pt x="282" y="343"/>
                  <a:pt x="281" y="343"/>
                  <a:pt x="281" y="343"/>
                </a:cubicBezTo>
                <a:cubicBezTo>
                  <a:pt x="281" y="343"/>
                  <a:pt x="281" y="343"/>
                  <a:pt x="281" y="343"/>
                </a:cubicBezTo>
                <a:cubicBezTo>
                  <a:pt x="280" y="343"/>
                  <a:pt x="279" y="342"/>
                  <a:pt x="278" y="342"/>
                </a:cubicBezTo>
                <a:cubicBezTo>
                  <a:pt x="277" y="342"/>
                  <a:pt x="277" y="342"/>
                  <a:pt x="276" y="342"/>
                </a:cubicBezTo>
                <a:cubicBezTo>
                  <a:pt x="275" y="342"/>
                  <a:pt x="276" y="342"/>
                  <a:pt x="276" y="341"/>
                </a:cubicBezTo>
                <a:cubicBezTo>
                  <a:pt x="276" y="341"/>
                  <a:pt x="276" y="340"/>
                  <a:pt x="276" y="340"/>
                </a:cubicBezTo>
                <a:cubicBezTo>
                  <a:pt x="276" y="339"/>
                  <a:pt x="276" y="339"/>
                  <a:pt x="277" y="339"/>
                </a:cubicBezTo>
                <a:cubicBezTo>
                  <a:pt x="277" y="338"/>
                  <a:pt x="277" y="337"/>
                  <a:pt x="277" y="336"/>
                </a:cubicBezTo>
                <a:cubicBezTo>
                  <a:pt x="277" y="336"/>
                  <a:pt x="276" y="335"/>
                  <a:pt x="276" y="335"/>
                </a:cubicBezTo>
                <a:cubicBezTo>
                  <a:pt x="277" y="335"/>
                  <a:pt x="277" y="334"/>
                  <a:pt x="277" y="333"/>
                </a:cubicBezTo>
                <a:cubicBezTo>
                  <a:pt x="277" y="333"/>
                  <a:pt x="277" y="333"/>
                  <a:pt x="278" y="333"/>
                </a:cubicBezTo>
                <a:cubicBezTo>
                  <a:pt x="278" y="333"/>
                  <a:pt x="278" y="333"/>
                  <a:pt x="278" y="333"/>
                </a:cubicBezTo>
                <a:cubicBezTo>
                  <a:pt x="277" y="332"/>
                  <a:pt x="278" y="332"/>
                  <a:pt x="277" y="332"/>
                </a:cubicBezTo>
                <a:cubicBezTo>
                  <a:pt x="276" y="332"/>
                  <a:pt x="276" y="331"/>
                  <a:pt x="275" y="331"/>
                </a:cubicBezTo>
                <a:cubicBezTo>
                  <a:pt x="275" y="331"/>
                  <a:pt x="275" y="332"/>
                  <a:pt x="275" y="332"/>
                </a:cubicBezTo>
                <a:cubicBezTo>
                  <a:pt x="275" y="331"/>
                  <a:pt x="274" y="332"/>
                  <a:pt x="273" y="331"/>
                </a:cubicBezTo>
                <a:cubicBezTo>
                  <a:pt x="273" y="331"/>
                  <a:pt x="273" y="331"/>
                  <a:pt x="272" y="331"/>
                </a:cubicBezTo>
                <a:cubicBezTo>
                  <a:pt x="272" y="331"/>
                  <a:pt x="271" y="330"/>
                  <a:pt x="271" y="330"/>
                </a:cubicBezTo>
                <a:cubicBezTo>
                  <a:pt x="271" y="329"/>
                  <a:pt x="271" y="329"/>
                  <a:pt x="271" y="329"/>
                </a:cubicBezTo>
                <a:cubicBezTo>
                  <a:pt x="271" y="329"/>
                  <a:pt x="271" y="329"/>
                  <a:pt x="271" y="329"/>
                </a:cubicBezTo>
                <a:cubicBezTo>
                  <a:pt x="271" y="328"/>
                  <a:pt x="271" y="328"/>
                  <a:pt x="271" y="327"/>
                </a:cubicBezTo>
                <a:cubicBezTo>
                  <a:pt x="270" y="327"/>
                  <a:pt x="270" y="327"/>
                  <a:pt x="270" y="327"/>
                </a:cubicBezTo>
                <a:cubicBezTo>
                  <a:pt x="270" y="326"/>
                  <a:pt x="271" y="326"/>
                  <a:pt x="270" y="325"/>
                </a:cubicBezTo>
                <a:cubicBezTo>
                  <a:pt x="270" y="325"/>
                  <a:pt x="270" y="324"/>
                  <a:pt x="269" y="324"/>
                </a:cubicBezTo>
                <a:cubicBezTo>
                  <a:pt x="269" y="324"/>
                  <a:pt x="269" y="324"/>
                  <a:pt x="268" y="323"/>
                </a:cubicBezTo>
                <a:cubicBezTo>
                  <a:pt x="268" y="323"/>
                  <a:pt x="268" y="322"/>
                  <a:pt x="268" y="322"/>
                </a:cubicBezTo>
                <a:cubicBezTo>
                  <a:pt x="268" y="321"/>
                  <a:pt x="270" y="321"/>
                  <a:pt x="270" y="320"/>
                </a:cubicBezTo>
                <a:cubicBezTo>
                  <a:pt x="269" y="320"/>
                  <a:pt x="269" y="320"/>
                  <a:pt x="268" y="320"/>
                </a:cubicBezTo>
                <a:cubicBezTo>
                  <a:pt x="268" y="320"/>
                  <a:pt x="267" y="321"/>
                  <a:pt x="267" y="320"/>
                </a:cubicBezTo>
                <a:cubicBezTo>
                  <a:pt x="267" y="320"/>
                  <a:pt x="266" y="320"/>
                  <a:pt x="266" y="320"/>
                </a:cubicBezTo>
                <a:cubicBezTo>
                  <a:pt x="265" y="320"/>
                  <a:pt x="265" y="320"/>
                  <a:pt x="264" y="320"/>
                </a:cubicBezTo>
                <a:cubicBezTo>
                  <a:pt x="263" y="320"/>
                  <a:pt x="261" y="320"/>
                  <a:pt x="260" y="321"/>
                </a:cubicBezTo>
                <a:cubicBezTo>
                  <a:pt x="260" y="322"/>
                  <a:pt x="259" y="322"/>
                  <a:pt x="258" y="323"/>
                </a:cubicBezTo>
                <a:cubicBezTo>
                  <a:pt x="258" y="323"/>
                  <a:pt x="257" y="322"/>
                  <a:pt x="257" y="322"/>
                </a:cubicBezTo>
                <a:cubicBezTo>
                  <a:pt x="257" y="322"/>
                  <a:pt x="258" y="321"/>
                  <a:pt x="258" y="321"/>
                </a:cubicBezTo>
                <a:cubicBezTo>
                  <a:pt x="259" y="320"/>
                  <a:pt x="259" y="320"/>
                  <a:pt x="259" y="319"/>
                </a:cubicBezTo>
                <a:cubicBezTo>
                  <a:pt x="259" y="318"/>
                  <a:pt x="258" y="318"/>
                  <a:pt x="258" y="318"/>
                </a:cubicBezTo>
                <a:cubicBezTo>
                  <a:pt x="258" y="318"/>
                  <a:pt x="258" y="317"/>
                  <a:pt x="258" y="317"/>
                </a:cubicBezTo>
                <a:cubicBezTo>
                  <a:pt x="257" y="316"/>
                  <a:pt x="257" y="317"/>
                  <a:pt x="256" y="317"/>
                </a:cubicBezTo>
                <a:cubicBezTo>
                  <a:pt x="256" y="316"/>
                  <a:pt x="256" y="315"/>
                  <a:pt x="256" y="314"/>
                </a:cubicBezTo>
                <a:cubicBezTo>
                  <a:pt x="256" y="314"/>
                  <a:pt x="256" y="313"/>
                  <a:pt x="257" y="313"/>
                </a:cubicBezTo>
                <a:cubicBezTo>
                  <a:pt x="257" y="313"/>
                  <a:pt x="258" y="312"/>
                  <a:pt x="258" y="312"/>
                </a:cubicBezTo>
                <a:cubicBezTo>
                  <a:pt x="257" y="311"/>
                  <a:pt x="257" y="311"/>
                  <a:pt x="257" y="310"/>
                </a:cubicBezTo>
                <a:cubicBezTo>
                  <a:pt x="257" y="310"/>
                  <a:pt x="257" y="309"/>
                  <a:pt x="258" y="309"/>
                </a:cubicBezTo>
                <a:cubicBezTo>
                  <a:pt x="258" y="308"/>
                  <a:pt x="258" y="307"/>
                  <a:pt x="258" y="308"/>
                </a:cubicBezTo>
                <a:cubicBezTo>
                  <a:pt x="259" y="309"/>
                  <a:pt x="259" y="308"/>
                  <a:pt x="259" y="307"/>
                </a:cubicBezTo>
                <a:cubicBezTo>
                  <a:pt x="260" y="307"/>
                  <a:pt x="260" y="307"/>
                  <a:pt x="260" y="307"/>
                </a:cubicBezTo>
                <a:cubicBezTo>
                  <a:pt x="260" y="307"/>
                  <a:pt x="260" y="306"/>
                  <a:pt x="260" y="306"/>
                </a:cubicBezTo>
                <a:cubicBezTo>
                  <a:pt x="260" y="306"/>
                  <a:pt x="260" y="305"/>
                  <a:pt x="260" y="305"/>
                </a:cubicBezTo>
                <a:cubicBezTo>
                  <a:pt x="260" y="305"/>
                  <a:pt x="260" y="304"/>
                  <a:pt x="260" y="304"/>
                </a:cubicBezTo>
                <a:cubicBezTo>
                  <a:pt x="261" y="303"/>
                  <a:pt x="261" y="305"/>
                  <a:pt x="262" y="304"/>
                </a:cubicBezTo>
                <a:cubicBezTo>
                  <a:pt x="262" y="304"/>
                  <a:pt x="262" y="304"/>
                  <a:pt x="262" y="303"/>
                </a:cubicBezTo>
                <a:cubicBezTo>
                  <a:pt x="262" y="303"/>
                  <a:pt x="263" y="303"/>
                  <a:pt x="262" y="303"/>
                </a:cubicBezTo>
                <a:cubicBezTo>
                  <a:pt x="262" y="302"/>
                  <a:pt x="263" y="301"/>
                  <a:pt x="263" y="301"/>
                </a:cubicBezTo>
                <a:cubicBezTo>
                  <a:pt x="264" y="302"/>
                  <a:pt x="265" y="302"/>
                  <a:pt x="265" y="301"/>
                </a:cubicBezTo>
                <a:cubicBezTo>
                  <a:pt x="265" y="300"/>
                  <a:pt x="262" y="299"/>
                  <a:pt x="263" y="298"/>
                </a:cubicBezTo>
                <a:cubicBezTo>
                  <a:pt x="264" y="298"/>
                  <a:pt x="264" y="299"/>
                  <a:pt x="264" y="298"/>
                </a:cubicBezTo>
                <a:cubicBezTo>
                  <a:pt x="264" y="298"/>
                  <a:pt x="264" y="297"/>
                  <a:pt x="264" y="297"/>
                </a:cubicBezTo>
                <a:cubicBezTo>
                  <a:pt x="263" y="296"/>
                  <a:pt x="264" y="296"/>
                  <a:pt x="264" y="295"/>
                </a:cubicBezTo>
                <a:cubicBezTo>
                  <a:pt x="264" y="294"/>
                  <a:pt x="264" y="293"/>
                  <a:pt x="264" y="293"/>
                </a:cubicBezTo>
                <a:cubicBezTo>
                  <a:pt x="264" y="291"/>
                  <a:pt x="263" y="290"/>
                  <a:pt x="263" y="288"/>
                </a:cubicBezTo>
                <a:cubicBezTo>
                  <a:pt x="263" y="288"/>
                  <a:pt x="262" y="288"/>
                  <a:pt x="262" y="287"/>
                </a:cubicBezTo>
                <a:cubicBezTo>
                  <a:pt x="262" y="287"/>
                  <a:pt x="262" y="287"/>
                  <a:pt x="262" y="286"/>
                </a:cubicBezTo>
                <a:cubicBezTo>
                  <a:pt x="262" y="286"/>
                  <a:pt x="262" y="285"/>
                  <a:pt x="262" y="284"/>
                </a:cubicBezTo>
                <a:cubicBezTo>
                  <a:pt x="261" y="284"/>
                  <a:pt x="261" y="283"/>
                  <a:pt x="261" y="282"/>
                </a:cubicBezTo>
                <a:cubicBezTo>
                  <a:pt x="261" y="282"/>
                  <a:pt x="261" y="282"/>
                  <a:pt x="260" y="282"/>
                </a:cubicBezTo>
                <a:cubicBezTo>
                  <a:pt x="260" y="282"/>
                  <a:pt x="258" y="280"/>
                  <a:pt x="258" y="281"/>
                </a:cubicBezTo>
                <a:cubicBezTo>
                  <a:pt x="258" y="283"/>
                  <a:pt x="258" y="283"/>
                  <a:pt x="257" y="282"/>
                </a:cubicBezTo>
                <a:cubicBezTo>
                  <a:pt x="257" y="281"/>
                  <a:pt x="256" y="280"/>
                  <a:pt x="256" y="280"/>
                </a:cubicBezTo>
                <a:cubicBezTo>
                  <a:pt x="256" y="279"/>
                  <a:pt x="255" y="279"/>
                  <a:pt x="256" y="279"/>
                </a:cubicBezTo>
                <a:cubicBezTo>
                  <a:pt x="256" y="278"/>
                  <a:pt x="255" y="278"/>
                  <a:pt x="255" y="278"/>
                </a:cubicBezTo>
                <a:cubicBezTo>
                  <a:pt x="255" y="277"/>
                  <a:pt x="255" y="276"/>
                  <a:pt x="254" y="276"/>
                </a:cubicBezTo>
                <a:cubicBezTo>
                  <a:pt x="254" y="275"/>
                  <a:pt x="253" y="275"/>
                  <a:pt x="253" y="275"/>
                </a:cubicBezTo>
                <a:cubicBezTo>
                  <a:pt x="253" y="275"/>
                  <a:pt x="253" y="275"/>
                  <a:pt x="253" y="274"/>
                </a:cubicBezTo>
                <a:cubicBezTo>
                  <a:pt x="253" y="274"/>
                  <a:pt x="253" y="274"/>
                  <a:pt x="252" y="274"/>
                </a:cubicBezTo>
                <a:cubicBezTo>
                  <a:pt x="252" y="274"/>
                  <a:pt x="252" y="273"/>
                  <a:pt x="251" y="273"/>
                </a:cubicBezTo>
                <a:cubicBezTo>
                  <a:pt x="251" y="274"/>
                  <a:pt x="250" y="273"/>
                  <a:pt x="250" y="273"/>
                </a:cubicBezTo>
                <a:cubicBezTo>
                  <a:pt x="250" y="273"/>
                  <a:pt x="250" y="271"/>
                  <a:pt x="249" y="272"/>
                </a:cubicBezTo>
                <a:cubicBezTo>
                  <a:pt x="249" y="272"/>
                  <a:pt x="248" y="272"/>
                  <a:pt x="248" y="272"/>
                </a:cubicBezTo>
                <a:cubicBezTo>
                  <a:pt x="248" y="272"/>
                  <a:pt x="248" y="273"/>
                  <a:pt x="248" y="273"/>
                </a:cubicBezTo>
                <a:cubicBezTo>
                  <a:pt x="248" y="273"/>
                  <a:pt x="248" y="274"/>
                  <a:pt x="248" y="274"/>
                </a:cubicBezTo>
                <a:cubicBezTo>
                  <a:pt x="248" y="275"/>
                  <a:pt x="248" y="274"/>
                  <a:pt x="247" y="274"/>
                </a:cubicBezTo>
                <a:cubicBezTo>
                  <a:pt x="247" y="274"/>
                  <a:pt x="247" y="275"/>
                  <a:pt x="247" y="275"/>
                </a:cubicBezTo>
                <a:cubicBezTo>
                  <a:pt x="247" y="275"/>
                  <a:pt x="246" y="275"/>
                  <a:pt x="246" y="275"/>
                </a:cubicBezTo>
                <a:cubicBezTo>
                  <a:pt x="246" y="274"/>
                  <a:pt x="245" y="274"/>
                  <a:pt x="245" y="273"/>
                </a:cubicBezTo>
                <a:cubicBezTo>
                  <a:pt x="244" y="273"/>
                  <a:pt x="244" y="274"/>
                  <a:pt x="243" y="274"/>
                </a:cubicBezTo>
                <a:cubicBezTo>
                  <a:pt x="243" y="274"/>
                  <a:pt x="243" y="274"/>
                  <a:pt x="243" y="274"/>
                </a:cubicBezTo>
                <a:cubicBezTo>
                  <a:pt x="242" y="273"/>
                  <a:pt x="242" y="274"/>
                  <a:pt x="242" y="273"/>
                </a:cubicBezTo>
                <a:cubicBezTo>
                  <a:pt x="241" y="273"/>
                  <a:pt x="240" y="272"/>
                  <a:pt x="240" y="272"/>
                </a:cubicBezTo>
                <a:cubicBezTo>
                  <a:pt x="239" y="272"/>
                  <a:pt x="239" y="273"/>
                  <a:pt x="239" y="273"/>
                </a:cubicBezTo>
                <a:cubicBezTo>
                  <a:pt x="239" y="273"/>
                  <a:pt x="238" y="273"/>
                  <a:pt x="238" y="273"/>
                </a:cubicBezTo>
                <a:cubicBezTo>
                  <a:pt x="238" y="273"/>
                  <a:pt x="238" y="274"/>
                  <a:pt x="237" y="273"/>
                </a:cubicBezTo>
                <a:cubicBezTo>
                  <a:pt x="237" y="273"/>
                  <a:pt x="237" y="273"/>
                  <a:pt x="236" y="273"/>
                </a:cubicBezTo>
                <a:cubicBezTo>
                  <a:pt x="237" y="273"/>
                  <a:pt x="237" y="273"/>
                  <a:pt x="237" y="272"/>
                </a:cubicBezTo>
                <a:cubicBezTo>
                  <a:pt x="237" y="272"/>
                  <a:pt x="236" y="272"/>
                  <a:pt x="237" y="271"/>
                </a:cubicBezTo>
                <a:cubicBezTo>
                  <a:pt x="237" y="271"/>
                  <a:pt x="237" y="271"/>
                  <a:pt x="237" y="271"/>
                </a:cubicBezTo>
                <a:cubicBezTo>
                  <a:pt x="237" y="271"/>
                  <a:pt x="238" y="271"/>
                  <a:pt x="238" y="271"/>
                </a:cubicBezTo>
                <a:cubicBezTo>
                  <a:pt x="238" y="271"/>
                  <a:pt x="238" y="270"/>
                  <a:pt x="238" y="270"/>
                </a:cubicBezTo>
                <a:cubicBezTo>
                  <a:pt x="238" y="270"/>
                  <a:pt x="238" y="270"/>
                  <a:pt x="239" y="270"/>
                </a:cubicBezTo>
                <a:cubicBezTo>
                  <a:pt x="239" y="269"/>
                  <a:pt x="238" y="268"/>
                  <a:pt x="238" y="268"/>
                </a:cubicBezTo>
                <a:cubicBezTo>
                  <a:pt x="238" y="268"/>
                  <a:pt x="237" y="267"/>
                  <a:pt x="237" y="267"/>
                </a:cubicBezTo>
                <a:cubicBezTo>
                  <a:pt x="237" y="266"/>
                  <a:pt x="237" y="266"/>
                  <a:pt x="237" y="266"/>
                </a:cubicBezTo>
                <a:cubicBezTo>
                  <a:pt x="237" y="266"/>
                  <a:pt x="236" y="266"/>
                  <a:pt x="235" y="266"/>
                </a:cubicBezTo>
                <a:cubicBezTo>
                  <a:pt x="235" y="267"/>
                  <a:pt x="235" y="267"/>
                  <a:pt x="235" y="267"/>
                </a:cubicBezTo>
                <a:cubicBezTo>
                  <a:pt x="234" y="268"/>
                  <a:pt x="234" y="267"/>
                  <a:pt x="234" y="267"/>
                </a:cubicBezTo>
                <a:cubicBezTo>
                  <a:pt x="234" y="267"/>
                  <a:pt x="234" y="266"/>
                  <a:pt x="233" y="266"/>
                </a:cubicBezTo>
                <a:cubicBezTo>
                  <a:pt x="234" y="266"/>
                  <a:pt x="234" y="265"/>
                  <a:pt x="235" y="265"/>
                </a:cubicBezTo>
                <a:cubicBezTo>
                  <a:pt x="235" y="265"/>
                  <a:pt x="236" y="264"/>
                  <a:pt x="235" y="263"/>
                </a:cubicBezTo>
                <a:cubicBezTo>
                  <a:pt x="235" y="263"/>
                  <a:pt x="234" y="264"/>
                  <a:pt x="234" y="264"/>
                </a:cubicBezTo>
                <a:cubicBezTo>
                  <a:pt x="233" y="263"/>
                  <a:pt x="233" y="262"/>
                  <a:pt x="233" y="262"/>
                </a:cubicBezTo>
                <a:cubicBezTo>
                  <a:pt x="232" y="261"/>
                  <a:pt x="229" y="263"/>
                  <a:pt x="229" y="264"/>
                </a:cubicBezTo>
                <a:cubicBezTo>
                  <a:pt x="228" y="264"/>
                  <a:pt x="228" y="264"/>
                  <a:pt x="228" y="264"/>
                </a:cubicBezTo>
                <a:cubicBezTo>
                  <a:pt x="228" y="265"/>
                  <a:pt x="228" y="265"/>
                  <a:pt x="228" y="265"/>
                </a:cubicBezTo>
                <a:cubicBezTo>
                  <a:pt x="228" y="265"/>
                  <a:pt x="227" y="265"/>
                  <a:pt x="227" y="265"/>
                </a:cubicBezTo>
                <a:cubicBezTo>
                  <a:pt x="227" y="265"/>
                  <a:pt x="227" y="266"/>
                  <a:pt x="227" y="266"/>
                </a:cubicBezTo>
                <a:cubicBezTo>
                  <a:pt x="227" y="266"/>
                  <a:pt x="226" y="266"/>
                  <a:pt x="226" y="266"/>
                </a:cubicBezTo>
                <a:cubicBezTo>
                  <a:pt x="225" y="265"/>
                  <a:pt x="223" y="265"/>
                  <a:pt x="222" y="265"/>
                </a:cubicBezTo>
                <a:cubicBezTo>
                  <a:pt x="223" y="265"/>
                  <a:pt x="223" y="265"/>
                  <a:pt x="223" y="265"/>
                </a:cubicBezTo>
                <a:cubicBezTo>
                  <a:pt x="223" y="265"/>
                  <a:pt x="221" y="265"/>
                  <a:pt x="221" y="264"/>
                </a:cubicBezTo>
                <a:cubicBezTo>
                  <a:pt x="220" y="264"/>
                  <a:pt x="220" y="263"/>
                  <a:pt x="219" y="263"/>
                </a:cubicBezTo>
                <a:cubicBezTo>
                  <a:pt x="219" y="263"/>
                  <a:pt x="218" y="264"/>
                  <a:pt x="218" y="264"/>
                </a:cubicBezTo>
                <a:cubicBezTo>
                  <a:pt x="218" y="264"/>
                  <a:pt x="218" y="264"/>
                  <a:pt x="217" y="264"/>
                </a:cubicBezTo>
                <a:cubicBezTo>
                  <a:pt x="217" y="264"/>
                  <a:pt x="217" y="265"/>
                  <a:pt x="216" y="265"/>
                </a:cubicBezTo>
                <a:cubicBezTo>
                  <a:pt x="216" y="265"/>
                  <a:pt x="216" y="265"/>
                  <a:pt x="216" y="266"/>
                </a:cubicBezTo>
                <a:cubicBezTo>
                  <a:pt x="215" y="266"/>
                  <a:pt x="215" y="267"/>
                  <a:pt x="215" y="267"/>
                </a:cubicBezTo>
                <a:cubicBezTo>
                  <a:pt x="215" y="267"/>
                  <a:pt x="214" y="267"/>
                  <a:pt x="214" y="267"/>
                </a:cubicBezTo>
                <a:cubicBezTo>
                  <a:pt x="214" y="267"/>
                  <a:pt x="215" y="268"/>
                  <a:pt x="214" y="268"/>
                </a:cubicBezTo>
                <a:cubicBezTo>
                  <a:pt x="214" y="268"/>
                  <a:pt x="214" y="268"/>
                  <a:pt x="214" y="268"/>
                </a:cubicBezTo>
                <a:cubicBezTo>
                  <a:pt x="214" y="269"/>
                  <a:pt x="213" y="269"/>
                  <a:pt x="213" y="269"/>
                </a:cubicBezTo>
                <a:cubicBezTo>
                  <a:pt x="212" y="270"/>
                  <a:pt x="212" y="270"/>
                  <a:pt x="211" y="270"/>
                </a:cubicBezTo>
                <a:cubicBezTo>
                  <a:pt x="210" y="270"/>
                  <a:pt x="207" y="270"/>
                  <a:pt x="207" y="272"/>
                </a:cubicBezTo>
                <a:cubicBezTo>
                  <a:pt x="207" y="273"/>
                  <a:pt x="207" y="273"/>
                  <a:pt x="206" y="274"/>
                </a:cubicBezTo>
                <a:cubicBezTo>
                  <a:pt x="206" y="274"/>
                  <a:pt x="205" y="275"/>
                  <a:pt x="205" y="275"/>
                </a:cubicBezTo>
                <a:cubicBezTo>
                  <a:pt x="204" y="276"/>
                  <a:pt x="203" y="276"/>
                  <a:pt x="203" y="276"/>
                </a:cubicBezTo>
                <a:cubicBezTo>
                  <a:pt x="203" y="277"/>
                  <a:pt x="204" y="277"/>
                  <a:pt x="204" y="278"/>
                </a:cubicBezTo>
                <a:cubicBezTo>
                  <a:pt x="204" y="278"/>
                  <a:pt x="203" y="279"/>
                  <a:pt x="202" y="279"/>
                </a:cubicBezTo>
                <a:cubicBezTo>
                  <a:pt x="202" y="279"/>
                  <a:pt x="202" y="279"/>
                  <a:pt x="202" y="279"/>
                </a:cubicBezTo>
                <a:cubicBezTo>
                  <a:pt x="201" y="279"/>
                  <a:pt x="201" y="280"/>
                  <a:pt x="201" y="280"/>
                </a:cubicBezTo>
                <a:cubicBezTo>
                  <a:pt x="201" y="280"/>
                  <a:pt x="201" y="279"/>
                  <a:pt x="201" y="279"/>
                </a:cubicBezTo>
                <a:cubicBezTo>
                  <a:pt x="201" y="279"/>
                  <a:pt x="201" y="280"/>
                  <a:pt x="201" y="280"/>
                </a:cubicBezTo>
                <a:cubicBezTo>
                  <a:pt x="201" y="280"/>
                  <a:pt x="200" y="279"/>
                  <a:pt x="200" y="279"/>
                </a:cubicBezTo>
                <a:cubicBezTo>
                  <a:pt x="200" y="279"/>
                  <a:pt x="200" y="280"/>
                  <a:pt x="200" y="280"/>
                </a:cubicBezTo>
                <a:cubicBezTo>
                  <a:pt x="199" y="280"/>
                  <a:pt x="199" y="280"/>
                  <a:pt x="199" y="280"/>
                </a:cubicBezTo>
                <a:cubicBezTo>
                  <a:pt x="198" y="280"/>
                  <a:pt x="198" y="280"/>
                  <a:pt x="198" y="280"/>
                </a:cubicBezTo>
                <a:cubicBezTo>
                  <a:pt x="197" y="281"/>
                  <a:pt x="196" y="280"/>
                  <a:pt x="196" y="280"/>
                </a:cubicBezTo>
                <a:cubicBezTo>
                  <a:pt x="195" y="280"/>
                  <a:pt x="194" y="280"/>
                  <a:pt x="194" y="280"/>
                </a:cubicBezTo>
                <a:cubicBezTo>
                  <a:pt x="194" y="279"/>
                  <a:pt x="194" y="278"/>
                  <a:pt x="193" y="278"/>
                </a:cubicBezTo>
                <a:cubicBezTo>
                  <a:pt x="192" y="278"/>
                  <a:pt x="191" y="278"/>
                  <a:pt x="191" y="277"/>
                </a:cubicBezTo>
                <a:cubicBezTo>
                  <a:pt x="190" y="277"/>
                  <a:pt x="190" y="277"/>
                  <a:pt x="189" y="277"/>
                </a:cubicBezTo>
                <a:cubicBezTo>
                  <a:pt x="189" y="278"/>
                  <a:pt x="189" y="278"/>
                  <a:pt x="188" y="278"/>
                </a:cubicBezTo>
                <a:cubicBezTo>
                  <a:pt x="187" y="277"/>
                  <a:pt x="186" y="277"/>
                  <a:pt x="185" y="277"/>
                </a:cubicBezTo>
                <a:cubicBezTo>
                  <a:pt x="185" y="277"/>
                  <a:pt x="185" y="277"/>
                  <a:pt x="184" y="277"/>
                </a:cubicBezTo>
                <a:cubicBezTo>
                  <a:pt x="183" y="277"/>
                  <a:pt x="183" y="277"/>
                  <a:pt x="182" y="277"/>
                </a:cubicBezTo>
                <a:cubicBezTo>
                  <a:pt x="181" y="277"/>
                  <a:pt x="182" y="276"/>
                  <a:pt x="182" y="275"/>
                </a:cubicBezTo>
                <a:cubicBezTo>
                  <a:pt x="182" y="274"/>
                  <a:pt x="179" y="274"/>
                  <a:pt x="178" y="274"/>
                </a:cubicBezTo>
                <a:cubicBezTo>
                  <a:pt x="178" y="274"/>
                  <a:pt x="177" y="274"/>
                  <a:pt x="177" y="275"/>
                </a:cubicBezTo>
                <a:cubicBezTo>
                  <a:pt x="176" y="275"/>
                  <a:pt x="176" y="275"/>
                  <a:pt x="176" y="276"/>
                </a:cubicBezTo>
                <a:cubicBezTo>
                  <a:pt x="174" y="276"/>
                  <a:pt x="174" y="277"/>
                  <a:pt x="173" y="278"/>
                </a:cubicBezTo>
                <a:cubicBezTo>
                  <a:pt x="172" y="279"/>
                  <a:pt x="171" y="280"/>
                  <a:pt x="171" y="282"/>
                </a:cubicBezTo>
                <a:cubicBezTo>
                  <a:pt x="171" y="283"/>
                  <a:pt x="171" y="283"/>
                  <a:pt x="170" y="283"/>
                </a:cubicBezTo>
                <a:cubicBezTo>
                  <a:pt x="170" y="284"/>
                  <a:pt x="170" y="284"/>
                  <a:pt x="170" y="285"/>
                </a:cubicBezTo>
                <a:cubicBezTo>
                  <a:pt x="169" y="284"/>
                  <a:pt x="168" y="284"/>
                  <a:pt x="168" y="283"/>
                </a:cubicBezTo>
                <a:cubicBezTo>
                  <a:pt x="168" y="282"/>
                  <a:pt x="168" y="281"/>
                  <a:pt x="168" y="280"/>
                </a:cubicBezTo>
                <a:cubicBezTo>
                  <a:pt x="168" y="280"/>
                  <a:pt x="168" y="279"/>
                  <a:pt x="168" y="279"/>
                </a:cubicBezTo>
                <a:cubicBezTo>
                  <a:pt x="168" y="279"/>
                  <a:pt x="168" y="278"/>
                  <a:pt x="168" y="278"/>
                </a:cubicBezTo>
                <a:cubicBezTo>
                  <a:pt x="168" y="277"/>
                  <a:pt x="167" y="277"/>
                  <a:pt x="166" y="277"/>
                </a:cubicBezTo>
                <a:cubicBezTo>
                  <a:pt x="166" y="277"/>
                  <a:pt x="165" y="276"/>
                  <a:pt x="165" y="276"/>
                </a:cubicBezTo>
                <a:cubicBezTo>
                  <a:pt x="165" y="277"/>
                  <a:pt x="165" y="277"/>
                  <a:pt x="165" y="277"/>
                </a:cubicBezTo>
                <a:cubicBezTo>
                  <a:pt x="164" y="277"/>
                  <a:pt x="164" y="277"/>
                  <a:pt x="164" y="277"/>
                </a:cubicBezTo>
                <a:cubicBezTo>
                  <a:pt x="164" y="277"/>
                  <a:pt x="164" y="277"/>
                  <a:pt x="164" y="278"/>
                </a:cubicBezTo>
                <a:cubicBezTo>
                  <a:pt x="164" y="278"/>
                  <a:pt x="163" y="278"/>
                  <a:pt x="163" y="278"/>
                </a:cubicBezTo>
                <a:cubicBezTo>
                  <a:pt x="162" y="278"/>
                  <a:pt x="160" y="278"/>
                  <a:pt x="161" y="279"/>
                </a:cubicBezTo>
                <a:cubicBezTo>
                  <a:pt x="161" y="279"/>
                  <a:pt x="159" y="278"/>
                  <a:pt x="159" y="279"/>
                </a:cubicBezTo>
                <a:cubicBezTo>
                  <a:pt x="158" y="279"/>
                  <a:pt x="158" y="279"/>
                  <a:pt x="158" y="279"/>
                </a:cubicBezTo>
                <a:cubicBezTo>
                  <a:pt x="158" y="280"/>
                  <a:pt x="157" y="280"/>
                  <a:pt x="157" y="280"/>
                </a:cubicBezTo>
                <a:cubicBezTo>
                  <a:pt x="156" y="279"/>
                  <a:pt x="156" y="279"/>
                  <a:pt x="156" y="279"/>
                </a:cubicBezTo>
                <a:cubicBezTo>
                  <a:pt x="155" y="279"/>
                  <a:pt x="155" y="280"/>
                  <a:pt x="155" y="280"/>
                </a:cubicBezTo>
                <a:cubicBezTo>
                  <a:pt x="154" y="280"/>
                  <a:pt x="155" y="279"/>
                  <a:pt x="154" y="279"/>
                </a:cubicBezTo>
                <a:cubicBezTo>
                  <a:pt x="154" y="279"/>
                  <a:pt x="154" y="279"/>
                  <a:pt x="153" y="279"/>
                </a:cubicBezTo>
                <a:cubicBezTo>
                  <a:pt x="152" y="280"/>
                  <a:pt x="152" y="279"/>
                  <a:pt x="151" y="279"/>
                </a:cubicBezTo>
                <a:cubicBezTo>
                  <a:pt x="151" y="278"/>
                  <a:pt x="150" y="278"/>
                  <a:pt x="149" y="278"/>
                </a:cubicBezTo>
                <a:cubicBezTo>
                  <a:pt x="149" y="277"/>
                  <a:pt x="149" y="277"/>
                  <a:pt x="148" y="277"/>
                </a:cubicBezTo>
                <a:cubicBezTo>
                  <a:pt x="148" y="277"/>
                  <a:pt x="148" y="277"/>
                  <a:pt x="148" y="277"/>
                </a:cubicBezTo>
                <a:cubicBezTo>
                  <a:pt x="148" y="276"/>
                  <a:pt x="147" y="277"/>
                  <a:pt x="147" y="277"/>
                </a:cubicBezTo>
                <a:cubicBezTo>
                  <a:pt x="147" y="277"/>
                  <a:pt x="146" y="276"/>
                  <a:pt x="146" y="276"/>
                </a:cubicBezTo>
                <a:cubicBezTo>
                  <a:pt x="146" y="277"/>
                  <a:pt x="146" y="278"/>
                  <a:pt x="146" y="278"/>
                </a:cubicBezTo>
                <a:cubicBezTo>
                  <a:pt x="146" y="279"/>
                  <a:pt x="145" y="278"/>
                  <a:pt x="145" y="278"/>
                </a:cubicBezTo>
                <a:cubicBezTo>
                  <a:pt x="144" y="278"/>
                  <a:pt x="144" y="278"/>
                  <a:pt x="143" y="278"/>
                </a:cubicBezTo>
                <a:cubicBezTo>
                  <a:pt x="143" y="277"/>
                  <a:pt x="143" y="276"/>
                  <a:pt x="142" y="276"/>
                </a:cubicBezTo>
                <a:cubicBezTo>
                  <a:pt x="142" y="277"/>
                  <a:pt x="142" y="277"/>
                  <a:pt x="142" y="278"/>
                </a:cubicBezTo>
                <a:cubicBezTo>
                  <a:pt x="143" y="279"/>
                  <a:pt x="141" y="279"/>
                  <a:pt x="141" y="278"/>
                </a:cubicBezTo>
                <a:cubicBezTo>
                  <a:pt x="141" y="278"/>
                  <a:pt x="140" y="277"/>
                  <a:pt x="140" y="277"/>
                </a:cubicBezTo>
                <a:cubicBezTo>
                  <a:pt x="140" y="277"/>
                  <a:pt x="140" y="276"/>
                  <a:pt x="140" y="276"/>
                </a:cubicBezTo>
                <a:cubicBezTo>
                  <a:pt x="139" y="276"/>
                  <a:pt x="139" y="275"/>
                  <a:pt x="138" y="275"/>
                </a:cubicBezTo>
                <a:cubicBezTo>
                  <a:pt x="138" y="275"/>
                  <a:pt x="138" y="274"/>
                  <a:pt x="138" y="274"/>
                </a:cubicBezTo>
                <a:cubicBezTo>
                  <a:pt x="137" y="274"/>
                  <a:pt x="137" y="275"/>
                  <a:pt x="137" y="275"/>
                </a:cubicBezTo>
                <a:cubicBezTo>
                  <a:pt x="136" y="274"/>
                  <a:pt x="135" y="275"/>
                  <a:pt x="134" y="275"/>
                </a:cubicBezTo>
                <a:cubicBezTo>
                  <a:pt x="134" y="275"/>
                  <a:pt x="133" y="274"/>
                  <a:pt x="132" y="274"/>
                </a:cubicBezTo>
                <a:cubicBezTo>
                  <a:pt x="132" y="274"/>
                  <a:pt x="132" y="274"/>
                  <a:pt x="132" y="273"/>
                </a:cubicBezTo>
                <a:cubicBezTo>
                  <a:pt x="132" y="273"/>
                  <a:pt x="132" y="271"/>
                  <a:pt x="132" y="271"/>
                </a:cubicBezTo>
                <a:cubicBezTo>
                  <a:pt x="132" y="271"/>
                  <a:pt x="131" y="270"/>
                  <a:pt x="131" y="271"/>
                </a:cubicBezTo>
                <a:cubicBezTo>
                  <a:pt x="130" y="271"/>
                  <a:pt x="130" y="272"/>
                  <a:pt x="130" y="272"/>
                </a:cubicBezTo>
                <a:cubicBezTo>
                  <a:pt x="129" y="272"/>
                  <a:pt x="128" y="271"/>
                  <a:pt x="128" y="271"/>
                </a:cubicBezTo>
                <a:cubicBezTo>
                  <a:pt x="127" y="271"/>
                  <a:pt x="127" y="270"/>
                  <a:pt x="127" y="270"/>
                </a:cubicBezTo>
                <a:cubicBezTo>
                  <a:pt x="127" y="270"/>
                  <a:pt x="127" y="270"/>
                  <a:pt x="126" y="270"/>
                </a:cubicBezTo>
                <a:cubicBezTo>
                  <a:pt x="126" y="269"/>
                  <a:pt x="125" y="269"/>
                  <a:pt x="125" y="269"/>
                </a:cubicBezTo>
                <a:cubicBezTo>
                  <a:pt x="124" y="268"/>
                  <a:pt x="123" y="268"/>
                  <a:pt x="122" y="267"/>
                </a:cubicBezTo>
                <a:cubicBezTo>
                  <a:pt x="122" y="266"/>
                  <a:pt x="122" y="266"/>
                  <a:pt x="122" y="265"/>
                </a:cubicBezTo>
                <a:cubicBezTo>
                  <a:pt x="121" y="265"/>
                  <a:pt x="122" y="265"/>
                  <a:pt x="121" y="264"/>
                </a:cubicBezTo>
                <a:cubicBezTo>
                  <a:pt x="121" y="264"/>
                  <a:pt x="121" y="264"/>
                  <a:pt x="121" y="264"/>
                </a:cubicBezTo>
                <a:cubicBezTo>
                  <a:pt x="120" y="263"/>
                  <a:pt x="119" y="263"/>
                  <a:pt x="119" y="263"/>
                </a:cubicBezTo>
                <a:cubicBezTo>
                  <a:pt x="118" y="264"/>
                  <a:pt x="117" y="264"/>
                  <a:pt x="117" y="264"/>
                </a:cubicBezTo>
                <a:cubicBezTo>
                  <a:pt x="117" y="265"/>
                  <a:pt x="117" y="265"/>
                  <a:pt x="116" y="265"/>
                </a:cubicBezTo>
                <a:cubicBezTo>
                  <a:pt x="115" y="264"/>
                  <a:pt x="114" y="263"/>
                  <a:pt x="113" y="261"/>
                </a:cubicBezTo>
                <a:cubicBezTo>
                  <a:pt x="113" y="261"/>
                  <a:pt x="113" y="261"/>
                  <a:pt x="113" y="261"/>
                </a:cubicBezTo>
                <a:cubicBezTo>
                  <a:pt x="112" y="261"/>
                  <a:pt x="113" y="261"/>
                  <a:pt x="112" y="261"/>
                </a:cubicBezTo>
                <a:cubicBezTo>
                  <a:pt x="112" y="260"/>
                  <a:pt x="112" y="260"/>
                  <a:pt x="111" y="260"/>
                </a:cubicBezTo>
                <a:cubicBezTo>
                  <a:pt x="111" y="260"/>
                  <a:pt x="111" y="260"/>
                  <a:pt x="110" y="260"/>
                </a:cubicBezTo>
                <a:cubicBezTo>
                  <a:pt x="110" y="259"/>
                  <a:pt x="109" y="259"/>
                  <a:pt x="109" y="259"/>
                </a:cubicBezTo>
                <a:cubicBezTo>
                  <a:pt x="108" y="259"/>
                  <a:pt x="107" y="258"/>
                  <a:pt x="107" y="258"/>
                </a:cubicBezTo>
                <a:cubicBezTo>
                  <a:pt x="107" y="258"/>
                  <a:pt x="107" y="257"/>
                  <a:pt x="106" y="257"/>
                </a:cubicBezTo>
                <a:cubicBezTo>
                  <a:pt x="106" y="257"/>
                  <a:pt x="106" y="257"/>
                  <a:pt x="105" y="257"/>
                </a:cubicBezTo>
                <a:cubicBezTo>
                  <a:pt x="104" y="256"/>
                  <a:pt x="103" y="256"/>
                  <a:pt x="102" y="255"/>
                </a:cubicBezTo>
                <a:cubicBezTo>
                  <a:pt x="101" y="255"/>
                  <a:pt x="101" y="255"/>
                  <a:pt x="101" y="254"/>
                </a:cubicBezTo>
                <a:cubicBezTo>
                  <a:pt x="101" y="254"/>
                  <a:pt x="101" y="254"/>
                  <a:pt x="101" y="254"/>
                </a:cubicBezTo>
                <a:cubicBezTo>
                  <a:pt x="100" y="253"/>
                  <a:pt x="100" y="253"/>
                  <a:pt x="100" y="252"/>
                </a:cubicBezTo>
                <a:cubicBezTo>
                  <a:pt x="100" y="252"/>
                  <a:pt x="98" y="252"/>
                  <a:pt x="98" y="251"/>
                </a:cubicBezTo>
                <a:cubicBezTo>
                  <a:pt x="97" y="251"/>
                  <a:pt x="96" y="251"/>
                  <a:pt x="95" y="251"/>
                </a:cubicBezTo>
                <a:cubicBezTo>
                  <a:pt x="95" y="251"/>
                  <a:pt x="95" y="252"/>
                  <a:pt x="94" y="252"/>
                </a:cubicBezTo>
                <a:cubicBezTo>
                  <a:pt x="94" y="252"/>
                  <a:pt x="93" y="251"/>
                  <a:pt x="93" y="252"/>
                </a:cubicBezTo>
                <a:cubicBezTo>
                  <a:pt x="93" y="252"/>
                  <a:pt x="93" y="253"/>
                  <a:pt x="93" y="253"/>
                </a:cubicBezTo>
                <a:cubicBezTo>
                  <a:pt x="93" y="254"/>
                  <a:pt x="93" y="254"/>
                  <a:pt x="93" y="254"/>
                </a:cubicBezTo>
                <a:cubicBezTo>
                  <a:pt x="93" y="254"/>
                  <a:pt x="93" y="255"/>
                  <a:pt x="93" y="255"/>
                </a:cubicBezTo>
                <a:cubicBezTo>
                  <a:pt x="92" y="257"/>
                  <a:pt x="90" y="253"/>
                  <a:pt x="90" y="253"/>
                </a:cubicBezTo>
                <a:cubicBezTo>
                  <a:pt x="89" y="252"/>
                  <a:pt x="89" y="252"/>
                  <a:pt x="88" y="252"/>
                </a:cubicBezTo>
                <a:cubicBezTo>
                  <a:pt x="87" y="252"/>
                  <a:pt x="87" y="251"/>
                  <a:pt x="86" y="251"/>
                </a:cubicBezTo>
                <a:cubicBezTo>
                  <a:pt x="85" y="250"/>
                  <a:pt x="85" y="250"/>
                  <a:pt x="84" y="250"/>
                </a:cubicBezTo>
                <a:cubicBezTo>
                  <a:pt x="83" y="250"/>
                  <a:pt x="82" y="249"/>
                  <a:pt x="82" y="249"/>
                </a:cubicBezTo>
                <a:cubicBezTo>
                  <a:pt x="81" y="249"/>
                  <a:pt x="82" y="249"/>
                  <a:pt x="81" y="248"/>
                </a:cubicBezTo>
                <a:cubicBezTo>
                  <a:pt x="81" y="248"/>
                  <a:pt x="82" y="248"/>
                  <a:pt x="82" y="248"/>
                </a:cubicBezTo>
                <a:cubicBezTo>
                  <a:pt x="81" y="247"/>
                  <a:pt x="80" y="247"/>
                  <a:pt x="80" y="247"/>
                </a:cubicBezTo>
                <a:cubicBezTo>
                  <a:pt x="79" y="246"/>
                  <a:pt x="79" y="246"/>
                  <a:pt x="78" y="246"/>
                </a:cubicBezTo>
                <a:cubicBezTo>
                  <a:pt x="78" y="245"/>
                  <a:pt x="77" y="245"/>
                  <a:pt x="77" y="245"/>
                </a:cubicBezTo>
                <a:cubicBezTo>
                  <a:pt x="76" y="244"/>
                  <a:pt x="76" y="245"/>
                  <a:pt x="75" y="245"/>
                </a:cubicBezTo>
                <a:cubicBezTo>
                  <a:pt x="74" y="245"/>
                  <a:pt x="74" y="244"/>
                  <a:pt x="73" y="244"/>
                </a:cubicBezTo>
                <a:cubicBezTo>
                  <a:pt x="73" y="244"/>
                  <a:pt x="73" y="243"/>
                  <a:pt x="73" y="243"/>
                </a:cubicBezTo>
                <a:cubicBezTo>
                  <a:pt x="72" y="243"/>
                  <a:pt x="71" y="242"/>
                  <a:pt x="71" y="241"/>
                </a:cubicBezTo>
                <a:cubicBezTo>
                  <a:pt x="70" y="241"/>
                  <a:pt x="70" y="240"/>
                  <a:pt x="69" y="240"/>
                </a:cubicBezTo>
                <a:cubicBezTo>
                  <a:pt x="69" y="240"/>
                  <a:pt x="69" y="240"/>
                  <a:pt x="69" y="241"/>
                </a:cubicBezTo>
                <a:cubicBezTo>
                  <a:pt x="69" y="241"/>
                  <a:pt x="69" y="241"/>
                  <a:pt x="69" y="241"/>
                </a:cubicBezTo>
                <a:cubicBezTo>
                  <a:pt x="69" y="241"/>
                  <a:pt x="68" y="241"/>
                  <a:pt x="68" y="241"/>
                </a:cubicBezTo>
                <a:cubicBezTo>
                  <a:pt x="68" y="241"/>
                  <a:pt x="68" y="241"/>
                  <a:pt x="67" y="241"/>
                </a:cubicBezTo>
                <a:cubicBezTo>
                  <a:pt x="66" y="241"/>
                  <a:pt x="66" y="240"/>
                  <a:pt x="66" y="240"/>
                </a:cubicBezTo>
                <a:cubicBezTo>
                  <a:pt x="66" y="239"/>
                  <a:pt x="66" y="239"/>
                  <a:pt x="66" y="239"/>
                </a:cubicBezTo>
                <a:cubicBezTo>
                  <a:pt x="66" y="239"/>
                  <a:pt x="66" y="238"/>
                  <a:pt x="66" y="238"/>
                </a:cubicBezTo>
                <a:cubicBezTo>
                  <a:pt x="67" y="238"/>
                  <a:pt x="66" y="237"/>
                  <a:pt x="66" y="237"/>
                </a:cubicBezTo>
                <a:cubicBezTo>
                  <a:pt x="65" y="237"/>
                  <a:pt x="65" y="236"/>
                  <a:pt x="65" y="235"/>
                </a:cubicBezTo>
                <a:cubicBezTo>
                  <a:pt x="65" y="235"/>
                  <a:pt x="65" y="234"/>
                  <a:pt x="65" y="234"/>
                </a:cubicBezTo>
                <a:cubicBezTo>
                  <a:pt x="64" y="233"/>
                  <a:pt x="64" y="233"/>
                  <a:pt x="63" y="232"/>
                </a:cubicBezTo>
                <a:cubicBezTo>
                  <a:pt x="63" y="232"/>
                  <a:pt x="63" y="231"/>
                  <a:pt x="62" y="231"/>
                </a:cubicBezTo>
                <a:cubicBezTo>
                  <a:pt x="62" y="231"/>
                  <a:pt x="62" y="230"/>
                  <a:pt x="61" y="229"/>
                </a:cubicBezTo>
                <a:cubicBezTo>
                  <a:pt x="61" y="229"/>
                  <a:pt x="61" y="228"/>
                  <a:pt x="61" y="228"/>
                </a:cubicBezTo>
                <a:cubicBezTo>
                  <a:pt x="60" y="227"/>
                  <a:pt x="61" y="227"/>
                  <a:pt x="61" y="227"/>
                </a:cubicBezTo>
                <a:cubicBezTo>
                  <a:pt x="62" y="227"/>
                  <a:pt x="63" y="227"/>
                  <a:pt x="63" y="227"/>
                </a:cubicBezTo>
                <a:cubicBezTo>
                  <a:pt x="64" y="226"/>
                  <a:pt x="64" y="227"/>
                  <a:pt x="64" y="228"/>
                </a:cubicBezTo>
                <a:cubicBezTo>
                  <a:pt x="64" y="228"/>
                  <a:pt x="65" y="229"/>
                  <a:pt x="65" y="229"/>
                </a:cubicBezTo>
                <a:cubicBezTo>
                  <a:pt x="66" y="230"/>
                  <a:pt x="66" y="230"/>
                  <a:pt x="67" y="230"/>
                </a:cubicBezTo>
                <a:cubicBezTo>
                  <a:pt x="68" y="229"/>
                  <a:pt x="67" y="229"/>
                  <a:pt x="67" y="228"/>
                </a:cubicBezTo>
                <a:cubicBezTo>
                  <a:pt x="68" y="228"/>
                  <a:pt x="69" y="228"/>
                  <a:pt x="69" y="228"/>
                </a:cubicBezTo>
                <a:cubicBezTo>
                  <a:pt x="69" y="228"/>
                  <a:pt x="70" y="227"/>
                  <a:pt x="70" y="227"/>
                </a:cubicBezTo>
                <a:cubicBezTo>
                  <a:pt x="71" y="226"/>
                  <a:pt x="70" y="225"/>
                  <a:pt x="70" y="225"/>
                </a:cubicBezTo>
                <a:cubicBezTo>
                  <a:pt x="69" y="225"/>
                  <a:pt x="69" y="224"/>
                  <a:pt x="69" y="224"/>
                </a:cubicBezTo>
                <a:cubicBezTo>
                  <a:pt x="68" y="223"/>
                  <a:pt x="68" y="222"/>
                  <a:pt x="68" y="221"/>
                </a:cubicBezTo>
                <a:cubicBezTo>
                  <a:pt x="68" y="221"/>
                  <a:pt x="68" y="221"/>
                  <a:pt x="67" y="221"/>
                </a:cubicBezTo>
                <a:cubicBezTo>
                  <a:pt x="67" y="221"/>
                  <a:pt x="66" y="220"/>
                  <a:pt x="66" y="220"/>
                </a:cubicBezTo>
                <a:cubicBezTo>
                  <a:pt x="65" y="220"/>
                  <a:pt x="66" y="220"/>
                  <a:pt x="65" y="220"/>
                </a:cubicBezTo>
                <a:cubicBezTo>
                  <a:pt x="65" y="219"/>
                  <a:pt x="64" y="219"/>
                  <a:pt x="63" y="218"/>
                </a:cubicBezTo>
                <a:cubicBezTo>
                  <a:pt x="63" y="218"/>
                  <a:pt x="63" y="217"/>
                  <a:pt x="63" y="216"/>
                </a:cubicBezTo>
                <a:cubicBezTo>
                  <a:pt x="62" y="216"/>
                  <a:pt x="63" y="215"/>
                  <a:pt x="63" y="216"/>
                </a:cubicBezTo>
                <a:cubicBezTo>
                  <a:pt x="64" y="216"/>
                  <a:pt x="64" y="215"/>
                  <a:pt x="63" y="215"/>
                </a:cubicBezTo>
                <a:cubicBezTo>
                  <a:pt x="63" y="214"/>
                  <a:pt x="62" y="213"/>
                  <a:pt x="62" y="212"/>
                </a:cubicBezTo>
                <a:cubicBezTo>
                  <a:pt x="62" y="211"/>
                  <a:pt x="63" y="212"/>
                  <a:pt x="63" y="212"/>
                </a:cubicBezTo>
                <a:cubicBezTo>
                  <a:pt x="64" y="211"/>
                  <a:pt x="64" y="211"/>
                  <a:pt x="65" y="211"/>
                </a:cubicBezTo>
                <a:cubicBezTo>
                  <a:pt x="65" y="211"/>
                  <a:pt x="66" y="212"/>
                  <a:pt x="66" y="211"/>
                </a:cubicBezTo>
                <a:cubicBezTo>
                  <a:pt x="66" y="211"/>
                  <a:pt x="67" y="210"/>
                  <a:pt x="67" y="210"/>
                </a:cubicBezTo>
                <a:cubicBezTo>
                  <a:pt x="66" y="209"/>
                  <a:pt x="67" y="210"/>
                  <a:pt x="67" y="209"/>
                </a:cubicBezTo>
                <a:cubicBezTo>
                  <a:pt x="67" y="209"/>
                  <a:pt x="67" y="208"/>
                  <a:pt x="67" y="208"/>
                </a:cubicBezTo>
                <a:cubicBezTo>
                  <a:pt x="66" y="207"/>
                  <a:pt x="67" y="207"/>
                  <a:pt x="68" y="207"/>
                </a:cubicBezTo>
                <a:cubicBezTo>
                  <a:pt x="68" y="207"/>
                  <a:pt x="68" y="207"/>
                  <a:pt x="68" y="206"/>
                </a:cubicBezTo>
                <a:cubicBezTo>
                  <a:pt x="68" y="206"/>
                  <a:pt x="68" y="206"/>
                  <a:pt x="68" y="205"/>
                </a:cubicBezTo>
                <a:cubicBezTo>
                  <a:pt x="69" y="205"/>
                  <a:pt x="69" y="204"/>
                  <a:pt x="69" y="204"/>
                </a:cubicBezTo>
                <a:cubicBezTo>
                  <a:pt x="69" y="204"/>
                  <a:pt x="70" y="205"/>
                  <a:pt x="70" y="204"/>
                </a:cubicBezTo>
                <a:cubicBezTo>
                  <a:pt x="71" y="204"/>
                  <a:pt x="71" y="203"/>
                  <a:pt x="71" y="203"/>
                </a:cubicBezTo>
                <a:cubicBezTo>
                  <a:pt x="71" y="202"/>
                  <a:pt x="71" y="201"/>
                  <a:pt x="71" y="201"/>
                </a:cubicBezTo>
                <a:cubicBezTo>
                  <a:pt x="71" y="201"/>
                  <a:pt x="71" y="201"/>
                  <a:pt x="72" y="201"/>
                </a:cubicBezTo>
                <a:cubicBezTo>
                  <a:pt x="71" y="201"/>
                  <a:pt x="70" y="200"/>
                  <a:pt x="71" y="199"/>
                </a:cubicBezTo>
                <a:cubicBezTo>
                  <a:pt x="71" y="199"/>
                  <a:pt x="71" y="199"/>
                  <a:pt x="71" y="198"/>
                </a:cubicBezTo>
                <a:cubicBezTo>
                  <a:pt x="71" y="198"/>
                  <a:pt x="71" y="197"/>
                  <a:pt x="71" y="197"/>
                </a:cubicBezTo>
                <a:cubicBezTo>
                  <a:pt x="71" y="197"/>
                  <a:pt x="72" y="195"/>
                  <a:pt x="71" y="195"/>
                </a:cubicBezTo>
                <a:cubicBezTo>
                  <a:pt x="70" y="195"/>
                  <a:pt x="70" y="194"/>
                  <a:pt x="69" y="195"/>
                </a:cubicBezTo>
                <a:cubicBezTo>
                  <a:pt x="69" y="195"/>
                  <a:pt x="69" y="196"/>
                  <a:pt x="68" y="196"/>
                </a:cubicBezTo>
                <a:cubicBezTo>
                  <a:pt x="68" y="196"/>
                  <a:pt x="67" y="193"/>
                  <a:pt x="67" y="194"/>
                </a:cubicBezTo>
                <a:cubicBezTo>
                  <a:pt x="66" y="195"/>
                  <a:pt x="66" y="194"/>
                  <a:pt x="66" y="194"/>
                </a:cubicBezTo>
                <a:cubicBezTo>
                  <a:pt x="65" y="193"/>
                  <a:pt x="65" y="194"/>
                  <a:pt x="64" y="193"/>
                </a:cubicBezTo>
                <a:cubicBezTo>
                  <a:pt x="64" y="192"/>
                  <a:pt x="64" y="191"/>
                  <a:pt x="63" y="191"/>
                </a:cubicBezTo>
                <a:cubicBezTo>
                  <a:pt x="62" y="191"/>
                  <a:pt x="62" y="191"/>
                  <a:pt x="62" y="191"/>
                </a:cubicBezTo>
                <a:cubicBezTo>
                  <a:pt x="62" y="191"/>
                  <a:pt x="62" y="191"/>
                  <a:pt x="62" y="190"/>
                </a:cubicBezTo>
                <a:cubicBezTo>
                  <a:pt x="61" y="190"/>
                  <a:pt x="61" y="190"/>
                  <a:pt x="60" y="190"/>
                </a:cubicBezTo>
                <a:cubicBezTo>
                  <a:pt x="59" y="190"/>
                  <a:pt x="59" y="190"/>
                  <a:pt x="58" y="190"/>
                </a:cubicBezTo>
                <a:cubicBezTo>
                  <a:pt x="57" y="191"/>
                  <a:pt x="57" y="191"/>
                  <a:pt x="56" y="191"/>
                </a:cubicBezTo>
                <a:cubicBezTo>
                  <a:pt x="55" y="190"/>
                  <a:pt x="55" y="191"/>
                  <a:pt x="55" y="191"/>
                </a:cubicBezTo>
                <a:cubicBezTo>
                  <a:pt x="54" y="192"/>
                  <a:pt x="53" y="192"/>
                  <a:pt x="53" y="192"/>
                </a:cubicBezTo>
                <a:cubicBezTo>
                  <a:pt x="52" y="193"/>
                  <a:pt x="52" y="193"/>
                  <a:pt x="52" y="193"/>
                </a:cubicBezTo>
                <a:cubicBezTo>
                  <a:pt x="51" y="193"/>
                  <a:pt x="51" y="193"/>
                  <a:pt x="51" y="194"/>
                </a:cubicBezTo>
                <a:cubicBezTo>
                  <a:pt x="51" y="194"/>
                  <a:pt x="51" y="194"/>
                  <a:pt x="51" y="195"/>
                </a:cubicBezTo>
                <a:cubicBezTo>
                  <a:pt x="50" y="195"/>
                  <a:pt x="49" y="194"/>
                  <a:pt x="49" y="195"/>
                </a:cubicBezTo>
                <a:cubicBezTo>
                  <a:pt x="49" y="195"/>
                  <a:pt x="49" y="195"/>
                  <a:pt x="48" y="195"/>
                </a:cubicBezTo>
                <a:cubicBezTo>
                  <a:pt x="47" y="195"/>
                  <a:pt x="47" y="196"/>
                  <a:pt x="46" y="195"/>
                </a:cubicBezTo>
                <a:cubicBezTo>
                  <a:pt x="46" y="195"/>
                  <a:pt x="45" y="196"/>
                  <a:pt x="44" y="195"/>
                </a:cubicBezTo>
                <a:cubicBezTo>
                  <a:pt x="44" y="195"/>
                  <a:pt x="43" y="195"/>
                  <a:pt x="43" y="195"/>
                </a:cubicBezTo>
                <a:cubicBezTo>
                  <a:pt x="43" y="195"/>
                  <a:pt x="42" y="195"/>
                  <a:pt x="42" y="195"/>
                </a:cubicBezTo>
                <a:cubicBezTo>
                  <a:pt x="41" y="195"/>
                  <a:pt x="41" y="194"/>
                  <a:pt x="40" y="194"/>
                </a:cubicBezTo>
                <a:cubicBezTo>
                  <a:pt x="39" y="194"/>
                  <a:pt x="39" y="194"/>
                  <a:pt x="38" y="193"/>
                </a:cubicBezTo>
                <a:cubicBezTo>
                  <a:pt x="38" y="193"/>
                  <a:pt x="37" y="193"/>
                  <a:pt x="37" y="193"/>
                </a:cubicBezTo>
                <a:cubicBezTo>
                  <a:pt x="36" y="192"/>
                  <a:pt x="36" y="192"/>
                  <a:pt x="36" y="191"/>
                </a:cubicBezTo>
                <a:cubicBezTo>
                  <a:pt x="36" y="190"/>
                  <a:pt x="35" y="191"/>
                  <a:pt x="35" y="191"/>
                </a:cubicBezTo>
                <a:cubicBezTo>
                  <a:pt x="34" y="192"/>
                  <a:pt x="32" y="192"/>
                  <a:pt x="32" y="191"/>
                </a:cubicBezTo>
                <a:cubicBezTo>
                  <a:pt x="31" y="189"/>
                  <a:pt x="30" y="190"/>
                  <a:pt x="29" y="189"/>
                </a:cubicBezTo>
                <a:cubicBezTo>
                  <a:pt x="29" y="188"/>
                  <a:pt x="30" y="188"/>
                  <a:pt x="29" y="188"/>
                </a:cubicBezTo>
                <a:cubicBezTo>
                  <a:pt x="29" y="187"/>
                  <a:pt x="30" y="187"/>
                  <a:pt x="30" y="187"/>
                </a:cubicBezTo>
                <a:cubicBezTo>
                  <a:pt x="30" y="187"/>
                  <a:pt x="29" y="186"/>
                  <a:pt x="29" y="186"/>
                </a:cubicBezTo>
                <a:cubicBezTo>
                  <a:pt x="29" y="186"/>
                  <a:pt x="29" y="185"/>
                  <a:pt x="29" y="185"/>
                </a:cubicBezTo>
                <a:cubicBezTo>
                  <a:pt x="29" y="184"/>
                  <a:pt x="28" y="184"/>
                  <a:pt x="28" y="183"/>
                </a:cubicBezTo>
                <a:cubicBezTo>
                  <a:pt x="27" y="183"/>
                  <a:pt x="27" y="182"/>
                  <a:pt x="26" y="182"/>
                </a:cubicBezTo>
                <a:cubicBezTo>
                  <a:pt x="26" y="182"/>
                  <a:pt x="24" y="181"/>
                  <a:pt x="24" y="181"/>
                </a:cubicBezTo>
                <a:cubicBezTo>
                  <a:pt x="24" y="182"/>
                  <a:pt x="23" y="181"/>
                  <a:pt x="23" y="181"/>
                </a:cubicBezTo>
                <a:cubicBezTo>
                  <a:pt x="22" y="180"/>
                  <a:pt x="22" y="180"/>
                  <a:pt x="21" y="179"/>
                </a:cubicBezTo>
                <a:cubicBezTo>
                  <a:pt x="21" y="179"/>
                  <a:pt x="20" y="179"/>
                  <a:pt x="19" y="179"/>
                </a:cubicBezTo>
                <a:cubicBezTo>
                  <a:pt x="19" y="179"/>
                  <a:pt x="17" y="179"/>
                  <a:pt x="18" y="180"/>
                </a:cubicBezTo>
                <a:cubicBezTo>
                  <a:pt x="17" y="179"/>
                  <a:pt x="17" y="179"/>
                  <a:pt x="17" y="179"/>
                </a:cubicBezTo>
                <a:cubicBezTo>
                  <a:pt x="17" y="178"/>
                  <a:pt x="16" y="178"/>
                  <a:pt x="16" y="178"/>
                </a:cubicBezTo>
                <a:cubicBezTo>
                  <a:pt x="15" y="178"/>
                  <a:pt x="15" y="178"/>
                  <a:pt x="15" y="178"/>
                </a:cubicBezTo>
                <a:cubicBezTo>
                  <a:pt x="15" y="178"/>
                  <a:pt x="14" y="178"/>
                  <a:pt x="14" y="178"/>
                </a:cubicBezTo>
                <a:cubicBezTo>
                  <a:pt x="14" y="178"/>
                  <a:pt x="12" y="177"/>
                  <a:pt x="12" y="177"/>
                </a:cubicBezTo>
                <a:cubicBezTo>
                  <a:pt x="13" y="177"/>
                  <a:pt x="13" y="177"/>
                  <a:pt x="13" y="177"/>
                </a:cubicBezTo>
                <a:cubicBezTo>
                  <a:pt x="13" y="176"/>
                  <a:pt x="13" y="176"/>
                  <a:pt x="13" y="176"/>
                </a:cubicBezTo>
                <a:cubicBezTo>
                  <a:pt x="14" y="176"/>
                  <a:pt x="14" y="176"/>
                  <a:pt x="15" y="175"/>
                </a:cubicBezTo>
                <a:cubicBezTo>
                  <a:pt x="15" y="175"/>
                  <a:pt x="16" y="176"/>
                  <a:pt x="16" y="176"/>
                </a:cubicBezTo>
                <a:cubicBezTo>
                  <a:pt x="17" y="176"/>
                  <a:pt x="17" y="176"/>
                  <a:pt x="17" y="176"/>
                </a:cubicBezTo>
                <a:cubicBezTo>
                  <a:pt x="17" y="175"/>
                  <a:pt x="18" y="175"/>
                  <a:pt x="18" y="175"/>
                </a:cubicBezTo>
                <a:cubicBezTo>
                  <a:pt x="18" y="175"/>
                  <a:pt x="18" y="175"/>
                  <a:pt x="19" y="174"/>
                </a:cubicBezTo>
                <a:cubicBezTo>
                  <a:pt x="19" y="174"/>
                  <a:pt x="17" y="173"/>
                  <a:pt x="17" y="173"/>
                </a:cubicBezTo>
                <a:cubicBezTo>
                  <a:pt x="17" y="173"/>
                  <a:pt x="16" y="172"/>
                  <a:pt x="16" y="172"/>
                </a:cubicBezTo>
                <a:cubicBezTo>
                  <a:pt x="16" y="171"/>
                  <a:pt x="16" y="171"/>
                  <a:pt x="16" y="170"/>
                </a:cubicBezTo>
                <a:cubicBezTo>
                  <a:pt x="16" y="170"/>
                  <a:pt x="15" y="170"/>
                  <a:pt x="15" y="169"/>
                </a:cubicBezTo>
                <a:cubicBezTo>
                  <a:pt x="15" y="169"/>
                  <a:pt x="15" y="169"/>
                  <a:pt x="15" y="168"/>
                </a:cubicBezTo>
                <a:cubicBezTo>
                  <a:pt x="15" y="168"/>
                  <a:pt x="15" y="167"/>
                  <a:pt x="14" y="167"/>
                </a:cubicBezTo>
                <a:cubicBezTo>
                  <a:pt x="14" y="167"/>
                  <a:pt x="14" y="167"/>
                  <a:pt x="14" y="166"/>
                </a:cubicBezTo>
                <a:cubicBezTo>
                  <a:pt x="13" y="166"/>
                  <a:pt x="13" y="165"/>
                  <a:pt x="13" y="164"/>
                </a:cubicBezTo>
                <a:cubicBezTo>
                  <a:pt x="13" y="164"/>
                  <a:pt x="13" y="163"/>
                  <a:pt x="13" y="163"/>
                </a:cubicBezTo>
                <a:cubicBezTo>
                  <a:pt x="13" y="162"/>
                  <a:pt x="11" y="161"/>
                  <a:pt x="9" y="161"/>
                </a:cubicBezTo>
                <a:cubicBezTo>
                  <a:pt x="9" y="161"/>
                  <a:pt x="8" y="160"/>
                  <a:pt x="8" y="160"/>
                </a:cubicBezTo>
                <a:cubicBezTo>
                  <a:pt x="7" y="161"/>
                  <a:pt x="6" y="160"/>
                  <a:pt x="6" y="160"/>
                </a:cubicBezTo>
                <a:cubicBezTo>
                  <a:pt x="6" y="160"/>
                  <a:pt x="6" y="161"/>
                  <a:pt x="6" y="161"/>
                </a:cubicBezTo>
                <a:cubicBezTo>
                  <a:pt x="6" y="161"/>
                  <a:pt x="6" y="161"/>
                  <a:pt x="6" y="162"/>
                </a:cubicBezTo>
                <a:cubicBezTo>
                  <a:pt x="6" y="162"/>
                  <a:pt x="5" y="162"/>
                  <a:pt x="5" y="162"/>
                </a:cubicBezTo>
                <a:cubicBezTo>
                  <a:pt x="5" y="162"/>
                  <a:pt x="4" y="162"/>
                  <a:pt x="4" y="161"/>
                </a:cubicBezTo>
                <a:cubicBezTo>
                  <a:pt x="3" y="161"/>
                  <a:pt x="3" y="160"/>
                  <a:pt x="3" y="160"/>
                </a:cubicBezTo>
                <a:cubicBezTo>
                  <a:pt x="2" y="159"/>
                  <a:pt x="2" y="159"/>
                  <a:pt x="2" y="158"/>
                </a:cubicBezTo>
                <a:cubicBezTo>
                  <a:pt x="1" y="158"/>
                  <a:pt x="2" y="158"/>
                  <a:pt x="2" y="157"/>
                </a:cubicBezTo>
                <a:cubicBezTo>
                  <a:pt x="3" y="157"/>
                  <a:pt x="1" y="156"/>
                  <a:pt x="1" y="155"/>
                </a:cubicBezTo>
                <a:cubicBezTo>
                  <a:pt x="0" y="155"/>
                  <a:pt x="0" y="154"/>
                  <a:pt x="0" y="154"/>
                </a:cubicBezTo>
                <a:cubicBezTo>
                  <a:pt x="0" y="154"/>
                  <a:pt x="0" y="153"/>
                  <a:pt x="0" y="153"/>
                </a:cubicBezTo>
                <a:cubicBezTo>
                  <a:pt x="0" y="153"/>
                  <a:pt x="0" y="152"/>
                  <a:pt x="0" y="152"/>
                </a:cubicBezTo>
                <a:cubicBezTo>
                  <a:pt x="1" y="152"/>
                  <a:pt x="1" y="152"/>
                  <a:pt x="2" y="151"/>
                </a:cubicBezTo>
                <a:cubicBezTo>
                  <a:pt x="2" y="150"/>
                  <a:pt x="1" y="149"/>
                  <a:pt x="1" y="149"/>
                </a:cubicBezTo>
                <a:cubicBezTo>
                  <a:pt x="0" y="148"/>
                  <a:pt x="1" y="147"/>
                  <a:pt x="1" y="146"/>
                </a:cubicBezTo>
                <a:cubicBezTo>
                  <a:pt x="1" y="145"/>
                  <a:pt x="1" y="145"/>
                  <a:pt x="2" y="145"/>
                </a:cubicBezTo>
                <a:cubicBezTo>
                  <a:pt x="3" y="144"/>
                  <a:pt x="4" y="145"/>
                  <a:pt x="4" y="144"/>
                </a:cubicBezTo>
                <a:cubicBezTo>
                  <a:pt x="5" y="144"/>
                  <a:pt x="5" y="143"/>
                  <a:pt x="6" y="143"/>
                </a:cubicBezTo>
                <a:cubicBezTo>
                  <a:pt x="6" y="143"/>
                  <a:pt x="6" y="142"/>
                  <a:pt x="7" y="142"/>
                </a:cubicBezTo>
                <a:cubicBezTo>
                  <a:pt x="7" y="142"/>
                  <a:pt x="8" y="142"/>
                  <a:pt x="8" y="142"/>
                </a:cubicBezTo>
                <a:cubicBezTo>
                  <a:pt x="8" y="142"/>
                  <a:pt x="7" y="141"/>
                  <a:pt x="7" y="141"/>
                </a:cubicBezTo>
                <a:cubicBezTo>
                  <a:pt x="7" y="140"/>
                  <a:pt x="7" y="140"/>
                  <a:pt x="8" y="140"/>
                </a:cubicBezTo>
                <a:cubicBezTo>
                  <a:pt x="9" y="141"/>
                  <a:pt x="9" y="141"/>
                  <a:pt x="10" y="141"/>
                </a:cubicBezTo>
                <a:cubicBezTo>
                  <a:pt x="10" y="141"/>
                  <a:pt x="11" y="141"/>
                  <a:pt x="11" y="141"/>
                </a:cubicBezTo>
                <a:cubicBezTo>
                  <a:pt x="11" y="141"/>
                  <a:pt x="11" y="140"/>
                  <a:pt x="11" y="140"/>
                </a:cubicBezTo>
                <a:cubicBezTo>
                  <a:pt x="12" y="140"/>
                  <a:pt x="13" y="139"/>
                  <a:pt x="13" y="139"/>
                </a:cubicBezTo>
                <a:cubicBezTo>
                  <a:pt x="14" y="139"/>
                  <a:pt x="14" y="140"/>
                  <a:pt x="14" y="140"/>
                </a:cubicBezTo>
                <a:cubicBezTo>
                  <a:pt x="14" y="141"/>
                  <a:pt x="15" y="141"/>
                  <a:pt x="15" y="141"/>
                </a:cubicBezTo>
                <a:cubicBezTo>
                  <a:pt x="15" y="141"/>
                  <a:pt x="15" y="141"/>
                  <a:pt x="15" y="142"/>
                </a:cubicBezTo>
                <a:cubicBezTo>
                  <a:pt x="15" y="142"/>
                  <a:pt x="15" y="143"/>
                  <a:pt x="16" y="142"/>
                </a:cubicBezTo>
                <a:cubicBezTo>
                  <a:pt x="16" y="142"/>
                  <a:pt x="17" y="143"/>
                  <a:pt x="17" y="142"/>
                </a:cubicBezTo>
                <a:cubicBezTo>
                  <a:pt x="18" y="142"/>
                  <a:pt x="18" y="141"/>
                  <a:pt x="19" y="142"/>
                </a:cubicBezTo>
                <a:cubicBezTo>
                  <a:pt x="19" y="142"/>
                  <a:pt x="20" y="142"/>
                  <a:pt x="20" y="141"/>
                </a:cubicBezTo>
                <a:cubicBezTo>
                  <a:pt x="20" y="141"/>
                  <a:pt x="20" y="141"/>
                  <a:pt x="21" y="141"/>
                </a:cubicBezTo>
                <a:cubicBezTo>
                  <a:pt x="21" y="142"/>
                  <a:pt x="21" y="142"/>
                  <a:pt x="22" y="142"/>
                </a:cubicBezTo>
                <a:cubicBezTo>
                  <a:pt x="22" y="141"/>
                  <a:pt x="22" y="141"/>
                  <a:pt x="22" y="140"/>
                </a:cubicBezTo>
                <a:cubicBezTo>
                  <a:pt x="22" y="139"/>
                  <a:pt x="23" y="139"/>
                  <a:pt x="23" y="138"/>
                </a:cubicBezTo>
                <a:cubicBezTo>
                  <a:pt x="22" y="137"/>
                  <a:pt x="23" y="137"/>
                  <a:pt x="23" y="137"/>
                </a:cubicBezTo>
                <a:cubicBezTo>
                  <a:pt x="24" y="136"/>
                  <a:pt x="23" y="136"/>
                  <a:pt x="23" y="135"/>
                </a:cubicBezTo>
                <a:cubicBezTo>
                  <a:pt x="24" y="135"/>
                  <a:pt x="25" y="134"/>
                  <a:pt x="25" y="134"/>
                </a:cubicBezTo>
                <a:cubicBezTo>
                  <a:pt x="26" y="135"/>
                  <a:pt x="26" y="135"/>
                  <a:pt x="27" y="135"/>
                </a:cubicBezTo>
                <a:cubicBezTo>
                  <a:pt x="28" y="135"/>
                  <a:pt x="28" y="135"/>
                  <a:pt x="28" y="135"/>
                </a:cubicBezTo>
                <a:cubicBezTo>
                  <a:pt x="29" y="135"/>
                  <a:pt x="29" y="135"/>
                  <a:pt x="29" y="135"/>
                </a:cubicBezTo>
                <a:cubicBezTo>
                  <a:pt x="30" y="135"/>
                  <a:pt x="31" y="135"/>
                  <a:pt x="32" y="134"/>
                </a:cubicBezTo>
                <a:cubicBezTo>
                  <a:pt x="33" y="134"/>
                  <a:pt x="33" y="134"/>
                  <a:pt x="34" y="134"/>
                </a:cubicBezTo>
                <a:cubicBezTo>
                  <a:pt x="35" y="134"/>
                  <a:pt x="35" y="134"/>
                  <a:pt x="35" y="133"/>
                </a:cubicBezTo>
                <a:cubicBezTo>
                  <a:pt x="35" y="133"/>
                  <a:pt x="36" y="132"/>
                  <a:pt x="36" y="132"/>
                </a:cubicBezTo>
                <a:cubicBezTo>
                  <a:pt x="36" y="131"/>
                  <a:pt x="35" y="131"/>
                  <a:pt x="36" y="131"/>
                </a:cubicBezTo>
                <a:cubicBezTo>
                  <a:pt x="36" y="130"/>
                  <a:pt x="37" y="130"/>
                  <a:pt x="37" y="130"/>
                </a:cubicBezTo>
                <a:cubicBezTo>
                  <a:pt x="37" y="130"/>
                  <a:pt x="37" y="130"/>
                  <a:pt x="38" y="130"/>
                </a:cubicBezTo>
                <a:cubicBezTo>
                  <a:pt x="38" y="130"/>
                  <a:pt x="38" y="129"/>
                  <a:pt x="38" y="129"/>
                </a:cubicBezTo>
                <a:cubicBezTo>
                  <a:pt x="38" y="129"/>
                  <a:pt x="39" y="129"/>
                  <a:pt x="39" y="128"/>
                </a:cubicBezTo>
                <a:cubicBezTo>
                  <a:pt x="40" y="128"/>
                  <a:pt x="40" y="128"/>
                  <a:pt x="41" y="127"/>
                </a:cubicBezTo>
                <a:cubicBezTo>
                  <a:pt x="42" y="127"/>
                  <a:pt x="42" y="127"/>
                  <a:pt x="42" y="127"/>
                </a:cubicBezTo>
                <a:cubicBezTo>
                  <a:pt x="43" y="126"/>
                  <a:pt x="43" y="126"/>
                  <a:pt x="43" y="126"/>
                </a:cubicBezTo>
                <a:cubicBezTo>
                  <a:pt x="44" y="127"/>
                  <a:pt x="44" y="126"/>
                  <a:pt x="45" y="126"/>
                </a:cubicBezTo>
                <a:cubicBezTo>
                  <a:pt x="45" y="125"/>
                  <a:pt x="46" y="125"/>
                  <a:pt x="46" y="125"/>
                </a:cubicBezTo>
                <a:cubicBezTo>
                  <a:pt x="47" y="125"/>
                  <a:pt x="47" y="124"/>
                  <a:pt x="47" y="124"/>
                </a:cubicBezTo>
                <a:cubicBezTo>
                  <a:pt x="48" y="123"/>
                  <a:pt x="49" y="124"/>
                  <a:pt x="50" y="124"/>
                </a:cubicBezTo>
                <a:cubicBezTo>
                  <a:pt x="51" y="123"/>
                  <a:pt x="50" y="122"/>
                  <a:pt x="50" y="122"/>
                </a:cubicBezTo>
                <a:cubicBezTo>
                  <a:pt x="50" y="122"/>
                  <a:pt x="50" y="122"/>
                  <a:pt x="50" y="121"/>
                </a:cubicBezTo>
                <a:cubicBezTo>
                  <a:pt x="50" y="121"/>
                  <a:pt x="49" y="121"/>
                  <a:pt x="49" y="120"/>
                </a:cubicBezTo>
                <a:cubicBezTo>
                  <a:pt x="49" y="120"/>
                  <a:pt x="49" y="119"/>
                  <a:pt x="48" y="118"/>
                </a:cubicBezTo>
                <a:cubicBezTo>
                  <a:pt x="48" y="118"/>
                  <a:pt x="47" y="117"/>
                  <a:pt x="47" y="116"/>
                </a:cubicBezTo>
                <a:cubicBezTo>
                  <a:pt x="48" y="116"/>
                  <a:pt x="47" y="115"/>
                  <a:pt x="48" y="115"/>
                </a:cubicBezTo>
                <a:cubicBezTo>
                  <a:pt x="48" y="115"/>
                  <a:pt x="51" y="115"/>
                  <a:pt x="50" y="114"/>
                </a:cubicBezTo>
                <a:cubicBezTo>
                  <a:pt x="49" y="114"/>
                  <a:pt x="48" y="114"/>
                  <a:pt x="48" y="113"/>
                </a:cubicBezTo>
                <a:cubicBezTo>
                  <a:pt x="48" y="113"/>
                  <a:pt x="49" y="112"/>
                  <a:pt x="49" y="112"/>
                </a:cubicBezTo>
                <a:cubicBezTo>
                  <a:pt x="50" y="112"/>
                  <a:pt x="50" y="112"/>
                  <a:pt x="51" y="112"/>
                </a:cubicBezTo>
                <a:cubicBezTo>
                  <a:pt x="52" y="112"/>
                  <a:pt x="51" y="111"/>
                  <a:pt x="51" y="110"/>
                </a:cubicBezTo>
                <a:cubicBezTo>
                  <a:pt x="50" y="110"/>
                  <a:pt x="50" y="110"/>
                  <a:pt x="49" y="110"/>
                </a:cubicBezTo>
                <a:cubicBezTo>
                  <a:pt x="49" y="109"/>
                  <a:pt x="50" y="109"/>
                  <a:pt x="49" y="108"/>
                </a:cubicBezTo>
                <a:cubicBezTo>
                  <a:pt x="49" y="107"/>
                  <a:pt x="48" y="107"/>
                  <a:pt x="48" y="106"/>
                </a:cubicBezTo>
                <a:cubicBezTo>
                  <a:pt x="47" y="105"/>
                  <a:pt x="47" y="105"/>
                  <a:pt x="46" y="104"/>
                </a:cubicBezTo>
                <a:cubicBezTo>
                  <a:pt x="45" y="103"/>
                  <a:pt x="44" y="102"/>
                  <a:pt x="44" y="100"/>
                </a:cubicBezTo>
                <a:cubicBezTo>
                  <a:pt x="44" y="99"/>
                  <a:pt x="43" y="99"/>
                  <a:pt x="43" y="98"/>
                </a:cubicBezTo>
                <a:cubicBezTo>
                  <a:pt x="42" y="97"/>
                  <a:pt x="43" y="97"/>
                  <a:pt x="42" y="96"/>
                </a:cubicBezTo>
                <a:cubicBezTo>
                  <a:pt x="42" y="95"/>
                  <a:pt x="42" y="95"/>
                  <a:pt x="43" y="95"/>
                </a:cubicBezTo>
                <a:cubicBezTo>
                  <a:pt x="44" y="95"/>
                  <a:pt x="42" y="94"/>
                  <a:pt x="42" y="94"/>
                </a:cubicBezTo>
                <a:cubicBezTo>
                  <a:pt x="41" y="94"/>
                  <a:pt x="40" y="93"/>
                  <a:pt x="39" y="94"/>
                </a:cubicBezTo>
                <a:cubicBezTo>
                  <a:pt x="39" y="94"/>
                  <a:pt x="38" y="94"/>
                  <a:pt x="37" y="93"/>
                </a:cubicBezTo>
                <a:cubicBezTo>
                  <a:pt x="36" y="93"/>
                  <a:pt x="37" y="92"/>
                  <a:pt x="38" y="92"/>
                </a:cubicBezTo>
                <a:cubicBezTo>
                  <a:pt x="38" y="91"/>
                  <a:pt x="38" y="91"/>
                  <a:pt x="39" y="91"/>
                </a:cubicBezTo>
                <a:cubicBezTo>
                  <a:pt x="39" y="91"/>
                  <a:pt x="40" y="91"/>
                  <a:pt x="40" y="91"/>
                </a:cubicBezTo>
                <a:cubicBezTo>
                  <a:pt x="40" y="91"/>
                  <a:pt x="41" y="91"/>
                  <a:pt x="41" y="91"/>
                </a:cubicBezTo>
                <a:cubicBezTo>
                  <a:pt x="41" y="91"/>
                  <a:pt x="41" y="90"/>
                  <a:pt x="41" y="90"/>
                </a:cubicBezTo>
                <a:cubicBezTo>
                  <a:pt x="42" y="90"/>
                  <a:pt x="42" y="90"/>
                  <a:pt x="42" y="90"/>
                </a:cubicBezTo>
                <a:cubicBezTo>
                  <a:pt x="43" y="90"/>
                  <a:pt x="43" y="90"/>
                  <a:pt x="44" y="90"/>
                </a:cubicBezTo>
                <a:cubicBezTo>
                  <a:pt x="44" y="90"/>
                  <a:pt x="44" y="90"/>
                  <a:pt x="45" y="90"/>
                </a:cubicBezTo>
                <a:cubicBezTo>
                  <a:pt x="46" y="90"/>
                  <a:pt x="46" y="89"/>
                  <a:pt x="47" y="89"/>
                </a:cubicBezTo>
                <a:cubicBezTo>
                  <a:pt x="48" y="89"/>
                  <a:pt x="49" y="89"/>
                  <a:pt x="50" y="88"/>
                </a:cubicBezTo>
                <a:cubicBezTo>
                  <a:pt x="50" y="88"/>
                  <a:pt x="51" y="88"/>
                  <a:pt x="51" y="88"/>
                </a:cubicBezTo>
                <a:cubicBezTo>
                  <a:pt x="52" y="88"/>
                  <a:pt x="52" y="89"/>
                  <a:pt x="53" y="89"/>
                </a:cubicBezTo>
                <a:cubicBezTo>
                  <a:pt x="53" y="89"/>
                  <a:pt x="54" y="90"/>
                  <a:pt x="54" y="90"/>
                </a:cubicBezTo>
                <a:cubicBezTo>
                  <a:pt x="55" y="90"/>
                  <a:pt x="56" y="89"/>
                  <a:pt x="56" y="89"/>
                </a:cubicBezTo>
                <a:cubicBezTo>
                  <a:pt x="57" y="89"/>
                  <a:pt x="57" y="89"/>
                  <a:pt x="58" y="90"/>
                </a:cubicBezTo>
                <a:cubicBezTo>
                  <a:pt x="59" y="90"/>
                  <a:pt x="60" y="91"/>
                  <a:pt x="60" y="89"/>
                </a:cubicBezTo>
                <a:cubicBezTo>
                  <a:pt x="59" y="88"/>
                  <a:pt x="59" y="87"/>
                  <a:pt x="58" y="86"/>
                </a:cubicBezTo>
                <a:cubicBezTo>
                  <a:pt x="56" y="86"/>
                  <a:pt x="55" y="86"/>
                  <a:pt x="55" y="84"/>
                </a:cubicBezTo>
                <a:cubicBezTo>
                  <a:pt x="56" y="83"/>
                  <a:pt x="56" y="82"/>
                  <a:pt x="56" y="80"/>
                </a:cubicBezTo>
                <a:cubicBezTo>
                  <a:pt x="55" y="78"/>
                  <a:pt x="56" y="77"/>
                  <a:pt x="56" y="75"/>
                </a:cubicBezTo>
                <a:cubicBezTo>
                  <a:pt x="56" y="74"/>
                  <a:pt x="56" y="73"/>
                  <a:pt x="56" y="72"/>
                </a:cubicBezTo>
                <a:cubicBezTo>
                  <a:pt x="56" y="71"/>
                  <a:pt x="56" y="70"/>
                  <a:pt x="56" y="70"/>
                </a:cubicBezTo>
                <a:cubicBezTo>
                  <a:pt x="56" y="69"/>
                  <a:pt x="55" y="68"/>
                  <a:pt x="55" y="68"/>
                </a:cubicBezTo>
                <a:cubicBezTo>
                  <a:pt x="56" y="67"/>
                  <a:pt x="57" y="68"/>
                  <a:pt x="57" y="68"/>
                </a:cubicBezTo>
                <a:cubicBezTo>
                  <a:pt x="58" y="69"/>
                  <a:pt x="60" y="69"/>
                  <a:pt x="62" y="69"/>
                </a:cubicBezTo>
                <a:cubicBezTo>
                  <a:pt x="63" y="70"/>
                  <a:pt x="63" y="70"/>
                  <a:pt x="64" y="70"/>
                </a:cubicBezTo>
                <a:cubicBezTo>
                  <a:pt x="65" y="70"/>
                  <a:pt x="66" y="70"/>
                  <a:pt x="66" y="70"/>
                </a:cubicBezTo>
                <a:cubicBezTo>
                  <a:pt x="67" y="70"/>
                  <a:pt x="68" y="70"/>
                  <a:pt x="69" y="70"/>
                </a:cubicBezTo>
                <a:cubicBezTo>
                  <a:pt x="69" y="70"/>
                  <a:pt x="70" y="70"/>
                  <a:pt x="71" y="70"/>
                </a:cubicBezTo>
                <a:cubicBezTo>
                  <a:pt x="72" y="71"/>
                  <a:pt x="71" y="71"/>
                  <a:pt x="72" y="72"/>
                </a:cubicBezTo>
                <a:cubicBezTo>
                  <a:pt x="72" y="72"/>
                  <a:pt x="73" y="72"/>
                  <a:pt x="73" y="72"/>
                </a:cubicBezTo>
                <a:cubicBezTo>
                  <a:pt x="73" y="71"/>
                  <a:pt x="73" y="71"/>
                  <a:pt x="74" y="71"/>
                </a:cubicBezTo>
                <a:cubicBezTo>
                  <a:pt x="74" y="71"/>
                  <a:pt x="75" y="70"/>
                  <a:pt x="75" y="69"/>
                </a:cubicBezTo>
                <a:cubicBezTo>
                  <a:pt x="76" y="69"/>
                  <a:pt x="77" y="70"/>
                  <a:pt x="77" y="69"/>
                </a:cubicBezTo>
                <a:cubicBezTo>
                  <a:pt x="78" y="69"/>
                  <a:pt x="77" y="68"/>
                  <a:pt x="78" y="68"/>
                </a:cubicBezTo>
                <a:cubicBezTo>
                  <a:pt x="79" y="67"/>
                  <a:pt x="77" y="66"/>
                  <a:pt x="77" y="65"/>
                </a:cubicBezTo>
                <a:cubicBezTo>
                  <a:pt x="76" y="64"/>
                  <a:pt x="76" y="64"/>
                  <a:pt x="76" y="63"/>
                </a:cubicBezTo>
                <a:cubicBezTo>
                  <a:pt x="75" y="62"/>
                  <a:pt x="75" y="61"/>
                  <a:pt x="74" y="61"/>
                </a:cubicBezTo>
                <a:cubicBezTo>
                  <a:pt x="74" y="60"/>
                  <a:pt x="74" y="60"/>
                  <a:pt x="74" y="59"/>
                </a:cubicBezTo>
                <a:cubicBezTo>
                  <a:pt x="74" y="58"/>
                  <a:pt x="73" y="58"/>
                  <a:pt x="74" y="57"/>
                </a:cubicBezTo>
                <a:cubicBezTo>
                  <a:pt x="74" y="56"/>
                  <a:pt x="74" y="55"/>
                  <a:pt x="74" y="55"/>
                </a:cubicBezTo>
                <a:cubicBezTo>
                  <a:pt x="74" y="54"/>
                  <a:pt x="75" y="55"/>
                  <a:pt x="76" y="55"/>
                </a:cubicBezTo>
                <a:cubicBezTo>
                  <a:pt x="77" y="55"/>
                  <a:pt x="77" y="55"/>
                  <a:pt x="78" y="55"/>
                </a:cubicBezTo>
                <a:cubicBezTo>
                  <a:pt x="78" y="54"/>
                  <a:pt x="78" y="54"/>
                  <a:pt x="78" y="54"/>
                </a:cubicBezTo>
                <a:cubicBezTo>
                  <a:pt x="79" y="54"/>
                  <a:pt x="79" y="54"/>
                  <a:pt x="79" y="54"/>
                </a:cubicBezTo>
                <a:cubicBezTo>
                  <a:pt x="80" y="54"/>
                  <a:pt x="80" y="53"/>
                  <a:pt x="80" y="53"/>
                </a:cubicBezTo>
                <a:cubicBezTo>
                  <a:pt x="80" y="52"/>
                  <a:pt x="81" y="52"/>
                  <a:pt x="81" y="51"/>
                </a:cubicBezTo>
                <a:cubicBezTo>
                  <a:pt x="81" y="51"/>
                  <a:pt x="81" y="51"/>
                  <a:pt x="81" y="51"/>
                </a:cubicBezTo>
                <a:cubicBezTo>
                  <a:pt x="81" y="50"/>
                  <a:pt x="81" y="50"/>
                  <a:pt x="81" y="50"/>
                </a:cubicBezTo>
                <a:cubicBezTo>
                  <a:pt x="81" y="50"/>
                  <a:pt x="80" y="50"/>
                  <a:pt x="80" y="49"/>
                </a:cubicBezTo>
                <a:cubicBezTo>
                  <a:pt x="80" y="48"/>
                  <a:pt x="80" y="48"/>
                  <a:pt x="80" y="47"/>
                </a:cubicBezTo>
                <a:cubicBezTo>
                  <a:pt x="80" y="47"/>
                  <a:pt x="81" y="47"/>
                  <a:pt x="82" y="47"/>
                </a:cubicBezTo>
                <a:cubicBezTo>
                  <a:pt x="83" y="47"/>
                  <a:pt x="85" y="48"/>
                  <a:pt x="86" y="47"/>
                </a:cubicBezTo>
                <a:cubicBezTo>
                  <a:pt x="86" y="47"/>
                  <a:pt x="87" y="47"/>
                  <a:pt x="88" y="47"/>
                </a:cubicBezTo>
                <a:cubicBezTo>
                  <a:pt x="89" y="47"/>
                  <a:pt x="88" y="47"/>
                  <a:pt x="89" y="48"/>
                </a:cubicBezTo>
                <a:cubicBezTo>
                  <a:pt x="89" y="48"/>
                  <a:pt x="90" y="49"/>
                  <a:pt x="89" y="49"/>
                </a:cubicBezTo>
                <a:cubicBezTo>
                  <a:pt x="89" y="49"/>
                  <a:pt x="89" y="49"/>
                  <a:pt x="89" y="50"/>
                </a:cubicBezTo>
                <a:cubicBezTo>
                  <a:pt x="89" y="51"/>
                  <a:pt x="90" y="51"/>
                  <a:pt x="91" y="51"/>
                </a:cubicBezTo>
                <a:cubicBezTo>
                  <a:pt x="92" y="51"/>
                  <a:pt x="92" y="51"/>
                  <a:pt x="92" y="52"/>
                </a:cubicBezTo>
                <a:cubicBezTo>
                  <a:pt x="92" y="52"/>
                  <a:pt x="91" y="52"/>
                  <a:pt x="92" y="53"/>
                </a:cubicBezTo>
                <a:cubicBezTo>
                  <a:pt x="92" y="53"/>
                  <a:pt x="93" y="53"/>
                  <a:pt x="93" y="54"/>
                </a:cubicBezTo>
                <a:cubicBezTo>
                  <a:pt x="94" y="54"/>
                  <a:pt x="95" y="54"/>
                  <a:pt x="95" y="54"/>
                </a:cubicBezTo>
                <a:cubicBezTo>
                  <a:pt x="96" y="55"/>
                  <a:pt x="98" y="55"/>
                  <a:pt x="98" y="56"/>
                </a:cubicBezTo>
                <a:cubicBezTo>
                  <a:pt x="99" y="57"/>
                  <a:pt x="99" y="57"/>
                  <a:pt x="100" y="57"/>
                </a:cubicBezTo>
                <a:cubicBezTo>
                  <a:pt x="100" y="58"/>
                  <a:pt x="101" y="58"/>
                  <a:pt x="102" y="58"/>
                </a:cubicBezTo>
                <a:cubicBezTo>
                  <a:pt x="103" y="58"/>
                  <a:pt x="104" y="60"/>
                  <a:pt x="106" y="59"/>
                </a:cubicBezTo>
                <a:cubicBezTo>
                  <a:pt x="107" y="58"/>
                  <a:pt x="108" y="59"/>
                  <a:pt x="109" y="60"/>
                </a:cubicBezTo>
                <a:cubicBezTo>
                  <a:pt x="110" y="60"/>
                  <a:pt x="111" y="61"/>
                  <a:pt x="112" y="61"/>
                </a:cubicBezTo>
                <a:cubicBezTo>
                  <a:pt x="112" y="61"/>
                  <a:pt x="112" y="60"/>
                  <a:pt x="113" y="61"/>
                </a:cubicBezTo>
                <a:cubicBezTo>
                  <a:pt x="113" y="61"/>
                  <a:pt x="113" y="62"/>
                  <a:pt x="114" y="62"/>
                </a:cubicBezTo>
                <a:cubicBezTo>
                  <a:pt x="115" y="62"/>
                  <a:pt x="115" y="62"/>
                  <a:pt x="116" y="63"/>
                </a:cubicBezTo>
                <a:cubicBezTo>
                  <a:pt x="116" y="63"/>
                  <a:pt x="116" y="63"/>
                  <a:pt x="116" y="63"/>
                </a:cubicBezTo>
                <a:cubicBezTo>
                  <a:pt x="116" y="63"/>
                  <a:pt x="117" y="64"/>
                  <a:pt x="117" y="64"/>
                </a:cubicBezTo>
                <a:cubicBezTo>
                  <a:pt x="117" y="64"/>
                  <a:pt x="118" y="64"/>
                  <a:pt x="118" y="65"/>
                </a:cubicBezTo>
                <a:cubicBezTo>
                  <a:pt x="118" y="65"/>
                  <a:pt x="118" y="65"/>
                  <a:pt x="118" y="66"/>
                </a:cubicBezTo>
                <a:cubicBezTo>
                  <a:pt x="119" y="66"/>
                  <a:pt x="119" y="67"/>
                  <a:pt x="119" y="67"/>
                </a:cubicBezTo>
                <a:cubicBezTo>
                  <a:pt x="120" y="68"/>
                  <a:pt x="120" y="68"/>
                  <a:pt x="121" y="69"/>
                </a:cubicBezTo>
                <a:cubicBezTo>
                  <a:pt x="121" y="69"/>
                  <a:pt x="122" y="70"/>
                  <a:pt x="122" y="70"/>
                </a:cubicBezTo>
                <a:cubicBezTo>
                  <a:pt x="123" y="70"/>
                  <a:pt x="124" y="70"/>
                  <a:pt x="124" y="71"/>
                </a:cubicBezTo>
                <a:cubicBezTo>
                  <a:pt x="125" y="71"/>
                  <a:pt x="125" y="72"/>
                  <a:pt x="125" y="72"/>
                </a:cubicBezTo>
                <a:cubicBezTo>
                  <a:pt x="126" y="73"/>
                  <a:pt x="126" y="73"/>
                  <a:pt x="126" y="74"/>
                </a:cubicBezTo>
                <a:cubicBezTo>
                  <a:pt x="127" y="74"/>
                  <a:pt x="127" y="75"/>
                  <a:pt x="127" y="75"/>
                </a:cubicBezTo>
                <a:cubicBezTo>
                  <a:pt x="127" y="76"/>
                  <a:pt x="127" y="77"/>
                  <a:pt x="127" y="78"/>
                </a:cubicBezTo>
                <a:cubicBezTo>
                  <a:pt x="127" y="78"/>
                  <a:pt x="128" y="79"/>
                  <a:pt x="128" y="79"/>
                </a:cubicBezTo>
                <a:cubicBezTo>
                  <a:pt x="129" y="80"/>
                  <a:pt x="129" y="80"/>
                  <a:pt x="129" y="81"/>
                </a:cubicBezTo>
                <a:cubicBezTo>
                  <a:pt x="129" y="81"/>
                  <a:pt x="128" y="82"/>
                  <a:pt x="128" y="82"/>
                </a:cubicBezTo>
                <a:cubicBezTo>
                  <a:pt x="128" y="84"/>
                  <a:pt x="128" y="85"/>
                  <a:pt x="128" y="86"/>
                </a:cubicBezTo>
                <a:cubicBezTo>
                  <a:pt x="129" y="87"/>
                  <a:pt x="130" y="87"/>
                  <a:pt x="130" y="88"/>
                </a:cubicBezTo>
                <a:cubicBezTo>
                  <a:pt x="130" y="88"/>
                  <a:pt x="131" y="88"/>
                  <a:pt x="131" y="89"/>
                </a:cubicBezTo>
                <a:cubicBezTo>
                  <a:pt x="131" y="89"/>
                  <a:pt x="131" y="90"/>
                  <a:pt x="132" y="89"/>
                </a:cubicBezTo>
                <a:cubicBezTo>
                  <a:pt x="133" y="89"/>
                  <a:pt x="134" y="89"/>
                  <a:pt x="134" y="90"/>
                </a:cubicBezTo>
                <a:cubicBezTo>
                  <a:pt x="135" y="90"/>
                  <a:pt x="136" y="90"/>
                  <a:pt x="136" y="90"/>
                </a:cubicBezTo>
                <a:cubicBezTo>
                  <a:pt x="137" y="90"/>
                  <a:pt x="137" y="90"/>
                  <a:pt x="138" y="91"/>
                </a:cubicBezTo>
                <a:cubicBezTo>
                  <a:pt x="139" y="91"/>
                  <a:pt x="141" y="90"/>
                  <a:pt x="143" y="91"/>
                </a:cubicBezTo>
                <a:cubicBezTo>
                  <a:pt x="144" y="91"/>
                  <a:pt x="146" y="91"/>
                  <a:pt x="147" y="91"/>
                </a:cubicBezTo>
                <a:cubicBezTo>
                  <a:pt x="149" y="91"/>
                  <a:pt x="149" y="91"/>
                  <a:pt x="150" y="91"/>
                </a:cubicBezTo>
                <a:cubicBezTo>
                  <a:pt x="151" y="91"/>
                  <a:pt x="152" y="91"/>
                  <a:pt x="153" y="92"/>
                </a:cubicBezTo>
                <a:cubicBezTo>
                  <a:pt x="155" y="92"/>
                  <a:pt x="156" y="92"/>
                  <a:pt x="158" y="93"/>
                </a:cubicBezTo>
                <a:cubicBezTo>
                  <a:pt x="159" y="94"/>
                  <a:pt x="160" y="95"/>
                  <a:pt x="161" y="95"/>
                </a:cubicBezTo>
                <a:cubicBezTo>
                  <a:pt x="162" y="95"/>
                  <a:pt x="163" y="95"/>
                  <a:pt x="163" y="96"/>
                </a:cubicBezTo>
                <a:cubicBezTo>
                  <a:pt x="164" y="96"/>
                  <a:pt x="165" y="97"/>
                  <a:pt x="165" y="97"/>
                </a:cubicBezTo>
                <a:cubicBezTo>
                  <a:pt x="166" y="97"/>
                  <a:pt x="167" y="98"/>
                  <a:pt x="168" y="98"/>
                </a:cubicBezTo>
                <a:cubicBezTo>
                  <a:pt x="169" y="99"/>
                  <a:pt x="170" y="99"/>
                  <a:pt x="170" y="99"/>
                </a:cubicBezTo>
                <a:cubicBezTo>
                  <a:pt x="171" y="99"/>
                  <a:pt x="171" y="100"/>
                  <a:pt x="172" y="99"/>
                </a:cubicBezTo>
                <a:cubicBezTo>
                  <a:pt x="173" y="99"/>
                  <a:pt x="174" y="99"/>
                  <a:pt x="174" y="99"/>
                </a:cubicBezTo>
                <a:cubicBezTo>
                  <a:pt x="175" y="99"/>
                  <a:pt x="175" y="102"/>
                  <a:pt x="176" y="102"/>
                </a:cubicBezTo>
                <a:cubicBezTo>
                  <a:pt x="176" y="102"/>
                  <a:pt x="177" y="102"/>
                  <a:pt x="177" y="103"/>
                </a:cubicBezTo>
                <a:cubicBezTo>
                  <a:pt x="178" y="103"/>
                  <a:pt x="178" y="104"/>
                  <a:pt x="179" y="105"/>
                </a:cubicBezTo>
                <a:cubicBezTo>
                  <a:pt x="180" y="106"/>
                  <a:pt x="182" y="107"/>
                  <a:pt x="183" y="109"/>
                </a:cubicBezTo>
                <a:cubicBezTo>
                  <a:pt x="183" y="110"/>
                  <a:pt x="184" y="111"/>
                  <a:pt x="186" y="112"/>
                </a:cubicBezTo>
                <a:cubicBezTo>
                  <a:pt x="187" y="113"/>
                  <a:pt x="189" y="114"/>
                  <a:pt x="189" y="115"/>
                </a:cubicBezTo>
                <a:cubicBezTo>
                  <a:pt x="190" y="115"/>
                  <a:pt x="190" y="116"/>
                  <a:pt x="190" y="116"/>
                </a:cubicBezTo>
                <a:cubicBezTo>
                  <a:pt x="191" y="116"/>
                  <a:pt x="192" y="116"/>
                  <a:pt x="192" y="116"/>
                </a:cubicBezTo>
                <a:cubicBezTo>
                  <a:pt x="193" y="116"/>
                  <a:pt x="194" y="116"/>
                  <a:pt x="195" y="116"/>
                </a:cubicBezTo>
                <a:cubicBezTo>
                  <a:pt x="196" y="116"/>
                  <a:pt x="197" y="115"/>
                  <a:pt x="198" y="115"/>
                </a:cubicBezTo>
                <a:cubicBezTo>
                  <a:pt x="200" y="116"/>
                  <a:pt x="201" y="116"/>
                  <a:pt x="203" y="116"/>
                </a:cubicBezTo>
                <a:cubicBezTo>
                  <a:pt x="207" y="117"/>
                  <a:pt x="211" y="117"/>
                  <a:pt x="215" y="118"/>
                </a:cubicBezTo>
                <a:cubicBezTo>
                  <a:pt x="216" y="118"/>
                  <a:pt x="217" y="118"/>
                  <a:pt x="218" y="118"/>
                </a:cubicBezTo>
                <a:cubicBezTo>
                  <a:pt x="219" y="118"/>
                  <a:pt x="220" y="117"/>
                  <a:pt x="221" y="117"/>
                </a:cubicBezTo>
                <a:cubicBezTo>
                  <a:pt x="223" y="116"/>
                  <a:pt x="224" y="117"/>
                  <a:pt x="226" y="117"/>
                </a:cubicBezTo>
                <a:cubicBezTo>
                  <a:pt x="228" y="117"/>
                  <a:pt x="230" y="118"/>
                  <a:pt x="232" y="118"/>
                </a:cubicBezTo>
                <a:cubicBezTo>
                  <a:pt x="234" y="118"/>
                  <a:pt x="235" y="118"/>
                  <a:pt x="237" y="118"/>
                </a:cubicBezTo>
                <a:cubicBezTo>
                  <a:pt x="239" y="119"/>
                  <a:pt x="240" y="120"/>
                  <a:pt x="241" y="121"/>
                </a:cubicBezTo>
                <a:cubicBezTo>
                  <a:pt x="243" y="122"/>
                  <a:pt x="245" y="123"/>
                  <a:pt x="246" y="123"/>
                </a:cubicBezTo>
                <a:cubicBezTo>
                  <a:pt x="248" y="123"/>
                  <a:pt x="250" y="123"/>
                  <a:pt x="252" y="124"/>
                </a:cubicBezTo>
                <a:cubicBezTo>
                  <a:pt x="254" y="124"/>
                  <a:pt x="256" y="125"/>
                  <a:pt x="258" y="126"/>
                </a:cubicBezTo>
                <a:cubicBezTo>
                  <a:pt x="260" y="127"/>
                  <a:pt x="261" y="126"/>
                  <a:pt x="263" y="126"/>
                </a:cubicBezTo>
                <a:cubicBezTo>
                  <a:pt x="264" y="126"/>
                  <a:pt x="266" y="125"/>
                  <a:pt x="266" y="126"/>
                </a:cubicBezTo>
                <a:cubicBezTo>
                  <a:pt x="267" y="127"/>
                  <a:pt x="267" y="128"/>
                  <a:pt x="268" y="128"/>
                </a:cubicBezTo>
                <a:cubicBezTo>
                  <a:pt x="270" y="128"/>
                  <a:pt x="271" y="127"/>
                  <a:pt x="272" y="129"/>
                </a:cubicBezTo>
                <a:cubicBezTo>
                  <a:pt x="271" y="128"/>
                  <a:pt x="272" y="128"/>
                  <a:pt x="272" y="128"/>
                </a:cubicBezTo>
                <a:cubicBezTo>
                  <a:pt x="272" y="127"/>
                  <a:pt x="272" y="127"/>
                  <a:pt x="273" y="127"/>
                </a:cubicBezTo>
                <a:cubicBezTo>
                  <a:pt x="274" y="126"/>
                  <a:pt x="276" y="125"/>
                  <a:pt x="277" y="124"/>
                </a:cubicBezTo>
                <a:cubicBezTo>
                  <a:pt x="278" y="124"/>
                  <a:pt x="279" y="123"/>
                  <a:pt x="280" y="123"/>
                </a:cubicBezTo>
                <a:cubicBezTo>
                  <a:pt x="282" y="122"/>
                  <a:pt x="284" y="121"/>
                  <a:pt x="286" y="120"/>
                </a:cubicBezTo>
                <a:cubicBezTo>
                  <a:pt x="288" y="120"/>
                  <a:pt x="289" y="120"/>
                  <a:pt x="291" y="120"/>
                </a:cubicBezTo>
                <a:cubicBezTo>
                  <a:pt x="292" y="120"/>
                  <a:pt x="293" y="120"/>
                  <a:pt x="294" y="119"/>
                </a:cubicBezTo>
                <a:cubicBezTo>
                  <a:pt x="294" y="119"/>
                  <a:pt x="295" y="119"/>
                  <a:pt x="296" y="119"/>
                </a:cubicBezTo>
                <a:cubicBezTo>
                  <a:pt x="297" y="119"/>
                  <a:pt x="299" y="119"/>
                  <a:pt x="301" y="120"/>
                </a:cubicBezTo>
                <a:cubicBezTo>
                  <a:pt x="301" y="120"/>
                  <a:pt x="302" y="119"/>
                  <a:pt x="303" y="119"/>
                </a:cubicBezTo>
                <a:cubicBezTo>
                  <a:pt x="303" y="119"/>
                  <a:pt x="304" y="119"/>
                  <a:pt x="304" y="119"/>
                </a:cubicBezTo>
                <a:cubicBezTo>
                  <a:pt x="306" y="119"/>
                  <a:pt x="307" y="119"/>
                  <a:pt x="309" y="118"/>
                </a:cubicBezTo>
                <a:cubicBezTo>
                  <a:pt x="310" y="117"/>
                  <a:pt x="311" y="117"/>
                  <a:pt x="313" y="116"/>
                </a:cubicBezTo>
                <a:cubicBezTo>
                  <a:pt x="313" y="116"/>
                  <a:pt x="313" y="116"/>
                  <a:pt x="314" y="115"/>
                </a:cubicBezTo>
                <a:cubicBezTo>
                  <a:pt x="314" y="114"/>
                  <a:pt x="314" y="114"/>
                  <a:pt x="315" y="114"/>
                </a:cubicBezTo>
                <a:cubicBezTo>
                  <a:pt x="315" y="113"/>
                  <a:pt x="315" y="113"/>
                  <a:pt x="315" y="112"/>
                </a:cubicBezTo>
                <a:cubicBezTo>
                  <a:pt x="315" y="111"/>
                  <a:pt x="315" y="111"/>
                  <a:pt x="316" y="110"/>
                </a:cubicBezTo>
                <a:cubicBezTo>
                  <a:pt x="316" y="109"/>
                  <a:pt x="317" y="109"/>
                  <a:pt x="318" y="109"/>
                </a:cubicBezTo>
                <a:cubicBezTo>
                  <a:pt x="318" y="109"/>
                  <a:pt x="318" y="108"/>
                  <a:pt x="319" y="108"/>
                </a:cubicBezTo>
                <a:cubicBezTo>
                  <a:pt x="319" y="108"/>
                  <a:pt x="319" y="108"/>
                  <a:pt x="319" y="108"/>
                </a:cubicBezTo>
                <a:cubicBezTo>
                  <a:pt x="320" y="108"/>
                  <a:pt x="320" y="108"/>
                  <a:pt x="320" y="107"/>
                </a:cubicBezTo>
                <a:cubicBezTo>
                  <a:pt x="321" y="107"/>
                  <a:pt x="321" y="106"/>
                  <a:pt x="321" y="106"/>
                </a:cubicBezTo>
                <a:cubicBezTo>
                  <a:pt x="322" y="106"/>
                  <a:pt x="322" y="106"/>
                  <a:pt x="322" y="105"/>
                </a:cubicBezTo>
                <a:cubicBezTo>
                  <a:pt x="322" y="105"/>
                  <a:pt x="322" y="104"/>
                  <a:pt x="321" y="104"/>
                </a:cubicBezTo>
                <a:cubicBezTo>
                  <a:pt x="321" y="103"/>
                  <a:pt x="320" y="103"/>
                  <a:pt x="319" y="102"/>
                </a:cubicBezTo>
                <a:cubicBezTo>
                  <a:pt x="319" y="102"/>
                  <a:pt x="318" y="102"/>
                  <a:pt x="317" y="101"/>
                </a:cubicBezTo>
                <a:cubicBezTo>
                  <a:pt x="317" y="101"/>
                  <a:pt x="316" y="100"/>
                  <a:pt x="316" y="99"/>
                </a:cubicBezTo>
                <a:cubicBezTo>
                  <a:pt x="315" y="99"/>
                  <a:pt x="315" y="99"/>
                  <a:pt x="314" y="98"/>
                </a:cubicBezTo>
                <a:cubicBezTo>
                  <a:pt x="314" y="98"/>
                  <a:pt x="314" y="97"/>
                  <a:pt x="314" y="97"/>
                </a:cubicBezTo>
                <a:cubicBezTo>
                  <a:pt x="314" y="96"/>
                  <a:pt x="314" y="95"/>
                  <a:pt x="314" y="94"/>
                </a:cubicBezTo>
                <a:cubicBezTo>
                  <a:pt x="314" y="93"/>
                  <a:pt x="314" y="91"/>
                  <a:pt x="316" y="90"/>
                </a:cubicBezTo>
                <a:cubicBezTo>
                  <a:pt x="316" y="90"/>
                  <a:pt x="317" y="91"/>
                  <a:pt x="318" y="91"/>
                </a:cubicBezTo>
                <a:cubicBezTo>
                  <a:pt x="319" y="91"/>
                  <a:pt x="319" y="91"/>
                  <a:pt x="320" y="91"/>
                </a:cubicBezTo>
                <a:cubicBezTo>
                  <a:pt x="321" y="92"/>
                  <a:pt x="322" y="92"/>
                  <a:pt x="322" y="93"/>
                </a:cubicBezTo>
                <a:cubicBezTo>
                  <a:pt x="323" y="93"/>
                  <a:pt x="324" y="93"/>
                  <a:pt x="325" y="93"/>
                </a:cubicBezTo>
                <a:cubicBezTo>
                  <a:pt x="326" y="93"/>
                  <a:pt x="327" y="94"/>
                  <a:pt x="328" y="94"/>
                </a:cubicBezTo>
                <a:cubicBezTo>
                  <a:pt x="328" y="94"/>
                  <a:pt x="329" y="94"/>
                  <a:pt x="330" y="94"/>
                </a:cubicBezTo>
                <a:cubicBezTo>
                  <a:pt x="331" y="94"/>
                  <a:pt x="331" y="94"/>
                  <a:pt x="332" y="94"/>
                </a:cubicBezTo>
                <a:cubicBezTo>
                  <a:pt x="332" y="94"/>
                  <a:pt x="333" y="93"/>
                  <a:pt x="333" y="93"/>
                </a:cubicBezTo>
                <a:cubicBezTo>
                  <a:pt x="333" y="92"/>
                  <a:pt x="334" y="92"/>
                  <a:pt x="334" y="92"/>
                </a:cubicBezTo>
                <a:cubicBezTo>
                  <a:pt x="335" y="92"/>
                  <a:pt x="335" y="91"/>
                  <a:pt x="335" y="91"/>
                </a:cubicBezTo>
                <a:cubicBezTo>
                  <a:pt x="335" y="90"/>
                  <a:pt x="336" y="90"/>
                  <a:pt x="336" y="89"/>
                </a:cubicBezTo>
                <a:cubicBezTo>
                  <a:pt x="336" y="89"/>
                  <a:pt x="336" y="88"/>
                  <a:pt x="336" y="87"/>
                </a:cubicBezTo>
                <a:cubicBezTo>
                  <a:pt x="336" y="86"/>
                  <a:pt x="339" y="87"/>
                  <a:pt x="339" y="87"/>
                </a:cubicBezTo>
                <a:cubicBezTo>
                  <a:pt x="341" y="87"/>
                  <a:pt x="343" y="87"/>
                  <a:pt x="345" y="87"/>
                </a:cubicBezTo>
                <a:cubicBezTo>
                  <a:pt x="346" y="86"/>
                  <a:pt x="346" y="84"/>
                  <a:pt x="348" y="84"/>
                </a:cubicBezTo>
                <a:cubicBezTo>
                  <a:pt x="348" y="84"/>
                  <a:pt x="349" y="83"/>
                  <a:pt x="348" y="83"/>
                </a:cubicBezTo>
                <a:cubicBezTo>
                  <a:pt x="348" y="82"/>
                  <a:pt x="348" y="82"/>
                  <a:pt x="348" y="81"/>
                </a:cubicBezTo>
                <a:cubicBezTo>
                  <a:pt x="348" y="81"/>
                  <a:pt x="348" y="80"/>
                  <a:pt x="348" y="80"/>
                </a:cubicBezTo>
                <a:cubicBezTo>
                  <a:pt x="348" y="79"/>
                  <a:pt x="348" y="79"/>
                  <a:pt x="349" y="78"/>
                </a:cubicBezTo>
                <a:cubicBezTo>
                  <a:pt x="349" y="77"/>
                  <a:pt x="349" y="77"/>
                  <a:pt x="350" y="77"/>
                </a:cubicBezTo>
                <a:cubicBezTo>
                  <a:pt x="350" y="77"/>
                  <a:pt x="350" y="77"/>
                  <a:pt x="351" y="77"/>
                </a:cubicBezTo>
                <a:cubicBezTo>
                  <a:pt x="351" y="77"/>
                  <a:pt x="355" y="77"/>
                  <a:pt x="355" y="76"/>
                </a:cubicBezTo>
                <a:cubicBezTo>
                  <a:pt x="355" y="76"/>
                  <a:pt x="355" y="75"/>
                  <a:pt x="354" y="75"/>
                </a:cubicBezTo>
                <a:cubicBezTo>
                  <a:pt x="354" y="74"/>
                  <a:pt x="355" y="74"/>
                  <a:pt x="356" y="74"/>
                </a:cubicBezTo>
                <a:cubicBezTo>
                  <a:pt x="356" y="75"/>
                  <a:pt x="356" y="75"/>
                  <a:pt x="357" y="75"/>
                </a:cubicBezTo>
                <a:cubicBezTo>
                  <a:pt x="358" y="75"/>
                  <a:pt x="358" y="75"/>
                  <a:pt x="358" y="74"/>
                </a:cubicBezTo>
                <a:cubicBezTo>
                  <a:pt x="358" y="74"/>
                  <a:pt x="359" y="74"/>
                  <a:pt x="359" y="74"/>
                </a:cubicBezTo>
                <a:cubicBezTo>
                  <a:pt x="360" y="74"/>
                  <a:pt x="360" y="73"/>
                  <a:pt x="360" y="73"/>
                </a:cubicBezTo>
                <a:cubicBezTo>
                  <a:pt x="361" y="72"/>
                  <a:pt x="362" y="73"/>
                  <a:pt x="363" y="73"/>
                </a:cubicBezTo>
                <a:cubicBezTo>
                  <a:pt x="363" y="73"/>
                  <a:pt x="364" y="73"/>
                  <a:pt x="365" y="73"/>
                </a:cubicBezTo>
                <a:cubicBezTo>
                  <a:pt x="365" y="73"/>
                  <a:pt x="365" y="72"/>
                  <a:pt x="366" y="72"/>
                </a:cubicBezTo>
                <a:cubicBezTo>
                  <a:pt x="366" y="72"/>
                  <a:pt x="366" y="73"/>
                  <a:pt x="367" y="73"/>
                </a:cubicBezTo>
                <a:cubicBezTo>
                  <a:pt x="367" y="73"/>
                  <a:pt x="368" y="73"/>
                  <a:pt x="368" y="74"/>
                </a:cubicBezTo>
                <a:cubicBezTo>
                  <a:pt x="370" y="74"/>
                  <a:pt x="371" y="74"/>
                  <a:pt x="373" y="74"/>
                </a:cubicBezTo>
                <a:cubicBezTo>
                  <a:pt x="373" y="74"/>
                  <a:pt x="374" y="74"/>
                  <a:pt x="374" y="74"/>
                </a:cubicBezTo>
                <a:cubicBezTo>
                  <a:pt x="374" y="74"/>
                  <a:pt x="374" y="74"/>
                  <a:pt x="374" y="74"/>
                </a:cubicBezTo>
                <a:cubicBezTo>
                  <a:pt x="374" y="73"/>
                  <a:pt x="375" y="74"/>
                  <a:pt x="375" y="73"/>
                </a:cubicBezTo>
                <a:cubicBezTo>
                  <a:pt x="375" y="73"/>
                  <a:pt x="375" y="73"/>
                  <a:pt x="375" y="73"/>
                </a:cubicBezTo>
                <a:cubicBezTo>
                  <a:pt x="374" y="71"/>
                  <a:pt x="373" y="71"/>
                  <a:pt x="372" y="70"/>
                </a:cubicBezTo>
                <a:cubicBezTo>
                  <a:pt x="371" y="69"/>
                  <a:pt x="371" y="68"/>
                  <a:pt x="370" y="68"/>
                </a:cubicBezTo>
                <a:cubicBezTo>
                  <a:pt x="369" y="67"/>
                  <a:pt x="368" y="67"/>
                  <a:pt x="368" y="67"/>
                </a:cubicBezTo>
                <a:cubicBezTo>
                  <a:pt x="367" y="66"/>
                  <a:pt x="366" y="66"/>
                  <a:pt x="366" y="65"/>
                </a:cubicBezTo>
                <a:cubicBezTo>
                  <a:pt x="365" y="65"/>
                  <a:pt x="365" y="65"/>
                  <a:pt x="365" y="65"/>
                </a:cubicBezTo>
                <a:cubicBezTo>
                  <a:pt x="364" y="64"/>
                  <a:pt x="363" y="64"/>
                  <a:pt x="363" y="64"/>
                </a:cubicBezTo>
                <a:cubicBezTo>
                  <a:pt x="363" y="63"/>
                  <a:pt x="362" y="63"/>
                  <a:pt x="361" y="62"/>
                </a:cubicBezTo>
                <a:cubicBezTo>
                  <a:pt x="360" y="62"/>
                  <a:pt x="359" y="62"/>
                  <a:pt x="357" y="61"/>
                </a:cubicBezTo>
                <a:cubicBezTo>
                  <a:pt x="356" y="60"/>
                  <a:pt x="355" y="59"/>
                  <a:pt x="353" y="59"/>
                </a:cubicBezTo>
                <a:cubicBezTo>
                  <a:pt x="352" y="59"/>
                  <a:pt x="350" y="59"/>
                  <a:pt x="349" y="60"/>
                </a:cubicBezTo>
                <a:cubicBezTo>
                  <a:pt x="348" y="60"/>
                  <a:pt x="348" y="61"/>
                  <a:pt x="348" y="62"/>
                </a:cubicBezTo>
                <a:cubicBezTo>
                  <a:pt x="348" y="62"/>
                  <a:pt x="348" y="63"/>
                  <a:pt x="348" y="63"/>
                </a:cubicBezTo>
                <a:cubicBezTo>
                  <a:pt x="347" y="63"/>
                  <a:pt x="345" y="62"/>
                  <a:pt x="345" y="62"/>
                </a:cubicBezTo>
                <a:cubicBezTo>
                  <a:pt x="343" y="61"/>
                  <a:pt x="341" y="60"/>
                  <a:pt x="339" y="61"/>
                </a:cubicBezTo>
                <a:cubicBezTo>
                  <a:pt x="338" y="61"/>
                  <a:pt x="336" y="60"/>
                  <a:pt x="335" y="62"/>
                </a:cubicBezTo>
                <a:cubicBezTo>
                  <a:pt x="335" y="63"/>
                  <a:pt x="333" y="61"/>
                  <a:pt x="332" y="61"/>
                </a:cubicBezTo>
                <a:cubicBezTo>
                  <a:pt x="331" y="61"/>
                  <a:pt x="331" y="60"/>
                  <a:pt x="330" y="60"/>
                </a:cubicBezTo>
                <a:cubicBezTo>
                  <a:pt x="330" y="59"/>
                  <a:pt x="329" y="58"/>
                  <a:pt x="329" y="58"/>
                </a:cubicBezTo>
                <a:cubicBezTo>
                  <a:pt x="329" y="57"/>
                  <a:pt x="330" y="57"/>
                  <a:pt x="330" y="57"/>
                </a:cubicBezTo>
                <a:cubicBezTo>
                  <a:pt x="331" y="56"/>
                  <a:pt x="330" y="55"/>
                  <a:pt x="330" y="55"/>
                </a:cubicBezTo>
                <a:cubicBezTo>
                  <a:pt x="329" y="54"/>
                  <a:pt x="329" y="53"/>
                  <a:pt x="329" y="51"/>
                </a:cubicBezTo>
                <a:cubicBezTo>
                  <a:pt x="330" y="50"/>
                  <a:pt x="329" y="50"/>
                  <a:pt x="329" y="50"/>
                </a:cubicBezTo>
                <a:cubicBezTo>
                  <a:pt x="329" y="49"/>
                  <a:pt x="329" y="49"/>
                  <a:pt x="329" y="48"/>
                </a:cubicBezTo>
                <a:cubicBezTo>
                  <a:pt x="329" y="47"/>
                  <a:pt x="329" y="46"/>
                  <a:pt x="329" y="45"/>
                </a:cubicBezTo>
                <a:cubicBezTo>
                  <a:pt x="329" y="44"/>
                  <a:pt x="329" y="42"/>
                  <a:pt x="329" y="40"/>
                </a:cubicBezTo>
                <a:cubicBezTo>
                  <a:pt x="331" y="41"/>
                  <a:pt x="333" y="42"/>
                  <a:pt x="335" y="42"/>
                </a:cubicBezTo>
                <a:cubicBezTo>
                  <a:pt x="336" y="42"/>
                  <a:pt x="337" y="42"/>
                  <a:pt x="338" y="42"/>
                </a:cubicBezTo>
                <a:cubicBezTo>
                  <a:pt x="339" y="43"/>
                  <a:pt x="339" y="43"/>
                  <a:pt x="340" y="43"/>
                </a:cubicBezTo>
                <a:cubicBezTo>
                  <a:pt x="341" y="43"/>
                  <a:pt x="341" y="42"/>
                  <a:pt x="342" y="42"/>
                </a:cubicBezTo>
                <a:cubicBezTo>
                  <a:pt x="342" y="41"/>
                  <a:pt x="342" y="41"/>
                  <a:pt x="343" y="40"/>
                </a:cubicBezTo>
                <a:cubicBezTo>
                  <a:pt x="343" y="40"/>
                  <a:pt x="343" y="40"/>
                  <a:pt x="343" y="40"/>
                </a:cubicBezTo>
                <a:cubicBezTo>
                  <a:pt x="343" y="40"/>
                  <a:pt x="343" y="40"/>
                  <a:pt x="343" y="39"/>
                </a:cubicBezTo>
                <a:cubicBezTo>
                  <a:pt x="344" y="39"/>
                  <a:pt x="344" y="39"/>
                  <a:pt x="344" y="38"/>
                </a:cubicBezTo>
                <a:cubicBezTo>
                  <a:pt x="345" y="38"/>
                  <a:pt x="346" y="38"/>
                  <a:pt x="347" y="38"/>
                </a:cubicBezTo>
                <a:cubicBezTo>
                  <a:pt x="348" y="38"/>
                  <a:pt x="349" y="38"/>
                  <a:pt x="349" y="37"/>
                </a:cubicBezTo>
                <a:cubicBezTo>
                  <a:pt x="349" y="36"/>
                  <a:pt x="348" y="36"/>
                  <a:pt x="348" y="35"/>
                </a:cubicBezTo>
                <a:cubicBezTo>
                  <a:pt x="348" y="34"/>
                  <a:pt x="347" y="34"/>
                  <a:pt x="346" y="34"/>
                </a:cubicBezTo>
                <a:cubicBezTo>
                  <a:pt x="346" y="34"/>
                  <a:pt x="346" y="34"/>
                  <a:pt x="345" y="34"/>
                </a:cubicBezTo>
                <a:cubicBezTo>
                  <a:pt x="345" y="34"/>
                  <a:pt x="346" y="34"/>
                  <a:pt x="346" y="34"/>
                </a:cubicBezTo>
                <a:cubicBezTo>
                  <a:pt x="346" y="33"/>
                  <a:pt x="345" y="32"/>
                  <a:pt x="346" y="31"/>
                </a:cubicBezTo>
                <a:cubicBezTo>
                  <a:pt x="346" y="30"/>
                  <a:pt x="346" y="30"/>
                  <a:pt x="346" y="29"/>
                </a:cubicBezTo>
                <a:cubicBezTo>
                  <a:pt x="345" y="28"/>
                  <a:pt x="346" y="27"/>
                  <a:pt x="346" y="26"/>
                </a:cubicBezTo>
                <a:cubicBezTo>
                  <a:pt x="346" y="26"/>
                  <a:pt x="345" y="25"/>
                  <a:pt x="346" y="25"/>
                </a:cubicBezTo>
                <a:cubicBezTo>
                  <a:pt x="345" y="24"/>
                  <a:pt x="346" y="24"/>
                  <a:pt x="346" y="24"/>
                </a:cubicBezTo>
                <a:cubicBezTo>
                  <a:pt x="345" y="23"/>
                  <a:pt x="345" y="23"/>
                  <a:pt x="345" y="23"/>
                </a:cubicBezTo>
                <a:cubicBezTo>
                  <a:pt x="346" y="23"/>
                  <a:pt x="346" y="23"/>
                  <a:pt x="345" y="23"/>
                </a:cubicBezTo>
                <a:cubicBezTo>
                  <a:pt x="345" y="22"/>
                  <a:pt x="345" y="22"/>
                  <a:pt x="345" y="21"/>
                </a:cubicBezTo>
                <a:cubicBezTo>
                  <a:pt x="345" y="20"/>
                  <a:pt x="345" y="20"/>
                  <a:pt x="346" y="20"/>
                </a:cubicBezTo>
                <a:cubicBezTo>
                  <a:pt x="346" y="19"/>
                  <a:pt x="346" y="18"/>
                  <a:pt x="347" y="18"/>
                </a:cubicBezTo>
                <a:cubicBezTo>
                  <a:pt x="348" y="17"/>
                  <a:pt x="348" y="17"/>
                  <a:pt x="347" y="16"/>
                </a:cubicBezTo>
                <a:cubicBezTo>
                  <a:pt x="347" y="16"/>
                  <a:pt x="347" y="16"/>
                  <a:pt x="347" y="15"/>
                </a:cubicBezTo>
                <a:cubicBezTo>
                  <a:pt x="347" y="14"/>
                  <a:pt x="345" y="14"/>
                  <a:pt x="345" y="13"/>
                </a:cubicBezTo>
                <a:cubicBezTo>
                  <a:pt x="344" y="12"/>
                  <a:pt x="344" y="11"/>
                  <a:pt x="343" y="11"/>
                </a:cubicBezTo>
                <a:cubicBezTo>
                  <a:pt x="342" y="10"/>
                  <a:pt x="341" y="10"/>
                  <a:pt x="340" y="10"/>
                </a:cubicBezTo>
                <a:cubicBezTo>
                  <a:pt x="339" y="11"/>
                  <a:pt x="339" y="11"/>
                  <a:pt x="338" y="10"/>
                </a:cubicBezTo>
                <a:cubicBezTo>
                  <a:pt x="338" y="10"/>
                  <a:pt x="337" y="10"/>
                  <a:pt x="337" y="9"/>
                </a:cubicBezTo>
                <a:cubicBezTo>
                  <a:pt x="337" y="9"/>
                  <a:pt x="337" y="8"/>
                  <a:pt x="337" y="8"/>
                </a:cubicBezTo>
                <a:cubicBezTo>
                  <a:pt x="338" y="8"/>
                  <a:pt x="338" y="7"/>
                  <a:pt x="338" y="7"/>
                </a:cubicBezTo>
                <a:cubicBezTo>
                  <a:pt x="339" y="6"/>
                  <a:pt x="339" y="6"/>
                  <a:pt x="339" y="5"/>
                </a:cubicBezTo>
                <a:cubicBezTo>
                  <a:pt x="339" y="5"/>
                  <a:pt x="339" y="4"/>
                  <a:pt x="339" y="4"/>
                </a:cubicBezTo>
                <a:cubicBezTo>
                  <a:pt x="339" y="4"/>
                  <a:pt x="340" y="4"/>
                  <a:pt x="340" y="4"/>
                </a:cubicBezTo>
                <a:cubicBezTo>
                  <a:pt x="340" y="3"/>
                  <a:pt x="342" y="4"/>
                  <a:pt x="343" y="3"/>
                </a:cubicBezTo>
                <a:cubicBezTo>
                  <a:pt x="343" y="3"/>
                  <a:pt x="344" y="3"/>
                  <a:pt x="345" y="3"/>
                </a:cubicBezTo>
                <a:cubicBezTo>
                  <a:pt x="345" y="3"/>
                  <a:pt x="346" y="2"/>
                  <a:pt x="346" y="2"/>
                </a:cubicBezTo>
                <a:cubicBezTo>
                  <a:pt x="347" y="2"/>
                  <a:pt x="348" y="2"/>
                  <a:pt x="349" y="2"/>
                </a:cubicBezTo>
                <a:cubicBezTo>
                  <a:pt x="349" y="2"/>
                  <a:pt x="349" y="2"/>
                  <a:pt x="349" y="2"/>
                </a:cubicBezTo>
                <a:cubicBezTo>
                  <a:pt x="349" y="1"/>
                  <a:pt x="350" y="1"/>
                  <a:pt x="350" y="1"/>
                </a:cubicBezTo>
                <a:cubicBezTo>
                  <a:pt x="350" y="1"/>
                  <a:pt x="350" y="1"/>
                  <a:pt x="350" y="1"/>
                </a:cubicBezTo>
                <a:cubicBezTo>
                  <a:pt x="350" y="1"/>
                  <a:pt x="351" y="1"/>
                  <a:pt x="351" y="1"/>
                </a:cubicBezTo>
                <a:cubicBezTo>
                  <a:pt x="352" y="2"/>
                  <a:pt x="352" y="2"/>
                  <a:pt x="353" y="1"/>
                </a:cubicBezTo>
                <a:cubicBezTo>
                  <a:pt x="354" y="1"/>
                  <a:pt x="354" y="2"/>
                  <a:pt x="355" y="1"/>
                </a:cubicBezTo>
                <a:cubicBezTo>
                  <a:pt x="356" y="1"/>
                  <a:pt x="357" y="1"/>
                  <a:pt x="357" y="1"/>
                </a:cubicBezTo>
                <a:cubicBezTo>
                  <a:pt x="358" y="0"/>
                  <a:pt x="358" y="0"/>
                  <a:pt x="359" y="1"/>
                </a:cubicBezTo>
                <a:cubicBezTo>
                  <a:pt x="359" y="1"/>
                  <a:pt x="360" y="1"/>
                  <a:pt x="360" y="1"/>
                </a:cubicBezTo>
                <a:cubicBezTo>
                  <a:pt x="360" y="1"/>
                  <a:pt x="359" y="1"/>
                  <a:pt x="360" y="0"/>
                </a:cubicBezTo>
                <a:cubicBezTo>
                  <a:pt x="360" y="0"/>
                  <a:pt x="360" y="1"/>
                  <a:pt x="360" y="1"/>
                </a:cubicBezTo>
                <a:cubicBezTo>
                  <a:pt x="360" y="0"/>
                  <a:pt x="361" y="1"/>
                  <a:pt x="361" y="1"/>
                </a:cubicBezTo>
                <a:cubicBezTo>
                  <a:pt x="363" y="1"/>
                  <a:pt x="364" y="1"/>
                  <a:pt x="365" y="2"/>
                </a:cubicBezTo>
                <a:cubicBezTo>
                  <a:pt x="365" y="2"/>
                  <a:pt x="366" y="2"/>
                  <a:pt x="367" y="2"/>
                </a:cubicBezTo>
                <a:cubicBezTo>
                  <a:pt x="368" y="3"/>
                  <a:pt x="368" y="3"/>
                  <a:pt x="369" y="4"/>
                </a:cubicBezTo>
                <a:cubicBezTo>
                  <a:pt x="369" y="4"/>
                  <a:pt x="370" y="4"/>
                  <a:pt x="371" y="4"/>
                </a:cubicBezTo>
                <a:cubicBezTo>
                  <a:pt x="372" y="4"/>
                  <a:pt x="373" y="5"/>
                  <a:pt x="373" y="5"/>
                </a:cubicBezTo>
                <a:cubicBezTo>
                  <a:pt x="374" y="5"/>
                  <a:pt x="375" y="5"/>
                  <a:pt x="374" y="5"/>
                </a:cubicBezTo>
                <a:cubicBezTo>
                  <a:pt x="373" y="4"/>
                  <a:pt x="374" y="4"/>
                  <a:pt x="375" y="4"/>
                </a:cubicBezTo>
                <a:cubicBezTo>
                  <a:pt x="376" y="4"/>
                  <a:pt x="377" y="4"/>
                  <a:pt x="377" y="5"/>
                </a:cubicBezTo>
                <a:cubicBezTo>
                  <a:pt x="379" y="5"/>
                  <a:pt x="380" y="6"/>
                  <a:pt x="382" y="6"/>
                </a:cubicBezTo>
                <a:cubicBezTo>
                  <a:pt x="383" y="7"/>
                  <a:pt x="381" y="7"/>
                  <a:pt x="382" y="7"/>
                </a:cubicBezTo>
                <a:cubicBezTo>
                  <a:pt x="383" y="8"/>
                  <a:pt x="383" y="7"/>
                  <a:pt x="384" y="7"/>
                </a:cubicBezTo>
                <a:cubicBezTo>
                  <a:pt x="384" y="8"/>
                  <a:pt x="385" y="8"/>
                  <a:pt x="386" y="9"/>
                </a:cubicBezTo>
                <a:cubicBezTo>
                  <a:pt x="386" y="9"/>
                  <a:pt x="386" y="8"/>
                  <a:pt x="387" y="9"/>
                </a:cubicBezTo>
                <a:cubicBezTo>
                  <a:pt x="387" y="9"/>
                  <a:pt x="387" y="9"/>
                  <a:pt x="387" y="9"/>
                </a:cubicBezTo>
                <a:cubicBezTo>
                  <a:pt x="387" y="9"/>
                  <a:pt x="387" y="9"/>
                  <a:pt x="387" y="10"/>
                </a:cubicBezTo>
                <a:cubicBezTo>
                  <a:pt x="387" y="10"/>
                  <a:pt x="387" y="10"/>
                  <a:pt x="387" y="10"/>
                </a:cubicBezTo>
                <a:cubicBezTo>
                  <a:pt x="387" y="10"/>
                  <a:pt x="387" y="11"/>
                  <a:pt x="388" y="11"/>
                </a:cubicBezTo>
                <a:cubicBezTo>
                  <a:pt x="388" y="10"/>
                  <a:pt x="389" y="11"/>
                  <a:pt x="389" y="11"/>
                </a:cubicBezTo>
                <a:cubicBezTo>
                  <a:pt x="390" y="11"/>
                  <a:pt x="390" y="12"/>
                  <a:pt x="390" y="12"/>
                </a:cubicBezTo>
                <a:cubicBezTo>
                  <a:pt x="390" y="12"/>
                  <a:pt x="390" y="12"/>
                  <a:pt x="391" y="12"/>
                </a:cubicBezTo>
                <a:cubicBezTo>
                  <a:pt x="391" y="12"/>
                  <a:pt x="392" y="13"/>
                  <a:pt x="392" y="13"/>
                </a:cubicBezTo>
                <a:cubicBezTo>
                  <a:pt x="392" y="14"/>
                  <a:pt x="393" y="14"/>
                  <a:pt x="393" y="14"/>
                </a:cubicBezTo>
                <a:cubicBezTo>
                  <a:pt x="392" y="15"/>
                  <a:pt x="394" y="15"/>
                  <a:pt x="395" y="15"/>
                </a:cubicBezTo>
                <a:cubicBezTo>
                  <a:pt x="395" y="15"/>
                  <a:pt x="396" y="16"/>
                  <a:pt x="395" y="16"/>
                </a:cubicBezTo>
                <a:cubicBezTo>
                  <a:pt x="395" y="17"/>
                  <a:pt x="396" y="17"/>
                  <a:pt x="396" y="17"/>
                </a:cubicBezTo>
                <a:cubicBezTo>
                  <a:pt x="397" y="18"/>
                  <a:pt x="399" y="19"/>
                  <a:pt x="400" y="20"/>
                </a:cubicBezTo>
                <a:cubicBezTo>
                  <a:pt x="400" y="20"/>
                  <a:pt x="400" y="20"/>
                  <a:pt x="400" y="21"/>
                </a:cubicBezTo>
                <a:cubicBezTo>
                  <a:pt x="400" y="21"/>
                  <a:pt x="400" y="21"/>
                  <a:pt x="400" y="21"/>
                </a:cubicBezTo>
                <a:cubicBezTo>
                  <a:pt x="401" y="22"/>
                  <a:pt x="402" y="21"/>
                  <a:pt x="402" y="22"/>
                </a:cubicBezTo>
                <a:cubicBezTo>
                  <a:pt x="402" y="22"/>
                  <a:pt x="402" y="23"/>
                  <a:pt x="403" y="23"/>
                </a:cubicBezTo>
                <a:cubicBezTo>
                  <a:pt x="403" y="23"/>
                  <a:pt x="403" y="23"/>
                  <a:pt x="404" y="23"/>
                </a:cubicBezTo>
                <a:cubicBezTo>
                  <a:pt x="404" y="23"/>
                  <a:pt x="404" y="24"/>
                  <a:pt x="404" y="24"/>
                </a:cubicBezTo>
                <a:cubicBezTo>
                  <a:pt x="403" y="24"/>
                  <a:pt x="404" y="25"/>
                  <a:pt x="404" y="25"/>
                </a:cubicBezTo>
                <a:cubicBezTo>
                  <a:pt x="404" y="25"/>
                  <a:pt x="404" y="25"/>
                  <a:pt x="404" y="25"/>
                </a:cubicBezTo>
                <a:cubicBezTo>
                  <a:pt x="404" y="24"/>
                  <a:pt x="404" y="24"/>
                  <a:pt x="404" y="24"/>
                </a:cubicBezTo>
                <a:cubicBezTo>
                  <a:pt x="405" y="24"/>
                  <a:pt x="405" y="25"/>
                  <a:pt x="405" y="25"/>
                </a:cubicBezTo>
                <a:cubicBezTo>
                  <a:pt x="405" y="26"/>
                  <a:pt x="407" y="27"/>
                  <a:pt x="408" y="28"/>
                </a:cubicBezTo>
                <a:cubicBezTo>
                  <a:pt x="410" y="29"/>
                  <a:pt x="411" y="30"/>
                  <a:pt x="412" y="31"/>
                </a:cubicBezTo>
                <a:cubicBezTo>
                  <a:pt x="413" y="31"/>
                  <a:pt x="413" y="32"/>
                  <a:pt x="413" y="32"/>
                </a:cubicBezTo>
                <a:cubicBezTo>
                  <a:pt x="413" y="33"/>
                  <a:pt x="414" y="33"/>
                  <a:pt x="414" y="33"/>
                </a:cubicBezTo>
                <a:cubicBezTo>
                  <a:pt x="415" y="34"/>
                  <a:pt x="415" y="35"/>
                  <a:pt x="416" y="35"/>
                </a:cubicBezTo>
                <a:cubicBezTo>
                  <a:pt x="416" y="35"/>
                  <a:pt x="417" y="35"/>
                  <a:pt x="418" y="36"/>
                </a:cubicBezTo>
                <a:cubicBezTo>
                  <a:pt x="418" y="36"/>
                  <a:pt x="418" y="37"/>
                  <a:pt x="418" y="37"/>
                </a:cubicBezTo>
                <a:cubicBezTo>
                  <a:pt x="418" y="38"/>
                  <a:pt x="419" y="38"/>
                  <a:pt x="419" y="39"/>
                </a:cubicBezTo>
                <a:cubicBezTo>
                  <a:pt x="420" y="40"/>
                  <a:pt x="420" y="40"/>
                  <a:pt x="421" y="40"/>
                </a:cubicBezTo>
                <a:cubicBezTo>
                  <a:pt x="422" y="40"/>
                  <a:pt x="422" y="41"/>
                  <a:pt x="422" y="41"/>
                </a:cubicBezTo>
                <a:cubicBezTo>
                  <a:pt x="423" y="42"/>
                  <a:pt x="424" y="42"/>
                  <a:pt x="424" y="42"/>
                </a:cubicBezTo>
                <a:cubicBezTo>
                  <a:pt x="425" y="42"/>
                  <a:pt x="425" y="42"/>
                  <a:pt x="426" y="43"/>
                </a:cubicBezTo>
                <a:cubicBezTo>
                  <a:pt x="427" y="43"/>
                  <a:pt x="428" y="43"/>
                  <a:pt x="429" y="43"/>
                </a:cubicBezTo>
                <a:cubicBezTo>
                  <a:pt x="429" y="43"/>
                  <a:pt x="429" y="43"/>
                  <a:pt x="429" y="42"/>
                </a:cubicBezTo>
                <a:cubicBezTo>
                  <a:pt x="429" y="42"/>
                  <a:pt x="430" y="42"/>
                  <a:pt x="430" y="42"/>
                </a:cubicBezTo>
                <a:cubicBezTo>
                  <a:pt x="430" y="42"/>
                  <a:pt x="431" y="42"/>
                  <a:pt x="431" y="42"/>
                </a:cubicBezTo>
                <a:cubicBezTo>
                  <a:pt x="431" y="42"/>
                  <a:pt x="431" y="42"/>
                  <a:pt x="431" y="42"/>
                </a:cubicBezTo>
                <a:cubicBezTo>
                  <a:pt x="431" y="42"/>
                  <a:pt x="433" y="42"/>
                  <a:pt x="433" y="43"/>
                </a:cubicBezTo>
                <a:cubicBezTo>
                  <a:pt x="432" y="44"/>
                  <a:pt x="433" y="43"/>
                  <a:pt x="434" y="44"/>
                </a:cubicBezTo>
                <a:cubicBezTo>
                  <a:pt x="434" y="44"/>
                  <a:pt x="435" y="44"/>
                  <a:pt x="435" y="44"/>
                </a:cubicBezTo>
                <a:cubicBezTo>
                  <a:pt x="436" y="45"/>
                  <a:pt x="437" y="44"/>
                  <a:pt x="438" y="45"/>
                </a:cubicBezTo>
                <a:cubicBezTo>
                  <a:pt x="439" y="45"/>
                  <a:pt x="438" y="43"/>
                  <a:pt x="439" y="44"/>
                </a:cubicBezTo>
                <a:cubicBezTo>
                  <a:pt x="440" y="44"/>
                  <a:pt x="440" y="45"/>
                  <a:pt x="441" y="45"/>
                </a:cubicBezTo>
                <a:cubicBezTo>
                  <a:pt x="441" y="46"/>
                  <a:pt x="442" y="45"/>
                  <a:pt x="443" y="46"/>
                </a:cubicBezTo>
                <a:cubicBezTo>
                  <a:pt x="443" y="47"/>
                  <a:pt x="444" y="47"/>
                  <a:pt x="445" y="47"/>
                </a:cubicBezTo>
                <a:cubicBezTo>
                  <a:pt x="445" y="48"/>
                  <a:pt x="446" y="48"/>
                  <a:pt x="447" y="49"/>
                </a:cubicBezTo>
                <a:cubicBezTo>
                  <a:pt x="448" y="49"/>
                  <a:pt x="449" y="50"/>
                  <a:pt x="450" y="50"/>
                </a:cubicBezTo>
                <a:cubicBezTo>
                  <a:pt x="451" y="50"/>
                  <a:pt x="452" y="50"/>
                  <a:pt x="452" y="50"/>
                </a:cubicBezTo>
                <a:cubicBezTo>
                  <a:pt x="453" y="50"/>
                  <a:pt x="453" y="50"/>
                  <a:pt x="453" y="50"/>
                </a:cubicBezTo>
                <a:cubicBezTo>
                  <a:pt x="453" y="51"/>
                  <a:pt x="453" y="53"/>
                  <a:pt x="454" y="53"/>
                </a:cubicBezTo>
                <a:cubicBezTo>
                  <a:pt x="455" y="53"/>
                  <a:pt x="455" y="54"/>
                  <a:pt x="456" y="54"/>
                </a:cubicBezTo>
                <a:cubicBezTo>
                  <a:pt x="456" y="54"/>
                  <a:pt x="456" y="54"/>
                  <a:pt x="457" y="55"/>
                </a:cubicBezTo>
                <a:cubicBezTo>
                  <a:pt x="457" y="55"/>
                  <a:pt x="458" y="55"/>
                  <a:pt x="458" y="56"/>
                </a:cubicBezTo>
                <a:cubicBezTo>
                  <a:pt x="458" y="56"/>
                  <a:pt x="458" y="56"/>
                  <a:pt x="458" y="56"/>
                </a:cubicBezTo>
                <a:cubicBezTo>
                  <a:pt x="458" y="57"/>
                  <a:pt x="458" y="57"/>
                  <a:pt x="458" y="57"/>
                </a:cubicBezTo>
                <a:cubicBezTo>
                  <a:pt x="458" y="58"/>
                  <a:pt x="458" y="58"/>
                  <a:pt x="458" y="58"/>
                </a:cubicBezTo>
                <a:cubicBezTo>
                  <a:pt x="458" y="59"/>
                  <a:pt x="459" y="59"/>
                  <a:pt x="459" y="59"/>
                </a:cubicBezTo>
                <a:cubicBezTo>
                  <a:pt x="460" y="59"/>
                  <a:pt x="460" y="60"/>
                  <a:pt x="461" y="60"/>
                </a:cubicBezTo>
                <a:cubicBezTo>
                  <a:pt x="462" y="61"/>
                  <a:pt x="463" y="62"/>
                  <a:pt x="464" y="63"/>
                </a:cubicBezTo>
                <a:cubicBezTo>
                  <a:pt x="465" y="63"/>
                  <a:pt x="467" y="61"/>
                  <a:pt x="468" y="62"/>
                </a:cubicBezTo>
                <a:cubicBezTo>
                  <a:pt x="469" y="63"/>
                  <a:pt x="469" y="63"/>
                  <a:pt x="470" y="63"/>
                </a:cubicBezTo>
                <a:cubicBezTo>
                  <a:pt x="470" y="62"/>
                  <a:pt x="471" y="63"/>
                  <a:pt x="471" y="63"/>
                </a:cubicBezTo>
                <a:cubicBezTo>
                  <a:pt x="472" y="63"/>
                  <a:pt x="472" y="62"/>
                  <a:pt x="473" y="62"/>
                </a:cubicBezTo>
                <a:cubicBezTo>
                  <a:pt x="474" y="62"/>
                  <a:pt x="475" y="62"/>
                  <a:pt x="475" y="62"/>
                </a:cubicBezTo>
                <a:cubicBezTo>
                  <a:pt x="476" y="62"/>
                  <a:pt x="477" y="63"/>
                  <a:pt x="477" y="62"/>
                </a:cubicBezTo>
                <a:cubicBezTo>
                  <a:pt x="477" y="62"/>
                  <a:pt x="477" y="62"/>
                  <a:pt x="477" y="62"/>
                </a:cubicBezTo>
                <a:cubicBezTo>
                  <a:pt x="477" y="61"/>
                  <a:pt x="477" y="61"/>
                  <a:pt x="477" y="61"/>
                </a:cubicBezTo>
                <a:cubicBezTo>
                  <a:pt x="477" y="60"/>
                  <a:pt x="476" y="60"/>
                  <a:pt x="477" y="60"/>
                </a:cubicBezTo>
                <a:cubicBezTo>
                  <a:pt x="478" y="60"/>
                  <a:pt x="478" y="60"/>
                  <a:pt x="478" y="59"/>
                </a:cubicBezTo>
                <a:cubicBezTo>
                  <a:pt x="478" y="59"/>
                  <a:pt x="478" y="59"/>
                  <a:pt x="479" y="59"/>
                </a:cubicBezTo>
                <a:cubicBezTo>
                  <a:pt x="479" y="59"/>
                  <a:pt x="479" y="58"/>
                  <a:pt x="479" y="58"/>
                </a:cubicBezTo>
                <a:cubicBezTo>
                  <a:pt x="479" y="58"/>
                  <a:pt x="481" y="58"/>
                  <a:pt x="481" y="58"/>
                </a:cubicBezTo>
                <a:cubicBezTo>
                  <a:pt x="481" y="58"/>
                  <a:pt x="482" y="59"/>
                  <a:pt x="483" y="58"/>
                </a:cubicBezTo>
                <a:cubicBezTo>
                  <a:pt x="483" y="58"/>
                  <a:pt x="483" y="58"/>
                  <a:pt x="483" y="58"/>
                </a:cubicBezTo>
                <a:cubicBezTo>
                  <a:pt x="483" y="57"/>
                  <a:pt x="483" y="57"/>
                  <a:pt x="483" y="57"/>
                </a:cubicBezTo>
                <a:cubicBezTo>
                  <a:pt x="484" y="57"/>
                  <a:pt x="483" y="57"/>
                  <a:pt x="484" y="57"/>
                </a:cubicBezTo>
                <a:cubicBezTo>
                  <a:pt x="484" y="56"/>
                  <a:pt x="484" y="57"/>
                  <a:pt x="484" y="57"/>
                </a:cubicBezTo>
                <a:cubicBezTo>
                  <a:pt x="484" y="57"/>
                  <a:pt x="485" y="57"/>
                  <a:pt x="485" y="56"/>
                </a:cubicBezTo>
                <a:cubicBezTo>
                  <a:pt x="485" y="55"/>
                  <a:pt x="486" y="56"/>
                  <a:pt x="487" y="56"/>
                </a:cubicBezTo>
                <a:cubicBezTo>
                  <a:pt x="487" y="55"/>
                  <a:pt x="488" y="55"/>
                  <a:pt x="488" y="55"/>
                </a:cubicBezTo>
                <a:cubicBezTo>
                  <a:pt x="489" y="55"/>
                  <a:pt x="490" y="55"/>
                  <a:pt x="490" y="56"/>
                </a:cubicBezTo>
                <a:cubicBezTo>
                  <a:pt x="490" y="56"/>
                  <a:pt x="491" y="56"/>
                  <a:pt x="492" y="56"/>
                </a:cubicBezTo>
                <a:cubicBezTo>
                  <a:pt x="491" y="57"/>
                  <a:pt x="492" y="57"/>
                  <a:pt x="492" y="58"/>
                </a:cubicBezTo>
                <a:cubicBezTo>
                  <a:pt x="492" y="58"/>
                  <a:pt x="492" y="58"/>
                  <a:pt x="492" y="59"/>
                </a:cubicBezTo>
                <a:cubicBezTo>
                  <a:pt x="492" y="59"/>
                  <a:pt x="492" y="59"/>
                  <a:pt x="492" y="60"/>
                </a:cubicBezTo>
                <a:cubicBezTo>
                  <a:pt x="493" y="60"/>
                  <a:pt x="494" y="60"/>
                  <a:pt x="494" y="61"/>
                </a:cubicBezTo>
                <a:cubicBezTo>
                  <a:pt x="495" y="62"/>
                  <a:pt x="496" y="62"/>
                  <a:pt x="496" y="63"/>
                </a:cubicBezTo>
                <a:cubicBezTo>
                  <a:pt x="496" y="63"/>
                  <a:pt x="496" y="64"/>
                  <a:pt x="496" y="65"/>
                </a:cubicBezTo>
                <a:cubicBezTo>
                  <a:pt x="495" y="66"/>
                  <a:pt x="495" y="65"/>
                  <a:pt x="494" y="66"/>
                </a:cubicBezTo>
                <a:cubicBezTo>
                  <a:pt x="493" y="67"/>
                  <a:pt x="495" y="68"/>
                  <a:pt x="495" y="69"/>
                </a:cubicBezTo>
                <a:cubicBezTo>
                  <a:pt x="495" y="69"/>
                  <a:pt x="495" y="69"/>
                  <a:pt x="495" y="69"/>
                </a:cubicBezTo>
                <a:cubicBezTo>
                  <a:pt x="495" y="69"/>
                  <a:pt x="495" y="70"/>
                  <a:pt x="495" y="70"/>
                </a:cubicBezTo>
                <a:cubicBezTo>
                  <a:pt x="495" y="71"/>
                  <a:pt x="495" y="72"/>
                  <a:pt x="496" y="73"/>
                </a:cubicBezTo>
                <a:cubicBezTo>
                  <a:pt x="497" y="73"/>
                  <a:pt x="496" y="74"/>
                  <a:pt x="496" y="75"/>
                </a:cubicBezTo>
                <a:cubicBezTo>
                  <a:pt x="496" y="76"/>
                  <a:pt x="497" y="76"/>
                  <a:pt x="497" y="76"/>
                </a:cubicBezTo>
                <a:cubicBezTo>
                  <a:pt x="498" y="76"/>
                  <a:pt x="497" y="77"/>
                  <a:pt x="498" y="77"/>
                </a:cubicBezTo>
                <a:cubicBezTo>
                  <a:pt x="498" y="77"/>
                  <a:pt x="498" y="77"/>
                  <a:pt x="498" y="77"/>
                </a:cubicBezTo>
                <a:cubicBezTo>
                  <a:pt x="498" y="78"/>
                  <a:pt x="498" y="79"/>
                  <a:pt x="498" y="78"/>
                </a:cubicBezTo>
                <a:cubicBezTo>
                  <a:pt x="498" y="78"/>
                  <a:pt x="497" y="79"/>
                  <a:pt x="497" y="79"/>
                </a:cubicBezTo>
                <a:cubicBezTo>
                  <a:pt x="498" y="80"/>
                  <a:pt x="498" y="80"/>
                  <a:pt x="498" y="81"/>
                </a:cubicBezTo>
                <a:cubicBezTo>
                  <a:pt x="498" y="81"/>
                  <a:pt x="498" y="82"/>
                  <a:pt x="498" y="82"/>
                </a:cubicBezTo>
                <a:cubicBezTo>
                  <a:pt x="498" y="82"/>
                  <a:pt x="497" y="82"/>
                  <a:pt x="497" y="82"/>
                </a:cubicBezTo>
                <a:cubicBezTo>
                  <a:pt x="497" y="83"/>
                  <a:pt x="498" y="83"/>
                  <a:pt x="498" y="83"/>
                </a:cubicBezTo>
                <a:cubicBezTo>
                  <a:pt x="498" y="84"/>
                  <a:pt x="498" y="84"/>
                  <a:pt x="498" y="84"/>
                </a:cubicBezTo>
                <a:cubicBezTo>
                  <a:pt x="498" y="85"/>
                  <a:pt x="499" y="85"/>
                  <a:pt x="499" y="85"/>
                </a:cubicBezTo>
                <a:cubicBezTo>
                  <a:pt x="498" y="85"/>
                  <a:pt x="498" y="85"/>
                  <a:pt x="498" y="85"/>
                </a:cubicBezTo>
                <a:cubicBezTo>
                  <a:pt x="499" y="86"/>
                  <a:pt x="497" y="86"/>
                  <a:pt x="497" y="87"/>
                </a:cubicBezTo>
                <a:cubicBezTo>
                  <a:pt x="497" y="88"/>
                  <a:pt x="498" y="89"/>
                  <a:pt x="498" y="89"/>
                </a:cubicBezTo>
                <a:cubicBezTo>
                  <a:pt x="499" y="90"/>
                  <a:pt x="499" y="90"/>
                  <a:pt x="499" y="90"/>
                </a:cubicBezTo>
                <a:close/>
                <a:moveTo>
                  <a:pt x="468" y="268"/>
                </a:moveTo>
                <a:cubicBezTo>
                  <a:pt x="468" y="269"/>
                  <a:pt x="469" y="269"/>
                  <a:pt x="469" y="269"/>
                </a:cubicBezTo>
                <a:cubicBezTo>
                  <a:pt x="469" y="269"/>
                  <a:pt x="469" y="269"/>
                  <a:pt x="469" y="269"/>
                </a:cubicBezTo>
                <a:cubicBezTo>
                  <a:pt x="468" y="268"/>
                  <a:pt x="468" y="269"/>
                  <a:pt x="468" y="268"/>
                </a:cubicBezTo>
                <a:close/>
                <a:moveTo>
                  <a:pt x="378" y="357"/>
                </a:moveTo>
                <a:cubicBezTo>
                  <a:pt x="378" y="356"/>
                  <a:pt x="378" y="356"/>
                  <a:pt x="378" y="356"/>
                </a:cubicBezTo>
                <a:cubicBezTo>
                  <a:pt x="378" y="356"/>
                  <a:pt x="378" y="356"/>
                  <a:pt x="378" y="357"/>
                </a:cubicBezTo>
                <a:close/>
                <a:moveTo>
                  <a:pt x="445" y="357"/>
                </a:moveTo>
                <a:cubicBezTo>
                  <a:pt x="445" y="357"/>
                  <a:pt x="445" y="357"/>
                  <a:pt x="445" y="357"/>
                </a:cubicBezTo>
                <a:cubicBezTo>
                  <a:pt x="445" y="357"/>
                  <a:pt x="445" y="357"/>
                  <a:pt x="445" y="357"/>
                </a:cubicBezTo>
                <a:close/>
                <a:moveTo>
                  <a:pt x="474" y="265"/>
                </a:moveTo>
                <a:cubicBezTo>
                  <a:pt x="474" y="265"/>
                  <a:pt x="474" y="265"/>
                  <a:pt x="474" y="266"/>
                </a:cubicBezTo>
                <a:cubicBezTo>
                  <a:pt x="474" y="266"/>
                  <a:pt x="475" y="265"/>
                  <a:pt x="474" y="265"/>
                </a:cubicBezTo>
                <a:cubicBezTo>
                  <a:pt x="474" y="265"/>
                  <a:pt x="474" y="265"/>
                  <a:pt x="474" y="265"/>
                </a:cubicBezTo>
                <a:close/>
                <a:moveTo>
                  <a:pt x="385" y="353"/>
                </a:moveTo>
                <a:cubicBezTo>
                  <a:pt x="385" y="352"/>
                  <a:pt x="385" y="352"/>
                  <a:pt x="385" y="352"/>
                </a:cubicBezTo>
                <a:cubicBezTo>
                  <a:pt x="385" y="352"/>
                  <a:pt x="385" y="353"/>
                  <a:pt x="385" y="352"/>
                </a:cubicBezTo>
                <a:cubicBezTo>
                  <a:pt x="384" y="352"/>
                  <a:pt x="385" y="352"/>
                  <a:pt x="385" y="352"/>
                </a:cubicBezTo>
                <a:cubicBezTo>
                  <a:pt x="384" y="352"/>
                  <a:pt x="384" y="352"/>
                  <a:pt x="384" y="352"/>
                </a:cubicBezTo>
                <a:cubicBezTo>
                  <a:pt x="384" y="352"/>
                  <a:pt x="384" y="353"/>
                  <a:pt x="384" y="353"/>
                </a:cubicBezTo>
                <a:cubicBezTo>
                  <a:pt x="385" y="353"/>
                  <a:pt x="385" y="353"/>
                  <a:pt x="385" y="353"/>
                </a:cubicBezTo>
                <a:cubicBezTo>
                  <a:pt x="385" y="353"/>
                  <a:pt x="385" y="353"/>
                  <a:pt x="385" y="353"/>
                </a:cubicBezTo>
                <a:cubicBezTo>
                  <a:pt x="385" y="353"/>
                  <a:pt x="386" y="353"/>
                  <a:pt x="386" y="353"/>
                </a:cubicBezTo>
                <a:cubicBezTo>
                  <a:pt x="386" y="352"/>
                  <a:pt x="385" y="352"/>
                  <a:pt x="385" y="353"/>
                </a:cubicBezTo>
                <a:close/>
                <a:moveTo>
                  <a:pt x="474" y="259"/>
                </a:moveTo>
                <a:cubicBezTo>
                  <a:pt x="474" y="259"/>
                  <a:pt x="474" y="259"/>
                  <a:pt x="474" y="259"/>
                </a:cubicBezTo>
                <a:cubicBezTo>
                  <a:pt x="475" y="259"/>
                  <a:pt x="475" y="259"/>
                  <a:pt x="475" y="259"/>
                </a:cubicBezTo>
                <a:cubicBezTo>
                  <a:pt x="475" y="259"/>
                  <a:pt x="474" y="258"/>
                  <a:pt x="474" y="258"/>
                </a:cubicBezTo>
                <a:cubicBezTo>
                  <a:pt x="473" y="258"/>
                  <a:pt x="473" y="259"/>
                  <a:pt x="474" y="259"/>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5" name="Chile"/>
          <p:cNvSpPr>
            <a:spLocks noEditPoints="1"/>
          </p:cNvSpPr>
          <p:nvPr/>
        </p:nvSpPr>
        <p:spPr bwMode="auto">
          <a:xfrm>
            <a:off x="2089222" y="5361911"/>
            <a:ext cx="1820932" cy="1507943"/>
          </a:xfrm>
          <a:custGeom>
            <a:avLst/>
            <a:gdLst/>
            <a:ahLst/>
            <a:cxnLst>
              <a:cxn ang="0">
                <a:pos x="421" y="379"/>
              </a:cxn>
              <a:cxn ang="0">
                <a:pos x="394" y="334"/>
              </a:cxn>
              <a:cxn ang="0">
                <a:pos x="392" y="309"/>
              </a:cxn>
              <a:cxn ang="0">
                <a:pos x="399" y="344"/>
              </a:cxn>
              <a:cxn ang="0">
                <a:pos x="383" y="267"/>
              </a:cxn>
              <a:cxn ang="0">
                <a:pos x="400" y="297"/>
              </a:cxn>
              <a:cxn ang="0">
                <a:pos x="439" y="392"/>
              </a:cxn>
              <a:cxn ang="0">
                <a:pos x="450" y="397"/>
              </a:cxn>
              <a:cxn ang="0">
                <a:pos x="428" y="386"/>
              </a:cxn>
              <a:cxn ang="0">
                <a:pos x="409" y="354"/>
              </a:cxn>
              <a:cxn ang="0">
                <a:pos x="402" y="346"/>
              </a:cxn>
              <a:cxn ang="0">
                <a:pos x="407" y="351"/>
              </a:cxn>
              <a:cxn ang="0">
                <a:pos x="407" y="358"/>
              </a:cxn>
              <a:cxn ang="0">
                <a:pos x="415" y="361"/>
              </a:cxn>
              <a:cxn ang="0">
                <a:pos x="451" y="399"/>
              </a:cxn>
              <a:cxn ang="0">
                <a:pos x="455" y="398"/>
              </a:cxn>
              <a:cxn ang="0">
                <a:pos x="458" y="398"/>
              </a:cxn>
              <a:cxn ang="0">
                <a:pos x="404" y="354"/>
              </a:cxn>
              <a:cxn ang="0">
                <a:pos x="482" y="407"/>
              </a:cxn>
              <a:cxn ang="0">
                <a:pos x="482" y="409"/>
              </a:cxn>
              <a:cxn ang="0">
                <a:pos x="476" y="407"/>
              </a:cxn>
              <a:cxn ang="0">
                <a:pos x="493" y="406"/>
              </a:cxn>
              <a:cxn ang="0">
                <a:pos x="397" y="336"/>
              </a:cxn>
              <a:cxn ang="0">
                <a:pos x="415" y="373"/>
              </a:cxn>
              <a:cxn ang="0">
                <a:pos x="497" y="416"/>
              </a:cxn>
              <a:cxn ang="0">
                <a:pos x="0" y="106"/>
              </a:cxn>
              <a:cxn ang="0">
                <a:pos x="424" y="373"/>
              </a:cxn>
              <a:cxn ang="0">
                <a:pos x="393" y="298"/>
              </a:cxn>
              <a:cxn ang="0">
                <a:pos x="412" y="358"/>
              </a:cxn>
              <a:cxn ang="0">
                <a:pos x="414" y="351"/>
              </a:cxn>
              <a:cxn ang="0">
                <a:pos x="408" y="338"/>
              </a:cxn>
              <a:cxn ang="0">
                <a:pos x="406" y="330"/>
              </a:cxn>
              <a:cxn ang="0">
                <a:pos x="398" y="321"/>
              </a:cxn>
              <a:cxn ang="0">
                <a:pos x="388" y="314"/>
              </a:cxn>
              <a:cxn ang="0">
                <a:pos x="397" y="313"/>
              </a:cxn>
              <a:cxn ang="0">
                <a:pos x="397" y="301"/>
              </a:cxn>
              <a:cxn ang="0">
                <a:pos x="392" y="274"/>
              </a:cxn>
              <a:cxn ang="0">
                <a:pos x="381" y="263"/>
              </a:cxn>
              <a:cxn ang="0">
                <a:pos x="368" y="214"/>
              </a:cxn>
              <a:cxn ang="0">
                <a:pos x="368" y="161"/>
              </a:cxn>
              <a:cxn ang="0">
                <a:pos x="363" y="96"/>
              </a:cxn>
              <a:cxn ang="0">
                <a:pos x="360" y="38"/>
              </a:cxn>
              <a:cxn ang="0">
                <a:pos x="373" y="22"/>
              </a:cxn>
              <a:cxn ang="0">
                <a:pos x="381" y="81"/>
              </a:cxn>
              <a:cxn ang="0">
                <a:pos x="377" y="133"/>
              </a:cxn>
              <a:cxn ang="0">
                <a:pos x="388" y="177"/>
              </a:cxn>
              <a:cxn ang="0">
                <a:pos x="388" y="220"/>
              </a:cxn>
              <a:cxn ang="0">
                <a:pos x="397" y="271"/>
              </a:cxn>
              <a:cxn ang="0">
                <a:pos x="416" y="305"/>
              </a:cxn>
              <a:cxn ang="0">
                <a:pos x="416" y="350"/>
              </a:cxn>
              <a:cxn ang="0">
                <a:pos x="464" y="380"/>
              </a:cxn>
              <a:cxn ang="0">
                <a:pos x="441" y="388"/>
              </a:cxn>
              <a:cxn ang="0">
                <a:pos x="437" y="382"/>
              </a:cxn>
              <a:cxn ang="0">
                <a:pos x="433" y="383"/>
              </a:cxn>
              <a:cxn ang="0">
                <a:pos x="438" y="379"/>
              </a:cxn>
              <a:cxn ang="0">
                <a:pos x="432" y="374"/>
              </a:cxn>
              <a:cxn ang="0">
                <a:pos x="420" y="367"/>
              </a:cxn>
              <a:cxn ang="0">
                <a:pos x="453" y="386"/>
              </a:cxn>
              <a:cxn ang="0">
                <a:pos x="462" y="386"/>
              </a:cxn>
              <a:cxn ang="0">
                <a:pos x="468" y="400"/>
              </a:cxn>
              <a:cxn ang="0">
                <a:pos x="455" y="402"/>
              </a:cxn>
              <a:cxn ang="0">
                <a:pos x="470" y="405"/>
              </a:cxn>
            </a:cxnLst>
            <a:rect l="0" t="0" r="r" b="b"/>
            <a:pathLst>
              <a:path w="504" h="417">
                <a:moveTo>
                  <a:pt x="379" y="285"/>
                </a:moveTo>
                <a:cubicBezTo>
                  <a:pt x="379" y="285"/>
                  <a:pt x="380" y="286"/>
                  <a:pt x="380" y="286"/>
                </a:cubicBezTo>
                <a:cubicBezTo>
                  <a:pt x="380" y="286"/>
                  <a:pt x="379" y="286"/>
                  <a:pt x="379" y="286"/>
                </a:cubicBezTo>
                <a:cubicBezTo>
                  <a:pt x="379" y="286"/>
                  <a:pt x="378" y="286"/>
                  <a:pt x="378" y="285"/>
                </a:cubicBezTo>
                <a:cubicBezTo>
                  <a:pt x="378" y="285"/>
                  <a:pt x="379" y="285"/>
                  <a:pt x="379" y="285"/>
                </a:cubicBezTo>
                <a:close/>
                <a:moveTo>
                  <a:pt x="390" y="309"/>
                </a:moveTo>
                <a:cubicBezTo>
                  <a:pt x="390" y="309"/>
                  <a:pt x="390" y="308"/>
                  <a:pt x="390" y="308"/>
                </a:cubicBezTo>
                <a:cubicBezTo>
                  <a:pt x="389" y="307"/>
                  <a:pt x="389" y="307"/>
                  <a:pt x="389" y="308"/>
                </a:cubicBezTo>
                <a:cubicBezTo>
                  <a:pt x="388" y="308"/>
                  <a:pt x="389" y="309"/>
                  <a:pt x="389" y="309"/>
                </a:cubicBezTo>
                <a:cubicBezTo>
                  <a:pt x="389" y="309"/>
                  <a:pt x="390" y="309"/>
                  <a:pt x="390" y="309"/>
                </a:cubicBezTo>
                <a:close/>
                <a:moveTo>
                  <a:pt x="412" y="369"/>
                </a:moveTo>
                <a:cubicBezTo>
                  <a:pt x="412" y="369"/>
                  <a:pt x="412" y="368"/>
                  <a:pt x="412" y="368"/>
                </a:cubicBezTo>
                <a:cubicBezTo>
                  <a:pt x="411" y="368"/>
                  <a:pt x="412" y="369"/>
                  <a:pt x="412" y="369"/>
                </a:cubicBezTo>
                <a:cubicBezTo>
                  <a:pt x="412" y="369"/>
                  <a:pt x="412" y="370"/>
                  <a:pt x="412" y="370"/>
                </a:cubicBezTo>
                <a:cubicBezTo>
                  <a:pt x="412" y="371"/>
                  <a:pt x="412" y="371"/>
                  <a:pt x="412" y="371"/>
                </a:cubicBezTo>
                <a:cubicBezTo>
                  <a:pt x="412" y="371"/>
                  <a:pt x="412" y="372"/>
                  <a:pt x="412" y="372"/>
                </a:cubicBezTo>
                <a:cubicBezTo>
                  <a:pt x="413" y="372"/>
                  <a:pt x="413" y="372"/>
                  <a:pt x="413" y="371"/>
                </a:cubicBezTo>
                <a:cubicBezTo>
                  <a:pt x="414" y="372"/>
                  <a:pt x="413" y="370"/>
                  <a:pt x="412" y="370"/>
                </a:cubicBezTo>
                <a:cubicBezTo>
                  <a:pt x="413" y="370"/>
                  <a:pt x="413" y="370"/>
                  <a:pt x="413" y="370"/>
                </a:cubicBezTo>
                <a:cubicBezTo>
                  <a:pt x="413" y="370"/>
                  <a:pt x="413" y="370"/>
                  <a:pt x="413" y="370"/>
                </a:cubicBezTo>
                <a:cubicBezTo>
                  <a:pt x="413" y="369"/>
                  <a:pt x="413" y="370"/>
                  <a:pt x="413" y="370"/>
                </a:cubicBezTo>
                <a:cubicBezTo>
                  <a:pt x="414" y="369"/>
                  <a:pt x="413" y="369"/>
                  <a:pt x="412" y="368"/>
                </a:cubicBezTo>
                <a:cubicBezTo>
                  <a:pt x="412" y="368"/>
                  <a:pt x="412" y="369"/>
                  <a:pt x="412" y="369"/>
                </a:cubicBezTo>
                <a:close/>
                <a:moveTo>
                  <a:pt x="427" y="377"/>
                </a:moveTo>
                <a:cubicBezTo>
                  <a:pt x="428" y="377"/>
                  <a:pt x="428" y="378"/>
                  <a:pt x="429" y="378"/>
                </a:cubicBezTo>
                <a:cubicBezTo>
                  <a:pt x="429" y="378"/>
                  <a:pt x="428" y="378"/>
                  <a:pt x="428" y="378"/>
                </a:cubicBezTo>
                <a:cubicBezTo>
                  <a:pt x="428" y="377"/>
                  <a:pt x="427" y="376"/>
                  <a:pt x="426" y="376"/>
                </a:cubicBezTo>
                <a:cubicBezTo>
                  <a:pt x="426" y="376"/>
                  <a:pt x="425" y="375"/>
                  <a:pt x="425" y="375"/>
                </a:cubicBezTo>
                <a:cubicBezTo>
                  <a:pt x="425" y="375"/>
                  <a:pt x="424" y="375"/>
                  <a:pt x="424" y="375"/>
                </a:cubicBezTo>
                <a:cubicBezTo>
                  <a:pt x="424" y="375"/>
                  <a:pt x="424" y="375"/>
                  <a:pt x="424" y="375"/>
                </a:cubicBezTo>
                <a:cubicBezTo>
                  <a:pt x="424" y="376"/>
                  <a:pt x="425" y="376"/>
                  <a:pt x="425" y="376"/>
                </a:cubicBezTo>
                <a:cubicBezTo>
                  <a:pt x="424" y="376"/>
                  <a:pt x="424" y="376"/>
                  <a:pt x="424" y="376"/>
                </a:cubicBezTo>
                <a:cubicBezTo>
                  <a:pt x="425" y="376"/>
                  <a:pt x="426" y="377"/>
                  <a:pt x="427" y="377"/>
                </a:cubicBezTo>
                <a:close/>
                <a:moveTo>
                  <a:pt x="421" y="378"/>
                </a:moveTo>
                <a:cubicBezTo>
                  <a:pt x="420" y="378"/>
                  <a:pt x="420" y="378"/>
                  <a:pt x="419" y="378"/>
                </a:cubicBezTo>
                <a:cubicBezTo>
                  <a:pt x="419" y="378"/>
                  <a:pt x="418" y="378"/>
                  <a:pt x="419" y="378"/>
                </a:cubicBezTo>
                <a:cubicBezTo>
                  <a:pt x="419" y="379"/>
                  <a:pt x="420" y="379"/>
                  <a:pt x="421" y="379"/>
                </a:cubicBezTo>
                <a:cubicBezTo>
                  <a:pt x="421" y="379"/>
                  <a:pt x="421" y="378"/>
                  <a:pt x="421" y="378"/>
                </a:cubicBezTo>
                <a:close/>
                <a:moveTo>
                  <a:pt x="304" y="177"/>
                </a:moveTo>
                <a:cubicBezTo>
                  <a:pt x="304" y="177"/>
                  <a:pt x="305" y="177"/>
                  <a:pt x="306" y="177"/>
                </a:cubicBezTo>
                <a:cubicBezTo>
                  <a:pt x="305" y="176"/>
                  <a:pt x="303" y="177"/>
                  <a:pt x="304" y="177"/>
                </a:cubicBezTo>
                <a:close/>
                <a:moveTo>
                  <a:pt x="388" y="295"/>
                </a:moveTo>
                <a:cubicBezTo>
                  <a:pt x="388" y="296"/>
                  <a:pt x="390" y="295"/>
                  <a:pt x="389" y="296"/>
                </a:cubicBezTo>
                <a:cubicBezTo>
                  <a:pt x="388" y="296"/>
                  <a:pt x="390" y="296"/>
                  <a:pt x="390" y="296"/>
                </a:cubicBezTo>
                <a:cubicBezTo>
                  <a:pt x="390" y="296"/>
                  <a:pt x="390" y="296"/>
                  <a:pt x="390" y="295"/>
                </a:cubicBezTo>
                <a:cubicBezTo>
                  <a:pt x="389" y="295"/>
                  <a:pt x="388" y="295"/>
                  <a:pt x="388" y="295"/>
                </a:cubicBezTo>
                <a:close/>
                <a:moveTo>
                  <a:pt x="396" y="339"/>
                </a:moveTo>
                <a:cubicBezTo>
                  <a:pt x="396" y="339"/>
                  <a:pt x="396" y="338"/>
                  <a:pt x="396" y="338"/>
                </a:cubicBezTo>
                <a:cubicBezTo>
                  <a:pt x="396" y="338"/>
                  <a:pt x="396" y="338"/>
                  <a:pt x="396" y="338"/>
                </a:cubicBezTo>
                <a:cubicBezTo>
                  <a:pt x="396" y="338"/>
                  <a:pt x="395" y="338"/>
                  <a:pt x="395" y="338"/>
                </a:cubicBezTo>
                <a:cubicBezTo>
                  <a:pt x="394" y="339"/>
                  <a:pt x="394" y="338"/>
                  <a:pt x="393" y="338"/>
                </a:cubicBezTo>
                <a:cubicBezTo>
                  <a:pt x="393" y="339"/>
                  <a:pt x="394" y="340"/>
                  <a:pt x="394" y="340"/>
                </a:cubicBezTo>
                <a:cubicBezTo>
                  <a:pt x="394" y="340"/>
                  <a:pt x="396" y="339"/>
                  <a:pt x="395" y="340"/>
                </a:cubicBezTo>
                <a:cubicBezTo>
                  <a:pt x="395" y="340"/>
                  <a:pt x="396" y="340"/>
                  <a:pt x="396" y="340"/>
                </a:cubicBezTo>
                <a:cubicBezTo>
                  <a:pt x="396" y="340"/>
                  <a:pt x="395" y="340"/>
                  <a:pt x="395" y="340"/>
                </a:cubicBezTo>
                <a:cubicBezTo>
                  <a:pt x="394" y="340"/>
                  <a:pt x="395" y="341"/>
                  <a:pt x="395" y="341"/>
                </a:cubicBezTo>
                <a:cubicBezTo>
                  <a:pt x="396" y="341"/>
                  <a:pt x="397" y="340"/>
                  <a:pt x="396" y="339"/>
                </a:cubicBezTo>
                <a:close/>
                <a:moveTo>
                  <a:pt x="393" y="337"/>
                </a:moveTo>
                <a:cubicBezTo>
                  <a:pt x="394" y="337"/>
                  <a:pt x="394" y="337"/>
                  <a:pt x="395" y="336"/>
                </a:cubicBezTo>
                <a:cubicBezTo>
                  <a:pt x="395" y="337"/>
                  <a:pt x="396" y="337"/>
                  <a:pt x="395" y="337"/>
                </a:cubicBezTo>
                <a:cubicBezTo>
                  <a:pt x="395" y="337"/>
                  <a:pt x="394" y="337"/>
                  <a:pt x="394" y="337"/>
                </a:cubicBezTo>
                <a:cubicBezTo>
                  <a:pt x="394" y="338"/>
                  <a:pt x="396" y="338"/>
                  <a:pt x="395" y="337"/>
                </a:cubicBezTo>
                <a:cubicBezTo>
                  <a:pt x="396" y="337"/>
                  <a:pt x="396" y="338"/>
                  <a:pt x="396" y="338"/>
                </a:cubicBezTo>
                <a:cubicBezTo>
                  <a:pt x="396" y="338"/>
                  <a:pt x="396" y="339"/>
                  <a:pt x="397" y="339"/>
                </a:cubicBezTo>
                <a:cubicBezTo>
                  <a:pt x="397" y="339"/>
                  <a:pt x="397" y="340"/>
                  <a:pt x="397" y="340"/>
                </a:cubicBezTo>
                <a:cubicBezTo>
                  <a:pt x="398" y="340"/>
                  <a:pt x="398" y="340"/>
                  <a:pt x="398" y="340"/>
                </a:cubicBezTo>
                <a:cubicBezTo>
                  <a:pt x="398" y="341"/>
                  <a:pt x="398" y="341"/>
                  <a:pt x="398" y="341"/>
                </a:cubicBezTo>
                <a:cubicBezTo>
                  <a:pt x="399" y="341"/>
                  <a:pt x="399" y="340"/>
                  <a:pt x="399" y="339"/>
                </a:cubicBezTo>
                <a:cubicBezTo>
                  <a:pt x="398" y="339"/>
                  <a:pt x="398" y="339"/>
                  <a:pt x="398" y="338"/>
                </a:cubicBezTo>
                <a:cubicBezTo>
                  <a:pt x="398" y="339"/>
                  <a:pt x="398" y="338"/>
                  <a:pt x="398" y="338"/>
                </a:cubicBezTo>
                <a:cubicBezTo>
                  <a:pt x="398" y="338"/>
                  <a:pt x="397" y="338"/>
                  <a:pt x="397" y="337"/>
                </a:cubicBezTo>
                <a:cubicBezTo>
                  <a:pt x="397" y="337"/>
                  <a:pt x="396" y="336"/>
                  <a:pt x="395" y="336"/>
                </a:cubicBezTo>
                <a:cubicBezTo>
                  <a:pt x="395" y="336"/>
                  <a:pt x="395" y="335"/>
                  <a:pt x="395" y="335"/>
                </a:cubicBezTo>
                <a:cubicBezTo>
                  <a:pt x="395" y="334"/>
                  <a:pt x="394" y="334"/>
                  <a:pt x="394" y="334"/>
                </a:cubicBezTo>
                <a:cubicBezTo>
                  <a:pt x="394" y="333"/>
                  <a:pt x="393" y="333"/>
                  <a:pt x="393" y="334"/>
                </a:cubicBezTo>
                <a:cubicBezTo>
                  <a:pt x="392" y="333"/>
                  <a:pt x="392" y="334"/>
                  <a:pt x="393" y="335"/>
                </a:cubicBezTo>
                <a:cubicBezTo>
                  <a:pt x="393" y="336"/>
                  <a:pt x="393" y="336"/>
                  <a:pt x="394" y="335"/>
                </a:cubicBezTo>
                <a:cubicBezTo>
                  <a:pt x="394" y="335"/>
                  <a:pt x="393" y="336"/>
                  <a:pt x="393" y="337"/>
                </a:cubicBezTo>
                <a:close/>
                <a:moveTo>
                  <a:pt x="383" y="296"/>
                </a:moveTo>
                <a:cubicBezTo>
                  <a:pt x="382" y="296"/>
                  <a:pt x="383" y="297"/>
                  <a:pt x="383" y="298"/>
                </a:cubicBezTo>
                <a:cubicBezTo>
                  <a:pt x="384" y="298"/>
                  <a:pt x="384" y="297"/>
                  <a:pt x="384" y="297"/>
                </a:cubicBezTo>
                <a:cubicBezTo>
                  <a:pt x="383" y="296"/>
                  <a:pt x="383" y="296"/>
                  <a:pt x="383" y="296"/>
                </a:cubicBezTo>
                <a:close/>
                <a:moveTo>
                  <a:pt x="401" y="332"/>
                </a:moveTo>
                <a:cubicBezTo>
                  <a:pt x="400" y="333"/>
                  <a:pt x="402" y="333"/>
                  <a:pt x="402" y="333"/>
                </a:cubicBezTo>
                <a:cubicBezTo>
                  <a:pt x="403" y="333"/>
                  <a:pt x="404" y="333"/>
                  <a:pt x="404" y="333"/>
                </a:cubicBezTo>
                <a:cubicBezTo>
                  <a:pt x="405" y="333"/>
                  <a:pt x="405" y="333"/>
                  <a:pt x="405" y="333"/>
                </a:cubicBezTo>
                <a:cubicBezTo>
                  <a:pt x="406" y="333"/>
                  <a:pt x="406" y="333"/>
                  <a:pt x="406" y="333"/>
                </a:cubicBezTo>
                <a:cubicBezTo>
                  <a:pt x="407" y="332"/>
                  <a:pt x="406" y="332"/>
                  <a:pt x="406" y="332"/>
                </a:cubicBezTo>
                <a:cubicBezTo>
                  <a:pt x="405" y="332"/>
                  <a:pt x="404" y="332"/>
                  <a:pt x="404" y="332"/>
                </a:cubicBezTo>
                <a:cubicBezTo>
                  <a:pt x="403" y="332"/>
                  <a:pt x="403" y="331"/>
                  <a:pt x="402" y="331"/>
                </a:cubicBezTo>
                <a:cubicBezTo>
                  <a:pt x="402" y="331"/>
                  <a:pt x="401" y="331"/>
                  <a:pt x="402" y="331"/>
                </a:cubicBezTo>
                <a:cubicBezTo>
                  <a:pt x="402" y="332"/>
                  <a:pt x="402" y="332"/>
                  <a:pt x="402" y="332"/>
                </a:cubicBezTo>
                <a:cubicBezTo>
                  <a:pt x="402" y="332"/>
                  <a:pt x="401" y="331"/>
                  <a:pt x="401" y="332"/>
                </a:cubicBezTo>
                <a:close/>
                <a:moveTo>
                  <a:pt x="276" y="97"/>
                </a:moveTo>
                <a:cubicBezTo>
                  <a:pt x="276" y="97"/>
                  <a:pt x="276" y="97"/>
                  <a:pt x="276" y="97"/>
                </a:cubicBezTo>
                <a:cubicBezTo>
                  <a:pt x="276" y="97"/>
                  <a:pt x="276" y="97"/>
                  <a:pt x="276" y="97"/>
                </a:cubicBezTo>
                <a:close/>
                <a:moveTo>
                  <a:pt x="388" y="288"/>
                </a:moveTo>
                <a:cubicBezTo>
                  <a:pt x="388" y="289"/>
                  <a:pt x="386" y="288"/>
                  <a:pt x="385" y="288"/>
                </a:cubicBezTo>
                <a:cubicBezTo>
                  <a:pt x="385" y="289"/>
                  <a:pt x="386" y="289"/>
                  <a:pt x="386" y="289"/>
                </a:cubicBezTo>
                <a:cubicBezTo>
                  <a:pt x="387" y="289"/>
                  <a:pt x="387" y="289"/>
                  <a:pt x="387" y="290"/>
                </a:cubicBezTo>
                <a:cubicBezTo>
                  <a:pt x="387" y="289"/>
                  <a:pt x="388" y="289"/>
                  <a:pt x="388" y="289"/>
                </a:cubicBezTo>
                <a:cubicBezTo>
                  <a:pt x="388" y="289"/>
                  <a:pt x="387" y="289"/>
                  <a:pt x="387" y="289"/>
                </a:cubicBezTo>
                <a:cubicBezTo>
                  <a:pt x="387" y="288"/>
                  <a:pt x="388" y="288"/>
                  <a:pt x="388" y="289"/>
                </a:cubicBezTo>
                <a:cubicBezTo>
                  <a:pt x="387" y="289"/>
                  <a:pt x="389" y="289"/>
                  <a:pt x="389" y="289"/>
                </a:cubicBezTo>
                <a:cubicBezTo>
                  <a:pt x="389" y="288"/>
                  <a:pt x="388" y="288"/>
                  <a:pt x="388" y="288"/>
                </a:cubicBezTo>
                <a:close/>
                <a:moveTo>
                  <a:pt x="393" y="308"/>
                </a:moveTo>
                <a:cubicBezTo>
                  <a:pt x="393" y="308"/>
                  <a:pt x="392" y="308"/>
                  <a:pt x="392" y="308"/>
                </a:cubicBezTo>
                <a:cubicBezTo>
                  <a:pt x="393" y="308"/>
                  <a:pt x="392" y="307"/>
                  <a:pt x="392" y="307"/>
                </a:cubicBezTo>
                <a:cubicBezTo>
                  <a:pt x="392" y="307"/>
                  <a:pt x="391" y="306"/>
                  <a:pt x="390" y="306"/>
                </a:cubicBezTo>
                <a:cubicBezTo>
                  <a:pt x="390" y="306"/>
                  <a:pt x="390" y="308"/>
                  <a:pt x="390" y="308"/>
                </a:cubicBezTo>
                <a:cubicBezTo>
                  <a:pt x="391" y="308"/>
                  <a:pt x="391" y="310"/>
                  <a:pt x="392" y="309"/>
                </a:cubicBezTo>
                <a:cubicBezTo>
                  <a:pt x="392" y="309"/>
                  <a:pt x="392" y="309"/>
                  <a:pt x="392" y="309"/>
                </a:cubicBezTo>
                <a:cubicBezTo>
                  <a:pt x="392" y="308"/>
                  <a:pt x="393" y="309"/>
                  <a:pt x="393" y="308"/>
                </a:cubicBezTo>
                <a:close/>
                <a:moveTo>
                  <a:pt x="390" y="297"/>
                </a:moveTo>
                <a:cubicBezTo>
                  <a:pt x="389" y="297"/>
                  <a:pt x="388" y="297"/>
                  <a:pt x="387" y="297"/>
                </a:cubicBezTo>
                <a:cubicBezTo>
                  <a:pt x="386" y="297"/>
                  <a:pt x="387" y="298"/>
                  <a:pt x="388" y="298"/>
                </a:cubicBezTo>
                <a:cubicBezTo>
                  <a:pt x="387" y="298"/>
                  <a:pt x="388" y="299"/>
                  <a:pt x="389" y="299"/>
                </a:cubicBezTo>
                <a:cubicBezTo>
                  <a:pt x="389" y="299"/>
                  <a:pt x="390" y="298"/>
                  <a:pt x="390" y="298"/>
                </a:cubicBezTo>
                <a:cubicBezTo>
                  <a:pt x="390" y="298"/>
                  <a:pt x="391" y="298"/>
                  <a:pt x="391" y="298"/>
                </a:cubicBezTo>
                <a:cubicBezTo>
                  <a:pt x="392" y="298"/>
                  <a:pt x="390" y="297"/>
                  <a:pt x="390" y="297"/>
                </a:cubicBezTo>
                <a:close/>
                <a:moveTo>
                  <a:pt x="402" y="337"/>
                </a:moveTo>
                <a:cubicBezTo>
                  <a:pt x="402" y="337"/>
                  <a:pt x="401" y="337"/>
                  <a:pt x="401" y="337"/>
                </a:cubicBezTo>
                <a:cubicBezTo>
                  <a:pt x="401" y="336"/>
                  <a:pt x="401" y="336"/>
                  <a:pt x="400" y="336"/>
                </a:cubicBezTo>
                <a:cubicBezTo>
                  <a:pt x="400" y="336"/>
                  <a:pt x="400" y="336"/>
                  <a:pt x="400" y="336"/>
                </a:cubicBezTo>
                <a:cubicBezTo>
                  <a:pt x="400" y="335"/>
                  <a:pt x="400" y="335"/>
                  <a:pt x="400" y="335"/>
                </a:cubicBezTo>
                <a:cubicBezTo>
                  <a:pt x="399" y="334"/>
                  <a:pt x="400" y="336"/>
                  <a:pt x="400" y="336"/>
                </a:cubicBezTo>
                <a:cubicBezTo>
                  <a:pt x="400" y="336"/>
                  <a:pt x="400" y="336"/>
                  <a:pt x="400" y="337"/>
                </a:cubicBezTo>
                <a:cubicBezTo>
                  <a:pt x="400" y="337"/>
                  <a:pt x="401" y="338"/>
                  <a:pt x="401" y="338"/>
                </a:cubicBezTo>
                <a:cubicBezTo>
                  <a:pt x="401" y="339"/>
                  <a:pt x="400" y="337"/>
                  <a:pt x="399" y="338"/>
                </a:cubicBezTo>
                <a:cubicBezTo>
                  <a:pt x="398" y="338"/>
                  <a:pt x="399" y="339"/>
                  <a:pt x="400" y="340"/>
                </a:cubicBezTo>
                <a:cubicBezTo>
                  <a:pt x="401" y="340"/>
                  <a:pt x="402" y="340"/>
                  <a:pt x="403" y="341"/>
                </a:cubicBezTo>
                <a:cubicBezTo>
                  <a:pt x="404" y="341"/>
                  <a:pt x="404" y="340"/>
                  <a:pt x="403" y="340"/>
                </a:cubicBezTo>
                <a:cubicBezTo>
                  <a:pt x="403" y="340"/>
                  <a:pt x="404" y="340"/>
                  <a:pt x="403" y="340"/>
                </a:cubicBezTo>
                <a:cubicBezTo>
                  <a:pt x="403" y="340"/>
                  <a:pt x="402" y="338"/>
                  <a:pt x="402" y="338"/>
                </a:cubicBezTo>
                <a:cubicBezTo>
                  <a:pt x="402" y="338"/>
                  <a:pt x="401" y="338"/>
                  <a:pt x="401" y="338"/>
                </a:cubicBezTo>
                <a:cubicBezTo>
                  <a:pt x="401" y="338"/>
                  <a:pt x="402" y="338"/>
                  <a:pt x="402" y="337"/>
                </a:cubicBezTo>
                <a:close/>
                <a:moveTo>
                  <a:pt x="390" y="305"/>
                </a:moveTo>
                <a:cubicBezTo>
                  <a:pt x="390" y="305"/>
                  <a:pt x="391" y="305"/>
                  <a:pt x="391" y="305"/>
                </a:cubicBezTo>
                <a:cubicBezTo>
                  <a:pt x="391" y="305"/>
                  <a:pt x="390" y="305"/>
                  <a:pt x="390" y="305"/>
                </a:cubicBezTo>
                <a:cubicBezTo>
                  <a:pt x="390" y="304"/>
                  <a:pt x="389" y="304"/>
                  <a:pt x="389" y="304"/>
                </a:cubicBezTo>
                <a:cubicBezTo>
                  <a:pt x="388" y="304"/>
                  <a:pt x="390" y="305"/>
                  <a:pt x="390" y="305"/>
                </a:cubicBezTo>
                <a:close/>
                <a:moveTo>
                  <a:pt x="388" y="292"/>
                </a:moveTo>
                <a:cubicBezTo>
                  <a:pt x="388" y="292"/>
                  <a:pt x="389" y="292"/>
                  <a:pt x="389" y="292"/>
                </a:cubicBezTo>
                <a:cubicBezTo>
                  <a:pt x="390" y="292"/>
                  <a:pt x="388" y="291"/>
                  <a:pt x="388" y="292"/>
                </a:cubicBezTo>
                <a:close/>
                <a:moveTo>
                  <a:pt x="397" y="344"/>
                </a:moveTo>
                <a:cubicBezTo>
                  <a:pt x="398" y="344"/>
                  <a:pt x="398" y="344"/>
                  <a:pt x="398" y="344"/>
                </a:cubicBezTo>
                <a:cubicBezTo>
                  <a:pt x="399" y="343"/>
                  <a:pt x="399" y="344"/>
                  <a:pt x="399" y="345"/>
                </a:cubicBezTo>
                <a:cubicBezTo>
                  <a:pt x="400" y="345"/>
                  <a:pt x="400" y="344"/>
                  <a:pt x="399" y="344"/>
                </a:cubicBezTo>
                <a:cubicBezTo>
                  <a:pt x="399" y="344"/>
                  <a:pt x="399" y="343"/>
                  <a:pt x="398" y="343"/>
                </a:cubicBezTo>
                <a:cubicBezTo>
                  <a:pt x="397" y="342"/>
                  <a:pt x="398" y="343"/>
                  <a:pt x="398" y="343"/>
                </a:cubicBezTo>
                <a:cubicBezTo>
                  <a:pt x="397" y="343"/>
                  <a:pt x="397" y="342"/>
                  <a:pt x="397" y="342"/>
                </a:cubicBezTo>
                <a:cubicBezTo>
                  <a:pt x="397" y="342"/>
                  <a:pt x="397" y="343"/>
                  <a:pt x="396" y="343"/>
                </a:cubicBezTo>
                <a:cubicBezTo>
                  <a:pt x="396" y="343"/>
                  <a:pt x="397" y="343"/>
                  <a:pt x="397" y="343"/>
                </a:cubicBezTo>
                <a:cubicBezTo>
                  <a:pt x="397" y="342"/>
                  <a:pt x="396" y="342"/>
                  <a:pt x="396" y="342"/>
                </a:cubicBezTo>
                <a:cubicBezTo>
                  <a:pt x="396" y="343"/>
                  <a:pt x="396" y="342"/>
                  <a:pt x="396" y="343"/>
                </a:cubicBezTo>
                <a:cubicBezTo>
                  <a:pt x="395" y="342"/>
                  <a:pt x="395" y="343"/>
                  <a:pt x="396" y="344"/>
                </a:cubicBezTo>
                <a:cubicBezTo>
                  <a:pt x="396" y="344"/>
                  <a:pt x="397" y="344"/>
                  <a:pt x="397" y="343"/>
                </a:cubicBezTo>
                <a:cubicBezTo>
                  <a:pt x="397" y="344"/>
                  <a:pt x="397" y="344"/>
                  <a:pt x="397" y="344"/>
                </a:cubicBezTo>
                <a:close/>
                <a:moveTo>
                  <a:pt x="386" y="283"/>
                </a:moveTo>
                <a:cubicBezTo>
                  <a:pt x="386" y="283"/>
                  <a:pt x="386" y="283"/>
                  <a:pt x="387" y="283"/>
                </a:cubicBezTo>
                <a:cubicBezTo>
                  <a:pt x="387" y="283"/>
                  <a:pt x="387" y="283"/>
                  <a:pt x="387" y="283"/>
                </a:cubicBezTo>
                <a:cubicBezTo>
                  <a:pt x="387" y="282"/>
                  <a:pt x="386" y="282"/>
                  <a:pt x="386" y="281"/>
                </a:cubicBezTo>
                <a:cubicBezTo>
                  <a:pt x="386" y="281"/>
                  <a:pt x="385" y="280"/>
                  <a:pt x="386" y="281"/>
                </a:cubicBezTo>
                <a:cubicBezTo>
                  <a:pt x="386" y="281"/>
                  <a:pt x="386" y="281"/>
                  <a:pt x="386" y="281"/>
                </a:cubicBezTo>
                <a:cubicBezTo>
                  <a:pt x="387" y="281"/>
                  <a:pt x="387" y="280"/>
                  <a:pt x="387" y="281"/>
                </a:cubicBezTo>
                <a:cubicBezTo>
                  <a:pt x="388" y="281"/>
                  <a:pt x="388" y="281"/>
                  <a:pt x="388" y="281"/>
                </a:cubicBezTo>
                <a:cubicBezTo>
                  <a:pt x="388" y="280"/>
                  <a:pt x="387" y="280"/>
                  <a:pt x="387" y="280"/>
                </a:cubicBezTo>
                <a:cubicBezTo>
                  <a:pt x="387" y="280"/>
                  <a:pt x="387" y="280"/>
                  <a:pt x="387" y="280"/>
                </a:cubicBezTo>
                <a:cubicBezTo>
                  <a:pt x="387" y="279"/>
                  <a:pt x="386" y="278"/>
                  <a:pt x="385" y="278"/>
                </a:cubicBezTo>
                <a:cubicBezTo>
                  <a:pt x="386" y="278"/>
                  <a:pt x="387" y="278"/>
                  <a:pt x="387" y="278"/>
                </a:cubicBezTo>
                <a:cubicBezTo>
                  <a:pt x="387" y="277"/>
                  <a:pt x="385" y="277"/>
                  <a:pt x="385" y="276"/>
                </a:cubicBezTo>
                <a:cubicBezTo>
                  <a:pt x="385" y="276"/>
                  <a:pt x="384" y="276"/>
                  <a:pt x="384" y="276"/>
                </a:cubicBezTo>
                <a:cubicBezTo>
                  <a:pt x="383" y="275"/>
                  <a:pt x="383" y="275"/>
                  <a:pt x="383" y="275"/>
                </a:cubicBezTo>
                <a:cubicBezTo>
                  <a:pt x="383" y="275"/>
                  <a:pt x="382" y="273"/>
                  <a:pt x="383" y="274"/>
                </a:cubicBezTo>
                <a:cubicBezTo>
                  <a:pt x="383" y="274"/>
                  <a:pt x="383" y="274"/>
                  <a:pt x="384" y="274"/>
                </a:cubicBezTo>
                <a:cubicBezTo>
                  <a:pt x="384" y="274"/>
                  <a:pt x="385" y="274"/>
                  <a:pt x="384" y="274"/>
                </a:cubicBezTo>
                <a:cubicBezTo>
                  <a:pt x="384" y="274"/>
                  <a:pt x="383" y="273"/>
                  <a:pt x="383" y="272"/>
                </a:cubicBezTo>
                <a:cubicBezTo>
                  <a:pt x="384" y="272"/>
                  <a:pt x="385" y="272"/>
                  <a:pt x="385" y="272"/>
                </a:cubicBezTo>
                <a:cubicBezTo>
                  <a:pt x="385" y="272"/>
                  <a:pt x="386" y="272"/>
                  <a:pt x="386" y="271"/>
                </a:cubicBezTo>
                <a:cubicBezTo>
                  <a:pt x="385" y="271"/>
                  <a:pt x="385" y="271"/>
                  <a:pt x="385" y="271"/>
                </a:cubicBezTo>
                <a:cubicBezTo>
                  <a:pt x="385" y="270"/>
                  <a:pt x="384" y="270"/>
                  <a:pt x="384" y="270"/>
                </a:cubicBezTo>
                <a:cubicBezTo>
                  <a:pt x="384" y="269"/>
                  <a:pt x="384" y="269"/>
                  <a:pt x="383" y="268"/>
                </a:cubicBezTo>
                <a:cubicBezTo>
                  <a:pt x="383" y="268"/>
                  <a:pt x="382" y="268"/>
                  <a:pt x="382" y="268"/>
                </a:cubicBezTo>
                <a:cubicBezTo>
                  <a:pt x="382" y="268"/>
                  <a:pt x="383" y="268"/>
                  <a:pt x="383" y="268"/>
                </a:cubicBezTo>
                <a:cubicBezTo>
                  <a:pt x="382" y="267"/>
                  <a:pt x="382" y="267"/>
                  <a:pt x="383" y="267"/>
                </a:cubicBezTo>
                <a:cubicBezTo>
                  <a:pt x="383" y="267"/>
                  <a:pt x="382" y="266"/>
                  <a:pt x="382" y="266"/>
                </a:cubicBezTo>
                <a:cubicBezTo>
                  <a:pt x="381" y="266"/>
                  <a:pt x="382" y="267"/>
                  <a:pt x="381" y="266"/>
                </a:cubicBezTo>
                <a:cubicBezTo>
                  <a:pt x="380" y="266"/>
                  <a:pt x="380" y="267"/>
                  <a:pt x="381" y="267"/>
                </a:cubicBezTo>
                <a:cubicBezTo>
                  <a:pt x="380" y="267"/>
                  <a:pt x="380" y="267"/>
                  <a:pt x="380" y="267"/>
                </a:cubicBezTo>
                <a:cubicBezTo>
                  <a:pt x="380" y="267"/>
                  <a:pt x="380" y="267"/>
                  <a:pt x="380" y="267"/>
                </a:cubicBezTo>
                <a:cubicBezTo>
                  <a:pt x="379" y="267"/>
                  <a:pt x="378" y="267"/>
                  <a:pt x="378" y="267"/>
                </a:cubicBezTo>
                <a:cubicBezTo>
                  <a:pt x="378" y="267"/>
                  <a:pt x="379" y="267"/>
                  <a:pt x="379" y="267"/>
                </a:cubicBezTo>
                <a:cubicBezTo>
                  <a:pt x="379" y="266"/>
                  <a:pt x="379" y="266"/>
                  <a:pt x="378" y="266"/>
                </a:cubicBezTo>
                <a:cubicBezTo>
                  <a:pt x="378" y="266"/>
                  <a:pt x="377" y="266"/>
                  <a:pt x="378" y="266"/>
                </a:cubicBezTo>
                <a:cubicBezTo>
                  <a:pt x="378" y="267"/>
                  <a:pt x="378" y="267"/>
                  <a:pt x="378" y="267"/>
                </a:cubicBezTo>
                <a:cubicBezTo>
                  <a:pt x="378" y="268"/>
                  <a:pt x="379" y="269"/>
                  <a:pt x="379" y="269"/>
                </a:cubicBezTo>
                <a:cubicBezTo>
                  <a:pt x="379" y="270"/>
                  <a:pt x="378" y="270"/>
                  <a:pt x="378" y="271"/>
                </a:cubicBezTo>
                <a:cubicBezTo>
                  <a:pt x="378" y="271"/>
                  <a:pt x="379" y="272"/>
                  <a:pt x="379" y="273"/>
                </a:cubicBezTo>
                <a:cubicBezTo>
                  <a:pt x="379" y="273"/>
                  <a:pt x="379" y="274"/>
                  <a:pt x="379" y="274"/>
                </a:cubicBezTo>
                <a:cubicBezTo>
                  <a:pt x="380" y="275"/>
                  <a:pt x="380" y="275"/>
                  <a:pt x="380" y="276"/>
                </a:cubicBezTo>
                <a:cubicBezTo>
                  <a:pt x="380" y="277"/>
                  <a:pt x="381" y="277"/>
                  <a:pt x="381" y="278"/>
                </a:cubicBezTo>
                <a:cubicBezTo>
                  <a:pt x="381" y="278"/>
                  <a:pt x="381" y="279"/>
                  <a:pt x="381" y="279"/>
                </a:cubicBezTo>
                <a:cubicBezTo>
                  <a:pt x="381" y="279"/>
                  <a:pt x="381" y="280"/>
                  <a:pt x="381" y="280"/>
                </a:cubicBezTo>
                <a:cubicBezTo>
                  <a:pt x="380" y="280"/>
                  <a:pt x="381" y="280"/>
                  <a:pt x="381" y="281"/>
                </a:cubicBezTo>
                <a:cubicBezTo>
                  <a:pt x="381" y="281"/>
                  <a:pt x="381" y="282"/>
                  <a:pt x="381" y="282"/>
                </a:cubicBezTo>
                <a:cubicBezTo>
                  <a:pt x="381" y="282"/>
                  <a:pt x="381" y="283"/>
                  <a:pt x="382" y="283"/>
                </a:cubicBezTo>
                <a:cubicBezTo>
                  <a:pt x="383" y="283"/>
                  <a:pt x="383" y="283"/>
                  <a:pt x="384" y="283"/>
                </a:cubicBezTo>
                <a:cubicBezTo>
                  <a:pt x="385" y="283"/>
                  <a:pt x="385" y="283"/>
                  <a:pt x="386" y="284"/>
                </a:cubicBezTo>
                <a:cubicBezTo>
                  <a:pt x="386" y="284"/>
                  <a:pt x="386" y="283"/>
                  <a:pt x="386" y="283"/>
                </a:cubicBezTo>
                <a:close/>
                <a:moveTo>
                  <a:pt x="381" y="299"/>
                </a:moveTo>
                <a:cubicBezTo>
                  <a:pt x="381" y="299"/>
                  <a:pt x="382" y="300"/>
                  <a:pt x="382" y="300"/>
                </a:cubicBezTo>
                <a:cubicBezTo>
                  <a:pt x="383" y="300"/>
                  <a:pt x="381" y="298"/>
                  <a:pt x="381" y="299"/>
                </a:cubicBezTo>
                <a:close/>
                <a:moveTo>
                  <a:pt x="395" y="297"/>
                </a:moveTo>
                <a:cubicBezTo>
                  <a:pt x="394" y="297"/>
                  <a:pt x="396" y="298"/>
                  <a:pt x="396" y="299"/>
                </a:cubicBezTo>
                <a:cubicBezTo>
                  <a:pt x="396" y="299"/>
                  <a:pt x="397" y="298"/>
                  <a:pt x="397" y="299"/>
                </a:cubicBezTo>
                <a:cubicBezTo>
                  <a:pt x="397" y="299"/>
                  <a:pt x="398" y="299"/>
                  <a:pt x="397" y="299"/>
                </a:cubicBezTo>
                <a:cubicBezTo>
                  <a:pt x="397" y="299"/>
                  <a:pt x="397" y="299"/>
                  <a:pt x="397" y="299"/>
                </a:cubicBezTo>
                <a:cubicBezTo>
                  <a:pt x="397" y="299"/>
                  <a:pt x="396" y="299"/>
                  <a:pt x="396" y="299"/>
                </a:cubicBezTo>
                <a:cubicBezTo>
                  <a:pt x="396" y="299"/>
                  <a:pt x="398" y="300"/>
                  <a:pt x="398" y="300"/>
                </a:cubicBezTo>
                <a:cubicBezTo>
                  <a:pt x="399" y="300"/>
                  <a:pt x="399" y="299"/>
                  <a:pt x="400" y="298"/>
                </a:cubicBezTo>
                <a:cubicBezTo>
                  <a:pt x="401" y="297"/>
                  <a:pt x="399" y="297"/>
                  <a:pt x="399" y="297"/>
                </a:cubicBezTo>
                <a:cubicBezTo>
                  <a:pt x="399" y="297"/>
                  <a:pt x="400" y="298"/>
                  <a:pt x="400" y="297"/>
                </a:cubicBezTo>
                <a:cubicBezTo>
                  <a:pt x="401" y="297"/>
                  <a:pt x="401" y="296"/>
                  <a:pt x="401" y="296"/>
                </a:cubicBezTo>
                <a:cubicBezTo>
                  <a:pt x="400" y="295"/>
                  <a:pt x="400" y="295"/>
                  <a:pt x="399" y="295"/>
                </a:cubicBezTo>
                <a:cubicBezTo>
                  <a:pt x="399" y="295"/>
                  <a:pt x="399" y="295"/>
                  <a:pt x="398" y="296"/>
                </a:cubicBezTo>
                <a:cubicBezTo>
                  <a:pt x="398" y="295"/>
                  <a:pt x="399" y="294"/>
                  <a:pt x="398" y="294"/>
                </a:cubicBezTo>
                <a:cubicBezTo>
                  <a:pt x="396" y="294"/>
                  <a:pt x="398" y="295"/>
                  <a:pt x="398" y="295"/>
                </a:cubicBezTo>
                <a:cubicBezTo>
                  <a:pt x="397" y="295"/>
                  <a:pt x="396" y="294"/>
                  <a:pt x="396" y="295"/>
                </a:cubicBezTo>
                <a:cubicBezTo>
                  <a:pt x="396" y="295"/>
                  <a:pt x="397" y="296"/>
                  <a:pt x="397" y="296"/>
                </a:cubicBezTo>
                <a:cubicBezTo>
                  <a:pt x="397" y="296"/>
                  <a:pt x="397" y="297"/>
                  <a:pt x="397" y="296"/>
                </a:cubicBezTo>
                <a:cubicBezTo>
                  <a:pt x="397" y="296"/>
                  <a:pt x="396" y="296"/>
                  <a:pt x="396" y="296"/>
                </a:cubicBezTo>
                <a:cubicBezTo>
                  <a:pt x="396" y="296"/>
                  <a:pt x="397" y="297"/>
                  <a:pt x="397" y="297"/>
                </a:cubicBezTo>
                <a:cubicBezTo>
                  <a:pt x="397" y="297"/>
                  <a:pt x="395" y="296"/>
                  <a:pt x="395" y="297"/>
                </a:cubicBezTo>
                <a:close/>
                <a:moveTo>
                  <a:pt x="449" y="396"/>
                </a:moveTo>
                <a:cubicBezTo>
                  <a:pt x="449" y="396"/>
                  <a:pt x="448" y="396"/>
                  <a:pt x="448" y="396"/>
                </a:cubicBezTo>
                <a:cubicBezTo>
                  <a:pt x="449" y="396"/>
                  <a:pt x="449" y="396"/>
                  <a:pt x="449" y="396"/>
                </a:cubicBezTo>
                <a:cubicBezTo>
                  <a:pt x="449" y="396"/>
                  <a:pt x="448" y="395"/>
                  <a:pt x="448" y="395"/>
                </a:cubicBezTo>
                <a:cubicBezTo>
                  <a:pt x="448" y="395"/>
                  <a:pt x="450" y="396"/>
                  <a:pt x="450" y="395"/>
                </a:cubicBezTo>
                <a:cubicBezTo>
                  <a:pt x="450" y="396"/>
                  <a:pt x="450" y="394"/>
                  <a:pt x="450" y="395"/>
                </a:cubicBezTo>
                <a:cubicBezTo>
                  <a:pt x="450" y="394"/>
                  <a:pt x="448" y="394"/>
                  <a:pt x="449" y="394"/>
                </a:cubicBezTo>
                <a:cubicBezTo>
                  <a:pt x="449" y="394"/>
                  <a:pt x="448" y="394"/>
                  <a:pt x="448" y="394"/>
                </a:cubicBezTo>
                <a:cubicBezTo>
                  <a:pt x="447" y="394"/>
                  <a:pt x="448" y="394"/>
                  <a:pt x="447" y="394"/>
                </a:cubicBezTo>
                <a:cubicBezTo>
                  <a:pt x="447" y="394"/>
                  <a:pt x="447" y="394"/>
                  <a:pt x="447" y="393"/>
                </a:cubicBezTo>
                <a:cubicBezTo>
                  <a:pt x="446" y="393"/>
                  <a:pt x="447" y="393"/>
                  <a:pt x="447" y="393"/>
                </a:cubicBezTo>
                <a:cubicBezTo>
                  <a:pt x="447" y="393"/>
                  <a:pt x="446" y="392"/>
                  <a:pt x="446" y="392"/>
                </a:cubicBezTo>
                <a:cubicBezTo>
                  <a:pt x="445" y="393"/>
                  <a:pt x="445" y="392"/>
                  <a:pt x="444" y="392"/>
                </a:cubicBezTo>
                <a:cubicBezTo>
                  <a:pt x="445" y="392"/>
                  <a:pt x="445" y="393"/>
                  <a:pt x="445" y="393"/>
                </a:cubicBezTo>
                <a:cubicBezTo>
                  <a:pt x="445" y="394"/>
                  <a:pt x="445" y="393"/>
                  <a:pt x="445" y="393"/>
                </a:cubicBezTo>
                <a:cubicBezTo>
                  <a:pt x="444" y="392"/>
                  <a:pt x="443" y="391"/>
                  <a:pt x="442" y="391"/>
                </a:cubicBezTo>
                <a:cubicBezTo>
                  <a:pt x="443" y="391"/>
                  <a:pt x="443" y="392"/>
                  <a:pt x="443" y="392"/>
                </a:cubicBezTo>
                <a:cubicBezTo>
                  <a:pt x="443" y="393"/>
                  <a:pt x="443" y="393"/>
                  <a:pt x="443" y="393"/>
                </a:cubicBezTo>
                <a:cubicBezTo>
                  <a:pt x="443" y="393"/>
                  <a:pt x="442" y="391"/>
                  <a:pt x="442" y="392"/>
                </a:cubicBezTo>
                <a:cubicBezTo>
                  <a:pt x="442" y="391"/>
                  <a:pt x="442" y="391"/>
                  <a:pt x="441" y="391"/>
                </a:cubicBezTo>
                <a:cubicBezTo>
                  <a:pt x="441" y="391"/>
                  <a:pt x="441" y="391"/>
                  <a:pt x="441" y="392"/>
                </a:cubicBezTo>
                <a:cubicBezTo>
                  <a:pt x="441" y="391"/>
                  <a:pt x="440" y="390"/>
                  <a:pt x="440" y="391"/>
                </a:cubicBezTo>
                <a:cubicBezTo>
                  <a:pt x="439" y="391"/>
                  <a:pt x="441" y="392"/>
                  <a:pt x="441" y="392"/>
                </a:cubicBezTo>
                <a:cubicBezTo>
                  <a:pt x="440" y="392"/>
                  <a:pt x="440" y="392"/>
                  <a:pt x="439" y="392"/>
                </a:cubicBezTo>
                <a:cubicBezTo>
                  <a:pt x="439" y="391"/>
                  <a:pt x="438" y="391"/>
                  <a:pt x="438" y="391"/>
                </a:cubicBezTo>
                <a:cubicBezTo>
                  <a:pt x="438" y="392"/>
                  <a:pt x="439" y="392"/>
                  <a:pt x="439" y="392"/>
                </a:cubicBezTo>
                <a:cubicBezTo>
                  <a:pt x="439" y="392"/>
                  <a:pt x="440" y="393"/>
                  <a:pt x="440" y="393"/>
                </a:cubicBezTo>
                <a:cubicBezTo>
                  <a:pt x="440" y="393"/>
                  <a:pt x="441" y="393"/>
                  <a:pt x="441" y="393"/>
                </a:cubicBezTo>
                <a:cubicBezTo>
                  <a:pt x="441" y="393"/>
                  <a:pt x="441" y="393"/>
                  <a:pt x="442" y="393"/>
                </a:cubicBezTo>
                <a:cubicBezTo>
                  <a:pt x="441" y="393"/>
                  <a:pt x="443" y="393"/>
                  <a:pt x="443" y="393"/>
                </a:cubicBezTo>
                <a:cubicBezTo>
                  <a:pt x="442" y="394"/>
                  <a:pt x="441" y="393"/>
                  <a:pt x="441" y="393"/>
                </a:cubicBezTo>
                <a:cubicBezTo>
                  <a:pt x="440" y="393"/>
                  <a:pt x="440" y="393"/>
                  <a:pt x="439" y="392"/>
                </a:cubicBezTo>
                <a:cubicBezTo>
                  <a:pt x="439" y="392"/>
                  <a:pt x="438" y="392"/>
                  <a:pt x="438" y="392"/>
                </a:cubicBezTo>
                <a:cubicBezTo>
                  <a:pt x="438" y="393"/>
                  <a:pt x="438" y="392"/>
                  <a:pt x="437" y="392"/>
                </a:cubicBezTo>
                <a:cubicBezTo>
                  <a:pt x="436" y="392"/>
                  <a:pt x="437" y="393"/>
                  <a:pt x="437" y="393"/>
                </a:cubicBezTo>
                <a:cubicBezTo>
                  <a:pt x="438" y="393"/>
                  <a:pt x="439" y="393"/>
                  <a:pt x="439" y="394"/>
                </a:cubicBezTo>
                <a:cubicBezTo>
                  <a:pt x="439" y="394"/>
                  <a:pt x="437" y="394"/>
                  <a:pt x="438" y="394"/>
                </a:cubicBezTo>
                <a:cubicBezTo>
                  <a:pt x="439" y="394"/>
                  <a:pt x="441" y="393"/>
                  <a:pt x="440" y="394"/>
                </a:cubicBezTo>
                <a:cubicBezTo>
                  <a:pt x="440" y="394"/>
                  <a:pt x="441" y="394"/>
                  <a:pt x="441" y="395"/>
                </a:cubicBezTo>
                <a:cubicBezTo>
                  <a:pt x="441" y="395"/>
                  <a:pt x="441" y="395"/>
                  <a:pt x="441" y="395"/>
                </a:cubicBezTo>
                <a:cubicBezTo>
                  <a:pt x="441" y="395"/>
                  <a:pt x="442" y="396"/>
                  <a:pt x="441" y="396"/>
                </a:cubicBezTo>
                <a:cubicBezTo>
                  <a:pt x="441" y="397"/>
                  <a:pt x="444" y="397"/>
                  <a:pt x="444" y="397"/>
                </a:cubicBezTo>
                <a:cubicBezTo>
                  <a:pt x="444" y="396"/>
                  <a:pt x="443" y="396"/>
                  <a:pt x="443" y="396"/>
                </a:cubicBezTo>
                <a:cubicBezTo>
                  <a:pt x="443" y="396"/>
                  <a:pt x="443" y="395"/>
                  <a:pt x="443" y="395"/>
                </a:cubicBezTo>
                <a:cubicBezTo>
                  <a:pt x="443" y="395"/>
                  <a:pt x="443" y="396"/>
                  <a:pt x="443" y="395"/>
                </a:cubicBezTo>
                <a:cubicBezTo>
                  <a:pt x="444" y="395"/>
                  <a:pt x="444" y="396"/>
                  <a:pt x="444" y="395"/>
                </a:cubicBezTo>
                <a:cubicBezTo>
                  <a:pt x="445" y="395"/>
                  <a:pt x="446" y="395"/>
                  <a:pt x="445" y="395"/>
                </a:cubicBezTo>
                <a:cubicBezTo>
                  <a:pt x="445" y="395"/>
                  <a:pt x="446" y="395"/>
                  <a:pt x="446" y="395"/>
                </a:cubicBezTo>
                <a:cubicBezTo>
                  <a:pt x="446" y="396"/>
                  <a:pt x="445" y="396"/>
                  <a:pt x="445" y="396"/>
                </a:cubicBezTo>
                <a:cubicBezTo>
                  <a:pt x="446" y="397"/>
                  <a:pt x="446" y="397"/>
                  <a:pt x="446" y="397"/>
                </a:cubicBezTo>
                <a:cubicBezTo>
                  <a:pt x="446" y="397"/>
                  <a:pt x="446" y="397"/>
                  <a:pt x="445" y="397"/>
                </a:cubicBezTo>
                <a:cubicBezTo>
                  <a:pt x="445" y="397"/>
                  <a:pt x="446" y="397"/>
                  <a:pt x="446" y="397"/>
                </a:cubicBezTo>
                <a:cubicBezTo>
                  <a:pt x="446" y="398"/>
                  <a:pt x="445" y="397"/>
                  <a:pt x="445" y="397"/>
                </a:cubicBezTo>
                <a:cubicBezTo>
                  <a:pt x="445" y="397"/>
                  <a:pt x="444" y="398"/>
                  <a:pt x="444" y="398"/>
                </a:cubicBezTo>
                <a:cubicBezTo>
                  <a:pt x="445" y="398"/>
                  <a:pt x="446" y="398"/>
                  <a:pt x="445" y="398"/>
                </a:cubicBezTo>
                <a:cubicBezTo>
                  <a:pt x="446" y="398"/>
                  <a:pt x="446" y="398"/>
                  <a:pt x="446" y="398"/>
                </a:cubicBezTo>
                <a:cubicBezTo>
                  <a:pt x="446" y="398"/>
                  <a:pt x="447" y="398"/>
                  <a:pt x="447" y="398"/>
                </a:cubicBezTo>
                <a:cubicBezTo>
                  <a:pt x="447" y="398"/>
                  <a:pt x="447" y="397"/>
                  <a:pt x="447" y="397"/>
                </a:cubicBezTo>
                <a:cubicBezTo>
                  <a:pt x="447" y="397"/>
                  <a:pt x="448" y="398"/>
                  <a:pt x="448" y="398"/>
                </a:cubicBezTo>
                <a:cubicBezTo>
                  <a:pt x="449" y="398"/>
                  <a:pt x="448" y="397"/>
                  <a:pt x="448" y="397"/>
                </a:cubicBezTo>
                <a:cubicBezTo>
                  <a:pt x="448" y="397"/>
                  <a:pt x="448" y="397"/>
                  <a:pt x="449" y="397"/>
                </a:cubicBezTo>
                <a:cubicBezTo>
                  <a:pt x="449" y="397"/>
                  <a:pt x="449" y="397"/>
                  <a:pt x="449" y="397"/>
                </a:cubicBezTo>
                <a:cubicBezTo>
                  <a:pt x="449" y="397"/>
                  <a:pt x="450" y="397"/>
                  <a:pt x="450" y="397"/>
                </a:cubicBezTo>
                <a:cubicBezTo>
                  <a:pt x="450" y="397"/>
                  <a:pt x="449" y="396"/>
                  <a:pt x="449" y="396"/>
                </a:cubicBezTo>
                <a:close/>
                <a:moveTo>
                  <a:pt x="463" y="395"/>
                </a:moveTo>
                <a:cubicBezTo>
                  <a:pt x="462" y="395"/>
                  <a:pt x="460" y="395"/>
                  <a:pt x="461" y="396"/>
                </a:cubicBezTo>
                <a:cubicBezTo>
                  <a:pt x="461" y="396"/>
                  <a:pt x="461" y="396"/>
                  <a:pt x="461" y="397"/>
                </a:cubicBezTo>
                <a:cubicBezTo>
                  <a:pt x="462" y="397"/>
                  <a:pt x="462" y="397"/>
                  <a:pt x="462" y="398"/>
                </a:cubicBezTo>
                <a:cubicBezTo>
                  <a:pt x="463" y="398"/>
                  <a:pt x="464" y="399"/>
                  <a:pt x="466" y="399"/>
                </a:cubicBezTo>
                <a:cubicBezTo>
                  <a:pt x="466" y="399"/>
                  <a:pt x="465" y="398"/>
                  <a:pt x="465" y="398"/>
                </a:cubicBezTo>
                <a:cubicBezTo>
                  <a:pt x="465" y="398"/>
                  <a:pt x="465" y="398"/>
                  <a:pt x="464" y="397"/>
                </a:cubicBezTo>
                <a:cubicBezTo>
                  <a:pt x="464" y="397"/>
                  <a:pt x="463" y="397"/>
                  <a:pt x="463" y="396"/>
                </a:cubicBezTo>
                <a:cubicBezTo>
                  <a:pt x="463" y="396"/>
                  <a:pt x="466" y="398"/>
                  <a:pt x="466" y="397"/>
                </a:cubicBezTo>
                <a:cubicBezTo>
                  <a:pt x="466" y="396"/>
                  <a:pt x="465" y="396"/>
                  <a:pt x="465" y="396"/>
                </a:cubicBezTo>
                <a:cubicBezTo>
                  <a:pt x="464" y="395"/>
                  <a:pt x="464" y="395"/>
                  <a:pt x="463" y="394"/>
                </a:cubicBezTo>
                <a:cubicBezTo>
                  <a:pt x="463" y="394"/>
                  <a:pt x="463" y="392"/>
                  <a:pt x="462" y="392"/>
                </a:cubicBezTo>
                <a:cubicBezTo>
                  <a:pt x="462" y="392"/>
                  <a:pt x="462" y="393"/>
                  <a:pt x="462" y="393"/>
                </a:cubicBezTo>
                <a:cubicBezTo>
                  <a:pt x="461" y="394"/>
                  <a:pt x="461" y="394"/>
                  <a:pt x="462" y="394"/>
                </a:cubicBezTo>
                <a:cubicBezTo>
                  <a:pt x="462" y="394"/>
                  <a:pt x="463" y="395"/>
                  <a:pt x="463" y="395"/>
                </a:cubicBezTo>
                <a:close/>
                <a:moveTo>
                  <a:pt x="430" y="390"/>
                </a:moveTo>
                <a:cubicBezTo>
                  <a:pt x="431" y="390"/>
                  <a:pt x="431" y="389"/>
                  <a:pt x="431" y="389"/>
                </a:cubicBezTo>
                <a:cubicBezTo>
                  <a:pt x="431" y="388"/>
                  <a:pt x="430" y="389"/>
                  <a:pt x="430" y="390"/>
                </a:cubicBezTo>
                <a:close/>
                <a:moveTo>
                  <a:pt x="440" y="390"/>
                </a:moveTo>
                <a:cubicBezTo>
                  <a:pt x="440" y="390"/>
                  <a:pt x="439" y="390"/>
                  <a:pt x="439" y="389"/>
                </a:cubicBezTo>
                <a:cubicBezTo>
                  <a:pt x="438" y="389"/>
                  <a:pt x="437" y="389"/>
                  <a:pt x="437" y="389"/>
                </a:cubicBezTo>
                <a:cubicBezTo>
                  <a:pt x="437" y="389"/>
                  <a:pt x="437" y="389"/>
                  <a:pt x="437" y="389"/>
                </a:cubicBezTo>
                <a:cubicBezTo>
                  <a:pt x="437" y="388"/>
                  <a:pt x="436" y="388"/>
                  <a:pt x="435" y="388"/>
                </a:cubicBezTo>
                <a:cubicBezTo>
                  <a:pt x="436" y="388"/>
                  <a:pt x="436" y="389"/>
                  <a:pt x="436" y="389"/>
                </a:cubicBezTo>
                <a:cubicBezTo>
                  <a:pt x="435" y="389"/>
                  <a:pt x="435" y="388"/>
                  <a:pt x="435" y="388"/>
                </a:cubicBezTo>
                <a:cubicBezTo>
                  <a:pt x="435" y="387"/>
                  <a:pt x="434" y="387"/>
                  <a:pt x="434" y="387"/>
                </a:cubicBezTo>
                <a:cubicBezTo>
                  <a:pt x="434" y="387"/>
                  <a:pt x="434" y="388"/>
                  <a:pt x="434" y="388"/>
                </a:cubicBezTo>
                <a:cubicBezTo>
                  <a:pt x="434" y="388"/>
                  <a:pt x="433" y="387"/>
                  <a:pt x="432" y="387"/>
                </a:cubicBezTo>
                <a:cubicBezTo>
                  <a:pt x="432" y="387"/>
                  <a:pt x="432" y="386"/>
                  <a:pt x="431" y="386"/>
                </a:cubicBezTo>
                <a:cubicBezTo>
                  <a:pt x="431" y="386"/>
                  <a:pt x="431" y="387"/>
                  <a:pt x="431" y="387"/>
                </a:cubicBezTo>
                <a:cubicBezTo>
                  <a:pt x="431" y="387"/>
                  <a:pt x="431" y="387"/>
                  <a:pt x="431" y="386"/>
                </a:cubicBezTo>
                <a:cubicBezTo>
                  <a:pt x="431" y="386"/>
                  <a:pt x="430" y="386"/>
                  <a:pt x="430" y="386"/>
                </a:cubicBezTo>
                <a:cubicBezTo>
                  <a:pt x="430" y="386"/>
                  <a:pt x="429" y="386"/>
                  <a:pt x="429" y="386"/>
                </a:cubicBezTo>
                <a:cubicBezTo>
                  <a:pt x="429" y="386"/>
                  <a:pt x="430" y="386"/>
                  <a:pt x="429" y="386"/>
                </a:cubicBezTo>
                <a:cubicBezTo>
                  <a:pt x="429" y="386"/>
                  <a:pt x="429" y="386"/>
                  <a:pt x="429" y="386"/>
                </a:cubicBezTo>
                <a:cubicBezTo>
                  <a:pt x="428" y="386"/>
                  <a:pt x="428" y="386"/>
                  <a:pt x="428" y="386"/>
                </a:cubicBezTo>
                <a:cubicBezTo>
                  <a:pt x="428" y="386"/>
                  <a:pt x="427" y="385"/>
                  <a:pt x="427" y="386"/>
                </a:cubicBezTo>
                <a:cubicBezTo>
                  <a:pt x="427" y="386"/>
                  <a:pt x="427" y="385"/>
                  <a:pt x="426" y="385"/>
                </a:cubicBezTo>
                <a:cubicBezTo>
                  <a:pt x="426" y="385"/>
                  <a:pt x="426" y="385"/>
                  <a:pt x="426" y="385"/>
                </a:cubicBezTo>
                <a:cubicBezTo>
                  <a:pt x="425" y="384"/>
                  <a:pt x="424" y="383"/>
                  <a:pt x="423" y="383"/>
                </a:cubicBezTo>
                <a:cubicBezTo>
                  <a:pt x="423" y="384"/>
                  <a:pt x="424" y="384"/>
                  <a:pt x="425" y="385"/>
                </a:cubicBezTo>
                <a:cubicBezTo>
                  <a:pt x="425" y="385"/>
                  <a:pt x="425" y="385"/>
                  <a:pt x="425" y="386"/>
                </a:cubicBezTo>
                <a:cubicBezTo>
                  <a:pt x="425" y="386"/>
                  <a:pt x="426" y="386"/>
                  <a:pt x="426" y="386"/>
                </a:cubicBezTo>
                <a:cubicBezTo>
                  <a:pt x="426" y="386"/>
                  <a:pt x="427" y="386"/>
                  <a:pt x="427" y="386"/>
                </a:cubicBezTo>
                <a:cubicBezTo>
                  <a:pt x="427" y="387"/>
                  <a:pt x="428" y="387"/>
                  <a:pt x="428" y="387"/>
                </a:cubicBezTo>
                <a:cubicBezTo>
                  <a:pt x="428" y="387"/>
                  <a:pt x="428" y="387"/>
                  <a:pt x="429" y="387"/>
                </a:cubicBezTo>
                <a:cubicBezTo>
                  <a:pt x="429" y="387"/>
                  <a:pt x="429" y="387"/>
                  <a:pt x="429" y="387"/>
                </a:cubicBezTo>
                <a:cubicBezTo>
                  <a:pt x="429" y="387"/>
                  <a:pt x="430" y="388"/>
                  <a:pt x="431" y="387"/>
                </a:cubicBezTo>
                <a:cubicBezTo>
                  <a:pt x="431" y="387"/>
                  <a:pt x="430" y="387"/>
                  <a:pt x="430" y="387"/>
                </a:cubicBezTo>
                <a:cubicBezTo>
                  <a:pt x="431" y="387"/>
                  <a:pt x="432" y="387"/>
                  <a:pt x="432" y="387"/>
                </a:cubicBezTo>
                <a:cubicBezTo>
                  <a:pt x="432" y="387"/>
                  <a:pt x="433" y="387"/>
                  <a:pt x="433" y="388"/>
                </a:cubicBezTo>
                <a:cubicBezTo>
                  <a:pt x="433" y="388"/>
                  <a:pt x="433" y="388"/>
                  <a:pt x="434" y="388"/>
                </a:cubicBezTo>
                <a:cubicBezTo>
                  <a:pt x="434" y="388"/>
                  <a:pt x="434" y="388"/>
                  <a:pt x="433" y="388"/>
                </a:cubicBezTo>
                <a:cubicBezTo>
                  <a:pt x="434" y="388"/>
                  <a:pt x="434" y="388"/>
                  <a:pt x="434" y="388"/>
                </a:cubicBezTo>
                <a:cubicBezTo>
                  <a:pt x="435" y="389"/>
                  <a:pt x="434" y="388"/>
                  <a:pt x="435" y="388"/>
                </a:cubicBezTo>
                <a:cubicBezTo>
                  <a:pt x="435" y="389"/>
                  <a:pt x="435" y="389"/>
                  <a:pt x="435" y="389"/>
                </a:cubicBezTo>
                <a:cubicBezTo>
                  <a:pt x="435" y="389"/>
                  <a:pt x="436" y="389"/>
                  <a:pt x="436" y="389"/>
                </a:cubicBezTo>
                <a:cubicBezTo>
                  <a:pt x="436" y="389"/>
                  <a:pt x="436" y="389"/>
                  <a:pt x="435" y="389"/>
                </a:cubicBezTo>
                <a:cubicBezTo>
                  <a:pt x="435" y="389"/>
                  <a:pt x="436" y="390"/>
                  <a:pt x="436" y="390"/>
                </a:cubicBezTo>
                <a:cubicBezTo>
                  <a:pt x="436" y="390"/>
                  <a:pt x="437" y="390"/>
                  <a:pt x="437" y="390"/>
                </a:cubicBezTo>
                <a:cubicBezTo>
                  <a:pt x="437" y="389"/>
                  <a:pt x="437" y="389"/>
                  <a:pt x="437" y="389"/>
                </a:cubicBezTo>
                <a:cubicBezTo>
                  <a:pt x="437" y="389"/>
                  <a:pt x="438" y="390"/>
                  <a:pt x="438" y="390"/>
                </a:cubicBezTo>
                <a:cubicBezTo>
                  <a:pt x="439" y="390"/>
                  <a:pt x="439" y="390"/>
                  <a:pt x="440" y="390"/>
                </a:cubicBezTo>
                <a:close/>
                <a:moveTo>
                  <a:pt x="400" y="346"/>
                </a:moveTo>
                <a:cubicBezTo>
                  <a:pt x="400" y="346"/>
                  <a:pt x="401" y="345"/>
                  <a:pt x="401" y="345"/>
                </a:cubicBezTo>
                <a:cubicBezTo>
                  <a:pt x="400" y="345"/>
                  <a:pt x="401" y="346"/>
                  <a:pt x="401" y="346"/>
                </a:cubicBezTo>
                <a:cubicBezTo>
                  <a:pt x="401" y="346"/>
                  <a:pt x="401" y="346"/>
                  <a:pt x="402" y="346"/>
                </a:cubicBezTo>
                <a:cubicBezTo>
                  <a:pt x="402" y="346"/>
                  <a:pt x="403" y="347"/>
                  <a:pt x="403" y="347"/>
                </a:cubicBezTo>
                <a:cubicBezTo>
                  <a:pt x="403" y="346"/>
                  <a:pt x="403" y="345"/>
                  <a:pt x="402" y="344"/>
                </a:cubicBezTo>
                <a:cubicBezTo>
                  <a:pt x="402" y="344"/>
                  <a:pt x="402" y="345"/>
                  <a:pt x="402" y="345"/>
                </a:cubicBezTo>
                <a:cubicBezTo>
                  <a:pt x="401" y="345"/>
                  <a:pt x="401" y="344"/>
                  <a:pt x="401" y="344"/>
                </a:cubicBezTo>
                <a:cubicBezTo>
                  <a:pt x="401" y="345"/>
                  <a:pt x="400" y="345"/>
                  <a:pt x="400" y="346"/>
                </a:cubicBezTo>
                <a:close/>
                <a:moveTo>
                  <a:pt x="409" y="354"/>
                </a:moveTo>
                <a:cubicBezTo>
                  <a:pt x="409" y="354"/>
                  <a:pt x="410" y="355"/>
                  <a:pt x="410" y="354"/>
                </a:cubicBezTo>
                <a:cubicBezTo>
                  <a:pt x="411" y="354"/>
                  <a:pt x="410" y="353"/>
                  <a:pt x="410" y="353"/>
                </a:cubicBezTo>
                <a:cubicBezTo>
                  <a:pt x="410" y="353"/>
                  <a:pt x="410" y="353"/>
                  <a:pt x="410" y="353"/>
                </a:cubicBezTo>
                <a:cubicBezTo>
                  <a:pt x="410" y="353"/>
                  <a:pt x="410" y="353"/>
                  <a:pt x="410" y="353"/>
                </a:cubicBezTo>
                <a:cubicBezTo>
                  <a:pt x="410" y="353"/>
                  <a:pt x="410" y="352"/>
                  <a:pt x="409" y="352"/>
                </a:cubicBezTo>
                <a:cubicBezTo>
                  <a:pt x="409" y="352"/>
                  <a:pt x="410" y="352"/>
                  <a:pt x="410" y="352"/>
                </a:cubicBezTo>
                <a:cubicBezTo>
                  <a:pt x="410" y="352"/>
                  <a:pt x="409" y="351"/>
                  <a:pt x="409" y="351"/>
                </a:cubicBezTo>
                <a:cubicBezTo>
                  <a:pt x="408" y="350"/>
                  <a:pt x="409" y="351"/>
                  <a:pt x="408" y="352"/>
                </a:cubicBezTo>
                <a:cubicBezTo>
                  <a:pt x="408" y="352"/>
                  <a:pt x="408" y="350"/>
                  <a:pt x="408" y="350"/>
                </a:cubicBezTo>
                <a:cubicBezTo>
                  <a:pt x="408" y="349"/>
                  <a:pt x="408" y="350"/>
                  <a:pt x="408" y="349"/>
                </a:cubicBezTo>
                <a:cubicBezTo>
                  <a:pt x="408" y="348"/>
                  <a:pt x="408" y="347"/>
                  <a:pt x="407" y="346"/>
                </a:cubicBezTo>
                <a:cubicBezTo>
                  <a:pt x="407" y="346"/>
                  <a:pt x="407" y="346"/>
                  <a:pt x="407" y="345"/>
                </a:cubicBezTo>
                <a:cubicBezTo>
                  <a:pt x="406" y="345"/>
                  <a:pt x="406" y="345"/>
                  <a:pt x="406" y="345"/>
                </a:cubicBezTo>
                <a:cubicBezTo>
                  <a:pt x="406" y="344"/>
                  <a:pt x="406" y="344"/>
                  <a:pt x="406" y="344"/>
                </a:cubicBezTo>
                <a:cubicBezTo>
                  <a:pt x="406" y="344"/>
                  <a:pt x="406" y="344"/>
                  <a:pt x="406" y="344"/>
                </a:cubicBezTo>
                <a:cubicBezTo>
                  <a:pt x="406" y="344"/>
                  <a:pt x="406" y="343"/>
                  <a:pt x="405" y="343"/>
                </a:cubicBezTo>
                <a:cubicBezTo>
                  <a:pt x="405" y="343"/>
                  <a:pt x="405" y="343"/>
                  <a:pt x="405" y="343"/>
                </a:cubicBezTo>
                <a:cubicBezTo>
                  <a:pt x="405" y="342"/>
                  <a:pt x="405" y="342"/>
                  <a:pt x="404" y="342"/>
                </a:cubicBezTo>
                <a:cubicBezTo>
                  <a:pt x="404" y="342"/>
                  <a:pt x="404" y="340"/>
                  <a:pt x="404" y="341"/>
                </a:cubicBezTo>
                <a:cubicBezTo>
                  <a:pt x="403" y="341"/>
                  <a:pt x="404" y="342"/>
                  <a:pt x="404" y="342"/>
                </a:cubicBezTo>
                <a:cubicBezTo>
                  <a:pt x="404" y="342"/>
                  <a:pt x="403" y="341"/>
                  <a:pt x="403" y="341"/>
                </a:cubicBezTo>
                <a:cubicBezTo>
                  <a:pt x="403" y="341"/>
                  <a:pt x="403" y="341"/>
                  <a:pt x="402" y="341"/>
                </a:cubicBezTo>
                <a:cubicBezTo>
                  <a:pt x="402" y="340"/>
                  <a:pt x="402" y="341"/>
                  <a:pt x="402" y="341"/>
                </a:cubicBezTo>
                <a:cubicBezTo>
                  <a:pt x="401" y="341"/>
                  <a:pt x="401" y="341"/>
                  <a:pt x="401" y="341"/>
                </a:cubicBezTo>
                <a:cubicBezTo>
                  <a:pt x="400" y="342"/>
                  <a:pt x="401" y="342"/>
                  <a:pt x="401" y="342"/>
                </a:cubicBezTo>
                <a:cubicBezTo>
                  <a:pt x="401" y="342"/>
                  <a:pt x="399" y="342"/>
                  <a:pt x="400" y="343"/>
                </a:cubicBezTo>
                <a:cubicBezTo>
                  <a:pt x="401" y="343"/>
                  <a:pt x="401" y="342"/>
                  <a:pt x="402" y="342"/>
                </a:cubicBezTo>
                <a:cubicBezTo>
                  <a:pt x="402" y="342"/>
                  <a:pt x="401" y="343"/>
                  <a:pt x="401" y="343"/>
                </a:cubicBezTo>
                <a:cubicBezTo>
                  <a:pt x="401" y="343"/>
                  <a:pt x="401" y="343"/>
                  <a:pt x="401" y="343"/>
                </a:cubicBezTo>
                <a:cubicBezTo>
                  <a:pt x="402" y="344"/>
                  <a:pt x="402" y="344"/>
                  <a:pt x="402" y="344"/>
                </a:cubicBezTo>
                <a:cubicBezTo>
                  <a:pt x="403" y="343"/>
                  <a:pt x="403" y="344"/>
                  <a:pt x="403" y="344"/>
                </a:cubicBezTo>
                <a:cubicBezTo>
                  <a:pt x="403" y="344"/>
                  <a:pt x="402" y="344"/>
                  <a:pt x="402" y="344"/>
                </a:cubicBezTo>
                <a:cubicBezTo>
                  <a:pt x="403" y="345"/>
                  <a:pt x="403" y="345"/>
                  <a:pt x="404" y="345"/>
                </a:cubicBezTo>
                <a:cubicBezTo>
                  <a:pt x="403" y="345"/>
                  <a:pt x="404" y="346"/>
                  <a:pt x="404" y="347"/>
                </a:cubicBezTo>
                <a:cubicBezTo>
                  <a:pt x="403" y="347"/>
                  <a:pt x="404" y="348"/>
                  <a:pt x="404" y="348"/>
                </a:cubicBezTo>
                <a:cubicBezTo>
                  <a:pt x="404" y="348"/>
                  <a:pt x="403" y="347"/>
                  <a:pt x="403" y="347"/>
                </a:cubicBezTo>
                <a:cubicBezTo>
                  <a:pt x="403" y="347"/>
                  <a:pt x="402" y="346"/>
                  <a:pt x="402" y="346"/>
                </a:cubicBezTo>
                <a:cubicBezTo>
                  <a:pt x="402" y="346"/>
                  <a:pt x="402" y="347"/>
                  <a:pt x="402" y="347"/>
                </a:cubicBezTo>
                <a:cubicBezTo>
                  <a:pt x="402" y="347"/>
                  <a:pt x="402" y="347"/>
                  <a:pt x="402" y="347"/>
                </a:cubicBezTo>
                <a:cubicBezTo>
                  <a:pt x="402" y="347"/>
                  <a:pt x="402" y="347"/>
                  <a:pt x="401" y="347"/>
                </a:cubicBezTo>
                <a:cubicBezTo>
                  <a:pt x="401" y="347"/>
                  <a:pt x="403" y="348"/>
                  <a:pt x="402" y="348"/>
                </a:cubicBezTo>
                <a:cubicBezTo>
                  <a:pt x="401" y="348"/>
                  <a:pt x="401" y="347"/>
                  <a:pt x="401" y="347"/>
                </a:cubicBezTo>
                <a:cubicBezTo>
                  <a:pt x="400" y="346"/>
                  <a:pt x="400" y="347"/>
                  <a:pt x="401" y="348"/>
                </a:cubicBezTo>
                <a:cubicBezTo>
                  <a:pt x="401" y="348"/>
                  <a:pt x="402" y="349"/>
                  <a:pt x="402" y="349"/>
                </a:cubicBezTo>
                <a:cubicBezTo>
                  <a:pt x="402" y="349"/>
                  <a:pt x="401" y="348"/>
                  <a:pt x="400" y="348"/>
                </a:cubicBezTo>
                <a:cubicBezTo>
                  <a:pt x="400" y="348"/>
                  <a:pt x="400" y="347"/>
                  <a:pt x="399" y="347"/>
                </a:cubicBezTo>
                <a:cubicBezTo>
                  <a:pt x="399" y="347"/>
                  <a:pt x="399" y="348"/>
                  <a:pt x="400" y="348"/>
                </a:cubicBezTo>
                <a:cubicBezTo>
                  <a:pt x="400" y="349"/>
                  <a:pt x="400" y="349"/>
                  <a:pt x="400" y="349"/>
                </a:cubicBezTo>
                <a:cubicBezTo>
                  <a:pt x="400" y="349"/>
                  <a:pt x="401" y="349"/>
                  <a:pt x="401" y="349"/>
                </a:cubicBezTo>
                <a:cubicBezTo>
                  <a:pt x="401" y="349"/>
                  <a:pt x="401" y="349"/>
                  <a:pt x="401" y="349"/>
                </a:cubicBezTo>
                <a:cubicBezTo>
                  <a:pt x="401" y="349"/>
                  <a:pt x="401" y="349"/>
                  <a:pt x="401" y="349"/>
                </a:cubicBezTo>
                <a:cubicBezTo>
                  <a:pt x="402" y="349"/>
                  <a:pt x="401" y="350"/>
                  <a:pt x="402" y="350"/>
                </a:cubicBezTo>
                <a:cubicBezTo>
                  <a:pt x="402" y="350"/>
                  <a:pt x="402" y="351"/>
                  <a:pt x="402" y="351"/>
                </a:cubicBezTo>
                <a:cubicBezTo>
                  <a:pt x="402" y="351"/>
                  <a:pt x="403" y="351"/>
                  <a:pt x="403" y="352"/>
                </a:cubicBezTo>
                <a:cubicBezTo>
                  <a:pt x="404" y="353"/>
                  <a:pt x="405" y="354"/>
                  <a:pt x="406" y="354"/>
                </a:cubicBezTo>
                <a:cubicBezTo>
                  <a:pt x="406" y="353"/>
                  <a:pt x="405" y="353"/>
                  <a:pt x="405" y="353"/>
                </a:cubicBezTo>
                <a:cubicBezTo>
                  <a:pt x="405" y="352"/>
                  <a:pt x="405" y="353"/>
                  <a:pt x="405" y="353"/>
                </a:cubicBezTo>
                <a:cubicBezTo>
                  <a:pt x="405" y="352"/>
                  <a:pt x="405" y="352"/>
                  <a:pt x="405" y="352"/>
                </a:cubicBezTo>
                <a:cubicBezTo>
                  <a:pt x="405" y="352"/>
                  <a:pt x="405" y="351"/>
                  <a:pt x="405" y="351"/>
                </a:cubicBezTo>
                <a:cubicBezTo>
                  <a:pt x="405" y="351"/>
                  <a:pt x="405" y="351"/>
                  <a:pt x="405" y="351"/>
                </a:cubicBezTo>
                <a:cubicBezTo>
                  <a:pt x="404" y="351"/>
                  <a:pt x="404" y="351"/>
                  <a:pt x="404" y="350"/>
                </a:cubicBezTo>
                <a:cubicBezTo>
                  <a:pt x="404" y="350"/>
                  <a:pt x="404" y="350"/>
                  <a:pt x="404" y="350"/>
                </a:cubicBezTo>
                <a:cubicBezTo>
                  <a:pt x="404" y="350"/>
                  <a:pt x="404" y="349"/>
                  <a:pt x="404" y="349"/>
                </a:cubicBezTo>
                <a:cubicBezTo>
                  <a:pt x="404" y="349"/>
                  <a:pt x="404" y="350"/>
                  <a:pt x="404" y="350"/>
                </a:cubicBezTo>
                <a:cubicBezTo>
                  <a:pt x="405" y="350"/>
                  <a:pt x="405" y="349"/>
                  <a:pt x="405" y="349"/>
                </a:cubicBezTo>
                <a:cubicBezTo>
                  <a:pt x="405" y="350"/>
                  <a:pt x="405" y="349"/>
                  <a:pt x="405" y="349"/>
                </a:cubicBezTo>
                <a:cubicBezTo>
                  <a:pt x="406" y="348"/>
                  <a:pt x="405" y="348"/>
                  <a:pt x="405" y="348"/>
                </a:cubicBezTo>
                <a:cubicBezTo>
                  <a:pt x="405" y="348"/>
                  <a:pt x="406" y="348"/>
                  <a:pt x="406" y="348"/>
                </a:cubicBezTo>
                <a:cubicBezTo>
                  <a:pt x="406" y="348"/>
                  <a:pt x="406" y="348"/>
                  <a:pt x="406" y="348"/>
                </a:cubicBezTo>
                <a:cubicBezTo>
                  <a:pt x="406" y="348"/>
                  <a:pt x="405" y="349"/>
                  <a:pt x="406" y="349"/>
                </a:cubicBezTo>
                <a:cubicBezTo>
                  <a:pt x="406" y="349"/>
                  <a:pt x="406" y="349"/>
                  <a:pt x="406" y="349"/>
                </a:cubicBezTo>
                <a:cubicBezTo>
                  <a:pt x="406" y="349"/>
                  <a:pt x="405" y="349"/>
                  <a:pt x="405" y="350"/>
                </a:cubicBezTo>
                <a:cubicBezTo>
                  <a:pt x="405" y="350"/>
                  <a:pt x="406" y="351"/>
                  <a:pt x="406" y="350"/>
                </a:cubicBezTo>
                <a:cubicBezTo>
                  <a:pt x="406" y="351"/>
                  <a:pt x="407" y="351"/>
                  <a:pt x="407" y="351"/>
                </a:cubicBezTo>
                <a:cubicBezTo>
                  <a:pt x="407" y="351"/>
                  <a:pt x="405" y="350"/>
                  <a:pt x="405" y="351"/>
                </a:cubicBezTo>
                <a:cubicBezTo>
                  <a:pt x="405" y="351"/>
                  <a:pt x="406" y="351"/>
                  <a:pt x="406" y="351"/>
                </a:cubicBezTo>
                <a:cubicBezTo>
                  <a:pt x="406" y="351"/>
                  <a:pt x="406" y="351"/>
                  <a:pt x="405" y="351"/>
                </a:cubicBezTo>
                <a:cubicBezTo>
                  <a:pt x="406" y="351"/>
                  <a:pt x="406" y="352"/>
                  <a:pt x="406" y="352"/>
                </a:cubicBezTo>
                <a:cubicBezTo>
                  <a:pt x="406" y="352"/>
                  <a:pt x="406" y="352"/>
                  <a:pt x="406" y="352"/>
                </a:cubicBezTo>
                <a:cubicBezTo>
                  <a:pt x="406" y="352"/>
                  <a:pt x="407" y="353"/>
                  <a:pt x="407" y="352"/>
                </a:cubicBezTo>
                <a:cubicBezTo>
                  <a:pt x="407" y="352"/>
                  <a:pt x="407" y="352"/>
                  <a:pt x="407" y="352"/>
                </a:cubicBezTo>
                <a:cubicBezTo>
                  <a:pt x="407" y="352"/>
                  <a:pt x="407" y="353"/>
                  <a:pt x="407" y="353"/>
                </a:cubicBezTo>
                <a:cubicBezTo>
                  <a:pt x="407" y="353"/>
                  <a:pt x="407" y="353"/>
                  <a:pt x="408" y="353"/>
                </a:cubicBezTo>
                <a:cubicBezTo>
                  <a:pt x="408" y="353"/>
                  <a:pt x="407" y="353"/>
                  <a:pt x="407" y="353"/>
                </a:cubicBezTo>
                <a:cubicBezTo>
                  <a:pt x="407" y="353"/>
                  <a:pt x="406" y="353"/>
                  <a:pt x="407" y="354"/>
                </a:cubicBezTo>
                <a:cubicBezTo>
                  <a:pt x="407" y="355"/>
                  <a:pt x="408" y="353"/>
                  <a:pt x="409" y="354"/>
                </a:cubicBezTo>
                <a:cubicBezTo>
                  <a:pt x="408" y="354"/>
                  <a:pt x="408" y="354"/>
                  <a:pt x="408" y="354"/>
                </a:cubicBezTo>
                <a:cubicBezTo>
                  <a:pt x="407" y="355"/>
                  <a:pt x="408" y="355"/>
                  <a:pt x="408" y="355"/>
                </a:cubicBezTo>
                <a:cubicBezTo>
                  <a:pt x="408" y="355"/>
                  <a:pt x="408" y="355"/>
                  <a:pt x="409" y="355"/>
                </a:cubicBezTo>
                <a:cubicBezTo>
                  <a:pt x="409" y="354"/>
                  <a:pt x="409" y="355"/>
                  <a:pt x="409" y="355"/>
                </a:cubicBezTo>
                <a:cubicBezTo>
                  <a:pt x="411" y="355"/>
                  <a:pt x="409" y="354"/>
                  <a:pt x="409" y="354"/>
                </a:cubicBezTo>
                <a:close/>
                <a:moveTo>
                  <a:pt x="408" y="356"/>
                </a:moveTo>
                <a:cubicBezTo>
                  <a:pt x="409" y="356"/>
                  <a:pt x="407" y="357"/>
                  <a:pt x="407" y="356"/>
                </a:cubicBezTo>
                <a:cubicBezTo>
                  <a:pt x="407" y="356"/>
                  <a:pt x="408" y="355"/>
                  <a:pt x="407" y="356"/>
                </a:cubicBezTo>
                <a:cubicBezTo>
                  <a:pt x="406" y="356"/>
                  <a:pt x="406" y="356"/>
                  <a:pt x="406" y="356"/>
                </a:cubicBezTo>
                <a:cubicBezTo>
                  <a:pt x="405" y="355"/>
                  <a:pt x="406" y="355"/>
                  <a:pt x="405" y="355"/>
                </a:cubicBezTo>
                <a:cubicBezTo>
                  <a:pt x="405" y="355"/>
                  <a:pt x="404" y="355"/>
                  <a:pt x="404" y="355"/>
                </a:cubicBezTo>
                <a:cubicBezTo>
                  <a:pt x="404" y="355"/>
                  <a:pt x="404" y="355"/>
                  <a:pt x="404" y="355"/>
                </a:cubicBezTo>
                <a:cubicBezTo>
                  <a:pt x="403" y="355"/>
                  <a:pt x="404" y="355"/>
                  <a:pt x="403" y="355"/>
                </a:cubicBezTo>
                <a:cubicBezTo>
                  <a:pt x="403" y="356"/>
                  <a:pt x="406" y="357"/>
                  <a:pt x="406" y="356"/>
                </a:cubicBezTo>
                <a:cubicBezTo>
                  <a:pt x="407" y="358"/>
                  <a:pt x="404" y="357"/>
                  <a:pt x="404" y="357"/>
                </a:cubicBezTo>
                <a:cubicBezTo>
                  <a:pt x="404" y="357"/>
                  <a:pt x="406" y="356"/>
                  <a:pt x="404" y="356"/>
                </a:cubicBezTo>
                <a:cubicBezTo>
                  <a:pt x="404" y="356"/>
                  <a:pt x="404" y="357"/>
                  <a:pt x="404" y="357"/>
                </a:cubicBezTo>
                <a:cubicBezTo>
                  <a:pt x="404" y="357"/>
                  <a:pt x="404" y="359"/>
                  <a:pt x="405" y="358"/>
                </a:cubicBezTo>
                <a:cubicBezTo>
                  <a:pt x="405" y="358"/>
                  <a:pt x="405" y="358"/>
                  <a:pt x="405" y="358"/>
                </a:cubicBezTo>
                <a:cubicBezTo>
                  <a:pt x="405" y="358"/>
                  <a:pt x="405" y="358"/>
                  <a:pt x="405" y="358"/>
                </a:cubicBezTo>
                <a:cubicBezTo>
                  <a:pt x="406" y="358"/>
                  <a:pt x="405" y="358"/>
                  <a:pt x="406" y="358"/>
                </a:cubicBezTo>
                <a:cubicBezTo>
                  <a:pt x="406" y="358"/>
                  <a:pt x="406" y="358"/>
                  <a:pt x="406" y="358"/>
                </a:cubicBezTo>
                <a:cubicBezTo>
                  <a:pt x="406" y="358"/>
                  <a:pt x="406" y="359"/>
                  <a:pt x="406" y="359"/>
                </a:cubicBezTo>
                <a:cubicBezTo>
                  <a:pt x="406" y="359"/>
                  <a:pt x="406" y="359"/>
                  <a:pt x="407" y="359"/>
                </a:cubicBezTo>
                <a:cubicBezTo>
                  <a:pt x="407" y="359"/>
                  <a:pt x="407" y="358"/>
                  <a:pt x="407" y="358"/>
                </a:cubicBezTo>
                <a:cubicBezTo>
                  <a:pt x="407" y="358"/>
                  <a:pt x="408" y="358"/>
                  <a:pt x="408" y="357"/>
                </a:cubicBezTo>
                <a:cubicBezTo>
                  <a:pt x="408" y="357"/>
                  <a:pt x="408" y="357"/>
                  <a:pt x="408" y="357"/>
                </a:cubicBezTo>
                <a:cubicBezTo>
                  <a:pt x="408" y="357"/>
                  <a:pt x="409" y="357"/>
                  <a:pt x="409" y="357"/>
                </a:cubicBezTo>
                <a:cubicBezTo>
                  <a:pt x="409" y="356"/>
                  <a:pt x="409" y="356"/>
                  <a:pt x="408" y="356"/>
                </a:cubicBezTo>
                <a:close/>
                <a:moveTo>
                  <a:pt x="407" y="360"/>
                </a:moveTo>
                <a:cubicBezTo>
                  <a:pt x="407" y="360"/>
                  <a:pt x="406" y="359"/>
                  <a:pt x="406" y="360"/>
                </a:cubicBezTo>
                <a:cubicBezTo>
                  <a:pt x="406" y="360"/>
                  <a:pt x="405" y="359"/>
                  <a:pt x="405" y="360"/>
                </a:cubicBezTo>
                <a:cubicBezTo>
                  <a:pt x="405" y="360"/>
                  <a:pt x="406" y="361"/>
                  <a:pt x="406" y="361"/>
                </a:cubicBezTo>
                <a:cubicBezTo>
                  <a:pt x="406" y="361"/>
                  <a:pt x="406" y="361"/>
                  <a:pt x="406" y="361"/>
                </a:cubicBezTo>
                <a:cubicBezTo>
                  <a:pt x="406" y="361"/>
                  <a:pt x="406" y="362"/>
                  <a:pt x="405" y="362"/>
                </a:cubicBezTo>
                <a:cubicBezTo>
                  <a:pt x="406" y="362"/>
                  <a:pt x="406" y="362"/>
                  <a:pt x="406" y="362"/>
                </a:cubicBezTo>
                <a:cubicBezTo>
                  <a:pt x="406" y="362"/>
                  <a:pt x="406" y="362"/>
                  <a:pt x="406" y="362"/>
                </a:cubicBezTo>
                <a:cubicBezTo>
                  <a:pt x="406" y="362"/>
                  <a:pt x="406" y="363"/>
                  <a:pt x="407" y="363"/>
                </a:cubicBezTo>
                <a:cubicBezTo>
                  <a:pt x="407" y="363"/>
                  <a:pt x="407" y="363"/>
                  <a:pt x="407" y="363"/>
                </a:cubicBezTo>
                <a:cubicBezTo>
                  <a:pt x="407" y="363"/>
                  <a:pt x="408" y="363"/>
                  <a:pt x="408" y="363"/>
                </a:cubicBezTo>
                <a:cubicBezTo>
                  <a:pt x="408" y="363"/>
                  <a:pt x="408" y="362"/>
                  <a:pt x="407" y="362"/>
                </a:cubicBezTo>
                <a:cubicBezTo>
                  <a:pt x="408" y="362"/>
                  <a:pt x="407" y="362"/>
                  <a:pt x="407" y="361"/>
                </a:cubicBezTo>
                <a:cubicBezTo>
                  <a:pt x="408" y="361"/>
                  <a:pt x="406" y="361"/>
                  <a:pt x="406" y="360"/>
                </a:cubicBezTo>
                <a:cubicBezTo>
                  <a:pt x="406" y="360"/>
                  <a:pt x="407" y="361"/>
                  <a:pt x="408" y="361"/>
                </a:cubicBezTo>
                <a:cubicBezTo>
                  <a:pt x="408" y="361"/>
                  <a:pt x="408" y="361"/>
                  <a:pt x="407" y="361"/>
                </a:cubicBezTo>
                <a:cubicBezTo>
                  <a:pt x="408" y="361"/>
                  <a:pt x="407" y="361"/>
                  <a:pt x="408" y="360"/>
                </a:cubicBezTo>
                <a:cubicBezTo>
                  <a:pt x="408" y="361"/>
                  <a:pt x="408" y="360"/>
                  <a:pt x="408" y="360"/>
                </a:cubicBezTo>
                <a:cubicBezTo>
                  <a:pt x="408" y="360"/>
                  <a:pt x="407" y="360"/>
                  <a:pt x="407" y="360"/>
                </a:cubicBezTo>
                <a:close/>
                <a:moveTo>
                  <a:pt x="415" y="361"/>
                </a:moveTo>
                <a:cubicBezTo>
                  <a:pt x="415" y="360"/>
                  <a:pt x="414" y="360"/>
                  <a:pt x="414" y="360"/>
                </a:cubicBezTo>
                <a:cubicBezTo>
                  <a:pt x="414" y="359"/>
                  <a:pt x="413" y="360"/>
                  <a:pt x="413" y="360"/>
                </a:cubicBezTo>
                <a:cubicBezTo>
                  <a:pt x="413" y="359"/>
                  <a:pt x="411" y="359"/>
                  <a:pt x="412" y="360"/>
                </a:cubicBezTo>
                <a:cubicBezTo>
                  <a:pt x="412" y="360"/>
                  <a:pt x="414" y="360"/>
                  <a:pt x="414" y="360"/>
                </a:cubicBezTo>
                <a:cubicBezTo>
                  <a:pt x="414" y="360"/>
                  <a:pt x="413" y="361"/>
                  <a:pt x="413" y="361"/>
                </a:cubicBezTo>
                <a:cubicBezTo>
                  <a:pt x="413" y="362"/>
                  <a:pt x="415" y="362"/>
                  <a:pt x="415" y="363"/>
                </a:cubicBezTo>
                <a:cubicBezTo>
                  <a:pt x="415" y="363"/>
                  <a:pt x="416" y="364"/>
                  <a:pt x="416" y="363"/>
                </a:cubicBezTo>
                <a:cubicBezTo>
                  <a:pt x="416" y="362"/>
                  <a:pt x="417" y="364"/>
                  <a:pt x="417" y="364"/>
                </a:cubicBezTo>
                <a:cubicBezTo>
                  <a:pt x="418" y="364"/>
                  <a:pt x="417" y="363"/>
                  <a:pt x="417" y="363"/>
                </a:cubicBezTo>
                <a:cubicBezTo>
                  <a:pt x="416" y="362"/>
                  <a:pt x="416" y="362"/>
                  <a:pt x="415" y="362"/>
                </a:cubicBezTo>
                <a:cubicBezTo>
                  <a:pt x="415" y="362"/>
                  <a:pt x="415" y="362"/>
                  <a:pt x="414" y="362"/>
                </a:cubicBezTo>
                <a:cubicBezTo>
                  <a:pt x="415" y="362"/>
                  <a:pt x="415" y="362"/>
                  <a:pt x="416" y="362"/>
                </a:cubicBezTo>
                <a:cubicBezTo>
                  <a:pt x="416" y="362"/>
                  <a:pt x="415" y="361"/>
                  <a:pt x="415" y="361"/>
                </a:cubicBezTo>
                <a:close/>
                <a:moveTo>
                  <a:pt x="414" y="366"/>
                </a:moveTo>
                <a:cubicBezTo>
                  <a:pt x="414" y="366"/>
                  <a:pt x="414" y="366"/>
                  <a:pt x="414" y="366"/>
                </a:cubicBezTo>
                <a:cubicBezTo>
                  <a:pt x="414" y="366"/>
                  <a:pt x="415" y="366"/>
                  <a:pt x="415" y="366"/>
                </a:cubicBezTo>
                <a:cubicBezTo>
                  <a:pt x="415" y="366"/>
                  <a:pt x="415" y="366"/>
                  <a:pt x="415" y="366"/>
                </a:cubicBezTo>
                <a:cubicBezTo>
                  <a:pt x="415" y="366"/>
                  <a:pt x="415" y="365"/>
                  <a:pt x="416" y="365"/>
                </a:cubicBezTo>
                <a:cubicBezTo>
                  <a:pt x="416" y="365"/>
                  <a:pt x="417" y="366"/>
                  <a:pt x="417" y="366"/>
                </a:cubicBezTo>
                <a:cubicBezTo>
                  <a:pt x="417" y="366"/>
                  <a:pt x="417" y="366"/>
                  <a:pt x="417" y="366"/>
                </a:cubicBezTo>
                <a:cubicBezTo>
                  <a:pt x="417" y="366"/>
                  <a:pt x="416" y="365"/>
                  <a:pt x="416" y="364"/>
                </a:cubicBezTo>
                <a:cubicBezTo>
                  <a:pt x="416" y="364"/>
                  <a:pt x="416" y="363"/>
                  <a:pt x="415" y="363"/>
                </a:cubicBezTo>
                <a:cubicBezTo>
                  <a:pt x="415" y="363"/>
                  <a:pt x="415" y="363"/>
                  <a:pt x="415" y="363"/>
                </a:cubicBezTo>
                <a:cubicBezTo>
                  <a:pt x="414" y="363"/>
                  <a:pt x="413" y="362"/>
                  <a:pt x="413" y="362"/>
                </a:cubicBezTo>
                <a:cubicBezTo>
                  <a:pt x="413" y="363"/>
                  <a:pt x="414" y="363"/>
                  <a:pt x="414" y="363"/>
                </a:cubicBezTo>
                <a:cubicBezTo>
                  <a:pt x="414" y="364"/>
                  <a:pt x="413" y="363"/>
                  <a:pt x="414" y="364"/>
                </a:cubicBezTo>
                <a:cubicBezTo>
                  <a:pt x="414" y="364"/>
                  <a:pt x="414" y="364"/>
                  <a:pt x="414" y="364"/>
                </a:cubicBezTo>
                <a:cubicBezTo>
                  <a:pt x="414" y="365"/>
                  <a:pt x="413" y="364"/>
                  <a:pt x="413" y="364"/>
                </a:cubicBezTo>
                <a:cubicBezTo>
                  <a:pt x="412" y="364"/>
                  <a:pt x="411" y="364"/>
                  <a:pt x="411" y="364"/>
                </a:cubicBezTo>
                <a:cubicBezTo>
                  <a:pt x="412" y="364"/>
                  <a:pt x="412" y="364"/>
                  <a:pt x="412" y="364"/>
                </a:cubicBezTo>
                <a:cubicBezTo>
                  <a:pt x="411" y="364"/>
                  <a:pt x="412" y="365"/>
                  <a:pt x="412" y="365"/>
                </a:cubicBezTo>
                <a:cubicBezTo>
                  <a:pt x="412" y="365"/>
                  <a:pt x="412" y="365"/>
                  <a:pt x="413" y="365"/>
                </a:cubicBezTo>
                <a:cubicBezTo>
                  <a:pt x="413" y="366"/>
                  <a:pt x="414" y="366"/>
                  <a:pt x="413" y="365"/>
                </a:cubicBezTo>
                <a:cubicBezTo>
                  <a:pt x="413" y="365"/>
                  <a:pt x="414" y="365"/>
                  <a:pt x="414" y="366"/>
                </a:cubicBezTo>
                <a:close/>
                <a:moveTo>
                  <a:pt x="417" y="372"/>
                </a:moveTo>
                <a:cubicBezTo>
                  <a:pt x="416" y="372"/>
                  <a:pt x="415" y="372"/>
                  <a:pt x="416" y="372"/>
                </a:cubicBezTo>
                <a:cubicBezTo>
                  <a:pt x="416" y="372"/>
                  <a:pt x="417" y="373"/>
                  <a:pt x="416" y="373"/>
                </a:cubicBezTo>
                <a:cubicBezTo>
                  <a:pt x="417" y="374"/>
                  <a:pt x="417" y="374"/>
                  <a:pt x="417" y="374"/>
                </a:cubicBezTo>
                <a:cubicBezTo>
                  <a:pt x="417" y="375"/>
                  <a:pt x="417" y="374"/>
                  <a:pt x="417" y="374"/>
                </a:cubicBezTo>
                <a:cubicBezTo>
                  <a:pt x="416" y="374"/>
                  <a:pt x="416" y="374"/>
                  <a:pt x="416" y="374"/>
                </a:cubicBezTo>
                <a:cubicBezTo>
                  <a:pt x="416" y="375"/>
                  <a:pt x="416" y="375"/>
                  <a:pt x="417" y="375"/>
                </a:cubicBezTo>
                <a:cubicBezTo>
                  <a:pt x="416" y="376"/>
                  <a:pt x="416" y="376"/>
                  <a:pt x="417" y="376"/>
                </a:cubicBezTo>
                <a:cubicBezTo>
                  <a:pt x="417" y="376"/>
                  <a:pt x="417" y="376"/>
                  <a:pt x="417" y="376"/>
                </a:cubicBezTo>
                <a:cubicBezTo>
                  <a:pt x="417" y="377"/>
                  <a:pt x="417" y="377"/>
                  <a:pt x="417" y="377"/>
                </a:cubicBezTo>
                <a:cubicBezTo>
                  <a:pt x="417" y="377"/>
                  <a:pt x="417" y="377"/>
                  <a:pt x="417" y="376"/>
                </a:cubicBezTo>
                <a:cubicBezTo>
                  <a:pt x="417" y="377"/>
                  <a:pt x="418" y="377"/>
                  <a:pt x="418" y="377"/>
                </a:cubicBezTo>
                <a:cubicBezTo>
                  <a:pt x="418" y="377"/>
                  <a:pt x="418" y="375"/>
                  <a:pt x="418" y="375"/>
                </a:cubicBezTo>
                <a:cubicBezTo>
                  <a:pt x="418" y="374"/>
                  <a:pt x="417" y="373"/>
                  <a:pt x="417" y="372"/>
                </a:cubicBezTo>
                <a:close/>
                <a:moveTo>
                  <a:pt x="450" y="399"/>
                </a:moveTo>
                <a:cubicBezTo>
                  <a:pt x="450" y="399"/>
                  <a:pt x="451" y="399"/>
                  <a:pt x="451" y="399"/>
                </a:cubicBezTo>
                <a:cubicBezTo>
                  <a:pt x="451" y="400"/>
                  <a:pt x="451" y="399"/>
                  <a:pt x="451" y="399"/>
                </a:cubicBezTo>
                <a:cubicBezTo>
                  <a:pt x="451" y="399"/>
                  <a:pt x="451" y="399"/>
                  <a:pt x="451" y="399"/>
                </a:cubicBezTo>
                <a:cubicBezTo>
                  <a:pt x="451" y="399"/>
                  <a:pt x="451" y="398"/>
                  <a:pt x="451" y="398"/>
                </a:cubicBezTo>
                <a:cubicBezTo>
                  <a:pt x="451" y="398"/>
                  <a:pt x="450" y="397"/>
                  <a:pt x="450" y="398"/>
                </a:cubicBezTo>
                <a:cubicBezTo>
                  <a:pt x="450" y="398"/>
                  <a:pt x="450" y="398"/>
                  <a:pt x="450" y="398"/>
                </a:cubicBezTo>
                <a:cubicBezTo>
                  <a:pt x="450" y="398"/>
                  <a:pt x="450" y="398"/>
                  <a:pt x="450" y="398"/>
                </a:cubicBezTo>
                <a:cubicBezTo>
                  <a:pt x="450" y="398"/>
                  <a:pt x="450" y="398"/>
                  <a:pt x="450" y="398"/>
                </a:cubicBezTo>
                <a:cubicBezTo>
                  <a:pt x="450" y="399"/>
                  <a:pt x="450" y="399"/>
                  <a:pt x="450" y="399"/>
                </a:cubicBezTo>
                <a:cubicBezTo>
                  <a:pt x="449" y="399"/>
                  <a:pt x="450" y="400"/>
                  <a:pt x="450" y="399"/>
                </a:cubicBezTo>
                <a:close/>
                <a:moveTo>
                  <a:pt x="393" y="301"/>
                </a:moveTo>
                <a:cubicBezTo>
                  <a:pt x="393" y="301"/>
                  <a:pt x="392" y="301"/>
                  <a:pt x="391" y="301"/>
                </a:cubicBezTo>
                <a:cubicBezTo>
                  <a:pt x="391" y="301"/>
                  <a:pt x="390" y="301"/>
                  <a:pt x="390" y="302"/>
                </a:cubicBezTo>
                <a:cubicBezTo>
                  <a:pt x="390" y="302"/>
                  <a:pt x="390" y="303"/>
                  <a:pt x="391" y="303"/>
                </a:cubicBezTo>
                <a:cubicBezTo>
                  <a:pt x="391" y="302"/>
                  <a:pt x="392" y="303"/>
                  <a:pt x="392" y="303"/>
                </a:cubicBezTo>
                <a:cubicBezTo>
                  <a:pt x="392" y="303"/>
                  <a:pt x="393" y="304"/>
                  <a:pt x="393" y="304"/>
                </a:cubicBezTo>
                <a:cubicBezTo>
                  <a:pt x="394" y="304"/>
                  <a:pt x="394" y="304"/>
                  <a:pt x="394" y="304"/>
                </a:cubicBezTo>
                <a:cubicBezTo>
                  <a:pt x="394" y="304"/>
                  <a:pt x="393" y="304"/>
                  <a:pt x="393" y="304"/>
                </a:cubicBezTo>
                <a:cubicBezTo>
                  <a:pt x="393" y="304"/>
                  <a:pt x="392" y="303"/>
                  <a:pt x="392" y="303"/>
                </a:cubicBezTo>
                <a:cubicBezTo>
                  <a:pt x="391" y="303"/>
                  <a:pt x="391" y="304"/>
                  <a:pt x="391" y="304"/>
                </a:cubicBezTo>
                <a:cubicBezTo>
                  <a:pt x="392" y="305"/>
                  <a:pt x="393" y="305"/>
                  <a:pt x="393" y="305"/>
                </a:cubicBezTo>
                <a:cubicBezTo>
                  <a:pt x="394" y="305"/>
                  <a:pt x="395" y="305"/>
                  <a:pt x="395" y="304"/>
                </a:cubicBezTo>
                <a:cubicBezTo>
                  <a:pt x="395" y="304"/>
                  <a:pt x="395" y="304"/>
                  <a:pt x="395" y="304"/>
                </a:cubicBezTo>
                <a:cubicBezTo>
                  <a:pt x="395" y="304"/>
                  <a:pt x="395" y="304"/>
                  <a:pt x="395" y="304"/>
                </a:cubicBezTo>
                <a:cubicBezTo>
                  <a:pt x="395" y="304"/>
                  <a:pt x="395" y="304"/>
                  <a:pt x="395" y="303"/>
                </a:cubicBezTo>
                <a:cubicBezTo>
                  <a:pt x="395" y="303"/>
                  <a:pt x="395" y="303"/>
                  <a:pt x="395" y="302"/>
                </a:cubicBezTo>
                <a:cubicBezTo>
                  <a:pt x="394" y="302"/>
                  <a:pt x="394" y="301"/>
                  <a:pt x="393" y="301"/>
                </a:cubicBezTo>
                <a:close/>
                <a:moveTo>
                  <a:pt x="390" y="303"/>
                </a:moveTo>
                <a:cubicBezTo>
                  <a:pt x="390" y="303"/>
                  <a:pt x="390" y="303"/>
                  <a:pt x="389" y="303"/>
                </a:cubicBezTo>
                <a:cubicBezTo>
                  <a:pt x="389" y="303"/>
                  <a:pt x="389" y="303"/>
                  <a:pt x="389" y="304"/>
                </a:cubicBezTo>
                <a:cubicBezTo>
                  <a:pt x="389" y="304"/>
                  <a:pt x="390" y="304"/>
                  <a:pt x="390" y="304"/>
                </a:cubicBezTo>
                <a:cubicBezTo>
                  <a:pt x="391" y="304"/>
                  <a:pt x="390" y="304"/>
                  <a:pt x="390" y="303"/>
                </a:cubicBezTo>
                <a:close/>
                <a:moveTo>
                  <a:pt x="455" y="400"/>
                </a:moveTo>
                <a:cubicBezTo>
                  <a:pt x="455" y="400"/>
                  <a:pt x="455" y="400"/>
                  <a:pt x="455" y="399"/>
                </a:cubicBezTo>
                <a:cubicBezTo>
                  <a:pt x="455" y="400"/>
                  <a:pt x="456" y="400"/>
                  <a:pt x="456" y="399"/>
                </a:cubicBezTo>
                <a:cubicBezTo>
                  <a:pt x="455" y="399"/>
                  <a:pt x="455" y="399"/>
                  <a:pt x="454" y="398"/>
                </a:cubicBezTo>
                <a:cubicBezTo>
                  <a:pt x="454" y="398"/>
                  <a:pt x="453" y="397"/>
                  <a:pt x="453" y="397"/>
                </a:cubicBezTo>
                <a:cubicBezTo>
                  <a:pt x="453" y="397"/>
                  <a:pt x="455" y="398"/>
                  <a:pt x="455" y="398"/>
                </a:cubicBezTo>
                <a:cubicBezTo>
                  <a:pt x="455" y="399"/>
                  <a:pt x="456" y="398"/>
                  <a:pt x="455" y="398"/>
                </a:cubicBezTo>
                <a:cubicBezTo>
                  <a:pt x="455" y="397"/>
                  <a:pt x="455" y="398"/>
                  <a:pt x="455" y="398"/>
                </a:cubicBezTo>
                <a:cubicBezTo>
                  <a:pt x="455" y="398"/>
                  <a:pt x="455" y="397"/>
                  <a:pt x="455" y="397"/>
                </a:cubicBezTo>
                <a:cubicBezTo>
                  <a:pt x="455" y="397"/>
                  <a:pt x="455" y="397"/>
                  <a:pt x="455" y="397"/>
                </a:cubicBezTo>
                <a:cubicBezTo>
                  <a:pt x="454" y="397"/>
                  <a:pt x="454" y="397"/>
                  <a:pt x="454" y="397"/>
                </a:cubicBezTo>
                <a:cubicBezTo>
                  <a:pt x="454" y="397"/>
                  <a:pt x="455" y="396"/>
                  <a:pt x="455" y="396"/>
                </a:cubicBezTo>
                <a:cubicBezTo>
                  <a:pt x="455" y="396"/>
                  <a:pt x="454" y="396"/>
                  <a:pt x="453" y="396"/>
                </a:cubicBezTo>
                <a:cubicBezTo>
                  <a:pt x="453" y="397"/>
                  <a:pt x="453" y="396"/>
                  <a:pt x="453" y="396"/>
                </a:cubicBezTo>
                <a:cubicBezTo>
                  <a:pt x="453" y="395"/>
                  <a:pt x="452" y="395"/>
                  <a:pt x="452" y="395"/>
                </a:cubicBezTo>
                <a:cubicBezTo>
                  <a:pt x="451" y="395"/>
                  <a:pt x="452" y="396"/>
                  <a:pt x="452" y="396"/>
                </a:cubicBezTo>
                <a:cubicBezTo>
                  <a:pt x="452" y="395"/>
                  <a:pt x="452" y="396"/>
                  <a:pt x="452" y="396"/>
                </a:cubicBezTo>
                <a:cubicBezTo>
                  <a:pt x="452" y="396"/>
                  <a:pt x="451" y="396"/>
                  <a:pt x="451" y="396"/>
                </a:cubicBezTo>
                <a:cubicBezTo>
                  <a:pt x="451" y="396"/>
                  <a:pt x="452" y="397"/>
                  <a:pt x="452" y="397"/>
                </a:cubicBezTo>
                <a:cubicBezTo>
                  <a:pt x="451" y="397"/>
                  <a:pt x="451" y="396"/>
                  <a:pt x="450" y="396"/>
                </a:cubicBezTo>
                <a:cubicBezTo>
                  <a:pt x="450" y="396"/>
                  <a:pt x="450" y="397"/>
                  <a:pt x="450" y="397"/>
                </a:cubicBezTo>
                <a:cubicBezTo>
                  <a:pt x="451" y="397"/>
                  <a:pt x="451" y="397"/>
                  <a:pt x="451" y="398"/>
                </a:cubicBezTo>
                <a:cubicBezTo>
                  <a:pt x="451" y="398"/>
                  <a:pt x="452" y="398"/>
                  <a:pt x="452" y="397"/>
                </a:cubicBezTo>
                <a:cubicBezTo>
                  <a:pt x="452" y="398"/>
                  <a:pt x="452" y="398"/>
                  <a:pt x="452" y="398"/>
                </a:cubicBezTo>
                <a:cubicBezTo>
                  <a:pt x="452" y="398"/>
                  <a:pt x="452" y="398"/>
                  <a:pt x="452" y="398"/>
                </a:cubicBezTo>
                <a:cubicBezTo>
                  <a:pt x="452" y="398"/>
                  <a:pt x="453" y="398"/>
                  <a:pt x="453" y="398"/>
                </a:cubicBezTo>
                <a:cubicBezTo>
                  <a:pt x="453" y="398"/>
                  <a:pt x="452" y="398"/>
                  <a:pt x="452" y="398"/>
                </a:cubicBezTo>
                <a:cubicBezTo>
                  <a:pt x="453" y="399"/>
                  <a:pt x="454" y="399"/>
                  <a:pt x="454" y="399"/>
                </a:cubicBezTo>
                <a:cubicBezTo>
                  <a:pt x="454" y="399"/>
                  <a:pt x="454" y="400"/>
                  <a:pt x="454" y="400"/>
                </a:cubicBezTo>
                <a:cubicBezTo>
                  <a:pt x="455" y="400"/>
                  <a:pt x="455" y="400"/>
                  <a:pt x="455" y="400"/>
                </a:cubicBezTo>
                <a:close/>
                <a:moveTo>
                  <a:pt x="457" y="396"/>
                </a:moveTo>
                <a:cubicBezTo>
                  <a:pt x="457" y="397"/>
                  <a:pt x="458" y="397"/>
                  <a:pt x="458" y="397"/>
                </a:cubicBezTo>
                <a:cubicBezTo>
                  <a:pt x="457" y="397"/>
                  <a:pt x="457" y="397"/>
                  <a:pt x="456" y="396"/>
                </a:cubicBezTo>
                <a:cubicBezTo>
                  <a:pt x="456" y="396"/>
                  <a:pt x="456" y="397"/>
                  <a:pt x="456" y="397"/>
                </a:cubicBezTo>
                <a:cubicBezTo>
                  <a:pt x="456" y="397"/>
                  <a:pt x="456" y="396"/>
                  <a:pt x="455" y="396"/>
                </a:cubicBezTo>
                <a:cubicBezTo>
                  <a:pt x="454" y="396"/>
                  <a:pt x="456" y="398"/>
                  <a:pt x="456" y="398"/>
                </a:cubicBezTo>
                <a:cubicBezTo>
                  <a:pt x="456" y="398"/>
                  <a:pt x="456" y="398"/>
                  <a:pt x="456" y="398"/>
                </a:cubicBezTo>
                <a:cubicBezTo>
                  <a:pt x="456" y="399"/>
                  <a:pt x="456" y="399"/>
                  <a:pt x="456" y="399"/>
                </a:cubicBezTo>
                <a:cubicBezTo>
                  <a:pt x="457" y="399"/>
                  <a:pt x="457" y="399"/>
                  <a:pt x="457" y="399"/>
                </a:cubicBezTo>
                <a:cubicBezTo>
                  <a:pt x="457" y="399"/>
                  <a:pt x="457" y="399"/>
                  <a:pt x="457" y="399"/>
                </a:cubicBezTo>
                <a:cubicBezTo>
                  <a:pt x="457" y="399"/>
                  <a:pt x="457" y="399"/>
                  <a:pt x="457" y="400"/>
                </a:cubicBezTo>
                <a:cubicBezTo>
                  <a:pt x="457" y="399"/>
                  <a:pt x="458" y="398"/>
                  <a:pt x="457" y="398"/>
                </a:cubicBezTo>
                <a:cubicBezTo>
                  <a:pt x="457" y="398"/>
                  <a:pt x="458" y="398"/>
                  <a:pt x="458" y="398"/>
                </a:cubicBezTo>
                <a:cubicBezTo>
                  <a:pt x="458" y="398"/>
                  <a:pt x="458" y="399"/>
                  <a:pt x="458" y="398"/>
                </a:cubicBezTo>
                <a:cubicBezTo>
                  <a:pt x="458" y="399"/>
                  <a:pt x="457" y="399"/>
                  <a:pt x="458" y="399"/>
                </a:cubicBezTo>
                <a:cubicBezTo>
                  <a:pt x="458" y="399"/>
                  <a:pt x="459" y="400"/>
                  <a:pt x="459" y="399"/>
                </a:cubicBezTo>
                <a:cubicBezTo>
                  <a:pt x="459" y="399"/>
                  <a:pt x="459" y="399"/>
                  <a:pt x="460" y="399"/>
                </a:cubicBezTo>
                <a:cubicBezTo>
                  <a:pt x="460" y="399"/>
                  <a:pt x="460" y="399"/>
                  <a:pt x="460" y="399"/>
                </a:cubicBezTo>
                <a:cubicBezTo>
                  <a:pt x="460" y="399"/>
                  <a:pt x="459" y="400"/>
                  <a:pt x="459" y="400"/>
                </a:cubicBezTo>
                <a:cubicBezTo>
                  <a:pt x="459" y="400"/>
                  <a:pt x="461" y="401"/>
                  <a:pt x="461" y="400"/>
                </a:cubicBezTo>
                <a:cubicBezTo>
                  <a:pt x="461" y="400"/>
                  <a:pt x="461" y="401"/>
                  <a:pt x="462" y="401"/>
                </a:cubicBezTo>
                <a:cubicBezTo>
                  <a:pt x="462" y="400"/>
                  <a:pt x="461" y="400"/>
                  <a:pt x="461" y="400"/>
                </a:cubicBezTo>
                <a:cubicBezTo>
                  <a:pt x="461" y="400"/>
                  <a:pt x="462" y="400"/>
                  <a:pt x="462" y="400"/>
                </a:cubicBezTo>
                <a:cubicBezTo>
                  <a:pt x="462" y="400"/>
                  <a:pt x="462" y="400"/>
                  <a:pt x="462" y="400"/>
                </a:cubicBezTo>
                <a:cubicBezTo>
                  <a:pt x="462" y="400"/>
                  <a:pt x="462" y="400"/>
                  <a:pt x="462" y="400"/>
                </a:cubicBezTo>
                <a:cubicBezTo>
                  <a:pt x="462" y="399"/>
                  <a:pt x="462" y="399"/>
                  <a:pt x="462" y="399"/>
                </a:cubicBezTo>
                <a:cubicBezTo>
                  <a:pt x="462" y="399"/>
                  <a:pt x="461" y="399"/>
                  <a:pt x="461" y="399"/>
                </a:cubicBezTo>
                <a:cubicBezTo>
                  <a:pt x="461" y="399"/>
                  <a:pt x="461" y="399"/>
                  <a:pt x="461" y="399"/>
                </a:cubicBezTo>
                <a:cubicBezTo>
                  <a:pt x="461" y="399"/>
                  <a:pt x="461" y="398"/>
                  <a:pt x="461" y="398"/>
                </a:cubicBezTo>
                <a:cubicBezTo>
                  <a:pt x="460" y="397"/>
                  <a:pt x="460" y="398"/>
                  <a:pt x="460" y="398"/>
                </a:cubicBezTo>
                <a:cubicBezTo>
                  <a:pt x="460" y="398"/>
                  <a:pt x="460" y="398"/>
                  <a:pt x="459" y="398"/>
                </a:cubicBezTo>
                <a:cubicBezTo>
                  <a:pt x="459" y="398"/>
                  <a:pt x="460" y="399"/>
                  <a:pt x="460" y="399"/>
                </a:cubicBezTo>
                <a:cubicBezTo>
                  <a:pt x="458" y="398"/>
                  <a:pt x="459" y="396"/>
                  <a:pt x="457" y="396"/>
                </a:cubicBezTo>
                <a:close/>
                <a:moveTo>
                  <a:pt x="424" y="378"/>
                </a:moveTo>
                <a:cubicBezTo>
                  <a:pt x="424" y="378"/>
                  <a:pt x="425" y="378"/>
                  <a:pt x="425" y="378"/>
                </a:cubicBezTo>
                <a:cubicBezTo>
                  <a:pt x="425" y="378"/>
                  <a:pt x="424" y="378"/>
                  <a:pt x="424" y="378"/>
                </a:cubicBezTo>
                <a:cubicBezTo>
                  <a:pt x="425" y="378"/>
                  <a:pt x="425" y="378"/>
                  <a:pt x="425" y="378"/>
                </a:cubicBezTo>
                <a:cubicBezTo>
                  <a:pt x="425" y="378"/>
                  <a:pt x="424" y="378"/>
                  <a:pt x="425" y="379"/>
                </a:cubicBezTo>
                <a:cubicBezTo>
                  <a:pt x="425" y="379"/>
                  <a:pt x="425" y="379"/>
                  <a:pt x="425" y="379"/>
                </a:cubicBezTo>
                <a:cubicBezTo>
                  <a:pt x="425" y="379"/>
                  <a:pt x="425" y="379"/>
                  <a:pt x="425" y="379"/>
                </a:cubicBezTo>
                <a:cubicBezTo>
                  <a:pt x="426" y="380"/>
                  <a:pt x="426" y="380"/>
                  <a:pt x="426" y="380"/>
                </a:cubicBezTo>
                <a:cubicBezTo>
                  <a:pt x="426" y="380"/>
                  <a:pt x="427" y="380"/>
                  <a:pt x="427" y="379"/>
                </a:cubicBezTo>
                <a:cubicBezTo>
                  <a:pt x="427" y="379"/>
                  <a:pt x="427" y="380"/>
                  <a:pt x="427" y="379"/>
                </a:cubicBezTo>
                <a:cubicBezTo>
                  <a:pt x="427" y="379"/>
                  <a:pt x="427" y="379"/>
                  <a:pt x="427" y="379"/>
                </a:cubicBezTo>
                <a:cubicBezTo>
                  <a:pt x="427" y="379"/>
                  <a:pt x="426" y="378"/>
                  <a:pt x="426" y="378"/>
                </a:cubicBezTo>
                <a:cubicBezTo>
                  <a:pt x="425" y="378"/>
                  <a:pt x="424" y="377"/>
                  <a:pt x="423" y="377"/>
                </a:cubicBezTo>
                <a:cubicBezTo>
                  <a:pt x="423" y="377"/>
                  <a:pt x="422" y="377"/>
                  <a:pt x="423" y="378"/>
                </a:cubicBezTo>
                <a:cubicBezTo>
                  <a:pt x="423" y="378"/>
                  <a:pt x="423" y="377"/>
                  <a:pt x="423" y="377"/>
                </a:cubicBezTo>
                <a:cubicBezTo>
                  <a:pt x="424" y="377"/>
                  <a:pt x="424" y="377"/>
                  <a:pt x="424" y="378"/>
                </a:cubicBezTo>
                <a:close/>
                <a:moveTo>
                  <a:pt x="404" y="354"/>
                </a:moveTo>
                <a:cubicBezTo>
                  <a:pt x="404" y="353"/>
                  <a:pt x="403" y="353"/>
                  <a:pt x="403" y="353"/>
                </a:cubicBezTo>
                <a:cubicBezTo>
                  <a:pt x="404" y="353"/>
                  <a:pt x="404" y="353"/>
                  <a:pt x="404" y="354"/>
                </a:cubicBezTo>
                <a:cubicBezTo>
                  <a:pt x="404" y="353"/>
                  <a:pt x="402" y="351"/>
                  <a:pt x="401" y="351"/>
                </a:cubicBezTo>
                <a:cubicBezTo>
                  <a:pt x="401" y="351"/>
                  <a:pt x="401" y="351"/>
                  <a:pt x="401" y="351"/>
                </a:cubicBezTo>
                <a:cubicBezTo>
                  <a:pt x="401" y="351"/>
                  <a:pt x="399" y="350"/>
                  <a:pt x="400" y="351"/>
                </a:cubicBezTo>
                <a:cubicBezTo>
                  <a:pt x="400" y="351"/>
                  <a:pt x="401" y="352"/>
                  <a:pt x="401" y="352"/>
                </a:cubicBezTo>
                <a:cubicBezTo>
                  <a:pt x="401" y="352"/>
                  <a:pt x="400" y="352"/>
                  <a:pt x="400" y="352"/>
                </a:cubicBezTo>
                <a:cubicBezTo>
                  <a:pt x="400" y="353"/>
                  <a:pt x="401" y="353"/>
                  <a:pt x="401" y="353"/>
                </a:cubicBezTo>
                <a:cubicBezTo>
                  <a:pt x="401" y="353"/>
                  <a:pt x="402" y="352"/>
                  <a:pt x="402" y="352"/>
                </a:cubicBezTo>
                <a:cubicBezTo>
                  <a:pt x="402" y="352"/>
                  <a:pt x="403" y="354"/>
                  <a:pt x="404" y="354"/>
                </a:cubicBezTo>
                <a:close/>
                <a:moveTo>
                  <a:pt x="500" y="411"/>
                </a:moveTo>
                <a:cubicBezTo>
                  <a:pt x="501" y="411"/>
                  <a:pt x="502" y="410"/>
                  <a:pt x="501" y="410"/>
                </a:cubicBezTo>
                <a:cubicBezTo>
                  <a:pt x="499" y="409"/>
                  <a:pt x="499" y="410"/>
                  <a:pt x="500" y="411"/>
                </a:cubicBezTo>
                <a:close/>
                <a:moveTo>
                  <a:pt x="494" y="413"/>
                </a:moveTo>
                <a:cubicBezTo>
                  <a:pt x="493" y="413"/>
                  <a:pt x="492" y="413"/>
                  <a:pt x="492" y="412"/>
                </a:cubicBezTo>
                <a:cubicBezTo>
                  <a:pt x="492" y="412"/>
                  <a:pt x="492" y="412"/>
                  <a:pt x="492" y="412"/>
                </a:cubicBezTo>
                <a:cubicBezTo>
                  <a:pt x="492" y="412"/>
                  <a:pt x="492" y="412"/>
                  <a:pt x="492" y="412"/>
                </a:cubicBezTo>
                <a:cubicBezTo>
                  <a:pt x="491" y="412"/>
                  <a:pt x="490" y="411"/>
                  <a:pt x="490" y="411"/>
                </a:cubicBezTo>
                <a:cubicBezTo>
                  <a:pt x="490" y="411"/>
                  <a:pt x="489" y="411"/>
                  <a:pt x="489" y="411"/>
                </a:cubicBezTo>
                <a:cubicBezTo>
                  <a:pt x="488" y="411"/>
                  <a:pt x="487" y="411"/>
                  <a:pt x="487" y="411"/>
                </a:cubicBezTo>
                <a:cubicBezTo>
                  <a:pt x="487" y="411"/>
                  <a:pt x="487" y="411"/>
                  <a:pt x="486" y="410"/>
                </a:cubicBezTo>
                <a:cubicBezTo>
                  <a:pt x="486" y="410"/>
                  <a:pt x="486" y="410"/>
                  <a:pt x="486" y="410"/>
                </a:cubicBezTo>
                <a:cubicBezTo>
                  <a:pt x="486" y="410"/>
                  <a:pt x="486" y="410"/>
                  <a:pt x="486" y="410"/>
                </a:cubicBezTo>
                <a:cubicBezTo>
                  <a:pt x="485" y="410"/>
                  <a:pt x="486" y="410"/>
                  <a:pt x="486" y="410"/>
                </a:cubicBezTo>
                <a:cubicBezTo>
                  <a:pt x="487" y="410"/>
                  <a:pt x="487" y="410"/>
                  <a:pt x="488" y="410"/>
                </a:cubicBezTo>
                <a:cubicBezTo>
                  <a:pt x="488" y="410"/>
                  <a:pt x="490" y="410"/>
                  <a:pt x="490" y="410"/>
                </a:cubicBezTo>
                <a:cubicBezTo>
                  <a:pt x="490" y="410"/>
                  <a:pt x="489" y="410"/>
                  <a:pt x="489" y="410"/>
                </a:cubicBezTo>
                <a:cubicBezTo>
                  <a:pt x="489" y="410"/>
                  <a:pt x="489" y="410"/>
                  <a:pt x="489" y="410"/>
                </a:cubicBezTo>
                <a:cubicBezTo>
                  <a:pt x="488" y="409"/>
                  <a:pt x="486" y="409"/>
                  <a:pt x="485" y="409"/>
                </a:cubicBezTo>
                <a:cubicBezTo>
                  <a:pt x="485" y="409"/>
                  <a:pt x="482" y="408"/>
                  <a:pt x="482" y="408"/>
                </a:cubicBezTo>
                <a:cubicBezTo>
                  <a:pt x="482" y="407"/>
                  <a:pt x="484" y="409"/>
                  <a:pt x="485" y="409"/>
                </a:cubicBezTo>
                <a:cubicBezTo>
                  <a:pt x="486" y="409"/>
                  <a:pt x="487" y="409"/>
                  <a:pt x="486" y="408"/>
                </a:cubicBezTo>
                <a:cubicBezTo>
                  <a:pt x="486" y="408"/>
                  <a:pt x="488" y="409"/>
                  <a:pt x="487" y="408"/>
                </a:cubicBezTo>
                <a:cubicBezTo>
                  <a:pt x="488" y="408"/>
                  <a:pt x="488" y="408"/>
                  <a:pt x="487" y="407"/>
                </a:cubicBezTo>
                <a:cubicBezTo>
                  <a:pt x="486" y="406"/>
                  <a:pt x="485" y="406"/>
                  <a:pt x="485" y="407"/>
                </a:cubicBezTo>
                <a:cubicBezTo>
                  <a:pt x="484" y="407"/>
                  <a:pt x="483" y="407"/>
                  <a:pt x="483" y="407"/>
                </a:cubicBezTo>
                <a:cubicBezTo>
                  <a:pt x="482" y="407"/>
                  <a:pt x="482" y="407"/>
                  <a:pt x="482" y="407"/>
                </a:cubicBezTo>
                <a:cubicBezTo>
                  <a:pt x="481" y="407"/>
                  <a:pt x="480" y="407"/>
                  <a:pt x="481" y="407"/>
                </a:cubicBezTo>
                <a:cubicBezTo>
                  <a:pt x="480" y="407"/>
                  <a:pt x="480" y="407"/>
                  <a:pt x="479" y="407"/>
                </a:cubicBezTo>
                <a:cubicBezTo>
                  <a:pt x="479" y="407"/>
                  <a:pt x="480" y="408"/>
                  <a:pt x="480" y="408"/>
                </a:cubicBezTo>
                <a:cubicBezTo>
                  <a:pt x="479" y="408"/>
                  <a:pt x="479" y="407"/>
                  <a:pt x="478" y="407"/>
                </a:cubicBezTo>
                <a:cubicBezTo>
                  <a:pt x="478" y="408"/>
                  <a:pt x="479" y="409"/>
                  <a:pt x="478" y="409"/>
                </a:cubicBezTo>
                <a:cubicBezTo>
                  <a:pt x="478" y="408"/>
                  <a:pt x="478" y="408"/>
                  <a:pt x="477" y="408"/>
                </a:cubicBezTo>
                <a:cubicBezTo>
                  <a:pt x="476" y="408"/>
                  <a:pt x="475" y="408"/>
                  <a:pt x="475" y="409"/>
                </a:cubicBezTo>
                <a:cubicBezTo>
                  <a:pt x="475" y="408"/>
                  <a:pt x="475" y="409"/>
                  <a:pt x="475" y="409"/>
                </a:cubicBezTo>
                <a:cubicBezTo>
                  <a:pt x="475" y="409"/>
                  <a:pt x="476" y="409"/>
                  <a:pt x="476" y="409"/>
                </a:cubicBezTo>
                <a:cubicBezTo>
                  <a:pt x="476" y="409"/>
                  <a:pt x="476" y="409"/>
                  <a:pt x="476" y="409"/>
                </a:cubicBezTo>
                <a:cubicBezTo>
                  <a:pt x="476" y="409"/>
                  <a:pt x="476" y="409"/>
                  <a:pt x="476" y="409"/>
                </a:cubicBezTo>
                <a:cubicBezTo>
                  <a:pt x="476" y="409"/>
                  <a:pt x="476" y="409"/>
                  <a:pt x="476" y="410"/>
                </a:cubicBezTo>
                <a:cubicBezTo>
                  <a:pt x="477" y="410"/>
                  <a:pt x="477" y="410"/>
                  <a:pt x="478" y="410"/>
                </a:cubicBezTo>
                <a:cubicBezTo>
                  <a:pt x="478" y="409"/>
                  <a:pt x="479" y="409"/>
                  <a:pt x="479" y="409"/>
                </a:cubicBezTo>
                <a:cubicBezTo>
                  <a:pt x="479" y="409"/>
                  <a:pt x="478" y="410"/>
                  <a:pt x="478" y="410"/>
                </a:cubicBezTo>
                <a:cubicBezTo>
                  <a:pt x="478" y="410"/>
                  <a:pt x="479" y="410"/>
                  <a:pt x="479" y="410"/>
                </a:cubicBezTo>
                <a:cubicBezTo>
                  <a:pt x="478" y="410"/>
                  <a:pt x="478" y="410"/>
                  <a:pt x="477" y="410"/>
                </a:cubicBezTo>
                <a:cubicBezTo>
                  <a:pt x="478" y="410"/>
                  <a:pt x="478" y="410"/>
                  <a:pt x="479" y="411"/>
                </a:cubicBezTo>
                <a:cubicBezTo>
                  <a:pt x="479" y="411"/>
                  <a:pt x="479" y="411"/>
                  <a:pt x="479" y="411"/>
                </a:cubicBezTo>
                <a:cubicBezTo>
                  <a:pt x="480" y="411"/>
                  <a:pt x="480" y="410"/>
                  <a:pt x="480" y="411"/>
                </a:cubicBezTo>
                <a:cubicBezTo>
                  <a:pt x="480" y="411"/>
                  <a:pt x="480" y="411"/>
                  <a:pt x="481" y="411"/>
                </a:cubicBezTo>
                <a:cubicBezTo>
                  <a:pt x="481" y="411"/>
                  <a:pt x="480" y="411"/>
                  <a:pt x="480" y="411"/>
                </a:cubicBezTo>
                <a:cubicBezTo>
                  <a:pt x="480" y="412"/>
                  <a:pt x="481" y="411"/>
                  <a:pt x="481" y="412"/>
                </a:cubicBezTo>
                <a:cubicBezTo>
                  <a:pt x="481" y="412"/>
                  <a:pt x="481" y="413"/>
                  <a:pt x="481" y="412"/>
                </a:cubicBezTo>
                <a:cubicBezTo>
                  <a:pt x="482" y="412"/>
                  <a:pt x="481" y="412"/>
                  <a:pt x="481" y="411"/>
                </a:cubicBezTo>
                <a:cubicBezTo>
                  <a:pt x="482" y="411"/>
                  <a:pt x="482" y="412"/>
                  <a:pt x="482" y="412"/>
                </a:cubicBezTo>
                <a:cubicBezTo>
                  <a:pt x="482" y="412"/>
                  <a:pt x="482" y="412"/>
                  <a:pt x="483" y="412"/>
                </a:cubicBezTo>
                <a:cubicBezTo>
                  <a:pt x="483" y="412"/>
                  <a:pt x="484" y="413"/>
                  <a:pt x="483" y="412"/>
                </a:cubicBezTo>
                <a:cubicBezTo>
                  <a:pt x="483" y="412"/>
                  <a:pt x="482" y="412"/>
                  <a:pt x="482" y="411"/>
                </a:cubicBezTo>
                <a:cubicBezTo>
                  <a:pt x="482" y="411"/>
                  <a:pt x="481" y="411"/>
                  <a:pt x="482" y="411"/>
                </a:cubicBezTo>
                <a:cubicBezTo>
                  <a:pt x="481" y="410"/>
                  <a:pt x="480" y="410"/>
                  <a:pt x="480" y="410"/>
                </a:cubicBezTo>
                <a:cubicBezTo>
                  <a:pt x="480" y="410"/>
                  <a:pt x="480" y="410"/>
                  <a:pt x="480" y="410"/>
                </a:cubicBezTo>
                <a:cubicBezTo>
                  <a:pt x="480" y="410"/>
                  <a:pt x="480" y="410"/>
                  <a:pt x="481" y="410"/>
                </a:cubicBezTo>
                <a:cubicBezTo>
                  <a:pt x="481" y="410"/>
                  <a:pt x="481" y="409"/>
                  <a:pt x="481" y="410"/>
                </a:cubicBezTo>
                <a:cubicBezTo>
                  <a:pt x="481" y="409"/>
                  <a:pt x="480" y="409"/>
                  <a:pt x="480" y="409"/>
                </a:cubicBezTo>
                <a:cubicBezTo>
                  <a:pt x="481" y="408"/>
                  <a:pt x="481" y="410"/>
                  <a:pt x="482" y="410"/>
                </a:cubicBezTo>
                <a:cubicBezTo>
                  <a:pt x="482" y="410"/>
                  <a:pt x="482" y="409"/>
                  <a:pt x="482" y="409"/>
                </a:cubicBezTo>
                <a:cubicBezTo>
                  <a:pt x="482" y="409"/>
                  <a:pt x="483" y="410"/>
                  <a:pt x="483" y="410"/>
                </a:cubicBezTo>
                <a:cubicBezTo>
                  <a:pt x="483" y="410"/>
                  <a:pt x="483" y="410"/>
                  <a:pt x="483" y="410"/>
                </a:cubicBezTo>
                <a:cubicBezTo>
                  <a:pt x="484" y="410"/>
                  <a:pt x="483" y="410"/>
                  <a:pt x="484" y="410"/>
                </a:cubicBezTo>
                <a:cubicBezTo>
                  <a:pt x="484" y="410"/>
                  <a:pt x="484" y="409"/>
                  <a:pt x="485" y="409"/>
                </a:cubicBezTo>
                <a:cubicBezTo>
                  <a:pt x="484" y="409"/>
                  <a:pt x="485" y="411"/>
                  <a:pt x="484" y="411"/>
                </a:cubicBezTo>
                <a:cubicBezTo>
                  <a:pt x="485" y="411"/>
                  <a:pt x="485" y="411"/>
                  <a:pt x="486" y="411"/>
                </a:cubicBezTo>
                <a:cubicBezTo>
                  <a:pt x="486" y="411"/>
                  <a:pt x="486" y="411"/>
                  <a:pt x="486" y="411"/>
                </a:cubicBezTo>
                <a:cubicBezTo>
                  <a:pt x="486" y="411"/>
                  <a:pt x="485" y="411"/>
                  <a:pt x="485" y="411"/>
                </a:cubicBezTo>
                <a:cubicBezTo>
                  <a:pt x="485" y="412"/>
                  <a:pt x="486" y="413"/>
                  <a:pt x="487" y="412"/>
                </a:cubicBezTo>
                <a:cubicBezTo>
                  <a:pt x="486" y="412"/>
                  <a:pt x="486" y="412"/>
                  <a:pt x="486" y="412"/>
                </a:cubicBezTo>
                <a:cubicBezTo>
                  <a:pt x="487" y="412"/>
                  <a:pt x="486" y="412"/>
                  <a:pt x="486" y="412"/>
                </a:cubicBezTo>
                <a:cubicBezTo>
                  <a:pt x="486" y="412"/>
                  <a:pt x="486" y="412"/>
                  <a:pt x="487" y="412"/>
                </a:cubicBezTo>
                <a:cubicBezTo>
                  <a:pt x="487" y="412"/>
                  <a:pt x="487" y="412"/>
                  <a:pt x="488" y="412"/>
                </a:cubicBezTo>
                <a:cubicBezTo>
                  <a:pt x="488" y="412"/>
                  <a:pt x="488" y="412"/>
                  <a:pt x="487" y="411"/>
                </a:cubicBezTo>
                <a:cubicBezTo>
                  <a:pt x="488" y="412"/>
                  <a:pt x="488" y="412"/>
                  <a:pt x="488" y="412"/>
                </a:cubicBezTo>
                <a:cubicBezTo>
                  <a:pt x="489" y="412"/>
                  <a:pt x="489" y="412"/>
                  <a:pt x="489" y="412"/>
                </a:cubicBezTo>
                <a:cubicBezTo>
                  <a:pt x="490" y="412"/>
                  <a:pt x="490" y="412"/>
                  <a:pt x="490" y="412"/>
                </a:cubicBezTo>
                <a:cubicBezTo>
                  <a:pt x="490" y="412"/>
                  <a:pt x="491" y="412"/>
                  <a:pt x="491" y="413"/>
                </a:cubicBezTo>
                <a:cubicBezTo>
                  <a:pt x="491" y="413"/>
                  <a:pt x="491" y="413"/>
                  <a:pt x="491" y="413"/>
                </a:cubicBezTo>
                <a:cubicBezTo>
                  <a:pt x="492" y="414"/>
                  <a:pt x="492" y="413"/>
                  <a:pt x="492" y="413"/>
                </a:cubicBezTo>
                <a:cubicBezTo>
                  <a:pt x="492" y="414"/>
                  <a:pt x="493" y="414"/>
                  <a:pt x="493" y="415"/>
                </a:cubicBezTo>
                <a:cubicBezTo>
                  <a:pt x="494" y="415"/>
                  <a:pt x="494" y="414"/>
                  <a:pt x="494" y="414"/>
                </a:cubicBezTo>
                <a:cubicBezTo>
                  <a:pt x="493" y="414"/>
                  <a:pt x="494" y="414"/>
                  <a:pt x="494" y="413"/>
                </a:cubicBezTo>
                <a:close/>
                <a:moveTo>
                  <a:pt x="475" y="408"/>
                </a:moveTo>
                <a:cubicBezTo>
                  <a:pt x="475" y="408"/>
                  <a:pt x="476" y="407"/>
                  <a:pt x="476" y="407"/>
                </a:cubicBezTo>
                <a:cubicBezTo>
                  <a:pt x="476" y="407"/>
                  <a:pt x="477" y="407"/>
                  <a:pt x="477" y="407"/>
                </a:cubicBezTo>
                <a:cubicBezTo>
                  <a:pt x="477" y="407"/>
                  <a:pt x="478" y="407"/>
                  <a:pt x="478" y="407"/>
                </a:cubicBezTo>
                <a:cubicBezTo>
                  <a:pt x="478" y="407"/>
                  <a:pt x="480" y="407"/>
                  <a:pt x="479" y="407"/>
                </a:cubicBezTo>
                <a:cubicBezTo>
                  <a:pt x="479" y="407"/>
                  <a:pt x="480" y="407"/>
                  <a:pt x="480" y="407"/>
                </a:cubicBezTo>
                <a:cubicBezTo>
                  <a:pt x="480" y="406"/>
                  <a:pt x="479" y="406"/>
                  <a:pt x="479" y="406"/>
                </a:cubicBezTo>
                <a:cubicBezTo>
                  <a:pt x="478" y="406"/>
                  <a:pt x="478" y="406"/>
                  <a:pt x="478" y="406"/>
                </a:cubicBezTo>
                <a:cubicBezTo>
                  <a:pt x="478" y="406"/>
                  <a:pt x="478" y="407"/>
                  <a:pt x="478" y="407"/>
                </a:cubicBezTo>
                <a:cubicBezTo>
                  <a:pt x="477" y="407"/>
                  <a:pt x="478" y="406"/>
                  <a:pt x="477" y="406"/>
                </a:cubicBezTo>
                <a:cubicBezTo>
                  <a:pt x="477" y="406"/>
                  <a:pt x="477" y="406"/>
                  <a:pt x="476" y="406"/>
                </a:cubicBezTo>
                <a:cubicBezTo>
                  <a:pt x="476" y="406"/>
                  <a:pt x="475" y="406"/>
                  <a:pt x="475" y="406"/>
                </a:cubicBezTo>
                <a:cubicBezTo>
                  <a:pt x="475" y="406"/>
                  <a:pt x="476" y="406"/>
                  <a:pt x="476" y="406"/>
                </a:cubicBezTo>
                <a:cubicBezTo>
                  <a:pt x="476" y="406"/>
                  <a:pt x="476" y="406"/>
                  <a:pt x="476" y="407"/>
                </a:cubicBezTo>
                <a:cubicBezTo>
                  <a:pt x="475" y="407"/>
                  <a:pt x="475" y="406"/>
                  <a:pt x="474" y="406"/>
                </a:cubicBezTo>
                <a:cubicBezTo>
                  <a:pt x="474" y="406"/>
                  <a:pt x="475" y="407"/>
                  <a:pt x="475" y="407"/>
                </a:cubicBezTo>
                <a:cubicBezTo>
                  <a:pt x="475" y="407"/>
                  <a:pt x="474" y="407"/>
                  <a:pt x="474" y="407"/>
                </a:cubicBezTo>
                <a:cubicBezTo>
                  <a:pt x="475" y="407"/>
                  <a:pt x="475" y="407"/>
                  <a:pt x="475" y="408"/>
                </a:cubicBezTo>
                <a:close/>
                <a:moveTo>
                  <a:pt x="472" y="408"/>
                </a:moveTo>
                <a:cubicBezTo>
                  <a:pt x="472" y="407"/>
                  <a:pt x="471" y="408"/>
                  <a:pt x="471" y="408"/>
                </a:cubicBezTo>
                <a:cubicBezTo>
                  <a:pt x="470" y="408"/>
                  <a:pt x="470" y="407"/>
                  <a:pt x="470" y="407"/>
                </a:cubicBezTo>
                <a:cubicBezTo>
                  <a:pt x="470" y="407"/>
                  <a:pt x="470" y="407"/>
                  <a:pt x="470" y="408"/>
                </a:cubicBezTo>
                <a:cubicBezTo>
                  <a:pt x="469" y="408"/>
                  <a:pt x="468" y="407"/>
                  <a:pt x="468" y="407"/>
                </a:cubicBezTo>
                <a:cubicBezTo>
                  <a:pt x="468" y="407"/>
                  <a:pt x="470" y="408"/>
                  <a:pt x="470" y="407"/>
                </a:cubicBezTo>
                <a:cubicBezTo>
                  <a:pt x="470" y="406"/>
                  <a:pt x="471" y="406"/>
                  <a:pt x="471" y="406"/>
                </a:cubicBezTo>
                <a:cubicBezTo>
                  <a:pt x="471" y="406"/>
                  <a:pt x="468" y="407"/>
                  <a:pt x="469" y="407"/>
                </a:cubicBezTo>
                <a:cubicBezTo>
                  <a:pt x="469" y="407"/>
                  <a:pt x="468" y="407"/>
                  <a:pt x="467" y="407"/>
                </a:cubicBezTo>
                <a:cubicBezTo>
                  <a:pt x="467" y="407"/>
                  <a:pt x="467" y="407"/>
                  <a:pt x="467" y="407"/>
                </a:cubicBezTo>
                <a:cubicBezTo>
                  <a:pt x="467" y="407"/>
                  <a:pt x="466" y="406"/>
                  <a:pt x="466" y="407"/>
                </a:cubicBezTo>
                <a:cubicBezTo>
                  <a:pt x="466" y="407"/>
                  <a:pt x="466" y="407"/>
                  <a:pt x="467" y="407"/>
                </a:cubicBezTo>
                <a:cubicBezTo>
                  <a:pt x="465" y="407"/>
                  <a:pt x="466" y="408"/>
                  <a:pt x="467" y="408"/>
                </a:cubicBezTo>
                <a:cubicBezTo>
                  <a:pt x="467" y="408"/>
                  <a:pt x="468" y="408"/>
                  <a:pt x="468" y="408"/>
                </a:cubicBezTo>
                <a:cubicBezTo>
                  <a:pt x="468" y="407"/>
                  <a:pt x="469" y="408"/>
                  <a:pt x="469" y="408"/>
                </a:cubicBezTo>
                <a:cubicBezTo>
                  <a:pt x="469" y="408"/>
                  <a:pt x="470" y="408"/>
                  <a:pt x="469" y="408"/>
                </a:cubicBezTo>
                <a:cubicBezTo>
                  <a:pt x="470" y="408"/>
                  <a:pt x="470" y="408"/>
                  <a:pt x="470" y="408"/>
                </a:cubicBezTo>
                <a:cubicBezTo>
                  <a:pt x="470" y="408"/>
                  <a:pt x="470" y="410"/>
                  <a:pt x="471" y="409"/>
                </a:cubicBezTo>
                <a:cubicBezTo>
                  <a:pt x="471" y="409"/>
                  <a:pt x="471" y="409"/>
                  <a:pt x="470" y="409"/>
                </a:cubicBezTo>
                <a:cubicBezTo>
                  <a:pt x="471" y="409"/>
                  <a:pt x="471" y="409"/>
                  <a:pt x="471" y="409"/>
                </a:cubicBezTo>
                <a:cubicBezTo>
                  <a:pt x="471" y="409"/>
                  <a:pt x="472" y="409"/>
                  <a:pt x="472" y="409"/>
                </a:cubicBezTo>
                <a:cubicBezTo>
                  <a:pt x="472" y="409"/>
                  <a:pt x="471" y="409"/>
                  <a:pt x="471" y="408"/>
                </a:cubicBezTo>
                <a:cubicBezTo>
                  <a:pt x="471" y="408"/>
                  <a:pt x="472" y="409"/>
                  <a:pt x="471" y="408"/>
                </a:cubicBezTo>
                <a:cubicBezTo>
                  <a:pt x="471" y="408"/>
                  <a:pt x="472" y="409"/>
                  <a:pt x="472" y="409"/>
                </a:cubicBezTo>
                <a:cubicBezTo>
                  <a:pt x="473" y="408"/>
                  <a:pt x="472" y="408"/>
                  <a:pt x="472" y="408"/>
                </a:cubicBezTo>
                <a:cubicBezTo>
                  <a:pt x="472" y="408"/>
                  <a:pt x="472" y="408"/>
                  <a:pt x="472" y="408"/>
                </a:cubicBezTo>
                <a:close/>
                <a:moveTo>
                  <a:pt x="36" y="98"/>
                </a:moveTo>
                <a:cubicBezTo>
                  <a:pt x="36" y="98"/>
                  <a:pt x="36" y="98"/>
                  <a:pt x="36" y="98"/>
                </a:cubicBezTo>
                <a:cubicBezTo>
                  <a:pt x="36" y="98"/>
                  <a:pt x="35" y="98"/>
                  <a:pt x="36" y="98"/>
                </a:cubicBezTo>
                <a:close/>
                <a:moveTo>
                  <a:pt x="497" y="410"/>
                </a:moveTo>
                <a:cubicBezTo>
                  <a:pt x="497" y="410"/>
                  <a:pt x="498" y="410"/>
                  <a:pt x="498" y="410"/>
                </a:cubicBezTo>
                <a:cubicBezTo>
                  <a:pt x="499" y="409"/>
                  <a:pt x="498" y="408"/>
                  <a:pt x="497" y="407"/>
                </a:cubicBezTo>
                <a:cubicBezTo>
                  <a:pt x="496" y="406"/>
                  <a:pt x="494" y="406"/>
                  <a:pt x="493" y="406"/>
                </a:cubicBezTo>
                <a:cubicBezTo>
                  <a:pt x="493" y="406"/>
                  <a:pt x="492" y="407"/>
                  <a:pt x="492" y="406"/>
                </a:cubicBezTo>
                <a:cubicBezTo>
                  <a:pt x="492" y="406"/>
                  <a:pt x="491" y="406"/>
                  <a:pt x="491" y="406"/>
                </a:cubicBezTo>
                <a:cubicBezTo>
                  <a:pt x="490" y="406"/>
                  <a:pt x="489" y="406"/>
                  <a:pt x="489" y="406"/>
                </a:cubicBezTo>
                <a:cubicBezTo>
                  <a:pt x="488" y="406"/>
                  <a:pt x="487" y="406"/>
                  <a:pt x="487" y="407"/>
                </a:cubicBezTo>
                <a:cubicBezTo>
                  <a:pt x="487" y="407"/>
                  <a:pt x="488" y="407"/>
                  <a:pt x="489" y="407"/>
                </a:cubicBezTo>
                <a:cubicBezTo>
                  <a:pt x="489" y="407"/>
                  <a:pt x="489" y="408"/>
                  <a:pt x="489" y="408"/>
                </a:cubicBezTo>
                <a:cubicBezTo>
                  <a:pt x="489" y="409"/>
                  <a:pt x="490" y="409"/>
                  <a:pt x="490" y="409"/>
                </a:cubicBezTo>
                <a:cubicBezTo>
                  <a:pt x="490" y="409"/>
                  <a:pt x="490" y="409"/>
                  <a:pt x="491" y="410"/>
                </a:cubicBezTo>
                <a:cubicBezTo>
                  <a:pt x="491" y="410"/>
                  <a:pt x="491" y="410"/>
                  <a:pt x="492" y="409"/>
                </a:cubicBezTo>
                <a:cubicBezTo>
                  <a:pt x="492" y="409"/>
                  <a:pt x="493" y="409"/>
                  <a:pt x="494" y="410"/>
                </a:cubicBezTo>
                <a:cubicBezTo>
                  <a:pt x="493" y="410"/>
                  <a:pt x="493" y="409"/>
                  <a:pt x="493" y="410"/>
                </a:cubicBezTo>
                <a:cubicBezTo>
                  <a:pt x="493" y="410"/>
                  <a:pt x="494" y="410"/>
                  <a:pt x="494" y="410"/>
                </a:cubicBezTo>
                <a:cubicBezTo>
                  <a:pt x="495" y="410"/>
                  <a:pt x="494" y="409"/>
                  <a:pt x="495" y="409"/>
                </a:cubicBezTo>
                <a:cubicBezTo>
                  <a:pt x="495" y="409"/>
                  <a:pt x="496" y="409"/>
                  <a:pt x="496" y="409"/>
                </a:cubicBezTo>
                <a:cubicBezTo>
                  <a:pt x="496" y="410"/>
                  <a:pt x="496" y="410"/>
                  <a:pt x="497" y="410"/>
                </a:cubicBezTo>
                <a:close/>
                <a:moveTo>
                  <a:pt x="387" y="293"/>
                </a:moveTo>
                <a:cubicBezTo>
                  <a:pt x="388" y="293"/>
                  <a:pt x="388" y="294"/>
                  <a:pt x="389" y="294"/>
                </a:cubicBezTo>
                <a:cubicBezTo>
                  <a:pt x="389" y="293"/>
                  <a:pt x="388" y="293"/>
                  <a:pt x="388" y="293"/>
                </a:cubicBezTo>
                <a:cubicBezTo>
                  <a:pt x="389" y="293"/>
                  <a:pt x="389" y="293"/>
                  <a:pt x="389" y="293"/>
                </a:cubicBezTo>
                <a:cubicBezTo>
                  <a:pt x="389" y="293"/>
                  <a:pt x="387" y="292"/>
                  <a:pt x="387" y="292"/>
                </a:cubicBezTo>
                <a:cubicBezTo>
                  <a:pt x="387" y="292"/>
                  <a:pt x="388" y="292"/>
                  <a:pt x="388" y="292"/>
                </a:cubicBezTo>
                <a:cubicBezTo>
                  <a:pt x="387" y="292"/>
                  <a:pt x="387" y="292"/>
                  <a:pt x="387" y="293"/>
                </a:cubicBezTo>
                <a:close/>
                <a:moveTo>
                  <a:pt x="456" y="404"/>
                </a:moveTo>
                <a:cubicBezTo>
                  <a:pt x="456" y="404"/>
                  <a:pt x="456" y="403"/>
                  <a:pt x="455" y="403"/>
                </a:cubicBezTo>
                <a:cubicBezTo>
                  <a:pt x="455" y="403"/>
                  <a:pt x="455" y="404"/>
                  <a:pt x="455" y="404"/>
                </a:cubicBezTo>
                <a:cubicBezTo>
                  <a:pt x="455" y="404"/>
                  <a:pt x="455" y="404"/>
                  <a:pt x="455" y="404"/>
                </a:cubicBezTo>
                <a:cubicBezTo>
                  <a:pt x="456" y="404"/>
                  <a:pt x="456" y="404"/>
                  <a:pt x="456" y="404"/>
                </a:cubicBezTo>
                <a:cubicBezTo>
                  <a:pt x="456" y="404"/>
                  <a:pt x="456" y="404"/>
                  <a:pt x="457" y="405"/>
                </a:cubicBezTo>
                <a:cubicBezTo>
                  <a:pt x="457" y="405"/>
                  <a:pt x="456" y="404"/>
                  <a:pt x="456" y="404"/>
                </a:cubicBezTo>
                <a:close/>
                <a:moveTo>
                  <a:pt x="395" y="309"/>
                </a:moveTo>
                <a:cubicBezTo>
                  <a:pt x="396" y="308"/>
                  <a:pt x="394" y="306"/>
                  <a:pt x="394" y="307"/>
                </a:cubicBezTo>
                <a:cubicBezTo>
                  <a:pt x="393" y="308"/>
                  <a:pt x="395" y="309"/>
                  <a:pt x="395" y="309"/>
                </a:cubicBezTo>
                <a:close/>
                <a:moveTo>
                  <a:pt x="398" y="336"/>
                </a:moveTo>
                <a:cubicBezTo>
                  <a:pt x="399" y="335"/>
                  <a:pt x="397" y="334"/>
                  <a:pt x="396" y="334"/>
                </a:cubicBezTo>
                <a:cubicBezTo>
                  <a:pt x="396" y="334"/>
                  <a:pt x="396" y="334"/>
                  <a:pt x="397" y="334"/>
                </a:cubicBezTo>
                <a:cubicBezTo>
                  <a:pt x="396" y="334"/>
                  <a:pt x="394" y="334"/>
                  <a:pt x="395" y="335"/>
                </a:cubicBezTo>
                <a:cubicBezTo>
                  <a:pt x="396" y="335"/>
                  <a:pt x="396" y="336"/>
                  <a:pt x="397" y="336"/>
                </a:cubicBezTo>
                <a:cubicBezTo>
                  <a:pt x="397" y="336"/>
                  <a:pt x="397" y="337"/>
                  <a:pt x="397" y="337"/>
                </a:cubicBezTo>
                <a:cubicBezTo>
                  <a:pt x="397" y="337"/>
                  <a:pt x="398" y="337"/>
                  <a:pt x="398" y="338"/>
                </a:cubicBezTo>
                <a:cubicBezTo>
                  <a:pt x="398" y="338"/>
                  <a:pt x="399" y="338"/>
                  <a:pt x="399" y="338"/>
                </a:cubicBezTo>
                <a:cubicBezTo>
                  <a:pt x="399" y="337"/>
                  <a:pt x="400" y="337"/>
                  <a:pt x="399" y="337"/>
                </a:cubicBezTo>
                <a:cubicBezTo>
                  <a:pt x="399" y="336"/>
                  <a:pt x="399" y="336"/>
                  <a:pt x="399" y="335"/>
                </a:cubicBezTo>
                <a:cubicBezTo>
                  <a:pt x="399" y="335"/>
                  <a:pt x="399" y="336"/>
                  <a:pt x="398" y="336"/>
                </a:cubicBezTo>
                <a:close/>
                <a:moveTo>
                  <a:pt x="398" y="307"/>
                </a:moveTo>
                <a:cubicBezTo>
                  <a:pt x="397" y="306"/>
                  <a:pt x="397" y="306"/>
                  <a:pt x="397" y="306"/>
                </a:cubicBezTo>
                <a:cubicBezTo>
                  <a:pt x="396" y="306"/>
                  <a:pt x="396" y="306"/>
                  <a:pt x="396" y="307"/>
                </a:cubicBezTo>
                <a:cubicBezTo>
                  <a:pt x="396" y="307"/>
                  <a:pt x="396" y="307"/>
                  <a:pt x="396" y="307"/>
                </a:cubicBezTo>
                <a:cubicBezTo>
                  <a:pt x="397" y="308"/>
                  <a:pt x="396" y="308"/>
                  <a:pt x="397" y="308"/>
                </a:cubicBezTo>
                <a:cubicBezTo>
                  <a:pt x="397" y="309"/>
                  <a:pt x="398" y="309"/>
                  <a:pt x="398" y="309"/>
                </a:cubicBezTo>
                <a:cubicBezTo>
                  <a:pt x="398" y="309"/>
                  <a:pt x="397" y="308"/>
                  <a:pt x="397" y="308"/>
                </a:cubicBezTo>
                <a:cubicBezTo>
                  <a:pt x="398" y="308"/>
                  <a:pt x="398" y="307"/>
                  <a:pt x="398" y="307"/>
                </a:cubicBezTo>
                <a:close/>
                <a:moveTo>
                  <a:pt x="421" y="374"/>
                </a:moveTo>
                <a:cubicBezTo>
                  <a:pt x="421" y="373"/>
                  <a:pt x="420" y="373"/>
                  <a:pt x="419" y="373"/>
                </a:cubicBezTo>
                <a:cubicBezTo>
                  <a:pt x="420" y="373"/>
                  <a:pt x="420" y="373"/>
                  <a:pt x="420" y="374"/>
                </a:cubicBezTo>
                <a:cubicBezTo>
                  <a:pt x="421" y="374"/>
                  <a:pt x="421" y="374"/>
                  <a:pt x="421" y="374"/>
                </a:cubicBezTo>
                <a:cubicBezTo>
                  <a:pt x="422" y="375"/>
                  <a:pt x="423" y="375"/>
                  <a:pt x="423" y="375"/>
                </a:cubicBezTo>
                <a:cubicBezTo>
                  <a:pt x="424" y="375"/>
                  <a:pt x="424" y="375"/>
                  <a:pt x="424" y="375"/>
                </a:cubicBezTo>
                <a:cubicBezTo>
                  <a:pt x="423" y="374"/>
                  <a:pt x="423" y="375"/>
                  <a:pt x="423" y="374"/>
                </a:cubicBezTo>
                <a:cubicBezTo>
                  <a:pt x="423" y="375"/>
                  <a:pt x="423" y="374"/>
                  <a:pt x="423" y="374"/>
                </a:cubicBezTo>
                <a:cubicBezTo>
                  <a:pt x="423" y="374"/>
                  <a:pt x="421" y="374"/>
                  <a:pt x="421" y="374"/>
                </a:cubicBezTo>
                <a:close/>
                <a:moveTo>
                  <a:pt x="499" y="415"/>
                </a:moveTo>
                <a:cubicBezTo>
                  <a:pt x="499" y="415"/>
                  <a:pt x="499" y="413"/>
                  <a:pt x="498" y="413"/>
                </a:cubicBezTo>
                <a:cubicBezTo>
                  <a:pt x="498" y="414"/>
                  <a:pt x="499" y="414"/>
                  <a:pt x="499" y="414"/>
                </a:cubicBezTo>
                <a:cubicBezTo>
                  <a:pt x="498" y="414"/>
                  <a:pt x="498" y="414"/>
                  <a:pt x="498" y="414"/>
                </a:cubicBezTo>
                <a:cubicBezTo>
                  <a:pt x="497" y="414"/>
                  <a:pt x="497" y="415"/>
                  <a:pt x="498" y="415"/>
                </a:cubicBezTo>
                <a:cubicBezTo>
                  <a:pt x="498" y="415"/>
                  <a:pt x="499" y="415"/>
                  <a:pt x="500" y="415"/>
                </a:cubicBezTo>
                <a:cubicBezTo>
                  <a:pt x="500" y="416"/>
                  <a:pt x="500" y="415"/>
                  <a:pt x="500" y="415"/>
                </a:cubicBezTo>
                <a:cubicBezTo>
                  <a:pt x="500" y="415"/>
                  <a:pt x="500" y="415"/>
                  <a:pt x="499" y="415"/>
                </a:cubicBezTo>
                <a:close/>
                <a:moveTo>
                  <a:pt x="388" y="299"/>
                </a:moveTo>
                <a:cubicBezTo>
                  <a:pt x="389" y="299"/>
                  <a:pt x="388" y="299"/>
                  <a:pt x="387" y="299"/>
                </a:cubicBezTo>
                <a:cubicBezTo>
                  <a:pt x="387" y="299"/>
                  <a:pt x="387" y="298"/>
                  <a:pt x="386" y="298"/>
                </a:cubicBezTo>
                <a:cubicBezTo>
                  <a:pt x="386" y="298"/>
                  <a:pt x="386" y="299"/>
                  <a:pt x="386" y="299"/>
                </a:cubicBezTo>
                <a:cubicBezTo>
                  <a:pt x="387" y="299"/>
                  <a:pt x="387" y="299"/>
                  <a:pt x="388" y="299"/>
                </a:cubicBezTo>
                <a:close/>
                <a:moveTo>
                  <a:pt x="415" y="373"/>
                </a:moveTo>
                <a:cubicBezTo>
                  <a:pt x="414" y="373"/>
                  <a:pt x="415" y="375"/>
                  <a:pt x="415" y="375"/>
                </a:cubicBezTo>
                <a:cubicBezTo>
                  <a:pt x="416" y="375"/>
                  <a:pt x="416" y="373"/>
                  <a:pt x="415" y="373"/>
                </a:cubicBezTo>
                <a:close/>
                <a:moveTo>
                  <a:pt x="501" y="416"/>
                </a:moveTo>
                <a:cubicBezTo>
                  <a:pt x="502" y="416"/>
                  <a:pt x="502" y="417"/>
                  <a:pt x="502" y="417"/>
                </a:cubicBezTo>
                <a:cubicBezTo>
                  <a:pt x="503" y="417"/>
                  <a:pt x="502" y="416"/>
                  <a:pt x="502" y="416"/>
                </a:cubicBezTo>
                <a:cubicBezTo>
                  <a:pt x="502" y="415"/>
                  <a:pt x="501" y="416"/>
                  <a:pt x="501" y="416"/>
                </a:cubicBezTo>
                <a:close/>
                <a:moveTo>
                  <a:pt x="451" y="400"/>
                </a:moveTo>
                <a:cubicBezTo>
                  <a:pt x="451" y="401"/>
                  <a:pt x="450" y="400"/>
                  <a:pt x="450" y="400"/>
                </a:cubicBezTo>
                <a:cubicBezTo>
                  <a:pt x="450" y="400"/>
                  <a:pt x="450" y="400"/>
                  <a:pt x="450" y="400"/>
                </a:cubicBezTo>
                <a:cubicBezTo>
                  <a:pt x="450" y="401"/>
                  <a:pt x="450" y="401"/>
                  <a:pt x="451" y="401"/>
                </a:cubicBezTo>
                <a:cubicBezTo>
                  <a:pt x="451" y="400"/>
                  <a:pt x="451" y="401"/>
                  <a:pt x="451" y="401"/>
                </a:cubicBezTo>
                <a:cubicBezTo>
                  <a:pt x="451" y="401"/>
                  <a:pt x="451" y="400"/>
                  <a:pt x="451" y="400"/>
                </a:cubicBezTo>
                <a:cubicBezTo>
                  <a:pt x="451" y="400"/>
                  <a:pt x="452" y="401"/>
                  <a:pt x="452" y="400"/>
                </a:cubicBezTo>
                <a:cubicBezTo>
                  <a:pt x="452" y="400"/>
                  <a:pt x="451" y="400"/>
                  <a:pt x="451" y="400"/>
                </a:cubicBezTo>
                <a:close/>
                <a:moveTo>
                  <a:pt x="389" y="301"/>
                </a:moveTo>
                <a:cubicBezTo>
                  <a:pt x="388" y="301"/>
                  <a:pt x="389" y="301"/>
                  <a:pt x="389" y="301"/>
                </a:cubicBezTo>
                <a:cubicBezTo>
                  <a:pt x="390" y="301"/>
                  <a:pt x="390" y="301"/>
                  <a:pt x="391" y="301"/>
                </a:cubicBezTo>
                <a:cubicBezTo>
                  <a:pt x="391" y="301"/>
                  <a:pt x="392" y="301"/>
                  <a:pt x="391" y="301"/>
                </a:cubicBezTo>
                <a:cubicBezTo>
                  <a:pt x="391" y="301"/>
                  <a:pt x="392" y="301"/>
                  <a:pt x="392" y="300"/>
                </a:cubicBezTo>
                <a:cubicBezTo>
                  <a:pt x="392" y="300"/>
                  <a:pt x="391" y="300"/>
                  <a:pt x="390" y="300"/>
                </a:cubicBezTo>
                <a:cubicBezTo>
                  <a:pt x="389" y="299"/>
                  <a:pt x="389" y="300"/>
                  <a:pt x="389" y="301"/>
                </a:cubicBezTo>
                <a:close/>
                <a:moveTo>
                  <a:pt x="399" y="345"/>
                </a:moveTo>
                <a:cubicBezTo>
                  <a:pt x="400" y="345"/>
                  <a:pt x="399" y="345"/>
                  <a:pt x="399" y="344"/>
                </a:cubicBezTo>
                <a:cubicBezTo>
                  <a:pt x="398" y="344"/>
                  <a:pt x="399" y="344"/>
                  <a:pt x="398" y="344"/>
                </a:cubicBezTo>
                <a:cubicBezTo>
                  <a:pt x="398" y="344"/>
                  <a:pt x="398" y="344"/>
                  <a:pt x="398" y="345"/>
                </a:cubicBezTo>
                <a:cubicBezTo>
                  <a:pt x="398" y="345"/>
                  <a:pt x="397" y="345"/>
                  <a:pt x="398" y="345"/>
                </a:cubicBezTo>
                <a:cubicBezTo>
                  <a:pt x="398" y="345"/>
                  <a:pt x="398" y="345"/>
                  <a:pt x="397" y="346"/>
                </a:cubicBezTo>
                <a:cubicBezTo>
                  <a:pt x="397" y="345"/>
                  <a:pt x="397" y="345"/>
                  <a:pt x="397" y="345"/>
                </a:cubicBezTo>
                <a:cubicBezTo>
                  <a:pt x="397" y="346"/>
                  <a:pt x="397" y="346"/>
                  <a:pt x="397" y="346"/>
                </a:cubicBezTo>
                <a:cubicBezTo>
                  <a:pt x="397" y="346"/>
                  <a:pt x="398" y="347"/>
                  <a:pt x="398" y="347"/>
                </a:cubicBezTo>
                <a:cubicBezTo>
                  <a:pt x="399" y="347"/>
                  <a:pt x="399" y="346"/>
                  <a:pt x="399" y="345"/>
                </a:cubicBezTo>
                <a:cubicBezTo>
                  <a:pt x="399" y="346"/>
                  <a:pt x="399" y="346"/>
                  <a:pt x="399" y="346"/>
                </a:cubicBezTo>
                <a:cubicBezTo>
                  <a:pt x="399" y="346"/>
                  <a:pt x="399" y="346"/>
                  <a:pt x="399" y="345"/>
                </a:cubicBezTo>
                <a:cubicBezTo>
                  <a:pt x="399" y="345"/>
                  <a:pt x="399" y="345"/>
                  <a:pt x="399" y="345"/>
                </a:cubicBezTo>
                <a:close/>
                <a:moveTo>
                  <a:pt x="497" y="416"/>
                </a:moveTo>
                <a:cubicBezTo>
                  <a:pt x="497" y="416"/>
                  <a:pt x="496" y="416"/>
                  <a:pt x="496" y="416"/>
                </a:cubicBezTo>
                <a:cubicBezTo>
                  <a:pt x="496" y="416"/>
                  <a:pt x="497" y="416"/>
                  <a:pt x="497" y="416"/>
                </a:cubicBezTo>
                <a:cubicBezTo>
                  <a:pt x="498" y="416"/>
                  <a:pt x="499" y="417"/>
                  <a:pt x="499" y="416"/>
                </a:cubicBezTo>
                <a:cubicBezTo>
                  <a:pt x="498" y="416"/>
                  <a:pt x="498" y="416"/>
                  <a:pt x="498" y="416"/>
                </a:cubicBezTo>
                <a:cubicBezTo>
                  <a:pt x="498" y="416"/>
                  <a:pt x="497" y="416"/>
                  <a:pt x="497" y="416"/>
                </a:cubicBezTo>
                <a:close/>
                <a:moveTo>
                  <a:pt x="413" y="364"/>
                </a:moveTo>
                <a:cubicBezTo>
                  <a:pt x="414" y="364"/>
                  <a:pt x="413" y="363"/>
                  <a:pt x="413" y="363"/>
                </a:cubicBezTo>
                <a:cubicBezTo>
                  <a:pt x="413" y="363"/>
                  <a:pt x="413" y="364"/>
                  <a:pt x="413" y="364"/>
                </a:cubicBezTo>
                <a:cubicBezTo>
                  <a:pt x="413" y="364"/>
                  <a:pt x="413" y="363"/>
                  <a:pt x="412" y="363"/>
                </a:cubicBezTo>
                <a:cubicBezTo>
                  <a:pt x="412" y="363"/>
                  <a:pt x="413" y="363"/>
                  <a:pt x="413" y="363"/>
                </a:cubicBezTo>
                <a:cubicBezTo>
                  <a:pt x="412" y="363"/>
                  <a:pt x="412" y="362"/>
                  <a:pt x="411" y="362"/>
                </a:cubicBezTo>
                <a:cubicBezTo>
                  <a:pt x="411" y="362"/>
                  <a:pt x="411" y="362"/>
                  <a:pt x="411" y="362"/>
                </a:cubicBezTo>
                <a:cubicBezTo>
                  <a:pt x="411" y="362"/>
                  <a:pt x="411" y="362"/>
                  <a:pt x="411" y="362"/>
                </a:cubicBezTo>
                <a:cubicBezTo>
                  <a:pt x="411" y="362"/>
                  <a:pt x="411" y="362"/>
                  <a:pt x="411" y="363"/>
                </a:cubicBezTo>
                <a:cubicBezTo>
                  <a:pt x="410" y="362"/>
                  <a:pt x="411" y="363"/>
                  <a:pt x="411" y="363"/>
                </a:cubicBezTo>
                <a:cubicBezTo>
                  <a:pt x="411" y="363"/>
                  <a:pt x="411" y="363"/>
                  <a:pt x="412" y="363"/>
                </a:cubicBezTo>
                <a:cubicBezTo>
                  <a:pt x="411" y="363"/>
                  <a:pt x="411" y="363"/>
                  <a:pt x="411" y="363"/>
                </a:cubicBezTo>
                <a:cubicBezTo>
                  <a:pt x="411" y="364"/>
                  <a:pt x="413" y="364"/>
                  <a:pt x="413" y="364"/>
                </a:cubicBezTo>
                <a:close/>
                <a:moveTo>
                  <a:pt x="395" y="307"/>
                </a:moveTo>
                <a:cubicBezTo>
                  <a:pt x="396" y="306"/>
                  <a:pt x="395" y="306"/>
                  <a:pt x="394" y="306"/>
                </a:cubicBezTo>
                <a:cubicBezTo>
                  <a:pt x="393" y="305"/>
                  <a:pt x="392" y="307"/>
                  <a:pt x="393" y="307"/>
                </a:cubicBezTo>
                <a:cubicBezTo>
                  <a:pt x="393" y="307"/>
                  <a:pt x="394" y="307"/>
                  <a:pt x="394" y="307"/>
                </a:cubicBezTo>
                <a:cubicBezTo>
                  <a:pt x="394" y="307"/>
                  <a:pt x="395" y="307"/>
                  <a:pt x="395" y="307"/>
                </a:cubicBezTo>
                <a:close/>
                <a:moveTo>
                  <a:pt x="385" y="298"/>
                </a:moveTo>
                <a:cubicBezTo>
                  <a:pt x="385" y="298"/>
                  <a:pt x="386" y="298"/>
                  <a:pt x="386" y="298"/>
                </a:cubicBezTo>
                <a:cubicBezTo>
                  <a:pt x="387" y="297"/>
                  <a:pt x="385" y="297"/>
                  <a:pt x="385" y="297"/>
                </a:cubicBezTo>
                <a:cubicBezTo>
                  <a:pt x="384" y="297"/>
                  <a:pt x="385" y="298"/>
                  <a:pt x="385" y="298"/>
                </a:cubicBezTo>
                <a:close/>
                <a:moveTo>
                  <a:pt x="443" y="397"/>
                </a:moveTo>
                <a:cubicBezTo>
                  <a:pt x="442" y="397"/>
                  <a:pt x="442" y="397"/>
                  <a:pt x="442" y="397"/>
                </a:cubicBezTo>
                <a:cubicBezTo>
                  <a:pt x="441" y="397"/>
                  <a:pt x="441" y="397"/>
                  <a:pt x="441" y="398"/>
                </a:cubicBezTo>
                <a:cubicBezTo>
                  <a:pt x="441" y="398"/>
                  <a:pt x="442" y="397"/>
                  <a:pt x="442" y="398"/>
                </a:cubicBezTo>
                <a:cubicBezTo>
                  <a:pt x="442" y="398"/>
                  <a:pt x="443" y="398"/>
                  <a:pt x="443" y="398"/>
                </a:cubicBezTo>
                <a:cubicBezTo>
                  <a:pt x="443" y="398"/>
                  <a:pt x="443" y="398"/>
                  <a:pt x="443" y="398"/>
                </a:cubicBezTo>
                <a:cubicBezTo>
                  <a:pt x="443" y="398"/>
                  <a:pt x="443" y="398"/>
                  <a:pt x="443" y="398"/>
                </a:cubicBezTo>
                <a:cubicBezTo>
                  <a:pt x="443" y="397"/>
                  <a:pt x="443" y="398"/>
                  <a:pt x="443" y="397"/>
                </a:cubicBezTo>
                <a:close/>
                <a:moveTo>
                  <a:pt x="0" y="106"/>
                </a:moveTo>
                <a:cubicBezTo>
                  <a:pt x="0" y="106"/>
                  <a:pt x="0" y="106"/>
                  <a:pt x="1" y="106"/>
                </a:cubicBezTo>
                <a:cubicBezTo>
                  <a:pt x="1" y="106"/>
                  <a:pt x="2" y="106"/>
                  <a:pt x="2" y="105"/>
                </a:cubicBezTo>
                <a:cubicBezTo>
                  <a:pt x="2" y="105"/>
                  <a:pt x="0" y="104"/>
                  <a:pt x="0" y="106"/>
                </a:cubicBezTo>
                <a:close/>
                <a:moveTo>
                  <a:pt x="503" y="409"/>
                </a:moveTo>
                <a:cubicBezTo>
                  <a:pt x="502" y="409"/>
                  <a:pt x="502" y="410"/>
                  <a:pt x="503" y="410"/>
                </a:cubicBezTo>
                <a:cubicBezTo>
                  <a:pt x="504" y="410"/>
                  <a:pt x="504" y="409"/>
                  <a:pt x="503" y="409"/>
                </a:cubicBezTo>
                <a:close/>
                <a:moveTo>
                  <a:pt x="434" y="391"/>
                </a:moveTo>
                <a:cubicBezTo>
                  <a:pt x="434" y="391"/>
                  <a:pt x="435" y="392"/>
                  <a:pt x="434" y="392"/>
                </a:cubicBezTo>
                <a:cubicBezTo>
                  <a:pt x="434" y="392"/>
                  <a:pt x="435" y="392"/>
                  <a:pt x="435" y="392"/>
                </a:cubicBezTo>
                <a:cubicBezTo>
                  <a:pt x="435" y="392"/>
                  <a:pt x="435" y="392"/>
                  <a:pt x="435" y="393"/>
                </a:cubicBezTo>
                <a:cubicBezTo>
                  <a:pt x="435" y="392"/>
                  <a:pt x="435" y="392"/>
                  <a:pt x="435" y="392"/>
                </a:cubicBezTo>
                <a:cubicBezTo>
                  <a:pt x="436" y="392"/>
                  <a:pt x="436" y="392"/>
                  <a:pt x="436" y="392"/>
                </a:cubicBezTo>
                <a:cubicBezTo>
                  <a:pt x="435" y="391"/>
                  <a:pt x="435" y="391"/>
                  <a:pt x="434" y="391"/>
                </a:cubicBezTo>
                <a:close/>
                <a:moveTo>
                  <a:pt x="395" y="333"/>
                </a:moveTo>
                <a:cubicBezTo>
                  <a:pt x="395" y="333"/>
                  <a:pt x="394" y="334"/>
                  <a:pt x="395" y="334"/>
                </a:cubicBezTo>
                <a:cubicBezTo>
                  <a:pt x="395" y="334"/>
                  <a:pt x="395" y="334"/>
                  <a:pt x="396" y="333"/>
                </a:cubicBezTo>
                <a:cubicBezTo>
                  <a:pt x="396" y="333"/>
                  <a:pt x="396" y="333"/>
                  <a:pt x="396" y="333"/>
                </a:cubicBezTo>
                <a:cubicBezTo>
                  <a:pt x="396" y="334"/>
                  <a:pt x="397" y="334"/>
                  <a:pt x="397" y="334"/>
                </a:cubicBezTo>
                <a:cubicBezTo>
                  <a:pt x="398" y="334"/>
                  <a:pt x="399" y="334"/>
                  <a:pt x="398" y="333"/>
                </a:cubicBezTo>
                <a:cubicBezTo>
                  <a:pt x="398" y="333"/>
                  <a:pt x="397" y="330"/>
                  <a:pt x="397" y="332"/>
                </a:cubicBezTo>
                <a:cubicBezTo>
                  <a:pt x="397" y="332"/>
                  <a:pt x="397" y="332"/>
                  <a:pt x="397" y="332"/>
                </a:cubicBezTo>
                <a:cubicBezTo>
                  <a:pt x="396" y="332"/>
                  <a:pt x="397" y="332"/>
                  <a:pt x="397" y="333"/>
                </a:cubicBezTo>
                <a:cubicBezTo>
                  <a:pt x="396" y="333"/>
                  <a:pt x="397" y="333"/>
                  <a:pt x="397" y="333"/>
                </a:cubicBezTo>
                <a:cubicBezTo>
                  <a:pt x="397" y="333"/>
                  <a:pt x="396" y="333"/>
                  <a:pt x="396" y="333"/>
                </a:cubicBezTo>
                <a:cubicBezTo>
                  <a:pt x="395" y="333"/>
                  <a:pt x="395" y="333"/>
                  <a:pt x="395" y="333"/>
                </a:cubicBezTo>
                <a:close/>
                <a:moveTo>
                  <a:pt x="398" y="323"/>
                </a:moveTo>
                <a:cubicBezTo>
                  <a:pt x="397" y="323"/>
                  <a:pt x="397" y="323"/>
                  <a:pt x="397" y="323"/>
                </a:cubicBezTo>
                <a:cubicBezTo>
                  <a:pt x="397" y="324"/>
                  <a:pt x="397" y="324"/>
                  <a:pt x="397" y="324"/>
                </a:cubicBezTo>
                <a:cubicBezTo>
                  <a:pt x="397" y="325"/>
                  <a:pt x="399" y="323"/>
                  <a:pt x="398" y="323"/>
                </a:cubicBezTo>
                <a:close/>
                <a:moveTo>
                  <a:pt x="394" y="330"/>
                </a:moveTo>
                <a:cubicBezTo>
                  <a:pt x="394" y="330"/>
                  <a:pt x="393" y="331"/>
                  <a:pt x="393" y="331"/>
                </a:cubicBezTo>
                <a:cubicBezTo>
                  <a:pt x="393" y="331"/>
                  <a:pt x="394" y="331"/>
                  <a:pt x="394" y="332"/>
                </a:cubicBezTo>
                <a:cubicBezTo>
                  <a:pt x="395" y="332"/>
                  <a:pt x="396" y="331"/>
                  <a:pt x="395" y="331"/>
                </a:cubicBezTo>
                <a:cubicBezTo>
                  <a:pt x="395" y="331"/>
                  <a:pt x="394" y="330"/>
                  <a:pt x="394" y="330"/>
                </a:cubicBezTo>
                <a:close/>
                <a:moveTo>
                  <a:pt x="386" y="295"/>
                </a:moveTo>
                <a:cubicBezTo>
                  <a:pt x="386" y="296"/>
                  <a:pt x="385" y="295"/>
                  <a:pt x="385" y="295"/>
                </a:cubicBezTo>
                <a:cubicBezTo>
                  <a:pt x="384" y="296"/>
                  <a:pt x="387" y="296"/>
                  <a:pt x="386" y="296"/>
                </a:cubicBezTo>
                <a:cubicBezTo>
                  <a:pt x="386" y="296"/>
                  <a:pt x="387" y="295"/>
                  <a:pt x="387" y="295"/>
                </a:cubicBezTo>
                <a:cubicBezTo>
                  <a:pt x="387" y="295"/>
                  <a:pt x="386" y="294"/>
                  <a:pt x="386" y="295"/>
                </a:cubicBezTo>
                <a:close/>
                <a:moveTo>
                  <a:pt x="424" y="373"/>
                </a:moveTo>
                <a:cubicBezTo>
                  <a:pt x="424" y="373"/>
                  <a:pt x="424" y="373"/>
                  <a:pt x="423" y="373"/>
                </a:cubicBezTo>
                <a:cubicBezTo>
                  <a:pt x="423" y="372"/>
                  <a:pt x="423" y="372"/>
                  <a:pt x="422" y="371"/>
                </a:cubicBezTo>
                <a:cubicBezTo>
                  <a:pt x="422" y="371"/>
                  <a:pt x="422" y="371"/>
                  <a:pt x="422" y="371"/>
                </a:cubicBezTo>
                <a:cubicBezTo>
                  <a:pt x="422" y="371"/>
                  <a:pt x="422" y="371"/>
                  <a:pt x="422" y="372"/>
                </a:cubicBezTo>
                <a:cubicBezTo>
                  <a:pt x="422" y="372"/>
                  <a:pt x="422" y="372"/>
                  <a:pt x="422" y="372"/>
                </a:cubicBezTo>
                <a:cubicBezTo>
                  <a:pt x="422" y="372"/>
                  <a:pt x="422" y="372"/>
                  <a:pt x="422" y="372"/>
                </a:cubicBezTo>
                <a:cubicBezTo>
                  <a:pt x="422" y="372"/>
                  <a:pt x="422" y="372"/>
                  <a:pt x="422" y="372"/>
                </a:cubicBezTo>
                <a:cubicBezTo>
                  <a:pt x="422" y="372"/>
                  <a:pt x="422" y="372"/>
                  <a:pt x="422" y="372"/>
                </a:cubicBezTo>
                <a:cubicBezTo>
                  <a:pt x="421" y="373"/>
                  <a:pt x="423" y="373"/>
                  <a:pt x="423" y="373"/>
                </a:cubicBezTo>
                <a:cubicBezTo>
                  <a:pt x="423" y="373"/>
                  <a:pt x="425" y="374"/>
                  <a:pt x="424" y="373"/>
                </a:cubicBezTo>
                <a:close/>
                <a:moveTo>
                  <a:pt x="391" y="299"/>
                </a:moveTo>
                <a:cubicBezTo>
                  <a:pt x="391" y="299"/>
                  <a:pt x="392" y="299"/>
                  <a:pt x="392" y="300"/>
                </a:cubicBezTo>
                <a:cubicBezTo>
                  <a:pt x="392" y="300"/>
                  <a:pt x="392" y="300"/>
                  <a:pt x="392" y="300"/>
                </a:cubicBezTo>
                <a:cubicBezTo>
                  <a:pt x="392" y="300"/>
                  <a:pt x="393" y="301"/>
                  <a:pt x="393" y="301"/>
                </a:cubicBezTo>
                <a:cubicBezTo>
                  <a:pt x="394" y="300"/>
                  <a:pt x="392" y="299"/>
                  <a:pt x="392" y="299"/>
                </a:cubicBezTo>
                <a:cubicBezTo>
                  <a:pt x="392" y="299"/>
                  <a:pt x="391" y="298"/>
                  <a:pt x="391" y="299"/>
                </a:cubicBezTo>
                <a:close/>
                <a:moveTo>
                  <a:pt x="430" y="383"/>
                </a:moveTo>
                <a:cubicBezTo>
                  <a:pt x="430" y="383"/>
                  <a:pt x="431" y="383"/>
                  <a:pt x="431" y="383"/>
                </a:cubicBezTo>
                <a:cubicBezTo>
                  <a:pt x="431" y="382"/>
                  <a:pt x="430" y="382"/>
                  <a:pt x="430" y="382"/>
                </a:cubicBezTo>
                <a:cubicBezTo>
                  <a:pt x="430" y="381"/>
                  <a:pt x="430" y="380"/>
                  <a:pt x="430" y="380"/>
                </a:cubicBezTo>
                <a:cubicBezTo>
                  <a:pt x="429" y="380"/>
                  <a:pt x="428" y="381"/>
                  <a:pt x="428" y="382"/>
                </a:cubicBezTo>
                <a:cubicBezTo>
                  <a:pt x="428" y="383"/>
                  <a:pt x="429" y="382"/>
                  <a:pt x="429" y="382"/>
                </a:cubicBezTo>
                <a:cubicBezTo>
                  <a:pt x="429" y="382"/>
                  <a:pt x="428" y="383"/>
                  <a:pt x="429" y="382"/>
                </a:cubicBezTo>
                <a:cubicBezTo>
                  <a:pt x="429" y="383"/>
                  <a:pt x="429" y="383"/>
                  <a:pt x="430" y="383"/>
                </a:cubicBezTo>
                <a:close/>
                <a:moveTo>
                  <a:pt x="415" y="370"/>
                </a:moveTo>
                <a:cubicBezTo>
                  <a:pt x="415" y="369"/>
                  <a:pt x="415" y="369"/>
                  <a:pt x="415" y="368"/>
                </a:cubicBezTo>
                <a:cubicBezTo>
                  <a:pt x="415" y="369"/>
                  <a:pt x="416" y="369"/>
                  <a:pt x="415" y="368"/>
                </a:cubicBezTo>
                <a:cubicBezTo>
                  <a:pt x="416" y="368"/>
                  <a:pt x="417" y="370"/>
                  <a:pt x="417" y="369"/>
                </a:cubicBezTo>
                <a:cubicBezTo>
                  <a:pt x="417" y="369"/>
                  <a:pt x="416" y="368"/>
                  <a:pt x="416" y="368"/>
                </a:cubicBezTo>
                <a:cubicBezTo>
                  <a:pt x="417" y="368"/>
                  <a:pt x="417" y="368"/>
                  <a:pt x="416" y="368"/>
                </a:cubicBezTo>
                <a:cubicBezTo>
                  <a:pt x="416" y="367"/>
                  <a:pt x="414" y="367"/>
                  <a:pt x="414" y="368"/>
                </a:cubicBezTo>
                <a:cubicBezTo>
                  <a:pt x="414" y="368"/>
                  <a:pt x="414" y="368"/>
                  <a:pt x="414" y="368"/>
                </a:cubicBezTo>
                <a:cubicBezTo>
                  <a:pt x="414" y="368"/>
                  <a:pt x="413" y="368"/>
                  <a:pt x="414" y="369"/>
                </a:cubicBezTo>
                <a:cubicBezTo>
                  <a:pt x="414" y="369"/>
                  <a:pt x="414" y="369"/>
                  <a:pt x="415" y="369"/>
                </a:cubicBezTo>
                <a:cubicBezTo>
                  <a:pt x="415" y="369"/>
                  <a:pt x="413" y="370"/>
                  <a:pt x="414" y="370"/>
                </a:cubicBezTo>
                <a:cubicBezTo>
                  <a:pt x="414" y="370"/>
                  <a:pt x="415" y="370"/>
                  <a:pt x="415" y="370"/>
                </a:cubicBezTo>
                <a:close/>
                <a:moveTo>
                  <a:pt x="393" y="298"/>
                </a:moveTo>
                <a:cubicBezTo>
                  <a:pt x="393" y="297"/>
                  <a:pt x="393" y="296"/>
                  <a:pt x="392" y="296"/>
                </a:cubicBezTo>
                <a:cubicBezTo>
                  <a:pt x="391" y="296"/>
                  <a:pt x="392" y="297"/>
                  <a:pt x="392" y="297"/>
                </a:cubicBezTo>
                <a:cubicBezTo>
                  <a:pt x="392" y="298"/>
                  <a:pt x="393" y="298"/>
                  <a:pt x="393" y="298"/>
                </a:cubicBezTo>
                <a:cubicBezTo>
                  <a:pt x="393" y="298"/>
                  <a:pt x="394" y="298"/>
                  <a:pt x="394" y="298"/>
                </a:cubicBezTo>
                <a:cubicBezTo>
                  <a:pt x="394" y="298"/>
                  <a:pt x="394" y="297"/>
                  <a:pt x="393" y="298"/>
                </a:cubicBezTo>
                <a:close/>
                <a:moveTo>
                  <a:pt x="418" y="365"/>
                </a:moveTo>
                <a:cubicBezTo>
                  <a:pt x="418" y="365"/>
                  <a:pt x="417" y="364"/>
                  <a:pt x="418" y="364"/>
                </a:cubicBezTo>
                <a:cubicBezTo>
                  <a:pt x="419" y="364"/>
                  <a:pt x="420" y="364"/>
                  <a:pt x="420" y="364"/>
                </a:cubicBezTo>
                <a:cubicBezTo>
                  <a:pt x="420" y="364"/>
                  <a:pt x="421" y="365"/>
                  <a:pt x="421" y="365"/>
                </a:cubicBezTo>
                <a:cubicBezTo>
                  <a:pt x="421" y="364"/>
                  <a:pt x="420" y="364"/>
                  <a:pt x="420" y="363"/>
                </a:cubicBezTo>
                <a:cubicBezTo>
                  <a:pt x="420" y="363"/>
                  <a:pt x="421" y="364"/>
                  <a:pt x="421" y="363"/>
                </a:cubicBezTo>
                <a:cubicBezTo>
                  <a:pt x="421" y="363"/>
                  <a:pt x="421" y="363"/>
                  <a:pt x="420" y="363"/>
                </a:cubicBezTo>
                <a:cubicBezTo>
                  <a:pt x="420" y="362"/>
                  <a:pt x="420" y="362"/>
                  <a:pt x="420" y="362"/>
                </a:cubicBezTo>
                <a:cubicBezTo>
                  <a:pt x="420" y="361"/>
                  <a:pt x="422" y="362"/>
                  <a:pt x="422" y="362"/>
                </a:cubicBezTo>
                <a:cubicBezTo>
                  <a:pt x="422" y="362"/>
                  <a:pt x="422" y="362"/>
                  <a:pt x="422" y="362"/>
                </a:cubicBezTo>
                <a:cubicBezTo>
                  <a:pt x="422" y="361"/>
                  <a:pt x="420" y="361"/>
                  <a:pt x="420" y="360"/>
                </a:cubicBezTo>
                <a:cubicBezTo>
                  <a:pt x="420" y="360"/>
                  <a:pt x="421" y="360"/>
                  <a:pt x="420" y="359"/>
                </a:cubicBezTo>
                <a:cubicBezTo>
                  <a:pt x="421" y="359"/>
                  <a:pt x="419" y="360"/>
                  <a:pt x="419" y="360"/>
                </a:cubicBezTo>
                <a:cubicBezTo>
                  <a:pt x="419" y="361"/>
                  <a:pt x="420" y="361"/>
                  <a:pt x="420" y="361"/>
                </a:cubicBezTo>
                <a:cubicBezTo>
                  <a:pt x="420" y="362"/>
                  <a:pt x="420" y="363"/>
                  <a:pt x="420" y="363"/>
                </a:cubicBezTo>
                <a:cubicBezTo>
                  <a:pt x="420" y="364"/>
                  <a:pt x="419" y="363"/>
                  <a:pt x="418" y="363"/>
                </a:cubicBezTo>
                <a:cubicBezTo>
                  <a:pt x="417" y="363"/>
                  <a:pt x="418" y="362"/>
                  <a:pt x="417" y="362"/>
                </a:cubicBezTo>
                <a:cubicBezTo>
                  <a:pt x="417" y="362"/>
                  <a:pt x="417" y="362"/>
                  <a:pt x="417" y="362"/>
                </a:cubicBezTo>
                <a:cubicBezTo>
                  <a:pt x="417" y="362"/>
                  <a:pt x="417" y="362"/>
                  <a:pt x="416" y="362"/>
                </a:cubicBezTo>
                <a:cubicBezTo>
                  <a:pt x="416" y="361"/>
                  <a:pt x="416" y="361"/>
                  <a:pt x="415" y="360"/>
                </a:cubicBezTo>
                <a:cubicBezTo>
                  <a:pt x="415" y="360"/>
                  <a:pt x="415" y="359"/>
                  <a:pt x="415" y="360"/>
                </a:cubicBezTo>
                <a:cubicBezTo>
                  <a:pt x="416" y="360"/>
                  <a:pt x="416" y="361"/>
                  <a:pt x="417" y="361"/>
                </a:cubicBezTo>
                <a:cubicBezTo>
                  <a:pt x="417" y="361"/>
                  <a:pt x="416" y="360"/>
                  <a:pt x="416" y="360"/>
                </a:cubicBezTo>
                <a:cubicBezTo>
                  <a:pt x="416" y="360"/>
                  <a:pt x="418" y="360"/>
                  <a:pt x="418" y="360"/>
                </a:cubicBezTo>
                <a:cubicBezTo>
                  <a:pt x="418" y="360"/>
                  <a:pt x="418" y="360"/>
                  <a:pt x="417" y="360"/>
                </a:cubicBezTo>
                <a:cubicBezTo>
                  <a:pt x="417" y="360"/>
                  <a:pt x="417" y="359"/>
                  <a:pt x="417" y="360"/>
                </a:cubicBezTo>
                <a:cubicBezTo>
                  <a:pt x="416" y="360"/>
                  <a:pt x="416" y="359"/>
                  <a:pt x="416" y="359"/>
                </a:cubicBezTo>
                <a:cubicBezTo>
                  <a:pt x="416" y="358"/>
                  <a:pt x="415" y="359"/>
                  <a:pt x="415" y="359"/>
                </a:cubicBezTo>
                <a:cubicBezTo>
                  <a:pt x="415" y="360"/>
                  <a:pt x="414" y="359"/>
                  <a:pt x="414" y="359"/>
                </a:cubicBezTo>
                <a:cubicBezTo>
                  <a:pt x="414" y="358"/>
                  <a:pt x="414" y="357"/>
                  <a:pt x="414" y="357"/>
                </a:cubicBezTo>
                <a:cubicBezTo>
                  <a:pt x="413" y="357"/>
                  <a:pt x="414" y="359"/>
                  <a:pt x="413" y="359"/>
                </a:cubicBezTo>
                <a:cubicBezTo>
                  <a:pt x="413" y="358"/>
                  <a:pt x="413" y="358"/>
                  <a:pt x="412" y="358"/>
                </a:cubicBezTo>
                <a:cubicBezTo>
                  <a:pt x="412" y="358"/>
                  <a:pt x="412" y="358"/>
                  <a:pt x="412" y="358"/>
                </a:cubicBezTo>
                <a:cubicBezTo>
                  <a:pt x="412" y="358"/>
                  <a:pt x="412" y="357"/>
                  <a:pt x="412" y="357"/>
                </a:cubicBezTo>
                <a:cubicBezTo>
                  <a:pt x="412" y="357"/>
                  <a:pt x="412" y="357"/>
                  <a:pt x="411" y="357"/>
                </a:cubicBezTo>
                <a:cubicBezTo>
                  <a:pt x="411" y="357"/>
                  <a:pt x="411" y="357"/>
                  <a:pt x="411" y="357"/>
                </a:cubicBezTo>
                <a:cubicBezTo>
                  <a:pt x="411" y="357"/>
                  <a:pt x="411" y="357"/>
                  <a:pt x="411" y="357"/>
                </a:cubicBezTo>
                <a:cubicBezTo>
                  <a:pt x="411" y="357"/>
                  <a:pt x="410" y="357"/>
                  <a:pt x="410" y="356"/>
                </a:cubicBezTo>
                <a:cubicBezTo>
                  <a:pt x="410" y="356"/>
                  <a:pt x="410" y="356"/>
                  <a:pt x="410" y="356"/>
                </a:cubicBezTo>
                <a:cubicBezTo>
                  <a:pt x="411" y="356"/>
                  <a:pt x="411" y="356"/>
                  <a:pt x="411" y="356"/>
                </a:cubicBezTo>
                <a:cubicBezTo>
                  <a:pt x="411" y="356"/>
                  <a:pt x="411" y="356"/>
                  <a:pt x="411" y="356"/>
                </a:cubicBezTo>
                <a:cubicBezTo>
                  <a:pt x="411" y="356"/>
                  <a:pt x="412" y="356"/>
                  <a:pt x="412" y="356"/>
                </a:cubicBezTo>
                <a:cubicBezTo>
                  <a:pt x="412" y="356"/>
                  <a:pt x="413" y="356"/>
                  <a:pt x="413" y="356"/>
                </a:cubicBezTo>
                <a:cubicBezTo>
                  <a:pt x="413" y="356"/>
                  <a:pt x="413" y="356"/>
                  <a:pt x="413" y="356"/>
                </a:cubicBezTo>
                <a:cubicBezTo>
                  <a:pt x="413" y="357"/>
                  <a:pt x="414" y="357"/>
                  <a:pt x="414" y="357"/>
                </a:cubicBezTo>
                <a:cubicBezTo>
                  <a:pt x="415" y="358"/>
                  <a:pt x="414" y="357"/>
                  <a:pt x="415" y="357"/>
                </a:cubicBezTo>
                <a:cubicBezTo>
                  <a:pt x="415" y="357"/>
                  <a:pt x="417" y="358"/>
                  <a:pt x="417" y="358"/>
                </a:cubicBezTo>
                <a:cubicBezTo>
                  <a:pt x="417" y="357"/>
                  <a:pt x="416" y="357"/>
                  <a:pt x="416" y="357"/>
                </a:cubicBezTo>
                <a:cubicBezTo>
                  <a:pt x="416" y="357"/>
                  <a:pt x="416" y="357"/>
                  <a:pt x="416" y="357"/>
                </a:cubicBezTo>
                <a:cubicBezTo>
                  <a:pt x="415" y="357"/>
                  <a:pt x="415" y="357"/>
                  <a:pt x="414" y="357"/>
                </a:cubicBezTo>
                <a:cubicBezTo>
                  <a:pt x="414" y="357"/>
                  <a:pt x="414" y="356"/>
                  <a:pt x="413" y="356"/>
                </a:cubicBezTo>
                <a:cubicBezTo>
                  <a:pt x="413" y="355"/>
                  <a:pt x="411" y="355"/>
                  <a:pt x="411" y="354"/>
                </a:cubicBezTo>
                <a:cubicBezTo>
                  <a:pt x="412" y="353"/>
                  <a:pt x="413" y="355"/>
                  <a:pt x="413" y="355"/>
                </a:cubicBezTo>
                <a:cubicBezTo>
                  <a:pt x="414" y="355"/>
                  <a:pt x="415" y="355"/>
                  <a:pt x="416" y="355"/>
                </a:cubicBezTo>
                <a:cubicBezTo>
                  <a:pt x="416" y="355"/>
                  <a:pt x="416" y="355"/>
                  <a:pt x="415" y="355"/>
                </a:cubicBezTo>
                <a:cubicBezTo>
                  <a:pt x="414" y="355"/>
                  <a:pt x="415" y="354"/>
                  <a:pt x="415" y="354"/>
                </a:cubicBezTo>
                <a:cubicBezTo>
                  <a:pt x="415" y="354"/>
                  <a:pt x="415" y="353"/>
                  <a:pt x="415" y="353"/>
                </a:cubicBezTo>
                <a:cubicBezTo>
                  <a:pt x="415" y="353"/>
                  <a:pt x="414" y="354"/>
                  <a:pt x="414" y="354"/>
                </a:cubicBezTo>
                <a:cubicBezTo>
                  <a:pt x="414" y="354"/>
                  <a:pt x="414" y="354"/>
                  <a:pt x="413" y="354"/>
                </a:cubicBezTo>
                <a:cubicBezTo>
                  <a:pt x="413" y="354"/>
                  <a:pt x="412" y="354"/>
                  <a:pt x="412" y="354"/>
                </a:cubicBezTo>
                <a:cubicBezTo>
                  <a:pt x="412" y="353"/>
                  <a:pt x="410" y="353"/>
                  <a:pt x="411" y="352"/>
                </a:cubicBezTo>
                <a:cubicBezTo>
                  <a:pt x="411" y="352"/>
                  <a:pt x="411" y="352"/>
                  <a:pt x="412" y="352"/>
                </a:cubicBezTo>
                <a:cubicBezTo>
                  <a:pt x="412" y="352"/>
                  <a:pt x="413" y="352"/>
                  <a:pt x="413" y="352"/>
                </a:cubicBezTo>
                <a:cubicBezTo>
                  <a:pt x="413" y="352"/>
                  <a:pt x="411" y="352"/>
                  <a:pt x="411" y="352"/>
                </a:cubicBezTo>
                <a:cubicBezTo>
                  <a:pt x="411" y="352"/>
                  <a:pt x="410" y="351"/>
                  <a:pt x="410" y="351"/>
                </a:cubicBezTo>
                <a:cubicBezTo>
                  <a:pt x="410" y="350"/>
                  <a:pt x="411" y="350"/>
                  <a:pt x="411" y="350"/>
                </a:cubicBezTo>
                <a:cubicBezTo>
                  <a:pt x="411" y="350"/>
                  <a:pt x="412" y="350"/>
                  <a:pt x="412" y="350"/>
                </a:cubicBezTo>
                <a:cubicBezTo>
                  <a:pt x="412" y="350"/>
                  <a:pt x="412" y="350"/>
                  <a:pt x="413" y="351"/>
                </a:cubicBezTo>
                <a:cubicBezTo>
                  <a:pt x="413" y="349"/>
                  <a:pt x="413" y="350"/>
                  <a:pt x="414" y="351"/>
                </a:cubicBezTo>
                <a:cubicBezTo>
                  <a:pt x="414" y="351"/>
                  <a:pt x="414" y="351"/>
                  <a:pt x="415" y="351"/>
                </a:cubicBezTo>
                <a:cubicBezTo>
                  <a:pt x="415" y="352"/>
                  <a:pt x="416" y="352"/>
                  <a:pt x="416" y="352"/>
                </a:cubicBezTo>
                <a:cubicBezTo>
                  <a:pt x="416" y="351"/>
                  <a:pt x="414" y="351"/>
                  <a:pt x="414" y="351"/>
                </a:cubicBezTo>
                <a:cubicBezTo>
                  <a:pt x="414" y="350"/>
                  <a:pt x="414" y="350"/>
                  <a:pt x="413" y="349"/>
                </a:cubicBezTo>
                <a:cubicBezTo>
                  <a:pt x="413" y="349"/>
                  <a:pt x="412" y="350"/>
                  <a:pt x="411" y="349"/>
                </a:cubicBezTo>
                <a:cubicBezTo>
                  <a:pt x="411" y="349"/>
                  <a:pt x="410" y="347"/>
                  <a:pt x="411" y="347"/>
                </a:cubicBezTo>
                <a:cubicBezTo>
                  <a:pt x="411" y="347"/>
                  <a:pt x="412" y="348"/>
                  <a:pt x="413" y="348"/>
                </a:cubicBezTo>
                <a:cubicBezTo>
                  <a:pt x="412" y="347"/>
                  <a:pt x="412" y="347"/>
                  <a:pt x="412" y="347"/>
                </a:cubicBezTo>
                <a:cubicBezTo>
                  <a:pt x="411" y="347"/>
                  <a:pt x="411" y="346"/>
                  <a:pt x="411" y="345"/>
                </a:cubicBezTo>
                <a:cubicBezTo>
                  <a:pt x="410" y="345"/>
                  <a:pt x="410" y="345"/>
                  <a:pt x="410" y="344"/>
                </a:cubicBezTo>
                <a:cubicBezTo>
                  <a:pt x="411" y="344"/>
                  <a:pt x="411" y="345"/>
                  <a:pt x="412" y="345"/>
                </a:cubicBezTo>
                <a:cubicBezTo>
                  <a:pt x="411" y="344"/>
                  <a:pt x="409" y="344"/>
                  <a:pt x="410" y="345"/>
                </a:cubicBezTo>
                <a:cubicBezTo>
                  <a:pt x="410" y="345"/>
                  <a:pt x="410" y="346"/>
                  <a:pt x="410" y="346"/>
                </a:cubicBezTo>
                <a:cubicBezTo>
                  <a:pt x="410" y="347"/>
                  <a:pt x="409" y="346"/>
                  <a:pt x="409" y="346"/>
                </a:cubicBezTo>
                <a:cubicBezTo>
                  <a:pt x="409" y="346"/>
                  <a:pt x="410" y="347"/>
                  <a:pt x="410" y="347"/>
                </a:cubicBezTo>
                <a:cubicBezTo>
                  <a:pt x="410" y="347"/>
                  <a:pt x="410" y="348"/>
                  <a:pt x="410" y="348"/>
                </a:cubicBezTo>
                <a:cubicBezTo>
                  <a:pt x="410" y="348"/>
                  <a:pt x="411" y="350"/>
                  <a:pt x="410" y="350"/>
                </a:cubicBezTo>
                <a:cubicBezTo>
                  <a:pt x="410" y="349"/>
                  <a:pt x="408" y="348"/>
                  <a:pt x="408" y="348"/>
                </a:cubicBezTo>
                <a:cubicBezTo>
                  <a:pt x="408" y="347"/>
                  <a:pt x="407" y="346"/>
                  <a:pt x="408" y="346"/>
                </a:cubicBezTo>
                <a:cubicBezTo>
                  <a:pt x="407" y="346"/>
                  <a:pt x="407" y="345"/>
                  <a:pt x="407" y="345"/>
                </a:cubicBezTo>
                <a:cubicBezTo>
                  <a:pt x="407" y="345"/>
                  <a:pt x="407" y="345"/>
                  <a:pt x="406" y="345"/>
                </a:cubicBezTo>
                <a:cubicBezTo>
                  <a:pt x="406" y="344"/>
                  <a:pt x="406" y="344"/>
                  <a:pt x="406" y="344"/>
                </a:cubicBezTo>
                <a:cubicBezTo>
                  <a:pt x="406" y="344"/>
                  <a:pt x="406" y="343"/>
                  <a:pt x="406" y="343"/>
                </a:cubicBezTo>
                <a:cubicBezTo>
                  <a:pt x="406" y="343"/>
                  <a:pt x="405" y="342"/>
                  <a:pt x="405" y="341"/>
                </a:cubicBezTo>
                <a:cubicBezTo>
                  <a:pt x="405" y="341"/>
                  <a:pt x="405" y="341"/>
                  <a:pt x="405" y="341"/>
                </a:cubicBezTo>
                <a:cubicBezTo>
                  <a:pt x="406" y="341"/>
                  <a:pt x="406" y="341"/>
                  <a:pt x="406" y="341"/>
                </a:cubicBezTo>
                <a:cubicBezTo>
                  <a:pt x="407" y="341"/>
                  <a:pt x="407" y="341"/>
                  <a:pt x="408" y="341"/>
                </a:cubicBezTo>
                <a:cubicBezTo>
                  <a:pt x="408" y="341"/>
                  <a:pt x="407" y="341"/>
                  <a:pt x="407" y="341"/>
                </a:cubicBezTo>
                <a:cubicBezTo>
                  <a:pt x="406" y="341"/>
                  <a:pt x="406" y="341"/>
                  <a:pt x="406" y="341"/>
                </a:cubicBezTo>
                <a:cubicBezTo>
                  <a:pt x="406" y="341"/>
                  <a:pt x="406" y="341"/>
                  <a:pt x="406" y="341"/>
                </a:cubicBezTo>
                <a:cubicBezTo>
                  <a:pt x="405" y="340"/>
                  <a:pt x="404" y="340"/>
                  <a:pt x="405" y="339"/>
                </a:cubicBezTo>
                <a:cubicBezTo>
                  <a:pt x="405" y="339"/>
                  <a:pt x="405" y="339"/>
                  <a:pt x="405" y="339"/>
                </a:cubicBezTo>
                <a:cubicBezTo>
                  <a:pt x="405" y="339"/>
                  <a:pt x="405" y="339"/>
                  <a:pt x="406" y="339"/>
                </a:cubicBezTo>
                <a:cubicBezTo>
                  <a:pt x="406" y="338"/>
                  <a:pt x="406" y="339"/>
                  <a:pt x="407" y="339"/>
                </a:cubicBezTo>
                <a:cubicBezTo>
                  <a:pt x="407" y="339"/>
                  <a:pt x="408" y="340"/>
                  <a:pt x="408" y="340"/>
                </a:cubicBezTo>
                <a:cubicBezTo>
                  <a:pt x="408" y="340"/>
                  <a:pt x="408" y="339"/>
                  <a:pt x="408" y="339"/>
                </a:cubicBezTo>
                <a:cubicBezTo>
                  <a:pt x="406" y="338"/>
                  <a:pt x="408" y="338"/>
                  <a:pt x="408" y="338"/>
                </a:cubicBezTo>
                <a:cubicBezTo>
                  <a:pt x="408" y="338"/>
                  <a:pt x="403" y="337"/>
                  <a:pt x="406" y="337"/>
                </a:cubicBezTo>
                <a:cubicBezTo>
                  <a:pt x="405" y="337"/>
                  <a:pt x="405" y="337"/>
                  <a:pt x="404" y="337"/>
                </a:cubicBezTo>
                <a:cubicBezTo>
                  <a:pt x="404" y="337"/>
                  <a:pt x="404" y="336"/>
                  <a:pt x="404" y="336"/>
                </a:cubicBezTo>
                <a:cubicBezTo>
                  <a:pt x="403" y="336"/>
                  <a:pt x="403" y="335"/>
                  <a:pt x="402" y="335"/>
                </a:cubicBezTo>
                <a:cubicBezTo>
                  <a:pt x="402" y="335"/>
                  <a:pt x="402" y="335"/>
                  <a:pt x="402" y="335"/>
                </a:cubicBezTo>
                <a:cubicBezTo>
                  <a:pt x="401" y="334"/>
                  <a:pt x="402" y="334"/>
                  <a:pt x="401" y="334"/>
                </a:cubicBezTo>
                <a:cubicBezTo>
                  <a:pt x="401" y="333"/>
                  <a:pt x="401" y="335"/>
                  <a:pt x="400" y="334"/>
                </a:cubicBezTo>
                <a:cubicBezTo>
                  <a:pt x="399" y="333"/>
                  <a:pt x="400" y="333"/>
                  <a:pt x="400" y="333"/>
                </a:cubicBezTo>
                <a:cubicBezTo>
                  <a:pt x="401" y="333"/>
                  <a:pt x="402" y="333"/>
                  <a:pt x="402" y="334"/>
                </a:cubicBezTo>
                <a:cubicBezTo>
                  <a:pt x="403" y="334"/>
                  <a:pt x="404" y="336"/>
                  <a:pt x="405" y="336"/>
                </a:cubicBezTo>
                <a:cubicBezTo>
                  <a:pt x="404" y="336"/>
                  <a:pt x="404" y="335"/>
                  <a:pt x="403" y="334"/>
                </a:cubicBezTo>
                <a:cubicBezTo>
                  <a:pt x="403" y="334"/>
                  <a:pt x="402" y="333"/>
                  <a:pt x="403" y="333"/>
                </a:cubicBezTo>
                <a:cubicBezTo>
                  <a:pt x="404" y="333"/>
                  <a:pt x="404" y="333"/>
                  <a:pt x="404" y="333"/>
                </a:cubicBezTo>
                <a:cubicBezTo>
                  <a:pt x="405" y="333"/>
                  <a:pt x="405" y="334"/>
                  <a:pt x="405" y="334"/>
                </a:cubicBezTo>
                <a:cubicBezTo>
                  <a:pt x="406" y="334"/>
                  <a:pt x="406" y="334"/>
                  <a:pt x="406" y="334"/>
                </a:cubicBezTo>
                <a:cubicBezTo>
                  <a:pt x="407" y="334"/>
                  <a:pt x="406" y="334"/>
                  <a:pt x="407" y="334"/>
                </a:cubicBezTo>
                <a:cubicBezTo>
                  <a:pt x="407" y="334"/>
                  <a:pt x="407" y="334"/>
                  <a:pt x="407" y="334"/>
                </a:cubicBezTo>
                <a:cubicBezTo>
                  <a:pt x="408" y="334"/>
                  <a:pt x="407" y="334"/>
                  <a:pt x="407" y="335"/>
                </a:cubicBezTo>
                <a:cubicBezTo>
                  <a:pt x="407" y="334"/>
                  <a:pt x="409" y="334"/>
                  <a:pt x="409" y="335"/>
                </a:cubicBezTo>
                <a:cubicBezTo>
                  <a:pt x="409" y="335"/>
                  <a:pt x="410" y="336"/>
                  <a:pt x="410" y="336"/>
                </a:cubicBezTo>
                <a:cubicBezTo>
                  <a:pt x="410" y="335"/>
                  <a:pt x="411" y="335"/>
                  <a:pt x="412" y="336"/>
                </a:cubicBezTo>
                <a:cubicBezTo>
                  <a:pt x="411" y="335"/>
                  <a:pt x="412" y="335"/>
                  <a:pt x="412" y="334"/>
                </a:cubicBezTo>
                <a:cubicBezTo>
                  <a:pt x="412" y="335"/>
                  <a:pt x="411" y="335"/>
                  <a:pt x="411" y="335"/>
                </a:cubicBezTo>
                <a:cubicBezTo>
                  <a:pt x="410" y="335"/>
                  <a:pt x="409" y="334"/>
                  <a:pt x="408" y="333"/>
                </a:cubicBezTo>
                <a:cubicBezTo>
                  <a:pt x="407" y="332"/>
                  <a:pt x="408" y="332"/>
                  <a:pt x="409" y="333"/>
                </a:cubicBezTo>
                <a:cubicBezTo>
                  <a:pt x="409" y="333"/>
                  <a:pt x="410" y="333"/>
                  <a:pt x="410" y="333"/>
                </a:cubicBezTo>
                <a:cubicBezTo>
                  <a:pt x="411" y="333"/>
                  <a:pt x="411" y="333"/>
                  <a:pt x="412" y="333"/>
                </a:cubicBezTo>
                <a:cubicBezTo>
                  <a:pt x="411" y="333"/>
                  <a:pt x="410" y="333"/>
                  <a:pt x="409" y="333"/>
                </a:cubicBezTo>
                <a:cubicBezTo>
                  <a:pt x="409" y="333"/>
                  <a:pt x="409" y="332"/>
                  <a:pt x="409" y="332"/>
                </a:cubicBezTo>
                <a:cubicBezTo>
                  <a:pt x="409" y="332"/>
                  <a:pt x="409" y="332"/>
                  <a:pt x="408" y="332"/>
                </a:cubicBezTo>
                <a:cubicBezTo>
                  <a:pt x="408" y="332"/>
                  <a:pt x="408" y="332"/>
                  <a:pt x="408" y="331"/>
                </a:cubicBezTo>
                <a:cubicBezTo>
                  <a:pt x="408" y="331"/>
                  <a:pt x="407" y="331"/>
                  <a:pt x="407" y="331"/>
                </a:cubicBezTo>
                <a:cubicBezTo>
                  <a:pt x="406" y="331"/>
                  <a:pt x="406" y="330"/>
                  <a:pt x="406" y="330"/>
                </a:cubicBezTo>
                <a:cubicBezTo>
                  <a:pt x="406" y="330"/>
                  <a:pt x="406" y="329"/>
                  <a:pt x="406" y="329"/>
                </a:cubicBezTo>
                <a:cubicBezTo>
                  <a:pt x="406" y="329"/>
                  <a:pt x="406" y="329"/>
                  <a:pt x="406" y="329"/>
                </a:cubicBezTo>
                <a:cubicBezTo>
                  <a:pt x="406" y="328"/>
                  <a:pt x="405" y="329"/>
                  <a:pt x="405" y="328"/>
                </a:cubicBezTo>
                <a:cubicBezTo>
                  <a:pt x="405" y="329"/>
                  <a:pt x="406" y="329"/>
                  <a:pt x="406" y="330"/>
                </a:cubicBezTo>
                <a:cubicBezTo>
                  <a:pt x="406" y="330"/>
                  <a:pt x="406" y="330"/>
                  <a:pt x="406" y="331"/>
                </a:cubicBezTo>
                <a:cubicBezTo>
                  <a:pt x="406" y="331"/>
                  <a:pt x="406" y="331"/>
                  <a:pt x="405" y="331"/>
                </a:cubicBezTo>
                <a:cubicBezTo>
                  <a:pt x="404" y="332"/>
                  <a:pt x="404" y="331"/>
                  <a:pt x="403" y="331"/>
                </a:cubicBezTo>
                <a:cubicBezTo>
                  <a:pt x="403" y="331"/>
                  <a:pt x="401" y="331"/>
                  <a:pt x="401" y="331"/>
                </a:cubicBezTo>
                <a:cubicBezTo>
                  <a:pt x="401" y="331"/>
                  <a:pt x="401" y="331"/>
                  <a:pt x="401" y="331"/>
                </a:cubicBezTo>
                <a:cubicBezTo>
                  <a:pt x="401" y="330"/>
                  <a:pt x="400" y="331"/>
                  <a:pt x="400" y="331"/>
                </a:cubicBezTo>
                <a:cubicBezTo>
                  <a:pt x="399" y="331"/>
                  <a:pt x="398" y="331"/>
                  <a:pt x="398" y="331"/>
                </a:cubicBezTo>
                <a:cubicBezTo>
                  <a:pt x="398" y="330"/>
                  <a:pt x="397" y="330"/>
                  <a:pt x="398" y="330"/>
                </a:cubicBezTo>
                <a:cubicBezTo>
                  <a:pt x="398" y="330"/>
                  <a:pt x="399" y="330"/>
                  <a:pt x="399" y="330"/>
                </a:cubicBezTo>
                <a:cubicBezTo>
                  <a:pt x="399" y="330"/>
                  <a:pt x="398" y="329"/>
                  <a:pt x="398" y="329"/>
                </a:cubicBezTo>
                <a:cubicBezTo>
                  <a:pt x="398" y="328"/>
                  <a:pt x="399" y="329"/>
                  <a:pt x="399" y="329"/>
                </a:cubicBezTo>
                <a:cubicBezTo>
                  <a:pt x="399" y="328"/>
                  <a:pt x="400" y="329"/>
                  <a:pt x="400" y="329"/>
                </a:cubicBezTo>
                <a:cubicBezTo>
                  <a:pt x="401" y="330"/>
                  <a:pt x="399" y="330"/>
                  <a:pt x="400" y="330"/>
                </a:cubicBezTo>
                <a:cubicBezTo>
                  <a:pt x="400" y="330"/>
                  <a:pt x="401" y="330"/>
                  <a:pt x="401" y="330"/>
                </a:cubicBezTo>
                <a:cubicBezTo>
                  <a:pt x="401" y="330"/>
                  <a:pt x="402" y="331"/>
                  <a:pt x="403" y="331"/>
                </a:cubicBezTo>
                <a:cubicBezTo>
                  <a:pt x="402" y="331"/>
                  <a:pt x="402" y="330"/>
                  <a:pt x="401" y="330"/>
                </a:cubicBezTo>
                <a:cubicBezTo>
                  <a:pt x="401" y="330"/>
                  <a:pt x="402" y="330"/>
                  <a:pt x="402" y="330"/>
                </a:cubicBezTo>
                <a:cubicBezTo>
                  <a:pt x="402" y="330"/>
                  <a:pt x="401" y="330"/>
                  <a:pt x="401" y="329"/>
                </a:cubicBezTo>
                <a:cubicBezTo>
                  <a:pt x="401" y="329"/>
                  <a:pt x="403" y="329"/>
                  <a:pt x="403" y="329"/>
                </a:cubicBezTo>
                <a:cubicBezTo>
                  <a:pt x="402" y="329"/>
                  <a:pt x="402" y="329"/>
                  <a:pt x="402" y="328"/>
                </a:cubicBezTo>
                <a:cubicBezTo>
                  <a:pt x="402" y="329"/>
                  <a:pt x="402" y="329"/>
                  <a:pt x="401" y="329"/>
                </a:cubicBezTo>
                <a:cubicBezTo>
                  <a:pt x="401" y="329"/>
                  <a:pt x="401" y="329"/>
                  <a:pt x="400" y="328"/>
                </a:cubicBezTo>
                <a:cubicBezTo>
                  <a:pt x="400" y="328"/>
                  <a:pt x="399" y="328"/>
                  <a:pt x="399" y="328"/>
                </a:cubicBezTo>
                <a:cubicBezTo>
                  <a:pt x="399" y="328"/>
                  <a:pt x="399" y="328"/>
                  <a:pt x="399" y="327"/>
                </a:cubicBezTo>
                <a:cubicBezTo>
                  <a:pt x="399" y="327"/>
                  <a:pt x="399" y="327"/>
                  <a:pt x="399" y="327"/>
                </a:cubicBezTo>
                <a:cubicBezTo>
                  <a:pt x="399" y="328"/>
                  <a:pt x="398" y="327"/>
                  <a:pt x="398" y="327"/>
                </a:cubicBezTo>
                <a:cubicBezTo>
                  <a:pt x="399" y="326"/>
                  <a:pt x="398" y="325"/>
                  <a:pt x="399" y="325"/>
                </a:cubicBezTo>
                <a:cubicBezTo>
                  <a:pt x="399" y="325"/>
                  <a:pt x="400" y="325"/>
                  <a:pt x="400" y="325"/>
                </a:cubicBezTo>
                <a:cubicBezTo>
                  <a:pt x="400" y="325"/>
                  <a:pt x="400" y="325"/>
                  <a:pt x="400" y="325"/>
                </a:cubicBezTo>
                <a:cubicBezTo>
                  <a:pt x="400" y="325"/>
                  <a:pt x="401" y="326"/>
                  <a:pt x="401" y="326"/>
                </a:cubicBezTo>
                <a:cubicBezTo>
                  <a:pt x="401" y="326"/>
                  <a:pt x="400" y="325"/>
                  <a:pt x="401" y="325"/>
                </a:cubicBezTo>
                <a:cubicBezTo>
                  <a:pt x="401" y="324"/>
                  <a:pt x="402" y="325"/>
                  <a:pt x="402" y="325"/>
                </a:cubicBezTo>
                <a:cubicBezTo>
                  <a:pt x="402" y="325"/>
                  <a:pt x="402" y="325"/>
                  <a:pt x="402" y="325"/>
                </a:cubicBezTo>
                <a:cubicBezTo>
                  <a:pt x="401" y="324"/>
                  <a:pt x="401" y="325"/>
                  <a:pt x="401" y="324"/>
                </a:cubicBezTo>
                <a:cubicBezTo>
                  <a:pt x="401" y="324"/>
                  <a:pt x="401" y="323"/>
                  <a:pt x="401" y="323"/>
                </a:cubicBezTo>
                <a:cubicBezTo>
                  <a:pt x="401" y="322"/>
                  <a:pt x="400" y="322"/>
                  <a:pt x="400" y="322"/>
                </a:cubicBezTo>
                <a:cubicBezTo>
                  <a:pt x="399" y="322"/>
                  <a:pt x="398" y="322"/>
                  <a:pt x="398" y="321"/>
                </a:cubicBezTo>
                <a:cubicBezTo>
                  <a:pt x="398" y="321"/>
                  <a:pt x="399" y="321"/>
                  <a:pt x="398" y="321"/>
                </a:cubicBezTo>
                <a:cubicBezTo>
                  <a:pt x="398" y="321"/>
                  <a:pt x="398" y="321"/>
                  <a:pt x="398" y="321"/>
                </a:cubicBezTo>
                <a:cubicBezTo>
                  <a:pt x="397" y="321"/>
                  <a:pt x="397" y="320"/>
                  <a:pt x="397" y="320"/>
                </a:cubicBezTo>
                <a:cubicBezTo>
                  <a:pt x="396" y="320"/>
                  <a:pt x="395" y="320"/>
                  <a:pt x="394" y="320"/>
                </a:cubicBezTo>
                <a:cubicBezTo>
                  <a:pt x="394" y="320"/>
                  <a:pt x="396" y="320"/>
                  <a:pt x="395" y="320"/>
                </a:cubicBezTo>
                <a:cubicBezTo>
                  <a:pt x="395" y="321"/>
                  <a:pt x="395" y="320"/>
                  <a:pt x="394" y="320"/>
                </a:cubicBezTo>
                <a:cubicBezTo>
                  <a:pt x="394" y="320"/>
                  <a:pt x="394" y="321"/>
                  <a:pt x="394" y="321"/>
                </a:cubicBezTo>
                <a:cubicBezTo>
                  <a:pt x="395" y="321"/>
                  <a:pt x="395" y="321"/>
                  <a:pt x="396" y="321"/>
                </a:cubicBezTo>
                <a:cubicBezTo>
                  <a:pt x="397" y="321"/>
                  <a:pt x="396" y="322"/>
                  <a:pt x="395" y="321"/>
                </a:cubicBezTo>
                <a:cubicBezTo>
                  <a:pt x="395" y="321"/>
                  <a:pt x="394" y="321"/>
                  <a:pt x="393" y="321"/>
                </a:cubicBezTo>
                <a:cubicBezTo>
                  <a:pt x="393" y="320"/>
                  <a:pt x="392" y="320"/>
                  <a:pt x="392" y="321"/>
                </a:cubicBezTo>
                <a:cubicBezTo>
                  <a:pt x="392" y="320"/>
                  <a:pt x="390" y="320"/>
                  <a:pt x="390" y="319"/>
                </a:cubicBezTo>
                <a:cubicBezTo>
                  <a:pt x="390" y="318"/>
                  <a:pt x="390" y="318"/>
                  <a:pt x="390" y="318"/>
                </a:cubicBezTo>
                <a:cubicBezTo>
                  <a:pt x="390" y="317"/>
                  <a:pt x="390" y="317"/>
                  <a:pt x="390" y="317"/>
                </a:cubicBezTo>
                <a:cubicBezTo>
                  <a:pt x="390" y="317"/>
                  <a:pt x="390" y="318"/>
                  <a:pt x="389" y="317"/>
                </a:cubicBezTo>
                <a:cubicBezTo>
                  <a:pt x="389" y="318"/>
                  <a:pt x="389" y="319"/>
                  <a:pt x="388" y="318"/>
                </a:cubicBezTo>
                <a:cubicBezTo>
                  <a:pt x="388" y="319"/>
                  <a:pt x="386" y="319"/>
                  <a:pt x="386" y="319"/>
                </a:cubicBezTo>
                <a:cubicBezTo>
                  <a:pt x="385" y="320"/>
                  <a:pt x="385" y="321"/>
                  <a:pt x="386" y="320"/>
                </a:cubicBezTo>
                <a:cubicBezTo>
                  <a:pt x="386" y="320"/>
                  <a:pt x="386" y="319"/>
                  <a:pt x="386" y="319"/>
                </a:cubicBezTo>
                <a:cubicBezTo>
                  <a:pt x="386" y="319"/>
                  <a:pt x="387" y="319"/>
                  <a:pt x="387" y="320"/>
                </a:cubicBezTo>
                <a:cubicBezTo>
                  <a:pt x="387" y="320"/>
                  <a:pt x="387" y="320"/>
                  <a:pt x="387" y="320"/>
                </a:cubicBezTo>
                <a:cubicBezTo>
                  <a:pt x="387" y="320"/>
                  <a:pt x="388" y="320"/>
                  <a:pt x="388" y="320"/>
                </a:cubicBezTo>
                <a:cubicBezTo>
                  <a:pt x="388" y="320"/>
                  <a:pt x="388" y="321"/>
                  <a:pt x="388" y="321"/>
                </a:cubicBezTo>
                <a:cubicBezTo>
                  <a:pt x="388" y="321"/>
                  <a:pt x="388" y="321"/>
                  <a:pt x="388" y="321"/>
                </a:cubicBezTo>
                <a:cubicBezTo>
                  <a:pt x="389" y="321"/>
                  <a:pt x="388" y="322"/>
                  <a:pt x="388" y="322"/>
                </a:cubicBezTo>
                <a:cubicBezTo>
                  <a:pt x="387" y="322"/>
                  <a:pt x="387" y="322"/>
                  <a:pt x="386" y="321"/>
                </a:cubicBezTo>
                <a:cubicBezTo>
                  <a:pt x="386" y="321"/>
                  <a:pt x="385" y="320"/>
                  <a:pt x="384" y="319"/>
                </a:cubicBezTo>
                <a:cubicBezTo>
                  <a:pt x="384" y="319"/>
                  <a:pt x="384" y="318"/>
                  <a:pt x="384" y="318"/>
                </a:cubicBezTo>
                <a:cubicBezTo>
                  <a:pt x="385" y="318"/>
                  <a:pt x="385" y="318"/>
                  <a:pt x="385" y="318"/>
                </a:cubicBezTo>
                <a:cubicBezTo>
                  <a:pt x="385" y="318"/>
                  <a:pt x="385" y="318"/>
                  <a:pt x="385" y="317"/>
                </a:cubicBezTo>
                <a:cubicBezTo>
                  <a:pt x="385" y="318"/>
                  <a:pt x="386" y="317"/>
                  <a:pt x="386" y="317"/>
                </a:cubicBezTo>
                <a:cubicBezTo>
                  <a:pt x="386" y="317"/>
                  <a:pt x="386" y="317"/>
                  <a:pt x="386" y="316"/>
                </a:cubicBezTo>
                <a:cubicBezTo>
                  <a:pt x="386" y="316"/>
                  <a:pt x="387" y="316"/>
                  <a:pt x="387" y="316"/>
                </a:cubicBezTo>
                <a:cubicBezTo>
                  <a:pt x="387" y="316"/>
                  <a:pt x="387" y="315"/>
                  <a:pt x="387" y="315"/>
                </a:cubicBezTo>
                <a:cubicBezTo>
                  <a:pt x="387" y="315"/>
                  <a:pt x="388" y="316"/>
                  <a:pt x="389" y="316"/>
                </a:cubicBezTo>
                <a:cubicBezTo>
                  <a:pt x="388" y="315"/>
                  <a:pt x="387" y="315"/>
                  <a:pt x="388" y="315"/>
                </a:cubicBezTo>
                <a:cubicBezTo>
                  <a:pt x="387" y="314"/>
                  <a:pt x="388" y="314"/>
                  <a:pt x="388" y="314"/>
                </a:cubicBezTo>
                <a:cubicBezTo>
                  <a:pt x="389" y="314"/>
                  <a:pt x="389" y="315"/>
                  <a:pt x="389" y="315"/>
                </a:cubicBezTo>
                <a:cubicBezTo>
                  <a:pt x="389" y="314"/>
                  <a:pt x="389" y="314"/>
                  <a:pt x="389" y="314"/>
                </a:cubicBezTo>
                <a:cubicBezTo>
                  <a:pt x="389" y="313"/>
                  <a:pt x="390" y="314"/>
                  <a:pt x="390" y="314"/>
                </a:cubicBezTo>
                <a:cubicBezTo>
                  <a:pt x="390" y="313"/>
                  <a:pt x="390" y="314"/>
                  <a:pt x="390" y="313"/>
                </a:cubicBezTo>
                <a:cubicBezTo>
                  <a:pt x="389" y="313"/>
                  <a:pt x="390" y="312"/>
                  <a:pt x="390" y="312"/>
                </a:cubicBezTo>
                <a:cubicBezTo>
                  <a:pt x="390" y="312"/>
                  <a:pt x="389" y="311"/>
                  <a:pt x="389" y="311"/>
                </a:cubicBezTo>
                <a:cubicBezTo>
                  <a:pt x="389" y="311"/>
                  <a:pt x="389" y="311"/>
                  <a:pt x="389" y="312"/>
                </a:cubicBezTo>
                <a:cubicBezTo>
                  <a:pt x="389" y="312"/>
                  <a:pt x="389" y="312"/>
                  <a:pt x="389" y="312"/>
                </a:cubicBezTo>
                <a:cubicBezTo>
                  <a:pt x="388" y="313"/>
                  <a:pt x="388" y="313"/>
                  <a:pt x="388" y="313"/>
                </a:cubicBezTo>
                <a:cubicBezTo>
                  <a:pt x="387" y="313"/>
                  <a:pt x="386" y="312"/>
                  <a:pt x="387" y="312"/>
                </a:cubicBezTo>
                <a:cubicBezTo>
                  <a:pt x="387" y="312"/>
                  <a:pt x="388" y="312"/>
                  <a:pt x="389" y="312"/>
                </a:cubicBezTo>
                <a:cubicBezTo>
                  <a:pt x="388" y="312"/>
                  <a:pt x="387" y="312"/>
                  <a:pt x="387" y="312"/>
                </a:cubicBezTo>
                <a:cubicBezTo>
                  <a:pt x="387" y="311"/>
                  <a:pt x="386" y="311"/>
                  <a:pt x="386" y="311"/>
                </a:cubicBezTo>
                <a:cubicBezTo>
                  <a:pt x="386" y="310"/>
                  <a:pt x="388" y="311"/>
                  <a:pt x="388" y="311"/>
                </a:cubicBezTo>
                <a:cubicBezTo>
                  <a:pt x="388" y="311"/>
                  <a:pt x="387" y="311"/>
                  <a:pt x="387" y="310"/>
                </a:cubicBezTo>
                <a:cubicBezTo>
                  <a:pt x="387" y="310"/>
                  <a:pt x="388" y="311"/>
                  <a:pt x="388" y="310"/>
                </a:cubicBezTo>
                <a:cubicBezTo>
                  <a:pt x="388" y="310"/>
                  <a:pt x="388" y="310"/>
                  <a:pt x="388" y="310"/>
                </a:cubicBezTo>
                <a:cubicBezTo>
                  <a:pt x="388" y="310"/>
                  <a:pt x="389" y="310"/>
                  <a:pt x="389" y="310"/>
                </a:cubicBezTo>
                <a:cubicBezTo>
                  <a:pt x="389" y="310"/>
                  <a:pt x="389" y="311"/>
                  <a:pt x="389" y="311"/>
                </a:cubicBezTo>
                <a:cubicBezTo>
                  <a:pt x="390" y="310"/>
                  <a:pt x="389" y="310"/>
                  <a:pt x="390" y="310"/>
                </a:cubicBezTo>
                <a:cubicBezTo>
                  <a:pt x="390" y="310"/>
                  <a:pt x="390" y="310"/>
                  <a:pt x="390" y="310"/>
                </a:cubicBezTo>
                <a:cubicBezTo>
                  <a:pt x="390" y="310"/>
                  <a:pt x="391" y="310"/>
                  <a:pt x="391" y="310"/>
                </a:cubicBezTo>
                <a:cubicBezTo>
                  <a:pt x="391" y="311"/>
                  <a:pt x="391" y="311"/>
                  <a:pt x="391" y="311"/>
                </a:cubicBezTo>
                <a:cubicBezTo>
                  <a:pt x="391" y="311"/>
                  <a:pt x="392" y="311"/>
                  <a:pt x="392" y="311"/>
                </a:cubicBezTo>
                <a:cubicBezTo>
                  <a:pt x="392" y="311"/>
                  <a:pt x="392" y="312"/>
                  <a:pt x="392" y="312"/>
                </a:cubicBezTo>
                <a:cubicBezTo>
                  <a:pt x="392" y="312"/>
                  <a:pt x="392" y="311"/>
                  <a:pt x="392" y="311"/>
                </a:cubicBezTo>
                <a:cubicBezTo>
                  <a:pt x="392" y="311"/>
                  <a:pt x="391" y="310"/>
                  <a:pt x="392" y="310"/>
                </a:cubicBezTo>
                <a:cubicBezTo>
                  <a:pt x="391" y="310"/>
                  <a:pt x="391" y="310"/>
                  <a:pt x="392" y="310"/>
                </a:cubicBezTo>
                <a:cubicBezTo>
                  <a:pt x="392" y="309"/>
                  <a:pt x="392" y="310"/>
                  <a:pt x="393" y="310"/>
                </a:cubicBezTo>
                <a:cubicBezTo>
                  <a:pt x="393" y="310"/>
                  <a:pt x="393" y="309"/>
                  <a:pt x="394" y="310"/>
                </a:cubicBezTo>
                <a:cubicBezTo>
                  <a:pt x="395" y="310"/>
                  <a:pt x="394" y="310"/>
                  <a:pt x="394" y="311"/>
                </a:cubicBezTo>
                <a:cubicBezTo>
                  <a:pt x="394" y="311"/>
                  <a:pt x="395" y="311"/>
                  <a:pt x="395" y="311"/>
                </a:cubicBezTo>
                <a:cubicBezTo>
                  <a:pt x="395" y="311"/>
                  <a:pt x="395" y="311"/>
                  <a:pt x="395" y="311"/>
                </a:cubicBezTo>
                <a:cubicBezTo>
                  <a:pt x="395" y="312"/>
                  <a:pt x="395" y="312"/>
                  <a:pt x="395" y="312"/>
                </a:cubicBezTo>
                <a:cubicBezTo>
                  <a:pt x="395" y="312"/>
                  <a:pt x="396" y="313"/>
                  <a:pt x="395" y="313"/>
                </a:cubicBezTo>
                <a:cubicBezTo>
                  <a:pt x="396" y="313"/>
                  <a:pt x="395" y="312"/>
                  <a:pt x="396" y="312"/>
                </a:cubicBezTo>
                <a:cubicBezTo>
                  <a:pt x="396" y="311"/>
                  <a:pt x="397" y="312"/>
                  <a:pt x="397" y="313"/>
                </a:cubicBezTo>
                <a:cubicBezTo>
                  <a:pt x="397" y="314"/>
                  <a:pt x="396" y="314"/>
                  <a:pt x="395" y="314"/>
                </a:cubicBezTo>
                <a:cubicBezTo>
                  <a:pt x="394" y="314"/>
                  <a:pt x="393" y="314"/>
                  <a:pt x="393" y="314"/>
                </a:cubicBezTo>
                <a:cubicBezTo>
                  <a:pt x="393" y="314"/>
                  <a:pt x="394" y="314"/>
                  <a:pt x="394" y="315"/>
                </a:cubicBezTo>
                <a:cubicBezTo>
                  <a:pt x="395" y="315"/>
                  <a:pt x="395" y="315"/>
                  <a:pt x="395" y="314"/>
                </a:cubicBezTo>
                <a:cubicBezTo>
                  <a:pt x="396" y="314"/>
                  <a:pt x="396" y="314"/>
                  <a:pt x="397" y="314"/>
                </a:cubicBezTo>
                <a:cubicBezTo>
                  <a:pt x="397" y="314"/>
                  <a:pt x="397" y="315"/>
                  <a:pt x="397" y="315"/>
                </a:cubicBezTo>
                <a:cubicBezTo>
                  <a:pt x="397" y="314"/>
                  <a:pt x="398" y="316"/>
                  <a:pt x="399" y="315"/>
                </a:cubicBezTo>
                <a:cubicBezTo>
                  <a:pt x="399" y="315"/>
                  <a:pt x="396" y="314"/>
                  <a:pt x="397" y="314"/>
                </a:cubicBezTo>
                <a:cubicBezTo>
                  <a:pt x="398" y="313"/>
                  <a:pt x="399" y="315"/>
                  <a:pt x="399" y="315"/>
                </a:cubicBezTo>
                <a:cubicBezTo>
                  <a:pt x="400" y="316"/>
                  <a:pt x="398" y="318"/>
                  <a:pt x="399" y="318"/>
                </a:cubicBezTo>
                <a:cubicBezTo>
                  <a:pt x="400" y="319"/>
                  <a:pt x="400" y="317"/>
                  <a:pt x="401" y="318"/>
                </a:cubicBezTo>
                <a:cubicBezTo>
                  <a:pt x="401" y="317"/>
                  <a:pt x="400" y="317"/>
                  <a:pt x="400" y="316"/>
                </a:cubicBezTo>
                <a:cubicBezTo>
                  <a:pt x="401" y="316"/>
                  <a:pt x="401" y="315"/>
                  <a:pt x="401" y="315"/>
                </a:cubicBezTo>
                <a:cubicBezTo>
                  <a:pt x="401" y="315"/>
                  <a:pt x="402" y="315"/>
                  <a:pt x="402" y="315"/>
                </a:cubicBezTo>
                <a:cubicBezTo>
                  <a:pt x="400" y="315"/>
                  <a:pt x="401" y="313"/>
                  <a:pt x="402" y="312"/>
                </a:cubicBezTo>
                <a:cubicBezTo>
                  <a:pt x="402" y="312"/>
                  <a:pt x="401" y="312"/>
                  <a:pt x="401" y="312"/>
                </a:cubicBezTo>
                <a:cubicBezTo>
                  <a:pt x="401" y="313"/>
                  <a:pt x="401" y="314"/>
                  <a:pt x="400" y="314"/>
                </a:cubicBezTo>
                <a:cubicBezTo>
                  <a:pt x="400" y="314"/>
                  <a:pt x="401" y="316"/>
                  <a:pt x="400" y="315"/>
                </a:cubicBezTo>
                <a:cubicBezTo>
                  <a:pt x="400" y="315"/>
                  <a:pt x="400" y="315"/>
                  <a:pt x="400" y="314"/>
                </a:cubicBezTo>
                <a:cubicBezTo>
                  <a:pt x="400" y="314"/>
                  <a:pt x="400" y="314"/>
                  <a:pt x="400" y="314"/>
                </a:cubicBezTo>
                <a:cubicBezTo>
                  <a:pt x="400" y="313"/>
                  <a:pt x="398" y="310"/>
                  <a:pt x="400" y="310"/>
                </a:cubicBezTo>
                <a:cubicBezTo>
                  <a:pt x="399" y="310"/>
                  <a:pt x="400" y="309"/>
                  <a:pt x="400" y="309"/>
                </a:cubicBezTo>
                <a:cubicBezTo>
                  <a:pt x="400" y="308"/>
                  <a:pt x="402" y="309"/>
                  <a:pt x="402" y="308"/>
                </a:cubicBezTo>
                <a:cubicBezTo>
                  <a:pt x="402" y="308"/>
                  <a:pt x="400" y="308"/>
                  <a:pt x="400" y="308"/>
                </a:cubicBezTo>
                <a:cubicBezTo>
                  <a:pt x="400" y="308"/>
                  <a:pt x="399" y="310"/>
                  <a:pt x="399" y="309"/>
                </a:cubicBezTo>
                <a:cubicBezTo>
                  <a:pt x="398" y="309"/>
                  <a:pt x="398" y="308"/>
                  <a:pt x="398" y="307"/>
                </a:cubicBezTo>
                <a:cubicBezTo>
                  <a:pt x="398" y="306"/>
                  <a:pt x="398" y="305"/>
                  <a:pt x="399" y="306"/>
                </a:cubicBezTo>
                <a:cubicBezTo>
                  <a:pt x="399" y="305"/>
                  <a:pt x="399" y="305"/>
                  <a:pt x="399" y="305"/>
                </a:cubicBezTo>
                <a:cubicBezTo>
                  <a:pt x="399" y="305"/>
                  <a:pt x="399" y="304"/>
                  <a:pt x="400" y="304"/>
                </a:cubicBezTo>
                <a:cubicBezTo>
                  <a:pt x="400" y="304"/>
                  <a:pt x="401" y="305"/>
                  <a:pt x="401" y="305"/>
                </a:cubicBezTo>
                <a:cubicBezTo>
                  <a:pt x="401" y="305"/>
                  <a:pt x="403" y="307"/>
                  <a:pt x="404" y="306"/>
                </a:cubicBezTo>
                <a:cubicBezTo>
                  <a:pt x="404" y="305"/>
                  <a:pt x="403" y="305"/>
                  <a:pt x="403" y="305"/>
                </a:cubicBezTo>
                <a:cubicBezTo>
                  <a:pt x="402" y="306"/>
                  <a:pt x="401" y="305"/>
                  <a:pt x="400" y="304"/>
                </a:cubicBezTo>
                <a:cubicBezTo>
                  <a:pt x="400" y="304"/>
                  <a:pt x="399" y="303"/>
                  <a:pt x="399" y="304"/>
                </a:cubicBezTo>
                <a:cubicBezTo>
                  <a:pt x="398" y="304"/>
                  <a:pt x="397" y="304"/>
                  <a:pt x="397" y="304"/>
                </a:cubicBezTo>
                <a:cubicBezTo>
                  <a:pt x="397" y="303"/>
                  <a:pt x="399" y="303"/>
                  <a:pt x="398" y="303"/>
                </a:cubicBezTo>
                <a:cubicBezTo>
                  <a:pt x="398" y="302"/>
                  <a:pt x="397" y="302"/>
                  <a:pt x="397" y="301"/>
                </a:cubicBezTo>
                <a:cubicBezTo>
                  <a:pt x="397" y="300"/>
                  <a:pt x="398" y="301"/>
                  <a:pt x="398" y="301"/>
                </a:cubicBezTo>
                <a:cubicBezTo>
                  <a:pt x="399" y="301"/>
                  <a:pt x="399" y="300"/>
                  <a:pt x="400" y="300"/>
                </a:cubicBezTo>
                <a:cubicBezTo>
                  <a:pt x="400" y="299"/>
                  <a:pt x="400" y="299"/>
                  <a:pt x="400" y="299"/>
                </a:cubicBezTo>
                <a:cubicBezTo>
                  <a:pt x="401" y="299"/>
                  <a:pt x="401" y="299"/>
                  <a:pt x="401" y="299"/>
                </a:cubicBezTo>
                <a:cubicBezTo>
                  <a:pt x="401" y="299"/>
                  <a:pt x="402" y="298"/>
                  <a:pt x="402" y="298"/>
                </a:cubicBezTo>
                <a:cubicBezTo>
                  <a:pt x="402" y="298"/>
                  <a:pt x="401" y="298"/>
                  <a:pt x="401" y="297"/>
                </a:cubicBezTo>
                <a:cubicBezTo>
                  <a:pt x="401" y="297"/>
                  <a:pt x="401" y="296"/>
                  <a:pt x="401" y="296"/>
                </a:cubicBezTo>
                <a:cubicBezTo>
                  <a:pt x="401" y="296"/>
                  <a:pt x="402" y="296"/>
                  <a:pt x="402" y="295"/>
                </a:cubicBezTo>
                <a:cubicBezTo>
                  <a:pt x="401" y="295"/>
                  <a:pt x="401" y="295"/>
                  <a:pt x="401" y="294"/>
                </a:cubicBezTo>
                <a:cubicBezTo>
                  <a:pt x="401" y="294"/>
                  <a:pt x="401" y="296"/>
                  <a:pt x="401" y="296"/>
                </a:cubicBezTo>
                <a:cubicBezTo>
                  <a:pt x="400" y="296"/>
                  <a:pt x="400" y="295"/>
                  <a:pt x="400" y="295"/>
                </a:cubicBezTo>
                <a:cubicBezTo>
                  <a:pt x="399" y="295"/>
                  <a:pt x="398" y="294"/>
                  <a:pt x="398" y="294"/>
                </a:cubicBezTo>
                <a:cubicBezTo>
                  <a:pt x="398" y="293"/>
                  <a:pt x="397" y="293"/>
                  <a:pt x="396" y="293"/>
                </a:cubicBezTo>
                <a:cubicBezTo>
                  <a:pt x="396" y="293"/>
                  <a:pt x="395" y="293"/>
                  <a:pt x="396" y="293"/>
                </a:cubicBezTo>
                <a:cubicBezTo>
                  <a:pt x="396" y="292"/>
                  <a:pt x="396" y="292"/>
                  <a:pt x="396" y="292"/>
                </a:cubicBezTo>
                <a:cubicBezTo>
                  <a:pt x="395" y="292"/>
                  <a:pt x="396" y="292"/>
                  <a:pt x="395" y="292"/>
                </a:cubicBezTo>
                <a:cubicBezTo>
                  <a:pt x="395" y="292"/>
                  <a:pt x="395" y="292"/>
                  <a:pt x="395" y="292"/>
                </a:cubicBezTo>
                <a:cubicBezTo>
                  <a:pt x="394" y="292"/>
                  <a:pt x="394" y="291"/>
                  <a:pt x="395" y="292"/>
                </a:cubicBezTo>
                <a:cubicBezTo>
                  <a:pt x="394" y="290"/>
                  <a:pt x="395" y="291"/>
                  <a:pt x="395" y="291"/>
                </a:cubicBezTo>
                <a:cubicBezTo>
                  <a:pt x="395" y="291"/>
                  <a:pt x="394" y="290"/>
                  <a:pt x="395" y="289"/>
                </a:cubicBezTo>
                <a:cubicBezTo>
                  <a:pt x="395" y="289"/>
                  <a:pt x="395" y="288"/>
                  <a:pt x="395" y="288"/>
                </a:cubicBezTo>
                <a:cubicBezTo>
                  <a:pt x="395" y="288"/>
                  <a:pt x="395" y="288"/>
                  <a:pt x="396" y="288"/>
                </a:cubicBezTo>
                <a:cubicBezTo>
                  <a:pt x="396" y="288"/>
                  <a:pt x="396" y="288"/>
                  <a:pt x="397" y="288"/>
                </a:cubicBezTo>
                <a:cubicBezTo>
                  <a:pt x="396" y="288"/>
                  <a:pt x="396" y="287"/>
                  <a:pt x="396" y="287"/>
                </a:cubicBezTo>
                <a:cubicBezTo>
                  <a:pt x="396" y="287"/>
                  <a:pt x="396" y="287"/>
                  <a:pt x="396" y="288"/>
                </a:cubicBezTo>
                <a:cubicBezTo>
                  <a:pt x="395" y="288"/>
                  <a:pt x="395" y="287"/>
                  <a:pt x="395" y="287"/>
                </a:cubicBezTo>
                <a:cubicBezTo>
                  <a:pt x="394" y="287"/>
                  <a:pt x="395" y="287"/>
                  <a:pt x="395" y="286"/>
                </a:cubicBezTo>
                <a:cubicBezTo>
                  <a:pt x="395" y="286"/>
                  <a:pt x="395" y="286"/>
                  <a:pt x="395" y="286"/>
                </a:cubicBezTo>
                <a:cubicBezTo>
                  <a:pt x="395" y="286"/>
                  <a:pt x="394" y="286"/>
                  <a:pt x="394" y="286"/>
                </a:cubicBezTo>
                <a:cubicBezTo>
                  <a:pt x="394" y="286"/>
                  <a:pt x="393" y="285"/>
                  <a:pt x="393" y="285"/>
                </a:cubicBezTo>
                <a:cubicBezTo>
                  <a:pt x="393" y="284"/>
                  <a:pt x="392" y="283"/>
                  <a:pt x="393" y="282"/>
                </a:cubicBezTo>
                <a:cubicBezTo>
                  <a:pt x="394" y="281"/>
                  <a:pt x="393" y="281"/>
                  <a:pt x="393" y="280"/>
                </a:cubicBezTo>
                <a:cubicBezTo>
                  <a:pt x="393" y="279"/>
                  <a:pt x="394" y="280"/>
                  <a:pt x="394" y="280"/>
                </a:cubicBezTo>
                <a:cubicBezTo>
                  <a:pt x="394" y="279"/>
                  <a:pt x="394" y="278"/>
                  <a:pt x="393" y="278"/>
                </a:cubicBezTo>
                <a:cubicBezTo>
                  <a:pt x="392" y="277"/>
                  <a:pt x="392" y="277"/>
                  <a:pt x="392" y="276"/>
                </a:cubicBezTo>
                <a:cubicBezTo>
                  <a:pt x="392" y="276"/>
                  <a:pt x="392" y="276"/>
                  <a:pt x="392" y="275"/>
                </a:cubicBezTo>
                <a:cubicBezTo>
                  <a:pt x="391" y="275"/>
                  <a:pt x="391" y="274"/>
                  <a:pt x="392" y="274"/>
                </a:cubicBezTo>
                <a:cubicBezTo>
                  <a:pt x="392" y="274"/>
                  <a:pt x="394" y="275"/>
                  <a:pt x="394" y="275"/>
                </a:cubicBezTo>
                <a:cubicBezTo>
                  <a:pt x="394" y="274"/>
                  <a:pt x="393" y="274"/>
                  <a:pt x="393" y="274"/>
                </a:cubicBezTo>
                <a:cubicBezTo>
                  <a:pt x="392" y="274"/>
                  <a:pt x="392" y="273"/>
                  <a:pt x="391" y="273"/>
                </a:cubicBezTo>
                <a:cubicBezTo>
                  <a:pt x="391" y="272"/>
                  <a:pt x="390" y="271"/>
                  <a:pt x="391" y="271"/>
                </a:cubicBezTo>
                <a:cubicBezTo>
                  <a:pt x="392" y="271"/>
                  <a:pt x="392" y="270"/>
                  <a:pt x="393" y="271"/>
                </a:cubicBezTo>
                <a:cubicBezTo>
                  <a:pt x="393" y="271"/>
                  <a:pt x="393" y="271"/>
                  <a:pt x="393" y="272"/>
                </a:cubicBezTo>
                <a:cubicBezTo>
                  <a:pt x="393" y="272"/>
                  <a:pt x="394" y="274"/>
                  <a:pt x="395" y="274"/>
                </a:cubicBezTo>
                <a:cubicBezTo>
                  <a:pt x="395" y="273"/>
                  <a:pt x="394" y="273"/>
                  <a:pt x="394" y="272"/>
                </a:cubicBezTo>
                <a:cubicBezTo>
                  <a:pt x="394" y="272"/>
                  <a:pt x="394" y="272"/>
                  <a:pt x="394" y="272"/>
                </a:cubicBezTo>
                <a:cubicBezTo>
                  <a:pt x="393" y="272"/>
                  <a:pt x="394" y="271"/>
                  <a:pt x="394" y="271"/>
                </a:cubicBezTo>
                <a:cubicBezTo>
                  <a:pt x="394" y="271"/>
                  <a:pt x="392" y="270"/>
                  <a:pt x="393" y="270"/>
                </a:cubicBezTo>
                <a:cubicBezTo>
                  <a:pt x="393" y="270"/>
                  <a:pt x="393" y="268"/>
                  <a:pt x="392" y="268"/>
                </a:cubicBezTo>
                <a:cubicBezTo>
                  <a:pt x="391" y="268"/>
                  <a:pt x="392" y="269"/>
                  <a:pt x="391" y="269"/>
                </a:cubicBezTo>
                <a:cubicBezTo>
                  <a:pt x="391" y="269"/>
                  <a:pt x="390" y="269"/>
                  <a:pt x="390" y="268"/>
                </a:cubicBezTo>
                <a:cubicBezTo>
                  <a:pt x="389" y="268"/>
                  <a:pt x="389" y="268"/>
                  <a:pt x="388" y="268"/>
                </a:cubicBezTo>
                <a:cubicBezTo>
                  <a:pt x="388" y="267"/>
                  <a:pt x="389" y="266"/>
                  <a:pt x="389" y="266"/>
                </a:cubicBezTo>
                <a:cubicBezTo>
                  <a:pt x="390" y="265"/>
                  <a:pt x="390" y="266"/>
                  <a:pt x="390" y="266"/>
                </a:cubicBezTo>
                <a:cubicBezTo>
                  <a:pt x="391" y="266"/>
                  <a:pt x="392" y="265"/>
                  <a:pt x="392" y="265"/>
                </a:cubicBezTo>
                <a:cubicBezTo>
                  <a:pt x="392" y="264"/>
                  <a:pt x="392" y="264"/>
                  <a:pt x="392" y="263"/>
                </a:cubicBezTo>
                <a:cubicBezTo>
                  <a:pt x="392" y="263"/>
                  <a:pt x="392" y="263"/>
                  <a:pt x="392" y="263"/>
                </a:cubicBezTo>
                <a:cubicBezTo>
                  <a:pt x="392" y="263"/>
                  <a:pt x="392" y="262"/>
                  <a:pt x="392" y="262"/>
                </a:cubicBezTo>
                <a:cubicBezTo>
                  <a:pt x="391" y="262"/>
                  <a:pt x="391" y="261"/>
                  <a:pt x="391" y="262"/>
                </a:cubicBezTo>
                <a:cubicBezTo>
                  <a:pt x="391" y="262"/>
                  <a:pt x="391" y="263"/>
                  <a:pt x="392" y="263"/>
                </a:cubicBezTo>
                <a:cubicBezTo>
                  <a:pt x="392" y="264"/>
                  <a:pt x="392" y="264"/>
                  <a:pt x="392" y="265"/>
                </a:cubicBezTo>
                <a:cubicBezTo>
                  <a:pt x="391" y="265"/>
                  <a:pt x="390" y="265"/>
                  <a:pt x="390" y="265"/>
                </a:cubicBezTo>
                <a:cubicBezTo>
                  <a:pt x="389" y="265"/>
                  <a:pt x="388" y="264"/>
                  <a:pt x="387" y="263"/>
                </a:cubicBezTo>
                <a:cubicBezTo>
                  <a:pt x="387" y="263"/>
                  <a:pt x="386" y="263"/>
                  <a:pt x="385" y="263"/>
                </a:cubicBezTo>
                <a:cubicBezTo>
                  <a:pt x="385" y="263"/>
                  <a:pt x="385" y="264"/>
                  <a:pt x="385" y="264"/>
                </a:cubicBezTo>
                <a:cubicBezTo>
                  <a:pt x="385" y="264"/>
                  <a:pt x="386" y="265"/>
                  <a:pt x="386" y="265"/>
                </a:cubicBezTo>
                <a:cubicBezTo>
                  <a:pt x="386" y="265"/>
                  <a:pt x="386" y="266"/>
                  <a:pt x="385" y="266"/>
                </a:cubicBezTo>
                <a:cubicBezTo>
                  <a:pt x="385" y="266"/>
                  <a:pt x="385" y="266"/>
                  <a:pt x="385" y="266"/>
                </a:cubicBezTo>
                <a:cubicBezTo>
                  <a:pt x="385" y="266"/>
                  <a:pt x="383" y="266"/>
                  <a:pt x="383" y="266"/>
                </a:cubicBezTo>
                <a:cubicBezTo>
                  <a:pt x="383" y="266"/>
                  <a:pt x="383" y="266"/>
                  <a:pt x="382" y="266"/>
                </a:cubicBezTo>
                <a:cubicBezTo>
                  <a:pt x="382" y="266"/>
                  <a:pt x="382" y="266"/>
                  <a:pt x="381" y="266"/>
                </a:cubicBezTo>
                <a:cubicBezTo>
                  <a:pt x="381" y="266"/>
                  <a:pt x="380" y="266"/>
                  <a:pt x="380" y="265"/>
                </a:cubicBezTo>
                <a:cubicBezTo>
                  <a:pt x="380" y="265"/>
                  <a:pt x="380" y="264"/>
                  <a:pt x="380" y="264"/>
                </a:cubicBezTo>
                <a:cubicBezTo>
                  <a:pt x="381" y="264"/>
                  <a:pt x="381" y="264"/>
                  <a:pt x="381" y="263"/>
                </a:cubicBezTo>
                <a:cubicBezTo>
                  <a:pt x="381" y="264"/>
                  <a:pt x="381" y="264"/>
                  <a:pt x="380" y="264"/>
                </a:cubicBezTo>
                <a:cubicBezTo>
                  <a:pt x="380" y="264"/>
                  <a:pt x="379" y="264"/>
                  <a:pt x="379" y="264"/>
                </a:cubicBezTo>
                <a:cubicBezTo>
                  <a:pt x="378" y="263"/>
                  <a:pt x="378" y="263"/>
                  <a:pt x="378" y="262"/>
                </a:cubicBezTo>
                <a:cubicBezTo>
                  <a:pt x="378" y="261"/>
                  <a:pt x="377" y="261"/>
                  <a:pt x="377" y="260"/>
                </a:cubicBezTo>
                <a:cubicBezTo>
                  <a:pt x="376" y="260"/>
                  <a:pt x="374" y="257"/>
                  <a:pt x="375" y="257"/>
                </a:cubicBezTo>
                <a:cubicBezTo>
                  <a:pt x="376" y="256"/>
                  <a:pt x="375" y="256"/>
                  <a:pt x="375" y="256"/>
                </a:cubicBezTo>
                <a:cubicBezTo>
                  <a:pt x="375" y="255"/>
                  <a:pt x="375" y="255"/>
                  <a:pt x="375" y="254"/>
                </a:cubicBezTo>
                <a:cubicBezTo>
                  <a:pt x="375" y="254"/>
                  <a:pt x="375" y="254"/>
                  <a:pt x="375" y="254"/>
                </a:cubicBezTo>
                <a:cubicBezTo>
                  <a:pt x="375" y="253"/>
                  <a:pt x="375" y="253"/>
                  <a:pt x="375" y="253"/>
                </a:cubicBezTo>
                <a:cubicBezTo>
                  <a:pt x="375" y="252"/>
                  <a:pt x="375" y="252"/>
                  <a:pt x="375" y="251"/>
                </a:cubicBezTo>
                <a:cubicBezTo>
                  <a:pt x="374" y="251"/>
                  <a:pt x="374" y="250"/>
                  <a:pt x="374" y="250"/>
                </a:cubicBezTo>
                <a:cubicBezTo>
                  <a:pt x="374" y="249"/>
                  <a:pt x="374" y="249"/>
                  <a:pt x="374" y="248"/>
                </a:cubicBezTo>
                <a:cubicBezTo>
                  <a:pt x="374" y="248"/>
                  <a:pt x="374" y="248"/>
                  <a:pt x="374" y="248"/>
                </a:cubicBezTo>
                <a:cubicBezTo>
                  <a:pt x="374" y="247"/>
                  <a:pt x="374" y="247"/>
                  <a:pt x="374" y="247"/>
                </a:cubicBezTo>
                <a:cubicBezTo>
                  <a:pt x="373" y="246"/>
                  <a:pt x="374" y="246"/>
                  <a:pt x="374" y="246"/>
                </a:cubicBezTo>
                <a:cubicBezTo>
                  <a:pt x="375" y="246"/>
                  <a:pt x="375" y="245"/>
                  <a:pt x="375" y="245"/>
                </a:cubicBezTo>
                <a:cubicBezTo>
                  <a:pt x="375" y="244"/>
                  <a:pt x="376" y="246"/>
                  <a:pt x="376" y="246"/>
                </a:cubicBezTo>
                <a:cubicBezTo>
                  <a:pt x="376" y="245"/>
                  <a:pt x="376" y="244"/>
                  <a:pt x="375" y="244"/>
                </a:cubicBezTo>
                <a:cubicBezTo>
                  <a:pt x="375" y="243"/>
                  <a:pt x="376" y="242"/>
                  <a:pt x="376" y="242"/>
                </a:cubicBezTo>
                <a:cubicBezTo>
                  <a:pt x="376" y="242"/>
                  <a:pt x="376" y="241"/>
                  <a:pt x="376" y="241"/>
                </a:cubicBezTo>
                <a:cubicBezTo>
                  <a:pt x="376" y="240"/>
                  <a:pt x="375" y="240"/>
                  <a:pt x="375" y="240"/>
                </a:cubicBezTo>
                <a:cubicBezTo>
                  <a:pt x="375" y="240"/>
                  <a:pt x="375" y="238"/>
                  <a:pt x="375" y="238"/>
                </a:cubicBezTo>
                <a:cubicBezTo>
                  <a:pt x="375" y="238"/>
                  <a:pt x="375" y="238"/>
                  <a:pt x="375" y="238"/>
                </a:cubicBezTo>
                <a:cubicBezTo>
                  <a:pt x="374" y="237"/>
                  <a:pt x="373" y="236"/>
                  <a:pt x="373" y="235"/>
                </a:cubicBezTo>
                <a:cubicBezTo>
                  <a:pt x="372" y="234"/>
                  <a:pt x="372" y="233"/>
                  <a:pt x="371" y="232"/>
                </a:cubicBezTo>
                <a:cubicBezTo>
                  <a:pt x="371" y="233"/>
                  <a:pt x="371" y="233"/>
                  <a:pt x="372" y="233"/>
                </a:cubicBezTo>
                <a:cubicBezTo>
                  <a:pt x="371" y="232"/>
                  <a:pt x="370" y="231"/>
                  <a:pt x="369" y="229"/>
                </a:cubicBezTo>
                <a:cubicBezTo>
                  <a:pt x="369" y="228"/>
                  <a:pt x="369" y="226"/>
                  <a:pt x="368" y="224"/>
                </a:cubicBezTo>
                <a:cubicBezTo>
                  <a:pt x="368" y="224"/>
                  <a:pt x="367" y="223"/>
                  <a:pt x="367" y="223"/>
                </a:cubicBezTo>
                <a:cubicBezTo>
                  <a:pt x="366" y="222"/>
                  <a:pt x="366" y="222"/>
                  <a:pt x="366" y="221"/>
                </a:cubicBezTo>
                <a:cubicBezTo>
                  <a:pt x="365" y="221"/>
                  <a:pt x="365" y="220"/>
                  <a:pt x="365" y="220"/>
                </a:cubicBezTo>
                <a:cubicBezTo>
                  <a:pt x="366" y="219"/>
                  <a:pt x="365" y="218"/>
                  <a:pt x="365" y="218"/>
                </a:cubicBezTo>
                <a:cubicBezTo>
                  <a:pt x="364" y="218"/>
                  <a:pt x="364" y="215"/>
                  <a:pt x="364" y="216"/>
                </a:cubicBezTo>
                <a:cubicBezTo>
                  <a:pt x="365" y="216"/>
                  <a:pt x="365" y="216"/>
                  <a:pt x="366" y="216"/>
                </a:cubicBezTo>
                <a:cubicBezTo>
                  <a:pt x="366" y="216"/>
                  <a:pt x="366" y="216"/>
                  <a:pt x="366" y="216"/>
                </a:cubicBezTo>
                <a:cubicBezTo>
                  <a:pt x="366" y="217"/>
                  <a:pt x="367" y="216"/>
                  <a:pt x="367" y="216"/>
                </a:cubicBezTo>
                <a:cubicBezTo>
                  <a:pt x="369" y="216"/>
                  <a:pt x="368" y="215"/>
                  <a:pt x="368" y="214"/>
                </a:cubicBezTo>
                <a:cubicBezTo>
                  <a:pt x="368" y="213"/>
                  <a:pt x="368" y="212"/>
                  <a:pt x="367" y="212"/>
                </a:cubicBezTo>
                <a:cubicBezTo>
                  <a:pt x="366" y="211"/>
                  <a:pt x="368" y="211"/>
                  <a:pt x="367" y="211"/>
                </a:cubicBezTo>
                <a:cubicBezTo>
                  <a:pt x="367" y="211"/>
                  <a:pt x="367" y="210"/>
                  <a:pt x="367" y="210"/>
                </a:cubicBezTo>
                <a:cubicBezTo>
                  <a:pt x="367" y="210"/>
                  <a:pt x="367" y="210"/>
                  <a:pt x="368" y="211"/>
                </a:cubicBezTo>
                <a:cubicBezTo>
                  <a:pt x="368" y="211"/>
                  <a:pt x="369" y="211"/>
                  <a:pt x="368" y="210"/>
                </a:cubicBezTo>
                <a:cubicBezTo>
                  <a:pt x="368" y="210"/>
                  <a:pt x="368" y="209"/>
                  <a:pt x="368" y="209"/>
                </a:cubicBezTo>
                <a:cubicBezTo>
                  <a:pt x="369" y="208"/>
                  <a:pt x="368" y="205"/>
                  <a:pt x="368" y="205"/>
                </a:cubicBezTo>
                <a:cubicBezTo>
                  <a:pt x="368" y="204"/>
                  <a:pt x="368" y="203"/>
                  <a:pt x="368" y="203"/>
                </a:cubicBezTo>
                <a:cubicBezTo>
                  <a:pt x="368" y="202"/>
                  <a:pt x="369" y="201"/>
                  <a:pt x="369" y="201"/>
                </a:cubicBezTo>
                <a:cubicBezTo>
                  <a:pt x="369" y="200"/>
                  <a:pt x="369" y="199"/>
                  <a:pt x="368" y="199"/>
                </a:cubicBezTo>
                <a:cubicBezTo>
                  <a:pt x="368" y="198"/>
                  <a:pt x="368" y="198"/>
                  <a:pt x="369" y="197"/>
                </a:cubicBezTo>
                <a:cubicBezTo>
                  <a:pt x="369" y="197"/>
                  <a:pt x="369" y="196"/>
                  <a:pt x="369" y="196"/>
                </a:cubicBezTo>
                <a:cubicBezTo>
                  <a:pt x="369" y="195"/>
                  <a:pt x="369" y="194"/>
                  <a:pt x="370" y="194"/>
                </a:cubicBezTo>
                <a:cubicBezTo>
                  <a:pt x="371" y="193"/>
                  <a:pt x="370" y="192"/>
                  <a:pt x="370" y="192"/>
                </a:cubicBezTo>
                <a:cubicBezTo>
                  <a:pt x="370" y="191"/>
                  <a:pt x="370" y="190"/>
                  <a:pt x="370" y="189"/>
                </a:cubicBezTo>
                <a:cubicBezTo>
                  <a:pt x="371" y="189"/>
                  <a:pt x="370" y="188"/>
                  <a:pt x="370" y="187"/>
                </a:cubicBezTo>
                <a:cubicBezTo>
                  <a:pt x="370" y="187"/>
                  <a:pt x="370" y="186"/>
                  <a:pt x="370" y="186"/>
                </a:cubicBezTo>
                <a:cubicBezTo>
                  <a:pt x="370" y="186"/>
                  <a:pt x="370" y="185"/>
                  <a:pt x="370" y="185"/>
                </a:cubicBezTo>
                <a:cubicBezTo>
                  <a:pt x="370" y="185"/>
                  <a:pt x="370" y="185"/>
                  <a:pt x="370" y="185"/>
                </a:cubicBezTo>
                <a:cubicBezTo>
                  <a:pt x="370" y="184"/>
                  <a:pt x="369" y="183"/>
                  <a:pt x="370" y="182"/>
                </a:cubicBezTo>
                <a:cubicBezTo>
                  <a:pt x="370" y="181"/>
                  <a:pt x="370" y="181"/>
                  <a:pt x="370" y="180"/>
                </a:cubicBezTo>
                <a:cubicBezTo>
                  <a:pt x="370" y="180"/>
                  <a:pt x="370" y="179"/>
                  <a:pt x="370" y="178"/>
                </a:cubicBezTo>
                <a:cubicBezTo>
                  <a:pt x="371" y="178"/>
                  <a:pt x="371" y="178"/>
                  <a:pt x="371" y="177"/>
                </a:cubicBezTo>
                <a:cubicBezTo>
                  <a:pt x="371" y="176"/>
                  <a:pt x="371" y="176"/>
                  <a:pt x="371" y="176"/>
                </a:cubicBezTo>
                <a:cubicBezTo>
                  <a:pt x="371" y="175"/>
                  <a:pt x="370" y="175"/>
                  <a:pt x="370" y="174"/>
                </a:cubicBezTo>
                <a:cubicBezTo>
                  <a:pt x="370" y="174"/>
                  <a:pt x="370" y="174"/>
                  <a:pt x="370" y="173"/>
                </a:cubicBezTo>
                <a:cubicBezTo>
                  <a:pt x="370" y="173"/>
                  <a:pt x="369" y="172"/>
                  <a:pt x="369" y="172"/>
                </a:cubicBezTo>
                <a:cubicBezTo>
                  <a:pt x="369" y="172"/>
                  <a:pt x="369" y="171"/>
                  <a:pt x="369" y="171"/>
                </a:cubicBezTo>
                <a:cubicBezTo>
                  <a:pt x="369" y="171"/>
                  <a:pt x="369" y="170"/>
                  <a:pt x="370" y="170"/>
                </a:cubicBezTo>
                <a:cubicBezTo>
                  <a:pt x="371" y="171"/>
                  <a:pt x="370" y="168"/>
                  <a:pt x="370" y="168"/>
                </a:cubicBezTo>
                <a:cubicBezTo>
                  <a:pt x="370" y="168"/>
                  <a:pt x="370" y="167"/>
                  <a:pt x="370" y="167"/>
                </a:cubicBezTo>
                <a:cubicBezTo>
                  <a:pt x="370" y="167"/>
                  <a:pt x="370" y="167"/>
                  <a:pt x="370" y="167"/>
                </a:cubicBezTo>
                <a:cubicBezTo>
                  <a:pt x="370" y="167"/>
                  <a:pt x="370" y="167"/>
                  <a:pt x="370" y="166"/>
                </a:cubicBezTo>
                <a:cubicBezTo>
                  <a:pt x="370" y="166"/>
                  <a:pt x="370" y="165"/>
                  <a:pt x="370" y="165"/>
                </a:cubicBezTo>
                <a:cubicBezTo>
                  <a:pt x="370" y="164"/>
                  <a:pt x="370" y="164"/>
                  <a:pt x="370" y="163"/>
                </a:cubicBezTo>
                <a:cubicBezTo>
                  <a:pt x="370" y="163"/>
                  <a:pt x="369" y="162"/>
                  <a:pt x="369" y="162"/>
                </a:cubicBezTo>
                <a:cubicBezTo>
                  <a:pt x="369" y="162"/>
                  <a:pt x="368" y="161"/>
                  <a:pt x="368" y="161"/>
                </a:cubicBezTo>
                <a:cubicBezTo>
                  <a:pt x="368" y="161"/>
                  <a:pt x="368" y="160"/>
                  <a:pt x="368" y="159"/>
                </a:cubicBezTo>
                <a:cubicBezTo>
                  <a:pt x="368" y="159"/>
                  <a:pt x="368" y="158"/>
                  <a:pt x="368" y="158"/>
                </a:cubicBezTo>
                <a:cubicBezTo>
                  <a:pt x="368" y="157"/>
                  <a:pt x="367" y="157"/>
                  <a:pt x="367" y="157"/>
                </a:cubicBezTo>
                <a:cubicBezTo>
                  <a:pt x="367" y="156"/>
                  <a:pt x="367" y="155"/>
                  <a:pt x="366" y="155"/>
                </a:cubicBezTo>
                <a:cubicBezTo>
                  <a:pt x="366" y="154"/>
                  <a:pt x="366" y="154"/>
                  <a:pt x="366" y="153"/>
                </a:cubicBezTo>
                <a:cubicBezTo>
                  <a:pt x="365" y="152"/>
                  <a:pt x="365" y="152"/>
                  <a:pt x="365" y="151"/>
                </a:cubicBezTo>
                <a:cubicBezTo>
                  <a:pt x="364" y="150"/>
                  <a:pt x="364" y="148"/>
                  <a:pt x="364" y="147"/>
                </a:cubicBezTo>
                <a:cubicBezTo>
                  <a:pt x="363" y="146"/>
                  <a:pt x="363" y="145"/>
                  <a:pt x="362" y="143"/>
                </a:cubicBezTo>
                <a:cubicBezTo>
                  <a:pt x="362" y="143"/>
                  <a:pt x="362" y="140"/>
                  <a:pt x="362" y="140"/>
                </a:cubicBezTo>
                <a:cubicBezTo>
                  <a:pt x="362" y="140"/>
                  <a:pt x="363" y="140"/>
                  <a:pt x="363" y="140"/>
                </a:cubicBezTo>
                <a:cubicBezTo>
                  <a:pt x="364" y="140"/>
                  <a:pt x="364" y="139"/>
                  <a:pt x="364" y="139"/>
                </a:cubicBezTo>
                <a:cubicBezTo>
                  <a:pt x="364" y="140"/>
                  <a:pt x="364" y="138"/>
                  <a:pt x="364" y="138"/>
                </a:cubicBezTo>
                <a:cubicBezTo>
                  <a:pt x="364" y="138"/>
                  <a:pt x="364" y="137"/>
                  <a:pt x="364" y="137"/>
                </a:cubicBezTo>
                <a:cubicBezTo>
                  <a:pt x="364" y="137"/>
                  <a:pt x="364" y="136"/>
                  <a:pt x="364" y="136"/>
                </a:cubicBezTo>
                <a:cubicBezTo>
                  <a:pt x="364" y="136"/>
                  <a:pt x="365" y="136"/>
                  <a:pt x="365" y="136"/>
                </a:cubicBezTo>
                <a:cubicBezTo>
                  <a:pt x="365" y="135"/>
                  <a:pt x="364" y="135"/>
                  <a:pt x="364" y="134"/>
                </a:cubicBezTo>
                <a:cubicBezTo>
                  <a:pt x="364" y="134"/>
                  <a:pt x="364" y="133"/>
                  <a:pt x="364" y="132"/>
                </a:cubicBezTo>
                <a:cubicBezTo>
                  <a:pt x="363" y="132"/>
                  <a:pt x="363" y="131"/>
                  <a:pt x="363" y="130"/>
                </a:cubicBezTo>
                <a:cubicBezTo>
                  <a:pt x="363" y="129"/>
                  <a:pt x="362" y="129"/>
                  <a:pt x="361" y="128"/>
                </a:cubicBezTo>
                <a:cubicBezTo>
                  <a:pt x="361" y="128"/>
                  <a:pt x="361" y="127"/>
                  <a:pt x="361" y="126"/>
                </a:cubicBezTo>
                <a:cubicBezTo>
                  <a:pt x="360" y="124"/>
                  <a:pt x="361" y="125"/>
                  <a:pt x="361" y="124"/>
                </a:cubicBezTo>
                <a:cubicBezTo>
                  <a:pt x="361" y="123"/>
                  <a:pt x="362" y="123"/>
                  <a:pt x="362" y="122"/>
                </a:cubicBezTo>
                <a:cubicBezTo>
                  <a:pt x="362" y="122"/>
                  <a:pt x="361" y="121"/>
                  <a:pt x="362" y="121"/>
                </a:cubicBezTo>
                <a:cubicBezTo>
                  <a:pt x="362" y="121"/>
                  <a:pt x="362" y="121"/>
                  <a:pt x="362" y="120"/>
                </a:cubicBezTo>
                <a:cubicBezTo>
                  <a:pt x="362" y="120"/>
                  <a:pt x="362" y="120"/>
                  <a:pt x="362" y="120"/>
                </a:cubicBezTo>
                <a:cubicBezTo>
                  <a:pt x="362" y="119"/>
                  <a:pt x="362" y="118"/>
                  <a:pt x="362" y="118"/>
                </a:cubicBezTo>
                <a:cubicBezTo>
                  <a:pt x="362" y="116"/>
                  <a:pt x="362" y="115"/>
                  <a:pt x="362" y="114"/>
                </a:cubicBezTo>
                <a:cubicBezTo>
                  <a:pt x="362" y="114"/>
                  <a:pt x="362" y="112"/>
                  <a:pt x="362" y="111"/>
                </a:cubicBezTo>
                <a:cubicBezTo>
                  <a:pt x="362" y="111"/>
                  <a:pt x="363" y="111"/>
                  <a:pt x="363" y="111"/>
                </a:cubicBezTo>
                <a:cubicBezTo>
                  <a:pt x="363" y="111"/>
                  <a:pt x="363" y="110"/>
                  <a:pt x="363" y="110"/>
                </a:cubicBezTo>
                <a:cubicBezTo>
                  <a:pt x="363" y="109"/>
                  <a:pt x="362" y="109"/>
                  <a:pt x="362" y="108"/>
                </a:cubicBezTo>
                <a:cubicBezTo>
                  <a:pt x="362" y="108"/>
                  <a:pt x="362" y="107"/>
                  <a:pt x="362" y="107"/>
                </a:cubicBezTo>
                <a:cubicBezTo>
                  <a:pt x="362" y="106"/>
                  <a:pt x="362" y="106"/>
                  <a:pt x="362" y="105"/>
                </a:cubicBezTo>
                <a:cubicBezTo>
                  <a:pt x="362" y="106"/>
                  <a:pt x="362" y="105"/>
                  <a:pt x="363" y="105"/>
                </a:cubicBezTo>
                <a:cubicBezTo>
                  <a:pt x="363" y="104"/>
                  <a:pt x="362" y="103"/>
                  <a:pt x="363" y="102"/>
                </a:cubicBezTo>
                <a:cubicBezTo>
                  <a:pt x="363" y="100"/>
                  <a:pt x="363" y="99"/>
                  <a:pt x="363" y="98"/>
                </a:cubicBezTo>
                <a:cubicBezTo>
                  <a:pt x="363" y="97"/>
                  <a:pt x="363" y="97"/>
                  <a:pt x="363" y="96"/>
                </a:cubicBezTo>
                <a:cubicBezTo>
                  <a:pt x="363" y="96"/>
                  <a:pt x="363" y="96"/>
                  <a:pt x="363" y="96"/>
                </a:cubicBezTo>
                <a:cubicBezTo>
                  <a:pt x="363" y="95"/>
                  <a:pt x="363" y="94"/>
                  <a:pt x="363" y="93"/>
                </a:cubicBezTo>
                <a:cubicBezTo>
                  <a:pt x="362" y="92"/>
                  <a:pt x="362" y="92"/>
                  <a:pt x="362" y="91"/>
                </a:cubicBezTo>
                <a:cubicBezTo>
                  <a:pt x="361" y="91"/>
                  <a:pt x="361" y="90"/>
                  <a:pt x="362" y="90"/>
                </a:cubicBezTo>
                <a:cubicBezTo>
                  <a:pt x="362" y="89"/>
                  <a:pt x="362" y="89"/>
                  <a:pt x="362" y="88"/>
                </a:cubicBezTo>
                <a:cubicBezTo>
                  <a:pt x="362" y="87"/>
                  <a:pt x="362" y="88"/>
                  <a:pt x="362" y="87"/>
                </a:cubicBezTo>
                <a:cubicBezTo>
                  <a:pt x="363" y="87"/>
                  <a:pt x="363" y="86"/>
                  <a:pt x="363" y="86"/>
                </a:cubicBezTo>
                <a:cubicBezTo>
                  <a:pt x="363" y="86"/>
                  <a:pt x="363" y="86"/>
                  <a:pt x="363" y="86"/>
                </a:cubicBezTo>
                <a:cubicBezTo>
                  <a:pt x="363" y="85"/>
                  <a:pt x="363" y="84"/>
                  <a:pt x="363" y="84"/>
                </a:cubicBezTo>
                <a:cubicBezTo>
                  <a:pt x="362" y="83"/>
                  <a:pt x="362" y="83"/>
                  <a:pt x="362" y="82"/>
                </a:cubicBezTo>
                <a:cubicBezTo>
                  <a:pt x="362" y="82"/>
                  <a:pt x="362" y="81"/>
                  <a:pt x="362" y="81"/>
                </a:cubicBezTo>
                <a:cubicBezTo>
                  <a:pt x="361" y="80"/>
                  <a:pt x="361" y="80"/>
                  <a:pt x="361" y="79"/>
                </a:cubicBezTo>
                <a:cubicBezTo>
                  <a:pt x="361" y="79"/>
                  <a:pt x="361" y="78"/>
                  <a:pt x="361" y="77"/>
                </a:cubicBezTo>
                <a:cubicBezTo>
                  <a:pt x="360" y="77"/>
                  <a:pt x="361" y="76"/>
                  <a:pt x="361" y="76"/>
                </a:cubicBezTo>
                <a:cubicBezTo>
                  <a:pt x="361" y="75"/>
                  <a:pt x="361" y="75"/>
                  <a:pt x="361" y="74"/>
                </a:cubicBezTo>
                <a:cubicBezTo>
                  <a:pt x="361" y="73"/>
                  <a:pt x="360" y="72"/>
                  <a:pt x="360" y="70"/>
                </a:cubicBezTo>
                <a:cubicBezTo>
                  <a:pt x="360" y="70"/>
                  <a:pt x="360" y="69"/>
                  <a:pt x="360" y="69"/>
                </a:cubicBezTo>
                <a:cubicBezTo>
                  <a:pt x="360" y="68"/>
                  <a:pt x="361" y="68"/>
                  <a:pt x="361" y="67"/>
                </a:cubicBezTo>
                <a:cubicBezTo>
                  <a:pt x="361" y="67"/>
                  <a:pt x="361" y="66"/>
                  <a:pt x="360" y="65"/>
                </a:cubicBezTo>
                <a:cubicBezTo>
                  <a:pt x="360" y="65"/>
                  <a:pt x="360" y="65"/>
                  <a:pt x="360" y="65"/>
                </a:cubicBezTo>
                <a:cubicBezTo>
                  <a:pt x="359" y="66"/>
                  <a:pt x="359" y="65"/>
                  <a:pt x="359" y="65"/>
                </a:cubicBezTo>
                <a:cubicBezTo>
                  <a:pt x="358" y="65"/>
                  <a:pt x="359" y="65"/>
                  <a:pt x="359" y="65"/>
                </a:cubicBezTo>
                <a:cubicBezTo>
                  <a:pt x="359" y="64"/>
                  <a:pt x="359" y="64"/>
                  <a:pt x="358" y="63"/>
                </a:cubicBezTo>
                <a:cubicBezTo>
                  <a:pt x="358" y="63"/>
                  <a:pt x="359" y="62"/>
                  <a:pt x="359" y="62"/>
                </a:cubicBezTo>
                <a:cubicBezTo>
                  <a:pt x="359" y="61"/>
                  <a:pt x="358" y="61"/>
                  <a:pt x="359" y="61"/>
                </a:cubicBezTo>
                <a:cubicBezTo>
                  <a:pt x="359" y="60"/>
                  <a:pt x="359" y="61"/>
                  <a:pt x="360" y="61"/>
                </a:cubicBezTo>
                <a:cubicBezTo>
                  <a:pt x="361" y="60"/>
                  <a:pt x="361" y="59"/>
                  <a:pt x="361" y="58"/>
                </a:cubicBezTo>
                <a:cubicBezTo>
                  <a:pt x="360" y="58"/>
                  <a:pt x="361" y="57"/>
                  <a:pt x="361" y="57"/>
                </a:cubicBezTo>
                <a:cubicBezTo>
                  <a:pt x="361" y="56"/>
                  <a:pt x="361" y="55"/>
                  <a:pt x="361" y="54"/>
                </a:cubicBezTo>
                <a:cubicBezTo>
                  <a:pt x="360" y="53"/>
                  <a:pt x="360" y="52"/>
                  <a:pt x="360" y="51"/>
                </a:cubicBezTo>
                <a:cubicBezTo>
                  <a:pt x="360" y="50"/>
                  <a:pt x="361" y="49"/>
                  <a:pt x="361" y="49"/>
                </a:cubicBezTo>
                <a:cubicBezTo>
                  <a:pt x="361" y="48"/>
                  <a:pt x="360" y="48"/>
                  <a:pt x="361" y="47"/>
                </a:cubicBezTo>
                <a:cubicBezTo>
                  <a:pt x="361" y="47"/>
                  <a:pt x="360" y="46"/>
                  <a:pt x="361" y="45"/>
                </a:cubicBezTo>
                <a:cubicBezTo>
                  <a:pt x="361" y="44"/>
                  <a:pt x="361" y="44"/>
                  <a:pt x="361" y="44"/>
                </a:cubicBezTo>
                <a:cubicBezTo>
                  <a:pt x="361" y="43"/>
                  <a:pt x="361" y="43"/>
                  <a:pt x="361" y="43"/>
                </a:cubicBezTo>
                <a:cubicBezTo>
                  <a:pt x="361" y="42"/>
                  <a:pt x="361" y="41"/>
                  <a:pt x="360" y="40"/>
                </a:cubicBezTo>
                <a:cubicBezTo>
                  <a:pt x="360" y="39"/>
                  <a:pt x="360" y="39"/>
                  <a:pt x="360" y="38"/>
                </a:cubicBezTo>
                <a:cubicBezTo>
                  <a:pt x="359" y="38"/>
                  <a:pt x="360" y="38"/>
                  <a:pt x="360" y="37"/>
                </a:cubicBezTo>
                <a:cubicBezTo>
                  <a:pt x="359" y="37"/>
                  <a:pt x="359" y="36"/>
                  <a:pt x="359" y="36"/>
                </a:cubicBezTo>
                <a:cubicBezTo>
                  <a:pt x="359" y="36"/>
                  <a:pt x="359" y="35"/>
                  <a:pt x="359" y="34"/>
                </a:cubicBezTo>
                <a:cubicBezTo>
                  <a:pt x="359" y="34"/>
                  <a:pt x="359" y="34"/>
                  <a:pt x="358" y="33"/>
                </a:cubicBezTo>
                <a:cubicBezTo>
                  <a:pt x="358" y="33"/>
                  <a:pt x="359" y="32"/>
                  <a:pt x="359" y="32"/>
                </a:cubicBezTo>
                <a:cubicBezTo>
                  <a:pt x="358" y="31"/>
                  <a:pt x="358" y="31"/>
                  <a:pt x="359" y="31"/>
                </a:cubicBezTo>
                <a:cubicBezTo>
                  <a:pt x="359" y="30"/>
                  <a:pt x="359" y="30"/>
                  <a:pt x="358" y="29"/>
                </a:cubicBezTo>
                <a:cubicBezTo>
                  <a:pt x="358" y="29"/>
                  <a:pt x="358" y="28"/>
                  <a:pt x="358" y="28"/>
                </a:cubicBezTo>
                <a:cubicBezTo>
                  <a:pt x="358" y="27"/>
                  <a:pt x="358" y="26"/>
                  <a:pt x="358" y="26"/>
                </a:cubicBezTo>
                <a:cubicBezTo>
                  <a:pt x="358" y="24"/>
                  <a:pt x="358" y="23"/>
                  <a:pt x="357" y="23"/>
                </a:cubicBezTo>
                <a:cubicBezTo>
                  <a:pt x="358" y="22"/>
                  <a:pt x="357" y="21"/>
                  <a:pt x="357" y="20"/>
                </a:cubicBezTo>
                <a:cubicBezTo>
                  <a:pt x="356" y="19"/>
                  <a:pt x="356" y="18"/>
                  <a:pt x="356" y="17"/>
                </a:cubicBezTo>
                <a:cubicBezTo>
                  <a:pt x="355" y="16"/>
                  <a:pt x="355" y="15"/>
                  <a:pt x="355" y="15"/>
                </a:cubicBezTo>
                <a:cubicBezTo>
                  <a:pt x="355" y="14"/>
                  <a:pt x="355" y="14"/>
                  <a:pt x="355" y="14"/>
                </a:cubicBezTo>
                <a:cubicBezTo>
                  <a:pt x="355" y="13"/>
                  <a:pt x="355" y="13"/>
                  <a:pt x="355" y="12"/>
                </a:cubicBezTo>
                <a:cubicBezTo>
                  <a:pt x="355" y="11"/>
                  <a:pt x="355" y="10"/>
                  <a:pt x="354" y="9"/>
                </a:cubicBezTo>
                <a:cubicBezTo>
                  <a:pt x="354" y="8"/>
                  <a:pt x="356" y="9"/>
                  <a:pt x="357" y="8"/>
                </a:cubicBezTo>
                <a:cubicBezTo>
                  <a:pt x="358" y="8"/>
                  <a:pt x="359" y="7"/>
                  <a:pt x="359" y="5"/>
                </a:cubicBezTo>
                <a:cubicBezTo>
                  <a:pt x="359" y="5"/>
                  <a:pt x="359" y="4"/>
                  <a:pt x="359" y="3"/>
                </a:cubicBezTo>
                <a:cubicBezTo>
                  <a:pt x="359" y="3"/>
                  <a:pt x="358" y="2"/>
                  <a:pt x="358" y="2"/>
                </a:cubicBezTo>
                <a:cubicBezTo>
                  <a:pt x="358" y="1"/>
                  <a:pt x="359" y="1"/>
                  <a:pt x="360" y="1"/>
                </a:cubicBezTo>
                <a:cubicBezTo>
                  <a:pt x="360" y="1"/>
                  <a:pt x="361" y="0"/>
                  <a:pt x="361" y="0"/>
                </a:cubicBezTo>
                <a:cubicBezTo>
                  <a:pt x="362" y="1"/>
                  <a:pt x="362" y="1"/>
                  <a:pt x="363" y="2"/>
                </a:cubicBezTo>
                <a:cubicBezTo>
                  <a:pt x="363" y="2"/>
                  <a:pt x="363" y="3"/>
                  <a:pt x="363" y="3"/>
                </a:cubicBezTo>
                <a:cubicBezTo>
                  <a:pt x="364" y="4"/>
                  <a:pt x="363" y="4"/>
                  <a:pt x="364" y="5"/>
                </a:cubicBezTo>
                <a:cubicBezTo>
                  <a:pt x="364" y="5"/>
                  <a:pt x="364" y="5"/>
                  <a:pt x="364" y="5"/>
                </a:cubicBezTo>
                <a:cubicBezTo>
                  <a:pt x="364" y="5"/>
                  <a:pt x="365" y="5"/>
                  <a:pt x="365" y="5"/>
                </a:cubicBezTo>
                <a:cubicBezTo>
                  <a:pt x="365" y="5"/>
                  <a:pt x="366" y="5"/>
                  <a:pt x="366" y="6"/>
                </a:cubicBezTo>
                <a:cubicBezTo>
                  <a:pt x="366" y="6"/>
                  <a:pt x="365" y="6"/>
                  <a:pt x="366" y="7"/>
                </a:cubicBezTo>
                <a:cubicBezTo>
                  <a:pt x="366" y="8"/>
                  <a:pt x="366" y="9"/>
                  <a:pt x="367" y="9"/>
                </a:cubicBezTo>
                <a:cubicBezTo>
                  <a:pt x="367" y="11"/>
                  <a:pt x="367" y="12"/>
                  <a:pt x="368" y="14"/>
                </a:cubicBezTo>
                <a:cubicBezTo>
                  <a:pt x="368" y="14"/>
                  <a:pt x="368" y="15"/>
                  <a:pt x="368" y="15"/>
                </a:cubicBezTo>
                <a:cubicBezTo>
                  <a:pt x="368" y="16"/>
                  <a:pt x="369" y="17"/>
                  <a:pt x="369" y="17"/>
                </a:cubicBezTo>
                <a:cubicBezTo>
                  <a:pt x="370" y="17"/>
                  <a:pt x="370" y="18"/>
                  <a:pt x="371" y="18"/>
                </a:cubicBezTo>
                <a:cubicBezTo>
                  <a:pt x="372" y="19"/>
                  <a:pt x="372" y="19"/>
                  <a:pt x="372" y="20"/>
                </a:cubicBezTo>
                <a:cubicBezTo>
                  <a:pt x="373" y="20"/>
                  <a:pt x="374" y="20"/>
                  <a:pt x="374" y="21"/>
                </a:cubicBezTo>
                <a:cubicBezTo>
                  <a:pt x="374" y="21"/>
                  <a:pt x="373" y="22"/>
                  <a:pt x="373" y="22"/>
                </a:cubicBezTo>
                <a:cubicBezTo>
                  <a:pt x="372" y="23"/>
                  <a:pt x="372" y="24"/>
                  <a:pt x="372" y="24"/>
                </a:cubicBezTo>
                <a:cubicBezTo>
                  <a:pt x="372" y="25"/>
                  <a:pt x="373" y="25"/>
                  <a:pt x="373" y="25"/>
                </a:cubicBezTo>
                <a:cubicBezTo>
                  <a:pt x="374" y="26"/>
                  <a:pt x="373" y="26"/>
                  <a:pt x="373" y="27"/>
                </a:cubicBezTo>
                <a:cubicBezTo>
                  <a:pt x="373" y="28"/>
                  <a:pt x="373" y="28"/>
                  <a:pt x="372" y="28"/>
                </a:cubicBezTo>
                <a:cubicBezTo>
                  <a:pt x="372" y="28"/>
                  <a:pt x="371" y="28"/>
                  <a:pt x="371" y="28"/>
                </a:cubicBezTo>
                <a:cubicBezTo>
                  <a:pt x="372" y="29"/>
                  <a:pt x="372" y="28"/>
                  <a:pt x="372" y="29"/>
                </a:cubicBezTo>
                <a:cubicBezTo>
                  <a:pt x="372" y="29"/>
                  <a:pt x="373" y="31"/>
                  <a:pt x="373" y="31"/>
                </a:cubicBezTo>
                <a:cubicBezTo>
                  <a:pt x="372" y="31"/>
                  <a:pt x="372" y="32"/>
                  <a:pt x="373" y="33"/>
                </a:cubicBezTo>
                <a:cubicBezTo>
                  <a:pt x="373" y="33"/>
                  <a:pt x="376" y="34"/>
                  <a:pt x="375" y="35"/>
                </a:cubicBezTo>
                <a:cubicBezTo>
                  <a:pt x="374" y="35"/>
                  <a:pt x="374" y="36"/>
                  <a:pt x="374" y="36"/>
                </a:cubicBezTo>
                <a:cubicBezTo>
                  <a:pt x="375" y="37"/>
                  <a:pt x="375" y="37"/>
                  <a:pt x="376" y="37"/>
                </a:cubicBezTo>
                <a:cubicBezTo>
                  <a:pt x="376" y="37"/>
                  <a:pt x="377" y="38"/>
                  <a:pt x="377" y="39"/>
                </a:cubicBezTo>
                <a:cubicBezTo>
                  <a:pt x="377" y="39"/>
                  <a:pt x="378" y="40"/>
                  <a:pt x="378" y="41"/>
                </a:cubicBezTo>
                <a:cubicBezTo>
                  <a:pt x="378" y="41"/>
                  <a:pt x="379" y="42"/>
                  <a:pt x="379" y="42"/>
                </a:cubicBezTo>
                <a:cubicBezTo>
                  <a:pt x="379" y="43"/>
                  <a:pt x="379" y="44"/>
                  <a:pt x="380" y="45"/>
                </a:cubicBezTo>
                <a:cubicBezTo>
                  <a:pt x="380" y="47"/>
                  <a:pt x="380" y="48"/>
                  <a:pt x="381" y="49"/>
                </a:cubicBezTo>
                <a:cubicBezTo>
                  <a:pt x="382" y="50"/>
                  <a:pt x="382" y="50"/>
                  <a:pt x="382" y="51"/>
                </a:cubicBezTo>
                <a:cubicBezTo>
                  <a:pt x="382" y="52"/>
                  <a:pt x="382" y="52"/>
                  <a:pt x="382" y="53"/>
                </a:cubicBezTo>
                <a:cubicBezTo>
                  <a:pt x="383" y="54"/>
                  <a:pt x="383" y="54"/>
                  <a:pt x="383" y="55"/>
                </a:cubicBezTo>
                <a:cubicBezTo>
                  <a:pt x="384" y="55"/>
                  <a:pt x="383" y="56"/>
                  <a:pt x="383" y="57"/>
                </a:cubicBezTo>
                <a:cubicBezTo>
                  <a:pt x="383" y="58"/>
                  <a:pt x="385" y="59"/>
                  <a:pt x="386" y="59"/>
                </a:cubicBezTo>
                <a:cubicBezTo>
                  <a:pt x="387" y="59"/>
                  <a:pt x="388" y="58"/>
                  <a:pt x="389" y="58"/>
                </a:cubicBezTo>
                <a:cubicBezTo>
                  <a:pt x="389" y="58"/>
                  <a:pt x="390" y="58"/>
                  <a:pt x="390" y="58"/>
                </a:cubicBezTo>
                <a:cubicBezTo>
                  <a:pt x="391" y="58"/>
                  <a:pt x="392" y="60"/>
                  <a:pt x="392" y="60"/>
                </a:cubicBezTo>
                <a:cubicBezTo>
                  <a:pt x="392" y="61"/>
                  <a:pt x="392" y="62"/>
                  <a:pt x="392" y="63"/>
                </a:cubicBezTo>
                <a:cubicBezTo>
                  <a:pt x="391" y="64"/>
                  <a:pt x="391" y="65"/>
                  <a:pt x="391" y="66"/>
                </a:cubicBezTo>
                <a:cubicBezTo>
                  <a:pt x="391" y="66"/>
                  <a:pt x="391" y="67"/>
                  <a:pt x="391" y="68"/>
                </a:cubicBezTo>
                <a:cubicBezTo>
                  <a:pt x="391" y="69"/>
                  <a:pt x="391" y="70"/>
                  <a:pt x="390" y="71"/>
                </a:cubicBezTo>
                <a:cubicBezTo>
                  <a:pt x="390" y="71"/>
                  <a:pt x="390" y="72"/>
                  <a:pt x="389" y="72"/>
                </a:cubicBezTo>
                <a:cubicBezTo>
                  <a:pt x="388" y="72"/>
                  <a:pt x="388" y="73"/>
                  <a:pt x="387" y="73"/>
                </a:cubicBezTo>
                <a:cubicBezTo>
                  <a:pt x="386" y="73"/>
                  <a:pt x="385" y="74"/>
                  <a:pt x="385" y="74"/>
                </a:cubicBezTo>
                <a:cubicBezTo>
                  <a:pt x="384" y="75"/>
                  <a:pt x="383" y="75"/>
                  <a:pt x="382" y="75"/>
                </a:cubicBezTo>
                <a:cubicBezTo>
                  <a:pt x="382" y="76"/>
                  <a:pt x="382" y="76"/>
                  <a:pt x="382" y="76"/>
                </a:cubicBezTo>
                <a:cubicBezTo>
                  <a:pt x="381" y="76"/>
                  <a:pt x="381" y="77"/>
                  <a:pt x="381" y="77"/>
                </a:cubicBezTo>
                <a:cubicBezTo>
                  <a:pt x="381" y="78"/>
                  <a:pt x="381" y="77"/>
                  <a:pt x="380" y="78"/>
                </a:cubicBezTo>
                <a:cubicBezTo>
                  <a:pt x="380" y="78"/>
                  <a:pt x="380" y="79"/>
                  <a:pt x="380" y="80"/>
                </a:cubicBezTo>
                <a:cubicBezTo>
                  <a:pt x="380" y="80"/>
                  <a:pt x="380" y="81"/>
                  <a:pt x="381" y="81"/>
                </a:cubicBezTo>
                <a:cubicBezTo>
                  <a:pt x="381" y="81"/>
                  <a:pt x="382" y="82"/>
                  <a:pt x="382" y="82"/>
                </a:cubicBezTo>
                <a:cubicBezTo>
                  <a:pt x="382" y="82"/>
                  <a:pt x="383" y="83"/>
                  <a:pt x="382" y="83"/>
                </a:cubicBezTo>
                <a:cubicBezTo>
                  <a:pt x="382" y="84"/>
                  <a:pt x="382" y="84"/>
                  <a:pt x="381" y="84"/>
                </a:cubicBezTo>
                <a:cubicBezTo>
                  <a:pt x="381" y="85"/>
                  <a:pt x="381" y="86"/>
                  <a:pt x="381" y="87"/>
                </a:cubicBezTo>
                <a:cubicBezTo>
                  <a:pt x="381" y="88"/>
                  <a:pt x="381" y="88"/>
                  <a:pt x="381" y="88"/>
                </a:cubicBezTo>
                <a:cubicBezTo>
                  <a:pt x="382" y="89"/>
                  <a:pt x="382" y="90"/>
                  <a:pt x="383" y="91"/>
                </a:cubicBezTo>
                <a:cubicBezTo>
                  <a:pt x="383" y="91"/>
                  <a:pt x="383" y="92"/>
                  <a:pt x="383" y="93"/>
                </a:cubicBezTo>
                <a:cubicBezTo>
                  <a:pt x="383" y="93"/>
                  <a:pt x="384" y="94"/>
                  <a:pt x="384" y="95"/>
                </a:cubicBezTo>
                <a:cubicBezTo>
                  <a:pt x="384" y="95"/>
                  <a:pt x="383" y="96"/>
                  <a:pt x="383" y="96"/>
                </a:cubicBezTo>
                <a:cubicBezTo>
                  <a:pt x="382" y="97"/>
                  <a:pt x="383" y="98"/>
                  <a:pt x="383" y="99"/>
                </a:cubicBezTo>
                <a:cubicBezTo>
                  <a:pt x="383" y="99"/>
                  <a:pt x="383" y="100"/>
                  <a:pt x="384" y="100"/>
                </a:cubicBezTo>
                <a:cubicBezTo>
                  <a:pt x="384" y="101"/>
                  <a:pt x="385" y="101"/>
                  <a:pt x="385" y="102"/>
                </a:cubicBezTo>
                <a:cubicBezTo>
                  <a:pt x="386" y="102"/>
                  <a:pt x="386" y="103"/>
                  <a:pt x="386" y="103"/>
                </a:cubicBezTo>
                <a:cubicBezTo>
                  <a:pt x="386" y="103"/>
                  <a:pt x="386" y="104"/>
                  <a:pt x="386" y="104"/>
                </a:cubicBezTo>
                <a:cubicBezTo>
                  <a:pt x="386" y="105"/>
                  <a:pt x="385" y="105"/>
                  <a:pt x="385" y="105"/>
                </a:cubicBezTo>
                <a:cubicBezTo>
                  <a:pt x="384" y="105"/>
                  <a:pt x="384" y="105"/>
                  <a:pt x="384" y="106"/>
                </a:cubicBezTo>
                <a:cubicBezTo>
                  <a:pt x="384" y="106"/>
                  <a:pt x="383" y="105"/>
                  <a:pt x="382" y="105"/>
                </a:cubicBezTo>
                <a:cubicBezTo>
                  <a:pt x="381" y="105"/>
                  <a:pt x="382" y="106"/>
                  <a:pt x="382" y="107"/>
                </a:cubicBezTo>
                <a:cubicBezTo>
                  <a:pt x="382" y="108"/>
                  <a:pt x="381" y="108"/>
                  <a:pt x="381" y="109"/>
                </a:cubicBezTo>
                <a:cubicBezTo>
                  <a:pt x="380" y="109"/>
                  <a:pt x="381" y="110"/>
                  <a:pt x="381" y="111"/>
                </a:cubicBezTo>
                <a:cubicBezTo>
                  <a:pt x="380" y="111"/>
                  <a:pt x="380" y="112"/>
                  <a:pt x="380" y="112"/>
                </a:cubicBezTo>
                <a:cubicBezTo>
                  <a:pt x="380" y="113"/>
                  <a:pt x="380" y="114"/>
                  <a:pt x="380" y="114"/>
                </a:cubicBezTo>
                <a:cubicBezTo>
                  <a:pt x="380" y="115"/>
                  <a:pt x="379" y="115"/>
                  <a:pt x="379" y="115"/>
                </a:cubicBezTo>
                <a:cubicBezTo>
                  <a:pt x="379" y="116"/>
                  <a:pt x="379" y="116"/>
                  <a:pt x="379" y="117"/>
                </a:cubicBezTo>
                <a:cubicBezTo>
                  <a:pt x="378" y="117"/>
                  <a:pt x="378" y="117"/>
                  <a:pt x="378" y="117"/>
                </a:cubicBezTo>
                <a:cubicBezTo>
                  <a:pt x="378" y="117"/>
                  <a:pt x="378" y="118"/>
                  <a:pt x="378" y="118"/>
                </a:cubicBezTo>
                <a:cubicBezTo>
                  <a:pt x="377" y="118"/>
                  <a:pt x="377" y="119"/>
                  <a:pt x="377" y="119"/>
                </a:cubicBezTo>
                <a:cubicBezTo>
                  <a:pt x="376" y="120"/>
                  <a:pt x="377" y="120"/>
                  <a:pt x="377" y="121"/>
                </a:cubicBezTo>
                <a:cubicBezTo>
                  <a:pt x="377" y="121"/>
                  <a:pt x="376" y="122"/>
                  <a:pt x="376" y="122"/>
                </a:cubicBezTo>
                <a:cubicBezTo>
                  <a:pt x="376" y="123"/>
                  <a:pt x="377" y="124"/>
                  <a:pt x="377" y="125"/>
                </a:cubicBezTo>
                <a:cubicBezTo>
                  <a:pt x="376" y="125"/>
                  <a:pt x="377" y="126"/>
                  <a:pt x="377" y="127"/>
                </a:cubicBezTo>
                <a:cubicBezTo>
                  <a:pt x="377" y="127"/>
                  <a:pt x="376" y="127"/>
                  <a:pt x="376" y="127"/>
                </a:cubicBezTo>
                <a:cubicBezTo>
                  <a:pt x="376" y="128"/>
                  <a:pt x="375" y="128"/>
                  <a:pt x="375" y="128"/>
                </a:cubicBezTo>
                <a:cubicBezTo>
                  <a:pt x="375" y="128"/>
                  <a:pt x="376" y="129"/>
                  <a:pt x="375" y="129"/>
                </a:cubicBezTo>
                <a:cubicBezTo>
                  <a:pt x="375" y="129"/>
                  <a:pt x="375" y="129"/>
                  <a:pt x="375" y="129"/>
                </a:cubicBezTo>
                <a:cubicBezTo>
                  <a:pt x="375" y="130"/>
                  <a:pt x="376" y="131"/>
                  <a:pt x="376" y="131"/>
                </a:cubicBezTo>
                <a:cubicBezTo>
                  <a:pt x="376" y="132"/>
                  <a:pt x="376" y="133"/>
                  <a:pt x="377" y="133"/>
                </a:cubicBezTo>
                <a:cubicBezTo>
                  <a:pt x="377" y="134"/>
                  <a:pt x="377" y="135"/>
                  <a:pt x="377" y="135"/>
                </a:cubicBezTo>
                <a:cubicBezTo>
                  <a:pt x="378" y="136"/>
                  <a:pt x="378" y="137"/>
                  <a:pt x="377" y="138"/>
                </a:cubicBezTo>
                <a:cubicBezTo>
                  <a:pt x="377" y="138"/>
                  <a:pt x="378" y="138"/>
                  <a:pt x="379" y="138"/>
                </a:cubicBezTo>
                <a:cubicBezTo>
                  <a:pt x="379" y="139"/>
                  <a:pt x="379" y="139"/>
                  <a:pt x="379" y="140"/>
                </a:cubicBezTo>
                <a:cubicBezTo>
                  <a:pt x="379" y="140"/>
                  <a:pt x="379" y="141"/>
                  <a:pt x="378" y="141"/>
                </a:cubicBezTo>
                <a:cubicBezTo>
                  <a:pt x="378" y="141"/>
                  <a:pt x="376" y="141"/>
                  <a:pt x="376" y="141"/>
                </a:cubicBezTo>
                <a:cubicBezTo>
                  <a:pt x="377" y="142"/>
                  <a:pt x="377" y="142"/>
                  <a:pt x="376" y="142"/>
                </a:cubicBezTo>
                <a:cubicBezTo>
                  <a:pt x="376" y="143"/>
                  <a:pt x="376" y="143"/>
                  <a:pt x="376" y="144"/>
                </a:cubicBezTo>
                <a:cubicBezTo>
                  <a:pt x="376" y="144"/>
                  <a:pt x="376" y="145"/>
                  <a:pt x="376" y="145"/>
                </a:cubicBezTo>
                <a:cubicBezTo>
                  <a:pt x="376" y="146"/>
                  <a:pt x="376" y="146"/>
                  <a:pt x="376" y="147"/>
                </a:cubicBezTo>
                <a:cubicBezTo>
                  <a:pt x="376" y="147"/>
                  <a:pt x="377" y="148"/>
                  <a:pt x="377" y="148"/>
                </a:cubicBezTo>
                <a:cubicBezTo>
                  <a:pt x="376" y="148"/>
                  <a:pt x="376" y="149"/>
                  <a:pt x="376" y="149"/>
                </a:cubicBezTo>
                <a:cubicBezTo>
                  <a:pt x="376" y="149"/>
                  <a:pt x="376" y="150"/>
                  <a:pt x="376" y="150"/>
                </a:cubicBezTo>
                <a:cubicBezTo>
                  <a:pt x="376" y="150"/>
                  <a:pt x="376" y="149"/>
                  <a:pt x="375" y="149"/>
                </a:cubicBezTo>
                <a:cubicBezTo>
                  <a:pt x="375" y="149"/>
                  <a:pt x="375" y="150"/>
                  <a:pt x="375" y="152"/>
                </a:cubicBezTo>
                <a:cubicBezTo>
                  <a:pt x="375" y="153"/>
                  <a:pt x="375" y="154"/>
                  <a:pt x="375" y="154"/>
                </a:cubicBezTo>
                <a:cubicBezTo>
                  <a:pt x="376" y="155"/>
                  <a:pt x="376" y="155"/>
                  <a:pt x="377" y="156"/>
                </a:cubicBezTo>
                <a:cubicBezTo>
                  <a:pt x="377" y="156"/>
                  <a:pt x="377" y="158"/>
                  <a:pt x="378" y="158"/>
                </a:cubicBezTo>
                <a:cubicBezTo>
                  <a:pt x="379" y="158"/>
                  <a:pt x="380" y="158"/>
                  <a:pt x="380" y="159"/>
                </a:cubicBezTo>
                <a:cubicBezTo>
                  <a:pt x="379" y="160"/>
                  <a:pt x="379" y="159"/>
                  <a:pt x="379" y="159"/>
                </a:cubicBezTo>
                <a:cubicBezTo>
                  <a:pt x="378" y="159"/>
                  <a:pt x="379" y="160"/>
                  <a:pt x="379" y="161"/>
                </a:cubicBezTo>
                <a:cubicBezTo>
                  <a:pt x="379" y="161"/>
                  <a:pt x="380" y="162"/>
                  <a:pt x="380" y="162"/>
                </a:cubicBezTo>
                <a:cubicBezTo>
                  <a:pt x="381" y="163"/>
                  <a:pt x="381" y="163"/>
                  <a:pt x="381" y="163"/>
                </a:cubicBezTo>
                <a:cubicBezTo>
                  <a:pt x="381" y="164"/>
                  <a:pt x="382" y="164"/>
                  <a:pt x="382" y="165"/>
                </a:cubicBezTo>
                <a:cubicBezTo>
                  <a:pt x="382" y="165"/>
                  <a:pt x="382" y="165"/>
                  <a:pt x="382" y="165"/>
                </a:cubicBezTo>
                <a:cubicBezTo>
                  <a:pt x="382" y="165"/>
                  <a:pt x="382" y="165"/>
                  <a:pt x="382" y="166"/>
                </a:cubicBezTo>
                <a:cubicBezTo>
                  <a:pt x="382" y="166"/>
                  <a:pt x="382" y="167"/>
                  <a:pt x="383" y="168"/>
                </a:cubicBezTo>
                <a:cubicBezTo>
                  <a:pt x="383" y="168"/>
                  <a:pt x="384" y="168"/>
                  <a:pt x="384" y="169"/>
                </a:cubicBezTo>
                <a:cubicBezTo>
                  <a:pt x="384" y="169"/>
                  <a:pt x="384" y="169"/>
                  <a:pt x="384" y="170"/>
                </a:cubicBezTo>
                <a:cubicBezTo>
                  <a:pt x="384" y="170"/>
                  <a:pt x="384" y="170"/>
                  <a:pt x="384" y="170"/>
                </a:cubicBezTo>
                <a:cubicBezTo>
                  <a:pt x="384" y="171"/>
                  <a:pt x="384" y="171"/>
                  <a:pt x="384" y="171"/>
                </a:cubicBezTo>
                <a:cubicBezTo>
                  <a:pt x="384" y="171"/>
                  <a:pt x="384" y="171"/>
                  <a:pt x="384" y="172"/>
                </a:cubicBezTo>
                <a:cubicBezTo>
                  <a:pt x="384" y="172"/>
                  <a:pt x="385" y="173"/>
                  <a:pt x="385" y="173"/>
                </a:cubicBezTo>
                <a:cubicBezTo>
                  <a:pt x="386" y="173"/>
                  <a:pt x="386" y="172"/>
                  <a:pt x="386" y="173"/>
                </a:cubicBezTo>
                <a:cubicBezTo>
                  <a:pt x="387" y="173"/>
                  <a:pt x="388" y="173"/>
                  <a:pt x="388" y="174"/>
                </a:cubicBezTo>
                <a:cubicBezTo>
                  <a:pt x="388" y="175"/>
                  <a:pt x="387" y="175"/>
                  <a:pt x="387" y="176"/>
                </a:cubicBezTo>
                <a:cubicBezTo>
                  <a:pt x="387" y="176"/>
                  <a:pt x="387" y="177"/>
                  <a:pt x="388" y="177"/>
                </a:cubicBezTo>
                <a:cubicBezTo>
                  <a:pt x="388" y="177"/>
                  <a:pt x="388" y="178"/>
                  <a:pt x="388" y="178"/>
                </a:cubicBezTo>
                <a:cubicBezTo>
                  <a:pt x="388" y="178"/>
                  <a:pt x="388" y="178"/>
                  <a:pt x="388" y="179"/>
                </a:cubicBezTo>
                <a:cubicBezTo>
                  <a:pt x="388" y="179"/>
                  <a:pt x="388" y="179"/>
                  <a:pt x="388" y="179"/>
                </a:cubicBezTo>
                <a:cubicBezTo>
                  <a:pt x="388" y="179"/>
                  <a:pt x="388" y="180"/>
                  <a:pt x="388" y="180"/>
                </a:cubicBezTo>
                <a:cubicBezTo>
                  <a:pt x="388" y="180"/>
                  <a:pt x="388" y="180"/>
                  <a:pt x="389" y="181"/>
                </a:cubicBezTo>
                <a:cubicBezTo>
                  <a:pt x="389" y="181"/>
                  <a:pt x="389" y="182"/>
                  <a:pt x="389" y="182"/>
                </a:cubicBezTo>
                <a:cubicBezTo>
                  <a:pt x="389" y="183"/>
                  <a:pt x="389" y="183"/>
                  <a:pt x="390" y="183"/>
                </a:cubicBezTo>
                <a:cubicBezTo>
                  <a:pt x="390" y="185"/>
                  <a:pt x="387" y="183"/>
                  <a:pt x="388" y="185"/>
                </a:cubicBezTo>
                <a:cubicBezTo>
                  <a:pt x="388" y="185"/>
                  <a:pt x="388" y="185"/>
                  <a:pt x="388" y="186"/>
                </a:cubicBezTo>
                <a:cubicBezTo>
                  <a:pt x="388" y="186"/>
                  <a:pt x="387" y="187"/>
                  <a:pt x="387" y="187"/>
                </a:cubicBezTo>
                <a:cubicBezTo>
                  <a:pt x="387" y="188"/>
                  <a:pt x="387" y="189"/>
                  <a:pt x="387" y="189"/>
                </a:cubicBezTo>
                <a:cubicBezTo>
                  <a:pt x="387" y="189"/>
                  <a:pt x="387" y="189"/>
                  <a:pt x="387" y="189"/>
                </a:cubicBezTo>
                <a:cubicBezTo>
                  <a:pt x="387" y="189"/>
                  <a:pt x="387" y="190"/>
                  <a:pt x="387" y="190"/>
                </a:cubicBezTo>
                <a:cubicBezTo>
                  <a:pt x="387" y="191"/>
                  <a:pt x="387" y="192"/>
                  <a:pt x="387" y="193"/>
                </a:cubicBezTo>
                <a:cubicBezTo>
                  <a:pt x="387" y="193"/>
                  <a:pt x="388" y="194"/>
                  <a:pt x="387" y="194"/>
                </a:cubicBezTo>
                <a:cubicBezTo>
                  <a:pt x="387" y="194"/>
                  <a:pt x="385" y="195"/>
                  <a:pt x="386" y="195"/>
                </a:cubicBezTo>
                <a:cubicBezTo>
                  <a:pt x="387" y="195"/>
                  <a:pt x="388" y="195"/>
                  <a:pt x="387" y="196"/>
                </a:cubicBezTo>
                <a:cubicBezTo>
                  <a:pt x="387" y="196"/>
                  <a:pt x="388" y="197"/>
                  <a:pt x="388" y="198"/>
                </a:cubicBezTo>
                <a:cubicBezTo>
                  <a:pt x="388" y="199"/>
                  <a:pt x="389" y="199"/>
                  <a:pt x="389" y="200"/>
                </a:cubicBezTo>
                <a:cubicBezTo>
                  <a:pt x="390" y="201"/>
                  <a:pt x="389" y="201"/>
                  <a:pt x="389" y="201"/>
                </a:cubicBezTo>
                <a:cubicBezTo>
                  <a:pt x="389" y="202"/>
                  <a:pt x="390" y="202"/>
                  <a:pt x="390" y="202"/>
                </a:cubicBezTo>
                <a:cubicBezTo>
                  <a:pt x="390" y="202"/>
                  <a:pt x="390" y="203"/>
                  <a:pt x="390" y="203"/>
                </a:cubicBezTo>
                <a:cubicBezTo>
                  <a:pt x="390" y="203"/>
                  <a:pt x="390" y="204"/>
                  <a:pt x="390" y="205"/>
                </a:cubicBezTo>
                <a:cubicBezTo>
                  <a:pt x="389" y="205"/>
                  <a:pt x="389" y="204"/>
                  <a:pt x="389" y="205"/>
                </a:cubicBezTo>
                <a:cubicBezTo>
                  <a:pt x="388" y="205"/>
                  <a:pt x="388" y="206"/>
                  <a:pt x="388" y="207"/>
                </a:cubicBezTo>
                <a:cubicBezTo>
                  <a:pt x="389" y="209"/>
                  <a:pt x="386" y="207"/>
                  <a:pt x="386" y="208"/>
                </a:cubicBezTo>
                <a:cubicBezTo>
                  <a:pt x="387" y="209"/>
                  <a:pt x="386" y="208"/>
                  <a:pt x="385" y="208"/>
                </a:cubicBezTo>
                <a:cubicBezTo>
                  <a:pt x="385" y="209"/>
                  <a:pt x="386" y="210"/>
                  <a:pt x="386" y="211"/>
                </a:cubicBezTo>
                <a:cubicBezTo>
                  <a:pt x="386" y="211"/>
                  <a:pt x="385" y="210"/>
                  <a:pt x="385" y="211"/>
                </a:cubicBezTo>
                <a:cubicBezTo>
                  <a:pt x="385" y="211"/>
                  <a:pt x="385" y="212"/>
                  <a:pt x="385" y="212"/>
                </a:cubicBezTo>
                <a:cubicBezTo>
                  <a:pt x="385" y="212"/>
                  <a:pt x="387" y="214"/>
                  <a:pt x="386" y="214"/>
                </a:cubicBezTo>
                <a:cubicBezTo>
                  <a:pt x="386" y="214"/>
                  <a:pt x="386" y="214"/>
                  <a:pt x="386" y="214"/>
                </a:cubicBezTo>
                <a:cubicBezTo>
                  <a:pt x="386" y="214"/>
                  <a:pt x="386" y="215"/>
                  <a:pt x="387" y="215"/>
                </a:cubicBezTo>
                <a:cubicBezTo>
                  <a:pt x="387" y="215"/>
                  <a:pt x="387" y="215"/>
                  <a:pt x="387" y="216"/>
                </a:cubicBezTo>
                <a:cubicBezTo>
                  <a:pt x="387" y="216"/>
                  <a:pt x="387" y="217"/>
                  <a:pt x="387" y="217"/>
                </a:cubicBezTo>
                <a:cubicBezTo>
                  <a:pt x="387" y="218"/>
                  <a:pt x="388" y="218"/>
                  <a:pt x="388" y="219"/>
                </a:cubicBezTo>
                <a:cubicBezTo>
                  <a:pt x="388" y="219"/>
                  <a:pt x="388" y="220"/>
                  <a:pt x="388" y="220"/>
                </a:cubicBezTo>
                <a:cubicBezTo>
                  <a:pt x="388" y="221"/>
                  <a:pt x="388" y="221"/>
                  <a:pt x="388" y="222"/>
                </a:cubicBezTo>
                <a:cubicBezTo>
                  <a:pt x="389" y="223"/>
                  <a:pt x="389" y="223"/>
                  <a:pt x="390" y="224"/>
                </a:cubicBezTo>
                <a:cubicBezTo>
                  <a:pt x="390" y="224"/>
                  <a:pt x="391" y="225"/>
                  <a:pt x="391" y="226"/>
                </a:cubicBezTo>
                <a:cubicBezTo>
                  <a:pt x="391" y="227"/>
                  <a:pt x="392" y="229"/>
                  <a:pt x="393" y="230"/>
                </a:cubicBezTo>
                <a:cubicBezTo>
                  <a:pt x="393" y="230"/>
                  <a:pt x="394" y="230"/>
                  <a:pt x="394" y="231"/>
                </a:cubicBezTo>
                <a:cubicBezTo>
                  <a:pt x="394" y="231"/>
                  <a:pt x="394" y="232"/>
                  <a:pt x="394" y="232"/>
                </a:cubicBezTo>
                <a:cubicBezTo>
                  <a:pt x="394" y="233"/>
                  <a:pt x="394" y="233"/>
                  <a:pt x="393" y="233"/>
                </a:cubicBezTo>
                <a:cubicBezTo>
                  <a:pt x="393" y="233"/>
                  <a:pt x="392" y="234"/>
                  <a:pt x="392" y="234"/>
                </a:cubicBezTo>
                <a:cubicBezTo>
                  <a:pt x="390" y="235"/>
                  <a:pt x="390" y="236"/>
                  <a:pt x="391" y="237"/>
                </a:cubicBezTo>
                <a:cubicBezTo>
                  <a:pt x="391" y="238"/>
                  <a:pt x="392" y="239"/>
                  <a:pt x="392" y="239"/>
                </a:cubicBezTo>
                <a:cubicBezTo>
                  <a:pt x="392" y="240"/>
                  <a:pt x="392" y="240"/>
                  <a:pt x="392" y="240"/>
                </a:cubicBezTo>
                <a:cubicBezTo>
                  <a:pt x="392" y="241"/>
                  <a:pt x="391" y="242"/>
                  <a:pt x="392" y="242"/>
                </a:cubicBezTo>
                <a:cubicBezTo>
                  <a:pt x="392" y="242"/>
                  <a:pt x="392" y="243"/>
                  <a:pt x="391" y="243"/>
                </a:cubicBezTo>
                <a:cubicBezTo>
                  <a:pt x="391" y="243"/>
                  <a:pt x="391" y="242"/>
                  <a:pt x="390" y="242"/>
                </a:cubicBezTo>
                <a:cubicBezTo>
                  <a:pt x="390" y="242"/>
                  <a:pt x="390" y="243"/>
                  <a:pt x="390" y="243"/>
                </a:cubicBezTo>
                <a:cubicBezTo>
                  <a:pt x="391" y="244"/>
                  <a:pt x="391" y="244"/>
                  <a:pt x="391" y="245"/>
                </a:cubicBezTo>
                <a:cubicBezTo>
                  <a:pt x="391" y="245"/>
                  <a:pt x="392" y="245"/>
                  <a:pt x="392" y="246"/>
                </a:cubicBezTo>
                <a:cubicBezTo>
                  <a:pt x="392" y="246"/>
                  <a:pt x="392" y="246"/>
                  <a:pt x="392" y="247"/>
                </a:cubicBezTo>
                <a:cubicBezTo>
                  <a:pt x="392" y="247"/>
                  <a:pt x="392" y="248"/>
                  <a:pt x="392" y="248"/>
                </a:cubicBezTo>
                <a:cubicBezTo>
                  <a:pt x="392" y="248"/>
                  <a:pt x="391" y="247"/>
                  <a:pt x="391" y="248"/>
                </a:cubicBezTo>
                <a:cubicBezTo>
                  <a:pt x="391" y="248"/>
                  <a:pt x="391" y="249"/>
                  <a:pt x="392" y="249"/>
                </a:cubicBezTo>
                <a:cubicBezTo>
                  <a:pt x="392" y="250"/>
                  <a:pt x="392" y="250"/>
                  <a:pt x="392" y="250"/>
                </a:cubicBezTo>
                <a:cubicBezTo>
                  <a:pt x="393" y="250"/>
                  <a:pt x="392" y="249"/>
                  <a:pt x="393" y="250"/>
                </a:cubicBezTo>
                <a:cubicBezTo>
                  <a:pt x="393" y="250"/>
                  <a:pt x="393" y="251"/>
                  <a:pt x="393" y="251"/>
                </a:cubicBezTo>
                <a:cubicBezTo>
                  <a:pt x="393" y="251"/>
                  <a:pt x="392" y="251"/>
                  <a:pt x="392" y="252"/>
                </a:cubicBezTo>
                <a:cubicBezTo>
                  <a:pt x="392" y="252"/>
                  <a:pt x="393" y="253"/>
                  <a:pt x="393" y="254"/>
                </a:cubicBezTo>
                <a:cubicBezTo>
                  <a:pt x="392" y="255"/>
                  <a:pt x="392" y="254"/>
                  <a:pt x="393" y="255"/>
                </a:cubicBezTo>
                <a:cubicBezTo>
                  <a:pt x="393" y="257"/>
                  <a:pt x="395" y="258"/>
                  <a:pt x="394" y="259"/>
                </a:cubicBezTo>
                <a:cubicBezTo>
                  <a:pt x="394" y="260"/>
                  <a:pt x="395" y="260"/>
                  <a:pt x="395" y="261"/>
                </a:cubicBezTo>
                <a:cubicBezTo>
                  <a:pt x="395" y="262"/>
                  <a:pt x="395" y="262"/>
                  <a:pt x="396" y="263"/>
                </a:cubicBezTo>
                <a:cubicBezTo>
                  <a:pt x="396" y="264"/>
                  <a:pt x="397" y="264"/>
                  <a:pt x="396" y="264"/>
                </a:cubicBezTo>
                <a:cubicBezTo>
                  <a:pt x="396" y="265"/>
                  <a:pt x="396" y="265"/>
                  <a:pt x="397" y="265"/>
                </a:cubicBezTo>
                <a:cubicBezTo>
                  <a:pt x="397" y="267"/>
                  <a:pt x="398" y="268"/>
                  <a:pt x="399" y="269"/>
                </a:cubicBezTo>
                <a:cubicBezTo>
                  <a:pt x="399" y="269"/>
                  <a:pt x="399" y="270"/>
                  <a:pt x="399" y="270"/>
                </a:cubicBezTo>
                <a:cubicBezTo>
                  <a:pt x="398" y="270"/>
                  <a:pt x="398" y="270"/>
                  <a:pt x="398" y="270"/>
                </a:cubicBezTo>
                <a:cubicBezTo>
                  <a:pt x="398" y="270"/>
                  <a:pt x="398" y="270"/>
                  <a:pt x="398" y="270"/>
                </a:cubicBezTo>
                <a:cubicBezTo>
                  <a:pt x="397" y="270"/>
                  <a:pt x="397" y="270"/>
                  <a:pt x="397" y="271"/>
                </a:cubicBezTo>
                <a:cubicBezTo>
                  <a:pt x="397" y="271"/>
                  <a:pt x="397" y="271"/>
                  <a:pt x="397" y="272"/>
                </a:cubicBezTo>
                <a:cubicBezTo>
                  <a:pt x="397" y="272"/>
                  <a:pt x="397" y="272"/>
                  <a:pt x="397" y="272"/>
                </a:cubicBezTo>
                <a:cubicBezTo>
                  <a:pt x="398" y="272"/>
                  <a:pt x="398" y="273"/>
                  <a:pt x="398" y="274"/>
                </a:cubicBezTo>
                <a:cubicBezTo>
                  <a:pt x="398" y="274"/>
                  <a:pt x="398" y="274"/>
                  <a:pt x="398" y="275"/>
                </a:cubicBezTo>
                <a:cubicBezTo>
                  <a:pt x="398" y="275"/>
                  <a:pt x="398" y="276"/>
                  <a:pt x="399" y="276"/>
                </a:cubicBezTo>
                <a:cubicBezTo>
                  <a:pt x="399" y="277"/>
                  <a:pt x="399" y="278"/>
                  <a:pt x="399" y="279"/>
                </a:cubicBezTo>
                <a:cubicBezTo>
                  <a:pt x="400" y="281"/>
                  <a:pt x="402" y="280"/>
                  <a:pt x="403" y="281"/>
                </a:cubicBezTo>
                <a:cubicBezTo>
                  <a:pt x="404" y="281"/>
                  <a:pt x="404" y="282"/>
                  <a:pt x="404" y="282"/>
                </a:cubicBezTo>
                <a:cubicBezTo>
                  <a:pt x="404" y="283"/>
                  <a:pt x="403" y="283"/>
                  <a:pt x="403" y="283"/>
                </a:cubicBezTo>
                <a:cubicBezTo>
                  <a:pt x="402" y="284"/>
                  <a:pt x="404" y="284"/>
                  <a:pt x="404" y="285"/>
                </a:cubicBezTo>
                <a:cubicBezTo>
                  <a:pt x="404" y="285"/>
                  <a:pt x="406" y="286"/>
                  <a:pt x="406" y="287"/>
                </a:cubicBezTo>
                <a:cubicBezTo>
                  <a:pt x="406" y="287"/>
                  <a:pt x="406" y="287"/>
                  <a:pt x="405" y="287"/>
                </a:cubicBezTo>
                <a:cubicBezTo>
                  <a:pt x="405" y="288"/>
                  <a:pt x="406" y="288"/>
                  <a:pt x="406" y="288"/>
                </a:cubicBezTo>
                <a:cubicBezTo>
                  <a:pt x="406" y="289"/>
                  <a:pt x="407" y="289"/>
                  <a:pt x="407" y="289"/>
                </a:cubicBezTo>
                <a:cubicBezTo>
                  <a:pt x="408" y="290"/>
                  <a:pt x="408" y="290"/>
                  <a:pt x="407" y="291"/>
                </a:cubicBezTo>
                <a:cubicBezTo>
                  <a:pt x="407" y="291"/>
                  <a:pt x="406" y="291"/>
                  <a:pt x="407" y="292"/>
                </a:cubicBezTo>
                <a:cubicBezTo>
                  <a:pt x="407" y="292"/>
                  <a:pt x="407" y="292"/>
                  <a:pt x="407" y="292"/>
                </a:cubicBezTo>
                <a:cubicBezTo>
                  <a:pt x="408" y="293"/>
                  <a:pt x="407" y="293"/>
                  <a:pt x="408" y="293"/>
                </a:cubicBezTo>
                <a:cubicBezTo>
                  <a:pt x="408" y="294"/>
                  <a:pt x="408" y="294"/>
                  <a:pt x="408" y="294"/>
                </a:cubicBezTo>
                <a:cubicBezTo>
                  <a:pt x="407" y="295"/>
                  <a:pt x="409" y="294"/>
                  <a:pt x="409" y="294"/>
                </a:cubicBezTo>
                <a:cubicBezTo>
                  <a:pt x="409" y="294"/>
                  <a:pt x="410" y="295"/>
                  <a:pt x="411" y="295"/>
                </a:cubicBezTo>
                <a:cubicBezTo>
                  <a:pt x="412" y="295"/>
                  <a:pt x="412" y="295"/>
                  <a:pt x="413" y="295"/>
                </a:cubicBezTo>
                <a:cubicBezTo>
                  <a:pt x="414" y="295"/>
                  <a:pt x="414" y="295"/>
                  <a:pt x="414" y="296"/>
                </a:cubicBezTo>
                <a:cubicBezTo>
                  <a:pt x="415" y="296"/>
                  <a:pt x="415" y="296"/>
                  <a:pt x="415" y="296"/>
                </a:cubicBezTo>
                <a:cubicBezTo>
                  <a:pt x="415" y="297"/>
                  <a:pt x="415" y="296"/>
                  <a:pt x="414" y="297"/>
                </a:cubicBezTo>
                <a:cubicBezTo>
                  <a:pt x="414" y="297"/>
                  <a:pt x="416" y="299"/>
                  <a:pt x="414" y="299"/>
                </a:cubicBezTo>
                <a:cubicBezTo>
                  <a:pt x="413" y="299"/>
                  <a:pt x="413" y="298"/>
                  <a:pt x="412" y="298"/>
                </a:cubicBezTo>
                <a:cubicBezTo>
                  <a:pt x="412" y="298"/>
                  <a:pt x="411" y="299"/>
                  <a:pt x="411" y="299"/>
                </a:cubicBezTo>
                <a:cubicBezTo>
                  <a:pt x="411" y="299"/>
                  <a:pt x="410" y="298"/>
                  <a:pt x="410" y="298"/>
                </a:cubicBezTo>
                <a:cubicBezTo>
                  <a:pt x="409" y="299"/>
                  <a:pt x="409" y="299"/>
                  <a:pt x="409" y="299"/>
                </a:cubicBezTo>
                <a:cubicBezTo>
                  <a:pt x="408" y="299"/>
                  <a:pt x="408" y="298"/>
                  <a:pt x="407" y="299"/>
                </a:cubicBezTo>
                <a:cubicBezTo>
                  <a:pt x="407" y="300"/>
                  <a:pt x="409" y="300"/>
                  <a:pt x="410" y="300"/>
                </a:cubicBezTo>
                <a:cubicBezTo>
                  <a:pt x="410" y="300"/>
                  <a:pt x="410" y="300"/>
                  <a:pt x="411" y="300"/>
                </a:cubicBezTo>
                <a:cubicBezTo>
                  <a:pt x="411" y="300"/>
                  <a:pt x="411" y="301"/>
                  <a:pt x="412" y="301"/>
                </a:cubicBezTo>
                <a:cubicBezTo>
                  <a:pt x="413" y="301"/>
                  <a:pt x="413" y="301"/>
                  <a:pt x="414" y="302"/>
                </a:cubicBezTo>
                <a:cubicBezTo>
                  <a:pt x="414" y="302"/>
                  <a:pt x="414" y="303"/>
                  <a:pt x="415" y="303"/>
                </a:cubicBezTo>
                <a:cubicBezTo>
                  <a:pt x="416" y="303"/>
                  <a:pt x="417" y="304"/>
                  <a:pt x="416" y="305"/>
                </a:cubicBezTo>
                <a:cubicBezTo>
                  <a:pt x="416" y="305"/>
                  <a:pt x="415" y="305"/>
                  <a:pt x="415" y="306"/>
                </a:cubicBezTo>
                <a:cubicBezTo>
                  <a:pt x="415" y="306"/>
                  <a:pt x="416" y="306"/>
                  <a:pt x="416" y="307"/>
                </a:cubicBezTo>
                <a:cubicBezTo>
                  <a:pt x="415" y="307"/>
                  <a:pt x="413" y="306"/>
                  <a:pt x="414" y="307"/>
                </a:cubicBezTo>
                <a:cubicBezTo>
                  <a:pt x="414" y="308"/>
                  <a:pt x="414" y="308"/>
                  <a:pt x="414" y="309"/>
                </a:cubicBezTo>
                <a:cubicBezTo>
                  <a:pt x="414" y="309"/>
                  <a:pt x="415" y="309"/>
                  <a:pt x="415" y="310"/>
                </a:cubicBezTo>
                <a:cubicBezTo>
                  <a:pt x="415" y="310"/>
                  <a:pt x="416" y="310"/>
                  <a:pt x="416" y="311"/>
                </a:cubicBezTo>
                <a:cubicBezTo>
                  <a:pt x="417" y="311"/>
                  <a:pt x="416" y="312"/>
                  <a:pt x="416" y="313"/>
                </a:cubicBezTo>
                <a:cubicBezTo>
                  <a:pt x="416" y="313"/>
                  <a:pt x="416" y="313"/>
                  <a:pt x="415" y="313"/>
                </a:cubicBezTo>
                <a:cubicBezTo>
                  <a:pt x="415" y="313"/>
                  <a:pt x="416" y="314"/>
                  <a:pt x="416" y="314"/>
                </a:cubicBezTo>
                <a:cubicBezTo>
                  <a:pt x="416" y="314"/>
                  <a:pt x="417" y="315"/>
                  <a:pt x="417" y="315"/>
                </a:cubicBezTo>
                <a:cubicBezTo>
                  <a:pt x="417" y="316"/>
                  <a:pt x="418" y="316"/>
                  <a:pt x="418" y="317"/>
                </a:cubicBezTo>
                <a:cubicBezTo>
                  <a:pt x="419" y="318"/>
                  <a:pt x="419" y="318"/>
                  <a:pt x="419" y="319"/>
                </a:cubicBezTo>
                <a:cubicBezTo>
                  <a:pt x="419" y="319"/>
                  <a:pt x="419" y="320"/>
                  <a:pt x="418" y="320"/>
                </a:cubicBezTo>
                <a:cubicBezTo>
                  <a:pt x="418" y="321"/>
                  <a:pt x="418" y="320"/>
                  <a:pt x="418" y="321"/>
                </a:cubicBezTo>
                <a:cubicBezTo>
                  <a:pt x="418" y="321"/>
                  <a:pt x="418" y="322"/>
                  <a:pt x="418" y="322"/>
                </a:cubicBezTo>
                <a:cubicBezTo>
                  <a:pt x="419" y="323"/>
                  <a:pt x="418" y="323"/>
                  <a:pt x="418" y="323"/>
                </a:cubicBezTo>
                <a:cubicBezTo>
                  <a:pt x="418" y="324"/>
                  <a:pt x="419" y="324"/>
                  <a:pt x="420" y="324"/>
                </a:cubicBezTo>
                <a:cubicBezTo>
                  <a:pt x="420" y="325"/>
                  <a:pt x="419" y="325"/>
                  <a:pt x="419" y="325"/>
                </a:cubicBezTo>
                <a:cubicBezTo>
                  <a:pt x="418" y="325"/>
                  <a:pt x="418" y="325"/>
                  <a:pt x="419" y="325"/>
                </a:cubicBezTo>
                <a:cubicBezTo>
                  <a:pt x="419" y="325"/>
                  <a:pt x="419" y="326"/>
                  <a:pt x="418" y="326"/>
                </a:cubicBezTo>
                <a:cubicBezTo>
                  <a:pt x="418" y="326"/>
                  <a:pt x="418" y="327"/>
                  <a:pt x="418" y="327"/>
                </a:cubicBezTo>
                <a:cubicBezTo>
                  <a:pt x="418" y="327"/>
                  <a:pt x="417" y="327"/>
                  <a:pt x="417" y="327"/>
                </a:cubicBezTo>
                <a:cubicBezTo>
                  <a:pt x="416" y="328"/>
                  <a:pt x="418" y="328"/>
                  <a:pt x="418" y="329"/>
                </a:cubicBezTo>
                <a:cubicBezTo>
                  <a:pt x="418" y="330"/>
                  <a:pt x="416" y="332"/>
                  <a:pt x="418" y="333"/>
                </a:cubicBezTo>
                <a:cubicBezTo>
                  <a:pt x="419" y="333"/>
                  <a:pt x="419" y="334"/>
                  <a:pt x="420" y="334"/>
                </a:cubicBezTo>
                <a:cubicBezTo>
                  <a:pt x="420" y="335"/>
                  <a:pt x="421" y="336"/>
                  <a:pt x="421" y="337"/>
                </a:cubicBezTo>
                <a:cubicBezTo>
                  <a:pt x="421" y="337"/>
                  <a:pt x="421" y="337"/>
                  <a:pt x="421" y="337"/>
                </a:cubicBezTo>
                <a:cubicBezTo>
                  <a:pt x="421" y="338"/>
                  <a:pt x="420" y="338"/>
                  <a:pt x="420" y="338"/>
                </a:cubicBezTo>
                <a:cubicBezTo>
                  <a:pt x="419" y="338"/>
                  <a:pt x="420" y="339"/>
                  <a:pt x="420" y="340"/>
                </a:cubicBezTo>
                <a:cubicBezTo>
                  <a:pt x="421" y="340"/>
                  <a:pt x="421" y="341"/>
                  <a:pt x="421" y="342"/>
                </a:cubicBezTo>
                <a:cubicBezTo>
                  <a:pt x="420" y="343"/>
                  <a:pt x="420" y="343"/>
                  <a:pt x="419" y="343"/>
                </a:cubicBezTo>
                <a:cubicBezTo>
                  <a:pt x="418" y="344"/>
                  <a:pt x="418" y="345"/>
                  <a:pt x="418" y="346"/>
                </a:cubicBezTo>
                <a:cubicBezTo>
                  <a:pt x="418" y="347"/>
                  <a:pt x="418" y="347"/>
                  <a:pt x="419" y="347"/>
                </a:cubicBezTo>
                <a:cubicBezTo>
                  <a:pt x="419" y="347"/>
                  <a:pt x="419" y="347"/>
                  <a:pt x="418" y="347"/>
                </a:cubicBezTo>
                <a:cubicBezTo>
                  <a:pt x="418" y="347"/>
                  <a:pt x="418" y="347"/>
                  <a:pt x="417" y="347"/>
                </a:cubicBezTo>
                <a:cubicBezTo>
                  <a:pt x="417" y="347"/>
                  <a:pt x="416" y="347"/>
                  <a:pt x="416" y="348"/>
                </a:cubicBezTo>
                <a:cubicBezTo>
                  <a:pt x="417" y="348"/>
                  <a:pt x="416" y="349"/>
                  <a:pt x="416" y="350"/>
                </a:cubicBezTo>
                <a:cubicBezTo>
                  <a:pt x="416" y="350"/>
                  <a:pt x="417" y="350"/>
                  <a:pt x="417" y="350"/>
                </a:cubicBezTo>
                <a:cubicBezTo>
                  <a:pt x="417" y="351"/>
                  <a:pt x="417" y="351"/>
                  <a:pt x="417" y="351"/>
                </a:cubicBezTo>
                <a:cubicBezTo>
                  <a:pt x="417" y="352"/>
                  <a:pt x="418" y="352"/>
                  <a:pt x="418" y="352"/>
                </a:cubicBezTo>
                <a:cubicBezTo>
                  <a:pt x="418" y="353"/>
                  <a:pt x="418" y="353"/>
                  <a:pt x="418" y="353"/>
                </a:cubicBezTo>
                <a:cubicBezTo>
                  <a:pt x="418" y="354"/>
                  <a:pt x="419" y="354"/>
                  <a:pt x="419" y="355"/>
                </a:cubicBezTo>
                <a:cubicBezTo>
                  <a:pt x="419" y="356"/>
                  <a:pt x="419" y="356"/>
                  <a:pt x="420" y="356"/>
                </a:cubicBezTo>
                <a:cubicBezTo>
                  <a:pt x="421" y="357"/>
                  <a:pt x="421" y="357"/>
                  <a:pt x="422" y="357"/>
                </a:cubicBezTo>
                <a:cubicBezTo>
                  <a:pt x="423" y="358"/>
                  <a:pt x="423" y="360"/>
                  <a:pt x="424" y="361"/>
                </a:cubicBezTo>
                <a:cubicBezTo>
                  <a:pt x="425" y="362"/>
                  <a:pt x="426" y="364"/>
                  <a:pt x="427" y="363"/>
                </a:cubicBezTo>
                <a:cubicBezTo>
                  <a:pt x="427" y="362"/>
                  <a:pt x="427" y="362"/>
                  <a:pt x="428" y="361"/>
                </a:cubicBezTo>
                <a:cubicBezTo>
                  <a:pt x="429" y="361"/>
                  <a:pt x="429" y="362"/>
                  <a:pt x="430" y="362"/>
                </a:cubicBezTo>
                <a:cubicBezTo>
                  <a:pt x="430" y="362"/>
                  <a:pt x="430" y="361"/>
                  <a:pt x="430" y="361"/>
                </a:cubicBezTo>
                <a:cubicBezTo>
                  <a:pt x="431" y="361"/>
                  <a:pt x="431" y="361"/>
                  <a:pt x="432" y="361"/>
                </a:cubicBezTo>
                <a:cubicBezTo>
                  <a:pt x="432" y="362"/>
                  <a:pt x="432" y="362"/>
                  <a:pt x="432" y="362"/>
                </a:cubicBezTo>
                <a:cubicBezTo>
                  <a:pt x="433" y="363"/>
                  <a:pt x="434" y="363"/>
                  <a:pt x="434" y="364"/>
                </a:cubicBezTo>
                <a:cubicBezTo>
                  <a:pt x="434" y="364"/>
                  <a:pt x="434" y="365"/>
                  <a:pt x="434" y="365"/>
                </a:cubicBezTo>
                <a:cubicBezTo>
                  <a:pt x="434" y="366"/>
                  <a:pt x="434" y="366"/>
                  <a:pt x="434" y="366"/>
                </a:cubicBezTo>
                <a:cubicBezTo>
                  <a:pt x="434" y="367"/>
                  <a:pt x="436" y="367"/>
                  <a:pt x="436" y="368"/>
                </a:cubicBezTo>
                <a:cubicBezTo>
                  <a:pt x="435" y="369"/>
                  <a:pt x="436" y="370"/>
                  <a:pt x="436" y="370"/>
                </a:cubicBezTo>
                <a:cubicBezTo>
                  <a:pt x="436" y="371"/>
                  <a:pt x="436" y="371"/>
                  <a:pt x="436" y="371"/>
                </a:cubicBezTo>
                <a:cubicBezTo>
                  <a:pt x="436" y="372"/>
                  <a:pt x="437" y="371"/>
                  <a:pt x="437" y="372"/>
                </a:cubicBezTo>
                <a:cubicBezTo>
                  <a:pt x="438" y="372"/>
                  <a:pt x="438" y="373"/>
                  <a:pt x="439" y="373"/>
                </a:cubicBezTo>
                <a:cubicBezTo>
                  <a:pt x="440" y="373"/>
                  <a:pt x="441" y="374"/>
                  <a:pt x="442" y="375"/>
                </a:cubicBezTo>
                <a:cubicBezTo>
                  <a:pt x="442" y="376"/>
                  <a:pt x="443" y="376"/>
                  <a:pt x="443" y="376"/>
                </a:cubicBezTo>
                <a:cubicBezTo>
                  <a:pt x="445" y="376"/>
                  <a:pt x="446" y="376"/>
                  <a:pt x="447" y="376"/>
                </a:cubicBezTo>
                <a:cubicBezTo>
                  <a:pt x="450" y="376"/>
                  <a:pt x="453" y="376"/>
                  <a:pt x="455" y="376"/>
                </a:cubicBezTo>
                <a:cubicBezTo>
                  <a:pt x="457" y="376"/>
                  <a:pt x="458" y="376"/>
                  <a:pt x="459" y="376"/>
                </a:cubicBezTo>
                <a:cubicBezTo>
                  <a:pt x="460" y="376"/>
                  <a:pt x="461" y="377"/>
                  <a:pt x="462" y="377"/>
                </a:cubicBezTo>
                <a:cubicBezTo>
                  <a:pt x="464" y="377"/>
                  <a:pt x="465" y="377"/>
                  <a:pt x="466" y="377"/>
                </a:cubicBezTo>
                <a:cubicBezTo>
                  <a:pt x="467" y="378"/>
                  <a:pt x="468" y="378"/>
                  <a:pt x="469" y="379"/>
                </a:cubicBezTo>
                <a:cubicBezTo>
                  <a:pt x="470" y="379"/>
                  <a:pt x="473" y="379"/>
                  <a:pt x="473" y="380"/>
                </a:cubicBezTo>
                <a:cubicBezTo>
                  <a:pt x="473" y="380"/>
                  <a:pt x="473" y="379"/>
                  <a:pt x="472" y="379"/>
                </a:cubicBezTo>
                <a:cubicBezTo>
                  <a:pt x="471" y="379"/>
                  <a:pt x="471" y="379"/>
                  <a:pt x="470" y="379"/>
                </a:cubicBezTo>
                <a:cubicBezTo>
                  <a:pt x="469" y="379"/>
                  <a:pt x="468" y="378"/>
                  <a:pt x="466" y="378"/>
                </a:cubicBezTo>
                <a:cubicBezTo>
                  <a:pt x="466" y="378"/>
                  <a:pt x="465" y="378"/>
                  <a:pt x="464" y="379"/>
                </a:cubicBezTo>
                <a:cubicBezTo>
                  <a:pt x="464" y="379"/>
                  <a:pt x="464" y="379"/>
                  <a:pt x="464" y="380"/>
                </a:cubicBezTo>
                <a:cubicBezTo>
                  <a:pt x="464" y="380"/>
                  <a:pt x="464" y="380"/>
                  <a:pt x="464" y="380"/>
                </a:cubicBezTo>
                <a:cubicBezTo>
                  <a:pt x="464" y="380"/>
                  <a:pt x="464" y="381"/>
                  <a:pt x="464" y="381"/>
                </a:cubicBezTo>
                <a:cubicBezTo>
                  <a:pt x="463" y="382"/>
                  <a:pt x="463" y="381"/>
                  <a:pt x="462" y="381"/>
                </a:cubicBezTo>
                <a:cubicBezTo>
                  <a:pt x="461" y="381"/>
                  <a:pt x="461" y="382"/>
                  <a:pt x="460" y="382"/>
                </a:cubicBezTo>
                <a:cubicBezTo>
                  <a:pt x="459" y="382"/>
                  <a:pt x="460" y="383"/>
                  <a:pt x="459" y="383"/>
                </a:cubicBezTo>
                <a:cubicBezTo>
                  <a:pt x="459" y="383"/>
                  <a:pt x="458" y="383"/>
                  <a:pt x="458" y="383"/>
                </a:cubicBezTo>
                <a:cubicBezTo>
                  <a:pt x="457" y="383"/>
                  <a:pt x="458" y="383"/>
                  <a:pt x="457" y="383"/>
                </a:cubicBezTo>
                <a:cubicBezTo>
                  <a:pt x="457" y="382"/>
                  <a:pt x="457" y="383"/>
                  <a:pt x="457" y="383"/>
                </a:cubicBezTo>
                <a:cubicBezTo>
                  <a:pt x="456" y="384"/>
                  <a:pt x="455" y="383"/>
                  <a:pt x="455" y="383"/>
                </a:cubicBezTo>
                <a:cubicBezTo>
                  <a:pt x="455" y="384"/>
                  <a:pt x="456" y="384"/>
                  <a:pt x="456" y="384"/>
                </a:cubicBezTo>
                <a:cubicBezTo>
                  <a:pt x="456" y="384"/>
                  <a:pt x="456" y="385"/>
                  <a:pt x="456" y="385"/>
                </a:cubicBezTo>
                <a:cubicBezTo>
                  <a:pt x="456" y="385"/>
                  <a:pt x="456" y="385"/>
                  <a:pt x="456" y="385"/>
                </a:cubicBezTo>
                <a:cubicBezTo>
                  <a:pt x="456" y="386"/>
                  <a:pt x="456" y="385"/>
                  <a:pt x="457" y="386"/>
                </a:cubicBezTo>
                <a:cubicBezTo>
                  <a:pt x="457" y="386"/>
                  <a:pt x="457" y="386"/>
                  <a:pt x="457" y="387"/>
                </a:cubicBezTo>
                <a:cubicBezTo>
                  <a:pt x="456" y="387"/>
                  <a:pt x="457" y="387"/>
                  <a:pt x="457" y="388"/>
                </a:cubicBezTo>
                <a:cubicBezTo>
                  <a:pt x="457" y="389"/>
                  <a:pt x="457" y="390"/>
                  <a:pt x="457" y="391"/>
                </a:cubicBezTo>
                <a:cubicBezTo>
                  <a:pt x="458" y="392"/>
                  <a:pt x="459" y="392"/>
                  <a:pt x="459" y="393"/>
                </a:cubicBezTo>
                <a:cubicBezTo>
                  <a:pt x="459" y="394"/>
                  <a:pt x="459" y="394"/>
                  <a:pt x="459" y="395"/>
                </a:cubicBezTo>
                <a:cubicBezTo>
                  <a:pt x="459" y="395"/>
                  <a:pt x="459" y="395"/>
                  <a:pt x="458" y="395"/>
                </a:cubicBezTo>
                <a:cubicBezTo>
                  <a:pt x="457" y="396"/>
                  <a:pt x="456" y="395"/>
                  <a:pt x="455" y="395"/>
                </a:cubicBezTo>
                <a:cubicBezTo>
                  <a:pt x="454" y="395"/>
                  <a:pt x="453" y="395"/>
                  <a:pt x="452" y="394"/>
                </a:cubicBezTo>
                <a:cubicBezTo>
                  <a:pt x="452" y="394"/>
                  <a:pt x="452" y="393"/>
                  <a:pt x="451" y="394"/>
                </a:cubicBezTo>
                <a:cubicBezTo>
                  <a:pt x="451" y="394"/>
                  <a:pt x="451" y="393"/>
                  <a:pt x="450" y="393"/>
                </a:cubicBezTo>
                <a:cubicBezTo>
                  <a:pt x="451" y="394"/>
                  <a:pt x="448" y="393"/>
                  <a:pt x="448" y="392"/>
                </a:cubicBezTo>
                <a:cubicBezTo>
                  <a:pt x="448" y="392"/>
                  <a:pt x="447" y="392"/>
                  <a:pt x="446" y="392"/>
                </a:cubicBezTo>
                <a:cubicBezTo>
                  <a:pt x="447" y="392"/>
                  <a:pt x="447" y="392"/>
                  <a:pt x="447" y="392"/>
                </a:cubicBezTo>
                <a:cubicBezTo>
                  <a:pt x="446" y="392"/>
                  <a:pt x="445" y="392"/>
                  <a:pt x="444" y="392"/>
                </a:cubicBezTo>
                <a:cubicBezTo>
                  <a:pt x="444" y="391"/>
                  <a:pt x="443" y="391"/>
                  <a:pt x="443" y="391"/>
                </a:cubicBezTo>
                <a:cubicBezTo>
                  <a:pt x="443" y="391"/>
                  <a:pt x="443" y="391"/>
                  <a:pt x="443" y="391"/>
                </a:cubicBezTo>
                <a:cubicBezTo>
                  <a:pt x="443" y="391"/>
                  <a:pt x="442" y="390"/>
                  <a:pt x="442" y="390"/>
                </a:cubicBezTo>
                <a:cubicBezTo>
                  <a:pt x="442" y="390"/>
                  <a:pt x="441" y="390"/>
                  <a:pt x="441" y="390"/>
                </a:cubicBezTo>
                <a:cubicBezTo>
                  <a:pt x="440" y="389"/>
                  <a:pt x="438" y="389"/>
                  <a:pt x="437" y="388"/>
                </a:cubicBezTo>
                <a:cubicBezTo>
                  <a:pt x="438" y="388"/>
                  <a:pt x="438" y="388"/>
                  <a:pt x="439" y="388"/>
                </a:cubicBezTo>
                <a:cubicBezTo>
                  <a:pt x="439" y="388"/>
                  <a:pt x="439" y="388"/>
                  <a:pt x="440" y="388"/>
                </a:cubicBezTo>
                <a:cubicBezTo>
                  <a:pt x="441" y="388"/>
                  <a:pt x="441" y="388"/>
                  <a:pt x="441" y="389"/>
                </a:cubicBezTo>
                <a:cubicBezTo>
                  <a:pt x="442" y="389"/>
                  <a:pt x="442" y="389"/>
                  <a:pt x="443" y="389"/>
                </a:cubicBezTo>
                <a:cubicBezTo>
                  <a:pt x="442" y="389"/>
                  <a:pt x="443" y="389"/>
                  <a:pt x="442" y="389"/>
                </a:cubicBezTo>
                <a:cubicBezTo>
                  <a:pt x="442" y="389"/>
                  <a:pt x="442" y="388"/>
                  <a:pt x="441" y="388"/>
                </a:cubicBezTo>
                <a:cubicBezTo>
                  <a:pt x="442" y="388"/>
                  <a:pt x="442" y="388"/>
                  <a:pt x="442" y="388"/>
                </a:cubicBezTo>
                <a:cubicBezTo>
                  <a:pt x="442" y="388"/>
                  <a:pt x="442" y="388"/>
                  <a:pt x="441" y="388"/>
                </a:cubicBezTo>
                <a:cubicBezTo>
                  <a:pt x="442" y="388"/>
                  <a:pt x="442" y="388"/>
                  <a:pt x="442" y="388"/>
                </a:cubicBezTo>
                <a:cubicBezTo>
                  <a:pt x="442" y="388"/>
                  <a:pt x="442" y="388"/>
                  <a:pt x="441" y="387"/>
                </a:cubicBezTo>
                <a:cubicBezTo>
                  <a:pt x="441" y="388"/>
                  <a:pt x="440" y="388"/>
                  <a:pt x="440" y="387"/>
                </a:cubicBezTo>
                <a:cubicBezTo>
                  <a:pt x="440" y="387"/>
                  <a:pt x="439" y="386"/>
                  <a:pt x="439" y="386"/>
                </a:cubicBezTo>
                <a:cubicBezTo>
                  <a:pt x="438" y="385"/>
                  <a:pt x="439" y="385"/>
                  <a:pt x="438" y="385"/>
                </a:cubicBezTo>
                <a:cubicBezTo>
                  <a:pt x="438" y="385"/>
                  <a:pt x="438" y="384"/>
                  <a:pt x="438" y="384"/>
                </a:cubicBezTo>
                <a:cubicBezTo>
                  <a:pt x="439" y="384"/>
                  <a:pt x="439" y="384"/>
                  <a:pt x="439" y="384"/>
                </a:cubicBezTo>
                <a:cubicBezTo>
                  <a:pt x="439" y="384"/>
                  <a:pt x="440" y="383"/>
                  <a:pt x="440" y="383"/>
                </a:cubicBezTo>
                <a:cubicBezTo>
                  <a:pt x="440" y="383"/>
                  <a:pt x="440" y="384"/>
                  <a:pt x="441" y="384"/>
                </a:cubicBezTo>
                <a:cubicBezTo>
                  <a:pt x="441" y="384"/>
                  <a:pt x="440" y="384"/>
                  <a:pt x="440" y="384"/>
                </a:cubicBezTo>
                <a:cubicBezTo>
                  <a:pt x="440" y="386"/>
                  <a:pt x="441" y="384"/>
                  <a:pt x="441" y="384"/>
                </a:cubicBezTo>
                <a:cubicBezTo>
                  <a:pt x="441" y="385"/>
                  <a:pt x="441" y="385"/>
                  <a:pt x="442" y="384"/>
                </a:cubicBezTo>
                <a:cubicBezTo>
                  <a:pt x="442" y="384"/>
                  <a:pt x="442" y="384"/>
                  <a:pt x="442" y="385"/>
                </a:cubicBezTo>
                <a:cubicBezTo>
                  <a:pt x="443" y="385"/>
                  <a:pt x="443" y="385"/>
                  <a:pt x="443" y="384"/>
                </a:cubicBezTo>
                <a:cubicBezTo>
                  <a:pt x="442" y="384"/>
                  <a:pt x="443" y="384"/>
                  <a:pt x="443" y="384"/>
                </a:cubicBezTo>
                <a:cubicBezTo>
                  <a:pt x="443" y="384"/>
                  <a:pt x="443" y="383"/>
                  <a:pt x="443" y="383"/>
                </a:cubicBezTo>
                <a:cubicBezTo>
                  <a:pt x="443" y="383"/>
                  <a:pt x="443" y="383"/>
                  <a:pt x="444" y="383"/>
                </a:cubicBezTo>
                <a:cubicBezTo>
                  <a:pt x="444" y="383"/>
                  <a:pt x="444" y="383"/>
                  <a:pt x="444" y="383"/>
                </a:cubicBezTo>
                <a:cubicBezTo>
                  <a:pt x="444" y="382"/>
                  <a:pt x="445" y="383"/>
                  <a:pt x="445" y="383"/>
                </a:cubicBezTo>
                <a:cubicBezTo>
                  <a:pt x="445" y="383"/>
                  <a:pt x="445" y="382"/>
                  <a:pt x="445" y="382"/>
                </a:cubicBezTo>
                <a:cubicBezTo>
                  <a:pt x="446" y="383"/>
                  <a:pt x="446" y="383"/>
                  <a:pt x="446" y="383"/>
                </a:cubicBezTo>
                <a:cubicBezTo>
                  <a:pt x="447" y="383"/>
                  <a:pt x="447" y="383"/>
                  <a:pt x="448" y="383"/>
                </a:cubicBezTo>
                <a:cubicBezTo>
                  <a:pt x="448" y="383"/>
                  <a:pt x="449" y="382"/>
                  <a:pt x="449" y="382"/>
                </a:cubicBezTo>
                <a:cubicBezTo>
                  <a:pt x="449" y="382"/>
                  <a:pt x="448" y="382"/>
                  <a:pt x="448" y="382"/>
                </a:cubicBezTo>
                <a:cubicBezTo>
                  <a:pt x="447" y="382"/>
                  <a:pt x="446" y="381"/>
                  <a:pt x="445" y="382"/>
                </a:cubicBezTo>
                <a:cubicBezTo>
                  <a:pt x="444" y="382"/>
                  <a:pt x="444" y="381"/>
                  <a:pt x="444" y="381"/>
                </a:cubicBezTo>
                <a:cubicBezTo>
                  <a:pt x="443" y="381"/>
                  <a:pt x="443" y="381"/>
                  <a:pt x="443" y="381"/>
                </a:cubicBezTo>
                <a:cubicBezTo>
                  <a:pt x="442" y="381"/>
                  <a:pt x="442" y="381"/>
                  <a:pt x="442" y="381"/>
                </a:cubicBezTo>
                <a:cubicBezTo>
                  <a:pt x="441" y="382"/>
                  <a:pt x="442" y="382"/>
                  <a:pt x="441" y="382"/>
                </a:cubicBezTo>
                <a:cubicBezTo>
                  <a:pt x="442" y="382"/>
                  <a:pt x="442" y="383"/>
                  <a:pt x="441" y="383"/>
                </a:cubicBezTo>
                <a:cubicBezTo>
                  <a:pt x="441" y="382"/>
                  <a:pt x="440" y="382"/>
                  <a:pt x="440" y="382"/>
                </a:cubicBezTo>
                <a:cubicBezTo>
                  <a:pt x="440" y="381"/>
                  <a:pt x="442" y="381"/>
                  <a:pt x="441" y="381"/>
                </a:cubicBezTo>
                <a:cubicBezTo>
                  <a:pt x="440" y="381"/>
                  <a:pt x="440" y="382"/>
                  <a:pt x="440" y="382"/>
                </a:cubicBezTo>
                <a:cubicBezTo>
                  <a:pt x="439" y="382"/>
                  <a:pt x="438" y="381"/>
                  <a:pt x="438" y="381"/>
                </a:cubicBezTo>
                <a:cubicBezTo>
                  <a:pt x="437" y="381"/>
                  <a:pt x="437" y="382"/>
                  <a:pt x="437" y="382"/>
                </a:cubicBezTo>
                <a:cubicBezTo>
                  <a:pt x="437" y="382"/>
                  <a:pt x="437" y="383"/>
                  <a:pt x="437" y="383"/>
                </a:cubicBezTo>
                <a:cubicBezTo>
                  <a:pt x="438" y="383"/>
                  <a:pt x="438" y="383"/>
                  <a:pt x="438" y="382"/>
                </a:cubicBezTo>
                <a:cubicBezTo>
                  <a:pt x="438" y="382"/>
                  <a:pt x="439" y="382"/>
                  <a:pt x="439" y="383"/>
                </a:cubicBezTo>
                <a:cubicBezTo>
                  <a:pt x="440" y="383"/>
                  <a:pt x="439" y="384"/>
                  <a:pt x="439" y="384"/>
                </a:cubicBezTo>
                <a:cubicBezTo>
                  <a:pt x="439" y="384"/>
                  <a:pt x="437" y="384"/>
                  <a:pt x="438" y="385"/>
                </a:cubicBezTo>
                <a:cubicBezTo>
                  <a:pt x="438" y="385"/>
                  <a:pt x="438" y="385"/>
                  <a:pt x="439" y="386"/>
                </a:cubicBezTo>
                <a:cubicBezTo>
                  <a:pt x="439" y="386"/>
                  <a:pt x="439" y="386"/>
                  <a:pt x="439" y="387"/>
                </a:cubicBezTo>
                <a:cubicBezTo>
                  <a:pt x="439" y="387"/>
                  <a:pt x="439" y="387"/>
                  <a:pt x="439" y="387"/>
                </a:cubicBezTo>
                <a:cubicBezTo>
                  <a:pt x="439" y="387"/>
                  <a:pt x="438" y="387"/>
                  <a:pt x="438" y="387"/>
                </a:cubicBezTo>
                <a:cubicBezTo>
                  <a:pt x="438" y="387"/>
                  <a:pt x="438" y="387"/>
                  <a:pt x="437" y="387"/>
                </a:cubicBezTo>
                <a:cubicBezTo>
                  <a:pt x="437" y="386"/>
                  <a:pt x="438" y="387"/>
                  <a:pt x="438" y="387"/>
                </a:cubicBezTo>
                <a:cubicBezTo>
                  <a:pt x="437" y="388"/>
                  <a:pt x="435" y="386"/>
                  <a:pt x="435" y="386"/>
                </a:cubicBezTo>
                <a:cubicBezTo>
                  <a:pt x="435" y="386"/>
                  <a:pt x="436" y="386"/>
                  <a:pt x="436" y="386"/>
                </a:cubicBezTo>
                <a:cubicBezTo>
                  <a:pt x="435" y="386"/>
                  <a:pt x="436" y="386"/>
                  <a:pt x="436" y="386"/>
                </a:cubicBezTo>
                <a:cubicBezTo>
                  <a:pt x="436" y="386"/>
                  <a:pt x="436" y="385"/>
                  <a:pt x="437" y="385"/>
                </a:cubicBezTo>
                <a:cubicBezTo>
                  <a:pt x="436" y="385"/>
                  <a:pt x="436" y="385"/>
                  <a:pt x="436" y="385"/>
                </a:cubicBezTo>
                <a:cubicBezTo>
                  <a:pt x="436" y="385"/>
                  <a:pt x="436" y="385"/>
                  <a:pt x="435" y="385"/>
                </a:cubicBezTo>
                <a:cubicBezTo>
                  <a:pt x="435" y="385"/>
                  <a:pt x="435" y="385"/>
                  <a:pt x="435" y="385"/>
                </a:cubicBezTo>
                <a:cubicBezTo>
                  <a:pt x="435" y="385"/>
                  <a:pt x="433" y="384"/>
                  <a:pt x="433" y="384"/>
                </a:cubicBezTo>
                <a:cubicBezTo>
                  <a:pt x="433" y="384"/>
                  <a:pt x="434" y="384"/>
                  <a:pt x="434" y="384"/>
                </a:cubicBezTo>
                <a:cubicBezTo>
                  <a:pt x="435" y="384"/>
                  <a:pt x="435" y="384"/>
                  <a:pt x="436" y="384"/>
                </a:cubicBezTo>
                <a:cubicBezTo>
                  <a:pt x="435" y="384"/>
                  <a:pt x="435" y="384"/>
                  <a:pt x="435" y="383"/>
                </a:cubicBezTo>
                <a:cubicBezTo>
                  <a:pt x="435" y="384"/>
                  <a:pt x="435" y="383"/>
                  <a:pt x="435" y="383"/>
                </a:cubicBezTo>
                <a:cubicBezTo>
                  <a:pt x="436" y="382"/>
                  <a:pt x="435" y="382"/>
                  <a:pt x="435" y="382"/>
                </a:cubicBezTo>
                <a:cubicBezTo>
                  <a:pt x="435" y="381"/>
                  <a:pt x="436" y="382"/>
                  <a:pt x="436" y="382"/>
                </a:cubicBezTo>
                <a:cubicBezTo>
                  <a:pt x="436" y="382"/>
                  <a:pt x="435" y="382"/>
                  <a:pt x="435" y="381"/>
                </a:cubicBezTo>
                <a:cubicBezTo>
                  <a:pt x="436" y="381"/>
                  <a:pt x="437" y="381"/>
                  <a:pt x="437" y="381"/>
                </a:cubicBezTo>
                <a:cubicBezTo>
                  <a:pt x="437" y="381"/>
                  <a:pt x="436" y="381"/>
                  <a:pt x="436" y="381"/>
                </a:cubicBezTo>
                <a:cubicBezTo>
                  <a:pt x="435" y="381"/>
                  <a:pt x="435" y="381"/>
                  <a:pt x="435" y="381"/>
                </a:cubicBezTo>
                <a:cubicBezTo>
                  <a:pt x="434" y="381"/>
                  <a:pt x="434" y="380"/>
                  <a:pt x="434" y="380"/>
                </a:cubicBezTo>
                <a:cubicBezTo>
                  <a:pt x="434" y="380"/>
                  <a:pt x="434" y="381"/>
                  <a:pt x="434" y="381"/>
                </a:cubicBezTo>
                <a:cubicBezTo>
                  <a:pt x="434" y="381"/>
                  <a:pt x="435" y="381"/>
                  <a:pt x="435" y="382"/>
                </a:cubicBezTo>
                <a:cubicBezTo>
                  <a:pt x="435" y="382"/>
                  <a:pt x="435" y="383"/>
                  <a:pt x="434" y="383"/>
                </a:cubicBezTo>
                <a:cubicBezTo>
                  <a:pt x="434" y="383"/>
                  <a:pt x="434" y="382"/>
                  <a:pt x="434" y="382"/>
                </a:cubicBezTo>
                <a:cubicBezTo>
                  <a:pt x="434" y="382"/>
                  <a:pt x="433" y="382"/>
                  <a:pt x="433" y="382"/>
                </a:cubicBezTo>
                <a:cubicBezTo>
                  <a:pt x="433" y="382"/>
                  <a:pt x="434" y="382"/>
                  <a:pt x="433" y="382"/>
                </a:cubicBezTo>
                <a:cubicBezTo>
                  <a:pt x="433" y="383"/>
                  <a:pt x="433" y="382"/>
                  <a:pt x="433" y="383"/>
                </a:cubicBezTo>
                <a:cubicBezTo>
                  <a:pt x="433" y="383"/>
                  <a:pt x="433" y="383"/>
                  <a:pt x="433" y="383"/>
                </a:cubicBezTo>
                <a:cubicBezTo>
                  <a:pt x="433" y="383"/>
                  <a:pt x="432" y="383"/>
                  <a:pt x="432" y="384"/>
                </a:cubicBezTo>
                <a:cubicBezTo>
                  <a:pt x="432" y="384"/>
                  <a:pt x="432" y="383"/>
                  <a:pt x="431" y="383"/>
                </a:cubicBezTo>
                <a:cubicBezTo>
                  <a:pt x="431" y="383"/>
                  <a:pt x="432" y="383"/>
                  <a:pt x="432" y="383"/>
                </a:cubicBezTo>
                <a:cubicBezTo>
                  <a:pt x="432" y="383"/>
                  <a:pt x="430" y="383"/>
                  <a:pt x="431" y="382"/>
                </a:cubicBezTo>
                <a:cubicBezTo>
                  <a:pt x="431" y="382"/>
                  <a:pt x="432" y="382"/>
                  <a:pt x="432" y="382"/>
                </a:cubicBezTo>
                <a:cubicBezTo>
                  <a:pt x="432" y="381"/>
                  <a:pt x="431" y="381"/>
                  <a:pt x="431" y="381"/>
                </a:cubicBezTo>
                <a:cubicBezTo>
                  <a:pt x="431" y="381"/>
                  <a:pt x="432" y="380"/>
                  <a:pt x="431" y="380"/>
                </a:cubicBezTo>
                <a:cubicBezTo>
                  <a:pt x="431" y="380"/>
                  <a:pt x="430" y="380"/>
                  <a:pt x="430" y="380"/>
                </a:cubicBezTo>
                <a:cubicBezTo>
                  <a:pt x="430" y="380"/>
                  <a:pt x="430" y="380"/>
                  <a:pt x="430" y="380"/>
                </a:cubicBezTo>
                <a:cubicBezTo>
                  <a:pt x="430" y="380"/>
                  <a:pt x="430" y="380"/>
                  <a:pt x="430" y="380"/>
                </a:cubicBezTo>
                <a:cubicBezTo>
                  <a:pt x="431" y="379"/>
                  <a:pt x="430" y="379"/>
                  <a:pt x="430" y="379"/>
                </a:cubicBezTo>
                <a:cubicBezTo>
                  <a:pt x="430" y="379"/>
                  <a:pt x="430" y="379"/>
                  <a:pt x="430" y="379"/>
                </a:cubicBezTo>
                <a:cubicBezTo>
                  <a:pt x="430" y="379"/>
                  <a:pt x="430" y="379"/>
                  <a:pt x="430" y="378"/>
                </a:cubicBezTo>
                <a:cubicBezTo>
                  <a:pt x="430" y="378"/>
                  <a:pt x="429" y="378"/>
                  <a:pt x="429" y="378"/>
                </a:cubicBezTo>
                <a:cubicBezTo>
                  <a:pt x="429" y="377"/>
                  <a:pt x="428" y="377"/>
                  <a:pt x="428" y="377"/>
                </a:cubicBezTo>
                <a:cubicBezTo>
                  <a:pt x="427" y="376"/>
                  <a:pt x="428" y="376"/>
                  <a:pt x="428" y="376"/>
                </a:cubicBezTo>
                <a:cubicBezTo>
                  <a:pt x="428" y="377"/>
                  <a:pt x="429" y="377"/>
                  <a:pt x="429" y="377"/>
                </a:cubicBezTo>
                <a:cubicBezTo>
                  <a:pt x="429" y="377"/>
                  <a:pt x="429" y="377"/>
                  <a:pt x="429" y="377"/>
                </a:cubicBezTo>
                <a:cubicBezTo>
                  <a:pt x="430" y="378"/>
                  <a:pt x="430" y="378"/>
                  <a:pt x="430" y="378"/>
                </a:cubicBezTo>
                <a:cubicBezTo>
                  <a:pt x="431" y="378"/>
                  <a:pt x="430" y="377"/>
                  <a:pt x="430" y="377"/>
                </a:cubicBezTo>
                <a:cubicBezTo>
                  <a:pt x="431" y="377"/>
                  <a:pt x="431" y="378"/>
                  <a:pt x="432" y="378"/>
                </a:cubicBezTo>
                <a:cubicBezTo>
                  <a:pt x="433" y="378"/>
                  <a:pt x="432" y="377"/>
                  <a:pt x="432" y="377"/>
                </a:cubicBezTo>
                <a:cubicBezTo>
                  <a:pt x="433" y="377"/>
                  <a:pt x="433" y="376"/>
                  <a:pt x="434" y="377"/>
                </a:cubicBezTo>
                <a:cubicBezTo>
                  <a:pt x="434" y="377"/>
                  <a:pt x="433" y="378"/>
                  <a:pt x="434" y="378"/>
                </a:cubicBezTo>
                <a:cubicBezTo>
                  <a:pt x="434" y="378"/>
                  <a:pt x="434" y="378"/>
                  <a:pt x="434" y="378"/>
                </a:cubicBezTo>
                <a:cubicBezTo>
                  <a:pt x="435" y="378"/>
                  <a:pt x="435" y="378"/>
                  <a:pt x="435" y="378"/>
                </a:cubicBezTo>
                <a:cubicBezTo>
                  <a:pt x="436" y="379"/>
                  <a:pt x="436" y="377"/>
                  <a:pt x="436" y="377"/>
                </a:cubicBezTo>
                <a:cubicBezTo>
                  <a:pt x="436" y="376"/>
                  <a:pt x="435" y="376"/>
                  <a:pt x="435" y="377"/>
                </a:cubicBezTo>
                <a:cubicBezTo>
                  <a:pt x="435" y="377"/>
                  <a:pt x="436" y="378"/>
                  <a:pt x="435" y="378"/>
                </a:cubicBezTo>
                <a:cubicBezTo>
                  <a:pt x="435" y="378"/>
                  <a:pt x="434" y="377"/>
                  <a:pt x="434" y="376"/>
                </a:cubicBezTo>
                <a:cubicBezTo>
                  <a:pt x="434" y="376"/>
                  <a:pt x="434" y="376"/>
                  <a:pt x="434" y="376"/>
                </a:cubicBezTo>
                <a:cubicBezTo>
                  <a:pt x="434" y="375"/>
                  <a:pt x="434" y="375"/>
                  <a:pt x="436" y="376"/>
                </a:cubicBezTo>
                <a:cubicBezTo>
                  <a:pt x="436" y="376"/>
                  <a:pt x="436" y="376"/>
                  <a:pt x="436" y="376"/>
                </a:cubicBezTo>
                <a:cubicBezTo>
                  <a:pt x="436" y="377"/>
                  <a:pt x="437" y="377"/>
                  <a:pt x="437" y="377"/>
                </a:cubicBezTo>
                <a:cubicBezTo>
                  <a:pt x="438" y="377"/>
                  <a:pt x="438" y="378"/>
                  <a:pt x="438" y="378"/>
                </a:cubicBezTo>
                <a:cubicBezTo>
                  <a:pt x="438" y="378"/>
                  <a:pt x="439" y="379"/>
                  <a:pt x="438" y="379"/>
                </a:cubicBezTo>
                <a:cubicBezTo>
                  <a:pt x="438" y="379"/>
                  <a:pt x="438" y="379"/>
                  <a:pt x="438" y="379"/>
                </a:cubicBezTo>
                <a:cubicBezTo>
                  <a:pt x="438" y="379"/>
                  <a:pt x="438" y="379"/>
                  <a:pt x="438" y="380"/>
                </a:cubicBezTo>
                <a:cubicBezTo>
                  <a:pt x="437" y="380"/>
                  <a:pt x="437" y="380"/>
                  <a:pt x="437" y="380"/>
                </a:cubicBezTo>
                <a:cubicBezTo>
                  <a:pt x="437" y="380"/>
                  <a:pt x="437" y="380"/>
                  <a:pt x="436" y="380"/>
                </a:cubicBezTo>
                <a:cubicBezTo>
                  <a:pt x="436" y="381"/>
                  <a:pt x="440" y="380"/>
                  <a:pt x="440" y="380"/>
                </a:cubicBezTo>
                <a:cubicBezTo>
                  <a:pt x="440" y="380"/>
                  <a:pt x="438" y="381"/>
                  <a:pt x="439" y="380"/>
                </a:cubicBezTo>
                <a:cubicBezTo>
                  <a:pt x="439" y="379"/>
                  <a:pt x="439" y="378"/>
                  <a:pt x="438" y="378"/>
                </a:cubicBezTo>
                <a:cubicBezTo>
                  <a:pt x="438" y="377"/>
                  <a:pt x="437" y="377"/>
                  <a:pt x="436" y="376"/>
                </a:cubicBezTo>
                <a:cubicBezTo>
                  <a:pt x="436" y="376"/>
                  <a:pt x="436" y="376"/>
                  <a:pt x="436" y="375"/>
                </a:cubicBezTo>
                <a:cubicBezTo>
                  <a:pt x="436" y="375"/>
                  <a:pt x="436" y="375"/>
                  <a:pt x="437" y="375"/>
                </a:cubicBezTo>
                <a:cubicBezTo>
                  <a:pt x="437" y="375"/>
                  <a:pt x="436" y="375"/>
                  <a:pt x="437" y="375"/>
                </a:cubicBezTo>
                <a:cubicBezTo>
                  <a:pt x="437" y="375"/>
                  <a:pt x="438" y="375"/>
                  <a:pt x="437" y="375"/>
                </a:cubicBezTo>
                <a:cubicBezTo>
                  <a:pt x="437" y="375"/>
                  <a:pt x="437" y="375"/>
                  <a:pt x="437" y="374"/>
                </a:cubicBezTo>
                <a:cubicBezTo>
                  <a:pt x="437" y="374"/>
                  <a:pt x="437" y="374"/>
                  <a:pt x="436" y="373"/>
                </a:cubicBezTo>
                <a:cubicBezTo>
                  <a:pt x="436" y="373"/>
                  <a:pt x="435" y="372"/>
                  <a:pt x="434" y="372"/>
                </a:cubicBezTo>
                <a:cubicBezTo>
                  <a:pt x="433" y="371"/>
                  <a:pt x="432" y="371"/>
                  <a:pt x="431" y="371"/>
                </a:cubicBezTo>
                <a:cubicBezTo>
                  <a:pt x="431" y="370"/>
                  <a:pt x="430" y="371"/>
                  <a:pt x="430" y="370"/>
                </a:cubicBezTo>
                <a:cubicBezTo>
                  <a:pt x="430" y="370"/>
                  <a:pt x="428" y="370"/>
                  <a:pt x="428" y="370"/>
                </a:cubicBezTo>
                <a:cubicBezTo>
                  <a:pt x="428" y="371"/>
                  <a:pt x="430" y="370"/>
                  <a:pt x="430" y="370"/>
                </a:cubicBezTo>
                <a:cubicBezTo>
                  <a:pt x="431" y="371"/>
                  <a:pt x="430" y="371"/>
                  <a:pt x="430" y="372"/>
                </a:cubicBezTo>
                <a:cubicBezTo>
                  <a:pt x="430" y="372"/>
                  <a:pt x="431" y="371"/>
                  <a:pt x="431" y="371"/>
                </a:cubicBezTo>
                <a:cubicBezTo>
                  <a:pt x="432" y="371"/>
                  <a:pt x="432" y="371"/>
                  <a:pt x="432" y="371"/>
                </a:cubicBezTo>
                <a:cubicBezTo>
                  <a:pt x="432" y="372"/>
                  <a:pt x="433" y="371"/>
                  <a:pt x="433" y="372"/>
                </a:cubicBezTo>
                <a:cubicBezTo>
                  <a:pt x="434" y="372"/>
                  <a:pt x="434" y="373"/>
                  <a:pt x="435" y="373"/>
                </a:cubicBezTo>
                <a:cubicBezTo>
                  <a:pt x="435" y="373"/>
                  <a:pt x="436" y="373"/>
                  <a:pt x="436" y="374"/>
                </a:cubicBezTo>
                <a:cubicBezTo>
                  <a:pt x="435" y="374"/>
                  <a:pt x="435" y="374"/>
                  <a:pt x="434" y="374"/>
                </a:cubicBezTo>
                <a:cubicBezTo>
                  <a:pt x="434" y="374"/>
                  <a:pt x="434" y="374"/>
                  <a:pt x="434" y="373"/>
                </a:cubicBezTo>
                <a:cubicBezTo>
                  <a:pt x="433" y="373"/>
                  <a:pt x="433" y="373"/>
                  <a:pt x="433" y="373"/>
                </a:cubicBezTo>
                <a:cubicBezTo>
                  <a:pt x="432" y="373"/>
                  <a:pt x="432" y="373"/>
                  <a:pt x="432" y="373"/>
                </a:cubicBezTo>
                <a:cubicBezTo>
                  <a:pt x="431" y="373"/>
                  <a:pt x="431" y="373"/>
                  <a:pt x="430" y="373"/>
                </a:cubicBezTo>
                <a:cubicBezTo>
                  <a:pt x="430" y="373"/>
                  <a:pt x="429" y="371"/>
                  <a:pt x="429" y="372"/>
                </a:cubicBezTo>
                <a:cubicBezTo>
                  <a:pt x="429" y="372"/>
                  <a:pt x="430" y="373"/>
                  <a:pt x="430" y="373"/>
                </a:cubicBezTo>
                <a:cubicBezTo>
                  <a:pt x="431" y="373"/>
                  <a:pt x="432" y="373"/>
                  <a:pt x="432" y="374"/>
                </a:cubicBezTo>
                <a:cubicBezTo>
                  <a:pt x="432" y="374"/>
                  <a:pt x="431" y="373"/>
                  <a:pt x="431" y="373"/>
                </a:cubicBezTo>
                <a:cubicBezTo>
                  <a:pt x="431" y="373"/>
                  <a:pt x="433" y="373"/>
                  <a:pt x="432" y="374"/>
                </a:cubicBezTo>
                <a:cubicBezTo>
                  <a:pt x="432" y="374"/>
                  <a:pt x="431" y="374"/>
                  <a:pt x="431" y="375"/>
                </a:cubicBezTo>
                <a:cubicBezTo>
                  <a:pt x="431" y="374"/>
                  <a:pt x="432" y="375"/>
                  <a:pt x="432" y="374"/>
                </a:cubicBezTo>
                <a:cubicBezTo>
                  <a:pt x="432" y="374"/>
                  <a:pt x="433" y="374"/>
                  <a:pt x="433" y="374"/>
                </a:cubicBezTo>
                <a:cubicBezTo>
                  <a:pt x="433" y="375"/>
                  <a:pt x="432" y="375"/>
                  <a:pt x="432" y="375"/>
                </a:cubicBezTo>
                <a:cubicBezTo>
                  <a:pt x="432" y="375"/>
                  <a:pt x="432" y="376"/>
                  <a:pt x="432" y="376"/>
                </a:cubicBezTo>
                <a:cubicBezTo>
                  <a:pt x="433" y="377"/>
                  <a:pt x="431" y="376"/>
                  <a:pt x="431" y="376"/>
                </a:cubicBezTo>
                <a:cubicBezTo>
                  <a:pt x="430" y="375"/>
                  <a:pt x="430" y="373"/>
                  <a:pt x="428" y="372"/>
                </a:cubicBezTo>
                <a:cubicBezTo>
                  <a:pt x="429" y="373"/>
                  <a:pt x="429" y="373"/>
                  <a:pt x="429" y="373"/>
                </a:cubicBezTo>
                <a:cubicBezTo>
                  <a:pt x="430" y="374"/>
                  <a:pt x="430" y="374"/>
                  <a:pt x="430" y="375"/>
                </a:cubicBezTo>
                <a:cubicBezTo>
                  <a:pt x="431" y="375"/>
                  <a:pt x="432" y="377"/>
                  <a:pt x="432" y="377"/>
                </a:cubicBezTo>
                <a:cubicBezTo>
                  <a:pt x="432" y="378"/>
                  <a:pt x="429" y="377"/>
                  <a:pt x="429" y="376"/>
                </a:cubicBezTo>
                <a:cubicBezTo>
                  <a:pt x="429" y="376"/>
                  <a:pt x="427" y="374"/>
                  <a:pt x="427" y="374"/>
                </a:cubicBezTo>
                <a:cubicBezTo>
                  <a:pt x="427" y="374"/>
                  <a:pt x="428" y="375"/>
                  <a:pt x="429" y="375"/>
                </a:cubicBezTo>
                <a:cubicBezTo>
                  <a:pt x="429" y="375"/>
                  <a:pt x="430" y="376"/>
                  <a:pt x="430" y="376"/>
                </a:cubicBezTo>
                <a:cubicBezTo>
                  <a:pt x="430" y="376"/>
                  <a:pt x="429" y="375"/>
                  <a:pt x="429" y="375"/>
                </a:cubicBezTo>
                <a:cubicBezTo>
                  <a:pt x="429" y="374"/>
                  <a:pt x="428" y="374"/>
                  <a:pt x="427" y="373"/>
                </a:cubicBezTo>
                <a:cubicBezTo>
                  <a:pt x="427" y="373"/>
                  <a:pt x="428" y="373"/>
                  <a:pt x="428" y="373"/>
                </a:cubicBezTo>
                <a:cubicBezTo>
                  <a:pt x="428" y="372"/>
                  <a:pt x="427" y="373"/>
                  <a:pt x="427" y="372"/>
                </a:cubicBezTo>
                <a:cubicBezTo>
                  <a:pt x="427" y="373"/>
                  <a:pt x="427" y="373"/>
                  <a:pt x="426" y="372"/>
                </a:cubicBezTo>
                <a:cubicBezTo>
                  <a:pt x="426" y="372"/>
                  <a:pt x="426" y="373"/>
                  <a:pt x="426" y="373"/>
                </a:cubicBezTo>
                <a:cubicBezTo>
                  <a:pt x="426" y="373"/>
                  <a:pt x="425" y="373"/>
                  <a:pt x="425" y="372"/>
                </a:cubicBezTo>
                <a:cubicBezTo>
                  <a:pt x="426" y="372"/>
                  <a:pt x="425" y="372"/>
                  <a:pt x="424" y="372"/>
                </a:cubicBezTo>
                <a:cubicBezTo>
                  <a:pt x="424" y="372"/>
                  <a:pt x="424" y="372"/>
                  <a:pt x="424" y="371"/>
                </a:cubicBezTo>
                <a:cubicBezTo>
                  <a:pt x="423" y="371"/>
                  <a:pt x="423" y="370"/>
                  <a:pt x="423" y="370"/>
                </a:cubicBezTo>
                <a:cubicBezTo>
                  <a:pt x="422" y="369"/>
                  <a:pt x="423" y="369"/>
                  <a:pt x="423" y="369"/>
                </a:cubicBezTo>
                <a:cubicBezTo>
                  <a:pt x="424" y="370"/>
                  <a:pt x="425" y="370"/>
                  <a:pt x="425" y="371"/>
                </a:cubicBezTo>
                <a:cubicBezTo>
                  <a:pt x="425" y="371"/>
                  <a:pt x="426" y="372"/>
                  <a:pt x="426" y="372"/>
                </a:cubicBezTo>
                <a:cubicBezTo>
                  <a:pt x="426" y="371"/>
                  <a:pt x="426" y="371"/>
                  <a:pt x="425" y="371"/>
                </a:cubicBezTo>
                <a:cubicBezTo>
                  <a:pt x="425" y="371"/>
                  <a:pt x="425" y="370"/>
                  <a:pt x="425" y="370"/>
                </a:cubicBezTo>
                <a:cubicBezTo>
                  <a:pt x="425" y="370"/>
                  <a:pt x="425" y="370"/>
                  <a:pt x="425" y="370"/>
                </a:cubicBezTo>
                <a:cubicBezTo>
                  <a:pt x="424" y="370"/>
                  <a:pt x="424" y="369"/>
                  <a:pt x="424" y="369"/>
                </a:cubicBezTo>
                <a:cubicBezTo>
                  <a:pt x="424" y="368"/>
                  <a:pt x="423" y="368"/>
                  <a:pt x="423" y="368"/>
                </a:cubicBezTo>
                <a:cubicBezTo>
                  <a:pt x="423" y="367"/>
                  <a:pt x="424" y="368"/>
                  <a:pt x="424" y="368"/>
                </a:cubicBezTo>
                <a:cubicBezTo>
                  <a:pt x="424" y="368"/>
                  <a:pt x="423" y="367"/>
                  <a:pt x="423" y="367"/>
                </a:cubicBezTo>
                <a:cubicBezTo>
                  <a:pt x="423" y="367"/>
                  <a:pt x="423" y="367"/>
                  <a:pt x="423" y="367"/>
                </a:cubicBezTo>
                <a:cubicBezTo>
                  <a:pt x="423" y="367"/>
                  <a:pt x="423" y="367"/>
                  <a:pt x="422" y="367"/>
                </a:cubicBezTo>
                <a:cubicBezTo>
                  <a:pt x="423" y="367"/>
                  <a:pt x="422" y="368"/>
                  <a:pt x="422" y="368"/>
                </a:cubicBezTo>
                <a:cubicBezTo>
                  <a:pt x="421" y="368"/>
                  <a:pt x="421" y="367"/>
                  <a:pt x="420" y="366"/>
                </a:cubicBezTo>
                <a:cubicBezTo>
                  <a:pt x="420" y="367"/>
                  <a:pt x="421" y="368"/>
                  <a:pt x="420" y="367"/>
                </a:cubicBezTo>
                <a:cubicBezTo>
                  <a:pt x="420" y="367"/>
                  <a:pt x="419" y="367"/>
                  <a:pt x="419" y="366"/>
                </a:cubicBezTo>
                <a:cubicBezTo>
                  <a:pt x="419" y="366"/>
                  <a:pt x="419" y="365"/>
                  <a:pt x="419" y="365"/>
                </a:cubicBezTo>
                <a:cubicBezTo>
                  <a:pt x="419" y="365"/>
                  <a:pt x="418" y="366"/>
                  <a:pt x="418" y="365"/>
                </a:cubicBezTo>
                <a:close/>
                <a:moveTo>
                  <a:pt x="448" y="386"/>
                </a:moveTo>
                <a:cubicBezTo>
                  <a:pt x="447" y="387"/>
                  <a:pt x="448" y="388"/>
                  <a:pt x="447" y="388"/>
                </a:cubicBezTo>
                <a:cubicBezTo>
                  <a:pt x="446" y="388"/>
                  <a:pt x="445" y="387"/>
                  <a:pt x="444" y="387"/>
                </a:cubicBezTo>
                <a:cubicBezTo>
                  <a:pt x="445" y="387"/>
                  <a:pt x="445" y="387"/>
                  <a:pt x="445" y="387"/>
                </a:cubicBezTo>
                <a:cubicBezTo>
                  <a:pt x="444" y="387"/>
                  <a:pt x="443" y="386"/>
                  <a:pt x="443" y="387"/>
                </a:cubicBezTo>
                <a:cubicBezTo>
                  <a:pt x="443" y="387"/>
                  <a:pt x="444" y="387"/>
                  <a:pt x="444" y="387"/>
                </a:cubicBezTo>
                <a:cubicBezTo>
                  <a:pt x="445" y="387"/>
                  <a:pt x="445" y="388"/>
                  <a:pt x="446" y="388"/>
                </a:cubicBezTo>
                <a:cubicBezTo>
                  <a:pt x="446" y="388"/>
                  <a:pt x="447" y="388"/>
                  <a:pt x="446" y="388"/>
                </a:cubicBezTo>
                <a:cubicBezTo>
                  <a:pt x="446" y="388"/>
                  <a:pt x="445" y="388"/>
                  <a:pt x="445" y="388"/>
                </a:cubicBezTo>
                <a:cubicBezTo>
                  <a:pt x="445" y="388"/>
                  <a:pt x="445" y="388"/>
                  <a:pt x="445" y="389"/>
                </a:cubicBezTo>
                <a:cubicBezTo>
                  <a:pt x="446" y="389"/>
                  <a:pt x="444" y="388"/>
                  <a:pt x="444" y="388"/>
                </a:cubicBezTo>
                <a:cubicBezTo>
                  <a:pt x="444" y="388"/>
                  <a:pt x="444" y="388"/>
                  <a:pt x="444" y="389"/>
                </a:cubicBezTo>
                <a:cubicBezTo>
                  <a:pt x="444" y="389"/>
                  <a:pt x="444" y="389"/>
                  <a:pt x="444" y="388"/>
                </a:cubicBezTo>
                <a:cubicBezTo>
                  <a:pt x="444" y="389"/>
                  <a:pt x="445" y="389"/>
                  <a:pt x="445" y="389"/>
                </a:cubicBezTo>
                <a:cubicBezTo>
                  <a:pt x="445" y="389"/>
                  <a:pt x="444" y="389"/>
                  <a:pt x="444" y="389"/>
                </a:cubicBezTo>
                <a:cubicBezTo>
                  <a:pt x="445" y="390"/>
                  <a:pt x="444" y="390"/>
                  <a:pt x="443" y="390"/>
                </a:cubicBezTo>
                <a:cubicBezTo>
                  <a:pt x="443" y="390"/>
                  <a:pt x="445" y="391"/>
                  <a:pt x="445" y="391"/>
                </a:cubicBezTo>
                <a:cubicBezTo>
                  <a:pt x="445" y="390"/>
                  <a:pt x="445" y="391"/>
                  <a:pt x="446" y="391"/>
                </a:cubicBezTo>
                <a:cubicBezTo>
                  <a:pt x="445" y="391"/>
                  <a:pt x="445" y="390"/>
                  <a:pt x="445" y="390"/>
                </a:cubicBezTo>
                <a:cubicBezTo>
                  <a:pt x="446" y="390"/>
                  <a:pt x="445" y="390"/>
                  <a:pt x="445" y="389"/>
                </a:cubicBezTo>
                <a:cubicBezTo>
                  <a:pt x="446" y="389"/>
                  <a:pt x="446" y="389"/>
                  <a:pt x="447" y="389"/>
                </a:cubicBezTo>
                <a:cubicBezTo>
                  <a:pt x="447" y="389"/>
                  <a:pt x="448" y="389"/>
                  <a:pt x="448" y="390"/>
                </a:cubicBezTo>
                <a:cubicBezTo>
                  <a:pt x="448" y="390"/>
                  <a:pt x="448" y="390"/>
                  <a:pt x="448" y="390"/>
                </a:cubicBezTo>
                <a:cubicBezTo>
                  <a:pt x="448" y="391"/>
                  <a:pt x="448" y="391"/>
                  <a:pt x="447" y="391"/>
                </a:cubicBezTo>
                <a:cubicBezTo>
                  <a:pt x="448" y="391"/>
                  <a:pt x="448" y="391"/>
                  <a:pt x="449" y="391"/>
                </a:cubicBezTo>
                <a:cubicBezTo>
                  <a:pt x="449" y="390"/>
                  <a:pt x="449" y="390"/>
                  <a:pt x="448" y="389"/>
                </a:cubicBezTo>
                <a:cubicBezTo>
                  <a:pt x="448" y="388"/>
                  <a:pt x="449" y="389"/>
                  <a:pt x="450" y="389"/>
                </a:cubicBezTo>
                <a:cubicBezTo>
                  <a:pt x="450" y="390"/>
                  <a:pt x="452" y="391"/>
                  <a:pt x="450" y="391"/>
                </a:cubicBezTo>
                <a:cubicBezTo>
                  <a:pt x="449" y="392"/>
                  <a:pt x="451" y="392"/>
                  <a:pt x="451" y="392"/>
                </a:cubicBezTo>
                <a:cubicBezTo>
                  <a:pt x="452" y="391"/>
                  <a:pt x="450" y="390"/>
                  <a:pt x="450" y="389"/>
                </a:cubicBezTo>
                <a:cubicBezTo>
                  <a:pt x="450" y="388"/>
                  <a:pt x="451" y="389"/>
                  <a:pt x="451" y="388"/>
                </a:cubicBezTo>
                <a:cubicBezTo>
                  <a:pt x="451" y="388"/>
                  <a:pt x="451" y="388"/>
                  <a:pt x="451" y="388"/>
                </a:cubicBezTo>
                <a:cubicBezTo>
                  <a:pt x="452" y="388"/>
                  <a:pt x="453" y="388"/>
                  <a:pt x="453" y="387"/>
                </a:cubicBezTo>
                <a:cubicBezTo>
                  <a:pt x="453" y="387"/>
                  <a:pt x="453" y="386"/>
                  <a:pt x="453" y="386"/>
                </a:cubicBezTo>
                <a:cubicBezTo>
                  <a:pt x="453" y="385"/>
                  <a:pt x="453" y="385"/>
                  <a:pt x="453" y="385"/>
                </a:cubicBezTo>
                <a:cubicBezTo>
                  <a:pt x="452" y="384"/>
                  <a:pt x="451" y="384"/>
                  <a:pt x="450" y="384"/>
                </a:cubicBezTo>
                <a:cubicBezTo>
                  <a:pt x="451" y="385"/>
                  <a:pt x="448" y="385"/>
                  <a:pt x="448" y="386"/>
                </a:cubicBezTo>
                <a:close/>
                <a:moveTo>
                  <a:pt x="474" y="404"/>
                </a:moveTo>
                <a:cubicBezTo>
                  <a:pt x="475" y="404"/>
                  <a:pt x="475" y="405"/>
                  <a:pt x="475" y="405"/>
                </a:cubicBezTo>
                <a:cubicBezTo>
                  <a:pt x="475" y="405"/>
                  <a:pt x="475" y="404"/>
                  <a:pt x="475" y="404"/>
                </a:cubicBezTo>
                <a:cubicBezTo>
                  <a:pt x="475" y="404"/>
                  <a:pt x="475" y="405"/>
                  <a:pt x="475" y="405"/>
                </a:cubicBezTo>
                <a:cubicBezTo>
                  <a:pt x="475" y="405"/>
                  <a:pt x="475" y="404"/>
                  <a:pt x="475" y="404"/>
                </a:cubicBezTo>
                <a:cubicBezTo>
                  <a:pt x="476" y="404"/>
                  <a:pt x="475" y="405"/>
                  <a:pt x="476" y="405"/>
                </a:cubicBezTo>
                <a:cubicBezTo>
                  <a:pt x="476" y="406"/>
                  <a:pt x="477" y="406"/>
                  <a:pt x="477" y="406"/>
                </a:cubicBezTo>
                <a:cubicBezTo>
                  <a:pt x="479" y="406"/>
                  <a:pt x="480" y="406"/>
                  <a:pt x="481" y="407"/>
                </a:cubicBezTo>
                <a:cubicBezTo>
                  <a:pt x="482" y="407"/>
                  <a:pt x="484" y="406"/>
                  <a:pt x="483" y="406"/>
                </a:cubicBezTo>
                <a:cubicBezTo>
                  <a:pt x="483" y="406"/>
                  <a:pt x="481" y="405"/>
                  <a:pt x="481" y="405"/>
                </a:cubicBezTo>
                <a:cubicBezTo>
                  <a:pt x="482" y="405"/>
                  <a:pt x="483" y="406"/>
                  <a:pt x="484" y="406"/>
                </a:cubicBezTo>
                <a:cubicBezTo>
                  <a:pt x="485" y="406"/>
                  <a:pt x="484" y="406"/>
                  <a:pt x="484" y="405"/>
                </a:cubicBezTo>
                <a:cubicBezTo>
                  <a:pt x="484" y="405"/>
                  <a:pt x="484" y="405"/>
                  <a:pt x="483" y="405"/>
                </a:cubicBezTo>
                <a:cubicBezTo>
                  <a:pt x="483" y="405"/>
                  <a:pt x="484" y="405"/>
                  <a:pt x="484" y="405"/>
                </a:cubicBezTo>
                <a:cubicBezTo>
                  <a:pt x="482" y="401"/>
                  <a:pt x="480" y="397"/>
                  <a:pt x="478" y="393"/>
                </a:cubicBezTo>
                <a:cubicBezTo>
                  <a:pt x="477" y="391"/>
                  <a:pt x="476" y="389"/>
                  <a:pt x="475" y="387"/>
                </a:cubicBezTo>
                <a:cubicBezTo>
                  <a:pt x="475" y="386"/>
                  <a:pt x="474" y="385"/>
                  <a:pt x="474" y="384"/>
                </a:cubicBezTo>
                <a:cubicBezTo>
                  <a:pt x="473" y="383"/>
                  <a:pt x="473" y="383"/>
                  <a:pt x="472" y="382"/>
                </a:cubicBezTo>
                <a:cubicBezTo>
                  <a:pt x="472" y="382"/>
                  <a:pt x="471" y="381"/>
                  <a:pt x="471" y="382"/>
                </a:cubicBezTo>
                <a:cubicBezTo>
                  <a:pt x="471" y="382"/>
                  <a:pt x="470" y="382"/>
                  <a:pt x="470" y="383"/>
                </a:cubicBezTo>
                <a:cubicBezTo>
                  <a:pt x="469" y="383"/>
                  <a:pt x="469" y="383"/>
                  <a:pt x="468" y="382"/>
                </a:cubicBezTo>
                <a:cubicBezTo>
                  <a:pt x="467" y="382"/>
                  <a:pt x="467" y="382"/>
                  <a:pt x="466" y="381"/>
                </a:cubicBezTo>
                <a:cubicBezTo>
                  <a:pt x="466" y="381"/>
                  <a:pt x="465" y="381"/>
                  <a:pt x="465" y="381"/>
                </a:cubicBezTo>
                <a:cubicBezTo>
                  <a:pt x="464" y="381"/>
                  <a:pt x="464" y="381"/>
                  <a:pt x="464" y="382"/>
                </a:cubicBezTo>
                <a:cubicBezTo>
                  <a:pt x="465" y="382"/>
                  <a:pt x="465" y="383"/>
                  <a:pt x="464" y="384"/>
                </a:cubicBezTo>
                <a:cubicBezTo>
                  <a:pt x="464" y="384"/>
                  <a:pt x="464" y="384"/>
                  <a:pt x="464" y="384"/>
                </a:cubicBezTo>
                <a:cubicBezTo>
                  <a:pt x="463" y="384"/>
                  <a:pt x="463" y="384"/>
                  <a:pt x="463" y="384"/>
                </a:cubicBezTo>
                <a:cubicBezTo>
                  <a:pt x="462" y="385"/>
                  <a:pt x="462" y="384"/>
                  <a:pt x="461" y="384"/>
                </a:cubicBezTo>
                <a:cubicBezTo>
                  <a:pt x="461" y="383"/>
                  <a:pt x="460" y="383"/>
                  <a:pt x="460" y="383"/>
                </a:cubicBezTo>
                <a:cubicBezTo>
                  <a:pt x="460" y="383"/>
                  <a:pt x="459" y="383"/>
                  <a:pt x="459" y="384"/>
                </a:cubicBezTo>
                <a:cubicBezTo>
                  <a:pt x="459" y="384"/>
                  <a:pt x="460" y="384"/>
                  <a:pt x="460" y="384"/>
                </a:cubicBezTo>
                <a:cubicBezTo>
                  <a:pt x="460" y="384"/>
                  <a:pt x="460" y="385"/>
                  <a:pt x="460" y="385"/>
                </a:cubicBezTo>
                <a:cubicBezTo>
                  <a:pt x="461" y="385"/>
                  <a:pt x="461" y="385"/>
                  <a:pt x="461" y="385"/>
                </a:cubicBezTo>
                <a:cubicBezTo>
                  <a:pt x="461" y="385"/>
                  <a:pt x="462" y="385"/>
                  <a:pt x="462" y="386"/>
                </a:cubicBezTo>
                <a:cubicBezTo>
                  <a:pt x="462" y="386"/>
                  <a:pt x="462" y="387"/>
                  <a:pt x="461" y="387"/>
                </a:cubicBezTo>
                <a:cubicBezTo>
                  <a:pt x="461" y="387"/>
                  <a:pt x="460" y="386"/>
                  <a:pt x="460" y="386"/>
                </a:cubicBezTo>
                <a:cubicBezTo>
                  <a:pt x="459" y="386"/>
                  <a:pt x="461" y="389"/>
                  <a:pt x="461" y="390"/>
                </a:cubicBezTo>
                <a:cubicBezTo>
                  <a:pt x="462" y="390"/>
                  <a:pt x="462" y="390"/>
                  <a:pt x="463" y="391"/>
                </a:cubicBezTo>
                <a:cubicBezTo>
                  <a:pt x="463" y="391"/>
                  <a:pt x="464" y="391"/>
                  <a:pt x="464" y="391"/>
                </a:cubicBezTo>
                <a:cubicBezTo>
                  <a:pt x="465" y="391"/>
                  <a:pt x="465" y="390"/>
                  <a:pt x="466" y="390"/>
                </a:cubicBezTo>
                <a:cubicBezTo>
                  <a:pt x="467" y="390"/>
                  <a:pt x="468" y="390"/>
                  <a:pt x="468" y="390"/>
                </a:cubicBezTo>
                <a:cubicBezTo>
                  <a:pt x="470" y="390"/>
                  <a:pt x="471" y="390"/>
                  <a:pt x="471" y="391"/>
                </a:cubicBezTo>
                <a:cubicBezTo>
                  <a:pt x="472" y="392"/>
                  <a:pt x="468" y="393"/>
                  <a:pt x="468" y="393"/>
                </a:cubicBezTo>
                <a:cubicBezTo>
                  <a:pt x="467" y="393"/>
                  <a:pt x="466" y="394"/>
                  <a:pt x="466" y="395"/>
                </a:cubicBezTo>
                <a:cubicBezTo>
                  <a:pt x="467" y="396"/>
                  <a:pt x="467" y="396"/>
                  <a:pt x="468" y="397"/>
                </a:cubicBezTo>
                <a:cubicBezTo>
                  <a:pt x="468" y="397"/>
                  <a:pt x="468" y="398"/>
                  <a:pt x="469" y="398"/>
                </a:cubicBezTo>
                <a:cubicBezTo>
                  <a:pt x="471" y="399"/>
                  <a:pt x="472" y="399"/>
                  <a:pt x="474" y="399"/>
                </a:cubicBezTo>
                <a:cubicBezTo>
                  <a:pt x="475" y="400"/>
                  <a:pt x="476" y="400"/>
                  <a:pt x="478" y="401"/>
                </a:cubicBezTo>
                <a:cubicBezTo>
                  <a:pt x="478" y="401"/>
                  <a:pt x="479" y="401"/>
                  <a:pt x="479" y="401"/>
                </a:cubicBezTo>
                <a:cubicBezTo>
                  <a:pt x="479" y="401"/>
                  <a:pt x="479" y="402"/>
                  <a:pt x="479" y="402"/>
                </a:cubicBezTo>
                <a:cubicBezTo>
                  <a:pt x="479" y="402"/>
                  <a:pt x="478" y="401"/>
                  <a:pt x="478" y="402"/>
                </a:cubicBezTo>
                <a:cubicBezTo>
                  <a:pt x="478" y="402"/>
                  <a:pt x="479" y="403"/>
                  <a:pt x="478" y="403"/>
                </a:cubicBezTo>
                <a:cubicBezTo>
                  <a:pt x="478" y="403"/>
                  <a:pt x="478" y="402"/>
                  <a:pt x="477" y="402"/>
                </a:cubicBezTo>
                <a:cubicBezTo>
                  <a:pt x="477" y="403"/>
                  <a:pt x="477" y="403"/>
                  <a:pt x="477" y="404"/>
                </a:cubicBezTo>
                <a:cubicBezTo>
                  <a:pt x="476" y="403"/>
                  <a:pt x="477" y="403"/>
                  <a:pt x="477" y="402"/>
                </a:cubicBezTo>
                <a:cubicBezTo>
                  <a:pt x="478" y="401"/>
                  <a:pt x="477" y="401"/>
                  <a:pt x="476" y="401"/>
                </a:cubicBezTo>
                <a:cubicBezTo>
                  <a:pt x="476" y="401"/>
                  <a:pt x="474" y="400"/>
                  <a:pt x="474" y="400"/>
                </a:cubicBezTo>
                <a:cubicBezTo>
                  <a:pt x="474" y="401"/>
                  <a:pt x="475" y="401"/>
                  <a:pt x="475" y="401"/>
                </a:cubicBezTo>
                <a:cubicBezTo>
                  <a:pt x="475" y="401"/>
                  <a:pt x="472" y="400"/>
                  <a:pt x="472" y="400"/>
                </a:cubicBezTo>
                <a:cubicBezTo>
                  <a:pt x="471" y="400"/>
                  <a:pt x="472" y="401"/>
                  <a:pt x="472" y="401"/>
                </a:cubicBezTo>
                <a:cubicBezTo>
                  <a:pt x="473" y="401"/>
                  <a:pt x="473" y="401"/>
                  <a:pt x="473" y="402"/>
                </a:cubicBezTo>
                <a:cubicBezTo>
                  <a:pt x="473" y="402"/>
                  <a:pt x="473" y="402"/>
                  <a:pt x="474" y="403"/>
                </a:cubicBezTo>
                <a:cubicBezTo>
                  <a:pt x="473" y="403"/>
                  <a:pt x="473" y="402"/>
                  <a:pt x="473" y="402"/>
                </a:cubicBezTo>
                <a:cubicBezTo>
                  <a:pt x="472" y="402"/>
                  <a:pt x="472" y="402"/>
                  <a:pt x="472" y="402"/>
                </a:cubicBezTo>
                <a:cubicBezTo>
                  <a:pt x="472" y="402"/>
                  <a:pt x="472" y="402"/>
                  <a:pt x="472" y="402"/>
                </a:cubicBezTo>
                <a:cubicBezTo>
                  <a:pt x="472" y="401"/>
                  <a:pt x="471" y="401"/>
                  <a:pt x="471" y="401"/>
                </a:cubicBezTo>
                <a:cubicBezTo>
                  <a:pt x="471" y="400"/>
                  <a:pt x="470" y="400"/>
                  <a:pt x="470" y="400"/>
                </a:cubicBezTo>
                <a:cubicBezTo>
                  <a:pt x="469" y="399"/>
                  <a:pt x="469" y="400"/>
                  <a:pt x="469" y="400"/>
                </a:cubicBezTo>
                <a:cubicBezTo>
                  <a:pt x="469" y="401"/>
                  <a:pt x="470" y="400"/>
                  <a:pt x="470" y="401"/>
                </a:cubicBezTo>
                <a:cubicBezTo>
                  <a:pt x="470" y="401"/>
                  <a:pt x="469" y="401"/>
                  <a:pt x="470" y="401"/>
                </a:cubicBezTo>
                <a:cubicBezTo>
                  <a:pt x="469" y="401"/>
                  <a:pt x="469" y="401"/>
                  <a:pt x="468" y="400"/>
                </a:cubicBezTo>
                <a:cubicBezTo>
                  <a:pt x="467" y="400"/>
                  <a:pt x="467" y="400"/>
                  <a:pt x="466" y="400"/>
                </a:cubicBezTo>
                <a:cubicBezTo>
                  <a:pt x="465" y="399"/>
                  <a:pt x="463" y="398"/>
                  <a:pt x="462" y="398"/>
                </a:cubicBezTo>
                <a:cubicBezTo>
                  <a:pt x="462" y="398"/>
                  <a:pt x="463" y="399"/>
                  <a:pt x="463" y="399"/>
                </a:cubicBezTo>
                <a:cubicBezTo>
                  <a:pt x="463" y="399"/>
                  <a:pt x="463" y="399"/>
                  <a:pt x="462" y="399"/>
                </a:cubicBezTo>
                <a:cubicBezTo>
                  <a:pt x="463" y="400"/>
                  <a:pt x="465" y="399"/>
                  <a:pt x="466" y="400"/>
                </a:cubicBezTo>
                <a:cubicBezTo>
                  <a:pt x="466" y="400"/>
                  <a:pt x="467" y="401"/>
                  <a:pt x="468" y="401"/>
                </a:cubicBezTo>
                <a:cubicBezTo>
                  <a:pt x="468" y="402"/>
                  <a:pt x="469" y="402"/>
                  <a:pt x="470" y="402"/>
                </a:cubicBezTo>
                <a:cubicBezTo>
                  <a:pt x="470" y="402"/>
                  <a:pt x="469" y="402"/>
                  <a:pt x="469" y="402"/>
                </a:cubicBezTo>
                <a:cubicBezTo>
                  <a:pt x="469" y="402"/>
                  <a:pt x="469" y="402"/>
                  <a:pt x="470" y="403"/>
                </a:cubicBezTo>
                <a:cubicBezTo>
                  <a:pt x="469" y="403"/>
                  <a:pt x="469" y="402"/>
                  <a:pt x="468" y="402"/>
                </a:cubicBezTo>
                <a:cubicBezTo>
                  <a:pt x="468" y="402"/>
                  <a:pt x="467" y="402"/>
                  <a:pt x="467" y="401"/>
                </a:cubicBezTo>
                <a:cubicBezTo>
                  <a:pt x="466" y="401"/>
                  <a:pt x="466" y="401"/>
                  <a:pt x="466" y="401"/>
                </a:cubicBezTo>
                <a:cubicBezTo>
                  <a:pt x="465" y="402"/>
                  <a:pt x="466" y="402"/>
                  <a:pt x="466" y="403"/>
                </a:cubicBezTo>
                <a:cubicBezTo>
                  <a:pt x="466" y="403"/>
                  <a:pt x="467" y="403"/>
                  <a:pt x="467" y="403"/>
                </a:cubicBezTo>
                <a:cubicBezTo>
                  <a:pt x="466" y="403"/>
                  <a:pt x="466" y="403"/>
                  <a:pt x="466" y="403"/>
                </a:cubicBezTo>
                <a:cubicBezTo>
                  <a:pt x="466" y="403"/>
                  <a:pt x="466" y="403"/>
                  <a:pt x="466" y="403"/>
                </a:cubicBezTo>
                <a:cubicBezTo>
                  <a:pt x="465" y="403"/>
                  <a:pt x="465" y="402"/>
                  <a:pt x="465" y="401"/>
                </a:cubicBezTo>
                <a:cubicBezTo>
                  <a:pt x="465" y="401"/>
                  <a:pt x="465" y="401"/>
                  <a:pt x="465" y="401"/>
                </a:cubicBezTo>
                <a:cubicBezTo>
                  <a:pt x="466" y="400"/>
                  <a:pt x="463" y="400"/>
                  <a:pt x="463" y="400"/>
                </a:cubicBezTo>
                <a:cubicBezTo>
                  <a:pt x="463" y="401"/>
                  <a:pt x="463" y="401"/>
                  <a:pt x="463" y="402"/>
                </a:cubicBezTo>
                <a:cubicBezTo>
                  <a:pt x="463" y="401"/>
                  <a:pt x="462" y="401"/>
                  <a:pt x="462" y="401"/>
                </a:cubicBezTo>
                <a:cubicBezTo>
                  <a:pt x="462" y="402"/>
                  <a:pt x="462" y="402"/>
                  <a:pt x="462" y="402"/>
                </a:cubicBezTo>
                <a:cubicBezTo>
                  <a:pt x="462" y="402"/>
                  <a:pt x="461" y="401"/>
                  <a:pt x="460" y="401"/>
                </a:cubicBezTo>
                <a:cubicBezTo>
                  <a:pt x="458" y="400"/>
                  <a:pt x="460" y="402"/>
                  <a:pt x="460" y="401"/>
                </a:cubicBezTo>
                <a:cubicBezTo>
                  <a:pt x="460" y="402"/>
                  <a:pt x="459" y="401"/>
                  <a:pt x="458" y="401"/>
                </a:cubicBezTo>
                <a:cubicBezTo>
                  <a:pt x="458" y="401"/>
                  <a:pt x="459" y="401"/>
                  <a:pt x="459" y="401"/>
                </a:cubicBezTo>
                <a:cubicBezTo>
                  <a:pt x="459" y="401"/>
                  <a:pt x="458" y="401"/>
                  <a:pt x="458" y="401"/>
                </a:cubicBezTo>
                <a:cubicBezTo>
                  <a:pt x="458" y="401"/>
                  <a:pt x="459" y="402"/>
                  <a:pt x="459" y="402"/>
                </a:cubicBezTo>
                <a:cubicBezTo>
                  <a:pt x="459" y="402"/>
                  <a:pt x="459" y="402"/>
                  <a:pt x="459" y="402"/>
                </a:cubicBezTo>
                <a:cubicBezTo>
                  <a:pt x="458" y="402"/>
                  <a:pt x="457" y="401"/>
                  <a:pt x="456" y="401"/>
                </a:cubicBezTo>
                <a:cubicBezTo>
                  <a:pt x="456" y="401"/>
                  <a:pt x="456" y="401"/>
                  <a:pt x="456" y="401"/>
                </a:cubicBezTo>
                <a:cubicBezTo>
                  <a:pt x="456" y="402"/>
                  <a:pt x="457" y="402"/>
                  <a:pt x="457" y="402"/>
                </a:cubicBezTo>
                <a:cubicBezTo>
                  <a:pt x="458" y="402"/>
                  <a:pt x="458" y="402"/>
                  <a:pt x="459" y="402"/>
                </a:cubicBezTo>
                <a:cubicBezTo>
                  <a:pt x="458" y="403"/>
                  <a:pt x="458" y="402"/>
                  <a:pt x="457" y="402"/>
                </a:cubicBezTo>
                <a:cubicBezTo>
                  <a:pt x="457" y="402"/>
                  <a:pt x="458" y="403"/>
                  <a:pt x="458" y="403"/>
                </a:cubicBezTo>
                <a:cubicBezTo>
                  <a:pt x="457" y="403"/>
                  <a:pt x="457" y="402"/>
                  <a:pt x="456" y="402"/>
                </a:cubicBezTo>
                <a:cubicBezTo>
                  <a:pt x="456" y="402"/>
                  <a:pt x="455" y="401"/>
                  <a:pt x="455" y="402"/>
                </a:cubicBezTo>
                <a:cubicBezTo>
                  <a:pt x="455" y="402"/>
                  <a:pt x="455" y="402"/>
                  <a:pt x="456" y="402"/>
                </a:cubicBezTo>
                <a:cubicBezTo>
                  <a:pt x="455" y="402"/>
                  <a:pt x="455" y="402"/>
                  <a:pt x="455" y="402"/>
                </a:cubicBezTo>
                <a:cubicBezTo>
                  <a:pt x="455" y="402"/>
                  <a:pt x="455" y="402"/>
                  <a:pt x="455" y="403"/>
                </a:cubicBezTo>
                <a:cubicBezTo>
                  <a:pt x="455" y="403"/>
                  <a:pt x="456" y="403"/>
                  <a:pt x="456" y="403"/>
                </a:cubicBezTo>
                <a:cubicBezTo>
                  <a:pt x="456" y="403"/>
                  <a:pt x="456" y="403"/>
                  <a:pt x="456" y="403"/>
                </a:cubicBezTo>
                <a:cubicBezTo>
                  <a:pt x="456" y="403"/>
                  <a:pt x="456" y="404"/>
                  <a:pt x="456" y="404"/>
                </a:cubicBezTo>
                <a:cubicBezTo>
                  <a:pt x="457" y="404"/>
                  <a:pt x="458" y="404"/>
                  <a:pt x="457" y="403"/>
                </a:cubicBezTo>
                <a:cubicBezTo>
                  <a:pt x="457" y="403"/>
                  <a:pt x="458" y="403"/>
                  <a:pt x="458" y="403"/>
                </a:cubicBezTo>
                <a:cubicBezTo>
                  <a:pt x="458" y="403"/>
                  <a:pt x="458" y="403"/>
                  <a:pt x="458" y="403"/>
                </a:cubicBezTo>
                <a:cubicBezTo>
                  <a:pt x="458" y="403"/>
                  <a:pt x="459" y="404"/>
                  <a:pt x="459" y="403"/>
                </a:cubicBezTo>
                <a:cubicBezTo>
                  <a:pt x="459" y="403"/>
                  <a:pt x="459" y="403"/>
                  <a:pt x="459" y="403"/>
                </a:cubicBezTo>
                <a:cubicBezTo>
                  <a:pt x="459" y="403"/>
                  <a:pt x="459" y="404"/>
                  <a:pt x="459" y="404"/>
                </a:cubicBezTo>
                <a:cubicBezTo>
                  <a:pt x="460" y="404"/>
                  <a:pt x="459" y="403"/>
                  <a:pt x="460" y="403"/>
                </a:cubicBezTo>
                <a:cubicBezTo>
                  <a:pt x="460" y="403"/>
                  <a:pt x="460" y="404"/>
                  <a:pt x="460" y="404"/>
                </a:cubicBezTo>
                <a:cubicBezTo>
                  <a:pt x="460" y="404"/>
                  <a:pt x="460" y="403"/>
                  <a:pt x="461" y="404"/>
                </a:cubicBezTo>
                <a:cubicBezTo>
                  <a:pt x="460" y="403"/>
                  <a:pt x="461" y="403"/>
                  <a:pt x="461" y="403"/>
                </a:cubicBezTo>
                <a:cubicBezTo>
                  <a:pt x="461" y="403"/>
                  <a:pt x="460" y="403"/>
                  <a:pt x="460" y="403"/>
                </a:cubicBezTo>
                <a:cubicBezTo>
                  <a:pt x="460" y="403"/>
                  <a:pt x="461" y="403"/>
                  <a:pt x="461" y="403"/>
                </a:cubicBezTo>
                <a:cubicBezTo>
                  <a:pt x="461" y="403"/>
                  <a:pt x="460" y="403"/>
                  <a:pt x="460" y="402"/>
                </a:cubicBezTo>
                <a:cubicBezTo>
                  <a:pt x="461" y="402"/>
                  <a:pt x="461" y="403"/>
                  <a:pt x="461" y="403"/>
                </a:cubicBezTo>
                <a:cubicBezTo>
                  <a:pt x="461" y="403"/>
                  <a:pt x="461" y="402"/>
                  <a:pt x="461" y="402"/>
                </a:cubicBezTo>
                <a:cubicBezTo>
                  <a:pt x="462" y="402"/>
                  <a:pt x="461" y="403"/>
                  <a:pt x="462" y="403"/>
                </a:cubicBezTo>
                <a:cubicBezTo>
                  <a:pt x="462" y="403"/>
                  <a:pt x="462" y="403"/>
                  <a:pt x="462" y="403"/>
                </a:cubicBezTo>
                <a:cubicBezTo>
                  <a:pt x="462" y="404"/>
                  <a:pt x="461" y="404"/>
                  <a:pt x="462" y="404"/>
                </a:cubicBezTo>
                <a:cubicBezTo>
                  <a:pt x="462" y="404"/>
                  <a:pt x="463" y="404"/>
                  <a:pt x="463" y="404"/>
                </a:cubicBezTo>
                <a:cubicBezTo>
                  <a:pt x="463" y="403"/>
                  <a:pt x="464" y="404"/>
                  <a:pt x="463" y="403"/>
                </a:cubicBezTo>
                <a:cubicBezTo>
                  <a:pt x="464" y="403"/>
                  <a:pt x="464" y="404"/>
                  <a:pt x="464" y="405"/>
                </a:cubicBezTo>
                <a:cubicBezTo>
                  <a:pt x="464" y="405"/>
                  <a:pt x="465" y="404"/>
                  <a:pt x="465" y="404"/>
                </a:cubicBezTo>
                <a:cubicBezTo>
                  <a:pt x="465" y="404"/>
                  <a:pt x="466" y="404"/>
                  <a:pt x="466" y="404"/>
                </a:cubicBezTo>
                <a:cubicBezTo>
                  <a:pt x="466" y="404"/>
                  <a:pt x="465" y="404"/>
                  <a:pt x="465" y="405"/>
                </a:cubicBezTo>
                <a:cubicBezTo>
                  <a:pt x="466" y="405"/>
                  <a:pt x="466" y="404"/>
                  <a:pt x="467" y="404"/>
                </a:cubicBezTo>
                <a:cubicBezTo>
                  <a:pt x="468" y="404"/>
                  <a:pt x="467" y="404"/>
                  <a:pt x="467" y="404"/>
                </a:cubicBezTo>
                <a:cubicBezTo>
                  <a:pt x="467" y="403"/>
                  <a:pt x="468" y="403"/>
                  <a:pt x="468" y="404"/>
                </a:cubicBezTo>
                <a:cubicBezTo>
                  <a:pt x="468" y="404"/>
                  <a:pt x="467" y="405"/>
                  <a:pt x="467" y="405"/>
                </a:cubicBezTo>
                <a:cubicBezTo>
                  <a:pt x="466" y="405"/>
                  <a:pt x="466" y="406"/>
                  <a:pt x="467" y="405"/>
                </a:cubicBezTo>
                <a:cubicBezTo>
                  <a:pt x="467" y="405"/>
                  <a:pt x="468" y="405"/>
                  <a:pt x="468" y="405"/>
                </a:cubicBezTo>
                <a:cubicBezTo>
                  <a:pt x="468" y="405"/>
                  <a:pt x="470" y="405"/>
                  <a:pt x="470" y="405"/>
                </a:cubicBezTo>
                <a:cubicBezTo>
                  <a:pt x="470" y="405"/>
                  <a:pt x="470" y="404"/>
                  <a:pt x="470" y="404"/>
                </a:cubicBezTo>
                <a:cubicBezTo>
                  <a:pt x="471" y="404"/>
                  <a:pt x="470" y="405"/>
                  <a:pt x="470" y="405"/>
                </a:cubicBezTo>
                <a:cubicBezTo>
                  <a:pt x="470" y="405"/>
                  <a:pt x="471" y="406"/>
                  <a:pt x="471" y="406"/>
                </a:cubicBezTo>
                <a:cubicBezTo>
                  <a:pt x="471" y="406"/>
                  <a:pt x="472" y="406"/>
                  <a:pt x="472" y="405"/>
                </a:cubicBezTo>
                <a:cubicBezTo>
                  <a:pt x="472" y="405"/>
                  <a:pt x="472" y="405"/>
                  <a:pt x="472" y="405"/>
                </a:cubicBezTo>
                <a:cubicBezTo>
                  <a:pt x="472" y="405"/>
                  <a:pt x="472" y="405"/>
                  <a:pt x="472" y="405"/>
                </a:cubicBezTo>
                <a:cubicBezTo>
                  <a:pt x="472" y="405"/>
                  <a:pt x="473" y="406"/>
                  <a:pt x="473" y="405"/>
                </a:cubicBezTo>
                <a:cubicBezTo>
                  <a:pt x="473" y="405"/>
                  <a:pt x="473" y="405"/>
                  <a:pt x="473" y="405"/>
                </a:cubicBezTo>
                <a:cubicBezTo>
                  <a:pt x="473" y="405"/>
                  <a:pt x="472" y="404"/>
                  <a:pt x="473" y="404"/>
                </a:cubicBezTo>
                <a:cubicBezTo>
                  <a:pt x="473" y="404"/>
                  <a:pt x="473" y="405"/>
                  <a:pt x="474" y="405"/>
                </a:cubicBezTo>
                <a:cubicBezTo>
                  <a:pt x="475" y="406"/>
                  <a:pt x="475" y="404"/>
                  <a:pt x="474" y="404"/>
                </a:cubicBezTo>
                <a:close/>
                <a:moveTo>
                  <a:pt x="465" y="406"/>
                </a:moveTo>
                <a:cubicBezTo>
                  <a:pt x="465" y="406"/>
                  <a:pt x="465" y="406"/>
                  <a:pt x="464" y="406"/>
                </a:cubicBezTo>
                <a:cubicBezTo>
                  <a:pt x="464" y="406"/>
                  <a:pt x="463" y="405"/>
                  <a:pt x="462" y="405"/>
                </a:cubicBezTo>
                <a:cubicBezTo>
                  <a:pt x="461" y="405"/>
                  <a:pt x="462" y="406"/>
                  <a:pt x="462" y="406"/>
                </a:cubicBezTo>
                <a:cubicBezTo>
                  <a:pt x="463" y="407"/>
                  <a:pt x="462" y="406"/>
                  <a:pt x="462" y="406"/>
                </a:cubicBezTo>
                <a:cubicBezTo>
                  <a:pt x="463" y="406"/>
                  <a:pt x="463" y="407"/>
                  <a:pt x="463" y="407"/>
                </a:cubicBezTo>
                <a:cubicBezTo>
                  <a:pt x="463" y="406"/>
                  <a:pt x="463" y="406"/>
                  <a:pt x="463" y="406"/>
                </a:cubicBezTo>
                <a:cubicBezTo>
                  <a:pt x="463" y="406"/>
                  <a:pt x="463" y="406"/>
                  <a:pt x="464" y="406"/>
                </a:cubicBezTo>
                <a:cubicBezTo>
                  <a:pt x="464" y="406"/>
                  <a:pt x="464" y="406"/>
                  <a:pt x="465" y="406"/>
                </a:cubicBezTo>
                <a:cubicBezTo>
                  <a:pt x="465" y="406"/>
                  <a:pt x="464" y="406"/>
                  <a:pt x="464" y="406"/>
                </a:cubicBezTo>
                <a:cubicBezTo>
                  <a:pt x="465" y="406"/>
                  <a:pt x="466" y="407"/>
                  <a:pt x="466" y="406"/>
                </a:cubicBezTo>
                <a:cubicBezTo>
                  <a:pt x="466" y="406"/>
                  <a:pt x="466" y="406"/>
                  <a:pt x="465" y="40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6" name="Chad"/>
          <p:cNvSpPr>
            <a:spLocks/>
          </p:cNvSpPr>
          <p:nvPr/>
        </p:nvSpPr>
        <p:spPr bwMode="auto">
          <a:xfrm>
            <a:off x="6265066" y="3730972"/>
            <a:ext cx="364987" cy="635977"/>
          </a:xfrm>
          <a:custGeom>
            <a:avLst/>
            <a:gdLst/>
            <a:ahLst/>
            <a:cxnLst>
              <a:cxn ang="0">
                <a:pos x="100" y="57"/>
              </a:cxn>
              <a:cxn ang="0">
                <a:pos x="97" y="42"/>
              </a:cxn>
              <a:cxn ang="0">
                <a:pos x="32" y="5"/>
              </a:cxn>
              <a:cxn ang="0">
                <a:pos x="18" y="3"/>
              </a:cxn>
              <a:cxn ang="0">
                <a:pos x="14" y="8"/>
              </a:cxn>
              <a:cxn ang="0">
                <a:pos x="16" y="20"/>
              </a:cxn>
              <a:cxn ang="0">
                <a:pos x="19" y="26"/>
              </a:cxn>
              <a:cxn ang="0">
                <a:pos x="21" y="32"/>
              </a:cxn>
              <a:cxn ang="0">
                <a:pos x="22" y="38"/>
              </a:cxn>
              <a:cxn ang="0">
                <a:pos x="19" y="68"/>
              </a:cxn>
              <a:cxn ang="0">
                <a:pos x="15" y="77"/>
              </a:cxn>
              <a:cxn ang="0">
                <a:pos x="3" y="95"/>
              </a:cxn>
              <a:cxn ang="0">
                <a:pos x="0" y="99"/>
              </a:cxn>
              <a:cxn ang="0">
                <a:pos x="3" y="110"/>
              </a:cxn>
              <a:cxn ang="0">
                <a:pos x="10" y="118"/>
              </a:cxn>
              <a:cxn ang="0">
                <a:pos x="13" y="122"/>
              </a:cxn>
              <a:cxn ang="0">
                <a:pos x="15" y="130"/>
              </a:cxn>
              <a:cxn ang="0">
                <a:pos x="15" y="138"/>
              </a:cxn>
              <a:cxn ang="0">
                <a:pos x="17" y="143"/>
              </a:cxn>
              <a:cxn ang="0">
                <a:pos x="20" y="149"/>
              </a:cxn>
              <a:cxn ang="0">
                <a:pos x="14" y="149"/>
              </a:cxn>
              <a:cxn ang="0">
                <a:pos x="7" y="149"/>
              </a:cxn>
              <a:cxn ang="0">
                <a:pos x="7" y="154"/>
              </a:cxn>
              <a:cxn ang="0">
                <a:pos x="13" y="161"/>
              </a:cxn>
              <a:cxn ang="0">
                <a:pos x="18" y="168"/>
              </a:cxn>
              <a:cxn ang="0">
                <a:pos x="21" y="174"/>
              </a:cxn>
              <a:cxn ang="0">
                <a:pos x="22" y="176"/>
              </a:cxn>
              <a:cxn ang="0">
                <a:pos x="28" y="174"/>
              </a:cxn>
              <a:cxn ang="0">
                <a:pos x="30" y="173"/>
              </a:cxn>
              <a:cxn ang="0">
                <a:pos x="32" y="175"/>
              </a:cxn>
              <a:cxn ang="0">
                <a:pos x="34" y="174"/>
              </a:cxn>
              <a:cxn ang="0">
                <a:pos x="36" y="173"/>
              </a:cxn>
              <a:cxn ang="0">
                <a:pos x="39" y="171"/>
              </a:cxn>
              <a:cxn ang="0">
                <a:pos x="42" y="171"/>
              </a:cxn>
              <a:cxn ang="0">
                <a:pos x="50" y="170"/>
              </a:cxn>
              <a:cxn ang="0">
                <a:pos x="53" y="166"/>
              </a:cxn>
              <a:cxn ang="0">
                <a:pos x="56" y="159"/>
              </a:cxn>
              <a:cxn ang="0">
                <a:pos x="62" y="159"/>
              </a:cxn>
              <a:cxn ang="0">
                <a:pos x="64" y="158"/>
              </a:cxn>
              <a:cxn ang="0">
                <a:pos x="68" y="157"/>
              </a:cxn>
              <a:cxn ang="0">
                <a:pos x="69" y="156"/>
              </a:cxn>
              <a:cxn ang="0">
                <a:pos x="73" y="152"/>
              </a:cxn>
              <a:cxn ang="0">
                <a:pos x="78" y="146"/>
              </a:cxn>
              <a:cxn ang="0">
                <a:pos x="82" y="140"/>
              </a:cxn>
              <a:cxn ang="0">
                <a:pos x="86" y="138"/>
              </a:cxn>
              <a:cxn ang="0">
                <a:pos x="90" y="138"/>
              </a:cxn>
              <a:cxn ang="0">
                <a:pos x="90" y="133"/>
              </a:cxn>
              <a:cxn ang="0">
                <a:pos x="88" y="126"/>
              </a:cxn>
              <a:cxn ang="0">
                <a:pos x="86" y="121"/>
              </a:cxn>
              <a:cxn ang="0">
                <a:pos x="83" y="119"/>
              </a:cxn>
              <a:cxn ang="0">
                <a:pos x="84" y="112"/>
              </a:cxn>
              <a:cxn ang="0">
                <a:pos x="83" y="108"/>
              </a:cxn>
              <a:cxn ang="0">
                <a:pos x="83" y="106"/>
              </a:cxn>
              <a:cxn ang="0">
                <a:pos x="87" y="102"/>
              </a:cxn>
              <a:cxn ang="0">
                <a:pos x="86" y="100"/>
              </a:cxn>
              <a:cxn ang="0">
                <a:pos x="88" y="97"/>
              </a:cxn>
              <a:cxn ang="0">
                <a:pos x="89" y="94"/>
              </a:cxn>
              <a:cxn ang="0">
                <a:pos x="92" y="86"/>
              </a:cxn>
              <a:cxn ang="0">
                <a:pos x="100" y="85"/>
              </a:cxn>
            </a:cxnLst>
            <a:rect l="0" t="0" r="r" b="b"/>
            <a:pathLst>
              <a:path w="101" h="176">
                <a:moveTo>
                  <a:pt x="101" y="83"/>
                </a:moveTo>
                <a:cubicBezTo>
                  <a:pt x="101" y="81"/>
                  <a:pt x="101" y="79"/>
                  <a:pt x="101" y="77"/>
                </a:cubicBezTo>
                <a:cubicBezTo>
                  <a:pt x="101" y="69"/>
                  <a:pt x="100" y="66"/>
                  <a:pt x="100" y="57"/>
                </a:cubicBezTo>
                <a:cubicBezTo>
                  <a:pt x="100" y="55"/>
                  <a:pt x="100" y="48"/>
                  <a:pt x="100" y="46"/>
                </a:cubicBezTo>
                <a:cubicBezTo>
                  <a:pt x="100" y="45"/>
                  <a:pt x="100" y="44"/>
                  <a:pt x="100" y="44"/>
                </a:cubicBezTo>
                <a:cubicBezTo>
                  <a:pt x="99" y="43"/>
                  <a:pt x="98" y="43"/>
                  <a:pt x="97" y="42"/>
                </a:cubicBezTo>
                <a:cubicBezTo>
                  <a:pt x="94" y="40"/>
                  <a:pt x="90" y="38"/>
                  <a:pt x="87" y="36"/>
                </a:cubicBezTo>
                <a:cubicBezTo>
                  <a:pt x="73" y="28"/>
                  <a:pt x="67" y="24"/>
                  <a:pt x="53" y="16"/>
                </a:cubicBezTo>
                <a:cubicBezTo>
                  <a:pt x="49" y="14"/>
                  <a:pt x="36" y="7"/>
                  <a:pt x="32" y="5"/>
                </a:cubicBezTo>
                <a:cubicBezTo>
                  <a:pt x="31" y="4"/>
                  <a:pt x="29" y="3"/>
                  <a:pt x="27" y="2"/>
                </a:cubicBezTo>
                <a:cubicBezTo>
                  <a:pt x="26" y="2"/>
                  <a:pt x="24" y="0"/>
                  <a:pt x="23" y="1"/>
                </a:cubicBezTo>
                <a:cubicBezTo>
                  <a:pt x="21" y="1"/>
                  <a:pt x="20" y="2"/>
                  <a:pt x="18" y="3"/>
                </a:cubicBezTo>
                <a:cubicBezTo>
                  <a:pt x="18" y="4"/>
                  <a:pt x="17" y="4"/>
                  <a:pt x="16" y="4"/>
                </a:cubicBezTo>
                <a:cubicBezTo>
                  <a:pt x="15" y="5"/>
                  <a:pt x="15" y="5"/>
                  <a:pt x="14" y="5"/>
                </a:cubicBezTo>
                <a:cubicBezTo>
                  <a:pt x="14" y="6"/>
                  <a:pt x="14" y="7"/>
                  <a:pt x="14" y="8"/>
                </a:cubicBezTo>
                <a:cubicBezTo>
                  <a:pt x="14" y="9"/>
                  <a:pt x="15" y="10"/>
                  <a:pt x="15" y="11"/>
                </a:cubicBezTo>
                <a:cubicBezTo>
                  <a:pt x="15" y="13"/>
                  <a:pt x="16" y="15"/>
                  <a:pt x="16" y="17"/>
                </a:cubicBezTo>
                <a:cubicBezTo>
                  <a:pt x="16" y="18"/>
                  <a:pt x="16" y="19"/>
                  <a:pt x="16" y="20"/>
                </a:cubicBezTo>
                <a:cubicBezTo>
                  <a:pt x="16" y="21"/>
                  <a:pt x="16" y="21"/>
                  <a:pt x="16" y="22"/>
                </a:cubicBezTo>
                <a:cubicBezTo>
                  <a:pt x="16" y="23"/>
                  <a:pt x="17" y="23"/>
                  <a:pt x="17" y="24"/>
                </a:cubicBezTo>
                <a:cubicBezTo>
                  <a:pt x="18" y="24"/>
                  <a:pt x="18" y="25"/>
                  <a:pt x="19" y="26"/>
                </a:cubicBezTo>
                <a:cubicBezTo>
                  <a:pt x="19" y="26"/>
                  <a:pt x="20" y="27"/>
                  <a:pt x="20" y="28"/>
                </a:cubicBezTo>
                <a:cubicBezTo>
                  <a:pt x="19" y="29"/>
                  <a:pt x="19" y="29"/>
                  <a:pt x="19" y="30"/>
                </a:cubicBezTo>
                <a:cubicBezTo>
                  <a:pt x="20" y="31"/>
                  <a:pt x="21" y="31"/>
                  <a:pt x="21" y="32"/>
                </a:cubicBezTo>
                <a:cubicBezTo>
                  <a:pt x="22" y="32"/>
                  <a:pt x="22" y="33"/>
                  <a:pt x="23" y="34"/>
                </a:cubicBezTo>
                <a:cubicBezTo>
                  <a:pt x="23" y="34"/>
                  <a:pt x="24" y="35"/>
                  <a:pt x="23" y="35"/>
                </a:cubicBezTo>
                <a:cubicBezTo>
                  <a:pt x="23" y="36"/>
                  <a:pt x="22" y="37"/>
                  <a:pt x="22" y="38"/>
                </a:cubicBezTo>
                <a:cubicBezTo>
                  <a:pt x="21" y="39"/>
                  <a:pt x="21" y="41"/>
                  <a:pt x="21" y="43"/>
                </a:cubicBezTo>
                <a:cubicBezTo>
                  <a:pt x="21" y="47"/>
                  <a:pt x="20" y="51"/>
                  <a:pt x="20" y="55"/>
                </a:cubicBezTo>
                <a:cubicBezTo>
                  <a:pt x="20" y="59"/>
                  <a:pt x="20" y="63"/>
                  <a:pt x="19" y="68"/>
                </a:cubicBezTo>
                <a:cubicBezTo>
                  <a:pt x="19" y="69"/>
                  <a:pt x="19" y="70"/>
                  <a:pt x="19" y="71"/>
                </a:cubicBezTo>
                <a:cubicBezTo>
                  <a:pt x="19" y="72"/>
                  <a:pt x="19" y="73"/>
                  <a:pt x="19" y="73"/>
                </a:cubicBezTo>
                <a:cubicBezTo>
                  <a:pt x="17" y="74"/>
                  <a:pt x="16" y="76"/>
                  <a:pt x="15" y="77"/>
                </a:cubicBezTo>
                <a:cubicBezTo>
                  <a:pt x="13" y="80"/>
                  <a:pt x="10" y="83"/>
                  <a:pt x="8" y="86"/>
                </a:cubicBezTo>
                <a:cubicBezTo>
                  <a:pt x="7" y="88"/>
                  <a:pt x="6" y="89"/>
                  <a:pt x="5" y="91"/>
                </a:cubicBezTo>
                <a:cubicBezTo>
                  <a:pt x="4" y="92"/>
                  <a:pt x="3" y="94"/>
                  <a:pt x="3" y="95"/>
                </a:cubicBezTo>
                <a:cubicBezTo>
                  <a:pt x="3" y="96"/>
                  <a:pt x="3" y="96"/>
                  <a:pt x="2" y="97"/>
                </a:cubicBezTo>
                <a:cubicBezTo>
                  <a:pt x="2" y="97"/>
                  <a:pt x="2" y="97"/>
                  <a:pt x="2" y="98"/>
                </a:cubicBezTo>
                <a:cubicBezTo>
                  <a:pt x="2" y="99"/>
                  <a:pt x="1" y="99"/>
                  <a:pt x="0" y="99"/>
                </a:cubicBezTo>
                <a:cubicBezTo>
                  <a:pt x="0" y="99"/>
                  <a:pt x="0" y="100"/>
                  <a:pt x="0" y="100"/>
                </a:cubicBezTo>
                <a:cubicBezTo>
                  <a:pt x="0" y="102"/>
                  <a:pt x="1" y="104"/>
                  <a:pt x="1" y="106"/>
                </a:cubicBezTo>
                <a:cubicBezTo>
                  <a:pt x="1" y="107"/>
                  <a:pt x="2" y="109"/>
                  <a:pt x="3" y="110"/>
                </a:cubicBezTo>
                <a:cubicBezTo>
                  <a:pt x="4" y="111"/>
                  <a:pt x="5" y="113"/>
                  <a:pt x="6" y="114"/>
                </a:cubicBezTo>
                <a:cubicBezTo>
                  <a:pt x="7" y="115"/>
                  <a:pt x="8" y="114"/>
                  <a:pt x="9" y="115"/>
                </a:cubicBezTo>
                <a:cubicBezTo>
                  <a:pt x="10" y="115"/>
                  <a:pt x="10" y="117"/>
                  <a:pt x="10" y="118"/>
                </a:cubicBezTo>
                <a:cubicBezTo>
                  <a:pt x="11" y="119"/>
                  <a:pt x="12" y="118"/>
                  <a:pt x="12" y="119"/>
                </a:cubicBezTo>
                <a:cubicBezTo>
                  <a:pt x="12" y="119"/>
                  <a:pt x="13" y="119"/>
                  <a:pt x="13" y="120"/>
                </a:cubicBezTo>
                <a:cubicBezTo>
                  <a:pt x="13" y="120"/>
                  <a:pt x="13" y="121"/>
                  <a:pt x="13" y="122"/>
                </a:cubicBezTo>
                <a:cubicBezTo>
                  <a:pt x="14" y="123"/>
                  <a:pt x="13" y="125"/>
                  <a:pt x="15" y="125"/>
                </a:cubicBezTo>
                <a:cubicBezTo>
                  <a:pt x="16" y="125"/>
                  <a:pt x="15" y="128"/>
                  <a:pt x="15" y="128"/>
                </a:cubicBezTo>
                <a:cubicBezTo>
                  <a:pt x="16" y="129"/>
                  <a:pt x="15" y="129"/>
                  <a:pt x="15" y="130"/>
                </a:cubicBezTo>
                <a:cubicBezTo>
                  <a:pt x="16" y="131"/>
                  <a:pt x="16" y="131"/>
                  <a:pt x="16" y="132"/>
                </a:cubicBezTo>
                <a:cubicBezTo>
                  <a:pt x="15" y="133"/>
                  <a:pt x="15" y="134"/>
                  <a:pt x="15" y="135"/>
                </a:cubicBezTo>
                <a:cubicBezTo>
                  <a:pt x="15" y="136"/>
                  <a:pt x="15" y="137"/>
                  <a:pt x="15" y="138"/>
                </a:cubicBezTo>
                <a:cubicBezTo>
                  <a:pt x="15" y="138"/>
                  <a:pt x="15" y="139"/>
                  <a:pt x="16" y="140"/>
                </a:cubicBezTo>
                <a:cubicBezTo>
                  <a:pt x="16" y="141"/>
                  <a:pt x="16" y="141"/>
                  <a:pt x="16" y="142"/>
                </a:cubicBezTo>
                <a:cubicBezTo>
                  <a:pt x="16" y="143"/>
                  <a:pt x="17" y="143"/>
                  <a:pt x="17" y="143"/>
                </a:cubicBezTo>
                <a:cubicBezTo>
                  <a:pt x="17" y="144"/>
                  <a:pt x="17" y="145"/>
                  <a:pt x="18" y="145"/>
                </a:cubicBezTo>
                <a:cubicBezTo>
                  <a:pt x="19" y="146"/>
                  <a:pt x="20" y="147"/>
                  <a:pt x="21" y="148"/>
                </a:cubicBezTo>
                <a:cubicBezTo>
                  <a:pt x="22" y="149"/>
                  <a:pt x="21" y="149"/>
                  <a:pt x="20" y="149"/>
                </a:cubicBezTo>
                <a:cubicBezTo>
                  <a:pt x="19" y="149"/>
                  <a:pt x="19" y="149"/>
                  <a:pt x="18" y="149"/>
                </a:cubicBezTo>
                <a:cubicBezTo>
                  <a:pt x="17" y="149"/>
                  <a:pt x="16" y="148"/>
                  <a:pt x="16" y="149"/>
                </a:cubicBezTo>
                <a:cubicBezTo>
                  <a:pt x="15" y="149"/>
                  <a:pt x="14" y="149"/>
                  <a:pt x="14" y="149"/>
                </a:cubicBezTo>
                <a:cubicBezTo>
                  <a:pt x="13" y="149"/>
                  <a:pt x="12" y="149"/>
                  <a:pt x="11" y="149"/>
                </a:cubicBezTo>
                <a:cubicBezTo>
                  <a:pt x="11" y="149"/>
                  <a:pt x="10" y="148"/>
                  <a:pt x="9" y="148"/>
                </a:cubicBezTo>
                <a:cubicBezTo>
                  <a:pt x="8" y="148"/>
                  <a:pt x="7" y="148"/>
                  <a:pt x="7" y="149"/>
                </a:cubicBezTo>
                <a:cubicBezTo>
                  <a:pt x="6" y="150"/>
                  <a:pt x="5" y="151"/>
                  <a:pt x="5" y="152"/>
                </a:cubicBezTo>
                <a:cubicBezTo>
                  <a:pt x="5" y="152"/>
                  <a:pt x="5" y="153"/>
                  <a:pt x="5" y="153"/>
                </a:cubicBezTo>
                <a:cubicBezTo>
                  <a:pt x="6" y="153"/>
                  <a:pt x="6" y="154"/>
                  <a:pt x="7" y="154"/>
                </a:cubicBezTo>
                <a:cubicBezTo>
                  <a:pt x="8" y="156"/>
                  <a:pt x="9" y="157"/>
                  <a:pt x="10" y="159"/>
                </a:cubicBezTo>
                <a:cubicBezTo>
                  <a:pt x="10" y="159"/>
                  <a:pt x="11" y="160"/>
                  <a:pt x="11" y="160"/>
                </a:cubicBezTo>
                <a:cubicBezTo>
                  <a:pt x="12" y="160"/>
                  <a:pt x="13" y="161"/>
                  <a:pt x="13" y="161"/>
                </a:cubicBezTo>
                <a:cubicBezTo>
                  <a:pt x="14" y="161"/>
                  <a:pt x="14" y="162"/>
                  <a:pt x="14" y="163"/>
                </a:cubicBezTo>
                <a:cubicBezTo>
                  <a:pt x="14" y="163"/>
                  <a:pt x="15" y="163"/>
                  <a:pt x="16" y="163"/>
                </a:cubicBezTo>
                <a:cubicBezTo>
                  <a:pt x="17" y="165"/>
                  <a:pt x="17" y="166"/>
                  <a:pt x="18" y="168"/>
                </a:cubicBezTo>
                <a:cubicBezTo>
                  <a:pt x="18" y="169"/>
                  <a:pt x="19" y="170"/>
                  <a:pt x="19" y="170"/>
                </a:cubicBezTo>
                <a:cubicBezTo>
                  <a:pt x="19" y="171"/>
                  <a:pt x="19" y="172"/>
                  <a:pt x="19" y="172"/>
                </a:cubicBezTo>
                <a:cubicBezTo>
                  <a:pt x="20" y="173"/>
                  <a:pt x="21" y="173"/>
                  <a:pt x="21" y="174"/>
                </a:cubicBezTo>
                <a:cubicBezTo>
                  <a:pt x="21" y="174"/>
                  <a:pt x="20" y="175"/>
                  <a:pt x="20" y="176"/>
                </a:cubicBezTo>
                <a:cubicBezTo>
                  <a:pt x="20" y="176"/>
                  <a:pt x="21" y="175"/>
                  <a:pt x="21" y="176"/>
                </a:cubicBezTo>
                <a:cubicBezTo>
                  <a:pt x="22" y="176"/>
                  <a:pt x="22" y="176"/>
                  <a:pt x="22" y="176"/>
                </a:cubicBezTo>
                <a:cubicBezTo>
                  <a:pt x="23" y="176"/>
                  <a:pt x="24" y="176"/>
                  <a:pt x="25" y="175"/>
                </a:cubicBezTo>
                <a:cubicBezTo>
                  <a:pt x="25" y="175"/>
                  <a:pt x="26" y="175"/>
                  <a:pt x="27" y="174"/>
                </a:cubicBezTo>
                <a:cubicBezTo>
                  <a:pt x="27" y="174"/>
                  <a:pt x="28" y="174"/>
                  <a:pt x="28" y="174"/>
                </a:cubicBezTo>
                <a:cubicBezTo>
                  <a:pt x="28" y="173"/>
                  <a:pt x="28" y="173"/>
                  <a:pt x="29" y="173"/>
                </a:cubicBezTo>
                <a:cubicBezTo>
                  <a:pt x="29" y="173"/>
                  <a:pt x="30" y="171"/>
                  <a:pt x="30" y="172"/>
                </a:cubicBezTo>
                <a:cubicBezTo>
                  <a:pt x="30" y="172"/>
                  <a:pt x="30" y="172"/>
                  <a:pt x="30" y="173"/>
                </a:cubicBezTo>
                <a:cubicBezTo>
                  <a:pt x="30" y="173"/>
                  <a:pt x="31" y="173"/>
                  <a:pt x="31" y="173"/>
                </a:cubicBezTo>
                <a:cubicBezTo>
                  <a:pt x="31" y="174"/>
                  <a:pt x="31" y="174"/>
                  <a:pt x="31" y="174"/>
                </a:cubicBezTo>
                <a:cubicBezTo>
                  <a:pt x="31" y="174"/>
                  <a:pt x="31" y="174"/>
                  <a:pt x="32" y="175"/>
                </a:cubicBezTo>
                <a:cubicBezTo>
                  <a:pt x="32" y="175"/>
                  <a:pt x="32" y="176"/>
                  <a:pt x="33" y="175"/>
                </a:cubicBezTo>
                <a:cubicBezTo>
                  <a:pt x="33" y="175"/>
                  <a:pt x="33" y="174"/>
                  <a:pt x="34" y="174"/>
                </a:cubicBezTo>
                <a:cubicBezTo>
                  <a:pt x="34" y="174"/>
                  <a:pt x="34" y="174"/>
                  <a:pt x="34" y="174"/>
                </a:cubicBezTo>
                <a:cubicBezTo>
                  <a:pt x="35" y="174"/>
                  <a:pt x="35" y="174"/>
                  <a:pt x="35" y="174"/>
                </a:cubicBezTo>
                <a:cubicBezTo>
                  <a:pt x="35" y="174"/>
                  <a:pt x="35" y="173"/>
                  <a:pt x="35" y="174"/>
                </a:cubicBezTo>
                <a:cubicBezTo>
                  <a:pt x="36" y="174"/>
                  <a:pt x="36" y="174"/>
                  <a:pt x="36" y="173"/>
                </a:cubicBezTo>
                <a:cubicBezTo>
                  <a:pt x="36" y="173"/>
                  <a:pt x="36" y="173"/>
                  <a:pt x="37" y="172"/>
                </a:cubicBezTo>
                <a:cubicBezTo>
                  <a:pt x="37" y="172"/>
                  <a:pt x="38" y="172"/>
                  <a:pt x="38" y="172"/>
                </a:cubicBezTo>
                <a:cubicBezTo>
                  <a:pt x="39" y="171"/>
                  <a:pt x="39" y="172"/>
                  <a:pt x="39" y="171"/>
                </a:cubicBezTo>
                <a:cubicBezTo>
                  <a:pt x="39" y="171"/>
                  <a:pt x="40" y="171"/>
                  <a:pt x="40" y="171"/>
                </a:cubicBezTo>
                <a:cubicBezTo>
                  <a:pt x="40" y="171"/>
                  <a:pt x="40" y="171"/>
                  <a:pt x="40" y="171"/>
                </a:cubicBezTo>
                <a:cubicBezTo>
                  <a:pt x="41" y="170"/>
                  <a:pt x="42" y="171"/>
                  <a:pt x="42" y="171"/>
                </a:cubicBezTo>
                <a:cubicBezTo>
                  <a:pt x="43" y="171"/>
                  <a:pt x="44" y="170"/>
                  <a:pt x="45" y="170"/>
                </a:cubicBezTo>
                <a:cubicBezTo>
                  <a:pt x="46" y="170"/>
                  <a:pt x="47" y="170"/>
                  <a:pt x="47" y="170"/>
                </a:cubicBezTo>
                <a:cubicBezTo>
                  <a:pt x="48" y="170"/>
                  <a:pt x="49" y="170"/>
                  <a:pt x="50" y="170"/>
                </a:cubicBezTo>
                <a:cubicBezTo>
                  <a:pt x="50" y="170"/>
                  <a:pt x="50" y="169"/>
                  <a:pt x="50" y="168"/>
                </a:cubicBezTo>
                <a:cubicBezTo>
                  <a:pt x="51" y="168"/>
                  <a:pt x="51" y="168"/>
                  <a:pt x="52" y="167"/>
                </a:cubicBezTo>
                <a:cubicBezTo>
                  <a:pt x="52" y="167"/>
                  <a:pt x="53" y="166"/>
                  <a:pt x="53" y="166"/>
                </a:cubicBezTo>
                <a:cubicBezTo>
                  <a:pt x="54" y="165"/>
                  <a:pt x="55" y="163"/>
                  <a:pt x="54" y="162"/>
                </a:cubicBezTo>
                <a:cubicBezTo>
                  <a:pt x="54" y="162"/>
                  <a:pt x="52" y="161"/>
                  <a:pt x="53" y="160"/>
                </a:cubicBezTo>
                <a:cubicBezTo>
                  <a:pt x="54" y="160"/>
                  <a:pt x="55" y="159"/>
                  <a:pt x="56" y="159"/>
                </a:cubicBezTo>
                <a:cubicBezTo>
                  <a:pt x="56" y="159"/>
                  <a:pt x="57" y="159"/>
                  <a:pt x="58" y="159"/>
                </a:cubicBezTo>
                <a:cubicBezTo>
                  <a:pt x="59" y="159"/>
                  <a:pt x="59" y="159"/>
                  <a:pt x="60" y="159"/>
                </a:cubicBezTo>
                <a:cubicBezTo>
                  <a:pt x="61" y="159"/>
                  <a:pt x="62" y="159"/>
                  <a:pt x="62" y="159"/>
                </a:cubicBezTo>
                <a:cubicBezTo>
                  <a:pt x="62" y="159"/>
                  <a:pt x="63" y="158"/>
                  <a:pt x="63" y="158"/>
                </a:cubicBezTo>
                <a:cubicBezTo>
                  <a:pt x="63" y="158"/>
                  <a:pt x="64" y="158"/>
                  <a:pt x="64" y="158"/>
                </a:cubicBezTo>
                <a:cubicBezTo>
                  <a:pt x="64" y="158"/>
                  <a:pt x="64" y="158"/>
                  <a:pt x="64" y="158"/>
                </a:cubicBezTo>
                <a:cubicBezTo>
                  <a:pt x="65" y="158"/>
                  <a:pt x="65" y="158"/>
                  <a:pt x="66" y="158"/>
                </a:cubicBezTo>
                <a:cubicBezTo>
                  <a:pt x="67" y="158"/>
                  <a:pt x="67" y="158"/>
                  <a:pt x="68" y="158"/>
                </a:cubicBezTo>
                <a:cubicBezTo>
                  <a:pt x="68" y="157"/>
                  <a:pt x="68" y="157"/>
                  <a:pt x="68" y="157"/>
                </a:cubicBezTo>
                <a:cubicBezTo>
                  <a:pt x="68" y="157"/>
                  <a:pt x="68" y="157"/>
                  <a:pt x="68" y="157"/>
                </a:cubicBezTo>
                <a:cubicBezTo>
                  <a:pt x="68" y="156"/>
                  <a:pt x="68" y="156"/>
                  <a:pt x="68" y="156"/>
                </a:cubicBezTo>
                <a:cubicBezTo>
                  <a:pt x="69" y="156"/>
                  <a:pt x="69" y="156"/>
                  <a:pt x="69" y="156"/>
                </a:cubicBezTo>
                <a:cubicBezTo>
                  <a:pt x="70" y="155"/>
                  <a:pt x="70" y="156"/>
                  <a:pt x="71" y="155"/>
                </a:cubicBezTo>
                <a:cubicBezTo>
                  <a:pt x="71" y="155"/>
                  <a:pt x="71" y="154"/>
                  <a:pt x="72" y="154"/>
                </a:cubicBezTo>
                <a:cubicBezTo>
                  <a:pt x="72" y="153"/>
                  <a:pt x="73" y="153"/>
                  <a:pt x="73" y="152"/>
                </a:cubicBezTo>
                <a:cubicBezTo>
                  <a:pt x="73" y="151"/>
                  <a:pt x="74" y="151"/>
                  <a:pt x="74" y="150"/>
                </a:cubicBezTo>
                <a:cubicBezTo>
                  <a:pt x="74" y="150"/>
                  <a:pt x="75" y="148"/>
                  <a:pt x="76" y="149"/>
                </a:cubicBezTo>
                <a:cubicBezTo>
                  <a:pt x="77" y="149"/>
                  <a:pt x="77" y="146"/>
                  <a:pt x="78" y="146"/>
                </a:cubicBezTo>
                <a:cubicBezTo>
                  <a:pt x="80" y="146"/>
                  <a:pt x="80" y="144"/>
                  <a:pt x="80" y="143"/>
                </a:cubicBezTo>
                <a:cubicBezTo>
                  <a:pt x="79" y="142"/>
                  <a:pt x="79" y="141"/>
                  <a:pt x="80" y="141"/>
                </a:cubicBezTo>
                <a:cubicBezTo>
                  <a:pt x="81" y="141"/>
                  <a:pt x="81" y="141"/>
                  <a:pt x="82" y="140"/>
                </a:cubicBezTo>
                <a:cubicBezTo>
                  <a:pt x="83" y="140"/>
                  <a:pt x="82" y="140"/>
                  <a:pt x="83" y="139"/>
                </a:cubicBezTo>
                <a:cubicBezTo>
                  <a:pt x="83" y="139"/>
                  <a:pt x="84" y="140"/>
                  <a:pt x="84" y="139"/>
                </a:cubicBezTo>
                <a:cubicBezTo>
                  <a:pt x="85" y="138"/>
                  <a:pt x="85" y="138"/>
                  <a:pt x="86" y="138"/>
                </a:cubicBezTo>
                <a:cubicBezTo>
                  <a:pt x="86" y="138"/>
                  <a:pt x="86" y="138"/>
                  <a:pt x="87" y="137"/>
                </a:cubicBezTo>
                <a:cubicBezTo>
                  <a:pt x="87" y="137"/>
                  <a:pt x="87" y="138"/>
                  <a:pt x="87" y="138"/>
                </a:cubicBezTo>
                <a:cubicBezTo>
                  <a:pt x="88" y="138"/>
                  <a:pt x="89" y="138"/>
                  <a:pt x="90" y="138"/>
                </a:cubicBezTo>
                <a:cubicBezTo>
                  <a:pt x="90" y="138"/>
                  <a:pt x="91" y="138"/>
                  <a:pt x="91" y="138"/>
                </a:cubicBezTo>
                <a:cubicBezTo>
                  <a:pt x="91" y="136"/>
                  <a:pt x="92" y="135"/>
                  <a:pt x="91" y="133"/>
                </a:cubicBezTo>
                <a:cubicBezTo>
                  <a:pt x="91" y="133"/>
                  <a:pt x="91" y="133"/>
                  <a:pt x="90" y="133"/>
                </a:cubicBezTo>
                <a:cubicBezTo>
                  <a:pt x="90" y="133"/>
                  <a:pt x="90" y="132"/>
                  <a:pt x="89" y="132"/>
                </a:cubicBezTo>
                <a:cubicBezTo>
                  <a:pt x="88" y="131"/>
                  <a:pt x="88" y="130"/>
                  <a:pt x="88" y="128"/>
                </a:cubicBezTo>
                <a:cubicBezTo>
                  <a:pt x="88" y="127"/>
                  <a:pt x="88" y="127"/>
                  <a:pt x="88" y="126"/>
                </a:cubicBezTo>
                <a:cubicBezTo>
                  <a:pt x="88" y="125"/>
                  <a:pt x="87" y="126"/>
                  <a:pt x="87" y="126"/>
                </a:cubicBezTo>
                <a:cubicBezTo>
                  <a:pt x="87" y="125"/>
                  <a:pt x="87" y="124"/>
                  <a:pt x="86" y="123"/>
                </a:cubicBezTo>
                <a:cubicBezTo>
                  <a:pt x="86" y="122"/>
                  <a:pt x="86" y="122"/>
                  <a:pt x="86" y="121"/>
                </a:cubicBezTo>
                <a:cubicBezTo>
                  <a:pt x="86" y="121"/>
                  <a:pt x="86" y="120"/>
                  <a:pt x="87" y="120"/>
                </a:cubicBezTo>
                <a:cubicBezTo>
                  <a:pt x="87" y="119"/>
                  <a:pt x="85" y="119"/>
                  <a:pt x="85" y="119"/>
                </a:cubicBezTo>
                <a:cubicBezTo>
                  <a:pt x="84" y="118"/>
                  <a:pt x="84" y="119"/>
                  <a:pt x="83" y="119"/>
                </a:cubicBezTo>
                <a:cubicBezTo>
                  <a:pt x="82" y="120"/>
                  <a:pt x="80" y="119"/>
                  <a:pt x="81" y="117"/>
                </a:cubicBezTo>
                <a:cubicBezTo>
                  <a:pt x="81" y="116"/>
                  <a:pt x="81" y="115"/>
                  <a:pt x="82" y="114"/>
                </a:cubicBezTo>
                <a:cubicBezTo>
                  <a:pt x="83" y="113"/>
                  <a:pt x="84" y="113"/>
                  <a:pt x="84" y="112"/>
                </a:cubicBezTo>
                <a:cubicBezTo>
                  <a:pt x="85" y="112"/>
                  <a:pt x="85" y="112"/>
                  <a:pt x="85" y="111"/>
                </a:cubicBezTo>
                <a:cubicBezTo>
                  <a:pt x="84" y="110"/>
                  <a:pt x="84" y="110"/>
                  <a:pt x="84" y="109"/>
                </a:cubicBezTo>
                <a:cubicBezTo>
                  <a:pt x="84" y="109"/>
                  <a:pt x="84" y="109"/>
                  <a:pt x="83" y="108"/>
                </a:cubicBezTo>
                <a:cubicBezTo>
                  <a:pt x="83" y="108"/>
                  <a:pt x="83" y="108"/>
                  <a:pt x="83" y="107"/>
                </a:cubicBezTo>
                <a:cubicBezTo>
                  <a:pt x="83" y="107"/>
                  <a:pt x="83" y="107"/>
                  <a:pt x="83" y="107"/>
                </a:cubicBezTo>
                <a:cubicBezTo>
                  <a:pt x="83" y="106"/>
                  <a:pt x="83" y="106"/>
                  <a:pt x="83" y="106"/>
                </a:cubicBezTo>
                <a:cubicBezTo>
                  <a:pt x="84" y="105"/>
                  <a:pt x="84" y="105"/>
                  <a:pt x="85" y="104"/>
                </a:cubicBezTo>
                <a:cubicBezTo>
                  <a:pt x="86" y="104"/>
                  <a:pt x="86" y="103"/>
                  <a:pt x="87" y="103"/>
                </a:cubicBezTo>
                <a:cubicBezTo>
                  <a:pt x="87" y="103"/>
                  <a:pt x="88" y="103"/>
                  <a:pt x="87" y="102"/>
                </a:cubicBezTo>
                <a:cubicBezTo>
                  <a:pt x="87" y="102"/>
                  <a:pt x="86" y="102"/>
                  <a:pt x="86" y="101"/>
                </a:cubicBezTo>
                <a:cubicBezTo>
                  <a:pt x="86" y="101"/>
                  <a:pt x="86" y="101"/>
                  <a:pt x="86" y="101"/>
                </a:cubicBezTo>
                <a:cubicBezTo>
                  <a:pt x="86" y="100"/>
                  <a:pt x="86" y="100"/>
                  <a:pt x="86" y="100"/>
                </a:cubicBezTo>
                <a:cubicBezTo>
                  <a:pt x="86" y="99"/>
                  <a:pt x="86" y="99"/>
                  <a:pt x="86" y="99"/>
                </a:cubicBezTo>
                <a:cubicBezTo>
                  <a:pt x="85" y="98"/>
                  <a:pt x="86" y="98"/>
                  <a:pt x="87" y="97"/>
                </a:cubicBezTo>
                <a:cubicBezTo>
                  <a:pt x="87" y="97"/>
                  <a:pt x="88" y="97"/>
                  <a:pt x="88" y="97"/>
                </a:cubicBezTo>
                <a:cubicBezTo>
                  <a:pt x="89" y="96"/>
                  <a:pt x="88" y="96"/>
                  <a:pt x="88" y="95"/>
                </a:cubicBezTo>
                <a:cubicBezTo>
                  <a:pt x="88" y="95"/>
                  <a:pt x="89" y="95"/>
                  <a:pt x="89" y="95"/>
                </a:cubicBezTo>
                <a:cubicBezTo>
                  <a:pt x="89" y="94"/>
                  <a:pt x="89" y="94"/>
                  <a:pt x="89" y="94"/>
                </a:cubicBezTo>
                <a:cubicBezTo>
                  <a:pt x="89" y="93"/>
                  <a:pt x="90" y="93"/>
                  <a:pt x="91" y="92"/>
                </a:cubicBezTo>
                <a:cubicBezTo>
                  <a:pt x="92" y="92"/>
                  <a:pt x="91" y="89"/>
                  <a:pt x="91" y="88"/>
                </a:cubicBezTo>
                <a:cubicBezTo>
                  <a:pt x="90" y="87"/>
                  <a:pt x="91" y="86"/>
                  <a:pt x="92" y="86"/>
                </a:cubicBezTo>
                <a:cubicBezTo>
                  <a:pt x="93" y="85"/>
                  <a:pt x="94" y="86"/>
                  <a:pt x="95" y="86"/>
                </a:cubicBezTo>
                <a:cubicBezTo>
                  <a:pt x="96" y="86"/>
                  <a:pt x="97" y="85"/>
                  <a:pt x="97" y="85"/>
                </a:cubicBezTo>
                <a:cubicBezTo>
                  <a:pt x="98" y="85"/>
                  <a:pt x="99" y="85"/>
                  <a:pt x="100" y="85"/>
                </a:cubicBezTo>
                <a:cubicBezTo>
                  <a:pt x="100" y="86"/>
                  <a:pt x="101" y="86"/>
                  <a:pt x="101" y="85"/>
                </a:cubicBezTo>
                <a:cubicBezTo>
                  <a:pt x="101" y="85"/>
                  <a:pt x="101" y="84"/>
                  <a:pt x="101" y="8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7" name="Central African Republic"/>
          <p:cNvSpPr>
            <a:spLocks/>
          </p:cNvSpPr>
          <p:nvPr/>
        </p:nvSpPr>
        <p:spPr bwMode="auto">
          <a:xfrm>
            <a:off x="6298063" y="4225953"/>
            <a:ext cx="457983" cy="350987"/>
          </a:xfrm>
          <a:custGeom>
            <a:avLst/>
            <a:gdLst/>
            <a:ahLst/>
            <a:cxnLst>
              <a:cxn ang="0">
                <a:pos x="124" y="59"/>
              </a:cxn>
              <a:cxn ang="0">
                <a:pos x="120" y="56"/>
              </a:cxn>
              <a:cxn ang="0">
                <a:pos x="117" y="54"/>
              </a:cxn>
              <a:cxn ang="0">
                <a:pos x="115" y="51"/>
              </a:cxn>
              <a:cxn ang="0">
                <a:pos x="113" y="45"/>
              </a:cxn>
              <a:cxn ang="0">
                <a:pos x="107" y="41"/>
              </a:cxn>
              <a:cxn ang="0">
                <a:pos x="105" y="36"/>
              </a:cxn>
              <a:cxn ang="0">
                <a:pos x="100" y="31"/>
              </a:cxn>
              <a:cxn ang="0">
                <a:pos x="95" y="26"/>
              </a:cxn>
              <a:cxn ang="0">
                <a:pos x="89" y="23"/>
              </a:cxn>
              <a:cxn ang="0">
                <a:pos x="89" y="16"/>
              </a:cxn>
              <a:cxn ang="0">
                <a:pos x="83" y="4"/>
              </a:cxn>
              <a:cxn ang="0">
                <a:pos x="77" y="1"/>
              </a:cxn>
              <a:cxn ang="0">
                <a:pos x="72" y="4"/>
              </a:cxn>
              <a:cxn ang="0">
                <a:pos x="69" y="9"/>
              </a:cxn>
              <a:cxn ang="0">
                <a:pos x="65" y="14"/>
              </a:cxn>
              <a:cxn ang="0">
                <a:pos x="61" y="18"/>
              </a:cxn>
              <a:cxn ang="0">
                <a:pos x="56" y="21"/>
              </a:cxn>
              <a:cxn ang="0">
                <a:pos x="50" y="22"/>
              </a:cxn>
              <a:cxn ang="0">
                <a:pos x="44" y="25"/>
              </a:cxn>
              <a:cxn ang="0">
                <a:pos x="42" y="31"/>
              </a:cxn>
              <a:cxn ang="0">
                <a:pos x="30" y="34"/>
              </a:cxn>
              <a:cxn ang="0">
                <a:pos x="27" y="36"/>
              </a:cxn>
              <a:cxn ang="0">
                <a:pos x="24" y="38"/>
              </a:cxn>
              <a:cxn ang="0">
                <a:pos x="20" y="36"/>
              </a:cxn>
              <a:cxn ang="0">
                <a:pos x="15" y="39"/>
              </a:cxn>
              <a:cxn ang="0">
                <a:pos x="10" y="40"/>
              </a:cxn>
              <a:cxn ang="0">
                <a:pos x="7" y="46"/>
              </a:cxn>
              <a:cxn ang="0">
                <a:pos x="1" y="54"/>
              </a:cxn>
              <a:cxn ang="0">
                <a:pos x="2" y="59"/>
              </a:cxn>
              <a:cxn ang="0">
                <a:pos x="3" y="66"/>
              </a:cxn>
              <a:cxn ang="0">
                <a:pos x="5" y="72"/>
              </a:cxn>
              <a:cxn ang="0">
                <a:pos x="7" y="78"/>
              </a:cxn>
              <a:cxn ang="0">
                <a:pos x="16" y="88"/>
              </a:cxn>
              <a:cxn ang="0">
                <a:pos x="17" y="94"/>
              </a:cxn>
              <a:cxn ang="0">
                <a:pos x="21" y="87"/>
              </a:cxn>
              <a:cxn ang="0">
                <a:pos x="24" y="82"/>
              </a:cxn>
              <a:cxn ang="0">
                <a:pos x="28" y="81"/>
              </a:cxn>
              <a:cxn ang="0">
                <a:pos x="32" y="81"/>
              </a:cxn>
              <a:cxn ang="0">
                <a:pos x="36" y="82"/>
              </a:cxn>
              <a:cxn ang="0">
                <a:pos x="39" y="82"/>
              </a:cxn>
              <a:cxn ang="0">
                <a:pos x="41" y="75"/>
              </a:cxn>
              <a:cxn ang="0">
                <a:pos x="46" y="67"/>
              </a:cxn>
              <a:cxn ang="0">
                <a:pos x="50" y="65"/>
              </a:cxn>
              <a:cxn ang="0">
                <a:pos x="57" y="68"/>
              </a:cxn>
              <a:cxn ang="0">
                <a:pos x="62" y="73"/>
              </a:cxn>
              <a:cxn ang="0">
                <a:pos x="67" y="74"/>
              </a:cxn>
              <a:cxn ang="0">
                <a:pos x="73" y="75"/>
              </a:cxn>
              <a:cxn ang="0">
                <a:pos x="80" y="72"/>
              </a:cxn>
              <a:cxn ang="0">
                <a:pos x="83" y="68"/>
              </a:cxn>
              <a:cxn ang="0">
                <a:pos x="89" y="70"/>
              </a:cxn>
              <a:cxn ang="0">
                <a:pos x="94" y="67"/>
              </a:cxn>
              <a:cxn ang="0">
                <a:pos x="96" y="66"/>
              </a:cxn>
              <a:cxn ang="0">
                <a:pos x="100" y="67"/>
              </a:cxn>
              <a:cxn ang="0">
                <a:pos x="106" y="64"/>
              </a:cxn>
              <a:cxn ang="0">
                <a:pos x="110" y="64"/>
              </a:cxn>
              <a:cxn ang="0">
                <a:pos x="113" y="64"/>
              </a:cxn>
              <a:cxn ang="0">
                <a:pos x="117" y="66"/>
              </a:cxn>
              <a:cxn ang="0">
                <a:pos x="122" y="64"/>
              </a:cxn>
              <a:cxn ang="0">
                <a:pos x="126" y="64"/>
              </a:cxn>
            </a:cxnLst>
            <a:rect l="0" t="0" r="r" b="b"/>
            <a:pathLst>
              <a:path w="127" h="97">
                <a:moveTo>
                  <a:pt x="126" y="64"/>
                </a:moveTo>
                <a:cubicBezTo>
                  <a:pt x="125" y="64"/>
                  <a:pt x="125" y="63"/>
                  <a:pt x="125" y="62"/>
                </a:cubicBezTo>
                <a:cubicBezTo>
                  <a:pt x="125" y="62"/>
                  <a:pt x="125" y="60"/>
                  <a:pt x="125" y="60"/>
                </a:cubicBezTo>
                <a:cubicBezTo>
                  <a:pt x="124" y="60"/>
                  <a:pt x="124" y="59"/>
                  <a:pt x="124" y="59"/>
                </a:cubicBezTo>
                <a:cubicBezTo>
                  <a:pt x="124" y="59"/>
                  <a:pt x="124" y="58"/>
                  <a:pt x="124" y="58"/>
                </a:cubicBezTo>
                <a:cubicBezTo>
                  <a:pt x="123" y="58"/>
                  <a:pt x="123" y="58"/>
                  <a:pt x="123" y="58"/>
                </a:cubicBezTo>
                <a:cubicBezTo>
                  <a:pt x="122" y="57"/>
                  <a:pt x="122" y="57"/>
                  <a:pt x="122" y="57"/>
                </a:cubicBezTo>
                <a:cubicBezTo>
                  <a:pt x="121" y="57"/>
                  <a:pt x="121" y="56"/>
                  <a:pt x="120" y="56"/>
                </a:cubicBezTo>
                <a:cubicBezTo>
                  <a:pt x="120" y="55"/>
                  <a:pt x="119" y="56"/>
                  <a:pt x="118" y="55"/>
                </a:cubicBezTo>
                <a:cubicBezTo>
                  <a:pt x="118" y="55"/>
                  <a:pt x="118" y="55"/>
                  <a:pt x="117" y="54"/>
                </a:cubicBezTo>
                <a:cubicBezTo>
                  <a:pt x="117" y="54"/>
                  <a:pt x="117" y="54"/>
                  <a:pt x="117" y="54"/>
                </a:cubicBezTo>
                <a:cubicBezTo>
                  <a:pt x="117" y="54"/>
                  <a:pt x="117" y="54"/>
                  <a:pt x="117" y="54"/>
                </a:cubicBezTo>
                <a:cubicBezTo>
                  <a:pt x="118" y="53"/>
                  <a:pt x="117" y="53"/>
                  <a:pt x="117" y="53"/>
                </a:cubicBezTo>
                <a:cubicBezTo>
                  <a:pt x="117" y="53"/>
                  <a:pt x="117" y="52"/>
                  <a:pt x="117" y="52"/>
                </a:cubicBezTo>
                <a:cubicBezTo>
                  <a:pt x="117" y="52"/>
                  <a:pt x="116" y="52"/>
                  <a:pt x="116" y="52"/>
                </a:cubicBezTo>
                <a:cubicBezTo>
                  <a:pt x="116" y="51"/>
                  <a:pt x="115" y="51"/>
                  <a:pt x="115" y="51"/>
                </a:cubicBezTo>
                <a:cubicBezTo>
                  <a:pt x="115" y="50"/>
                  <a:pt x="116" y="49"/>
                  <a:pt x="116" y="48"/>
                </a:cubicBezTo>
                <a:cubicBezTo>
                  <a:pt x="116" y="48"/>
                  <a:pt x="115" y="48"/>
                  <a:pt x="115" y="47"/>
                </a:cubicBezTo>
                <a:cubicBezTo>
                  <a:pt x="114" y="47"/>
                  <a:pt x="114" y="47"/>
                  <a:pt x="114" y="46"/>
                </a:cubicBezTo>
                <a:cubicBezTo>
                  <a:pt x="113" y="46"/>
                  <a:pt x="113" y="45"/>
                  <a:pt x="113" y="45"/>
                </a:cubicBezTo>
                <a:cubicBezTo>
                  <a:pt x="113" y="44"/>
                  <a:pt x="113" y="45"/>
                  <a:pt x="112" y="44"/>
                </a:cubicBezTo>
                <a:cubicBezTo>
                  <a:pt x="112" y="44"/>
                  <a:pt x="111" y="43"/>
                  <a:pt x="110" y="43"/>
                </a:cubicBezTo>
                <a:cubicBezTo>
                  <a:pt x="110" y="42"/>
                  <a:pt x="109" y="42"/>
                  <a:pt x="109" y="42"/>
                </a:cubicBezTo>
                <a:cubicBezTo>
                  <a:pt x="108" y="42"/>
                  <a:pt x="108" y="41"/>
                  <a:pt x="107" y="41"/>
                </a:cubicBezTo>
                <a:cubicBezTo>
                  <a:pt x="107" y="41"/>
                  <a:pt x="106" y="41"/>
                  <a:pt x="106" y="40"/>
                </a:cubicBezTo>
                <a:cubicBezTo>
                  <a:pt x="106" y="40"/>
                  <a:pt x="105" y="39"/>
                  <a:pt x="105" y="39"/>
                </a:cubicBezTo>
                <a:cubicBezTo>
                  <a:pt x="104" y="38"/>
                  <a:pt x="105" y="38"/>
                  <a:pt x="105" y="37"/>
                </a:cubicBezTo>
                <a:cubicBezTo>
                  <a:pt x="106" y="37"/>
                  <a:pt x="105" y="37"/>
                  <a:pt x="105" y="36"/>
                </a:cubicBezTo>
                <a:cubicBezTo>
                  <a:pt x="105" y="36"/>
                  <a:pt x="105" y="35"/>
                  <a:pt x="105" y="35"/>
                </a:cubicBezTo>
                <a:cubicBezTo>
                  <a:pt x="104" y="34"/>
                  <a:pt x="103" y="35"/>
                  <a:pt x="103" y="34"/>
                </a:cubicBezTo>
                <a:cubicBezTo>
                  <a:pt x="102" y="33"/>
                  <a:pt x="102" y="33"/>
                  <a:pt x="102" y="32"/>
                </a:cubicBezTo>
                <a:cubicBezTo>
                  <a:pt x="101" y="31"/>
                  <a:pt x="101" y="31"/>
                  <a:pt x="100" y="31"/>
                </a:cubicBezTo>
                <a:cubicBezTo>
                  <a:pt x="99" y="31"/>
                  <a:pt x="99" y="31"/>
                  <a:pt x="98" y="31"/>
                </a:cubicBezTo>
                <a:cubicBezTo>
                  <a:pt x="97" y="31"/>
                  <a:pt x="97" y="30"/>
                  <a:pt x="97" y="30"/>
                </a:cubicBezTo>
                <a:cubicBezTo>
                  <a:pt x="95" y="31"/>
                  <a:pt x="94" y="30"/>
                  <a:pt x="94" y="28"/>
                </a:cubicBezTo>
                <a:cubicBezTo>
                  <a:pt x="95" y="28"/>
                  <a:pt x="96" y="26"/>
                  <a:pt x="95" y="26"/>
                </a:cubicBezTo>
                <a:cubicBezTo>
                  <a:pt x="94" y="26"/>
                  <a:pt x="92" y="25"/>
                  <a:pt x="91" y="26"/>
                </a:cubicBezTo>
                <a:cubicBezTo>
                  <a:pt x="90" y="26"/>
                  <a:pt x="89" y="25"/>
                  <a:pt x="89" y="25"/>
                </a:cubicBezTo>
                <a:cubicBezTo>
                  <a:pt x="88" y="26"/>
                  <a:pt x="88" y="25"/>
                  <a:pt x="88" y="25"/>
                </a:cubicBezTo>
                <a:cubicBezTo>
                  <a:pt x="88" y="24"/>
                  <a:pt x="89" y="24"/>
                  <a:pt x="89" y="23"/>
                </a:cubicBezTo>
                <a:cubicBezTo>
                  <a:pt x="89" y="22"/>
                  <a:pt x="89" y="22"/>
                  <a:pt x="88" y="23"/>
                </a:cubicBezTo>
                <a:cubicBezTo>
                  <a:pt x="88" y="23"/>
                  <a:pt x="87" y="21"/>
                  <a:pt x="88" y="20"/>
                </a:cubicBezTo>
                <a:cubicBezTo>
                  <a:pt x="89" y="20"/>
                  <a:pt x="89" y="20"/>
                  <a:pt x="89" y="19"/>
                </a:cubicBezTo>
                <a:cubicBezTo>
                  <a:pt x="90" y="18"/>
                  <a:pt x="89" y="17"/>
                  <a:pt x="89" y="16"/>
                </a:cubicBezTo>
                <a:cubicBezTo>
                  <a:pt x="89" y="15"/>
                  <a:pt x="90" y="15"/>
                  <a:pt x="90" y="14"/>
                </a:cubicBezTo>
                <a:cubicBezTo>
                  <a:pt x="90" y="13"/>
                  <a:pt x="90" y="13"/>
                  <a:pt x="89" y="12"/>
                </a:cubicBezTo>
                <a:cubicBezTo>
                  <a:pt x="88" y="10"/>
                  <a:pt x="87" y="8"/>
                  <a:pt x="86" y="7"/>
                </a:cubicBezTo>
                <a:cubicBezTo>
                  <a:pt x="85" y="5"/>
                  <a:pt x="84" y="5"/>
                  <a:pt x="83" y="4"/>
                </a:cubicBezTo>
                <a:cubicBezTo>
                  <a:pt x="83" y="3"/>
                  <a:pt x="82" y="2"/>
                  <a:pt x="82" y="1"/>
                </a:cubicBezTo>
                <a:cubicBezTo>
                  <a:pt x="82" y="1"/>
                  <a:pt x="81" y="1"/>
                  <a:pt x="80" y="1"/>
                </a:cubicBezTo>
                <a:cubicBezTo>
                  <a:pt x="79" y="1"/>
                  <a:pt x="79" y="1"/>
                  <a:pt x="78" y="0"/>
                </a:cubicBezTo>
                <a:cubicBezTo>
                  <a:pt x="78" y="0"/>
                  <a:pt x="77" y="1"/>
                  <a:pt x="77" y="1"/>
                </a:cubicBezTo>
                <a:cubicBezTo>
                  <a:pt x="76" y="1"/>
                  <a:pt x="76" y="1"/>
                  <a:pt x="75" y="2"/>
                </a:cubicBezTo>
                <a:cubicBezTo>
                  <a:pt x="75" y="2"/>
                  <a:pt x="75" y="2"/>
                  <a:pt x="74" y="2"/>
                </a:cubicBezTo>
                <a:cubicBezTo>
                  <a:pt x="74" y="2"/>
                  <a:pt x="74" y="3"/>
                  <a:pt x="73" y="3"/>
                </a:cubicBezTo>
                <a:cubicBezTo>
                  <a:pt x="73" y="4"/>
                  <a:pt x="72" y="4"/>
                  <a:pt x="72" y="4"/>
                </a:cubicBezTo>
                <a:cubicBezTo>
                  <a:pt x="72" y="4"/>
                  <a:pt x="71" y="4"/>
                  <a:pt x="71" y="4"/>
                </a:cubicBezTo>
                <a:cubicBezTo>
                  <a:pt x="70" y="5"/>
                  <a:pt x="71" y="5"/>
                  <a:pt x="71" y="6"/>
                </a:cubicBezTo>
                <a:cubicBezTo>
                  <a:pt x="71" y="7"/>
                  <a:pt x="71" y="8"/>
                  <a:pt x="70" y="8"/>
                </a:cubicBezTo>
                <a:cubicBezTo>
                  <a:pt x="70" y="9"/>
                  <a:pt x="69" y="9"/>
                  <a:pt x="69" y="9"/>
                </a:cubicBezTo>
                <a:cubicBezTo>
                  <a:pt x="68" y="10"/>
                  <a:pt x="68" y="10"/>
                  <a:pt x="68" y="11"/>
                </a:cubicBezTo>
                <a:cubicBezTo>
                  <a:pt x="68" y="11"/>
                  <a:pt x="67" y="12"/>
                  <a:pt x="67" y="12"/>
                </a:cubicBezTo>
                <a:cubicBezTo>
                  <a:pt x="66" y="11"/>
                  <a:pt x="66" y="12"/>
                  <a:pt x="66" y="12"/>
                </a:cubicBezTo>
                <a:cubicBezTo>
                  <a:pt x="65" y="13"/>
                  <a:pt x="65" y="14"/>
                  <a:pt x="65" y="14"/>
                </a:cubicBezTo>
                <a:cubicBezTo>
                  <a:pt x="64" y="14"/>
                  <a:pt x="64" y="14"/>
                  <a:pt x="64" y="15"/>
                </a:cubicBezTo>
                <a:cubicBezTo>
                  <a:pt x="63" y="16"/>
                  <a:pt x="63" y="17"/>
                  <a:pt x="62" y="18"/>
                </a:cubicBezTo>
                <a:cubicBezTo>
                  <a:pt x="62" y="18"/>
                  <a:pt x="62" y="18"/>
                  <a:pt x="61" y="18"/>
                </a:cubicBezTo>
                <a:cubicBezTo>
                  <a:pt x="61" y="18"/>
                  <a:pt x="61" y="18"/>
                  <a:pt x="61" y="18"/>
                </a:cubicBezTo>
                <a:cubicBezTo>
                  <a:pt x="60" y="19"/>
                  <a:pt x="61" y="19"/>
                  <a:pt x="60" y="19"/>
                </a:cubicBezTo>
                <a:cubicBezTo>
                  <a:pt x="59" y="19"/>
                  <a:pt x="59" y="19"/>
                  <a:pt x="59" y="20"/>
                </a:cubicBezTo>
                <a:cubicBezTo>
                  <a:pt x="59" y="21"/>
                  <a:pt x="58" y="21"/>
                  <a:pt x="57" y="21"/>
                </a:cubicBezTo>
                <a:cubicBezTo>
                  <a:pt x="57" y="21"/>
                  <a:pt x="56" y="21"/>
                  <a:pt x="56" y="21"/>
                </a:cubicBezTo>
                <a:cubicBezTo>
                  <a:pt x="55" y="21"/>
                  <a:pt x="55" y="20"/>
                  <a:pt x="54" y="21"/>
                </a:cubicBezTo>
                <a:cubicBezTo>
                  <a:pt x="54" y="21"/>
                  <a:pt x="53" y="22"/>
                  <a:pt x="53" y="22"/>
                </a:cubicBezTo>
                <a:cubicBezTo>
                  <a:pt x="53" y="22"/>
                  <a:pt x="52" y="22"/>
                  <a:pt x="51" y="22"/>
                </a:cubicBezTo>
                <a:cubicBezTo>
                  <a:pt x="51" y="22"/>
                  <a:pt x="50" y="22"/>
                  <a:pt x="50" y="22"/>
                </a:cubicBezTo>
                <a:cubicBezTo>
                  <a:pt x="49" y="22"/>
                  <a:pt x="49" y="22"/>
                  <a:pt x="48" y="22"/>
                </a:cubicBezTo>
                <a:cubicBezTo>
                  <a:pt x="47" y="22"/>
                  <a:pt x="46" y="22"/>
                  <a:pt x="45" y="22"/>
                </a:cubicBezTo>
                <a:cubicBezTo>
                  <a:pt x="44" y="23"/>
                  <a:pt x="43" y="23"/>
                  <a:pt x="43" y="24"/>
                </a:cubicBezTo>
                <a:cubicBezTo>
                  <a:pt x="43" y="24"/>
                  <a:pt x="44" y="25"/>
                  <a:pt x="44" y="25"/>
                </a:cubicBezTo>
                <a:cubicBezTo>
                  <a:pt x="44" y="25"/>
                  <a:pt x="45" y="25"/>
                  <a:pt x="45" y="25"/>
                </a:cubicBezTo>
                <a:cubicBezTo>
                  <a:pt x="46" y="26"/>
                  <a:pt x="45" y="27"/>
                  <a:pt x="45" y="27"/>
                </a:cubicBezTo>
                <a:cubicBezTo>
                  <a:pt x="44" y="28"/>
                  <a:pt x="44" y="29"/>
                  <a:pt x="43" y="30"/>
                </a:cubicBezTo>
                <a:cubicBezTo>
                  <a:pt x="43" y="30"/>
                  <a:pt x="42" y="30"/>
                  <a:pt x="42" y="31"/>
                </a:cubicBezTo>
                <a:cubicBezTo>
                  <a:pt x="41" y="32"/>
                  <a:pt x="41" y="33"/>
                  <a:pt x="40" y="33"/>
                </a:cubicBezTo>
                <a:cubicBezTo>
                  <a:pt x="38" y="33"/>
                  <a:pt x="36" y="33"/>
                  <a:pt x="34" y="34"/>
                </a:cubicBezTo>
                <a:cubicBezTo>
                  <a:pt x="33" y="34"/>
                  <a:pt x="33" y="33"/>
                  <a:pt x="32" y="33"/>
                </a:cubicBezTo>
                <a:cubicBezTo>
                  <a:pt x="31" y="34"/>
                  <a:pt x="31" y="34"/>
                  <a:pt x="30" y="34"/>
                </a:cubicBezTo>
                <a:cubicBezTo>
                  <a:pt x="30" y="34"/>
                  <a:pt x="30" y="34"/>
                  <a:pt x="30" y="35"/>
                </a:cubicBezTo>
                <a:cubicBezTo>
                  <a:pt x="30" y="35"/>
                  <a:pt x="30" y="35"/>
                  <a:pt x="29" y="35"/>
                </a:cubicBezTo>
                <a:cubicBezTo>
                  <a:pt x="29" y="35"/>
                  <a:pt x="28" y="35"/>
                  <a:pt x="28" y="35"/>
                </a:cubicBezTo>
                <a:cubicBezTo>
                  <a:pt x="28" y="35"/>
                  <a:pt x="27" y="36"/>
                  <a:pt x="27" y="36"/>
                </a:cubicBezTo>
                <a:cubicBezTo>
                  <a:pt x="27" y="37"/>
                  <a:pt x="27" y="37"/>
                  <a:pt x="26" y="37"/>
                </a:cubicBezTo>
                <a:cubicBezTo>
                  <a:pt x="26" y="37"/>
                  <a:pt x="26" y="36"/>
                  <a:pt x="26" y="37"/>
                </a:cubicBezTo>
                <a:cubicBezTo>
                  <a:pt x="26" y="37"/>
                  <a:pt x="25" y="37"/>
                  <a:pt x="25" y="37"/>
                </a:cubicBezTo>
                <a:cubicBezTo>
                  <a:pt x="24" y="37"/>
                  <a:pt x="24" y="38"/>
                  <a:pt x="24" y="38"/>
                </a:cubicBezTo>
                <a:cubicBezTo>
                  <a:pt x="23" y="38"/>
                  <a:pt x="22" y="37"/>
                  <a:pt x="22" y="37"/>
                </a:cubicBezTo>
                <a:cubicBezTo>
                  <a:pt x="22" y="36"/>
                  <a:pt x="21" y="36"/>
                  <a:pt x="21" y="35"/>
                </a:cubicBezTo>
                <a:cubicBezTo>
                  <a:pt x="21" y="35"/>
                  <a:pt x="21" y="34"/>
                  <a:pt x="20" y="35"/>
                </a:cubicBezTo>
                <a:cubicBezTo>
                  <a:pt x="20" y="35"/>
                  <a:pt x="20" y="35"/>
                  <a:pt x="20" y="36"/>
                </a:cubicBezTo>
                <a:cubicBezTo>
                  <a:pt x="20" y="36"/>
                  <a:pt x="20" y="35"/>
                  <a:pt x="20" y="36"/>
                </a:cubicBezTo>
                <a:cubicBezTo>
                  <a:pt x="19" y="36"/>
                  <a:pt x="20" y="37"/>
                  <a:pt x="19" y="37"/>
                </a:cubicBezTo>
                <a:cubicBezTo>
                  <a:pt x="19" y="37"/>
                  <a:pt x="18" y="38"/>
                  <a:pt x="17" y="38"/>
                </a:cubicBezTo>
                <a:cubicBezTo>
                  <a:pt x="16" y="38"/>
                  <a:pt x="16" y="38"/>
                  <a:pt x="15" y="39"/>
                </a:cubicBezTo>
                <a:cubicBezTo>
                  <a:pt x="15" y="39"/>
                  <a:pt x="14" y="39"/>
                  <a:pt x="14" y="39"/>
                </a:cubicBezTo>
                <a:cubicBezTo>
                  <a:pt x="13" y="39"/>
                  <a:pt x="13" y="39"/>
                  <a:pt x="12" y="39"/>
                </a:cubicBezTo>
                <a:cubicBezTo>
                  <a:pt x="12" y="39"/>
                  <a:pt x="11" y="38"/>
                  <a:pt x="11" y="39"/>
                </a:cubicBezTo>
                <a:cubicBezTo>
                  <a:pt x="10" y="39"/>
                  <a:pt x="10" y="39"/>
                  <a:pt x="10" y="40"/>
                </a:cubicBezTo>
                <a:cubicBezTo>
                  <a:pt x="10" y="40"/>
                  <a:pt x="8" y="42"/>
                  <a:pt x="8" y="42"/>
                </a:cubicBezTo>
                <a:cubicBezTo>
                  <a:pt x="8" y="42"/>
                  <a:pt x="8" y="43"/>
                  <a:pt x="8" y="43"/>
                </a:cubicBezTo>
                <a:cubicBezTo>
                  <a:pt x="8" y="44"/>
                  <a:pt x="7" y="44"/>
                  <a:pt x="7" y="44"/>
                </a:cubicBezTo>
                <a:cubicBezTo>
                  <a:pt x="7" y="45"/>
                  <a:pt x="7" y="46"/>
                  <a:pt x="7" y="46"/>
                </a:cubicBezTo>
                <a:cubicBezTo>
                  <a:pt x="6" y="47"/>
                  <a:pt x="6" y="47"/>
                  <a:pt x="5" y="48"/>
                </a:cubicBezTo>
                <a:cubicBezTo>
                  <a:pt x="5" y="48"/>
                  <a:pt x="5" y="49"/>
                  <a:pt x="4" y="50"/>
                </a:cubicBezTo>
                <a:cubicBezTo>
                  <a:pt x="4" y="51"/>
                  <a:pt x="4" y="52"/>
                  <a:pt x="3" y="53"/>
                </a:cubicBezTo>
                <a:cubicBezTo>
                  <a:pt x="2" y="53"/>
                  <a:pt x="1" y="53"/>
                  <a:pt x="1" y="54"/>
                </a:cubicBezTo>
                <a:cubicBezTo>
                  <a:pt x="0" y="55"/>
                  <a:pt x="0" y="56"/>
                  <a:pt x="2" y="56"/>
                </a:cubicBezTo>
                <a:cubicBezTo>
                  <a:pt x="2" y="56"/>
                  <a:pt x="2" y="56"/>
                  <a:pt x="2" y="56"/>
                </a:cubicBezTo>
                <a:cubicBezTo>
                  <a:pt x="2" y="56"/>
                  <a:pt x="2" y="57"/>
                  <a:pt x="2" y="57"/>
                </a:cubicBezTo>
                <a:cubicBezTo>
                  <a:pt x="2" y="58"/>
                  <a:pt x="2" y="58"/>
                  <a:pt x="2" y="59"/>
                </a:cubicBezTo>
                <a:cubicBezTo>
                  <a:pt x="2" y="60"/>
                  <a:pt x="2" y="61"/>
                  <a:pt x="2" y="62"/>
                </a:cubicBezTo>
                <a:cubicBezTo>
                  <a:pt x="2" y="62"/>
                  <a:pt x="1" y="63"/>
                  <a:pt x="2" y="63"/>
                </a:cubicBezTo>
                <a:cubicBezTo>
                  <a:pt x="2" y="64"/>
                  <a:pt x="2" y="64"/>
                  <a:pt x="3" y="64"/>
                </a:cubicBezTo>
                <a:cubicBezTo>
                  <a:pt x="3" y="65"/>
                  <a:pt x="3" y="66"/>
                  <a:pt x="3" y="66"/>
                </a:cubicBezTo>
                <a:cubicBezTo>
                  <a:pt x="3" y="67"/>
                  <a:pt x="3" y="67"/>
                  <a:pt x="3" y="68"/>
                </a:cubicBezTo>
                <a:cubicBezTo>
                  <a:pt x="3" y="68"/>
                  <a:pt x="3" y="68"/>
                  <a:pt x="3" y="69"/>
                </a:cubicBezTo>
                <a:cubicBezTo>
                  <a:pt x="3" y="69"/>
                  <a:pt x="3" y="70"/>
                  <a:pt x="4" y="71"/>
                </a:cubicBezTo>
                <a:cubicBezTo>
                  <a:pt x="4" y="71"/>
                  <a:pt x="5" y="72"/>
                  <a:pt x="5" y="72"/>
                </a:cubicBezTo>
                <a:cubicBezTo>
                  <a:pt x="6" y="73"/>
                  <a:pt x="6" y="73"/>
                  <a:pt x="7" y="74"/>
                </a:cubicBezTo>
                <a:cubicBezTo>
                  <a:pt x="7" y="75"/>
                  <a:pt x="7" y="75"/>
                  <a:pt x="7" y="76"/>
                </a:cubicBezTo>
                <a:cubicBezTo>
                  <a:pt x="7" y="77"/>
                  <a:pt x="8" y="77"/>
                  <a:pt x="7" y="77"/>
                </a:cubicBezTo>
                <a:cubicBezTo>
                  <a:pt x="6" y="77"/>
                  <a:pt x="6" y="77"/>
                  <a:pt x="7" y="78"/>
                </a:cubicBezTo>
                <a:cubicBezTo>
                  <a:pt x="8" y="80"/>
                  <a:pt x="9" y="81"/>
                  <a:pt x="10" y="83"/>
                </a:cubicBezTo>
                <a:cubicBezTo>
                  <a:pt x="11" y="84"/>
                  <a:pt x="12" y="86"/>
                  <a:pt x="14" y="87"/>
                </a:cubicBezTo>
                <a:cubicBezTo>
                  <a:pt x="14" y="87"/>
                  <a:pt x="15" y="87"/>
                  <a:pt x="15" y="87"/>
                </a:cubicBezTo>
                <a:cubicBezTo>
                  <a:pt x="15" y="88"/>
                  <a:pt x="16" y="89"/>
                  <a:pt x="16" y="88"/>
                </a:cubicBezTo>
                <a:cubicBezTo>
                  <a:pt x="16" y="88"/>
                  <a:pt x="17" y="89"/>
                  <a:pt x="17" y="90"/>
                </a:cubicBezTo>
                <a:cubicBezTo>
                  <a:pt x="17" y="90"/>
                  <a:pt x="16" y="90"/>
                  <a:pt x="16" y="91"/>
                </a:cubicBezTo>
                <a:cubicBezTo>
                  <a:pt x="16" y="91"/>
                  <a:pt x="17" y="92"/>
                  <a:pt x="17" y="92"/>
                </a:cubicBezTo>
                <a:cubicBezTo>
                  <a:pt x="17" y="92"/>
                  <a:pt x="16" y="93"/>
                  <a:pt x="17" y="94"/>
                </a:cubicBezTo>
                <a:cubicBezTo>
                  <a:pt x="17" y="95"/>
                  <a:pt x="17" y="96"/>
                  <a:pt x="18" y="97"/>
                </a:cubicBezTo>
                <a:cubicBezTo>
                  <a:pt x="19" y="95"/>
                  <a:pt x="20" y="92"/>
                  <a:pt x="20" y="90"/>
                </a:cubicBezTo>
                <a:cubicBezTo>
                  <a:pt x="21" y="90"/>
                  <a:pt x="20" y="89"/>
                  <a:pt x="20" y="89"/>
                </a:cubicBezTo>
                <a:cubicBezTo>
                  <a:pt x="20" y="88"/>
                  <a:pt x="21" y="88"/>
                  <a:pt x="21" y="87"/>
                </a:cubicBezTo>
                <a:cubicBezTo>
                  <a:pt x="21" y="87"/>
                  <a:pt x="20" y="87"/>
                  <a:pt x="21" y="86"/>
                </a:cubicBezTo>
                <a:cubicBezTo>
                  <a:pt x="21" y="86"/>
                  <a:pt x="21" y="85"/>
                  <a:pt x="21" y="85"/>
                </a:cubicBezTo>
                <a:cubicBezTo>
                  <a:pt x="21" y="84"/>
                  <a:pt x="21" y="83"/>
                  <a:pt x="22" y="82"/>
                </a:cubicBezTo>
                <a:cubicBezTo>
                  <a:pt x="23" y="82"/>
                  <a:pt x="24" y="83"/>
                  <a:pt x="24" y="82"/>
                </a:cubicBezTo>
                <a:cubicBezTo>
                  <a:pt x="24" y="82"/>
                  <a:pt x="25" y="82"/>
                  <a:pt x="25" y="82"/>
                </a:cubicBezTo>
                <a:cubicBezTo>
                  <a:pt x="26" y="82"/>
                  <a:pt x="26" y="82"/>
                  <a:pt x="26" y="82"/>
                </a:cubicBezTo>
                <a:cubicBezTo>
                  <a:pt x="26" y="82"/>
                  <a:pt x="27" y="82"/>
                  <a:pt x="27" y="82"/>
                </a:cubicBezTo>
                <a:cubicBezTo>
                  <a:pt x="28" y="82"/>
                  <a:pt x="28" y="81"/>
                  <a:pt x="28" y="81"/>
                </a:cubicBezTo>
                <a:cubicBezTo>
                  <a:pt x="29" y="81"/>
                  <a:pt x="29" y="82"/>
                  <a:pt x="29" y="81"/>
                </a:cubicBezTo>
                <a:cubicBezTo>
                  <a:pt x="30" y="81"/>
                  <a:pt x="30" y="81"/>
                  <a:pt x="30" y="81"/>
                </a:cubicBezTo>
                <a:cubicBezTo>
                  <a:pt x="30" y="81"/>
                  <a:pt x="31" y="81"/>
                  <a:pt x="31" y="81"/>
                </a:cubicBezTo>
                <a:cubicBezTo>
                  <a:pt x="31" y="81"/>
                  <a:pt x="32" y="81"/>
                  <a:pt x="32" y="81"/>
                </a:cubicBezTo>
                <a:cubicBezTo>
                  <a:pt x="33" y="81"/>
                  <a:pt x="33" y="82"/>
                  <a:pt x="34" y="82"/>
                </a:cubicBezTo>
                <a:cubicBezTo>
                  <a:pt x="34" y="82"/>
                  <a:pt x="34" y="82"/>
                  <a:pt x="34" y="82"/>
                </a:cubicBezTo>
                <a:cubicBezTo>
                  <a:pt x="34" y="82"/>
                  <a:pt x="34" y="82"/>
                  <a:pt x="35" y="82"/>
                </a:cubicBezTo>
                <a:cubicBezTo>
                  <a:pt x="35" y="83"/>
                  <a:pt x="35" y="82"/>
                  <a:pt x="36" y="82"/>
                </a:cubicBezTo>
                <a:cubicBezTo>
                  <a:pt x="37" y="82"/>
                  <a:pt x="37" y="83"/>
                  <a:pt x="37" y="83"/>
                </a:cubicBezTo>
                <a:cubicBezTo>
                  <a:pt x="38" y="83"/>
                  <a:pt x="37" y="82"/>
                  <a:pt x="38" y="82"/>
                </a:cubicBezTo>
                <a:cubicBezTo>
                  <a:pt x="38" y="82"/>
                  <a:pt x="38" y="82"/>
                  <a:pt x="39" y="82"/>
                </a:cubicBezTo>
                <a:cubicBezTo>
                  <a:pt x="39" y="82"/>
                  <a:pt x="39" y="82"/>
                  <a:pt x="39" y="82"/>
                </a:cubicBezTo>
                <a:cubicBezTo>
                  <a:pt x="40" y="81"/>
                  <a:pt x="40" y="81"/>
                  <a:pt x="40" y="82"/>
                </a:cubicBezTo>
                <a:cubicBezTo>
                  <a:pt x="40" y="82"/>
                  <a:pt x="40" y="83"/>
                  <a:pt x="41" y="83"/>
                </a:cubicBezTo>
                <a:cubicBezTo>
                  <a:pt x="41" y="82"/>
                  <a:pt x="41" y="80"/>
                  <a:pt x="41" y="79"/>
                </a:cubicBezTo>
                <a:cubicBezTo>
                  <a:pt x="41" y="78"/>
                  <a:pt x="42" y="77"/>
                  <a:pt x="41" y="75"/>
                </a:cubicBezTo>
                <a:cubicBezTo>
                  <a:pt x="41" y="75"/>
                  <a:pt x="40" y="74"/>
                  <a:pt x="41" y="73"/>
                </a:cubicBezTo>
                <a:cubicBezTo>
                  <a:pt x="42" y="73"/>
                  <a:pt x="42" y="73"/>
                  <a:pt x="43" y="72"/>
                </a:cubicBezTo>
                <a:cubicBezTo>
                  <a:pt x="43" y="71"/>
                  <a:pt x="44" y="70"/>
                  <a:pt x="44" y="69"/>
                </a:cubicBezTo>
                <a:cubicBezTo>
                  <a:pt x="45" y="69"/>
                  <a:pt x="45" y="68"/>
                  <a:pt x="46" y="67"/>
                </a:cubicBezTo>
                <a:cubicBezTo>
                  <a:pt x="46" y="67"/>
                  <a:pt x="47" y="67"/>
                  <a:pt x="47" y="67"/>
                </a:cubicBezTo>
                <a:cubicBezTo>
                  <a:pt x="47" y="66"/>
                  <a:pt x="48" y="66"/>
                  <a:pt x="48" y="66"/>
                </a:cubicBezTo>
                <a:cubicBezTo>
                  <a:pt x="48" y="65"/>
                  <a:pt x="48" y="65"/>
                  <a:pt x="49" y="65"/>
                </a:cubicBezTo>
                <a:cubicBezTo>
                  <a:pt x="49" y="65"/>
                  <a:pt x="50" y="65"/>
                  <a:pt x="50" y="65"/>
                </a:cubicBezTo>
                <a:cubicBezTo>
                  <a:pt x="51" y="65"/>
                  <a:pt x="52" y="65"/>
                  <a:pt x="52" y="65"/>
                </a:cubicBezTo>
                <a:cubicBezTo>
                  <a:pt x="53" y="65"/>
                  <a:pt x="53" y="66"/>
                  <a:pt x="53" y="66"/>
                </a:cubicBezTo>
                <a:cubicBezTo>
                  <a:pt x="54" y="67"/>
                  <a:pt x="54" y="67"/>
                  <a:pt x="55" y="67"/>
                </a:cubicBezTo>
                <a:cubicBezTo>
                  <a:pt x="56" y="67"/>
                  <a:pt x="56" y="68"/>
                  <a:pt x="57" y="68"/>
                </a:cubicBezTo>
                <a:cubicBezTo>
                  <a:pt x="57" y="69"/>
                  <a:pt x="58" y="69"/>
                  <a:pt x="58" y="70"/>
                </a:cubicBezTo>
                <a:cubicBezTo>
                  <a:pt x="59" y="70"/>
                  <a:pt x="59" y="71"/>
                  <a:pt x="59" y="71"/>
                </a:cubicBezTo>
                <a:cubicBezTo>
                  <a:pt x="59" y="72"/>
                  <a:pt x="60" y="72"/>
                  <a:pt x="60" y="73"/>
                </a:cubicBezTo>
                <a:cubicBezTo>
                  <a:pt x="60" y="73"/>
                  <a:pt x="62" y="73"/>
                  <a:pt x="62" y="73"/>
                </a:cubicBezTo>
                <a:cubicBezTo>
                  <a:pt x="63" y="73"/>
                  <a:pt x="63" y="72"/>
                  <a:pt x="63" y="72"/>
                </a:cubicBezTo>
                <a:cubicBezTo>
                  <a:pt x="63" y="72"/>
                  <a:pt x="64" y="73"/>
                  <a:pt x="64" y="73"/>
                </a:cubicBezTo>
                <a:cubicBezTo>
                  <a:pt x="65" y="73"/>
                  <a:pt x="65" y="74"/>
                  <a:pt x="66" y="74"/>
                </a:cubicBezTo>
                <a:cubicBezTo>
                  <a:pt x="66" y="74"/>
                  <a:pt x="66" y="74"/>
                  <a:pt x="67" y="74"/>
                </a:cubicBezTo>
                <a:cubicBezTo>
                  <a:pt x="67" y="74"/>
                  <a:pt x="67" y="74"/>
                  <a:pt x="68" y="74"/>
                </a:cubicBezTo>
                <a:cubicBezTo>
                  <a:pt x="68" y="74"/>
                  <a:pt x="68" y="74"/>
                  <a:pt x="69" y="74"/>
                </a:cubicBezTo>
                <a:cubicBezTo>
                  <a:pt x="70" y="75"/>
                  <a:pt x="70" y="74"/>
                  <a:pt x="71" y="74"/>
                </a:cubicBezTo>
                <a:cubicBezTo>
                  <a:pt x="72" y="74"/>
                  <a:pt x="72" y="75"/>
                  <a:pt x="73" y="75"/>
                </a:cubicBezTo>
                <a:cubicBezTo>
                  <a:pt x="75" y="75"/>
                  <a:pt x="76" y="76"/>
                  <a:pt x="78" y="76"/>
                </a:cubicBezTo>
                <a:cubicBezTo>
                  <a:pt x="78" y="76"/>
                  <a:pt x="79" y="75"/>
                  <a:pt x="79" y="74"/>
                </a:cubicBezTo>
                <a:cubicBezTo>
                  <a:pt x="79" y="74"/>
                  <a:pt x="80" y="74"/>
                  <a:pt x="80" y="73"/>
                </a:cubicBezTo>
                <a:cubicBezTo>
                  <a:pt x="80" y="73"/>
                  <a:pt x="79" y="72"/>
                  <a:pt x="80" y="72"/>
                </a:cubicBezTo>
                <a:cubicBezTo>
                  <a:pt x="80" y="72"/>
                  <a:pt x="80" y="72"/>
                  <a:pt x="80" y="72"/>
                </a:cubicBezTo>
                <a:cubicBezTo>
                  <a:pt x="81" y="72"/>
                  <a:pt x="81" y="71"/>
                  <a:pt x="81" y="70"/>
                </a:cubicBezTo>
                <a:cubicBezTo>
                  <a:pt x="81" y="69"/>
                  <a:pt x="82" y="70"/>
                  <a:pt x="82" y="69"/>
                </a:cubicBezTo>
                <a:cubicBezTo>
                  <a:pt x="82" y="68"/>
                  <a:pt x="83" y="68"/>
                  <a:pt x="83" y="68"/>
                </a:cubicBezTo>
                <a:cubicBezTo>
                  <a:pt x="84" y="69"/>
                  <a:pt x="84" y="69"/>
                  <a:pt x="84" y="69"/>
                </a:cubicBezTo>
                <a:cubicBezTo>
                  <a:pt x="84" y="70"/>
                  <a:pt x="85" y="69"/>
                  <a:pt x="85" y="69"/>
                </a:cubicBezTo>
                <a:cubicBezTo>
                  <a:pt x="86" y="69"/>
                  <a:pt x="87" y="72"/>
                  <a:pt x="88" y="70"/>
                </a:cubicBezTo>
                <a:cubicBezTo>
                  <a:pt x="88" y="70"/>
                  <a:pt x="89" y="70"/>
                  <a:pt x="89" y="70"/>
                </a:cubicBezTo>
                <a:cubicBezTo>
                  <a:pt x="89" y="69"/>
                  <a:pt x="90" y="69"/>
                  <a:pt x="91" y="69"/>
                </a:cubicBezTo>
                <a:cubicBezTo>
                  <a:pt x="91" y="68"/>
                  <a:pt x="93" y="68"/>
                  <a:pt x="93" y="68"/>
                </a:cubicBezTo>
                <a:cubicBezTo>
                  <a:pt x="93" y="68"/>
                  <a:pt x="93" y="68"/>
                  <a:pt x="93" y="68"/>
                </a:cubicBezTo>
                <a:cubicBezTo>
                  <a:pt x="94" y="68"/>
                  <a:pt x="94" y="67"/>
                  <a:pt x="94" y="67"/>
                </a:cubicBezTo>
                <a:cubicBezTo>
                  <a:pt x="94" y="67"/>
                  <a:pt x="94" y="67"/>
                  <a:pt x="95" y="67"/>
                </a:cubicBezTo>
                <a:cubicBezTo>
                  <a:pt x="95" y="67"/>
                  <a:pt x="95" y="67"/>
                  <a:pt x="95" y="67"/>
                </a:cubicBezTo>
                <a:cubicBezTo>
                  <a:pt x="95" y="67"/>
                  <a:pt x="96" y="67"/>
                  <a:pt x="96" y="67"/>
                </a:cubicBezTo>
                <a:cubicBezTo>
                  <a:pt x="96" y="67"/>
                  <a:pt x="96" y="66"/>
                  <a:pt x="96" y="66"/>
                </a:cubicBezTo>
                <a:cubicBezTo>
                  <a:pt x="96" y="66"/>
                  <a:pt x="97" y="66"/>
                  <a:pt x="97" y="66"/>
                </a:cubicBezTo>
                <a:cubicBezTo>
                  <a:pt x="96" y="65"/>
                  <a:pt x="97" y="65"/>
                  <a:pt x="97" y="66"/>
                </a:cubicBezTo>
                <a:cubicBezTo>
                  <a:pt x="98" y="65"/>
                  <a:pt x="99" y="66"/>
                  <a:pt x="99" y="66"/>
                </a:cubicBezTo>
                <a:cubicBezTo>
                  <a:pt x="99" y="66"/>
                  <a:pt x="99" y="67"/>
                  <a:pt x="100" y="67"/>
                </a:cubicBezTo>
                <a:cubicBezTo>
                  <a:pt x="101" y="67"/>
                  <a:pt x="102" y="66"/>
                  <a:pt x="103" y="67"/>
                </a:cubicBezTo>
                <a:cubicBezTo>
                  <a:pt x="104" y="67"/>
                  <a:pt x="104" y="66"/>
                  <a:pt x="104" y="66"/>
                </a:cubicBezTo>
                <a:cubicBezTo>
                  <a:pt x="104" y="66"/>
                  <a:pt x="105" y="66"/>
                  <a:pt x="105" y="66"/>
                </a:cubicBezTo>
                <a:cubicBezTo>
                  <a:pt x="106" y="66"/>
                  <a:pt x="106" y="66"/>
                  <a:pt x="106" y="64"/>
                </a:cubicBezTo>
                <a:cubicBezTo>
                  <a:pt x="106" y="64"/>
                  <a:pt x="106" y="63"/>
                  <a:pt x="107" y="63"/>
                </a:cubicBezTo>
                <a:cubicBezTo>
                  <a:pt x="107" y="63"/>
                  <a:pt x="108" y="63"/>
                  <a:pt x="108" y="62"/>
                </a:cubicBezTo>
                <a:cubicBezTo>
                  <a:pt x="108" y="62"/>
                  <a:pt x="109" y="63"/>
                  <a:pt x="109" y="63"/>
                </a:cubicBezTo>
                <a:cubicBezTo>
                  <a:pt x="109" y="63"/>
                  <a:pt x="110" y="64"/>
                  <a:pt x="110" y="64"/>
                </a:cubicBezTo>
                <a:cubicBezTo>
                  <a:pt x="110" y="64"/>
                  <a:pt x="110" y="63"/>
                  <a:pt x="110" y="63"/>
                </a:cubicBezTo>
                <a:cubicBezTo>
                  <a:pt x="111" y="63"/>
                  <a:pt x="111" y="64"/>
                  <a:pt x="111" y="64"/>
                </a:cubicBezTo>
                <a:cubicBezTo>
                  <a:pt x="111" y="64"/>
                  <a:pt x="111" y="64"/>
                  <a:pt x="112" y="64"/>
                </a:cubicBezTo>
                <a:cubicBezTo>
                  <a:pt x="112" y="63"/>
                  <a:pt x="113" y="64"/>
                  <a:pt x="113" y="64"/>
                </a:cubicBezTo>
                <a:cubicBezTo>
                  <a:pt x="114" y="64"/>
                  <a:pt x="114" y="63"/>
                  <a:pt x="115" y="64"/>
                </a:cubicBezTo>
                <a:cubicBezTo>
                  <a:pt x="115" y="64"/>
                  <a:pt x="115" y="65"/>
                  <a:pt x="115" y="65"/>
                </a:cubicBezTo>
                <a:cubicBezTo>
                  <a:pt x="116" y="65"/>
                  <a:pt x="116" y="65"/>
                  <a:pt x="116" y="65"/>
                </a:cubicBezTo>
                <a:cubicBezTo>
                  <a:pt x="117" y="65"/>
                  <a:pt x="117" y="66"/>
                  <a:pt x="117" y="66"/>
                </a:cubicBezTo>
                <a:cubicBezTo>
                  <a:pt x="118" y="66"/>
                  <a:pt x="118" y="66"/>
                  <a:pt x="118" y="65"/>
                </a:cubicBezTo>
                <a:cubicBezTo>
                  <a:pt x="119" y="65"/>
                  <a:pt x="119" y="65"/>
                  <a:pt x="120" y="65"/>
                </a:cubicBezTo>
                <a:cubicBezTo>
                  <a:pt x="120" y="65"/>
                  <a:pt x="120" y="66"/>
                  <a:pt x="121" y="66"/>
                </a:cubicBezTo>
                <a:cubicBezTo>
                  <a:pt x="121" y="66"/>
                  <a:pt x="122" y="65"/>
                  <a:pt x="122" y="64"/>
                </a:cubicBezTo>
                <a:cubicBezTo>
                  <a:pt x="123" y="64"/>
                  <a:pt x="124" y="65"/>
                  <a:pt x="125" y="65"/>
                </a:cubicBezTo>
                <a:cubicBezTo>
                  <a:pt x="126" y="65"/>
                  <a:pt x="126" y="65"/>
                  <a:pt x="126" y="65"/>
                </a:cubicBezTo>
                <a:cubicBezTo>
                  <a:pt x="127" y="66"/>
                  <a:pt x="126" y="66"/>
                  <a:pt x="127" y="66"/>
                </a:cubicBezTo>
                <a:cubicBezTo>
                  <a:pt x="127" y="65"/>
                  <a:pt x="126" y="65"/>
                  <a:pt x="126" y="64"/>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8" name="Cayman Islands"/>
          <p:cNvSpPr>
            <a:spLocks noEditPoints="1"/>
          </p:cNvSpPr>
          <p:nvPr/>
        </p:nvSpPr>
        <p:spPr bwMode="auto">
          <a:xfrm>
            <a:off x="2992188" y="3878967"/>
            <a:ext cx="50998" cy="21999"/>
          </a:xfrm>
          <a:custGeom>
            <a:avLst/>
            <a:gdLst/>
            <a:ahLst/>
            <a:cxnLst>
              <a:cxn ang="0">
                <a:pos x="3" y="5"/>
              </a:cxn>
              <a:cxn ang="0">
                <a:pos x="1" y="5"/>
              </a:cxn>
              <a:cxn ang="0">
                <a:pos x="0" y="5"/>
              </a:cxn>
              <a:cxn ang="0">
                <a:pos x="0" y="5"/>
              </a:cxn>
              <a:cxn ang="0">
                <a:pos x="0" y="4"/>
              </a:cxn>
              <a:cxn ang="0">
                <a:pos x="0" y="4"/>
              </a:cxn>
              <a:cxn ang="0">
                <a:pos x="1" y="5"/>
              </a:cxn>
              <a:cxn ang="0">
                <a:pos x="2" y="5"/>
              </a:cxn>
              <a:cxn ang="0">
                <a:pos x="3" y="5"/>
              </a:cxn>
              <a:cxn ang="0">
                <a:pos x="13" y="1"/>
              </a:cxn>
              <a:cxn ang="0">
                <a:pos x="14" y="1"/>
              </a:cxn>
              <a:cxn ang="0">
                <a:pos x="14" y="1"/>
              </a:cxn>
              <a:cxn ang="0">
                <a:pos x="13" y="1"/>
              </a:cxn>
            </a:cxnLst>
            <a:rect l="0" t="0" r="r" b="b"/>
            <a:pathLst>
              <a:path w="14" h="6">
                <a:moveTo>
                  <a:pt x="3" y="5"/>
                </a:moveTo>
                <a:cubicBezTo>
                  <a:pt x="2" y="5"/>
                  <a:pt x="2" y="5"/>
                  <a:pt x="1" y="5"/>
                </a:cubicBezTo>
                <a:cubicBezTo>
                  <a:pt x="1" y="5"/>
                  <a:pt x="1" y="5"/>
                  <a:pt x="0" y="5"/>
                </a:cubicBezTo>
                <a:cubicBezTo>
                  <a:pt x="0" y="6"/>
                  <a:pt x="0" y="5"/>
                  <a:pt x="0" y="5"/>
                </a:cubicBezTo>
                <a:cubicBezTo>
                  <a:pt x="0" y="5"/>
                  <a:pt x="0" y="4"/>
                  <a:pt x="0" y="4"/>
                </a:cubicBezTo>
                <a:cubicBezTo>
                  <a:pt x="0" y="4"/>
                  <a:pt x="0" y="4"/>
                  <a:pt x="0" y="4"/>
                </a:cubicBezTo>
                <a:cubicBezTo>
                  <a:pt x="0" y="5"/>
                  <a:pt x="0" y="5"/>
                  <a:pt x="1" y="5"/>
                </a:cubicBezTo>
                <a:cubicBezTo>
                  <a:pt x="1" y="5"/>
                  <a:pt x="1" y="4"/>
                  <a:pt x="2" y="5"/>
                </a:cubicBezTo>
                <a:cubicBezTo>
                  <a:pt x="2" y="5"/>
                  <a:pt x="3" y="4"/>
                  <a:pt x="3" y="5"/>
                </a:cubicBezTo>
                <a:close/>
                <a:moveTo>
                  <a:pt x="13" y="1"/>
                </a:moveTo>
                <a:cubicBezTo>
                  <a:pt x="13" y="1"/>
                  <a:pt x="13" y="1"/>
                  <a:pt x="14" y="1"/>
                </a:cubicBezTo>
                <a:cubicBezTo>
                  <a:pt x="14" y="1"/>
                  <a:pt x="14" y="1"/>
                  <a:pt x="14" y="1"/>
                </a:cubicBezTo>
                <a:cubicBezTo>
                  <a:pt x="14" y="0"/>
                  <a:pt x="13" y="1"/>
                  <a:pt x="13"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89" name="Cape Verde"/>
          <p:cNvSpPr>
            <a:spLocks noEditPoints="1"/>
          </p:cNvSpPr>
          <p:nvPr/>
        </p:nvSpPr>
        <p:spPr bwMode="auto">
          <a:xfrm>
            <a:off x="4918116" y="3979963"/>
            <a:ext cx="96996" cy="97997"/>
          </a:xfrm>
          <a:custGeom>
            <a:avLst/>
            <a:gdLst/>
            <a:ahLst/>
            <a:cxnLst>
              <a:cxn ang="0">
                <a:pos x="23" y="6"/>
              </a:cxn>
              <a:cxn ang="0">
                <a:pos x="23" y="4"/>
              </a:cxn>
              <a:cxn ang="0">
                <a:pos x="24" y="5"/>
              </a:cxn>
              <a:cxn ang="0">
                <a:pos x="24" y="7"/>
              </a:cxn>
              <a:cxn ang="0">
                <a:pos x="23" y="6"/>
              </a:cxn>
              <a:cxn ang="0">
                <a:pos x="12" y="7"/>
              </a:cxn>
              <a:cxn ang="0">
                <a:pos x="11" y="6"/>
              </a:cxn>
              <a:cxn ang="0">
                <a:pos x="10" y="6"/>
              </a:cxn>
              <a:cxn ang="0">
                <a:pos x="9" y="6"/>
              </a:cxn>
              <a:cxn ang="0">
                <a:pos x="10" y="7"/>
              </a:cxn>
              <a:cxn ang="0">
                <a:pos x="10" y="8"/>
              </a:cxn>
              <a:cxn ang="0">
                <a:pos x="11" y="7"/>
              </a:cxn>
              <a:cxn ang="0">
                <a:pos x="12" y="7"/>
              </a:cxn>
              <a:cxn ang="0">
                <a:pos x="13" y="7"/>
              </a:cxn>
              <a:cxn ang="0">
                <a:pos x="12" y="7"/>
              </a:cxn>
              <a:cxn ang="0">
                <a:pos x="6" y="27"/>
              </a:cxn>
              <a:cxn ang="0">
                <a:pos x="6" y="26"/>
              </a:cxn>
              <a:cxn ang="0">
                <a:pos x="6" y="27"/>
              </a:cxn>
              <a:cxn ang="0">
                <a:pos x="20" y="21"/>
              </a:cxn>
              <a:cxn ang="0">
                <a:pos x="21" y="23"/>
              </a:cxn>
              <a:cxn ang="0">
                <a:pos x="21" y="22"/>
              </a:cxn>
              <a:cxn ang="0">
                <a:pos x="20" y="21"/>
              </a:cxn>
              <a:cxn ang="0">
                <a:pos x="4" y="1"/>
              </a:cxn>
              <a:cxn ang="0">
                <a:pos x="1" y="1"/>
              </a:cxn>
              <a:cxn ang="0">
                <a:pos x="1" y="2"/>
              </a:cxn>
              <a:cxn ang="0">
                <a:pos x="1" y="3"/>
              </a:cxn>
              <a:cxn ang="0">
                <a:pos x="3" y="3"/>
              </a:cxn>
              <a:cxn ang="0">
                <a:pos x="4" y="2"/>
              </a:cxn>
              <a:cxn ang="0">
                <a:pos x="4" y="1"/>
              </a:cxn>
              <a:cxn ang="0">
                <a:pos x="4" y="3"/>
              </a:cxn>
              <a:cxn ang="0">
                <a:pos x="4" y="4"/>
              </a:cxn>
              <a:cxn ang="0">
                <a:pos x="3" y="4"/>
              </a:cxn>
              <a:cxn ang="0">
                <a:pos x="4" y="5"/>
              </a:cxn>
              <a:cxn ang="0">
                <a:pos x="5" y="4"/>
              </a:cxn>
              <a:cxn ang="0">
                <a:pos x="4" y="3"/>
              </a:cxn>
              <a:cxn ang="0">
                <a:pos x="9" y="24"/>
              </a:cxn>
              <a:cxn ang="0">
                <a:pos x="9" y="26"/>
              </a:cxn>
              <a:cxn ang="0">
                <a:pos x="9" y="24"/>
              </a:cxn>
              <a:cxn ang="0">
                <a:pos x="26" y="11"/>
              </a:cxn>
              <a:cxn ang="0">
                <a:pos x="25" y="11"/>
              </a:cxn>
              <a:cxn ang="0">
                <a:pos x="24" y="11"/>
              </a:cxn>
              <a:cxn ang="0">
                <a:pos x="24" y="11"/>
              </a:cxn>
              <a:cxn ang="0">
                <a:pos x="23" y="13"/>
              </a:cxn>
              <a:cxn ang="0">
                <a:pos x="25" y="14"/>
              </a:cxn>
              <a:cxn ang="0">
                <a:pos x="26" y="11"/>
              </a:cxn>
              <a:cxn ang="0">
                <a:pos x="16" y="21"/>
              </a:cxn>
              <a:cxn ang="0">
                <a:pos x="15" y="21"/>
              </a:cxn>
              <a:cxn ang="0">
                <a:pos x="15" y="22"/>
              </a:cxn>
              <a:cxn ang="0">
                <a:pos x="15" y="24"/>
              </a:cxn>
              <a:cxn ang="0">
                <a:pos x="15" y="24"/>
              </a:cxn>
              <a:cxn ang="0">
                <a:pos x="16" y="25"/>
              </a:cxn>
              <a:cxn ang="0">
                <a:pos x="17" y="26"/>
              </a:cxn>
              <a:cxn ang="0">
                <a:pos x="17" y="23"/>
              </a:cxn>
              <a:cxn ang="0">
                <a:pos x="16" y="21"/>
              </a:cxn>
            </a:cxnLst>
            <a:rect l="0" t="0" r="r" b="b"/>
            <a:pathLst>
              <a:path w="27" h="27">
                <a:moveTo>
                  <a:pt x="23" y="6"/>
                </a:moveTo>
                <a:cubicBezTo>
                  <a:pt x="23" y="6"/>
                  <a:pt x="23" y="5"/>
                  <a:pt x="23" y="4"/>
                </a:cubicBezTo>
                <a:cubicBezTo>
                  <a:pt x="24" y="4"/>
                  <a:pt x="24" y="5"/>
                  <a:pt x="24" y="5"/>
                </a:cubicBezTo>
                <a:cubicBezTo>
                  <a:pt x="24" y="6"/>
                  <a:pt x="24" y="7"/>
                  <a:pt x="24" y="7"/>
                </a:cubicBezTo>
                <a:cubicBezTo>
                  <a:pt x="24" y="7"/>
                  <a:pt x="24" y="6"/>
                  <a:pt x="23" y="6"/>
                </a:cubicBezTo>
                <a:close/>
                <a:moveTo>
                  <a:pt x="12" y="7"/>
                </a:moveTo>
                <a:cubicBezTo>
                  <a:pt x="11" y="6"/>
                  <a:pt x="11" y="6"/>
                  <a:pt x="11" y="6"/>
                </a:cubicBezTo>
                <a:cubicBezTo>
                  <a:pt x="11" y="6"/>
                  <a:pt x="11" y="6"/>
                  <a:pt x="10" y="6"/>
                </a:cubicBezTo>
                <a:cubicBezTo>
                  <a:pt x="10" y="6"/>
                  <a:pt x="10" y="6"/>
                  <a:pt x="9" y="6"/>
                </a:cubicBezTo>
                <a:cubicBezTo>
                  <a:pt x="9" y="7"/>
                  <a:pt x="10" y="7"/>
                  <a:pt x="10" y="7"/>
                </a:cubicBezTo>
                <a:cubicBezTo>
                  <a:pt x="10" y="7"/>
                  <a:pt x="10" y="8"/>
                  <a:pt x="10" y="8"/>
                </a:cubicBezTo>
                <a:cubicBezTo>
                  <a:pt x="10" y="8"/>
                  <a:pt x="11" y="7"/>
                  <a:pt x="11" y="7"/>
                </a:cubicBezTo>
                <a:cubicBezTo>
                  <a:pt x="11" y="7"/>
                  <a:pt x="12" y="7"/>
                  <a:pt x="12" y="7"/>
                </a:cubicBezTo>
                <a:cubicBezTo>
                  <a:pt x="12" y="7"/>
                  <a:pt x="13" y="7"/>
                  <a:pt x="13" y="7"/>
                </a:cubicBezTo>
                <a:cubicBezTo>
                  <a:pt x="13" y="7"/>
                  <a:pt x="12" y="7"/>
                  <a:pt x="12" y="7"/>
                </a:cubicBezTo>
                <a:close/>
                <a:moveTo>
                  <a:pt x="6" y="27"/>
                </a:moveTo>
                <a:cubicBezTo>
                  <a:pt x="6" y="26"/>
                  <a:pt x="6" y="26"/>
                  <a:pt x="6" y="26"/>
                </a:cubicBezTo>
                <a:cubicBezTo>
                  <a:pt x="5" y="25"/>
                  <a:pt x="5" y="26"/>
                  <a:pt x="6" y="27"/>
                </a:cubicBezTo>
                <a:close/>
                <a:moveTo>
                  <a:pt x="20" y="21"/>
                </a:moveTo>
                <a:cubicBezTo>
                  <a:pt x="20" y="21"/>
                  <a:pt x="20" y="23"/>
                  <a:pt x="21" y="23"/>
                </a:cubicBezTo>
                <a:cubicBezTo>
                  <a:pt x="21" y="23"/>
                  <a:pt x="21" y="22"/>
                  <a:pt x="21" y="22"/>
                </a:cubicBezTo>
                <a:cubicBezTo>
                  <a:pt x="21" y="21"/>
                  <a:pt x="21" y="21"/>
                  <a:pt x="20" y="21"/>
                </a:cubicBezTo>
                <a:close/>
                <a:moveTo>
                  <a:pt x="4" y="1"/>
                </a:moveTo>
                <a:cubicBezTo>
                  <a:pt x="3" y="0"/>
                  <a:pt x="2" y="1"/>
                  <a:pt x="1" y="1"/>
                </a:cubicBezTo>
                <a:cubicBezTo>
                  <a:pt x="0" y="2"/>
                  <a:pt x="1" y="2"/>
                  <a:pt x="1" y="2"/>
                </a:cubicBezTo>
                <a:cubicBezTo>
                  <a:pt x="1" y="3"/>
                  <a:pt x="1" y="3"/>
                  <a:pt x="1" y="3"/>
                </a:cubicBezTo>
                <a:cubicBezTo>
                  <a:pt x="2" y="3"/>
                  <a:pt x="2" y="3"/>
                  <a:pt x="3" y="3"/>
                </a:cubicBezTo>
                <a:cubicBezTo>
                  <a:pt x="3" y="3"/>
                  <a:pt x="4" y="2"/>
                  <a:pt x="4" y="2"/>
                </a:cubicBezTo>
                <a:cubicBezTo>
                  <a:pt x="4" y="2"/>
                  <a:pt x="4" y="1"/>
                  <a:pt x="4" y="1"/>
                </a:cubicBezTo>
                <a:close/>
                <a:moveTo>
                  <a:pt x="4" y="3"/>
                </a:moveTo>
                <a:cubicBezTo>
                  <a:pt x="4" y="3"/>
                  <a:pt x="4" y="4"/>
                  <a:pt x="4" y="4"/>
                </a:cubicBezTo>
                <a:cubicBezTo>
                  <a:pt x="4" y="4"/>
                  <a:pt x="3" y="4"/>
                  <a:pt x="3" y="4"/>
                </a:cubicBezTo>
                <a:cubicBezTo>
                  <a:pt x="3" y="4"/>
                  <a:pt x="4" y="5"/>
                  <a:pt x="4" y="5"/>
                </a:cubicBezTo>
                <a:cubicBezTo>
                  <a:pt x="4" y="5"/>
                  <a:pt x="6" y="4"/>
                  <a:pt x="5" y="4"/>
                </a:cubicBezTo>
                <a:cubicBezTo>
                  <a:pt x="5" y="4"/>
                  <a:pt x="5" y="3"/>
                  <a:pt x="4" y="3"/>
                </a:cubicBezTo>
                <a:close/>
                <a:moveTo>
                  <a:pt x="9" y="24"/>
                </a:moveTo>
                <a:cubicBezTo>
                  <a:pt x="8" y="24"/>
                  <a:pt x="7" y="26"/>
                  <a:pt x="9" y="26"/>
                </a:cubicBezTo>
                <a:cubicBezTo>
                  <a:pt x="10" y="26"/>
                  <a:pt x="10" y="24"/>
                  <a:pt x="9" y="24"/>
                </a:cubicBezTo>
                <a:close/>
                <a:moveTo>
                  <a:pt x="26" y="11"/>
                </a:moveTo>
                <a:cubicBezTo>
                  <a:pt x="25" y="11"/>
                  <a:pt x="25" y="11"/>
                  <a:pt x="25" y="11"/>
                </a:cubicBezTo>
                <a:cubicBezTo>
                  <a:pt x="25" y="11"/>
                  <a:pt x="24" y="11"/>
                  <a:pt x="24" y="11"/>
                </a:cubicBezTo>
                <a:cubicBezTo>
                  <a:pt x="24" y="11"/>
                  <a:pt x="24" y="11"/>
                  <a:pt x="24" y="11"/>
                </a:cubicBezTo>
                <a:cubicBezTo>
                  <a:pt x="24" y="12"/>
                  <a:pt x="23" y="12"/>
                  <a:pt x="23" y="13"/>
                </a:cubicBezTo>
                <a:cubicBezTo>
                  <a:pt x="23" y="14"/>
                  <a:pt x="24" y="14"/>
                  <a:pt x="25" y="14"/>
                </a:cubicBezTo>
                <a:cubicBezTo>
                  <a:pt x="25" y="13"/>
                  <a:pt x="27" y="12"/>
                  <a:pt x="26" y="11"/>
                </a:cubicBezTo>
                <a:close/>
                <a:moveTo>
                  <a:pt x="16" y="21"/>
                </a:moveTo>
                <a:cubicBezTo>
                  <a:pt x="16" y="21"/>
                  <a:pt x="15" y="21"/>
                  <a:pt x="15" y="21"/>
                </a:cubicBezTo>
                <a:cubicBezTo>
                  <a:pt x="15" y="21"/>
                  <a:pt x="15" y="22"/>
                  <a:pt x="15" y="22"/>
                </a:cubicBezTo>
                <a:cubicBezTo>
                  <a:pt x="15" y="23"/>
                  <a:pt x="15" y="23"/>
                  <a:pt x="15" y="24"/>
                </a:cubicBezTo>
                <a:cubicBezTo>
                  <a:pt x="15" y="24"/>
                  <a:pt x="15" y="24"/>
                  <a:pt x="15" y="24"/>
                </a:cubicBezTo>
                <a:cubicBezTo>
                  <a:pt x="15" y="25"/>
                  <a:pt x="15" y="25"/>
                  <a:pt x="16" y="25"/>
                </a:cubicBezTo>
                <a:cubicBezTo>
                  <a:pt x="16" y="25"/>
                  <a:pt x="17" y="25"/>
                  <a:pt x="17" y="26"/>
                </a:cubicBezTo>
                <a:cubicBezTo>
                  <a:pt x="19" y="25"/>
                  <a:pt x="18" y="23"/>
                  <a:pt x="17" y="23"/>
                </a:cubicBezTo>
                <a:cubicBezTo>
                  <a:pt x="17" y="22"/>
                  <a:pt x="16" y="22"/>
                  <a:pt x="16" y="2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0" name="Canada"/>
          <p:cNvSpPr>
            <a:spLocks noEditPoints="1"/>
          </p:cNvSpPr>
          <p:nvPr/>
        </p:nvSpPr>
        <p:spPr bwMode="auto">
          <a:xfrm>
            <a:off x="1905228" y="1575053"/>
            <a:ext cx="2752897" cy="1424947"/>
          </a:xfrm>
          <a:custGeom>
            <a:avLst/>
            <a:gdLst/>
            <a:ahLst/>
            <a:cxnLst>
              <a:cxn ang="0">
                <a:pos x="593" y="26"/>
              </a:cxn>
              <a:cxn ang="0">
                <a:pos x="482" y="38"/>
              </a:cxn>
              <a:cxn ang="0">
                <a:pos x="713" y="15"/>
              </a:cxn>
              <a:cxn ang="0">
                <a:pos x="610" y="45"/>
              </a:cxn>
              <a:cxn ang="0">
                <a:pos x="581" y="38"/>
              </a:cxn>
              <a:cxn ang="0">
                <a:pos x="620" y="16"/>
              </a:cxn>
              <a:cxn ang="0">
                <a:pos x="676" y="3"/>
              </a:cxn>
              <a:cxn ang="0">
                <a:pos x="368" y="42"/>
              </a:cxn>
              <a:cxn ang="0">
                <a:pos x="466" y="54"/>
              </a:cxn>
              <a:cxn ang="0">
                <a:pos x="582" y="64"/>
              </a:cxn>
              <a:cxn ang="0">
                <a:pos x="369" y="55"/>
              </a:cxn>
              <a:cxn ang="0">
                <a:pos x="404" y="56"/>
              </a:cxn>
              <a:cxn ang="0">
                <a:pos x="509" y="317"/>
              </a:cxn>
              <a:cxn ang="0">
                <a:pos x="554" y="357"/>
              </a:cxn>
              <a:cxn ang="0">
                <a:pos x="512" y="357"/>
              </a:cxn>
              <a:cxn ang="0">
                <a:pos x="380" y="358"/>
              </a:cxn>
              <a:cxn ang="0">
                <a:pos x="303" y="324"/>
              </a:cxn>
              <a:cxn ang="0">
                <a:pos x="24" y="293"/>
              </a:cxn>
              <a:cxn ang="0">
                <a:pos x="46" y="250"/>
              </a:cxn>
              <a:cxn ang="0">
                <a:pos x="162" y="111"/>
              </a:cxn>
              <a:cxn ang="0">
                <a:pos x="184" y="112"/>
              </a:cxn>
              <a:cxn ang="0">
                <a:pos x="307" y="127"/>
              </a:cxn>
              <a:cxn ang="0">
                <a:pos x="378" y="127"/>
              </a:cxn>
              <a:cxn ang="0">
                <a:pos x="436" y="116"/>
              </a:cxn>
              <a:cxn ang="0">
                <a:pos x="463" y="99"/>
              </a:cxn>
              <a:cxn ang="0">
                <a:pos x="504" y="115"/>
              </a:cxn>
              <a:cxn ang="0">
                <a:pos x="453" y="150"/>
              </a:cxn>
              <a:cxn ang="0">
                <a:pos x="392" y="181"/>
              </a:cxn>
              <a:cxn ang="0">
                <a:pos x="425" y="299"/>
              </a:cxn>
              <a:cxn ang="0">
                <a:pos x="495" y="195"/>
              </a:cxn>
              <a:cxn ang="0">
                <a:pos x="557" y="214"/>
              </a:cxn>
              <a:cxn ang="0">
                <a:pos x="600" y="215"/>
              </a:cxn>
              <a:cxn ang="0">
                <a:pos x="608" y="252"/>
              </a:cxn>
              <a:cxn ang="0">
                <a:pos x="629" y="275"/>
              </a:cxn>
              <a:cxn ang="0">
                <a:pos x="247" y="140"/>
              </a:cxn>
              <a:cxn ang="0">
                <a:pos x="224" y="185"/>
              </a:cxn>
              <a:cxn ang="0">
                <a:pos x="276" y="300"/>
              </a:cxn>
              <a:cxn ang="0">
                <a:pos x="434" y="91"/>
              </a:cxn>
              <a:cxn ang="0">
                <a:pos x="498" y="61"/>
              </a:cxn>
              <a:cxn ang="0">
                <a:pos x="368" y="89"/>
              </a:cxn>
              <a:cxn ang="0">
                <a:pos x="304" y="104"/>
              </a:cxn>
              <a:cxn ang="0">
                <a:pos x="422" y="119"/>
              </a:cxn>
              <a:cxn ang="0">
                <a:pos x="645" y="146"/>
              </a:cxn>
              <a:cxn ang="0">
                <a:pos x="604" y="145"/>
              </a:cxn>
              <a:cxn ang="0">
                <a:pos x="610" y="174"/>
              </a:cxn>
              <a:cxn ang="0">
                <a:pos x="563" y="172"/>
              </a:cxn>
              <a:cxn ang="0">
                <a:pos x="530" y="152"/>
              </a:cxn>
              <a:cxn ang="0">
                <a:pos x="575" y="117"/>
              </a:cxn>
              <a:cxn ang="0">
                <a:pos x="488" y="101"/>
              </a:cxn>
              <a:cxn ang="0">
                <a:pos x="540" y="77"/>
              </a:cxn>
              <a:cxn ang="0">
                <a:pos x="598" y="93"/>
              </a:cxn>
              <a:cxn ang="0">
                <a:pos x="618" y="113"/>
              </a:cxn>
              <a:cxn ang="0">
                <a:pos x="647" y="135"/>
              </a:cxn>
              <a:cxn ang="0">
                <a:pos x="487" y="167"/>
              </a:cxn>
              <a:cxn ang="0">
                <a:pos x="316" y="70"/>
              </a:cxn>
              <a:cxn ang="0">
                <a:pos x="451" y="242"/>
              </a:cxn>
              <a:cxn ang="0">
                <a:pos x="633" y="313"/>
              </a:cxn>
              <a:cxn ang="0">
                <a:pos x="598" y="316"/>
              </a:cxn>
              <a:cxn ang="0">
                <a:pos x="632" y="341"/>
              </a:cxn>
              <a:cxn ang="0">
                <a:pos x="558" y="335"/>
              </a:cxn>
              <a:cxn ang="0">
                <a:pos x="569" y="350"/>
              </a:cxn>
              <a:cxn ang="0">
                <a:pos x="29" y="277"/>
              </a:cxn>
              <a:cxn ang="0">
                <a:pos x="18" y="308"/>
              </a:cxn>
            </a:cxnLst>
            <a:rect l="0" t="0" r="r" b="b"/>
            <a:pathLst>
              <a:path w="762" h="394">
                <a:moveTo>
                  <a:pt x="402" y="39"/>
                </a:moveTo>
                <a:cubicBezTo>
                  <a:pt x="401" y="39"/>
                  <a:pt x="404" y="38"/>
                  <a:pt x="404" y="38"/>
                </a:cubicBezTo>
                <a:cubicBezTo>
                  <a:pt x="404" y="38"/>
                  <a:pt x="405" y="38"/>
                  <a:pt x="405" y="38"/>
                </a:cubicBezTo>
                <a:cubicBezTo>
                  <a:pt x="406" y="38"/>
                  <a:pt x="408" y="38"/>
                  <a:pt x="409" y="37"/>
                </a:cubicBezTo>
                <a:cubicBezTo>
                  <a:pt x="410" y="37"/>
                  <a:pt x="411" y="37"/>
                  <a:pt x="412" y="37"/>
                </a:cubicBezTo>
                <a:cubicBezTo>
                  <a:pt x="413" y="37"/>
                  <a:pt x="414" y="37"/>
                  <a:pt x="415" y="37"/>
                </a:cubicBezTo>
                <a:cubicBezTo>
                  <a:pt x="415" y="37"/>
                  <a:pt x="417" y="37"/>
                  <a:pt x="417" y="37"/>
                </a:cubicBezTo>
                <a:cubicBezTo>
                  <a:pt x="418" y="37"/>
                  <a:pt x="419" y="36"/>
                  <a:pt x="420" y="37"/>
                </a:cubicBezTo>
                <a:cubicBezTo>
                  <a:pt x="420" y="37"/>
                  <a:pt x="421" y="37"/>
                  <a:pt x="421" y="37"/>
                </a:cubicBezTo>
                <a:cubicBezTo>
                  <a:pt x="421" y="37"/>
                  <a:pt x="422" y="36"/>
                  <a:pt x="422" y="36"/>
                </a:cubicBezTo>
                <a:cubicBezTo>
                  <a:pt x="423" y="36"/>
                  <a:pt x="424" y="36"/>
                  <a:pt x="425" y="36"/>
                </a:cubicBezTo>
                <a:cubicBezTo>
                  <a:pt x="426" y="36"/>
                  <a:pt x="427" y="36"/>
                  <a:pt x="428" y="37"/>
                </a:cubicBezTo>
                <a:cubicBezTo>
                  <a:pt x="429" y="37"/>
                  <a:pt x="428" y="37"/>
                  <a:pt x="427" y="37"/>
                </a:cubicBezTo>
                <a:cubicBezTo>
                  <a:pt x="425" y="38"/>
                  <a:pt x="423" y="38"/>
                  <a:pt x="421" y="38"/>
                </a:cubicBezTo>
                <a:cubicBezTo>
                  <a:pt x="420" y="38"/>
                  <a:pt x="419" y="38"/>
                  <a:pt x="418" y="38"/>
                </a:cubicBezTo>
                <a:cubicBezTo>
                  <a:pt x="418" y="38"/>
                  <a:pt x="417" y="39"/>
                  <a:pt x="418" y="39"/>
                </a:cubicBezTo>
                <a:cubicBezTo>
                  <a:pt x="418" y="39"/>
                  <a:pt x="419" y="39"/>
                  <a:pt x="420" y="39"/>
                </a:cubicBezTo>
                <a:cubicBezTo>
                  <a:pt x="420" y="39"/>
                  <a:pt x="421" y="39"/>
                  <a:pt x="422" y="39"/>
                </a:cubicBezTo>
                <a:cubicBezTo>
                  <a:pt x="422" y="39"/>
                  <a:pt x="420" y="40"/>
                  <a:pt x="420" y="40"/>
                </a:cubicBezTo>
                <a:cubicBezTo>
                  <a:pt x="420" y="40"/>
                  <a:pt x="420" y="40"/>
                  <a:pt x="419" y="41"/>
                </a:cubicBezTo>
                <a:cubicBezTo>
                  <a:pt x="419" y="41"/>
                  <a:pt x="419" y="41"/>
                  <a:pt x="419" y="41"/>
                </a:cubicBezTo>
                <a:cubicBezTo>
                  <a:pt x="418" y="41"/>
                  <a:pt x="417" y="41"/>
                  <a:pt x="417" y="41"/>
                </a:cubicBezTo>
                <a:cubicBezTo>
                  <a:pt x="414" y="42"/>
                  <a:pt x="412" y="42"/>
                  <a:pt x="410" y="42"/>
                </a:cubicBezTo>
                <a:cubicBezTo>
                  <a:pt x="408" y="42"/>
                  <a:pt x="406" y="43"/>
                  <a:pt x="404" y="43"/>
                </a:cubicBezTo>
                <a:cubicBezTo>
                  <a:pt x="403" y="43"/>
                  <a:pt x="401" y="43"/>
                  <a:pt x="402" y="42"/>
                </a:cubicBezTo>
                <a:cubicBezTo>
                  <a:pt x="401" y="41"/>
                  <a:pt x="401" y="42"/>
                  <a:pt x="400" y="42"/>
                </a:cubicBezTo>
                <a:cubicBezTo>
                  <a:pt x="400" y="41"/>
                  <a:pt x="400" y="41"/>
                  <a:pt x="400" y="41"/>
                </a:cubicBezTo>
                <a:cubicBezTo>
                  <a:pt x="400" y="41"/>
                  <a:pt x="400" y="41"/>
                  <a:pt x="399" y="41"/>
                </a:cubicBezTo>
                <a:cubicBezTo>
                  <a:pt x="400" y="41"/>
                  <a:pt x="400" y="41"/>
                  <a:pt x="400" y="40"/>
                </a:cubicBezTo>
                <a:cubicBezTo>
                  <a:pt x="401" y="40"/>
                  <a:pt x="401" y="40"/>
                  <a:pt x="401" y="40"/>
                </a:cubicBezTo>
                <a:cubicBezTo>
                  <a:pt x="401" y="40"/>
                  <a:pt x="401" y="39"/>
                  <a:pt x="402" y="39"/>
                </a:cubicBezTo>
                <a:close/>
                <a:moveTo>
                  <a:pt x="411" y="35"/>
                </a:moveTo>
                <a:cubicBezTo>
                  <a:pt x="412" y="35"/>
                  <a:pt x="414" y="34"/>
                  <a:pt x="416" y="34"/>
                </a:cubicBezTo>
                <a:cubicBezTo>
                  <a:pt x="416" y="34"/>
                  <a:pt x="417" y="34"/>
                  <a:pt x="417" y="35"/>
                </a:cubicBezTo>
                <a:cubicBezTo>
                  <a:pt x="417" y="35"/>
                  <a:pt x="419" y="35"/>
                  <a:pt x="419" y="35"/>
                </a:cubicBezTo>
                <a:cubicBezTo>
                  <a:pt x="419" y="35"/>
                  <a:pt x="421" y="35"/>
                  <a:pt x="421" y="35"/>
                </a:cubicBezTo>
                <a:cubicBezTo>
                  <a:pt x="422" y="34"/>
                  <a:pt x="423" y="34"/>
                  <a:pt x="424" y="35"/>
                </a:cubicBezTo>
                <a:cubicBezTo>
                  <a:pt x="424" y="35"/>
                  <a:pt x="425" y="35"/>
                  <a:pt x="425" y="35"/>
                </a:cubicBezTo>
                <a:cubicBezTo>
                  <a:pt x="426" y="35"/>
                  <a:pt x="426" y="35"/>
                  <a:pt x="427" y="35"/>
                </a:cubicBezTo>
                <a:cubicBezTo>
                  <a:pt x="428" y="35"/>
                  <a:pt x="429" y="35"/>
                  <a:pt x="430" y="35"/>
                </a:cubicBezTo>
                <a:cubicBezTo>
                  <a:pt x="431" y="35"/>
                  <a:pt x="432" y="35"/>
                  <a:pt x="433" y="34"/>
                </a:cubicBezTo>
                <a:cubicBezTo>
                  <a:pt x="434" y="34"/>
                  <a:pt x="434" y="34"/>
                  <a:pt x="435" y="34"/>
                </a:cubicBezTo>
                <a:cubicBezTo>
                  <a:pt x="435" y="34"/>
                  <a:pt x="436" y="33"/>
                  <a:pt x="435" y="33"/>
                </a:cubicBezTo>
                <a:cubicBezTo>
                  <a:pt x="437" y="33"/>
                  <a:pt x="433" y="32"/>
                  <a:pt x="434" y="32"/>
                </a:cubicBezTo>
                <a:cubicBezTo>
                  <a:pt x="433" y="32"/>
                  <a:pt x="432" y="31"/>
                  <a:pt x="431" y="31"/>
                </a:cubicBezTo>
                <a:cubicBezTo>
                  <a:pt x="430" y="31"/>
                  <a:pt x="429" y="31"/>
                  <a:pt x="428" y="31"/>
                </a:cubicBezTo>
                <a:cubicBezTo>
                  <a:pt x="427" y="32"/>
                  <a:pt x="426" y="32"/>
                  <a:pt x="425" y="32"/>
                </a:cubicBezTo>
                <a:cubicBezTo>
                  <a:pt x="424" y="32"/>
                  <a:pt x="424" y="32"/>
                  <a:pt x="424" y="33"/>
                </a:cubicBezTo>
                <a:cubicBezTo>
                  <a:pt x="421" y="33"/>
                  <a:pt x="417" y="33"/>
                  <a:pt x="414" y="33"/>
                </a:cubicBezTo>
                <a:cubicBezTo>
                  <a:pt x="413" y="34"/>
                  <a:pt x="411" y="34"/>
                  <a:pt x="409" y="34"/>
                </a:cubicBezTo>
                <a:cubicBezTo>
                  <a:pt x="407" y="35"/>
                  <a:pt x="410" y="35"/>
                  <a:pt x="411" y="35"/>
                </a:cubicBezTo>
                <a:close/>
                <a:moveTo>
                  <a:pt x="529" y="23"/>
                </a:moveTo>
                <a:cubicBezTo>
                  <a:pt x="530" y="23"/>
                  <a:pt x="531" y="23"/>
                  <a:pt x="530" y="24"/>
                </a:cubicBezTo>
                <a:cubicBezTo>
                  <a:pt x="530" y="24"/>
                  <a:pt x="531" y="24"/>
                  <a:pt x="531" y="24"/>
                </a:cubicBezTo>
                <a:cubicBezTo>
                  <a:pt x="531" y="25"/>
                  <a:pt x="532" y="24"/>
                  <a:pt x="533" y="24"/>
                </a:cubicBezTo>
                <a:cubicBezTo>
                  <a:pt x="534" y="24"/>
                  <a:pt x="535" y="24"/>
                  <a:pt x="536" y="24"/>
                </a:cubicBezTo>
                <a:cubicBezTo>
                  <a:pt x="537" y="24"/>
                  <a:pt x="538" y="24"/>
                  <a:pt x="539" y="24"/>
                </a:cubicBezTo>
                <a:cubicBezTo>
                  <a:pt x="540" y="24"/>
                  <a:pt x="542" y="23"/>
                  <a:pt x="542" y="23"/>
                </a:cubicBezTo>
                <a:cubicBezTo>
                  <a:pt x="542" y="24"/>
                  <a:pt x="540" y="24"/>
                  <a:pt x="540" y="24"/>
                </a:cubicBezTo>
                <a:cubicBezTo>
                  <a:pt x="539" y="25"/>
                  <a:pt x="538" y="25"/>
                  <a:pt x="536" y="25"/>
                </a:cubicBezTo>
                <a:cubicBezTo>
                  <a:pt x="534" y="25"/>
                  <a:pt x="532" y="25"/>
                  <a:pt x="530" y="26"/>
                </a:cubicBezTo>
                <a:cubicBezTo>
                  <a:pt x="530" y="26"/>
                  <a:pt x="529" y="26"/>
                  <a:pt x="529" y="26"/>
                </a:cubicBezTo>
                <a:cubicBezTo>
                  <a:pt x="530" y="26"/>
                  <a:pt x="530" y="26"/>
                  <a:pt x="531" y="26"/>
                </a:cubicBezTo>
                <a:cubicBezTo>
                  <a:pt x="531" y="26"/>
                  <a:pt x="532" y="26"/>
                  <a:pt x="532" y="26"/>
                </a:cubicBezTo>
                <a:cubicBezTo>
                  <a:pt x="532" y="26"/>
                  <a:pt x="532" y="26"/>
                  <a:pt x="532" y="27"/>
                </a:cubicBezTo>
                <a:cubicBezTo>
                  <a:pt x="532" y="27"/>
                  <a:pt x="532" y="27"/>
                  <a:pt x="532" y="27"/>
                </a:cubicBezTo>
                <a:cubicBezTo>
                  <a:pt x="532" y="27"/>
                  <a:pt x="531" y="27"/>
                  <a:pt x="531" y="27"/>
                </a:cubicBezTo>
                <a:cubicBezTo>
                  <a:pt x="532" y="27"/>
                  <a:pt x="532" y="27"/>
                  <a:pt x="531" y="27"/>
                </a:cubicBezTo>
                <a:cubicBezTo>
                  <a:pt x="532" y="27"/>
                  <a:pt x="533" y="27"/>
                  <a:pt x="534" y="27"/>
                </a:cubicBezTo>
                <a:cubicBezTo>
                  <a:pt x="535" y="27"/>
                  <a:pt x="536" y="27"/>
                  <a:pt x="537" y="26"/>
                </a:cubicBezTo>
                <a:cubicBezTo>
                  <a:pt x="537" y="26"/>
                  <a:pt x="537" y="26"/>
                  <a:pt x="537" y="26"/>
                </a:cubicBezTo>
                <a:cubicBezTo>
                  <a:pt x="537" y="26"/>
                  <a:pt x="538" y="26"/>
                  <a:pt x="538" y="26"/>
                </a:cubicBezTo>
                <a:cubicBezTo>
                  <a:pt x="539" y="26"/>
                  <a:pt x="540" y="26"/>
                  <a:pt x="541" y="26"/>
                </a:cubicBezTo>
                <a:cubicBezTo>
                  <a:pt x="539" y="27"/>
                  <a:pt x="538" y="27"/>
                  <a:pt x="537" y="27"/>
                </a:cubicBezTo>
                <a:cubicBezTo>
                  <a:pt x="539" y="27"/>
                  <a:pt x="540" y="27"/>
                  <a:pt x="541" y="27"/>
                </a:cubicBezTo>
                <a:cubicBezTo>
                  <a:pt x="542" y="26"/>
                  <a:pt x="543" y="27"/>
                  <a:pt x="543" y="26"/>
                </a:cubicBezTo>
                <a:cubicBezTo>
                  <a:pt x="543" y="26"/>
                  <a:pt x="545" y="26"/>
                  <a:pt x="545" y="26"/>
                </a:cubicBezTo>
                <a:cubicBezTo>
                  <a:pt x="545" y="26"/>
                  <a:pt x="543" y="27"/>
                  <a:pt x="543" y="27"/>
                </a:cubicBezTo>
                <a:cubicBezTo>
                  <a:pt x="544" y="27"/>
                  <a:pt x="545" y="27"/>
                  <a:pt x="546" y="26"/>
                </a:cubicBezTo>
                <a:cubicBezTo>
                  <a:pt x="546" y="26"/>
                  <a:pt x="546" y="26"/>
                  <a:pt x="546" y="26"/>
                </a:cubicBezTo>
                <a:cubicBezTo>
                  <a:pt x="547" y="26"/>
                  <a:pt x="546" y="26"/>
                  <a:pt x="546" y="26"/>
                </a:cubicBezTo>
                <a:cubicBezTo>
                  <a:pt x="548" y="27"/>
                  <a:pt x="550" y="25"/>
                  <a:pt x="551" y="26"/>
                </a:cubicBezTo>
                <a:cubicBezTo>
                  <a:pt x="550" y="26"/>
                  <a:pt x="549" y="26"/>
                  <a:pt x="548" y="26"/>
                </a:cubicBezTo>
                <a:cubicBezTo>
                  <a:pt x="550" y="27"/>
                  <a:pt x="551" y="27"/>
                  <a:pt x="553" y="27"/>
                </a:cubicBezTo>
                <a:cubicBezTo>
                  <a:pt x="554" y="27"/>
                  <a:pt x="556" y="26"/>
                  <a:pt x="557" y="26"/>
                </a:cubicBezTo>
                <a:cubicBezTo>
                  <a:pt x="556" y="27"/>
                  <a:pt x="555" y="27"/>
                  <a:pt x="554" y="27"/>
                </a:cubicBezTo>
                <a:cubicBezTo>
                  <a:pt x="553" y="27"/>
                  <a:pt x="552" y="27"/>
                  <a:pt x="551" y="27"/>
                </a:cubicBezTo>
                <a:cubicBezTo>
                  <a:pt x="550" y="27"/>
                  <a:pt x="550" y="27"/>
                  <a:pt x="549" y="27"/>
                </a:cubicBezTo>
                <a:cubicBezTo>
                  <a:pt x="548" y="27"/>
                  <a:pt x="547" y="27"/>
                  <a:pt x="546" y="27"/>
                </a:cubicBezTo>
                <a:cubicBezTo>
                  <a:pt x="549" y="28"/>
                  <a:pt x="551" y="28"/>
                  <a:pt x="554" y="28"/>
                </a:cubicBezTo>
                <a:cubicBezTo>
                  <a:pt x="555" y="27"/>
                  <a:pt x="556" y="27"/>
                  <a:pt x="558" y="27"/>
                </a:cubicBezTo>
                <a:cubicBezTo>
                  <a:pt x="558" y="27"/>
                  <a:pt x="559" y="27"/>
                  <a:pt x="560" y="27"/>
                </a:cubicBezTo>
                <a:cubicBezTo>
                  <a:pt x="559" y="28"/>
                  <a:pt x="557" y="28"/>
                  <a:pt x="556" y="28"/>
                </a:cubicBezTo>
                <a:cubicBezTo>
                  <a:pt x="554" y="28"/>
                  <a:pt x="553" y="28"/>
                  <a:pt x="551" y="28"/>
                </a:cubicBezTo>
                <a:cubicBezTo>
                  <a:pt x="549" y="28"/>
                  <a:pt x="548" y="28"/>
                  <a:pt x="546" y="28"/>
                </a:cubicBezTo>
                <a:cubicBezTo>
                  <a:pt x="545" y="28"/>
                  <a:pt x="545" y="28"/>
                  <a:pt x="544" y="28"/>
                </a:cubicBezTo>
                <a:cubicBezTo>
                  <a:pt x="543" y="28"/>
                  <a:pt x="542" y="28"/>
                  <a:pt x="541" y="28"/>
                </a:cubicBezTo>
                <a:cubicBezTo>
                  <a:pt x="540" y="28"/>
                  <a:pt x="539" y="29"/>
                  <a:pt x="537" y="29"/>
                </a:cubicBezTo>
                <a:cubicBezTo>
                  <a:pt x="536" y="29"/>
                  <a:pt x="535" y="29"/>
                  <a:pt x="534" y="29"/>
                </a:cubicBezTo>
                <a:cubicBezTo>
                  <a:pt x="533" y="30"/>
                  <a:pt x="534" y="30"/>
                  <a:pt x="534" y="30"/>
                </a:cubicBezTo>
                <a:cubicBezTo>
                  <a:pt x="534" y="30"/>
                  <a:pt x="534" y="31"/>
                  <a:pt x="535" y="31"/>
                </a:cubicBezTo>
                <a:cubicBezTo>
                  <a:pt x="536" y="31"/>
                  <a:pt x="538" y="31"/>
                  <a:pt x="539" y="31"/>
                </a:cubicBezTo>
                <a:cubicBezTo>
                  <a:pt x="538" y="32"/>
                  <a:pt x="537" y="31"/>
                  <a:pt x="537" y="31"/>
                </a:cubicBezTo>
                <a:cubicBezTo>
                  <a:pt x="536" y="31"/>
                  <a:pt x="535" y="31"/>
                  <a:pt x="534" y="31"/>
                </a:cubicBezTo>
                <a:cubicBezTo>
                  <a:pt x="534" y="32"/>
                  <a:pt x="536" y="32"/>
                  <a:pt x="536" y="32"/>
                </a:cubicBezTo>
                <a:cubicBezTo>
                  <a:pt x="536" y="32"/>
                  <a:pt x="535" y="32"/>
                  <a:pt x="535" y="32"/>
                </a:cubicBezTo>
                <a:cubicBezTo>
                  <a:pt x="535" y="33"/>
                  <a:pt x="536" y="33"/>
                  <a:pt x="536" y="33"/>
                </a:cubicBezTo>
                <a:cubicBezTo>
                  <a:pt x="537" y="32"/>
                  <a:pt x="538" y="32"/>
                  <a:pt x="539" y="32"/>
                </a:cubicBezTo>
                <a:cubicBezTo>
                  <a:pt x="540" y="32"/>
                  <a:pt x="541" y="33"/>
                  <a:pt x="542" y="33"/>
                </a:cubicBezTo>
                <a:cubicBezTo>
                  <a:pt x="543" y="33"/>
                  <a:pt x="544" y="33"/>
                  <a:pt x="545" y="33"/>
                </a:cubicBezTo>
                <a:cubicBezTo>
                  <a:pt x="545" y="33"/>
                  <a:pt x="545" y="33"/>
                  <a:pt x="544" y="33"/>
                </a:cubicBezTo>
                <a:cubicBezTo>
                  <a:pt x="544" y="33"/>
                  <a:pt x="543" y="33"/>
                  <a:pt x="543" y="33"/>
                </a:cubicBezTo>
                <a:cubicBezTo>
                  <a:pt x="542" y="33"/>
                  <a:pt x="541" y="33"/>
                  <a:pt x="539" y="33"/>
                </a:cubicBezTo>
                <a:cubicBezTo>
                  <a:pt x="540" y="33"/>
                  <a:pt x="538" y="33"/>
                  <a:pt x="538" y="33"/>
                </a:cubicBezTo>
                <a:cubicBezTo>
                  <a:pt x="538" y="33"/>
                  <a:pt x="537" y="33"/>
                  <a:pt x="537" y="33"/>
                </a:cubicBezTo>
                <a:cubicBezTo>
                  <a:pt x="535" y="34"/>
                  <a:pt x="537" y="34"/>
                  <a:pt x="537" y="34"/>
                </a:cubicBezTo>
                <a:cubicBezTo>
                  <a:pt x="537" y="35"/>
                  <a:pt x="539" y="35"/>
                  <a:pt x="540" y="35"/>
                </a:cubicBezTo>
                <a:cubicBezTo>
                  <a:pt x="539" y="35"/>
                  <a:pt x="539" y="35"/>
                  <a:pt x="538" y="35"/>
                </a:cubicBezTo>
                <a:cubicBezTo>
                  <a:pt x="539" y="35"/>
                  <a:pt x="539" y="35"/>
                  <a:pt x="539" y="35"/>
                </a:cubicBezTo>
                <a:cubicBezTo>
                  <a:pt x="539" y="36"/>
                  <a:pt x="540" y="35"/>
                  <a:pt x="541" y="35"/>
                </a:cubicBezTo>
                <a:cubicBezTo>
                  <a:pt x="541" y="35"/>
                  <a:pt x="542" y="36"/>
                  <a:pt x="542" y="36"/>
                </a:cubicBezTo>
                <a:cubicBezTo>
                  <a:pt x="543" y="36"/>
                  <a:pt x="543" y="36"/>
                  <a:pt x="544" y="36"/>
                </a:cubicBezTo>
                <a:cubicBezTo>
                  <a:pt x="545" y="36"/>
                  <a:pt x="546" y="36"/>
                  <a:pt x="547" y="36"/>
                </a:cubicBezTo>
                <a:cubicBezTo>
                  <a:pt x="548" y="36"/>
                  <a:pt x="548" y="36"/>
                  <a:pt x="548" y="36"/>
                </a:cubicBezTo>
                <a:cubicBezTo>
                  <a:pt x="549" y="36"/>
                  <a:pt x="549" y="36"/>
                  <a:pt x="550" y="36"/>
                </a:cubicBezTo>
                <a:cubicBezTo>
                  <a:pt x="550" y="36"/>
                  <a:pt x="550" y="36"/>
                  <a:pt x="550" y="35"/>
                </a:cubicBezTo>
                <a:cubicBezTo>
                  <a:pt x="550" y="35"/>
                  <a:pt x="550" y="35"/>
                  <a:pt x="551" y="35"/>
                </a:cubicBezTo>
                <a:cubicBezTo>
                  <a:pt x="550" y="35"/>
                  <a:pt x="549" y="35"/>
                  <a:pt x="549" y="35"/>
                </a:cubicBezTo>
                <a:cubicBezTo>
                  <a:pt x="549" y="34"/>
                  <a:pt x="550" y="35"/>
                  <a:pt x="551" y="35"/>
                </a:cubicBezTo>
                <a:cubicBezTo>
                  <a:pt x="551" y="35"/>
                  <a:pt x="553" y="34"/>
                  <a:pt x="553" y="35"/>
                </a:cubicBezTo>
                <a:cubicBezTo>
                  <a:pt x="553" y="35"/>
                  <a:pt x="552" y="35"/>
                  <a:pt x="553" y="36"/>
                </a:cubicBezTo>
                <a:cubicBezTo>
                  <a:pt x="553" y="36"/>
                  <a:pt x="554" y="35"/>
                  <a:pt x="554" y="36"/>
                </a:cubicBezTo>
                <a:cubicBezTo>
                  <a:pt x="554" y="36"/>
                  <a:pt x="554" y="36"/>
                  <a:pt x="555" y="36"/>
                </a:cubicBezTo>
                <a:cubicBezTo>
                  <a:pt x="555" y="36"/>
                  <a:pt x="555" y="36"/>
                  <a:pt x="555" y="35"/>
                </a:cubicBezTo>
                <a:cubicBezTo>
                  <a:pt x="555" y="34"/>
                  <a:pt x="555" y="34"/>
                  <a:pt x="554" y="34"/>
                </a:cubicBezTo>
                <a:cubicBezTo>
                  <a:pt x="555" y="33"/>
                  <a:pt x="555" y="33"/>
                  <a:pt x="555" y="33"/>
                </a:cubicBezTo>
                <a:cubicBezTo>
                  <a:pt x="556" y="32"/>
                  <a:pt x="557" y="32"/>
                  <a:pt x="556" y="33"/>
                </a:cubicBezTo>
                <a:cubicBezTo>
                  <a:pt x="556" y="34"/>
                  <a:pt x="557" y="34"/>
                  <a:pt x="557" y="35"/>
                </a:cubicBezTo>
                <a:cubicBezTo>
                  <a:pt x="557" y="36"/>
                  <a:pt x="558" y="36"/>
                  <a:pt x="559" y="36"/>
                </a:cubicBezTo>
                <a:cubicBezTo>
                  <a:pt x="560" y="36"/>
                  <a:pt x="561" y="35"/>
                  <a:pt x="561" y="35"/>
                </a:cubicBezTo>
                <a:cubicBezTo>
                  <a:pt x="562" y="35"/>
                  <a:pt x="562" y="35"/>
                  <a:pt x="563" y="34"/>
                </a:cubicBezTo>
                <a:cubicBezTo>
                  <a:pt x="564" y="34"/>
                  <a:pt x="563" y="33"/>
                  <a:pt x="564" y="32"/>
                </a:cubicBezTo>
                <a:cubicBezTo>
                  <a:pt x="565" y="32"/>
                  <a:pt x="565" y="33"/>
                  <a:pt x="566" y="34"/>
                </a:cubicBezTo>
                <a:cubicBezTo>
                  <a:pt x="566" y="34"/>
                  <a:pt x="568" y="33"/>
                  <a:pt x="569" y="32"/>
                </a:cubicBezTo>
                <a:cubicBezTo>
                  <a:pt x="569" y="32"/>
                  <a:pt x="567" y="32"/>
                  <a:pt x="567" y="32"/>
                </a:cubicBezTo>
                <a:cubicBezTo>
                  <a:pt x="568" y="32"/>
                  <a:pt x="568" y="32"/>
                  <a:pt x="569" y="31"/>
                </a:cubicBezTo>
                <a:cubicBezTo>
                  <a:pt x="569" y="31"/>
                  <a:pt x="570" y="30"/>
                  <a:pt x="570" y="30"/>
                </a:cubicBezTo>
                <a:cubicBezTo>
                  <a:pt x="571" y="30"/>
                  <a:pt x="572" y="29"/>
                  <a:pt x="572" y="29"/>
                </a:cubicBezTo>
                <a:cubicBezTo>
                  <a:pt x="573" y="29"/>
                  <a:pt x="574" y="29"/>
                  <a:pt x="575" y="29"/>
                </a:cubicBezTo>
                <a:cubicBezTo>
                  <a:pt x="574" y="29"/>
                  <a:pt x="573" y="29"/>
                  <a:pt x="572" y="30"/>
                </a:cubicBezTo>
                <a:cubicBezTo>
                  <a:pt x="572" y="30"/>
                  <a:pt x="571" y="30"/>
                  <a:pt x="571" y="31"/>
                </a:cubicBezTo>
                <a:cubicBezTo>
                  <a:pt x="570" y="31"/>
                  <a:pt x="570" y="32"/>
                  <a:pt x="571" y="32"/>
                </a:cubicBezTo>
                <a:cubicBezTo>
                  <a:pt x="571" y="32"/>
                  <a:pt x="572" y="32"/>
                  <a:pt x="573" y="32"/>
                </a:cubicBezTo>
                <a:cubicBezTo>
                  <a:pt x="574" y="31"/>
                  <a:pt x="575" y="31"/>
                  <a:pt x="576" y="31"/>
                </a:cubicBezTo>
                <a:cubicBezTo>
                  <a:pt x="577" y="30"/>
                  <a:pt x="578" y="30"/>
                  <a:pt x="578" y="30"/>
                </a:cubicBezTo>
                <a:cubicBezTo>
                  <a:pt x="579" y="29"/>
                  <a:pt x="579" y="29"/>
                  <a:pt x="579" y="29"/>
                </a:cubicBezTo>
                <a:cubicBezTo>
                  <a:pt x="579" y="30"/>
                  <a:pt x="581" y="29"/>
                  <a:pt x="581" y="29"/>
                </a:cubicBezTo>
                <a:cubicBezTo>
                  <a:pt x="583" y="28"/>
                  <a:pt x="586" y="28"/>
                  <a:pt x="588" y="28"/>
                </a:cubicBezTo>
                <a:cubicBezTo>
                  <a:pt x="589" y="28"/>
                  <a:pt x="590" y="28"/>
                  <a:pt x="591" y="28"/>
                </a:cubicBezTo>
                <a:cubicBezTo>
                  <a:pt x="592" y="28"/>
                  <a:pt x="593" y="28"/>
                  <a:pt x="594" y="27"/>
                </a:cubicBezTo>
                <a:cubicBezTo>
                  <a:pt x="595" y="27"/>
                  <a:pt x="593" y="26"/>
                  <a:pt x="593" y="26"/>
                </a:cubicBezTo>
                <a:cubicBezTo>
                  <a:pt x="593" y="26"/>
                  <a:pt x="593" y="25"/>
                  <a:pt x="593" y="25"/>
                </a:cubicBezTo>
                <a:cubicBezTo>
                  <a:pt x="591" y="24"/>
                  <a:pt x="590" y="27"/>
                  <a:pt x="588" y="26"/>
                </a:cubicBezTo>
                <a:cubicBezTo>
                  <a:pt x="588" y="26"/>
                  <a:pt x="589" y="26"/>
                  <a:pt x="589" y="25"/>
                </a:cubicBezTo>
                <a:cubicBezTo>
                  <a:pt x="589" y="25"/>
                  <a:pt x="590" y="25"/>
                  <a:pt x="590" y="25"/>
                </a:cubicBezTo>
                <a:cubicBezTo>
                  <a:pt x="589" y="24"/>
                  <a:pt x="587" y="24"/>
                  <a:pt x="586" y="25"/>
                </a:cubicBezTo>
                <a:cubicBezTo>
                  <a:pt x="586" y="25"/>
                  <a:pt x="585" y="25"/>
                  <a:pt x="585" y="25"/>
                </a:cubicBezTo>
                <a:cubicBezTo>
                  <a:pt x="585" y="25"/>
                  <a:pt x="585" y="25"/>
                  <a:pt x="585" y="25"/>
                </a:cubicBezTo>
                <a:cubicBezTo>
                  <a:pt x="584" y="25"/>
                  <a:pt x="583" y="25"/>
                  <a:pt x="582" y="25"/>
                </a:cubicBezTo>
                <a:cubicBezTo>
                  <a:pt x="582" y="25"/>
                  <a:pt x="580" y="25"/>
                  <a:pt x="582" y="25"/>
                </a:cubicBezTo>
                <a:cubicBezTo>
                  <a:pt x="583" y="24"/>
                  <a:pt x="584" y="24"/>
                  <a:pt x="585" y="24"/>
                </a:cubicBezTo>
                <a:cubicBezTo>
                  <a:pt x="585" y="24"/>
                  <a:pt x="588" y="23"/>
                  <a:pt x="588" y="22"/>
                </a:cubicBezTo>
                <a:cubicBezTo>
                  <a:pt x="588" y="22"/>
                  <a:pt x="584" y="23"/>
                  <a:pt x="584" y="23"/>
                </a:cubicBezTo>
                <a:cubicBezTo>
                  <a:pt x="584" y="23"/>
                  <a:pt x="585" y="23"/>
                  <a:pt x="585" y="23"/>
                </a:cubicBezTo>
                <a:cubicBezTo>
                  <a:pt x="586" y="23"/>
                  <a:pt x="586" y="22"/>
                  <a:pt x="586" y="22"/>
                </a:cubicBezTo>
                <a:cubicBezTo>
                  <a:pt x="587" y="22"/>
                  <a:pt x="588" y="22"/>
                  <a:pt x="588" y="22"/>
                </a:cubicBezTo>
                <a:cubicBezTo>
                  <a:pt x="588" y="22"/>
                  <a:pt x="587" y="22"/>
                  <a:pt x="587" y="21"/>
                </a:cubicBezTo>
                <a:cubicBezTo>
                  <a:pt x="587" y="21"/>
                  <a:pt x="586" y="21"/>
                  <a:pt x="586" y="21"/>
                </a:cubicBezTo>
                <a:cubicBezTo>
                  <a:pt x="585" y="21"/>
                  <a:pt x="585" y="21"/>
                  <a:pt x="584" y="21"/>
                </a:cubicBezTo>
                <a:cubicBezTo>
                  <a:pt x="584" y="21"/>
                  <a:pt x="584" y="21"/>
                  <a:pt x="583" y="21"/>
                </a:cubicBezTo>
                <a:cubicBezTo>
                  <a:pt x="584" y="20"/>
                  <a:pt x="585" y="21"/>
                  <a:pt x="586" y="20"/>
                </a:cubicBezTo>
                <a:cubicBezTo>
                  <a:pt x="587" y="20"/>
                  <a:pt x="588" y="19"/>
                  <a:pt x="588" y="19"/>
                </a:cubicBezTo>
                <a:cubicBezTo>
                  <a:pt x="586" y="18"/>
                  <a:pt x="583" y="18"/>
                  <a:pt x="581" y="20"/>
                </a:cubicBezTo>
                <a:cubicBezTo>
                  <a:pt x="581" y="20"/>
                  <a:pt x="582" y="20"/>
                  <a:pt x="583" y="20"/>
                </a:cubicBezTo>
                <a:cubicBezTo>
                  <a:pt x="582" y="20"/>
                  <a:pt x="582" y="20"/>
                  <a:pt x="582" y="20"/>
                </a:cubicBezTo>
                <a:cubicBezTo>
                  <a:pt x="582" y="21"/>
                  <a:pt x="583" y="21"/>
                  <a:pt x="582" y="21"/>
                </a:cubicBezTo>
                <a:cubicBezTo>
                  <a:pt x="582" y="21"/>
                  <a:pt x="581" y="21"/>
                  <a:pt x="581" y="21"/>
                </a:cubicBezTo>
                <a:cubicBezTo>
                  <a:pt x="580" y="21"/>
                  <a:pt x="580" y="21"/>
                  <a:pt x="579" y="21"/>
                </a:cubicBezTo>
                <a:cubicBezTo>
                  <a:pt x="579" y="21"/>
                  <a:pt x="577" y="20"/>
                  <a:pt x="578" y="19"/>
                </a:cubicBezTo>
                <a:cubicBezTo>
                  <a:pt x="578" y="19"/>
                  <a:pt x="578" y="19"/>
                  <a:pt x="579" y="19"/>
                </a:cubicBezTo>
                <a:cubicBezTo>
                  <a:pt x="579" y="19"/>
                  <a:pt x="579" y="19"/>
                  <a:pt x="580" y="19"/>
                </a:cubicBezTo>
                <a:cubicBezTo>
                  <a:pt x="579" y="19"/>
                  <a:pt x="579" y="19"/>
                  <a:pt x="579" y="19"/>
                </a:cubicBezTo>
                <a:cubicBezTo>
                  <a:pt x="579" y="18"/>
                  <a:pt x="580" y="19"/>
                  <a:pt x="581" y="18"/>
                </a:cubicBezTo>
                <a:cubicBezTo>
                  <a:pt x="579" y="18"/>
                  <a:pt x="579" y="18"/>
                  <a:pt x="577" y="18"/>
                </a:cubicBezTo>
                <a:cubicBezTo>
                  <a:pt x="577" y="18"/>
                  <a:pt x="577" y="18"/>
                  <a:pt x="577" y="18"/>
                </a:cubicBezTo>
                <a:cubicBezTo>
                  <a:pt x="577" y="18"/>
                  <a:pt x="577" y="18"/>
                  <a:pt x="577" y="18"/>
                </a:cubicBezTo>
                <a:cubicBezTo>
                  <a:pt x="576" y="18"/>
                  <a:pt x="576" y="18"/>
                  <a:pt x="576" y="18"/>
                </a:cubicBezTo>
                <a:cubicBezTo>
                  <a:pt x="574" y="18"/>
                  <a:pt x="573" y="18"/>
                  <a:pt x="572" y="17"/>
                </a:cubicBezTo>
                <a:cubicBezTo>
                  <a:pt x="572" y="17"/>
                  <a:pt x="574" y="17"/>
                  <a:pt x="573" y="16"/>
                </a:cubicBezTo>
                <a:cubicBezTo>
                  <a:pt x="572" y="16"/>
                  <a:pt x="572" y="16"/>
                  <a:pt x="572" y="16"/>
                </a:cubicBezTo>
                <a:cubicBezTo>
                  <a:pt x="571" y="16"/>
                  <a:pt x="571" y="16"/>
                  <a:pt x="572" y="16"/>
                </a:cubicBezTo>
                <a:cubicBezTo>
                  <a:pt x="572" y="16"/>
                  <a:pt x="570" y="15"/>
                  <a:pt x="571" y="15"/>
                </a:cubicBezTo>
                <a:cubicBezTo>
                  <a:pt x="571" y="14"/>
                  <a:pt x="570" y="14"/>
                  <a:pt x="570" y="14"/>
                </a:cubicBezTo>
                <a:cubicBezTo>
                  <a:pt x="570" y="14"/>
                  <a:pt x="571" y="14"/>
                  <a:pt x="571" y="13"/>
                </a:cubicBezTo>
                <a:cubicBezTo>
                  <a:pt x="571" y="13"/>
                  <a:pt x="570" y="12"/>
                  <a:pt x="568" y="12"/>
                </a:cubicBezTo>
                <a:cubicBezTo>
                  <a:pt x="566" y="12"/>
                  <a:pt x="564" y="11"/>
                  <a:pt x="563" y="12"/>
                </a:cubicBezTo>
                <a:cubicBezTo>
                  <a:pt x="563" y="12"/>
                  <a:pt x="563" y="12"/>
                  <a:pt x="563" y="12"/>
                </a:cubicBezTo>
                <a:cubicBezTo>
                  <a:pt x="563" y="12"/>
                  <a:pt x="562" y="12"/>
                  <a:pt x="562" y="12"/>
                </a:cubicBezTo>
                <a:cubicBezTo>
                  <a:pt x="562" y="12"/>
                  <a:pt x="561" y="12"/>
                  <a:pt x="560" y="12"/>
                </a:cubicBezTo>
                <a:cubicBezTo>
                  <a:pt x="559" y="12"/>
                  <a:pt x="558" y="12"/>
                  <a:pt x="557" y="13"/>
                </a:cubicBezTo>
                <a:cubicBezTo>
                  <a:pt x="558" y="13"/>
                  <a:pt x="559" y="13"/>
                  <a:pt x="560" y="13"/>
                </a:cubicBezTo>
                <a:cubicBezTo>
                  <a:pt x="561" y="13"/>
                  <a:pt x="561" y="13"/>
                  <a:pt x="562" y="13"/>
                </a:cubicBezTo>
                <a:cubicBezTo>
                  <a:pt x="562" y="13"/>
                  <a:pt x="564" y="13"/>
                  <a:pt x="563" y="13"/>
                </a:cubicBezTo>
                <a:cubicBezTo>
                  <a:pt x="563" y="13"/>
                  <a:pt x="564" y="13"/>
                  <a:pt x="564" y="13"/>
                </a:cubicBezTo>
                <a:cubicBezTo>
                  <a:pt x="564" y="13"/>
                  <a:pt x="563" y="14"/>
                  <a:pt x="563" y="14"/>
                </a:cubicBezTo>
                <a:cubicBezTo>
                  <a:pt x="562" y="14"/>
                  <a:pt x="561" y="14"/>
                  <a:pt x="560" y="14"/>
                </a:cubicBezTo>
                <a:cubicBezTo>
                  <a:pt x="559" y="14"/>
                  <a:pt x="559" y="14"/>
                  <a:pt x="558" y="14"/>
                </a:cubicBezTo>
                <a:cubicBezTo>
                  <a:pt x="557" y="14"/>
                  <a:pt x="556" y="13"/>
                  <a:pt x="556" y="14"/>
                </a:cubicBezTo>
                <a:cubicBezTo>
                  <a:pt x="556" y="14"/>
                  <a:pt x="557" y="14"/>
                  <a:pt x="558" y="14"/>
                </a:cubicBezTo>
                <a:cubicBezTo>
                  <a:pt x="557" y="14"/>
                  <a:pt x="557" y="14"/>
                  <a:pt x="557" y="14"/>
                </a:cubicBezTo>
                <a:cubicBezTo>
                  <a:pt x="558" y="14"/>
                  <a:pt x="556" y="14"/>
                  <a:pt x="556" y="14"/>
                </a:cubicBezTo>
                <a:cubicBezTo>
                  <a:pt x="556" y="14"/>
                  <a:pt x="556" y="14"/>
                  <a:pt x="555" y="14"/>
                </a:cubicBezTo>
                <a:cubicBezTo>
                  <a:pt x="555" y="14"/>
                  <a:pt x="554" y="15"/>
                  <a:pt x="554" y="14"/>
                </a:cubicBezTo>
                <a:cubicBezTo>
                  <a:pt x="554" y="14"/>
                  <a:pt x="554" y="14"/>
                  <a:pt x="554" y="14"/>
                </a:cubicBezTo>
                <a:cubicBezTo>
                  <a:pt x="553" y="14"/>
                  <a:pt x="552" y="14"/>
                  <a:pt x="550" y="14"/>
                </a:cubicBezTo>
                <a:cubicBezTo>
                  <a:pt x="550" y="14"/>
                  <a:pt x="549" y="14"/>
                  <a:pt x="549" y="15"/>
                </a:cubicBezTo>
                <a:cubicBezTo>
                  <a:pt x="548" y="15"/>
                  <a:pt x="547" y="15"/>
                  <a:pt x="547" y="15"/>
                </a:cubicBezTo>
                <a:cubicBezTo>
                  <a:pt x="547" y="15"/>
                  <a:pt x="548" y="15"/>
                  <a:pt x="549" y="15"/>
                </a:cubicBezTo>
                <a:cubicBezTo>
                  <a:pt x="548" y="15"/>
                  <a:pt x="546" y="15"/>
                  <a:pt x="546" y="16"/>
                </a:cubicBezTo>
                <a:cubicBezTo>
                  <a:pt x="547" y="16"/>
                  <a:pt x="548" y="15"/>
                  <a:pt x="550" y="16"/>
                </a:cubicBezTo>
                <a:cubicBezTo>
                  <a:pt x="549" y="16"/>
                  <a:pt x="549" y="16"/>
                  <a:pt x="548" y="16"/>
                </a:cubicBezTo>
                <a:cubicBezTo>
                  <a:pt x="549" y="16"/>
                  <a:pt x="550" y="16"/>
                  <a:pt x="550" y="16"/>
                </a:cubicBezTo>
                <a:cubicBezTo>
                  <a:pt x="551" y="16"/>
                  <a:pt x="551" y="16"/>
                  <a:pt x="551" y="16"/>
                </a:cubicBezTo>
                <a:cubicBezTo>
                  <a:pt x="552" y="16"/>
                  <a:pt x="552" y="16"/>
                  <a:pt x="552" y="16"/>
                </a:cubicBezTo>
                <a:cubicBezTo>
                  <a:pt x="552" y="16"/>
                  <a:pt x="553" y="16"/>
                  <a:pt x="553" y="16"/>
                </a:cubicBezTo>
                <a:cubicBezTo>
                  <a:pt x="552" y="17"/>
                  <a:pt x="551" y="16"/>
                  <a:pt x="550" y="17"/>
                </a:cubicBezTo>
                <a:cubicBezTo>
                  <a:pt x="550" y="17"/>
                  <a:pt x="550" y="17"/>
                  <a:pt x="549" y="17"/>
                </a:cubicBezTo>
                <a:cubicBezTo>
                  <a:pt x="549" y="17"/>
                  <a:pt x="549" y="17"/>
                  <a:pt x="549" y="17"/>
                </a:cubicBezTo>
                <a:cubicBezTo>
                  <a:pt x="551" y="18"/>
                  <a:pt x="552" y="17"/>
                  <a:pt x="553" y="18"/>
                </a:cubicBezTo>
                <a:cubicBezTo>
                  <a:pt x="553" y="18"/>
                  <a:pt x="552" y="18"/>
                  <a:pt x="551" y="18"/>
                </a:cubicBezTo>
                <a:cubicBezTo>
                  <a:pt x="551" y="18"/>
                  <a:pt x="550" y="18"/>
                  <a:pt x="549" y="18"/>
                </a:cubicBezTo>
                <a:cubicBezTo>
                  <a:pt x="548" y="18"/>
                  <a:pt x="547" y="17"/>
                  <a:pt x="546" y="17"/>
                </a:cubicBezTo>
                <a:cubicBezTo>
                  <a:pt x="545" y="17"/>
                  <a:pt x="544" y="17"/>
                  <a:pt x="543" y="17"/>
                </a:cubicBezTo>
                <a:cubicBezTo>
                  <a:pt x="542" y="17"/>
                  <a:pt x="542" y="17"/>
                  <a:pt x="541" y="17"/>
                </a:cubicBezTo>
                <a:cubicBezTo>
                  <a:pt x="541" y="17"/>
                  <a:pt x="540" y="17"/>
                  <a:pt x="540" y="18"/>
                </a:cubicBezTo>
                <a:cubicBezTo>
                  <a:pt x="540" y="18"/>
                  <a:pt x="539" y="18"/>
                  <a:pt x="539" y="18"/>
                </a:cubicBezTo>
                <a:cubicBezTo>
                  <a:pt x="540" y="18"/>
                  <a:pt x="541" y="19"/>
                  <a:pt x="541" y="19"/>
                </a:cubicBezTo>
                <a:cubicBezTo>
                  <a:pt x="541" y="19"/>
                  <a:pt x="540" y="19"/>
                  <a:pt x="539" y="19"/>
                </a:cubicBezTo>
                <a:cubicBezTo>
                  <a:pt x="539" y="19"/>
                  <a:pt x="538" y="19"/>
                  <a:pt x="537" y="19"/>
                </a:cubicBezTo>
                <a:cubicBezTo>
                  <a:pt x="536" y="19"/>
                  <a:pt x="536" y="19"/>
                  <a:pt x="535" y="19"/>
                </a:cubicBezTo>
                <a:cubicBezTo>
                  <a:pt x="535" y="19"/>
                  <a:pt x="534" y="19"/>
                  <a:pt x="534" y="19"/>
                </a:cubicBezTo>
                <a:cubicBezTo>
                  <a:pt x="534" y="19"/>
                  <a:pt x="534" y="19"/>
                  <a:pt x="535" y="19"/>
                </a:cubicBezTo>
                <a:cubicBezTo>
                  <a:pt x="534" y="19"/>
                  <a:pt x="534" y="19"/>
                  <a:pt x="534" y="20"/>
                </a:cubicBezTo>
                <a:cubicBezTo>
                  <a:pt x="535" y="20"/>
                  <a:pt x="536" y="20"/>
                  <a:pt x="538" y="20"/>
                </a:cubicBezTo>
                <a:cubicBezTo>
                  <a:pt x="539" y="20"/>
                  <a:pt x="540" y="20"/>
                  <a:pt x="541" y="20"/>
                </a:cubicBezTo>
                <a:cubicBezTo>
                  <a:pt x="540" y="21"/>
                  <a:pt x="539" y="20"/>
                  <a:pt x="538" y="20"/>
                </a:cubicBezTo>
                <a:cubicBezTo>
                  <a:pt x="539" y="21"/>
                  <a:pt x="541" y="21"/>
                  <a:pt x="543" y="20"/>
                </a:cubicBezTo>
                <a:cubicBezTo>
                  <a:pt x="545" y="20"/>
                  <a:pt x="546" y="20"/>
                  <a:pt x="547" y="20"/>
                </a:cubicBezTo>
                <a:cubicBezTo>
                  <a:pt x="546" y="21"/>
                  <a:pt x="544" y="20"/>
                  <a:pt x="542" y="21"/>
                </a:cubicBezTo>
                <a:cubicBezTo>
                  <a:pt x="542" y="21"/>
                  <a:pt x="544" y="22"/>
                  <a:pt x="544" y="22"/>
                </a:cubicBezTo>
                <a:cubicBezTo>
                  <a:pt x="543" y="22"/>
                  <a:pt x="543" y="22"/>
                  <a:pt x="542" y="22"/>
                </a:cubicBezTo>
                <a:cubicBezTo>
                  <a:pt x="542" y="21"/>
                  <a:pt x="541" y="21"/>
                  <a:pt x="540" y="21"/>
                </a:cubicBezTo>
                <a:cubicBezTo>
                  <a:pt x="539" y="21"/>
                  <a:pt x="537" y="22"/>
                  <a:pt x="535" y="21"/>
                </a:cubicBezTo>
                <a:cubicBezTo>
                  <a:pt x="534" y="21"/>
                  <a:pt x="532" y="20"/>
                  <a:pt x="531" y="21"/>
                </a:cubicBezTo>
                <a:cubicBezTo>
                  <a:pt x="529" y="21"/>
                  <a:pt x="532" y="21"/>
                  <a:pt x="532" y="21"/>
                </a:cubicBezTo>
                <a:cubicBezTo>
                  <a:pt x="532" y="21"/>
                  <a:pt x="530" y="21"/>
                  <a:pt x="530" y="22"/>
                </a:cubicBezTo>
                <a:cubicBezTo>
                  <a:pt x="530" y="22"/>
                  <a:pt x="532" y="22"/>
                  <a:pt x="532" y="22"/>
                </a:cubicBezTo>
                <a:cubicBezTo>
                  <a:pt x="532" y="22"/>
                  <a:pt x="531" y="22"/>
                  <a:pt x="531" y="23"/>
                </a:cubicBezTo>
                <a:cubicBezTo>
                  <a:pt x="531" y="22"/>
                  <a:pt x="530" y="22"/>
                  <a:pt x="530" y="22"/>
                </a:cubicBezTo>
                <a:cubicBezTo>
                  <a:pt x="530" y="22"/>
                  <a:pt x="529" y="22"/>
                  <a:pt x="529" y="23"/>
                </a:cubicBezTo>
                <a:cubicBezTo>
                  <a:pt x="529" y="23"/>
                  <a:pt x="530" y="23"/>
                  <a:pt x="530" y="23"/>
                </a:cubicBezTo>
                <a:cubicBezTo>
                  <a:pt x="530" y="23"/>
                  <a:pt x="530" y="23"/>
                  <a:pt x="529" y="23"/>
                </a:cubicBezTo>
                <a:close/>
                <a:moveTo>
                  <a:pt x="502" y="37"/>
                </a:moveTo>
                <a:cubicBezTo>
                  <a:pt x="503" y="37"/>
                  <a:pt x="504" y="38"/>
                  <a:pt x="505" y="38"/>
                </a:cubicBezTo>
                <a:cubicBezTo>
                  <a:pt x="505" y="38"/>
                  <a:pt x="505" y="38"/>
                  <a:pt x="504" y="38"/>
                </a:cubicBezTo>
                <a:cubicBezTo>
                  <a:pt x="504" y="38"/>
                  <a:pt x="504" y="39"/>
                  <a:pt x="503" y="39"/>
                </a:cubicBezTo>
                <a:cubicBezTo>
                  <a:pt x="504" y="39"/>
                  <a:pt x="504" y="39"/>
                  <a:pt x="505" y="39"/>
                </a:cubicBezTo>
                <a:cubicBezTo>
                  <a:pt x="505" y="39"/>
                  <a:pt x="506" y="39"/>
                  <a:pt x="506" y="39"/>
                </a:cubicBezTo>
                <a:cubicBezTo>
                  <a:pt x="507" y="38"/>
                  <a:pt x="507" y="39"/>
                  <a:pt x="508" y="38"/>
                </a:cubicBezTo>
                <a:cubicBezTo>
                  <a:pt x="507" y="38"/>
                  <a:pt x="507" y="39"/>
                  <a:pt x="506" y="38"/>
                </a:cubicBezTo>
                <a:cubicBezTo>
                  <a:pt x="507" y="38"/>
                  <a:pt x="508" y="38"/>
                  <a:pt x="508" y="38"/>
                </a:cubicBezTo>
                <a:cubicBezTo>
                  <a:pt x="508" y="38"/>
                  <a:pt x="508" y="38"/>
                  <a:pt x="509" y="38"/>
                </a:cubicBezTo>
                <a:cubicBezTo>
                  <a:pt x="511" y="39"/>
                  <a:pt x="513" y="38"/>
                  <a:pt x="515" y="38"/>
                </a:cubicBezTo>
                <a:cubicBezTo>
                  <a:pt x="516" y="38"/>
                  <a:pt x="518" y="38"/>
                  <a:pt x="519" y="37"/>
                </a:cubicBezTo>
                <a:cubicBezTo>
                  <a:pt x="520" y="37"/>
                  <a:pt x="521" y="37"/>
                  <a:pt x="521" y="36"/>
                </a:cubicBezTo>
                <a:cubicBezTo>
                  <a:pt x="520" y="36"/>
                  <a:pt x="520" y="36"/>
                  <a:pt x="520" y="36"/>
                </a:cubicBezTo>
                <a:cubicBezTo>
                  <a:pt x="520" y="36"/>
                  <a:pt x="520" y="36"/>
                  <a:pt x="520" y="36"/>
                </a:cubicBezTo>
                <a:cubicBezTo>
                  <a:pt x="520" y="35"/>
                  <a:pt x="519" y="36"/>
                  <a:pt x="519" y="35"/>
                </a:cubicBezTo>
                <a:cubicBezTo>
                  <a:pt x="519" y="35"/>
                  <a:pt x="521" y="35"/>
                  <a:pt x="522" y="35"/>
                </a:cubicBezTo>
                <a:cubicBezTo>
                  <a:pt x="522" y="35"/>
                  <a:pt x="524" y="35"/>
                  <a:pt x="523" y="34"/>
                </a:cubicBezTo>
                <a:cubicBezTo>
                  <a:pt x="522" y="33"/>
                  <a:pt x="521" y="33"/>
                  <a:pt x="520" y="33"/>
                </a:cubicBezTo>
                <a:cubicBezTo>
                  <a:pt x="519" y="33"/>
                  <a:pt x="518" y="33"/>
                  <a:pt x="517" y="33"/>
                </a:cubicBezTo>
                <a:cubicBezTo>
                  <a:pt x="517" y="33"/>
                  <a:pt x="518" y="33"/>
                  <a:pt x="518" y="32"/>
                </a:cubicBezTo>
                <a:cubicBezTo>
                  <a:pt x="518" y="32"/>
                  <a:pt x="517" y="32"/>
                  <a:pt x="517" y="32"/>
                </a:cubicBezTo>
                <a:cubicBezTo>
                  <a:pt x="517" y="32"/>
                  <a:pt x="516" y="32"/>
                  <a:pt x="516" y="32"/>
                </a:cubicBezTo>
                <a:cubicBezTo>
                  <a:pt x="515" y="32"/>
                  <a:pt x="514" y="31"/>
                  <a:pt x="513" y="31"/>
                </a:cubicBezTo>
                <a:cubicBezTo>
                  <a:pt x="511" y="31"/>
                  <a:pt x="509" y="31"/>
                  <a:pt x="507" y="31"/>
                </a:cubicBezTo>
                <a:cubicBezTo>
                  <a:pt x="506" y="31"/>
                  <a:pt x="505" y="32"/>
                  <a:pt x="505" y="32"/>
                </a:cubicBezTo>
                <a:cubicBezTo>
                  <a:pt x="505" y="33"/>
                  <a:pt x="506" y="32"/>
                  <a:pt x="506" y="33"/>
                </a:cubicBezTo>
                <a:cubicBezTo>
                  <a:pt x="506" y="33"/>
                  <a:pt x="505" y="33"/>
                  <a:pt x="505" y="33"/>
                </a:cubicBezTo>
                <a:cubicBezTo>
                  <a:pt x="505" y="33"/>
                  <a:pt x="503" y="33"/>
                  <a:pt x="503" y="34"/>
                </a:cubicBezTo>
                <a:cubicBezTo>
                  <a:pt x="503" y="34"/>
                  <a:pt x="504" y="34"/>
                  <a:pt x="504" y="34"/>
                </a:cubicBezTo>
                <a:cubicBezTo>
                  <a:pt x="504" y="34"/>
                  <a:pt x="503" y="35"/>
                  <a:pt x="503" y="35"/>
                </a:cubicBezTo>
                <a:cubicBezTo>
                  <a:pt x="503" y="35"/>
                  <a:pt x="504" y="35"/>
                  <a:pt x="504" y="35"/>
                </a:cubicBezTo>
                <a:cubicBezTo>
                  <a:pt x="504" y="36"/>
                  <a:pt x="503" y="35"/>
                  <a:pt x="503" y="35"/>
                </a:cubicBezTo>
                <a:cubicBezTo>
                  <a:pt x="504" y="36"/>
                  <a:pt x="505" y="35"/>
                  <a:pt x="506" y="36"/>
                </a:cubicBezTo>
                <a:cubicBezTo>
                  <a:pt x="507" y="36"/>
                  <a:pt x="507" y="36"/>
                  <a:pt x="508" y="36"/>
                </a:cubicBezTo>
                <a:cubicBezTo>
                  <a:pt x="508" y="36"/>
                  <a:pt x="508" y="36"/>
                  <a:pt x="508" y="36"/>
                </a:cubicBezTo>
                <a:cubicBezTo>
                  <a:pt x="508" y="36"/>
                  <a:pt x="508" y="36"/>
                  <a:pt x="508" y="36"/>
                </a:cubicBezTo>
                <a:cubicBezTo>
                  <a:pt x="506" y="37"/>
                  <a:pt x="504" y="36"/>
                  <a:pt x="502" y="37"/>
                </a:cubicBezTo>
                <a:close/>
                <a:moveTo>
                  <a:pt x="468" y="35"/>
                </a:moveTo>
                <a:cubicBezTo>
                  <a:pt x="469" y="35"/>
                  <a:pt x="470" y="35"/>
                  <a:pt x="472" y="34"/>
                </a:cubicBezTo>
                <a:cubicBezTo>
                  <a:pt x="472" y="34"/>
                  <a:pt x="474" y="34"/>
                  <a:pt x="475" y="34"/>
                </a:cubicBezTo>
                <a:cubicBezTo>
                  <a:pt x="475" y="34"/>
                  <a:pt x="473" y="35"/>
                  <a:pt x="473" y="35"/>
                </a:cubicBezTo>
                <a:cubicBezTo>
                  <a:pt x="474" y="36"/>
                  <a:pt x="475" y="35"/>
                  <a:pt x="476" y="35"/>
                </a:cubicBezTo>
                <a:cubicBezTo>
                  <a:pt x="477" y="35"/>
                  <a:pt x="479" y="35"/>
                  <a:pt x="480" y="35"/>
                </a:cubicBezTo>
                <a:cubicBezTo>
                  <a:pt x="481" y="35"/>
                  <a:pt x="481" y="36"/>
                  <a:pt x="482" y="36"/>
                </a:cubicBezTo>
                <a:cubicBezTo>
                  <a:pt x="482" y="36"/>
                  <a:pt x="483" y="36"/>
                  <a:pt x="483" y="36"/>
                </a:cubicBezTo>
                <a:cubicBezTo>
                  <a:pt x="483" y="36"/>
                  <a:pt x="483" y="36"/>
                  <a:pt x="483" y="36"/>
                </a:cubicBezTo>
                <a:cubicBezTo>
                  <a:pt x="483" y="36"/>
                  <a:pt x="483" y="37"/>
                  <a:pt x="484" y="37"/>
                </a:cubicBezTo>
                <a:cubicBezTo>
                  <a:pt x="483" y="37"/>
                  <a:pt x="483" y="37"/>
                  <a:pt x="482" y="37"/>
                </a:cubicBezTo>
                <a:cubicBezTo>
                  <a:pt x="482" y="38"/>
                  <a:pt x="483" y="38"/>
                  <a:pt x="482" y="38"/>
                </a:cubicBezTo>
                <a:cubicBezTo>
                  <a:pt x="483" y="39"/>
                  <a:pt x="484" y="39"/>
                  <a:pt x="486" y="39"/>
                </a:cubicBezTo>
                <a:cubicBezTo>
                  <a:pt x="487" y="39"/>
                  <a:pt x="489" y="39"/>
                  <a:pt x="491" y="39"/>
                </a:cubicBezTo>
                <a:cubicBezTo>
                  <a:pt x="492" y="38"/>
                  <a:pt x="492" y="38"/>
                  <a:pt x="493" y="38"/>
                </a:cubicBezTo>
                <a:cubicBezTo>
                  <a:pt x="494" y="37"/>
                  <a:pt x="494" y="37"/>
                  <a:pt x="495" y="37"/>
                </a:cubicBezTo>
                <a:cubicBezTo>
                  <a:pt x="494" y="37"/>
                  <a:pt x="494" y="36"/>
                  <a:pt x="493" y="36"/>
                </a:cubicBezTo>
                <a:cubicBezTo>
                  <a:pt x="493" y="35"/>
                  <a:pt x="494" y="35"/>
                  <a:pt x="493" y="35"/>
                </a:cubicBezTo>
                <a:cubicBezTo>
                  <a:pt x="493" y="35"/>
                  <a:pt x="493" y="35"/>
                  <a:pt x="492" y="35"/>
                </a:cubicBezTo>
                <a:cubicBezTo>
                  <a:pt x="492" y="35"/>
                  <a:pt x="494" y="34"/>
                  <a:pt x="493" y="34"/>
                </a:cubicBezTo>
                <a:cubicBezTo>
                  <a:pt x="494" y="33"/>
                  <a:pt x="495" y="33"/>
                  <a:pt x="496" y="33"/>
                </a:cubicBezTo>
                <a:cubicBezTo>
                  <a:pt x="496" y="33"/>
                  <a:pt x="497" y="33"/>
                  <a:pt x="497" y="33"/>
                </a:cubicBezTo>
                <a:cubicBezTo>
                  <a:pt x="497" y="32"/>
                  <a:pt x="496" y="33"/>
                  <a:pt x="496" y="32"/>
                </a:cubicBezTo>
                <a:cubicBezTo>
                  <a:pt x="495" y="32"/>
                  <a:pt x="495" y="33"/>
                  <a:pt x="494" y="32"/>
                </a:cubicBezTo>
                <a:cubicBezTo>
                  <a:pt x="494" y="32"/>
                  <a:pt x="496" y="32"/>
                  <a:pt x="496" y="32"/>
                </a:cubicBezTo>
                <a:cubicBezTo>
                  <a:pt x="496" y="31"/>
                  <a:pt x="494" y="31"/>
                  <a:pt x="495" y="31"/>
                </a:cubicBezTo>
                <a:cubicBezTo>
                  <a:pt x="494" y="31"/>
                  <a:pt x="493" y="31"/>
                  <a:pt x="492" y="31"/>
                </a:cubicBezTo>
                <a:cubicBezTo>
                  <a:pt x="492" y="31"/>
                  <a:pt x="490" y="31"/>
                  <a:pt x="490" y="31"/>
                </a:cubicBezTo>
                <a:cubicBezTo>
                  <a:pt x="490" y="31"/>
                  <a:pt x="490" y="31"/>
                  <a:pt x="489" y="31"/>
                </a:cubicBezTo>
                <a:cubicBezTo>
                  <a:pt x="490" y="31"/>
                  <a:pt x="492" y="30"/>
                  <a:pt x="492" y="30"/>
                </a:cubicBezTo>
                <a:cubicBezTo>
                  <a:pt x="492" y="29"/>
                  <a:pt x="491" y="30"/>
                  <a:pt x="491" y="30"/>
                </a:cubicBezTo>
                <a:cubicBezTo>
                  <a:pt x="490" y="29"/>
                  <a:pt x="490" y="29"/>
                  <a:pt x="490" y="29"/>
                </a:cubicBezTo>
                <a:cubicBezTo>
                  <a:pt x="489" y="28"/>
                  <a:pt x="487" y="29"/>
                  <a:pt x="486" y="29"/>
                </a:cubicBezTo>
                <a:cubicBezTo>
                  <a:pt x="485" y="29"/>
                  <a:pt x="484" y="29"/>
                  <a:pt x="484" y="30"/>
                </a:cubicBezTo>
                <a:cubicBezTo>
                  <a:pt x="483" y="30"/>
                  <a:pt x="481" y="31"/>
                  <a:pt x="482" y="30"/>
                </a:cubicBezTo>
                <a:cubicBezTo>
                  <a:pt x="482" y="30"/>
                  <a:pt x="482" y="30"/>
                  <a:pt x="482" y="30"/>
                </a:cubicBezTo>
                <a:cubicBezTo>
                  <a:pt x="482" y="30"/>
                  <a:pt x="482" y="30"/>
                  <a:pt x="481" y="30"/>
                </a:cubicBezTo>
                <a:cubicBezTo>
                  <a:pt x="482" y="30"/>
                  <a:pt x="484" y="29"/>
                  <a:pt x="484" y="29"/>
                </a:cubicBezTo>
                <a:cubicBezTo>
                  <a:pt x="483" y="28"/>
                  <a:pt x="483" y="28"/>
                  <a:pt x="484" y="28"/>
                </a:cubicBezTo>
                <a:cubicBezTo>
                  <a:pt x="483" y="27"/>
                  <a:pt x="483" y="27"/>
                  <a:pt x="482" y="27"/>
                </a:cubicBezTo>
                <a:cubicBezTo>
                  <a:pt x="481" y="27"/>
                  <a:pt x="481" y="27"/>
                  <a:pt x="480" y="27"/>
                </a:cubicBezTo>
                <a:cubicBezTo>
                  <a:pt x="479" y="26"/>
                  <a:pt x="477" y="26"/>
                  <a:pt x="476" y="27"/>
                </a:cubicBezTo>
                <a:cubicBezTo>
                  <a:pt x="475" y="27"/>
                  <a:pt x="473" y="27"/>
                  <a:pt x="472" y="27"/>
                </a:cubicBezTo>
                <a:cubicBezTo>
                  <a:pt x="471" y="27"/>
                  <a:pt x="470" y="27"/>
                  <a:pt x="469" y="27"/>
                </a:cubicBezTo>
                <a:cubicBezTo>
                  <a:pt x="468" y="27"/>
                  <a:pt x="467" y="28"/>
                  <a:pt x="466" y="28"/>
                </a:cubicBezTo>
                <a:cubicBezTo>
                  <a:pt x="466" y="28"/>
                  <a:pt x="465" y="29"/>
                  <a:pt x="465" y="29"/>
                </a:cubicBezTo>
                <a:cubicBezTo>
                  <a:pt x="466" y="30"/>
                  <a:pt x="467" y="29"/>
                  <a:pt x="467" y="29"/>
                </a:cubicBezTo>
                <a:cubicBezTo>
                  <a:pt x="468" y="29"/>
                  <a:pt x="469" y="29"/>
                  <a:pt x="470" y="29"/>
                </a:cubicBezTo>
                <a:cubicBezTo>
                  <a:pt x="470" y="29"/>
                  <a:pt x="466" y="31"/>
                  <a:pt x="466" y="31"/>
                </a:cubicBezTo>
                <a:cubicBezTo>
                  <a:pt x="466" y="31"/>
                  <a:pt x="469" y="30"/>
                  <a:pt x="469" y="30"/>
                </a:cubicBezTo>
                <a:cubicBezTo>
                  <a:pt x="470" y="30"/>
                  <a:pt x="471" y="30"/>
                  <a:pt x="472" y="30"/>
                </a:cubicBezTo>
                <a:cubicBezTo>
                  <a:pt x="472" y="30"/>
                  <a:pt x="473" y="29"/>
                  <a:pt x="474" y="30"/>
                </a:cubicBezTo>
                <a:cubicBezTo>
                  <a:pt x="473" y="30"/>
                  <a:pt x="475" y="30"/>
                  <a:pt x="474" y="30"/>
                </a:cubicBezTo>
                <a:cubicBezTo>
                  <a:pt x="473" y="30"/>
                  <a:pt x="470" y="31"/>
                  <a:pt x="470" y="31"/>
                </a:cubicBezTo>
                <a:cubicBezTo>
                  <a:pt x="471" y="31"/>
                  <a:pt x="471" y="31"/>
                  <a:pt x="472" y="31"/>
                </a:cubicBezTo>
                <a:cubicBezTo>
                  <a:pt x="472" y="31"/>
                  <a:pt x="473" y="31"/>
                  <a:pt x="474" y="31"/>
                </a:cubicBezTo>
                <a:cubicBezTo>
                  <a:pt x="473" y="31"/>
                  <a:pt x="473" y="31"/>
                  <a:pt x="472" y="31"/>
                </a:cubicBezTo>
                <a:cubicBezTo>
                  <a:pt x="473" y="31"/>
                  <a:pt x="474" y="31"/>
                  <a:pt x="474" y="31"/>
                </a:cubicBezTo>
                <a:cubicBezTo>
                  <a:pt x="474" y="31"/>
                  <a:pt x="475" y="31"/>
                  <a:pt x="475" y="31"/>
                </a:cubicBezTo>
                <a:cubicBezTo>
                  <a:pt x="475" y="32"/>
                  <a:pt x="474" y="32"/>
                  <a:pt x="474" y="32"/>
                </a:cubicBezTo>
                <a:cubicBezTo>
                  <a:pt x="473" y="32"/>
                  <a:pt x="471" y="32"/>
                  <a:pt x="470" y="32"/>
                </a:cubicBezTo>
                <a:cubicBezTo>
                  <a:pt x="471" y="33"/>
                  <a:pt x="472" y="32"/>
                  <a:pt x="473" y="32"/>
                </a:cubicBezTo>
                <a:cubicBezTo>
                  <a:pt x="473" y="33"/>
                  <a:pt x="471" y="33"/>
                  <a:pt x="471" y="33"/>
                </a:cubicBezTo>
                <a:cubicBezTo>
                  <a:pt x="470" y="33"/>
                  <a:pt x="468" y="33"/>
                  <a:pt x="467" y="33"/>
                </a:cubicBezTo>
                <a:cubicBezTo>
                  <a:pt x="466" y="33"/>
                  <a:pt x="461" y="32"/>
                  <a:pt x="462" y="34"/>
                </a:cubicBezTo>
                <a:cubicBezTo>
                  <a:pt x="463" y="37"/>
                  <a:pt x="466" y="35"/>
                  <a:pt x="468" y="35"/>
                </a:cubicBezTo>
                <a:close/>
                <a:moveTo>
                  <a:pt x="445" y="44"/>
                </a:moveTo>
                <a:cubicBezTo>
                  <a:pt x="445" y="44"/>
                  <a:pt x="445" y="44"/>
                  <a:pt x="445" y="44"/>
                </a:cubicBezTo>
                <a:cubicBezTo>
                  <a:pt x="445" y="44"/>
                  <a:pt x="445" y="44"/>
                  <a:pt x="445" y="44"/>
                </a:cubicBezTo>
                <a:cubicBezTo>
                  <a:pt x="446" y="44"/>
                  <a:pt x="447" y="44"/>
                  <a:pt x="447" y="44"/>
                </a:cubicBezTo>
                <a:cubicBezTo>
                  <a:pt x="447" y="45"/>
                  <a:pt x="448" y="44"/>
                  <a:pt x="449" y="44"/>
                </a:cubicBezTo>
                <a:cubicBezTo>
                  <a:pt x="450" y="44"/>
                  <a:pt x="451" y="44"/>
                  <a:pt x="452" y="43"/>
                </a:cubicBezTo>
                <a:cubicBezTo>
                  <a:pt x="452" y="43"/>
                  <a:pt x="451" y="43"/>
                  <a:pt x="451" y="43"/>
                </a:cubicBezTo>
                <a:cubicBezTo>
                  <a:pt x="451" y="43"/>
                  <a:pt x="452" y="43"/>
                  <a:pt x="452" y="43"/>
                </a:cubicBezTo>
                <a:cubicBezTo>
                  <a:pt x="452" y="43"/>
                  <a:pt x="451" y="42"/>
                  <a:pt x="451" y="42"/>
                </a:cubicBezTo>
                <a:cubicBezTo>
                  <a:pt x="450" y="42"/>
                  <a:pt x="450" y="42"/>
                  <a:pt x="449" y="42"/>
                </a:cubicBezTo>
                <a:cubicBezTo>
                  <a:pt x="450" y="42"/>
                  <a:pt x="451" y="42"/>
                  <a:pt x="451" y="41"/>
                </a:cubicBezTo>
                <a:cubicBezTo>
                  <a:pt x="451" y="40"/>
                  <a:pt x="450" y="40"/>
                  <a:pt x="449" y="39"/>
                </a:cubicBezTo>
                <a:cubicBezTo>
                  <a:pt x="449" y="39"/>
                  <a:pt x="446" y="39"/>
                  <a:pt x="446" y="40"/>
                </a:cubicBezTo>
                <a:cubicBezTo>
                  <a:pt x="446" y="40"/>
                  <a:pt x="447" y="40"/>
                  <a:pt x="446" y="40"/>
                </a:cubicBezTo>
                <a:cubicBezTo>
                  <a:pt x="446" y="41"/>
                  <a:pt x="446" y="41"/>
                  <a:pt x="446" y="41"/>
                </a:cubicBezTo>
                <a:cubicBezTo>
                  <a:pt x="446" y="41"/>
                  <a:pt x="446" y="41"/>
                  <a:pt x="446" y="41"/>
                </a:cubicBezTo>
                <a:cubicBezTo>
                  <a:pt x="446" y="41"/>
                  <a:pt x="446" y="41"/>
                  <a:pt x="445" y="42"/>
                </a:cubicBezTo>
                <a:cubicBezTo>
                  <a:pt x="446" y="42"/>
                  <a:pt x="445" y="42"/>
                  <a:pt x="445" y="42"/>
                </a:cubicBezTo>
                <a:cubicBezTo>
                  <a:pt x="445" y="42"/>
                  <a:pt x="445" y="42"/>
                  <a:pt x="445" y="42"/>
                </a:cubicBezTo>
                <a:cubicBezTo>
                  <a:pt x="445" y="43"/>
                  <a:pt x="445" y="43"/>
                  <a:pt x="445" y="43"/>
                </a:cubicBezTo>
                <a:cubicBezTo>
                  <a:pt x="445" y="43"/>
                  <a:pt x="445" y="43"/>
                  <a:pt x="445" y="43"/>
                </a:cubicBezTo>
                <a:cubicBezTo>
                  <a:pt x="445" y="43"/>
                  <a:pt x="445" y="44"/>
                  <a:pt x="445" y="44"/>
                </a:cubicBezTo>
                <a:close/>
                <a:moveTo>
                  <a:pt x="522" y="39"/>
                </a:moveTo>
                <a:cubicBezTo>
                  <a:pt x="521" y="39"/>
                  <a:pt x="521" y="39"/>
                  <a:pt x="520" y="39"/>
                </a:cubicBezTo>
                <a:cubicBezTo>
                  <a:pt x="519" y="39"/>
                  <a:pt x="518" y="39"/>
                  <a:pt x="516" y="39"/>
                </a:cubicBezTo>
                <a:cubicBezTo>
                  <a:pt x="516" y="39"/>
                  <a:pt x="514" y="40"/>
                  <a:pt x="513" y="39"/>
                </a:cubicBezTo>
                <a:cubicBezTo>
                  <a:pt x="514" y="39"/>
                  <a:pt x="513" y="39"/>
                  <a:pt x="513" y="39"/>
                </a:cubicBezTo>
                <a:cubicBezTo>
                  <a:pt x="512" y="39"/>
                  <a:pt x="511" y="39"/>
                  <a:pt x="510" y="39"/>
                </a:cubicBezTo>
                <a:cubicBezTo>
                  <a:pt x="509" y="39"/>
                  <a:pt x="508" y="40"/>
                  <a:pt x="507" y="40"/>
                </a:cubicBezTo>
                <a:cubicBezTo>
                  <a:pt x="506" y="41"/>
                  <a:pt x="506" y="41"/>
                  <a:pt x="507" y="42"/>
                </a:cubicBezTo>
                <a:cubicBezTo>
                  <a:pt x="508" y="42"/>
                  <a:pt x="509" y="42"/>
                  <a:pt x="510" y="42"/>
                </a:cubicBezTo>
                <a:cubicBezTo>
                  <a:pt x="512" y="42"/>
                  <a:pt x="513" y="42"/>
                  <a:pt x="514" y="42"/>
                </a:cubicBezTo>
                <a:cubicBezTo>
                  <a:pt x="515" y="42"/>
                  <a:pt x="517" y="41"/>
                  <a:pt x="518" y="42"/>
                </a:cubicBezTo>
                <a:cubicBezTo>
                  <a:pt x="518" y="42"/>
                  <a:pt x="519" y="42"/>
                  <a:pt x="520" y="42"/>
                </a:cubicBezTo>
                <a:cubicBezTo>
                  <a:pt x="520" y="42"/>
                  <a:pt x="521" y="42"/>
                  <a:pt x="520" y="42"/>
                </a:cubicBezTo>
                <a:cubicBezTo>
                  <a:pt x="521" y="42"/>
                  <a:pt x="522" y="42"/>
                  <a:pt x="523" y="41"/>
                </a:cubicBezTo>
                <a:cubicBezTo>
                  <a:pt x="523" y="41"/>
                  <a:pt x="524" y="41"/>
                  <a:pt x="525" y="40"/>
                </a:cubicBezTo>
                <a:cubicBezTo>
                  <a:pt x="525" y="40"/>
                  <a:pt x="527" y="40"/>
                  <a:pt x="527" y="40"/>
                </a:cubicBezTo>
                <a:cubicBezTo>
                  <a:pt x="527" y="39"/>
                  <a:pt x="524" y="39"/>
                  <a:pt x="523" y="39"/>
                </a:cubicBezTo>
                <a:cubicBezTo>
                  <a:pt x="523" y="39"/>
                  <a:pt x="522" y="39"/>
                  <a:pt x="522" y="39"/>
                </a:cubicBezTo>
                <a:close/>
                <a:moveTo>
                  <a:pt x="372" y="42"/>
                </a:moveTo>
                <a:cubicBezTo>
                  <a:pt x="372" y="42"/>
                  <a:pt x="372" y="42"/>
                  <a:pt x="372" y="42"/>
                </a:cubicBezTo>
                <a:cubicBezTo>
                  <a:pt x="372" y="42"/>
                  <a:pt x="372" y="42"/>
                  <a:pt x="372" y="42"/>
                </a:cubicBezTo>
                <a:close/>
                <a:moveTo>
                  <a:pt x="441" y="51"/>
                </a:moveTo>
                <a:cubicBezTo>
                  <a:pt x="441" y="51"/>
                  <a:pt x="442" y="51"/>
                  <a:pt x="443" y="51"/>
                </a:cubicBezTo>
                <a:cubicBezTo>
                  <a:pt x="444" y="51"/>
                  <a:pt x="445" y="51"/>
                  <a:pt x="446" y="51"/>
                </a:cubicBezTo>
                <a:cubicBezTo>
                  <a:pt x="448" y="51"/>
                  <a:pt x="450" y="51"/>
                  <a:pt x="451" y="50"/>
                </a:cubicBezTo>
                <a:cubicBezTo>
                  <a:pt x="450" y="50"/>
                  <a:pt x="450" y="50"/>
                  <a:pt x="449" y="50"/>
                </a:cubicBezTo>
                <a:cubicBezTo>
                  <a:pt x="449" y="50"/>
                  <a:pt x="448" y="49"/>
                  <a:pt x="449" y="49"/>
                </a:cubicBezTo>
                <a:cubicBezTo>
                  <a:pt x="448" y="49"/>
                  <a:pt x="448" y="48"/>
                  <a:pt x="447" y="49"/>
                </a:cubicBezTo>
                <a:cubicBezTo>
                  <a:pt x="447" y="49"/>
                  <a:pt x="446" y="49"/>
                  <a:pt x="446" y="49"/>
                </a:cubicBezTo>
                <a:cubicBezTo>
                  <a:pt x="446" y="49"/>
                  <a:pt x="448" y="48"/>
                  <a:pt x="446" y="48"/>
                </a:cubicBezTo>
                <a:cubicBezTo>
                  <a:pt x="445" y="48"/>
                  <a:pt x="444" y="48"/>
                  <a:pt x="443" y="49"/>
                </a:cubicBezTo>
                <a:cubicBezTo>
                  <a:pt x="443" y="49"/>
                  <a:pt x="443" y="49"/>
                  <a:pt x="442" y="49"/>
                </a:cubicBezTo>
                <a:cubicBezTo>
                  <a:pt x="442" y="49"/>
                  <a:pt x="442" y="49"/>
                  <a:pt x="442" y="49"/>
                </a:cubicBezTo>
                <a:cubicBezTo>
                  <a:pt x="442" y="49"/>
                  <a:pt x="442" y="49"/>
                  <a:pt x="441" y="50"/>
                </a:cubicBezTo>
                <a:cubicBezTo>
                  <a:pt x="442" y="50"/>
                  <a:pt x="442" y="50"/>
                  <a:pt x="442" y="50"/>
                </a:cubicBezTo>
                <a:cubicBezTo>
                  <a:pt x="442" y="50"/>
                  <a:pt x="441" y="50"/>
                  <a:pt x="441" y="50"/>
                </a:cubicBezTo>
                <a:cubicBezTo>
                  <a:pt x="441" y="50"/>
                  <a:pt x="441" y="50"/>
                  <a:pt x="442" y="50"/>
                </a:cubicBezTo>
                <a:cubicBezTo>
                  <a:pt x="442" y="51"/>
                  <a:pt x="441" y="51"/>
                  <a:pt x="441" y="51"/>
                </a:cubicBezTo>
                <a:close/>
                <a:moveTo>
                  <a:pt x="677" y="21"/>
                </a:moveTo>
                <a:cubicBezTo>
                  <a:pt x="677" y="21"/>
                  <a:pt x="677" y="21"/>
                  <a:pt x="677" y="21"/>
                </a:cubicBezTo>
                <a:close/>
                <a:moveTo>
                  <a:pt x="761" y="5"/>
                </a:moveTo>
                <a:cubicBezTo>
                  <a:pt x="761" y="6"/>
                  <a:pt x="759" y="6"/>
                  <a:pt x="758" y="6"/>
                </a:cubicBezTo>
                <a:cubicBezTo>
                  <a:pt x="757" y="6"/>
                  <a:pt x="756" y="6"/>
                  <a:pt x="754" y="6"/>
                </a:cubicBezTo>
                <a:cubicBezTo>
                  <a:pt x="755" y="6"/>
                  <a:pt x="755" y="7"/>
                  <a:pt x="755" y="7"/>
                </a:cubicBezTo>
                <a:cubicBezTo>
                  <a:pt x="754" y="7"/>
                  <a:pt x="753" y="7"/>
                  <a:pt x="751" y="7"/>
                </a:cubicBezTo>
                <a:cubicBezTo>
                  <a:pt x="750" y="7"/>
                  <a:pt x="749" y="8"/>
                  <a:pt x="747" y="8"/>
                </a:cubicBezTo>
                <a:cubicBezTo>
                  <a:pt x="746" y="8"/>
                  <a:pt x="744" y="8"/>
                  <a:pt x="743" y="8"/>
                </a:cubicBezTo>
                <a:cubicBezTo>
                  <a:pt x="742" y="9"/>
                  <a:pt x="742" y="9"/>
                  <a:pt x="741" y="9"/>
                </a:cubicBezTo>
                <a:cubicBezTo>
                  <a:pt x="740" y="9"/>
                  <a:pt x="739" y="9"/>
                  <a:pt x="739" y="9"/>
                </a:cubicBezTo>
                <a:cubicBezTo>
                  <a:pt x="739" y="9"/>
                  <a:pt x="739" y="9"/>
                  <a:pt x="739" y="9"/>
                </a:cubicBezTo>
                <a:cubicBezTo>
                  <a:pt x="738" y="10"/>
                  <a:pt x="736" y="9"/>
                  <a:pt x="734" y="9"/>
                </a:cubicBezTo>
                <a:cubicBezTo>
                  <a:pt x="732" y="9"/>
                  <a:pt x="730" y="9"/>
                  <a:pt x="728" y="9"/>
                </a:cubicBezTo>
                <a:cubicBezTo>
                  <a:pt x="729" y="10"/>
                  <a:pt x="730" y="9"/>
                  <a:pt x="732" y="9"/>
                </a:cubicBezTo>
                <a:cubicBezTo>
                  <a:pt x="730" y="10"/>
                  <a:pt x="728" y="10"/>
                  <a:pt x="726" y="10"/>
                </a:cubicBezTo>
                <a:cubicBezTo>
                  <a:pt x="724" y="10"/>
                  <a:pt x="722" y="10"/>
                  <a:pt x="720" y="10"/>
                </a:cubicBezTo>
                <a:cubicBezTo>
                  <a:pt x="718" y="10"/>
                  <a:pt x="716" y="10"/>
                  <a:pt x="714" y="10"/>
                </a:cubicBezTo>
                <a:cubicBezTo>
                  <a:pt x="713" y="10"/>
                  <a:pt x="712" y="10"/>
                  <a:pt x="711" y="10"/>
                </a:cubicBezTo>
                <a:cubicBezTo>
                  <a:pt x="711" y="10"/>
                  <a:pt x="709" y="9"/>
                  <a:pt x="709" y="9"/>
                </a:cubicBezTo>
                <a:cubicBezTo>
                  <a:pt x="710" y="10"/>
                  <a:pt x="712" y="10"/>
                  <a:pt x="713" y="10"/>
                </a:cubicBezTo>
                <a:cubicBezTo>
                  <a:pt x="712" y="11"/>
                  <a:pt x="711" y="10"/>
                  <a:pt x="710" y="10"/>
                </a:cubicBezTo>
                <a:cubicBezTo>
                  <a:pt x="711" y="11"/>
                  <a:pt x="712" y="11"/>
                  <a:pt x="713" y="11"/>
                </a:cubicBezTo>
                <a:cubicBezTo>
                  <a:pt x="714" y="11"/>
                  <a:pt x="715" y="11"/>
                  <a:pt x="716" y="10"/>
                </a:cubicBezTo>
                <a:cubicBezTo>
                  <a:pt x="717" y="10"/>
                  <a:pt x="718" y="10"/>
                  <a:pt x="720" y="10"/>
                </a:cubicBezTo>
                <a:cubicBezTo>
                  <a:pt x="721" y="10"/>
                  <a:pt x="722" y="10"/>
                  <a:pt x="723" y="11"/>
                </a:cubicBezTo>
                <a:cubicBezTo>
                  <a:pt x="721" y="11"/>
                  <a:pt x="720" y="11"/>
                  <a:pt x="719" y="11"/>
                </a:cubicBezTo>
                <a:cubicBezTo>
                  <a:pt x="717" y="11"/>
                  <a:pt x="715" y="12"/>
                  <a:pt x="714" y="12"/>
                </a:cubicBezTo>
                <a:cubicBezTo>
                  <a:pt x="712" y="12"/>
                  <a:pt x="710" y="12"/>
                  <a:pt x="709" y="12"/>
                </a:cubicBezTo>
                <a:cubicBezTo>
                  <a:pt x="708" y="12"/>
                  <a:pt x="707" y="12"/>
                  <a:pt x="706" y="12"/>
                </a:cubicBezTo>
                <a:cubicBezTo>
                  <a:pt x="706" y="12"/>
                  <a:pt x="705" y="12"/>
                  <a:pt x="704" y="13"/>
                </a:cubicBezTo>
                <a:cubicBezTo>
                  <a:pt x="704" y="13"/>
                  <a:pt x="704" y="13"/>
                  <a:pt x="705" y="13"/>
                </a:cubicBezTo>
                <a:cubicBezTo>
                  <a:pt x="703" y="13"/>
                  <a:pt x="701" y="13"/>
                  <a:pt x="699" y="13"/>
                </a:cubicBezTo>
                <a:cubicBezTo>
                  <a:pt x="700" y="13"/>
                  <a:pt x="701" y="13"/>
                  <a:pt x="702" y="13"/>
                </a:cubicBezTo>
                <a:cubicBezTo>
                  <a:pt x="701" y="13"/>
                  <a:pt x="700" y="13"/>
                  <a:pt x="700" y="14"/>
                </a:cubicBezTo>
                <a:cubicBezTo>
                  <a:pt x="701" y="14"/>
                  <a:pt x="702" y="13"/>
                  <a:pt x="703" y="13"/>
                </a:cubicBezTo>
                <a:cubicBezTo>
                  <a:pt x="704" y="13"/>
                  <a:pt x="706" y="13"/>
                  <a:pt x="707" y="13"/>
                </a:cubicBezTo>
                <a:cubicBezTo>
                  <a:pt x="710" y="12"/>
                  <a:pt x="713" y="12"/>
                  <a:pt x="715" y="12"/>
                </a:cubicBezTo>
                <a:cubicBezTo>
                  <a:pt x="721" y="12"/>
                  <a:pt x="727" y="11"/>
                  <a:pt x="732" y="11"/>
                </a:cubicBezTo>
                <a:cubicBezTo>
                  <a:pt x="733" y="11"/>
                  <a:pt x="734" y="10"/>
                  <a:pt x="735" y="10"/>
                </a:cubicBezTo>
                <a:cubicBezTo>
                  <a:pt x="736" y="10"/>
                  <a:pt x="735" y="11"/>
                  <a:pt x="735" y="11"/>
                </a:cubicBezTo>
                <a:cubicBezTo>
                  <a:pt x="732" y="12"/>
                  <a:pt x="730" y="12"/>
                  <a:pt x="727" y="13"/>
                </a:cubicBezTo>
                <a:cubicBezTo>
                  <a:pt x="726" y="13"/>
                  <a:pt x="725" y="13"/>
                  <a:pt x="724" y="13"/>
                </a:cubicBezTo>
                <a:cubicBezTo>
                  <a:pt x="722" y="13"/>
                  <a:pt x="721" y="14"/>
                  <a:pt x="720" y="14"/>
                </a:cubicBezTo>
                <a:cubicBezTo>
                  <a:pt x="718" y="14"/>
                  <a:pt x="717" y="14"/>
                  <a:pt x="716" y="15"/>
                </a:cubicBezTo>
                <a:cubicBezTo>
                  <a:pt x="715" y="15"/>
                  <a:pt x="713" y="14"/>
                  <a:pt x="713" y="15"/>
                </a:cubicBezTo>
                <a:cubicBezTo>
                  <a:pt x="713" y="15"/>
                  <a:pt x="713" y="15"/>
                  <a:pt x="713" y="15"/>
                </a:cubicBezTo>
                <a:cubicBezTo>
                  <a:pt x="712" y="15"/>
                  <a:pt x="712" y="15"/>
                  <a:pt x="712" y="15"/>
                </a:cubicBezTo>
                <a:cubicBezTo>
                  <a:pt x="711" y="15"/>
                  <a:pt x="710" y="16"/>
                  <a:pt x="709" y="16"/>
                </a:cubicBezTo>
                <a:cubicBezTo>
                  <a:pt x="707" y="16"/>
                  <a:pt x="705" y="17"/>
                  <a:pt x="702" y="17"/>
                </a:cubicBezTo>
                <a:cubicBezTo>
                  <a:pt x="699" y="18"/>
                  <a:pt x="695" y="20"/>
                  <a:pt x="692" y="19"/>
                </a:cubicBezTo>
                <a:cubicBezTo>
                  <a:pt x="692" y="19"/>
                  <a:pt x="693" y="19"/>
                  <a:pt x="692" y="18"/>
                </a:cubicBezTo>
                <a:cubicBezTo>
                  <a:pt x="692" y="18"/>
                  <a:pt x="691" y="17"/>
                  <a:pt x="690" y="18"/>
                </a:cubicBezTo>
                <a:cubicBezTo>
                  <a:pt x="691" y="18"/>
                  <a:pt x="691" y="18"/>
                  <a:pt x="692" y="19"/>
                </a:cubicBezTo>
                <a:cubicBezTo>
                  <a:pt x="692" y="19"/>
                  <a:pt x="691" y="19"/>
                  <a:pt x="691" y="19"/>
                </a:cubicBezTo>
                <a:cubicBezTo>
                  <a:pt x="691" y="19"/>
                  <a:pt x="694" y="20"/>
                  <a:pt x="692" y="20"/>
                </a:cubicBezTo>
                <a:cubicBezTo>
                  <a:pt x="692" y="20"/>
                  <a:pt x="691" y="20"/>
                  <a:pt x="690" y="20"/>
                </a:cubicBezTo>
                <a:cubicBezTo>
                  <a:pt x="689" y="20"/>
                  <a:pt x="688" y="20"/>
                  <a:pt x="687" y="20"/>
                </a:cubicBezTo>
                <a:cubicBezTo>
                  <a:pt x="685" y="20"/>
                  <a:pt x="684" y="21"/>
                  <a:pt x="682" y="21"/>
                </a:cubicBezTo>
                <a:cubicBezTo>
                  <a:pt x="681" y="21"/>
                  <a:pt x="681" y="21"/>
                  <a:pt x="681" y="21"/>
                </a:cubicBezTo>
                <a:cubicBezTo>
                  <a:pt x="681" y="20"/>
                  <a:pt x="680" y="20"/>
                  <a:pt x="680" y="20"/>
                </a:cubicBezTo>
                <a:cubicBezTo>
                  <a:pt x="680" y="20"/>
                  <a:pt x="678" y="20"/>
                  <a:pt x="678" y="20"/>
                </a:cubicBezTo>
                <a:cubicBezTo>
                  <a:pt x="679" y="20"/>
                  <a:pt x="679" y="20"/>
                  <a:pt x="680" y="21"/>
                </a:cubicBezTo>
                <a:cubicBezTo>
                  <a:pt x="679" y="21"/>
                  <a:pt x="678" y="21"/>
                  <a:pt x="677" y="21"/>
                </a:cubicBezTo>
                <a:cubicBezTo>
                  <a:pt x="677" y="21"/>
                  <a:pt x="677" y="21"/>
                  <a:pt x="677" y="21"/>
                </a:cubicBezTo>
                <a:cubicBezTo>
                  <a:pt x="677" y="21"/>
                  <a:pt x="677" y="21"/>
                  <a:pt x="677" y="21"/>
                </a:cubicBezTo>
                <a:cubicBezTo>
                  <a:pt x="678" y="22"/>
                  <a:pt x="681" y="21"/>
                  <a:pt x="682" y="21"/>
                </a:cubicBezTo>
                <a:cubicBezTo>
                  <a:pt x="684" y="21"/>
                  <a:pt x="686" y="21"/>
                  <a:pt x="688" y="21"/>
                </a:cubicBezTo>
                <a:cubicBezTo>
                  <a:pt x="688" y="21"/>
                  <a:pt x="689" y="21"/>
                  <a:pt x="688" y="21"/>
                </a:cubicBezTo>
                <a:cubicBezTo>
                  <a:pt x="688" y="21"/>
                  <a:pt x="687" y="21"/>
                  <a:pt x="687" y="22"/>
                </a:cubicBezTo>
                <a:cubicBezTo>
                  <a:pt x="686" y="22"/>
                  <a:pt x="685" y="22"/>
                  <a:pt x="684" y="22"/>
                </a:cubicBezTo>
                <a:cubicBezTo>
                  <a:pt x="683" y="22"/>
                  <a:pt x="682" y="22"/>
                  <a:pt x="681" y="22"/>
                </a:cubicBezTo>
                <a:cubicBezTo>
                  <a:pt x="682" y="23"/>
                  <a:pt x="683" y="22"/>
                  <a:pt x="684" y="23"/>
                </a:cubicBezTo>
                <a:cubicBezTo>
                  <a:pt x="683" y="23"/>
                  <a:pt x="681" y="24"/>
                  <a:pt x="679" y="24"/>
                </a:cubicBezTo>
                <a:cubicBezTo>
                  <a:pt x="679" y="24"/>
                  <a:pt x="678" y="24"/>
                  <a:pt x="678" y="24"/>
                </a:cubicBezTo>
                <a:cubicBezTo>
                  <a:pt x="676" y="24"/>
                  <a:pt x="675" y="24"/>
                  <a:pt x="674" y="24"/>
                </a:cubicBezTo>
                <a:cubicBezTo>
                  <a:pt x="673" y="24"/>
                  <a:pt x="671" y="24"/>
                  <a:pt x="671" y="24"/>
                </a:cubicBezTo>
                <a:cubicBezTo>
                  <a:pt x="671" y="24"/>
                  <a:pt x="671" y="23"/>
                  <a:pt x="671" y="23"/>
                </a:cubicBezTo>
                <a:cubicBezTo>
                  <a:pt x="671" y="23"/>
                  <a:pt x="671" y="23"/>
                  <a:pt x="672" y="23"/>
                </a:cubicBezTo>
                <a:cubicBezTo>
                  <a:pt x="670" y="23"/>
                  <a:pt x="668" y="23"/>
                  <a:pt x="666" y="23"/>
                </a:cubicBezTo>
                <a:cubicBezTo>
                  <a:pt x="667" y="23"/>
                  <a:pt x="667" y="23"/>
                  <a:pt x="667" y="23"/>
                </a:cubicBezTo>
                <a:cubicBezTo>
                  <a:pt x="665" y="22"/>
                  <a:pt x="663" y="23"/>
                  <a:pt x="660" y="23"/>
                </a:cubicBezTo>
                <a:cubicBezTo>
                  <a:pt x="661" y="23"/>
                  <a:pt x="661" y="23"/>
                  <a:pt x="661" y="23"/>
                </a:cubicBezTo>
                <a:cubicBezTo>
                  <a:pt x="662" y="23"/>
                  <a:pt x="663" y="23"/>
                  <a:pt x="663" y="23"/>
                </a:cubicBezTo>
                <a:cubicBezTo>
                  <a:pt x="664" y="23"/>
                  <a:pt x="665" y="23"/>
                  <a:pt x="666" y="23"/>
                </a:cubicBezTo>
                <a:cubicBezTo>
                  <a:pt x="667" y="23"/>
                  <a:pt x="668" y="23"/>
                  <a:pt x="669" y="23"/>
                </a:cubicBezTo>
                <a:cubicBezTo>
                  <a:pt x="668" y="24"/>
                  <a:pt x="669" y="24"/>
                  <a:pt x="669" y="25"/>
                </a:cubicBezTo>
                <a:cubicBezTo>
                  <a:pt x="668" y="25"/>
                  <a:pt x="668" y="25"/>
                  <a:pt x="668" y="25"/>
                </a:cubicBezTo>
                <a:cubicBezTo>
                  <a:pt x="667" y="25"/>
                  <a:pt x="667" y="26"/>
                  <a:pt x="666" y="26"/>
                </a:cubicBezTo>
                <a:cubicBezTo>
                  <a:pt x="666" y="26"/>
                  <a:pt x="665" y="26"/>
                  <a:pt x="664" y="25"/>
                </a:cubicBezTo>
                <a:cubicBezTo>
                  <a:pt x="663" y="25"/>
                  <a:pt x="663" y="26"/>
                  <a:pt x="661" y="26"/>
                </a:cubicBezTo>
                <a:cubicBezTo>
                  <a:pt x="660" y="26"/>
                  <a:pt x="659" y="26"/>
                  <a:pt x="658" y="26"/>
                </a:cubicBezTo>
                <a:cubicBezTo>
                  <a:pt x="657" y="26"/>
                  <a:pt x="657" y="25"/>
                  <a:pt x="657" y="25"/>
                </a:cubicBezTo>
                <a:cubicBezTo>
                  <a:pt x="656" y="25"/>
                  <a:pt x="656" y="26"/>
                  <a:pt x="656" y="26"/>
                </a:cubicBezTo>
                <a:cubicBezTo>
                  <a:pt x="657" y="26"/>
                  <a:pt x="654" y="26"/>
                  <a:pt x="654" y="26"/>
                </a:cubicBezTo>
                <a:cubicBezTo>
                  <a:pt x="653" y="26"/>
                  <a:pt x="653" y="26"/>
                  <a:pt x="652" y="26"/>
                </a:cubicBezTo>
                <a:cubicBezTo>
                  <a:pt x="652" y="26"/>
                  <a:pt x="651" y="26"/>
                  <a:pt x="651" y="26"/>
                </a:cubicBezTo>
                <a:cubicBezTo>
                  <a:pt x="650" y="26"/>
                  <a:pt x="650" y="26"/>
                  <a:pt x="649" y="26"/>
                </a:cubicBezTo>
                <a:cubicBezTo>
                  <a:pt x="648" y="25"/>
                  <a:pt x="647" y="25"/>
                  <a:pt x="647" y="25"/>
                </a:cubicBezTo>
                <a:cubicBezTo>
                  <a:pt x="646" y="25"/>
                  <a:pt x="643" y="25"/>
                  <a:pt x="643" y="25"/>
                </a:cubicBezTo>
                <a:cubicBezTo>
                  <a:pt x="643" y="26"/>
                  <a:pt x="648" y="26"/>
                  <a:pt x="649" y="26"/>
                </a:cubicBezTo>
                <a:cubicBezTo>
                  <a:pt x="648" y="26"/>
                  <a:pt x="649" y="26"/>
                  <a:pt x="650" y="27"/>
                </a:cubicBezTo>
                <a:cubicBezTo>
                  <a:pt x="648" y="27"/>
                  <a:pt x="647" y="27"/>
                  <a:pt x="645" y="27"/>
                </a:cubicBezTo>
                <a:cubicBezTo>
                  <a:pt x="645" y="27"/>
                  <a:pt x="642" y="26"/>
                  <a:pt x="643" y="26"/>
                </a:cubicBezTo>
                <a:cubicBezTo>
                  <a:pt x="643" y="26"/>
                  <a:pt x="640" y="26"/>
                  <a:pt x="642" y="27"/>
                </a:cubicBezTo>
                <a:cubicBezTo>
                  <a:pt x="641" y="27"/>
                  <a:pt x="640" y="27"/>
                  <a:pt x="640" y="27"/>
                </a:cubicBezTo>
                <a:cubicBezTo>
                  <a:pt x="639" y="27"/>
                  <a:pt x="637" y="26"/>
                  <a:pt x="637" y="27"/>
                </a:cubicBezTo>
                <a:cubicBezTo>
                  <a:pt x="638" y="27"/>
                  <a:pt x="639" y="27"/>
                  <a:pt x="640" y="27"/>
                </a:cubicBezTo>
                <a:cubicBezTo>
                  <a:pt x="640" y="27"/>
                  <a:pt x="639" y="27"/>
                  <a:pt x="639" y="27"/>
                </a:cubicBezTo>
                <a:cubicBezTo>
                  <a:pt x="641" y="27"/>
                  <a:pt x="642" y="27"/>
                  <a:pt x="644" y="27"/>
                </a:cubicBezTo>
                <a:cubicBezTo>
                  <a:pt x="646" y="27"/>
                  <a:pt x="647" y="28"/>
                  <a:pt x="649" y="28"/>
                </a:cubicBezTo>
                <a:cubicBezTo>
                  <a:pt x="650" y="28"/>
                  <a:pt x="652" y="27"/>
                  <a:pt x="653" y="27"/>
                </a:cubicBezTo>
                <a:cubicBezTo>
                  <a:pt x="654" y="28"/>
                  <a:pt x="656" y="27"/>
                  <a:pt x="657" y="28"/>
                </a:cubicBezTo>
                <a:cubicBezTo>
                  <a:pt x="656" y="28"/>
                  <a:pt x="656" y="28"/>
                  <a:pt x="655" y="28"/>
                </a:cubicBezTo>
                <a:cubicBezTo>
                  <a:pt x="655" y="28"/>
                  <a:pt x="655" y="28"/>
                  <a:pt x="656" y="28"/>
                </a:cubicBezTo>
                <a:cubicBezTo>
                  <a:pt x="655" y="28"/>
                  <a:pt x="657" y="29"/>
                  <a:pt x="656" y="29"/>
                </a:cubicBezTo>
                <a:cubicBezTo>
                  <a:pt x="655" y="29"/>
                  <a:pt x="654" y="29"/>
                  <a:pt x="653" y="29"/>
                </a:cubicBezTo>
                <a:cubicBezTo>
                  <a:pt x="652" y="29"/>
                  <a:pt x="651" y="29"/>
                  <a:pt x="650" y="29"/>
                </a:cubicBezTo>
                <a:cubicBezTo>
                  <a:pt x="649" y="29"/>
                  <a:pt x="648" y="29"/>
                  <a:pt x="648" y="29"/>
                </a:cubicBezTo>
                <a:cubicBezTo>
                  <a:pt x="648" y="28"/>
                  <a:pt x="648" y="28"/>
                  <a:pt x="648" y="28"/>
                </a:cubicBezTo>
                <a:cubicBezTo>
                  <a:pt x="648" y="28"/>
                  <a:pt x="642" y="28"/>
                  <a:pt x="641" y="28"/>
                </a:cubicBezTo>
                <a:cubicBezTo>
                  <a:pt x="640" y="28"/>
                  <a:pt x="639" y="28"/>
                  <a:pt x="637" y="28"/>
                </a:cubicBezTo>
                <a:cubicBezTo>
                  <a:pt x="636" y="28"/>
                  <a:pt x="635" y="28"/>
                  <a:pt x="634" y="28"/>
                </a:cubicBezTo>
                <a:cubicBezTo>
                  <a:pt x="635" y="28"/>
                  <a:pt x="635" y="28"/>
                  <a:pt x="636" y="28"/>
                </a:cubicBezTo>
                <a:cubicBezTo>
                  <a:pt x="637" y="28"/>
                  <a:pt x="639" y="28"/>
                  <a:pt x="640" y="28"/>
                </a:cubicBezTo>
                <a:cubicBezTo>
                  <a:pt x="642" y="28"/>
                  <a:pt x="644" y="28"/>
                  <a:pt x="646" y="28"/>
                </a:cubicBezTo>
                <a:cubicBezTo>
                  <a:pt x="646" y="29"/>
                  <a:pt x="644" y="29"/>
                  <a:pt x="644" y="29"/>
                </a:cubicBezTo>
                <a:cubicBezTo>
                  <a:pt x="643" y="29"/>
                  <a:pt x="641" y="29"/>
                  <a:pt x="640" y="29"/>
                </a:cubicBezTo>
                <a:cubicBezTo>
                  <a:pt x="639" y="29"/>
                  <a:pt x="638" y="29"/>
                  <a:pt x="637" y="29"/>
                </a:cubicBezTo>
                <a:cubicBezTo>
                  <a:pt x="636" y="29"/>
                  <a:pt x="636" y="29"/>
                  <a:pt x="635" y="29"/>
                </a:cubicBezTo>
                <a:cubicBezTo>
                  <a:pt x="633" y="29"/>
                  <a:pt x="631" y="29"/>
                  <a:pt x="629" y="29"/>
                </a:cubicBezTo>
                <a:cubicBezTo>
                  <a:pt x="630" y="29"/>
                  <a:pt x="632" y="29"/>
                  <a:pt x="633" y="29"/>
                </a:cubicBezTo>
                <a:cubicBezTo>
                  <a:pt x="634" y="29"/>
                  <a:pt x="635" y="29"/>
                  <a:pt x="635" y="29"/>
                </a:cubicBezTo>
                <a:cubicBezTo>
                  <a:pt x="635" y="29"/>
                  <a:pt x="630" y="31"/>
                  <a:pt x="630" y="31"/>
                </a:cubicBezTo>
                <a:cubicBezTo>
                  <a:pt x="630" y="31"/>
                  <a:pt x="633" y="30"/>
                  <a:pt x="633" y="30"/>
                </a:cubicBezTo>
                <a:cubicBezTo>
                  <a:pt x="635" y="30"/>
                  <a:pt x="636" y="30"/>
                  <a:pt x="638" y="29"/>
                </a:cubicBezTo>
                <a:cubicBezTo>
                  <a:pt x="640" y="29"/>
                  <a:pt x="641" y="29"/>
                  <a:pt x="643" y="29"/>
                </a:cubicBezTo>
                <a:cubicBezTo>
                  <a:pt x="644" y="29"/>
                  <a:pt x="646" y="29"/>
                  <a:pt x="647" y="30"/>
                </a:cubicBezTo>
                <a:cubicBezTo>
                  <a:pt x="646" y="30"/>
                  <a:pt x="643" y="29"/>
                  <a:pt x="642" y="31"/>
                </a:cubicBezTo>
                <a:cubicBezTo>
                  <a:pt x="643" y="31"/>
                  <a:pt x="644" y="30"/>
                  <a:pt x="645" y="30"/>
                </a:cubicBezTo>
                <a:cubicBezTo>
                  <a:pt x="646" y="30"/>
                  <a:pt x="647" y="30"/>
                  <a:pt x="648" y="30"/>
                </a:cubicBezTo>
                <a:cubicBezTo>
                  <a:pt x="649" y="30"/>
                  <a:pt x="649" y="30"/>
                  <a:pt x="650" y="30"/>
                </a:cubicBezTo>
                <a:cubicBezTo>
                  <a:pt x="651" y="30"/>
                  <a:pt x="651" y="30"/>
                  <a:pt x="651" y="31"/>
                </a:cubicBezTo>
                <a:cubicBezTo>
                  <a:pt x="651" y="31"/>
                  <a:pt x="652" y="31"/>
                  <a:pt x="652" y="31"/>
                </a:cubicBezTo>
                <a:cubicBezTo>
                  <a:pt x="652" y="31"/>
                  <a:pt x="651" y="31"/>
                  <a:pt x="651" y="31"/>
                </a:cubicBezTo>
                <a:cubicBezTo>
                  <a:pt x="651" y="31"/>
                  <a:pt x="651" y="31"/>
                  <a:pt x="652" y="31"/>
                </a:cubicBezTo>
                <a:cubicBezTo>
                  <a:pt x="651" y="31"/>
                  <a:pt x="651" y="31"/>
                  <a:pt x="651" y="32"/>
                </a:cubicBezTo>
                <a:cubicBezTo>
                  <a:pt x="651" y="32"/>
                  <a:pt x="650" y="32"/>
                  <a:pt x="650" y="32"/>
                </a:cubicBezTo>
                <a:cubicBezTo>
                  <a:pt x="650" y="32"/>
                  <a:pt x="651" y="32"/>
                  <a:pt x="651" y="33"/>
                </a:cubicBezTo>
                <a:cubicBezTo>
                  <a:pt x="650" y="32"/>
                  <a:pt x="648" y="33"/>
                  <a:pt x="647" y="33"/>
                </a:cubicBezTo>
                <a:cubicBezTo>
                  <a:pt x="646" y="33"/>
                  <a:pt x="645" y="33"/>
                  <a:pt x="644" y="33"/>
                </a:cubicBezTo>
                <a:cubicBezTo>
                  <a:pt x="642" y="33"/>
                  <a:pt x="639" y="32"/>
                  <a:pt x="637" y="33"/>
                </a:cubicBezTo>
                <a:cubicBezTo>
                  <a:pt x="638" y="34"/>
                  <a:pt x="640" y="33"/>
                  <a:pt x="641" y="33"/>
                </a:cubicBezTo>
                <a:cubicBezTo>
                  <a:pt x="642" y="34"/>
                  <a:pt x="643" y="34"/>
                  <a:pt x="644" y="34"/>
                </a:cubicBezTo>
                <a:cubicBezTo>
                  <a:pt x="644" y="34"/>
                  <a:pt x="645" y="34"/>
                  <a:pt x="646" y="34"/>
                </a:cubicBezTo>
                <a:cubicBezTo>
                  <a:pt x="646" y="35"/>
                  <a:pt x="645" y="35"/>
                  <a:pt x="645" y="35"/>
                </a:cubicBezTo>
                <a:cubicBezTo>
                  <a:pt x="644" y="35"/>
                  <a:pt x="643" y="35"/>
                  <a:pt x="643" y="35"/>
                </a:cubicBezTo>
                <a:cubicBezTo>
                  <a:pt x="641" y="36"/>
                  <a:pt x="640" y="35"/>
                  <a:pt x="639" y="35"/>
                </a:cubicBezTo>
                <a:cubicBezTo>
                  <a:pt x="638" y="35"/>
                  <a:pt x="637" y="35"/>
                  <a:pt x="636" y="35"/>
                </a:cubicBezTo>
                <a:cubicBezTo>
                  <a:pt x="635" y="35"/>
                  <a:pt x="634" y="35"/>
                  <a:pt x="633" y="36"/>
                </a:cubicBezTo>
                <a:cubicBezTo>
                  <a:pt x="634" y="36"/>
                  <a:pt x="636" y="36"/>
                  <a:pt x="637" y="36"/>
                </a:cubicBezTo>
                <a:cubicBezTo>
                  <a:pt x="638" y="37"/>
                  <a:pt x="639" y="36"/>
                  <a:pt x="641" y="36"/>
                </a:cubicBezTo>
                <a:cubicBezTo>
                  <a:pt x="640" y="37"/>
                  <a:pt x="638" y="37"/>
                  <a:pt x="637" y="38"/>
                </a:cubicBezTo>
                <a:cubicBezTo>
                  <a:pt x="637" y="38"/>
                  <a:pt x="636" y="37"/>
                  <a:pt x="636" y="37"/>
                </a:cubicBezTo>
                <a:cubicBezTo>
                  <a:pt x="635" y="37"/>
                  <a:pt x="635" y="37"/>
                  <a:pt x="634" y="37"/>
                </a:cubicBezTo>
                <a:cubicBezTo>
                  <a:pt x="633" y="38"/>
                  <a:pt x="632" y="38"/>
                  <a:pt x="631" y="38"/>
                </a:cubicBezTo>
                <a:cubicBezTo>
                  <a:pt x="630" y="38"/>
                  <a:pt x="629" y="38"/>
                  <a:pt x="628" y="38"/>
                </a:cubicBezTo>
                <a:cubicBezTo>
                  <a:pt x="627" y="38"/>
                  <a:pt x="626" y="38"/>
                  <a:pt x="625" y="38"/>
                </a:cubicBezTo>
                <a:cubicBezTo>
                  <a:pt x="625" y="38"/>
                  <a:pt x="624" y="38"/>
                  <a:pt x="624" y="37"/>
                </a:cubicBezTo>
                <a:cubicBezTo>
                  <a:pt x="624" y="37"/>
                  <a:pt x="623" y="37"/>
                  <a:pt x="623" y="37"/>
                </a:cubicBezTo>
                <a:cubicBezTo>
                  <a:pt x="623" y="38"/>
                  <a:pt x="622" y="38"/>
                  <a:pt x="622" y="38"/>
                </a:cubicBezTo>
                <a:cubicBezTo>
                  <a:pt x="621" y="38"/>
                  <a:pt x="622" y="38"/>
                  <a:pt x="622" y="38"/>
                </a:cubicBezTo>
                <a:cubicBezTo>
                  <a:pt x="622" y="39"/>
                  <a:pt x="623" y="38"/>
                  <a:pt x="623" y="39"/>
                </a:cubicBezTo>
                <a:cubicBezTo>
                  <a:pt x="623" y="39"/>
                  <a:pt x="622" y="39"/>
                  <a:pt x="622" y="39"/>
                </a:cubicBezTo>
                <a:cubicBezTo>
                  <a:pt x="622" y="40"/>
                  <a:pt x="621" y="40"/>
                  <a:pt x="621" y="40"/>
                </a:cubicBezTo>
                <a:cubicBezTo>
                  <a:pt x="621" y="40"/>
                  <a:pt x="623" y="40"/>
                  <a:pt x="623" y="40"/>
                </a:cubicBezTo>
                <a:cubicBezTo>
                  <a:pt x="623" y="41"/>
                  <a:pt x="621" y="41"/>
                  <a:pt x="621" y="41"/>
                </a:cubicBezTo>
                <a:cubicBezTo>
                  <a:pt x="621" y="41"/>
                  <a:pt x="620" y="41"/>
                  <a:pt x="620" y="41"/>
                </a:cubicBezTo>
                <a:cubicBezTo>
                  <a:pt x="620" y="42"/>
                  <a:pt x="619" y="42"/>
                  <a:pt x="619" y="42"/>
                </a:cubicBezTo>
                <a:cubicBezTo>
                  <a:pt x="618" y="42"/>
                  <a:pt x="617" y="42"/>
                  <a:pt x="616" y="42"/>
                </a:cubicBezTo>
                <a:cubicBezTo>
                  <a:pt x="615" y="43"/>
                  <a:pt x="614" y="43"/>
                  <a:pt x="613" y="43"/>
                </a:cubicBezTo>
                <a:cubicBezTo>
                  <a:pt x="614" y="43"/>
                  <a:pt x="614" y="43"/>
                  <a:pt x="614" y="42"/>
                </a:cubicBezTo>
                <a:cubicBezTo>
                  <a:pt x="614" y="42"/>
                  <a:pt x="613" y="43"/>
                  <a:pt x="612" y="43"/>
                </a:cubicBezTo>
                <a:cubicBezTo>
                  <a:pt x="611" y="43"/>
                  <a:pt x="611" y="43"/>
                  <a:pt x="610" y="43"/>
                </a:cubicBezTo>
                <a:cubicBezTo>
                  <a:pt x="609" y="43"/>
                  <a:pt x="608" y="43"/>
                  <a:pt x="608" y="43"/>
                </a:cubicBezTo>
                <a:cubicBezTo>
                  <a:pt x="607" y="43"/>
                  <a:pt x="606" y="43"/>
                  <a:pt x="605" y="43"/>
                </a:cubicBezTo>
                <a:cubicBezTo>
                  <a:pt x="604" y="43"/>
                  <a:pt x="602" y="43"/>
                  <a:pt x="601" y="43"/>
                </a:cubicBezTo>
                <a:cubicBezTo>
                  <a:pt x="601" y="42"/>
                  <a:pt x="600" y="42"/>
                  <a:pt x="600" y="42"/>
                </a:cubicBezTo>
                <a:cubicBezTo>
                  <a:pt x="600" y="42"/>
                  <a:pt x="599" y="42"/>
                  <a:pt x="599" y="42"/>
                </a:cubicBezTo>
                <a:cubicBezTo>
                  <a:pt x="599" y="42"/>
                  <a:pt x="599" y="42"/>
                  <a:pt x="599" y="42"/>
                </a:cubicBezTo>
                <a:cubicBezTo>
                  <a:pt x="599" y="41"/>
                  <a:pt x="598" y="41"/>
                  <a:pt x="598" y="41"/>
                </a:cubicBezTo>
                <a:cubicBezTo>
                  <a:pt x="598" y="41"/>
                  <a:pt x="598" y="41"/>
                  <a:pt x="598" y="41"/>
                </a:cubicBezTo>
                <a:cubicBezTo>
                  <a:pt x="598" y="41"/>
                  <a:pt x="598" y="41"/>
                  <a:pt x="598" y="41"/>
                </a:cubicBezTo>
                <a:cubicBezTo>
                  <a:pt x="598" y="41"/>
                  <a:pt x="598" y="40"/>
                  <a:pt x="598" y="40"/>
                </a:cubicBezTo>
                <a:cubicBezTo>
                  <a:pt x="597" y="40"/>
                  <a:pt x="598" y="40"/>
                  <a:pt x="598" y="40"/>
                </a:cubicBezTo>
                <a:cubicBezTo>
                  <a:pt x="597" y="40"/>
                  <a:pt x="596" y="40"/>
                  <a:pt x="597" y="40"/>
                </a:cubicBezTo>
                <a:cubicBezTo>
                  <a:pt x="597" y="41"/>
                  <a:pt x="598" y="41"/>
                  <a:pt x="597" y="41"/>
                </a:cubicBezTo>
                <a:cubicBezTo>
                  <a:pt x="595" y="42"/>
                  <a:pt x="598" y="42"/>
                  <a:pt x="599" y="42"/>
                </a:cubicBezTo>
                <a:cubicBezTo>
                  <a:pt x="599" y="43"/>
                  <a:pt x="597" y="43"/>
                  <a:pt x="597" y="43"/>
                </a:cubicBezTo>
                <a:cubicBezTo>
                  <a:pt x="596" y="43"/>
                  <a:pt x="595" y="43"/>
                  <a:pt x="594" y="43"/>
                </a:cubicBezTo>
                <a:cubicBezTo>
                  <a:pt x="593" y="43"/>
                  <a:pt x="593" y="43"/>
                  <a:pt x="592" y="43"/>
                </a:cubicBezTo>
                <a:cubicBezTo>
                  <a:pt x="593" y="43"/>
                  <a:pt x="594" y="43"/>
                  <a:pt x="593" y="44"/>
                </a:cubicBezTo>
                <a:cubicBezTo>
                  <a:pt x="592" y="44"/>
                  <a:pt x="595" y="44"/>
                  <a:pt x="595" y="44"/>
                </a:cubicBezTo>
                <a:cubicBezTo>
                  <a:pt x="598" y="43"/>
                  <a:pt x="601" y="43"/>
                  <a:pt x="604" y="44"/>
                </a:cubicBezTo>
                <a:cubicBezTo>
                  <a:pt x="603" y="44"/>
                  <a:pt x="602" y="44"/>
                  <a:pt x="601" y="45"/>
                </a:cubicBezTo>
                <a:cubicBezTo>
                  <a:pt x="603" y="45"/>
                  <a:pt x="604" y="44"/>
                  <a:pt x="606" y="44"/>
                </a:cubicBezTo>
                <a:cubicBezTo>
                  <a:pt x="607" y="43"/>
                  <a:pt x="609" y="43"/>
                  <a:pt x="611" y="44"/>
                </a:cubicBezTo>
                <a:cubicBezTo>
                  <a:pt x="610" y="44"/>
                  <a:pt x="610" y="45"/>
                  <a:pt x="610" y="45"/>
                </a:cubicBezTo>
                <a:cubicBezTo>
                  <a:pt x="610" y="45"/>
                  <a:pt x="609" y="45"/>
                  <a:pt x="609" y="45"/>
                </a:cubicBezTo>
                <a:cubicBezTo>
                  <a:pt x="609" y="45"/>
                  <a:pt x="606" y="46"/>
                  <a:pt x="606" y="46"/>
                </a:cubicBezTo>
                <a:cubicBezTo>
                  <a:pt x="606" y="46"/>
                  <a:pt x="609" y="46"/>
                  <a:pt x="609" y="46"/>
                </a:cubicBezTo>
                <a:cubicBezTo>
                  <a:pt x="609" y="46"/>
                  <a:pt x="609" y="46"/>
                  <a:pt x="608" y="47"/>
                </a:cubicBezTo>
                <a:cubicBezTo>
                  <a:pt x="609" y="47"/>
                  <a:pt x="609" y="47"/>
                  <a:pt x="609" y="47"/>
                </a:cubicBezTo>
                <a:cubicBezTo>
                  <a:pt x="610" y="47"/>
                  <a:pt x="610" y="47"/>
                  <a:pt x="610" y="46"/>
                </a:cubicBezTo>
                <a:cubicBezTo>
                  <a:pt x="610" y="46"/>
                  <a:pt x="611" y="46"/>
                  <a:pt x="611" y="46"/>
                </a:cubicBezTo>
                <a:cubicBezTo>
                  <a:pt x="612" y="46"/>
                  <a:pt x="612" y="46"/>
                  <a:pt x="612" y="46"/>
                </a:cubicBezTo>
                <a:cubicBezTo>
                  <a:pt x="613" y="46"/>
                  <a:pt x="614" y="45"/>
                  <a:pt x="615" y="45"/>
                </a:cubicBezTo>
                <a:cubicBezTo>
                  <a:pt x="615" y="45"/>
                  <a:pt x="616" y="46"/>
                  <a:pt x="616" y="46"/>
                </a:cubicBezTo>
                <a:cubicBezTo>
                  <a:pt x="616" y="46"/>
                  <a:pt x="615" y="47"/>
                  <a:pt x="615" y="47"/>
                </a:cubicBezTo>
                <a:cubicBezTo>
                  <a:pt x="616" y="47"/>
                  <a:pt x="615" y="48"/>
                  <a:pt x="614" y="48"/>
                </a:cubicBezTo>
                <a:cubicBezTo>
                  <a:pt x="614" y="48"/>
                  <a:pt x="614" y="48"/>
                  <a:pt x="614" y="48"/>
                </a:cubicBezTo>
                <a:cubicBezTo>
                  <a:pt x="614" y="48"/>
                  <a:pt x="613" y="48"/>
                  <a:pt x="613" y="48"/>
                </a:cubicBezTo>
                <a:cubicBezTo>
                  <a:pt x="612" y="49"/>
                  <a:pt x="612" y="49"/>
                  <a:pt x="611" y="49"/>
                </a:cubicBezTo>
                <a:cubicBezTo>
                  <a:pt x="610" y="49"/>
                  <a:pt x="609" y="50"/>
                  <a:pt x="608" y="50"/>
                </a:cubicBezTo>
                <a:cubicBezTo>
                  <a:pt x="607" y="50"/>
                  <a:pt x="607" y="49"/>
                  <a:pt x="608" y="49"/>
                </a:cubicBezTo>
                <a:cubicBezTo>
                  <a:pt x="607" y="49"/>
                  <a:pt x="605" y="50"/>
                  <a:pt x="604" y="50"/>
                </a:cubicBezTo>
                <a:cubicBezTo>
                  <a:pt x="603" y="50"/>
                  <a:pt x="602" y="51"/>
                  <a:pt x="602" y="51"/>
                </a:cubicBezTo>
                <a:cubicBezTo>
                  <a:pt x="601" y="51"/>
                  <a:pt x="600" y="51"/>
                  <a:pt x="599" y="51"/>
                </a:cubicBezTo>
                <a:cubicBezTo>
                  <a:pt x="598" y="51"/>
                  <a:pt x="597" y="52"/>
                  <a:pt x="595" y="52"/>
                </a:cubicBezTo>
                <a:cubicBezTo>
                  <a:pt x="595" y="52"/>
                  <a:pt x="594" y="52"/>
                  <a:pt x="593" y="52"/>
                </a:cubicBezTo>
                <a:cubicBezTo>
                  <a:pt x="592" y="52"/>
                  <a:pt x="591" y="52"/>
                  <a:pt x="591" y="52"/>
                </a:cubicBezTo>
                <a:cubicBezTo>
                  <a:pt x="590" y="52"/>
                  <a:pt x="589" y="53"/>
                  <a:pt x="588" y="53"/>
                </a:cubicBezTo>
                <a:cubicBezTo>
                  <a:pt x="589" y="52"/>
                  <a:pt x="589" y="52"/>
                  <a:pt x="590" y="52"/>
                </a:cubicBezTo>
                <a:cubicBezTo>
                  <a:pt x="589" y="52"/>
                  <a:pt x="589" y="52"/>
                  <a:pt x="589" y="52"/>
                </a:cubicBezTo>
                <a:cubicBezTo>
                  <a:pt x="590" y="52"/>
                  <a:pt x="593" y="51"/>
                  <a:pt x="593" y="50"/>
                </a:cubicBezTo>
                <a:cubicBezTo>
                  <a:pt x="593" y="50"/>
                  <a:pt x="591" y="50"/>
                  <a:pt x="591" y="50"/>
                </a:cubicBezTo>
                <a:cubicBezTo>
                  <a:pt x="591" y="49"/>
                  <a:pt x="591" y="49"/>
                  <a:pt x="591" y="49"/>
                </a:cubicBezTo>
                <a:cubicBezTo>
                  <a:pt x="591" y="49"/>
                  <a:pt x="590" y="49"/>
                  <a:pt x="590" y="50"/>
                </a:cubicBezTo>
                <a:cubicBezTo>
                  <a:pt x="590" y="50"/>
                  <a:pt x="589" y="50"/>
                  <a:pt x="588" y="50"/>
                </a:cubicBezTo>
                <a:cubicBezTo>
                  <a:pt x="587" y="50"/>
                  <a:pt x="586" y="50"/>
                  <a:pt x="585" y="49"/>
                </a:cubicBezTo>
                <a:cubicBezTo>
                  <a:pt x="586" y="49"/>
                  <a:pt x="587" y="49"/>
                  <a:pt x="586" y="49"/>
                </a:cubicBezTo>
                <a:cubicBezTo>
                  <a:pt x="587" y="48"/>
                  <a:pt x="588" y="49"/>
                  <a:pt x="589" y="48"/>
                </a:cubicBezTo>
                <a:cubicBezTo>
                  <a:pt x="588" y="48"/>
                  <a:pt x="586" y="49"/>
                  <a:pt x="585" y="48"/>
                </a:cubicBezTo>
                <a:cubicBezTo>
                  <a:pt x="584" y="48"/>
                  <a:pt x="585" y="47"/>
                  <a:pt x="584" y="47"/>
                </a:cubicBezTo>
                <a:cubicBezTo>
                  <a:pt x="584" y="47"/>
                  <a:pt x="584" y="48"/>
                  <a:pt x="584" y="48"/>
                </a:cubicBezTo>
                <a:cubicBezTo>
                  <a:pt x="584" y="49"/>
                  <a:pt x="585" y="49"/>
                  <a:pt x="586" y="49"/>
                </a:cubicBezTo>
                <a:cubicBezTo>
                  <a:pt x="585" y="49"/>
                  <a:pt x="585" y="49"/>
                  <a:pt x="585" y="50"/>
                </a:cubicBezTo>
                <a:cubicBezTo>
                  <a:pt x="584" y="50"/>
                  <a:pt x="584" y="50"/>
                  <a:pt x="583" y="50"/>
                </a:cubicBezTo>
                <a:cubicBezTo>
                  <a:pt x="582" y="51"/>
                  <a:pt x="582" y="50"/>
                  <a:pt x="581" y="50"/>
                </a:cubicBezTo>
                <a:cubicBezTo>
                  <a:pt x="580" y="51"/>
                  <a:pt x="580" y="51"/>
                  <a:pt x="579" y="50"/>
                </a:cubicBezTo>
                <a:cubicBezTo>
                  <a:pt x="578" y="50"/>
                  <a:pt x="579" y="50"/>
                  <a:pt x="579" y="49"/>
                </a:cubicBezTo>
                <a:cubicBezTo>
                  <a:pt x="579" y="48"/>
                  <a:pt x="579" y="49"/>
                  <a:pt x="579" y="48"/>
                </a:cubicBezTo>
                <a:cubicBezTo>
                  <a:pt x="579" y="48"/>
                  <a:pt x="579" y="48"/>
                  <a:pt x="579" y="47"/>
                </a:cubicBezTo>
                <a:cubicBezTo>
                  <a:pt x="579" y="47"/>
                  <a:pt x="578" y="48"/>
                  <a:pt x="578" y="48"/>
                </a:cubicBezTo>
                <a:cubicBezTo>
                  <a:pt x="578" y="48"/>
                  <a:pt x="578" y="49"/>
                  <a:pt x="578" y="49"/>
                </a:cubicBezTo>
                <a:cubicBezTo>
                  <a:pt x="578" y="49"/>
                  <a:pt x="578" y="50"/>
                  <a:pt x="578" y="50"/>
                </a:cubicBezTo>
                <a:cubicBezTo>
                  <a:pt x="577" y="50"/>
                  <a:pt x="578" y="50"/>
                  <a:pt x="577" y="50"/>
                </a:cubicBezTo>
                <a:cubicBezTo>
                  <a:pt x="577" y="50"/>
                  <a:pt x="576" y="50"/>
                  <a:pt x="576" y="50"/>
                </a:cubicBezTo>
                <a:cubicBezTo>
                  <a:pt x="575" y="50"/>
                  <a:pt x="575" y="50"/>
                  <a:pt x="574" y="50"/>
                </a:cubicBezTo>
                <a:cubicBezTo>
                  <a:pt x="574" y="50"/>
                  <a:pt x="574" y="50"/>
                  <a:pt x="574" y="50"/>
                </a:cubicBezTo>
                <a:cubicBezTo>
                  <a:pt x="573" y="49"/>
                  <a:pt x="573" y="49"/>
                  <a:pt x="573" y="49"/>
                </a:cubicBezTo>
                <a:cubicBezTo>
                  <a:pt x="574" y="48"/>
                  <a:pt x="573" y="48"/>
                  <a:pt x="572" y="48"/>
                </a:cubicBezTo>
                <a:cubicBezTo>
                  <a:pt x="573" y="49"/>
                  <a:pt x="572" y="49"/>
                  <a:pt x="572" y="49"/>
                </a:cubicBezTo>
                <a:cubicBezTo>
                  <a:pt x="571" y="50"/>
                  <a:pt x="571" y="50"/>
                  <a:pt x="570" y="50"/>
                </a:cubicBezTo>
                <a:cubicBezTo>
                  <a:pt x="570" y="50"/>
                  <a:pt x="569" y="50"/>
                  <a:pt x="569" y="50"/>
                </a:cubicBezTo>
                <a:cubicBezTo>
                  <a:pt x="568" y="50"/>
                  <a:pt x="568" y="50"/>
                  <a:pt x="568" y="49"/>
                </a:cubicBezTo>
                <a:cubicBezTo>
                  <a:pt x="568" y="48"/>
                  <a:pt x="566" y="49"/>
                  <a:pt x="566" y="50"/>
                </a:cubicBezTo>
                <a:cubicBezTo>
                  <a:pt x="566" y="51"/>
                  <a:pt x="569" y="51"/>
                  <a:pt x="569" y="51"/>
                </a:cubicBezTo>
                <a:cubicBezTo>
                  <a:pt x="569" y="51"/>
                  <a:pt x="565" y="51"/>
                  <a:pt x="565" y="51"/>
                </a:cubicBezTo>
                <a:cubicBezTo>
                  <a:pt x="563" y="51"/>
                  <a:pt x="561" y="51"/>
                  <a:pt x="559" y="51"/>
                </a:cubicBezTo>
                <a:cubicBezTo>
                  <a:pt x="559" y="51"/>
                  <a:pt x="556" y="51"/>
                  <a:pt x="557" y="50"/>
                </a:cubicBezTo>
                <a:cubicBezTo>
                  <a:pt x="557" y="50"/>
                  <a:pt x="558" y="50"/>
                  <a:pt x="558" y="50"/>
                </a:cubicBezTo>
                <a:cubicBezTo>
                  <a:pt x="560" y="49"/>
                  <a:pt x="558" y="48"/>
                  <a:pt x="557" y="49"/>
                </a:cubicBezTo>
                <a:cubicBezTo>
                  <a:pt x="558" y="49"/>
                  <a:pt x="558" y="49"/>
                  <a:pt x="558" y="49"/>
                </a:cubicBezTo>
                <a:cubicBezTo>
                  <a:pt x="557" y="50"/>
                  <a:pt x="556" y="50"/>
                  <a:pt x="555" y="50"/>
                </a:cubicBezTo>
                <a:cubicBezTo>
                  <a:pt x="554" y="51"/>
                  <a:pt x="553" y="51"/>
                  <a:pt x="552" y="50"/>
                </a:cubicBezTo>
                <a:cubicBezTo>
                  <a:pt x="553" y="50"/>
                  <a:pt x="551" y="50"/>
                  <a:pt x="551" y="50"/>
                </a:cubicBezTo>
                <a:cubicBezTo>
                  <a:pt x="551" y="50"/>
                  <a:pt x="552" y="49"/>
                  <a:pt x="551" y="49"/>
                </a:cubicBezTo>
                <a:cubicBezTo>
                  <a:pt x="551" y="49"/>
                  <a:pt x="551" y="49"/>
                  <a:pt x="552" y="49"/>
                </a:cubicBezTo>
                <a:cubicBezTo>
                  <a:pt x="551" y="48"/>
                  <a:pt x="550" y="49"/>
                  <a:pt x="551" y="50"/>
                </a:cubicBezTo>
                <a:cubicBezTo>
                  <a:pt x="550" y="50"/>
                  <a:pt x="549" y="50"/>
                  <a:pt x="550" y="50"/>
                </a:cubicBezTo>
                <a:cubicBezTo>
                  <a:pt x="550" y="50"/>
                  <a:pt x="549" y="50"/>
                  <a:pt x="550" y="51"/>
                </a:cubicBezTo>
                <a:cubicBezTo>
                  <a:pt x="550" y="51"/>
                  <a:pt x="547" y="51"/>
                  <a:pt x="548" y="50"/>
                </a:cubicBezTo>
                <a:cubicBezTo>
                  <a:pt x="547" y="50"/>
                  <a:pt x="546" y="51"/>
                  <a:pt x="546" y="51"/>
                </a:cubicBezTo>
                <a:cubicBezTo>
                  <a:pt x="545" y="51"/>
                  <a:pt x="544" y="51"/>
                  <a:pt x="544" y="50"/>
                </a:cubicBezTo>
                <a:cubicBezTo>
                  <a:pt x="544" y="50"/>
                  <a:pt x="545" y="50"/>
                  <a:pt x="544" y="50"/>
                </a:cubicBezTo>
                <a:cubicBezTo>
                  <a:pt x="545" y="50"/>
                  <a:pt x="545" y="50"/>
                  <a:pt x="545" y="49"/>
                </a:cubicBezTo>
                <a:cubicBezTo>
                  <a:pt x="545" y="49"/>
                  <a:pt x="545" y="48"/>
                  <a:pt x="546" y="48"/>
                </a:cubicBezTo>
                <a:cubicBezTo>
                  <a:pt x="546" y="48"/>
                  <a:pt x="546" y="48"/>
                  <a:pt x="546" y="48"/>
                </a:cubicBezTo>
                <a:cubicBezTo>
                  <a:pt x="547" y="47"/>
                  <a:pt x="547" y="47"/>
                  <a:pt x="547" y="47"/>
                </a:cubicBezTo>
                <a:cubicBezTo>
                  <a:pt x="547" y="47"/>
                  <a:pt x="546" y="47"/>
                  <a:pt x="545" y="48"/>
                </a:cubicBezTo>
                <a:cubicBezTo>
                  <a:pt x="545" y="48"/>
                  <a:pt x="545" y="48"/>
                  <a:pt x="545" y="48"/>
                </a:cubicBezTo>
                <a:cubicBezTo>
                  <a:pt x="545" y="49"/>
                  <a:pt x="545" y="49"/>
                  <a:pt x="544" y="49"/>
                </a:cubicBezTo>
                <a:cubicBezTo>
                  <a:pt x="546" y="49"/>
                  <a:pt x="542" y="51"/>
                  <a:pt x="542" y="50"/>
                </a:cubicBezTo>
                <a:cubicBezTo>
                  <a:pt x="542" y="50"/>
                  <a:pt x="544" y="49"/>
                  <a:pt x="544" y="49"/>
                </a:cubicBezTo>
                <a:cubicBezTo>
                  <a:pt x="544" y="49"/>
                  <a:pt x="542" y="50"/>
                  <a:pt x="542" y="50"/>
                </a:cubicBezTo>
                <a:cubicBezTo>
                  <a:pt x="542" y="50"/>
                  <a:pt x="540" y="51"/>
                  <a:pt x="540" y="50"/>
                </a:cubicBezTo>
                <a:cubicBezTo>
                  <a:pt x="539" y="50"/>
                  <a:pt x="539" y="50"/>
                  <a:pt x="538" y="50"/>
                </a:cubicBezTo>
                <a:cubicBezTo>
                  <a:pt x="538" y="50"/>
                  <a:pt x="539" y="49"/>
                  <a:pt x="539" y="49"/>
                </a:cubicBezTo>
                <a:cubicBezTo>
                  <a:pt x="539" y="49"/>
                  <a:pt x="538" y="49"/>
                  <a:pt x="537" y="49"/>
                </a:cubicBezTo>
                <a:cubicBezTo>
                  <a:pt x="538" y="49"/>
                  <a:pt x="539" y="48"/>
                  <a:pt x="539" y="48"/>
                </a:cubicBezTo>
                <a:cubicBezTo>
                  <a:pt x="540" y="48"/>
                  <a:pt x="540" y="48"/>
                  <a:pt x="540" y="48"/>
                </a:cubicBezTo>
                <a:cubicBezTo>
                  <a:pt x="540" y="48"/>
                  <a:pt x="540" y="48"/>
                  <a:pt x="541" y="48"/>
                </a:cubicBezTo>
                <a:cubicBezTo>
                  <a:pt x="540" y="47"/>
                  <a:pt x="542" y="46"/>
                  <a:pt x="542" y="46"/>
                </a:cubicBezTo>
                <a:cubicBezTo>
                  <a:pt x="543" y="46"/>
                  <a:pt x="544" y="46"/>
                  <a:pt x="545" y="46"/>
                </a:cubicBezTo>
                <a:cubicBezTo>
                  <a:pt x="547" y="45"/>
                  <a:pt x="549" y="45"/>
                  <a:pt x="551" y="45"/>
                </a:cubicBezTo>
                <a:cubicBezTo>
                  <a:pt x="550" y="45"/>
                  <a:pt x="550" y="45"/>
                  <a:pt x="550" y="45"/>
                </a:cubicBezTo>
                <a:cubicBezTo>
                  <a:pt x="550" y="45"/>
                  <a:pt x="551" y="44"/>
                  <a:pt x="551" y="44"/>
                </a:cubicBezTo>
                <a:cubicBezTo>
                  <a:pt x="552" y="44"/>
                  <a:pt x="553" y="44"/>
                  <a:pt x="552" y="44"/>
                </a:cubicBezTo>
                <a:cubicBezTo>
                  <a:pt x="553" y="45"/>
                  <a:pt x="554" y="44"/>
                  <a:pt x="555" y="44"/>
                </a:cubicBezTo>
                <a:cubicBezTo>
                  <a:pt x="555" y="44"/>
                  <a:pt x="556" y="44"/>
                  <a:pt x="556" y="44"/>
                </a:cubicBezTo>
                <a:cubicBezTo>
                  <a:pt x="556" y="45"/>
                  <a:pt x="557" y="45"/>
                  <a:pt x="557" y="44"/>
                </a:cubicBezTo>
                <a:cubicBezTo>
                  <a:pt x="557" y="44"/>
                  <a:pt x="559" y="44"/>
                  <a:pt x="559" y="44"/>
                </a:cubicBezTo>
                <a:cubicBezTo>
                  <a:pt x="559" y="44"/>
                  <a:pt x="559" y="44"/>
                  <a:pt x="560" y="44"/>
                </a:cubicBezTo>
                <a:cubicBezTo>
                  <a:pt x="560" y="44"/>
                  <a:pt x="561" y="44"/>
                  <a:pt x="561" y="44"/>
                </a:cubicBezTo>
                <a:cubicBezTo>
                  <a:pt x="561" y="44"/>
                  <a:pt x="562" y="44"/>
                  <a:pt x="563" y="44"/>
                </a:cubicBezTo>
                <a:cubicBezTo>
                  <a:pt x="562" y="44"/>
                  <a:pt x="561" y="44"/>
                  <a:pt x="559" y="44"/>
                </a:cubicBezTo>
                <a:cubicBezTo>
                  <a:pt x="560" y="43"/>
                  <a:pt x="561" y="44"/>
                  <a:pt x="562" y="43"/>
                </a:cubicBezTo>
                <a:cubicBezTo>
                  <a:pt x="561" y="43"/>
                  <a:pt x="560" y="43"/>
                  <a:pt x="560" y="43"/>
                </a:cubicBezTo>
                <a:cubicBezTo>
                  <a:pt x="561" y="42"/>
                  <a:pt x="562" y="43"/>
                  <a:pt x="563" y="42"/>
                </a:cubicBezTo>
                <a:cubicBezTo>
                  <a:pt x="561" y="42"/>
                  <a:pt x="560" y="43"/>
                  <a:pt x="558" y="42"/>
                </a:cubicBezTo>
                <a:cubicBezTo>
                  <a:pt x="558" y="42"/>
                  <a:pt x="558" y="42"/>
                  <a:pt x="558" y="42"/>
                </a:cubicBezTo>
                <a:cubicBezTo>
                  <a:pt x="559" y="42"/>
                  <a:pt x="559" y="42"/>
                  <a:pt x="560" y="41"/>
                </a:cubicBezTo>
                <a:cubicBezTo>
                  <a:pt x="559" y="41"/>
                  <a:pt x="559" y="41"/>
                  <a:pt x="559" y="41"/>
                </a:cubicBezTo>
                <a:cubicBezTo>
                  <a:pt x="559" y="41"/>
                  <a:pt x="557" y="40"/>
                  <a:pt x="558" y="40"/>
                </a:cubicBezTo>
                <a:cubicBezTo>
                  <a:pt x="558" y="40"/>
                  <a:pt x="559" y="39"/>
                  <a:pt x="559" y="39"/>
                </a:cubicBezTo>
                <a:cubicBezTo>
                  <a:pt x="559" y="39"/>
                  <a:pt x="560" y="39"/>
                  <a:pt x="560" y="38"/>
                </a:cubicBezTo>
                <a:cubicBezTo>
                  <a:pt x="560" y="38"/>
                  <a:pt x="560" y="39"/>
                  <a:pt x="560" y="39"/>
                </a:cubicBezTo>
                <a:cubicBezTo>
                  <a:pt x="561" y="39"/>
                  <a:pt x="562" y="39"/>
                  <a:pt x="562" y="38"/>
                </a:cubicBezTo>
                <a:cubicBezTo>
                  <a:pt x="564" y="38"/>
                  <a:pt x="566" y="38"/>
                  <a:pt x="568" y="38"/>
                </a:cubicBezTo>
                <a:cubicBezTo>
                  <a:pt x="569" y="38"/>
                  <a:pt x="570" y="38"/>
                  <a:pt x="571" y="39"/>
                </a:cubicBezTo>
                <a:cubicBezTo>
                  <a:pt x="571" y="39"/>
                  <a:pt x="571" y="39"/>
                  <a:pt x="572" y="40"/>
                </a:cubicBezTo>
                <a:cubicBezTo>
                  <a:pt x="572" y="40"/>
                  <a:pt x="572" y="41"/>
                  <a:pt x="571" y="41"/>
                </a:cubicBezTo>
                <a:cubicBezTo>
                  <a:pt x="571" y="41"/>
                  <a:pt x="571" y="41"/>
                  <a:pt x="571" y="42"/>
                </a:cubicBezTo>
                <a:cubicBezTo>
                  <a:pt x="571" y="42"/>
                  <a:pt x="571" y="42"/>
                  <a:pt x="570" y="42"/>
                </a:cubicBezTo>
                <a:cubicBezTo>
                  <a:pt x="571" y="42"/>
                  <a:pt x="572" y="42"/>
                  <a:pt x="573" y="42"/>
                </a:cubicBezTo>
                <a:cubicBezTo>
                  <a:pt x="573" y="42"/>
                  <a:pt x="572" y="42"/>
                  <a:pt x="572" y="42"/>
                </a:cubicBezTo>
                <a:cubicBezTo>
                  <a:pt x="573" y="43"/>
                  <a:pt x="574" y="42"/>
                  <a:pt x="575" y="42"/>
                </a:cubicBezTo>
                <a:cubicBezTo>
                  <a:pt x="576" y="43"/>
                  <a:pt x="577" y="43"/>
                  <a:pt x="577" y="43"/>
                </a:cubicBezTo>
                <a:cubicBezTo>
                  <a:pt x="578" y="43"/>
                  <a:pt x="577" y="42"/>
                  <a:pt x="578" y="42"/>
                </a:cubicBezTo>
                <a:cubicBezTo>
                  <a:pt x="578" y="42"/>
                  <a:pt x="579" y="42"/>
                  <a:pt x="579" y="42"/>
                </a:cubicBezTo>
                <a:cubicBezTo>
                  <a:pt x="580" y="42"/>
                  <a:pt x="581" y="42"/>
                  <a:pt x="582" y="42"/>
                </a:cubicBezTo>
                <a:cubicBezTo>
                  <a:pt x="583" y="42"/>
                  <a:pt x="584" y="43"/>
                  <a:pt x="585" y="42"/>
                </a:cubicBezTo>
                <a:cubicBezTo>
                  <a:pt x="584" y="42"/>
                  <a:pt x="584" y="42"/>
                  <a:pt x="583" y="42"/>
                </a:cubicBezTo>
                <a:cubicBezTo>
                  <a:pt x="583" y="42"/>
                  <a:pt x="584" y="42"/>
                  <a:pt x="584" y="42"/>
                </a:cubicBezTo>
                <a:cubicBezTo>
                  <a:pt x="586" y="41"/>
                  <a:pt x="587" y="41"/>
                  <a:pt x="589" y="40"/>
                </a:cubicBezTo>
                <a:cubicBezTo>
                  <a:pt x="591" y="40"/>
                  <a:pt x="592" y="39"/>
                  <a:pt x="594" y="39"/>
                </a:cubicBezTo>
                <a:cubicBezTo>
                  <a:pt x="595" y="38"/>
                  <a:pt x="596" y="38"/>
                  <a:pt x="596" y="37"/>
                </a:cubicBezTo>
                <a:cubicBezTo>
                  <a:pt x="597" y="37"/>
                  <a:pt x="598" y="37"/>
                  <a:pt x="598" y="37"/>
                </a:cubicBezTo>
                <a:cubicBezTo>
                  <a:pt x="597" y="37"/>
                  <a:pt x="596" y="37"/>
                  <a:pt x="595" y="37"/>
                </a:cubicBezTo>
                <a:cubicBezTo>
                  <a:pt x="595" y="37"/>
                  <a:pt x="595" y="38"/>
                  <a:pt x="594" y="38"/>
                </a:cubicBezTo>
                <a:cubicBezTo>
                  <a:pt x="594" y="38"/>
                  <a:pt x="593" y="38"/>
                  <a:pt x="592" y="39"/>
                </a:cubicBezTo>
                <a:cubicBezTo>
                  <a:pt x="591" y="39"/>
                  <a:pt x="589" y="40"/>
                  <a:pt x="587" y="40"/>
                </a:cubicBezTo>
                <a:cubicBezTo>
                  <a:pt x="587" y="41"/>
                  <a:pt x="586" y="41"/>
                  <a:pt x="585" y="41"/>
                </a:cubicBezTo>
                <a:cubicBezTo>
                  <a:pt x="584" y="41"/>
                  <a:pt x="584" y="41"/>
                  <a:pt x="584" y="41"/>
                </a:cubicBezTo>
                <a:cubicBezTo>
                  <a:pt x="584" y="41"/>
                  <a:pt x="583" y="42"/>
                  <a:pt x="583" y="41"/>
                </a:cubicBezTo>
                <a:cubicBezTo>
                  <a:pt x="582" y="41"/>
                  <a:pt x="580" y="41"/>
                  <a:pt x="579" y="41"/>
                </a:cubicBezTo>
                <a:cubicBezTo>
                  <a:pt x="579" y="41"/>
                  <a:pt x="577" y="41"/>
                  <a:pt x="578" y="41"/>
                </a:cubicBezTo>
                <a:cubicBezTo>
                  <a:pt x="578" y="41"/>
                  <a:pt x="579" y="40"/>
                  <a:pt x="580" y="40"/>
                </a:cubicBezTo>
                <a:cubicBezTo>
                  <a:pt x="580" y="40"/>
                  <a:pt x="579" y="40"/>
                  <a:pt x="579" y="40"/>
                </a:cubicBezTo>
                <a:cubicBezTo>
                  <a:pt x="578" y="40"/>
                  <a:pt x="577" y="40"/>
                  <a:pt x="576" y="40"/>
                </a:cubicBezTo>
                <a:cubicBezTo>
                  <a:pt x="576" y="40"/>
                  <a:pt x="577" y="40"/>
                  <a:pt x="576" y="39"/>
                </a:cubicBezTo>
                <a:cubicBezTo>
                  <a:pt x="577" y="39"/>
                  <a:pt x="579" y="39"/>
                  <a:pt x="580" y="39"/>
                </a:cubicBezTo>
                <a:cubicBezTo>
                  <a:pt x="579" y="39"/>
                  <a:pt x="577" y="39"/>
                  <a:pt x="577" y="39"/>
                </a:cubicBezTo>
                <a:cubicBezTo>
                  <a:pt x="577" y="38"/>
                  <a:pt x="580" y="38"/>
                  <a:pt x="581" y="38"/>
                </a:cubicBezTo>
                <a:cubicBezTo>
                  <a:pt x="581" y="38"/>
                  <a:pt x="580" y="38"/>
                  <a:pt x="580" y="39"/>
                </a:cubicBezTo>
                <a:cubicBezTo>
                  <a:pt x="581" y="39"/>
                  <a:pt x="581" y="38"/>
                  <a:pt x="582" y="38"/>
                </a:cubicBezTo>
                <a:cubicBezTo>
                  <a:pt x="583" y="38"/>
                  <a:pt x="583" y="38"/>
                  <a:pt x="584" y="38"/>
                </a:cubicBezTo>
                <a:cubicBezTo>
                  <a:pt x="583" y="38"/>
                  <a:pt x="582" y="38"/>
                  <a:pt x="581" y="38"/>
                </a:cubicBezTo>
                <a:cubicBezTo>
                  <a:pt x="580" y="38"/>
                  <a:pt x="580" y="38"/>
                  <a:pt x="579" y="38"/>
                </a:cubicBezTo>
                <a:cubicBezTo>
                  <a:pt x="578" y="38"/>
                  <a:pt x="577" y="38"/>
                  <a:pt x="577" y="38"/>
                </a:cubicBezTo>
                <a:cubicBezTo>
                  <a:pt x="577" y="38"/>
                  <a:pt x="577" y="38"/>
                  <a:pt x="577" y="38"/>
                </a:cubicBezTo>
                <a:cubicBezTo>
                  <a:pt x="577" y="38"/>
                  <a:pt x="576" y="38"/>
                  <a:pt x="576" y="38"/>
                </a:cubicBezTo>
                <a:cubicBezTo>
                  <a:pt x="576" y="37"/>
                  <a:pt x="581" y="37"/>
                  <a:pt x="581" y="37"/>
                </a:cubicBezTo>
                <a:cubicBezTo>
                  <a:pt x="582" y="37"/>
                  <a:pt x="583" y="37"/>
                  <a:pt x="584" y="37"/>
                </a:cubicBezTo>
                <a:cubicBezTo>
                  <a:pt x="584" y="37"/>
                  <a:pt x="585" y="37"/>
                  <a:pt x="586" y="37"/>
                </a:cubicBezTo>
                <a:cubicBezTo>
                  <a:pt x="585" y="36"/>
                  <a:pt x="583" y="38"/>
                  <a:pt x="581" y="36"/>
                </a:cubicBezTo>
                <a:cubicBezTo>
                  <a:pt x="582" y="36"/>
                  <a:pt x="582" y="36"/>
                  <a:pt x="582" y="36"/>
                </a:cubicBezTo>
                <a:cubicBezTo>
                  <a:pt x="583" y="36"/>
                  <a:pt x="582" y="36"/>
                  <a:pt x="583" y="36"/>
                </a:cubicBezTo>
                <a:cubicBezTo>
                  <a:pt x="583" y="36"/>
                  <a:pt x="584" y="36"/>
                  <a:pt x="584" y="36"/>
                </a:cubicBezTo>
                <a:cubicBezTo>
                  <a:pt x="586" y="36"/>
                  <a:pt x="587" y="36"/>
                  <a:pt x="589" y="36"/>
                </a:cubicBezTo>
                <a:cubicBezTo>
                  <a:pt x="588" y="36"/>
                  <a:pt x="586" y="35"/>
                  <a:pt x="585" y="36"/>
                </a:cubicBezTo>
                <a:cubicBezTo>
                  <a:pt x="585" y="36"/>
                  <a:pt x="583" y="36"/>
                  <a:pt x="583" y="36"/>
                </a:cubicBezTo>
                <a:cubicBezTo>
                  <a:pt x="584" y="35"/>
                  <a:pt x="585" y="35"/>
                  <a:pt x="585" y="35"/>
                </a:cubicBezTo>
                <a:cubicBezTo>
                  <a:pt x="586" y="35"/>
                  <a:pt x="587" y="35"/>
                  <a:pt x="587" y="34"/>
                </a:cubicBezTo>
                <a:cubicBezTo>
                  <a:pt x="587" y="34"/>
                  <a:pt x="585" y="35"/>
                  <a:pt x="586" y="34"/>
                </a:cubicBezTo>
                <a:cubicBezTo>
                  <a:pt x="587" y="33"/>
                  <a:pt x="588" y="33"/>
                  <a:pt x="589" y="33"/>
                </a:cubicBezTo>
                <a:cubicBezTo>
                  <a:pt x="587" y="32"/>
                  <a:pt x="586" y="34"/>
                  <a:pt x="584" y="35"/>
                </a:cubicBezTo>
                <a:cubicBezTo>
                  <a:pt x="582" y="35"/>
                  <a:pt x="581" y="36"/>
                  <a:pt x="579" y="36"/>
                </a:cubicBezTo>
                <a:cubicBezTo>
                  <a:pt x="579" y="36"/>
                  <a:pt x="578" y="36"/>
                  <a:pt x="578" y="36"/>
                </a:cubicBezTo>
                <a:cubicBezTo>
                  <a:pt x="577" y="36"/>
                  <a:pt x="576" y="37"/>
                  <a:pt x="576" y="37"/>
                </a:cubicBezTo>
                <a:cubicBezTo>
                  <a:pt x="576" y="37"/>
                  <a:pt x="573" y="37"/>
                  <a:pt x="574" y="36"/>
                </a:cubicBezTo>
                <a:cubicBezTo>
                  <a:pt x="576" y="35"/>
                  <a:pt x="578" y="36"/>
                  <a:pt x="579" y="34"/>
                </a:cubicBezTo>
                <a:cubicBezTo>
                  <a:pt x="579" y="34"/>
                  <a:pt x="578" y="35"/>
                  <a:pt x="577" y="35"/>
                </a:cubicBezTo>
                <a:cubicBezTo>
                  <a:pt x="576" y="35"/>
                  <a:pt x="576" y="36"/>
                  <a:pt x="575" y="36"/>
                </a:cubicBezTo>
                <a:cubicBezTo>
                  <a:pt x="575" y="36"/>
                  <a:pt x="574" y="35"/>
                  <a:pt x="574" y="36"/>
                </a:cubicBezTo>
                <a:cubicBezTo>
                  <a:pt x="571" y="36"/>
                  <a:pt x="569" y="37"/>
                  <a:pt x="567" y="36"/>
                </a:cubicBezTo>
                <a:cubicBezTo>
                  <a:pt x="568" y="36"/>
                  <a:pt x="569" y="36"/>
                  <a:pt x="570" y="36"/>
                </a:cubicBezTo>
                <a:cubicBezTo>
                  <a:pt x="570" y="36"/>
                  <a:pt x="568" y="36"/>
                  <a:pt x="568" y="35"/>
                </a:cubicBezTo>
                <a:cubicBezTo>
                  <a:pt x="568" y="35"/>
                  <a:pt x="569" y="34"/>
                  <a:pt x="569" y="34"/>
                </a:cubicBezTo>
                <a:cubicBezTo>
                  <a:pt x="570" y="34"/>
                  <a:pt x="570" y="34"/>
                  <a:pt x="571" y="33"/>
                </a:cubicBezTo>
                <a:cubicBezTo>
                  <a:pt x="572" y="33"/>
                  <a:pt x="573" y="33"/>
                  <a:pt x="574" y="33"/>
                </a:cubicBezTo>
                <a:cubicBezTo>
                  <a:pt x="574" y="33"/>
                  <a:pt x="575" y="33"/>
                  <a:pt x="575" y="33"/>
                </a:cubicBezTo>
                <a:cubicBezTo>
                  <a:pt x="575" y="33"/>
                  <a:pt x="574" y="33"/>
                  <a:pt x="574" y="33"/>
                </a:cubicBezTo>
                <a:cubicBezTo>
                  <a:pt x="574" y="32"/>
                  <a:pt x="575" y="32"/>
                  <a:pt x="576" y="32"/>
                </a:cubicBezTo>
                <a:cubicBezTo>
                  <a:pt x="577" y="31"/>
                  <a:pt x="578" y="31"/>
                  <a:pt x="579" y="31"/>
                </a:cubicBezTo>
                <a:cubicBezTo>
                  <a:pt x="581" y="31"/>
                  <a:pt x="583" y="31"/>
                  <a:pt x="585" y="31"/>
                </a:cubicBezTo>
                <a:cubicBezTo>
                  <a:pt x="586" y="30"/>
                  <a:pt x="588" y="30"/>
                  <a:pt x="590" y="30"/>
                </a:cubicBezTo>
                <a:cubicBezTo>
                  <a:pt x="592" y="30"/>
                  <a:pt x="593" y="30"/>
                  <a:pt x="595" y="30"/>
                </a:cubicBezTo>
                <a:cubicBezTo>
                  <a:pt x="597" y="31"/>
                  <a:pt x="598" y="31"/>
                  <a:pt x="600" y="32"/>
                </a:cubicBezTo>
                <a:cubicBezTo>
                  <a:pt x="600" y="32"/>
                  <a:pt x="601" y="32"/>
                  <a:pt x="601" y="32"/>
                </a:cubicBezTo>
                <a:cubicBezTo>
                  <a:pt x="602" y="32"/>
                  <a:pt x="601" y="32"/>
                  <a:pt x="602" y="32"/>
                </a:cubicBezTo>
                <a:cubicBezTo>
                  <a:pt x="602" y="33"/>
                  <a:pt x="603" y="33"/>
                  <a:pt x="604" y="33"/>
                </a:cubicBezTo>
                <a:cubicBezTo>
                  <a:pt x="604" y="32"/>
                  <a:pt x="602" y="32"/>
                  <a:pt x="603" y="32"/>
                </a:cubicBezTo>
                <a:cubicBezTo>
                  <a:pt x="604" y="32"/>
                  <a:pt x="605" y="32"/>
                  <a:pt x="605" y="31"/>
                </a:cubicBezTo>
                <a:cubicBezTo>
                  <a:pt x="604" y="31"/>
                  <a:pt x="603" y="32"/>
                  <a:pt x="602" y="31"/>
                </a:cubicBezTo>
                <a:cubicBezTo>
                  <a:pt x="601" y="31"/>
                  <a:pt x="601" y="31"/>
                  <a:pt x="600" y="31"/>
                </a:cubicBezTo>
                <a:cubicBezTo>
                  <a:pt x="600" y="31"/>
                  <a:pt x="600" y="31"/>
                  <a:pt x="600" y="31"/>
                </a:cubicBezTo>
                <a:cubicBezTo>
                  <a:pt x="602" y="30"/>
                  <a:pt x="603" y="31"/>
                  <a:pt x="605" y="31"/>
                </a:cubicBezTo>
                <a:cubicBezTo>
                  <a:pt x="606" y="31"/>
                  <a:pt x="608" y="30"/>
                  <a:pt x="609" y="30"/>
                </a:cubicBezTo>
                <a:cubicBezTo>
                  <a:pt x="609" y="30"/>
                  <a:pt x="609" y="30"/>
                  <a:pt x="609" y="31"/>
                </a:cubicBezTo>
                <a:cubicBezTo>
                  <a:pt x="609" y="31"/>
                  <a:pt x="611" y="30"/>
                  <a:pt x="610" y="30"/>
                </a:cubicBezTo>
                <a:cubicBezTo>
                  <a:pt x="611" y="29"/>
                  <a:pt x="612" y="29"/>
                  <a:pt x="613" y="29"/>
                </a:cubicBezTo>
                <a:cubicBezTo>
                  <a:pt x="612" y="29"/>
                  <a:pt x="610" y="29"/>
                  <a:pt x="609" y="29"/>
                </a:cubicBezTo>
                <a:cubicBezTo>
                  <a:pt x="608" y="30"/>
                  <a:pt x="607" y="30"/>
                  <a:pt x="605" y="30"/>
                </a:cubicBezTo>
                <a:cubicBezTo>
                  <a:pt x="603" y="30"/>
                  <a:pt x="602" y="30"/>
                  <a:pt x="601" y="30"/>
                </a:cubicBezTo>
                <a:cubicBezTo>
                  <a:pt x="599" y="30"/>
                  <a:pt x="598" y="30"/>
                  <a:pt x="597" y="30"/>
                </a:cubicBezTo>
                <a:cubicBezTo>
                  <a:pt x="596" y="30"/>
                  <a:pt x="593" y="30"/>
                  <a:pt x="593" y="29"/>
                </a:cubicBezTo>
                <a:cubicBezTo>
                  <a:pt x="592" y="29"/>
                  <a:pt x="594" y="28"/>
                  <a:pt x="594" y="28"/>
                </a:cubicBezTo>
                <a:cubicBezTo>
                  <a:pt x="595" y="28"/>
                  <a:pt x="597" y="28"/>
                  <a:pt x="598" y="29"/>
                </a:cubicBezTo>
                <a:cubicBezTo>
                  <a:pt x="597" y="29"/>
                  <a:pt x="598" y="29"/>
                  <a:pt x="599" y="29"/>
                </a:cubicBezTo>
                <a:cubicBezTo>
                  <a:pt x="599" y="29"/>
                  <a:pt x="601" y="29"/>
                  <a:pt x="601" y="29"/>
                </a:cubicBezTo>
                <a:cubicBezTo>
                  <a:pt x="601" y="29"/>
                  <a:pt x="601" y="29"/>
                  <a:pt x="600" y="29"/>
                </a:cubicBezTo>
                <a:cubicBezTo>
                  <a:pt x="600" y="29"/>
                  <a:pt x="600" y="29"/>
                  <a:pt x="599" y="29"/>
                </a:cubicBezTo>
                <a:cubicBezTo>
                  <a:pt x="599" y="28"/>
                  <a:pt x="598" y="28"/>
                  <a:pt x="598" y="28"/>
                </a:cubicBezTo>
                <a:cubicBezTo>
                  <a:pt x="598" y="28"/>
                  <a:pt x="598" y="28"/>
                  <a:pt x="598" y="28"/>
                </a:cubicBezTo>
                <a:cubicBezTo>
                  <a:pt x="598" y="28"/>
                  <a:pt x="598" y="28"/>
                  <a:pt x="598" y="28"/>
                </a:cubicBezTo>
                <a:cubicBezTo>
                  <a:pt x="599" y="28"/>
                  <a:pt x="599" y="28"/>
                  <a:pt x="599" y="28"/>
                </a:cubicBezTo>
                <a:cubicBezTo>
                  <a:pt x="598" y="27"/>
                  <a:pt x="598" y="28"/>
                  <a:pt x="597" y="28"/>
                </a:cubicBezTo>
                <a:cubicBezTo>
                  <a:pt x="597" y="28"/>
                  <a:pt x="597" y="27"/>
                  <a:pt x="597" y="27"/>
                </a:cubicBezTo>
                <a:cubicBezTo>
                  <a:pt x="598" y="27"/>
                  <a:pt x="598" y="26"/>
                  <a:pt x="597" y="26"/>
                </a:cubicBezTo>
                <a:cubicBezTo>
                  <a:pt x="597" y="26"/>
                  <a:pt x="597" y="26"/>
                  <a:pt x="596" y="26"/>
                </a:cubicBezTo>
                <a:cubicBezTo>
                  <a:pt x="596" y="25"/>
                  <a:pt x="596" y="25"/>
                  <a:pt x="596" y="25"/>
                </a:cubicBezTo>
                <a:cubicBezTo>
                  <a:pt x="596" y="24"/>
                  <a:pt x="592" y="24"/>
                  <a:pt x="591" y="24"/>
                </a:cubicBezTo>
                <a:cubicBezTo>
                  <a:pt x="591" y="24"/>
                  <a:pt x="590" y="24"/>
                  <a:pt x="589" y="24"/>
                </a:cubicBezTo>
                <a:cubicBezTo>
                  <a:pt x="589" y="23"/>
                  <a:pt x="590" y="23"/>
                  <a:pt x="590" y="23"/>
                </a:cubicBezTo>
                <a:cubicBezTo>
                  <a:pt x="590" y="22"/>
                  <a:pt x="592" y="22"/>
                  <a:pt x="593" y="22"/>
                </a:cubicBezTo>
                <a:cubicBezTo>
                  <a:pt x="593" y="22"/>
                  <a:pt x="594" y="22"/>
                  <a:pt x="594" y="22"/>
                </a:cubicBezTo>
                <a:cubicBezTo>
                  <a:pt x="595" y="22"/>
                  <a:pt x="596" y="22"/>
                  <a:pt x="596" y="22"/>
                </a:cubicBezTo>
                <a:cubicBezTo>
                  <a:pt x="597" y="22"/>
                  <a:pt x="597" y="23"/>
                  <a:pt x="598" y="22"/>
                </a:cubicBezTo>
                <a:cubicBezTo>
                  <a:pt x="597" y="22"/>
                  <a:pt x="595" y="22"/>
                  <a:pt x="594" y="22"/>
                </a:cubicBezTo>
                <a:cubicBezTo>
                  <a:pt x="593" y="22"/>
                  <a:pt x="591" y="22"/>
                  <a:pt x="592" y="21"/>
                </a:cubicBezTo>
                <a:cubicBezTo>
                  <a:pt x="592" y="20"/>
                  <a:pt x="594" y="20"/>
                  <a:pt x="594" y="19"/>
                </a:cubicBezTo>
                <a:cubicBezTo>
                  <a:pt x="596" y="19"/>
                  <a:pt x="598" y="19"/>
                  <a:pt x="599" y="19"/>
                </a:cubicBezTo>
                <a:cubicBezTo>
                  <a:pt x="601" y="20"/>
                  <a:pt x="603" y="20"/>
                  <a:pt x="605" y="20"/>
                </a:cubicBezTo>
                <a:cubicBezTo>
                  <a:pt x="606" y="20"/>
                  <a:pt x="607" y="20"/>
                  <a:pt x="607" y="20"/>
                </a:cubicBezTo>
                <a:cubicBezTo>
                  <a:pt x="609" y="20"/>
                  <a:pt x="610" y="20"/>
                  <a:pt x="611" y="20"/>
                </a:cubicBezTo>
                <a:cubicBezTo>
                  <a:pt x="612" y="21"/>
                  <a:pt x="612" y="21"/>
                  <a:pt x="613" y="21"/>
                </a:cubicBezTo>
                <a:cubicBezTo>
                  <a:pt x="614" y="22"/>
                  <a:pt x="615" y="22"/>
                  <a:pt x="616" y="22"/>
                </a:cubicBezTo>
                <a:cubicBezTo>
                  <a:pt x="616" y="23"/>
                  <a:pt x="616" y="23"/>
                  <a:pt x="616" y="23"/>
                </a:cubicBezTo>
                <a:cubicBezTo>
                  <a:pt x="616" y="24"/>
                  <a:pt x="617" y="24"/>
                  <a:pt x="618" y="24"/>
                </a:cubicBezTo>
                <a:cubicBezTo>
                  <a:pt x="617" y="24"/>
                  <a:pt x="617" y="24"/>
                  <a:pt x="617" y="25"/>
                </a:cubicBezTo>
                <a:cubicBezTo>
                  <a:pt x="617" y="25"/>
                  <a:pt x="616" y="24"/>
                  <a:pt x="616" y="25"/>
                </a:cubicBezTo>
                <a:cubicBezTo>
                  <a:pt x="616" y="25"/>
                  <a:pt x="618" y="25"/>
                  <a:pt x="618" y="24"/>
                </a:cubicBezTo>
                <a:cubicBezTo>
                  <a:pt x="620" y="24"/>
                  <a:pt x="621" y="25"/>
                  <a:pt x="623" y="25"/>
                </a:cubicBezTo>
                <a:cubicBezTo>
                  <a:pt x="624" y="25"/>
                  <a:pt x="624" y="25"/>
                  <a:pt x="625" y="24"/>
                </a:cubicBezTo>
                <a:cubicBezTo>
                  <a:pt x="627" y="24"/>
                  <a:pt x="628" y="24"/>
                  <a:pt x="629" y="24"/>
                </a:cubicBezTo>
                <a:cubicBezTo>
                  <a:pt x="627" y="24"/>
                  <a:pt x="625" y="24"/>
                  <a:pt x="623" y="24"/>
                </a:cubicBezTo>
                <a:cubicBezTo>
                  <a:pt x="623" y="24"/>
                  <a:pt x="622" y="24"/>
                  <a:pt x="621" y="24"/>
                </a:cubicBezTo>
                <a:cubicBezTo>
                  <a:pt x="620" y="24"/>
                  <a:pt x="620" y="24"/>
                  <a:pt x="619" y="24"/>
                </a:cubicBezTo>
                <a:cubicBezTo>
                  <a:pt x="619" y="24"/>
                  <a:pt x="619" y="24"/>
                  <a:pt x="619" y="24"/>
                </a:cubicBezTo>
                <a:cubicBezTo>
                  <a:pt x="619" y="24"/>
                  <a:pt x="619" y="23"/>
                  <a:pt x="619" y="23"/>
                </a:cubicBezTo>
                <a:cubicBezTo>
                  <a:pt x="619" y="23"/>
                  <a:pt x="619" y="23"/>
                  <a:pt x="619" y="23"/>
                </a:cubicBezTo>
                <a:cubicBezTo>
                  <a:pt x="620" y="23"/>
                  <a:pt x="619" y="23"/>
                  <a:pt x="620" y="22"/>
                </a:cubicBezTo>
                <a:cubicBezTo>
                  <a:pt x="620" y="22"/>
                  <a:pt x="621" y="22"/>
                  <a:pt x="622" y="22"/>
                </a:cubicBezTo>
                <a:cubicBezTo>
                  <a:pt x="620" y="22"/>
                  <a:pt x="619" y="22"/>
                  <a:pt x="617" y="21"/>
                </a:cubicBezTo>
                <a:cubicBezTo>
                  <a:pt x="617" y="21"/>
                  <a:pt x="616" y="21"/>
                  <a:pt x="616" y="20"/>
                </a:cubicBezTo>
                <a:cubicBezTo>
                  <a:pt x="615" y="20"/>
                  <a:pt x="615" y="20"/>
                  <a:pt x="615" y="20"/>
                </a:cubicBezTo>
                <a:cubicBezTo>
                  <a:pt x="615" y="19"/>
                  <a:pt x="615" y="20"/>
                  <a:pt x="614" y="19"/>
                </a:cubicBezTo>
                <a:cubicBezTo>
                  <a:pt x="615" y="19"/>
                  <a:pt x="617" y="19"/>
                  <a:pt x="618" y="19"/>
                </a:cubicBezTo>
                <a:cubicBezTo>
                  <a:pt x="620" y="19"/>
                  <a:pt x="621" y="19"/>
                  <a:pt x="623" y="19"/>
                </a:cubicBezTo>
                <a:cubicBezTo>
                  <a:pt x="626" y="19"/>
                  <a:pt x="629" y="18"/>
                  <a:pt x="632" y="18"/>
                </a:cubicBezTo>
                <a:cubicBezTo>
                  <a:pt x="633" y="18"/>
                  <a:pt x="633" y="18"/>
                  <a:pt x="633" y="18"/>
                </a:cubicBezTo>
                <a:cubicBezTo>
                  <a:pt x="634" y="18"/>
                  <a:pt x="635" y="18"/>
                  <a:pt x="635" y="18"/>
                </a:cubicBezTo>
                <a:cubicBezTo>
                  <a:pt x="637" y="18"/>
                  <a:pt x="638" y="18"/>
                  <a:pt x="640" y="18"/>
                </a:cubicBezTo>
                <a:cubicBezTo>
                  <a:pt x="642" y="18"/>
                  <a:pt x="643" y="18"/>
                  <a:pt x="645" y="17"/>
                </a:cubicBezTo>
                <a:cubicBezTo>
                  <a:pt x="646" y="17"/>
                  <a:pt x="647" y="18"/>
                  <a:pt x="648" y="17"/>
                </a:cubicBezTo>
                <a:cubicBezTo>
                  <a:pt x="646" y="17"/>
                  <a:pt x="644" y="17"/>
                  <a:pt x="642" y="17"/>
                </a:cubicBezTo>
                <a:cubicBezTo>
                  <a:pt x="640" y="17"/>
                  <a:pt x="638" y="18"/>
                  <a:pt x="637" y="17"/>
                </a:cubicBezTo>
                <a:cubicBezTo>
                  <a:pt x="638" y="17"/>
                  <a:pt x="640" y="17"/>
                  <a:pt x="642" y="16"/>
                </a:cubicBezTo>
                <a:cubicBezTo>
                  <a:pt x="644" y="16"/>
                  <a:pt x="646" y="16"/>
                  <a:pt x="648" y="16"/>
                </a:cubicBezTo>
                <a:cubicBezTo>
                  <a:pt x="650" y="16"/>
                  <a:pt x="652" y="16"/>
                  <a:pt x="654" y="16"/>
                </a:cubicBezTo>
                <a:cubicBezTo>
                  <a:pt x="655" y="16"/>
                  <a:pt x="656" y="15"/>
                  <a:pt x="657" y="15"/>
                </a:cubicBezTo>
                <a:cubicBezTo>
                  <a:pt x="658" y="16"/>
                  <a:pt x="659" y="16"/>
                  <a:pt x="660" y="15"/>
                </a:cubicBezTo>
                <a:cubicBezTo>
                  <a:pt x="659" y="15"/>
                  <a:pt x="657" y="15"/>
                  <a:pt x="656" y="15"/>
                </a:cubicBezTo>
                <a:cubicBezTo>
                  <a:pt x="655" y="15"/>
                  <a:pt x="654" y="15"/>
                  <a:pt x="652" y="15"/>
                </a:cubicBezTo>
                <a:cubicBezTo>
                  <a:pt x="651" y="15"/>
                  <a:pt x="649" y="15"/>
                  <a:pt x="648" y="15"/>
                </a:cubicBezTo>
                <a:cubicBezTo>
                  <a:pt x="648" y="15"/>
                  <a:pt x="645" y="15"/>
                  <a:pt x="645" y="15"/>
                </a:cubicBezTo>
                <a:cubicBezTo>
                  <a:pt x="645" y="15"/>
                  <a:pt x="645" y="15"/>
                  <a:pt x="645" y="15"/>
                </a:cubicBezTo>
                <a:cubicBezTo>
                  <a:pt x="646" y="15"/>
                  <a:pt x="646" y="15"/>
                  <a:pt x="646" y="14"/>
                </a:cubicBezTo>
                <a:cubicBezTo>
                  <a:pt x="646" y="14"/>
                  <a:pt x="647" y="14"/>
                  <a:pt x="647" y="14"/>
                </a:cubicBezTo>
                <a:cubicBezTo>
                  <a:pt x="648" y="14"/>
                  <a:pt x="649" y="14"/>
                  <a:pt x="649" y="14"/>
                </a:cubicBezTo>
                <a:cubicBezTo>
                  <a:pt x="649" y="14"/>
                  <a:pt x="651" y="13"/>
                  <a:pt x="650" y="13"/>
                </a:cubicBezTo>
                <a:cubicBezTo>
                  <a:pt x="651" y="13"/>
                  <a:pt x="651" y="13"/>
                  <a:pt x="652" y="13"/>
                </a:cubicBezTo>
                <a:cubicBezTo>
                  <a:pt x="653" y="13"/>
                  <a:pt x="653" y="13"/>
                  <a:pt x="654" y="12"/>
                </a:cubicBezTo>
                <a:cubicBezTo>
                  <a:pt x="654" y="12"/>
                  <a:pt x="653" y="12"/>
                  <a:pt x="653" y="12"/>
                </a:cubicBezTo>
                <a:cubicBezTo>
                  <a:pt x="656" y="12"/>
                  <a:pt x="659" y="12"/>
                  <a:pt x="661" y="11"/>
                </a:cubicBezTo>
                <a:cubicBezTo>
                  <a:pt x="660" y="11"/>
                  <a:pt x="659" y="11"/>
                  <a:pt x="658" y="12"/>
                </a:cubicBezTo>
                <a:cubicBezTo>
                  <a:pt x="656" y="12"/>
                  <a:pt x="655" y="12"/>
                  <a:pt x="654" y="12"/>
                </a:cubicBezTo>
                <a:cubicBezTo>
                  <a:pt x="654" y="12"/>
                  <a:pt x="654" y="12"/>
                  <a:pt x="655" y="12"/>
                </a:cubicBezTo>
                <a:cubicBezTo>
                  <a:pt x="653" y="12"/>
                  <a:pt x="652" y="13"/>
                  <a:pt x="651" y="13"/>
                </a:cubicBezTo>
                <a:cubicBezTo>
                  <a:pt x="651" y="13"/>
                  <a:pt x="648" y="13"/>
                  <a:pt x="648" y="13"/>
                </a:cubicBezTo>
                <a:cubicBezTo>
                  <a:pt x="648" y="14"/>
                  <a:pt x="647" y="14"/>
                  <a:pt x="646" y="13"/>
                </a:cubicBezTo>
                <a:cubicBezTo>
                  <a:pt x="646" y="13"/>
                  <a:pt x="645" y="13"/>
                  <a:pt x="644" y="13"/>
                </a:cubicBezTo>
                <a:cubicBezTo>
                  <a:pt x="645" y="13"/>
                  <a:pt x="645" y="13"/>
                  <a:pt x="646" y="14"/>
                </a:cubicBezTo>
                <a:cubicBezTo>
                  <a:pt x="645" y="14"/>
                  <a:pt x="644" y="14"/>
                  <a:pt x="644" y="14"/>
                </a:cubicBezTo>
                <a:cubicBezTo>
                  <a:pt x="644" y="14"/>
                  <a:pt x="644" y="14"/>
                  <a:pt x="644" y="14"/>
                </a:cubicBezTo>
                <a:cubicBezTo>
                  <a:pt x="644" y="15"/>
                  <a:pt x="643" y="15"/>
                  <a:pt x="642" y="15"/>
                </a:cubicBezTo>
                <a:cubicBezTo>
                  <a:pt x="641" y="16"/>
                  <a:pt x="640" y="16"/>
                  <a:pt x="639" y="16"/>
                </a:cubicBezTo>
                <a:cubicBezTo>
                  <a:pt x="636" y="16"/>
                  <a:pt x="634" y="16"/>
                  <a:pt x="631" y="17"/>
                </a:cubicBezTo>
                <a:cubicBezTo>
                  <a:pt x="629" y="17"/>
                  <a:pt x="626" y="17"/>
                  <a:pt x="624" y="17"/>
                </a:cubicBezTo>
                <a:cubicBezTo>
                  <a:pt x="623" y="17"/>
                  <a:pt x="621" y="18"/>
                  <a:pt x="620" y="18"/>
                </a:cubicBezTo>
                <a:cubicBezTo>
                  <a:pt x="620" y="18"/>
                  <a:pt x="617" y="18"/>
                  <a:pt x="617" y="18"/>
                </a:cubicBezTo>
                <a:cubicBezTo>
                  <a:pt x="617" y="17"/>
                  <a:pt x="620" y="17"/>
                  <a:pt x="621" y="17"/>
                </a:cubicBezTo>
                <a:cubicBezTo>
                  <a:pt x="623" y="16"/>
                  <a:pt x="625" y="16"/>
                  <a:pt x="628" y="16"/>
                </a:cubicBezTo>
                <a:cubicBezTo>
                  <a:pt x="626" y="15"/>
                  <a:pt x="624" y="16"/>
                  <a:pt x="622" y="16"/>
                </a:cubicBezTo>
                <a:cubicBezTo>
                  <a:pt x="621" y="16"/>
                  <a:pt x="620" y="16"/>
                  <a:pt x="619" y="16"/>
                </a:cubicBezTo>
                <a:cubicBezTo>
                  <a:pt x="618" y="17"/>
                  <a:pt x="617" y="17"/>
                  <a:pt x="616" y="16"/>
                </a:cubicBezTo>
                <a:cubicBezTo>
                  <a:pt x="616" y="16"/>
                  <a:pt x="617" y="16"/>
                  <a:pt x="617" y="16"/>
                </a:cubicBezTo>
                <a:cubicBezTo>
                  <a:pt x="618" y="16"/>
                  <a:pt x="619" y="16"/>
                  <a:pt x="620" y="16"/>
                </a:cubicBezTo>
                <a:cubicBezTo>
                  <a:pt x="619" y="15"/>
                  <a:pt x="618" y="16"/>
                  <a:pt x="618" y="16"/>
                </a:cubicBezTo>
                <a:cubicBezTo>
                  <a:pt x="617" y="16"/>
                  <a:pt x="616" y="16"/>
                  <a:pt x="615" y="16"/>
                </a:cubicBezTo>
                <a:cubicBezTo>
                  <a:pt x="615" y="16"/>
                  <a:pt x="614" y="17"/>
                  <a:pt x="613" y="17"/>
                </a:cubicBezTo>
                <a:cubicBezTo>
                  <a:pt x="612" y="18"/>
                  <a:pt x="611" y="18"/>
                  <a:pt x="610" y="18"/>
                </a:cubicBezTo>
                <a:cubicBezTo>
                  <a:pt x="607" y="18"/>
                  <a:pt x="603" y="18"/>
                  <a:pt x="601" y="18"/>
                </a:cubicBezTo>
                <a:cubicBezTo>
                  <a:pt x="601" y="17"/>
                  <a:pt x="602" y="17"/>
                  <a:pt x="603" y="17"/>
                </a:cubicBezTo>
                <a:cubicBezTo>
                  <a:pt x="601" y="17"/>
                  <a:pt x="598" y="19"/>
                  <a:pt x="596" y="17"/>
                </a:cubicBezTo>
                <a:cubicBezTo>
                  <a:pt x="598" y="16"/>
                  <a:pt x="600" y="16"/>
                  <a:pt x="602" y="15"/>
                </a:cubicBezTo>
                <a:cubicBezTo>
                  <a:pt x="605" y="15"/>
                  <a:pt x="608" y="14"/>
                  <a:pt x="610" y="14"/>
                </a:cubicBezTo>
                <a:cubicBezTo>
                  <a:pt x="613" y="14"/>
                  <a:pt x="616" y="14"/>
                  <a:pt x="619" y="14"/>
                </a:cubicBezTo>
                <a:cubicBezTo>
                  <a:pt x="622" y="13"/>
                  <a:pt x="625" y="14"/>
                  <a:pt x="627" y="13"/>
                </a:cubicBezTo>
                <a:cubicBezTo>
                  <a:pt x="624" y="13"/>
                  <a:pt x="622" y="13"/>
                  <a:pt x="619" y="13"/>
                </a:cubicBezTo>
                <a:cubicBezTo>
                  <a:pt x="616" y="14"/>
                  <a:pt x="613" y="14"/>
                  <a:pt x="610" y="14"/>
                </a:cubicBezTo>
                <a:cubicBezTo>
                  <a:pt x="607" y="14"/>
                  <a:pt x="604" y="14"/>
                  <a:pt x="601" y="15"/>
                </a:cubicBezTo>
                <a:cubicBezTo>
                  <a:pt x="600" y="15"/>
                  <a:pt x="598" y="16"/>
                  <a:pt x="597" y="16"/>
                </a:cubicBezTo>
                <a:cubicBezTo>
                  <a:pt x="596" y="16"/>
                  <a:pt x="594" y="17"/>
                  <a:pt x="593" y="17"/>
                </a:cubicBezTo>
                <a:cubicBezTo>
                  <a:pt x="590" y="17"/>
                  <a:pt x="587" y="16"/>
                  <a:pt x="584" y="16"/>
                </a:cubicBezTo>
                <a:cubicBezTo>
                  <a:pt x="584" y="16"/>
                  <a:pt x="582" y="15"/>
                  <a:pt x="584" y="15"/>
                </a:cubicBezTo>
                <a:cubicBezTo>
                  <a:pt x="585" y="14"/>
                  <a:pt x="586" y="15"/>
                  <a:pt x="588" y="14"/>
                </a:cubicBezTo>
                <a:cubicBezTo>
                  <a:pt x="591" y="14"/>
                  <a:pt x="594" y="15"/>
                  <a:pt x="597" y="14"/>
                </a:cubicBezTo>
                <a:cubicBezTo>
                  <a:pt x="600" y="14"/>
                  <a:pt x="603" y="14"/>
                  <a:pt x="606" y="14"/>
                </a:cubicBezTo>
                <a:cubicBezTo>
                  <a:pt x="605" y="14"/>
                  <a:pt x="606" y="13"/>
                  <a:pt x="606" y="13"/>
                </a:cubicBezTo>
                <a:cubicBezTo>
                  <a:pt x="607" y="13"/>
                  <a:pt x="608" y="13"/>
                  <a:pt x="609" y="13"/>
                </a:cubicBezTo>
                <a:cubicBezTo>
                  <a:pt x="610" y="13"/>
                  <a:pt x="611" y="13"/>
                  <a:pt x="611" y="13"/>
                </a:cubicBezTo>
                <a:cubicBezTo>
                  <a:pt x="612" y="13"/>
                  <a:pt x="613" y="13"/>
                  <a:pt x="614" y="12"/>
                </a:cubicBezTo>
                <a:cubicBezTo>
                  <a:pt x="610" y="12"/>
                  <a:pt x="606" y="13"/>
                  <a:pt x="602" y="14"/>
                </a:cubicBezTo>
                <a:cubicBezTo>
                  <a:pt x="597" y="14"/>
                  <a:pt x="593" y="14"/>
                  <a:pt x="589" y="14"/>
                </a:cubicBezTo>
                <a:cubicBezTo>
                  <a:pt x="586" y="14"/>
                  <a:pt x="584" y="14"/>
                  <a:pt x="582" y="14"/>
                </a:cubicBezTo>
                <a:cubicBezTo>
                  <a:pt x="582" y="14"/>
                  <a:pt x="579" y="14"/>
                  <a:pt x="580" y="13"/>
                </a:cubicBezTo>
                <a:cubicBezTo>
                  <a:pt x="581" y="13"/>
                  <a:pt x="582" y="13"/>
                  <a:pt x="583" y="13"/>
                </a:cubicBezTo>
                <a:cubicBezTo>
                  <a:pt x="584" y="13"/>
                  <a:pt x="585" y="13"/>
                  <a:pt x="585" y="13"/>
                </a:cubicBezTo>
                <a:cubicBezTo>
                  <a:pt x="587" y="13"/>
                  <a:pt x="588" y="13"/>
                  <a:pt x="589" y="13"/>
                </a:cubicBezTo>
                <a:cubicBezTo>
                  <a:pt x="588" y="12"/>
                  <a:pt x="585" y="13"/>
                  <a:pt x="584" y="12"/>
                </a:cubicBezTo>
                <a:cubicBezTo>
                  <a:pt x="585" y="12"/>
                  <a:pt x="586" y="12"/>
                  <a:pt x="587" y="12"/>
                </a:cubicBezTo>
                <a:cubicBezTo>
                  <a:pt x="589" y="11"/>
                  <a:pt x="590" y="11"/>
                  <a:pt x="592" y="11"/>
                </a:cubicBezTo>
                <a:cubicBezTo>
                  <a:pt x="591" y="11"/>
                  <a:pt x="592" y="11"/>
                  <a:pt x="593" y="11"/>
                </a:cubicBezTo>
                <a:cubicBezTo>
                  <a:pt x="593" y="11"/>
                  <a:pt x="594" y="11"/>
                  <a:pt x="594" y="11"/>
                </a:cubicBezTo>
                <a:cubicBezTo>
                  <a:pt x="595" y="11"/>
                  <a:pt x="597" y="10"/>
                  <a:pt x="598" y="11"/>
                </a:cubicBezTo>
                <a:cubicBezTo>
                  <a:pt x="597" y="11"/>
                  <a:pt x="599" y="11"/>
                  <a:pt x="599" y="11"/>
                </a:cubicBezTo>
                <a:cubicBezTo>
                  <a:pt x="600" y="11"/>
                  <a:pt x="601" y="11"/>
                  <a:pt x="601" y="11"/>
                </a:cubicBezTo>
                <a:cubicBezTo>
                  <a:pt x="601" y="10"/>
                  <a:pt x="600" y="11"/>
                  <a:pt x="600" y="11"/>
                </a:cubicBezTo>
                <a:cubicBezTo>
                  <a:pt x="599" y="11"/>
                  <a:pt x="598" y="10"/>
                  <a:pt x="597" y="10"/>
                </a:cubicBezTo>
                <a:cubicBezTo>
                  <a:pt x="595" y="10"/>
                  <a:pt x="593" y="10"/>
                  <a:pt x="591" y="11"/>
                </a:cubicBezTo>
                <a:cubicBezTo>
                  <a:pt x="589" y="11"/>
                  <a:pt x="587" y="11"/>
                  <a:pt x="585" y="11"/>
                </a:cubicBezTo>
                <a:cubicBezTo>
                  <a:pt x="584" y="11"/>
                  <a:pt x="583" y="12"/>
                  <a:pt x="583" y="12"/>
                </a:cubicBezTo>
                <a:cubicBezTo>
                  <a:pt x="582" y="12"/>
                  <a:pt x="580" y="12"/>
                  <a:pt x="581" y="12"/>
                </a:cubicBezTo>
                <a:cubicBezTo>
                  <a:pt x="581" y="11"/>
                  <a:pt x="580" y="12"/>
                  <a:pt x="580" y="11"/>
                </a:cubicBezTo>
                <a:cubicBezTo>
                  <a:pt x="581" y="11"/>
                  <a:pt x="583" y="11"/>
                  <a:pt x="584" y="10"/>
                </a:cubicBezTo>
                <a:cubicBezTo>
                  <a:pt x="585" y="10"/>
                  <a:pt x="586" y="10"/>
                  <a:pt x="587" y="10"/>
                </a:cubicBezTo>
                <a:cubicBezTo>
                  <a:pt x="587" y="10"/>
                  <a:pt x="588" y="10"/>
                  <a:pt x="589" y="10"/>
                </a:cubicBezTo>
                <a:cubicBezTo>
                  <a:pt x="588" y="10"/>
                  <a:pt x="587" y="10"/>
                  <a:pt x="586" y="10"/>
                </a:cubicBezTo>
                <a:cubicBezTo>
                  <a:pt x="587" y="10"/>
                  <a:pt x="585" y="9"/>
                  <a:pt x="585" y="10"/>
                </a:cubicBezTo>
                <a:cubicBezTo>
                  <a:pt x="585" y="10"/>
                  <a:pt x="583" y="10"/>
                  <a:pt x="583" y="10"/>
                </a:cubicBezTo>
                <a:cubicBezTo>
                  <a:pt x="581" y="10"/>
                  <a:pt x="579" y="11"/>
                  <a:pt x="577" y="11"/>
                </a:cubicBezTo>
                <a:cubicBezTo>
                  <a:pt x="577" y="11"/>
                  <a:pt x="578" y="10"/>
                  <a:pt x="578" y="10"/>
                </a:cubicBezTo>
                <a:cubicBezTo>
                  <a:pt x="577" y="10"/>
                  <a:pt x="576" y="10"/>
                  <a:pt x="575" y="10"/>
                </a:cubicBezTo>
                <a:cubicBezTo>
                  <a:pt x="575" y="10"/>
                  <a:pt x="576" y="10"/>
                  <a:pt x="576" y="10"/>
                </a:cubicBezTo>
                <a:cubicBezTo>
                  <a:pt x="576" y="9"/>
                  <a:pt x="577" y="9"/>
                  <a:pt x="578" y="9"/>
                </a:cubicBezTo>
                <a:cubicBezTo>
                  <a:pt x="579" y="9"/>
                  <a:pt x="581" y="9"/>
                  <a:pt x="582" y="9"/>
                </a:cubicBezTo>
                <a:cubicBezTo>
                  <a:pt x="581" y="9"/>
                  <a:pt x="582" y="9"/>
                  <a:pt x="582" y="9"/>
                </a:cubicBezTo>
                <a:cubicBezTo>
                  <a:pt x="583" y="8"/>
                  <a:pt x="584" y="9"/>
                  <a:pt x="585" y="8"/>
                </a:cubicBezTo>
                <a:cubicBezTo>
                  <a:pt x="586" y="8"/>
                  <a:pt x="587" y="8"/>
                  <a:pt x="587" y="8"/>
                </a:cubicBezTo>
                <a:cubicBezTo>
                  <a:pt x="588" y="8"/>
                  <a:pt x="588" y="8"/>
                  <a:pt x="589" y="8"/>
                </a:cubicBezTo>
                <a:cubicBezTo>
                  <a:pt x="589" y="8"/>
                  <a:pt x="590" y="8"/>
                  <a:pt x="589" y="8"/>
                </a:cubicBezTo>
                <a:cubicBezTo>
                  <a:pt x="590" y="8"/>
                  <a:pt x="591" y="8"/>
                  <a:pt x="591" y="8"/>
                </a:cubicBezTo>
                <a:cubicBezTo>
                  <a:pt x="590" y="8"/>
                  <a:pt x="592" y="9"/>
                  <a:pt x="592" y="9"/>
                </a:cubicBezTo>
                <a:cubicBezTo>
                  <a:pt x="593" y="8"/>
                  <a:pt x="594" y="8"/>
                  <a:pt x="594" y="8"/>
                </a:cubicBezTo>
                <a:cubicBezTo>
                  <a:pt x="594" y="8"/>
                  <a:pt x="593" y="8"/>
                  <a:pt x="593" y="8"/>
                </a:cubicBezTo>
                <a:cubicBezTo>
                  <a:pt x="593" y="8"/>
                  <a:pt x="594" y="8"/>
                  <a:pt x="595" y="8"/>
                </a:cubicBezTo>
                <a:cubicBezTo>
                  <a:pt x="595" y="8"/>
                  <a:pt x="596" y="8"/>
                  <a:pt x="596" y="7"/>
                </a:cubicBezTo>
                <a:cubicBezTo>
                  <a:pt x="598" y="7"/>
                  <a:pt x="599" y="7"/>
                  <a:pt x="601" y="7"/>
                </a:cubicBezTo>
                <a:cubicBezTo>
                  <a:pt x="602" y="7"/>
                  <a:pt x="603" y="7"/>
                  <a:pt x="604" y="7"/>
                </a:cubicBezTo>
                <a:cubicBezTo>
                  <a:pt x="604" y="7"/>
                  <a:pt x="605" y="7"/>
                  <a:pt x="606" y="7"/>
                </a:cubicBezTo>
                <a:cubicBezTo>
                  <a:pt x="606" y="7"/>
                  <a:pt x="607" y="7"/>
                  <a:pt x="607" y="7"/>
                </a:cubicBezTo>
                <a:cubicBezTo>
                  <a:pt x="607" y="7"/>
                  <a:pt x="606" y="7"/>
                  <a:pt x="606" y="8"/>
                </a:cubicBezTo>
                <a:cubicBezTo>
                  <a:pt x="606" y="8"/>
                  <a:pt x="608" y="8"/>
                  <a:pt x="608" y="8"/>
                </a:cubicBezTo>
                <a:cubicBezTo>
                  <a:pt x="608" y="8"/>
                  <a:pt x="607" y="8"/>
                  <a:pt x="607" y="8"/>
                </a:cubicBezTo>
                <a:cubicBezTo>
                  <a:pt x="607" y="7"/>
                  <a:pt x="608" y="8"/>
                  <a:pt x="609" y="7"/>
                </a:cubicBezTo>
                <a:cubicBezTo>
                  <a:pt x="608" y="7"/>
                  <a:pt x="608" y="7"/>
                  <a:pt x="608" y="7"/>
                </a:cubicBezTo>
                <a:cubicBezTo>
                  <a:pt x="609" y="6"/>
                  <a:pt x="611" y="7"/>
                  <a:pt x="612" y="7"/>
                </a:cubicBezTo>
                <a:cubicBezTo>
                  <a:pt x="613" y="7"/>
                  <a:pt x="614" y="7"/>
                  <a:pt x="614" y="8"/>
                </a:cubicBezTo>
                <a:cubicBezTo>
                  <a:pt x="615" y="8"/>
                  <a:pt x="616" y="9"/>
                  <a:pt x="616" y="8"/>
                </a:cubicBezTo>
                <a:cubicBezTo>
                  <a:pt x="616" y="8"/>
                  <a:pt x="615" y="8"/>
                  <a:pt x="615" y="7"/>
                </a:cubicBezTo>
                <a:cubicBezTo>
                  <a:pt x="616" y="7"/>
                  <a:pt x="617" y="7"/>
                  <a:pt x="618" y="7"/>
                </a:cubicBezTo>
                <a:cubicBezTo>
                  <a:pt x="618" y="7"/>
                  <a:pt x="619" y="8"/>
                  <a:pt x="620" y="8"/>
                </a:cubicBezTo>
                <a:cubicBezTo>
                  <a:pt x="619" y="8"/>
                  <a:pt x="619" y="7"/>
                  <a:pt x="620" y="7"/>
                </a:cubicBezTo>
                <a:cubicBezTo>
                  <a:pt x="620" y="8"/>
                  <a:pt x="620" y="8"/>
                  <a:pt x="621" y="8"/>
                </a:cubicBezTo>
                <a:cubicBezTo>
                  <a:pt x="620" y="8"/>
                  <a:pt x="621" y="8"/>
                  <a:pt x="621" y="7"/>
                </a:cubicBezTo>
                <a:cubicBezTo>
                  <a:pt x="620" y="7"/>
                  <a:pt x="619" y="7"/>
                  <a:pt x="618" y="7"/>
                </a:cubicBezTo>
                <a:cubicBezTo>
                  <a:pt x="617" y="7"/>
                  <a:pt x="616" y="7"/>
                  <a:pt x="614" y="7"/>
                </a:cubicBezTo>
                <a:cubicBezTo>
                  <a:pt x="614" y="7"/>
                  <a:pt x="613" y="7"/>
                  <a:pt x="612" y="7"/>
                </a:cubicBezTo>
                <a:cubicBezTo>
                  <a:pt x="611" y="7"/>
                  <a:pt x="610" y="6"/>
                  <a:pt x="611" y="6"/>
                </a:cubicBezTo>
                <a:cubicBezTo>
                  <a:pt x="612" y="6"/>
                  <a:pt x="613" y="6"/>
                  <a:pt x="614" y="6"/>
                </a:cubicBezTo>
                <a:cubicBezTo>
                  <a:pt x="616" y="6"/>
                  <a:pt x="618" y="6"/>
                  <a:pt x="620" y="5"/>
                </a:cubicBezTo>
                <a:cubicBezTo>
                  <a:pt x="620" y="5"/>
                  <a:pt x="620" y="5"/>
                  <a:pt x="620" y="5"/>
                </a:cubicBezTo>
                <a:cubicBezTo>
                  <a:pt x="620" y="5"/>
                  <a:pt x="620" y="5"/>
                  <a:pt x="620" y="5"/>
                </a:cubicBezTo>
                <a:cubicBezTo>
                  <a:pt x="620" y="5"/>
                  <a:pt x="620" y="5"/>
                  <a:pt x="620" y="5"/>
                </a:cubicBezTo>
                <a:cubicBezTo>
                  <a:pt x="620" y="5"/>
                  <a:pt x="620" y="5"/>
                  <a:pt x="620" y="5"/>
                </a:cubicBezTo>
                <a:cubicBezTo>
                  <a:pt x="620" y="4"/>
                  <a:pt x="619" y="5"/>
                  <a:pt x="618" y="4"/>
                </a:cubicBezTo>
                <a:cubicBezTo>
                  <a:pt x="619" y="4"/>
                  <a:pt x="621" y="4"/>
                  <a:pt x="622" y="4"/>
                </a:cubicBezTo>
                <a:cubicBezTo>
                  <a:pt x="623" y="4"/>
                  <a:pt x="625" y="4"/>
                  <a:pt x="626" y="4"/>
                </a:cubicBezTo>
                <a:cubicBezTo>
                  <a:pt x="625" y="5"/>
                  <a:pt x="624" y="4"/>
                  <a:pt x="624" y="4"/>
                </a:cubicBezTo>
                <a:cubicBezTo>
                  <a:pt x="625" y="5"/>
                  <a:pt x="626" y="5"/>
                  <a:pt x="628" y="5"/>
                </a:cubicBezTo>
                <a:cubicBezTo>
                  <a:pt x="628" y="5"/>
                  <a:pt x="631" y="5"/>
                  <a:pt x="631" y="6"/>
                </a:cubicBezTo>
                <a:cubicBezTo>
                  <a:pt x="631" y="6"/>
                  <a:pt x="631" y="6"/>
                  <a:pt x="631" y="6"/>
                </a:cubicBezTo>
                <a:cubicBezTo>
                  <a:pt x="631" y="6"/>
                  <a:pt x="632" y="6"/>
                  <a:pt x="632" y="6"/>
                </a:cubicBezTo>
                <a:cubicBezTo>
                  <a:pt x="633" y="7"/>
                  <a:pt x="631" y="7"/>
                  <a:pt x="631" y="7"/>
                </a:cubicBezTo>
                <a:cubicBezTo>
                  <a:pt x="632" y="7"/>
                  <a:pt x="633" y="7"/>
                  <a:pt x="635" y="7"/>
                </a:cubicBezTo>
                <a:cubicBezTo>
                  <a:pt x="635" y="7"/>
                  <a:pt x="636" y="7"/>
                  <a:pt x="636" y="7"/>
                </a:cubicBezTo>
                <a:cubicBezTo>
                  <a:pt x="637" y="7"/>
                  <a:pt x="637" y="7"/>
                  <a:pt x="638" y="7"/>
                </a:cubicBezTo>
                <a:cubicBezTo>
                  <a:pt x="638" y="6"/>
                  <a:pt x="636" y="7"/>
                  <a:pt x="636" y="7"/>
                </a:cubicBezTo>
                <a:cubicBezTo>
                  <a:pt x="635" y="7"/>
                  <a:pt x="635" y="7"/>
                  <a:pt x="635" y="7"/>
                </a:cubicBezTo>
                <a:cubicBezTo>
                  <a:pt x="634" y="7"/>
                  <a:pt x="634" y="6"/>
                  <a:pt x="634" y="6"/>
                </a:cubicBezTo>
                <a:cubicBezTo>
                  <a:pt x="634" y="6"/>
                  <a:pt x="633" y="6"/>
                  <a:pt x="633" y="6"/>
                </a:cubicBezTo>
                <a:cubicBezTo>
                  <a:pt x="633" y="5"/>
                  <a:pt x="634" y="5"/>
                  <a:pt x="634" y="5"/>
                </a:cubicBezTo>
                <a:cubicBezTo>
                  <a:pt x="635" y="5"/>
                  <a:pt x="636" y="6"/>
                  <a:pt x="637" y="6"/>
                </a:cubicBezTo>
                <a:cubicBezTo>
                  <a:pt x="640" y="6"/>
                  <a:pt x="642" y="7"/>
                  <a:pt x="645" y="7"/>
                </a:cubicBezTo>
                <a:cubicBezTo>
                  <a:pt x="646" y="7"/>
                  <a:pt x="647" y="7"/>
                  <a:pt x="648" y="8"/>
                </a:cubicBezTo>
                <a:cubicBezTo>
                  <a:pt x="649" y="8"/>
                  <a:pt x="650" y="9"/>
                  <a:pt x="651" y="9"/>
                </a:cubicBezTo>
                <a:cubicBezTo>
                  <a:pt x="651" y="8"/>
                  <a:pt x="650" y="8"/>
                  <a:pt x="649" y="7"/>
                </a:cubicBezTo>
                <a:cubicBezTo>
                  <a:pt x="649" y="7"/>
                  <a:pt x="649" y="7"/>
                  <a:pt x="650" y="7"/>
                </a:cubicBezTo>
                <a:cubicBezTo>
                  <a:pt x="649" y="7"/>
                  <a:pt x="648" y="7"/>
                  <a:pt x="647" y="7"/>
                </a:cubicBezTo>
                <a:cubicBezTo>
                  <a:pt x="646" y="7"/>
                  <a:pt x="645" y="7"/>
                  <a:pt x="644" y="7"/>
                </a:cubicBezTo>
                <a:cubicBezTo>
                  <a:pt x="644" y="6"/>
                  <a:pt x="645" y="6"/>
                  <a:pt x="645" y="6"/>
                </a:cubicBezTo>
                <a:cubicBezTo>
                  <a:pt x="643" y="6"/>
                  <a:pt x="642" y="6"/>
                  <a:pt x="640" y="6"/>
                </a:cubicBezTo>
                <a:cubicBezTo>
                  <a:pt x="639" y="6"/>
                  <a:pt x="638" y="5"/>
                  <a:pt x="636" y="5"/>
                </a:cubicBezTo>
                <a:cubicBezTo>
                  <a:pt x="636" y="5"/>
                  <a:pt x="637" y="4"/>
                  <a:pt x="637" y="4"/>
                </a:cubicBezTo>
                <a:cubicBezTo>
                  <a:pt x="638" y="4"/>
                  <a:pt x="639" y="4"/>
                  <a:pt x="640" y="4"/>
                </a:cubicBezTo>
                <a:cubicBezTo>
                  <a:pt x="641" y="4"/>
                  <a:pt x="643" y="4"/>
                  <a:pt x="644" y="4"/>
                </a:cubicBezTo>
                <a:cubicBezTo>
                  <a:pt x="643" y="4"/>
                  <a:pt x="642" y="4"/>
                  <a:pt x="641" y="4"/>
                </a:cubicBezTo>
                <a:cubicBezTo>
                  <a:pt x="639" y="3"/>
                  <a:pt x="641" y="3"/>
                  <a:pt x="642" y="3"/>
                </a:cubicBezTo>
                <a:cubicBezTo>
                  <a:pt x="643" y="3"/>
                  <a:pt x="644" y="3"/>
                  <a:pt x="645" y="3"/>
                </a:cubicBezTo>
                <a:cubicBezTo>
                  <a:pt x="647" y="3"/>
                  <a:pt x="648" y="4"/>
                  <a:pt x="650" y="4"/>
                </a:cubicBezTo>
                <a:cubicBezTo>
                  <a:pt x="649" y="3"/>
                  <a:pt x="648" y="3"/>
                  <a:pt x="647" y="2"/>
                </a:cubicBezTo>
                <a:cubicBezTo>
                  <a:pt x="646" y="2"/>
                  <a:pt x="648" y="2"/>
                  <a:pt x="648" y="2"/>
                </a:cubicBezTo>
                <a:cubicBezTo>
                  <a:pt x="649" y="2"/>
                  <a:pt x="650" y="2"/>
                  <a:pt x="651" y="2"/>
                </a:cubicBezTo>
                <a:cubicBezTo>
                  <a:pt x="652" y="2"/>
                  <a:pt x="652" y="2"/>
                  <a:pt x="653" y="2"/>
                </a:cubicBezTo>
                <a:cubicBezTo>
                  <a:pt x="653" y="2"/>
                  <a:pt x="653" y="2"/>
                  <a:pt x="654" y="3"/>
                </a:cubicBezTo>
                <a:cubicBezTo>
                  <a:pt x="654" y="3"/>
                  <a:pt x="654" y="3"/>
                  <a:pt x="654" y="3"/>
                </a:cubicBezTo>
                <a:cubicBezTo>
                  <a:pt x="654" y="3"/>
                  <a:pt x="655" y="3"/>
                  <a:pt x="655" y="3"/>
                </a:cubicBezTo>
                <a:cubicBezTo>
                  <a:pt x="655" y="3"/>
                  <a:pt x="655" y="3"/>
                  <a:pt x="655" y="3"/>
                </a:cubicBezTo>
                <a:cubicBezTo>
                  <a:pt x="656" y="2"/>
                  <a:pt x="657" y="3"/>
                  <a:pt x="658" y="3"/>
                </a:cubicBezTo>
                <a:cubicBezTo>
                  <a:pt x="660" y="3"/>
                  <a:pt x="661" y="3"/>
                  <a:pt x="663" y="3"/>
                </a:cubicBezTo>
                <a:cubicBezTo>
                  <a:pt x="662" y="3"/>
                  <a:pt x="660" y="3"/>
                  <a:pt x="659" y="3"/>
                </a:cubicBezTo>
                <a:cubicBezTo>
                  <a:pt x="658" y="3"/>
                  <a:pt x="657" y="3"/>
                  <a:pt x="656" y="2"/>
                </a:cubicBezTo>
                <a:cubicBezTo>
                  <a:pt x="656" y="2"/>
                  <a:pt x="656" y="2"/>
                  <a:pt x="656" y="2"/>
                </a:cubicBezTo>
                <a:cubicBezTo>
                  <a:pt x="656" y="2"/>
                  <a:pt x="657" y="2"/>
                  <a:pt x="658" y="2"/>
                </a:cubicBezTo>
                <a:cubicBezTo>
                  <a:pt x="656" y="2"/>
                  <a:pt x="655" y="2"/>
                  <a:pt x="654" y="2"/>
                </a:cubicBezTo>
                <a:cubicBezTo>
                  <a:pt x="655" y="1"/>
                  <a:pt x="656" y="1"/>
                  <a:pt x="657" y="1"/>
                </a:cubicBezTo>
                <a:cubicBezTo>
                  <a:pt x="659" y="1"/>
                  <a:pt x="660" y="1"/>
                  <a:pt x="661" y="1"/>
                </a:cubicBezTo>
                <a:cubicBezTo>
                  <a:pt x="661" y="1"/>
                  <a:pt x="662" y="1"/>
                  <a:pt x="662" y="1"/>
                </a:cubicBezTo>
                <a:cubicBezTo>
                  <a:pt x="662" y="2"/>
                  <a:pt x="662" y="2"/>
                  <a:pt x="663" y="1"/>
                </a:cubicBezTo>
                <a:cubicBezTo>
                  <a:pt x="663" y="1"/>
                  <a:pt x="664" y="1"/>
                  <a:pt x="665" y="1"/>
                </a:cubicBezTo>
                <a:cubicBezTo>
                  <a:pt x="665" y="1"/>
                  <a:pt x="665" y="2"/>
                  <a:pt x="664" y="2"/>
                </a:cubicBezTo>
                <a:cubicBezTo>
                  <a:pt x="665" y="2"/>
                  <a:pt x="666" y="2"/>
                  <a:pt x="667" y="2"/>
                </a:cubicBezTo>
                <a:cubicBezTo>
                  <a:pt x="666" y="2"/>
                  <a:pt x="667" y="2"/>
                  <a:pt x="668" y="2"/>
                </a:cubicBezTo>
                <a:cubicBezTo>
                  <a:pt x="667" y="1"/>
                  <a:pt x="668" y="1"/>
                  <a:pt x="668" y="1"/>
                </a:cubicBezTo>
                <a:cubicBezTo>
                  <a:pt x="669" y="1"/>
                  <a:pt x="669" y="2"/>
                  <a:pt x="670" y="2"/>
                </a:cubicBezTo>
                <a:cubicBezTo>
                  <a:pt x="670" y="2"/>
                  <a:pt x="672" y="2"/>
                  <a:pt x="672" y="2"/>
                </a:cubicBezTo>
                <a:cubicBezTo>
                  <a:pt x="672" y="2"/>
                  <a:pt x="673" y="3"/>
                  <a:pt x="674" y="3"/>
                </a:cubicBezTo>
                <a:cubicBezTo>
                  <a:pt x="675" y="3"/>
                  <a:pt x="676" y="3"/>
                  <a:pt x="676" y="3"/>
                </a:cubicBezTo>
                <a:cubicBezTo>
                  <a:pt x="676" y="4"/>
                  <a:pt x="673" y="3"/>
                  <a:pt x="673" y="4"/>
                </a:cubicBezTo>
                <a:cubicBezTo>
                  <a:pt x="674" y="4"/>
                  <a:pt x="675" y="4"/>
                  <a:pt x="676" y="4"/>
                </a:cubicBezTo>
                <a:cubicBezTo>
                  <a:pt x="677" y="4"/>
                  <a:pt x="678" y="4"/>
                  <a:pt x="680" y="3"/>
                </a:cubicBezTo>
                <a:cubicBezTo>
                  <a:pt x="679" y="3"/>
                  <a:pt x="675" y="3"/>
                  <a:pt x="675" y="3"/>
                </a:cubicBezTo>
                <a:cubicBezTo>
                  <a:pt x="675" y="2"/>
                  <a:pt x="677" y="2"/>
                  <a:pt x="677" y="2"/>
                </a:cubicBezTo>
                <a:cubicBezTo>
                  <a:pt x="676" y="2"/>
                  <a:pt x="675" y="2"/>
                  <a:pt x="674" y="2"/>
                </a:cubicBezTo>
                <a:cubicBezTo>
                  <a:pt x="673" y="1"/>
                  <a:pt x="672" y="1"/>
                  <a:pt x="671" y="1"/>
                </a:cubicBezTo>
                <a:cubicBezTo>
                  <a:pt x="671" y="1"/>
                  <a:pt x="672" y="1"/>
                  <a:pt x="672" y="1"/>
                </a:cubicBezTo>
                <a:cubicBezTo>
                  <a:pt x="672" y="1"/>
                  <a:pt x="673" y="1"/>
                  <a:pt x="673" y="1"/>
                </a:cubicBezTo>
                <a:cubicBezTo>
                  <a:pt x="674" y="1"/>
                  <a:pt x="675" y="1"/>
                  <a:pt x="675" y="1"/>
                </a:cubicBezTo>
                <a:cubicBezTo>
                  <a:pt x="676" y="1"/>
                  <a:pt x="678" y="1"/>
                  <a:pt x="679" y="0"/>
                </a:cubicBezTo>
                <a:cubicBezTo>
                  <a:pt x="680" y="0"/>
                  <a:pt x="680" y="0"/>
                  <a:pt x="681" y="0"/>
                </a:cubicBezTo>
                <a:cubicBezTo>
                  <a:pt x="682" y="1"/>
                  <a:pt x="682" y="1"/>
                  <a:pt x="683" y="1"/>
                </a:cubicBezTo>
                <a:cubicBezTo>
                  <a:pt x="685" y="1"/>
                  <a:pt x="686" y="0"/>
                  <a:pt x="687" y="0"/>
                </a:cubicBezTo>
                <a:cubicBezTo>
                  <a:pt x="688" y="0"/>
                  <a:pt x="689" y="0"/>
                  <a:pt x="690" y="1"/>
                </a:cubicBezTo>
                <a:cubicBezTo>
                  <a:pt x="690" y="1"/>
                  <a:pt x="691" y="1"/>
                  <a:pt x="691" y="1"/>
                </a:cubicBezTo>
                <a:cubicBezTo>
                  <a:pt x="691" y="2"/>
                  <a:pt x="691" y="2"/>
                  <a:pt x="692" y="2"/>
                </a:cubicBezTo>
                <a:cubicBezTo>
                  <a:pt x="693" y="2"/>
                  <a:pt x="694" y="2"/>
                  <a:pt x="695" y="3"/>
                </a:cubicBezTo>
                <a:cubicBezTo>
                  <a:pt x="696" y="3"/>
                  <a:pt x="697" y="3"/>
                  <a:pt x="698" y="3"/>
                </a:cubicBezTo>
                <a:cubicBezTo>
                  <a:pt x="697" y="2"/>
                  <a:pt x="696" y="2"/>
                  <a:pt x="694" y="2"/>
                </a:cubicBezTo>
                <a:cubicBezTo>
                  <a:pt x="694" y="2"/>
                  <a:pt x="694" y="2"/>
                  <a:pt x="694" y="2"/>
                </a:cubicBezTo>
                <a:cubicBezTo>
                  <a:pt x="694" y="2"/>
                  <a:pt x="694" y="2"/>
                  <a:pt x="693" y="1"/>
                </a:cubicBezTo>
                <a:cubicBezTo>
                  <a:pt x="693" y="1"/>
                  <a:pt x="693" y="1"/>
                  <a:pt x="693" y="1"/>
                </a:cubicBezTo>
                <a:cubicBezTo>
                  <a:pt x="693" y="1"/>
                  <a:pt x="694" y="1"/>
                  <a:pt x="695" y="1"/>
                </a:cubicBezTo>
                <a:cubicBezTo>
                  <a:pt x="696" y="1"/>
                  <a:pt x="696" y="1"/>
                  <a:pt x="697" y="1"/>
                </a:cubicBezTo>
                <a:cubicBezTo>
                  <a:pt x="697" y="1"/>
                  <a:pt x="699" y="0"/>
                  <a:pt x="698" y="0"/>
                </a:cubicBezTo>
                <a:cubicBezTo>
                  <a:pt x="700" y="0"/>
                  <a:pt x="703" y="0"/>
                  <a:pt x="706" y="0"/>
                </a:cubicBezTo>
                <a:cubicBezTo>
                  <a:pt x="706" y="0"/>
                  <a:pt x="704" y="0"/>
                  <a:pt x="704" y="1"/>
                </a:cubicBezTo>
                <a:cubicBezTo>
                  <a:pt x="704" y="1"/>
                  <a:pt x="708" y="2"/>
                  <a:pt x="709" y="1"/>
                </a:cubicBezTo>
                <a:cubicBezTo>
                  <a:pt x="708" y="1"/>
                  <a:pt x="707" y="1"/>
                  <a:pt x="706" y="1"/>
                </a:cubicBezTo>
                <a:cubicBezTo>
                  <a:pt x="707" y="0"/>
                  <a:pt x="710" y="0"/>
                  <a:pt x="711" y="0"/>
                </a:cubicBezTo>
                <a:cubicBezTo>
                  <a:pt x="713" y="0"/>
                  <a:pt x="715" y="0"/>
                  <a:pt x="717" y="0"/>
                </a:cubicBezTo>
                <a:cubicBezTo>
                  <a:pt x="717" y="0"/>
                  <a:pt x="717" y="0"/>
                  <a:pt x="716" y="0"/>
                </a:cubicBezTo>
                <a:cubicBezTo>
                  <a:pt x="717" y="1"/>
                  <a:pt x="717" y="1"/>
                  <a:pt x="718" y="1"/>
                </a:cubicBezTo>
                <a:cubicBezTo>
                  <a:pt x="717" y="1"/>
                  <a:pt x="717" y="1"/>
                  <a:pt x="716" y="1"/>
                </a:cubicBezTo>
                <a:cubicBezTo>
                  <a:pt x="717" y="1"/>
                  <a:pt x="718" y="1"/>
                  <a:pt x="719" y="1"/>
                </a:cubicBezTo>
                <a:cubicBezTo>
                  <a:pt x="719" y="1"/>
                  <a:pt x="721" y="0"/>
                  <a:pt x="720" y="1"/>
                </a:cubicBezTo>
                <a:cubicBezTo>
                  <a:pt x="722" y="1"/>
                  <a:pt x="723" y="0"/>
                  <a:pt x="725" y="1"/>
                </a:cubicBezTo>
                <a:cubicBezTo>
                  <a:pt x="725" y="1"/>
                  <a:pt x="725" y="1"/>
                  <a:pt x="725" y="1"/>
                </a:cubicBezTo>
                <a:cubicBezTo>
                  <a:pt x="725" y="1"/>
                  <a:pt x="726" y="1"/>
                  <a:pt x="726" y="1"/>
                </a:cubicBezTo>
                <a:cubicBezTo>
                  <a:pt x="727" y="1"/>
                  <a:pt x="728" y="1"/>
                  <a:pt x="728" y="1"/>
                </a:cubicBezTo>
                <a:cubicBezTo>
                  <a:pt x="729" y="1"/>
                  <a:pt x="730" y="1"/>
                  <a:pt x="730" y="1"/>
                </a:cubicBezTo>
                <a:cubicBezTo>
                  <a:pt x="730" y="1"/>
                  <a:pt x="732" y="1"/>
                  <a:pt x="731" y="1"/>
                </a:cubicBezTo>
                <a:cubicBezTo>
                  <a:pt x="732" y="1"/>
                  <a:pt x="733" y="1"/>
                  <a:pt x="733" y="1"/>
                </a:cubicBezTo>
                <a:cubicBezTo>
                  <a:pt x="734" y="1"/>
                  <a:pt x="735" y="1"/>
                  <a:pt x="735" y="1"/>
                </a:cubicBezTo>
                <a:cubicBezTo>
                  <a:pt x="734" y="1"/>
                  <a:pt x="733" y="2"/>
                  <a:pt x="731" y="2"/>
                </a:cubicBezTo>
                <a:cubicBezTo>
                  <a:pt x="730" y="2"/>
                  <a:pt x="729" y="2"/>
                  <a:pt x="727" y="2"/>
                </a:cubicBezTo>
                <a:cubicBezTo>
                  <a:pt x="726" y="2"/>
                  <a:pt x="725" y="3"/>
                  <a:pt x="723" y="3"/>
                </a:cubicBezTo>
                <a:cubicBezTo>
                  <a:pt x="722" y="3"/>
                  <a:pt x="721" y="3"/>
                  <a:pt x="719" y="3"/>
                </a:cubicBezTo>
                <a:cubicBezTo>
                  <a:pt x="721" y="3"/>
                  <a:pt x="724" y="3"/>
                  <a:pt x="726" y="3"/>
                </a:cubicBezTo>
                <a:cubicBezTo>
                  <a:pt x="727" y="3"/>
                  <a:pt x="728" y="3"/>
                  <a:pt x="729" y="3"/>
                </a:cubicBezTo>
                <a:cubicBezTo>
                  <a:pt x="730" y="3"/>
                  <a:pt x="731" y="3"/>
                  <a:pt x="732" y="3"/>
                </a:cubicBezTo>
                <a:cubicBezTo>
                  <a:pt x="732" y="2"/>
                  <a:pt x="739" y="2"/>
                  <a:pt x="739" y="2"/>
                </a:cubicBezTo>
                <a:cubicBezTo>
                  <a:pt x="739" y="2"/>
                  <a:pt x="739" y="2"/>
                  <a:pt x="739" y="2"/>
                </a:cubicBezTo>
                <a:cubicBezTo>
                  <a:pt x="739" y="2"/>
                  <a:pt x="740" y="2"/>
                  <a:pt x="741" y="2"/>
                </a:cubicBezTo>
                <a:cubicBezTo>
                  <a:pt x="740" y="2"/>
                  <a:pt x="740" y="2"/>
                  <a:pt x="740" y="2"/>
                </a:cubicBezTo>
                <a:cubicBezTo>
                  <a:pt x="740" y="2"/>
                  <a:pt x="741" y="2"/>
                  <a:pt x="742" y="2"/>
                </a:cubicBezTo>
                <a:cubicBezTo>
                  <a:pt x="741" y="2"/>
                  <a:pt x="741" y="2"/>
                  <a:pt x="741" y="2"/>
                </a:cubicBezTo>
                <a:cubicBezTo>
                  <a:pt x="742" y="1"/>
                  <a:pt x="743" y="1"/>
                  <a:pt x="744" y="1"/>
                </a:cubicBezTo>
                <a:cubicBezTo>
                  <a:pt x="744" y="2"/>
                  <a:pt x="744" y="2"/>
                  <a:pt x="743" y="2"/>
                </a:cubicBezTo>
                <a:cubicBezTo>
                  <a:pt x="743" y="2"/>
                  <a:pt x="744" y="2"/>
                  <a:pt x="744" y="2"/>
                </a:cubicBezTo>
                <a:cubicBezTo>
                  <a:pt x="744" y="2"/>
                  <a:pt x="744" y="2"/>
                  <a:pt x="744" y="2"/>
                </a:cubicBezTo>
                <a:cubicBezTo>
                  <a:pt x="745" y="3"/>
                  <a:pt x="746" y="2"/>
                  <a:pt x="747" y="2"/>
                </a:cubicBezTo>
                <a:cubicBezTo>
                  <a:pt x="748" y="2"/>
                  <a:pt x="751" y="2"/>
                  <a:pt x="751" y="2"/>
                </a:cubicBezTo>
                <a:cubicBezTo>
                  <a:pt x="751" y="3"/>
                  <a:pt x="748" y="3"/>
                  <a:pt x="748" y="3"/>
                </a:cubicBezTo>
                <a:cubicBezTo>
                  <a:pt x="749" y="3"/>
                  <a:pt x="750" y="3"/>
                  <a:pt x="751" y="3"/>
                </a:cubicBezTo>
                <a:cubicBezTo>
                  <a:pt x="751" y="3"/>
                  <a:pt x="750" y="3"/>
                  <a:pt x="750" y="3"/>
                </a:cubicBezTo>
                <a:cubicBezTo>
                  <a:pt x="751" y="4"/>
                  <a:pt x="751" y="3"/>
                  <a:pt x="752" y="4"/>
                </a:cubicBezTo>
                <a:cubicBezTo>
                  <a:pt x="751" y="4"/>
                  <a:pt x="750" y="4"/>
                  <a:pt x="749" y="4"/>
                </a:cubicBezTo>
                <a:cubicBezTo>
                  <a:pt x="750" y="4"/>
                  <a:pt x="750" y="4"/>
                  <a:pt x="751" y="4"/>
                </a:cubicBezTo>
                <a:cubicBezTo>
                  <a:pt x="752" y="4"/>
                  <a:pt x="752" y="4"/>
                  <a:pt x="753" y="4"/>
                </a:cubicBezTo>
                <a:cubicBezTo>
                  <a:pt x="753" y="4"/>
                  <a:pt x="754" y="4"/>
                  <a:pt x="754" y="4"/>
                </a:cubicBezTo>
                <a:cubicBezTo>
                  <a:pt x="755" y="4"/>
                  <a:pt x="755" y="4"/>
                  <a:pt x="756" y="4"/>
                </a:cubicBezTo>
                <a:cubicBezTo>
                  <a:pt x="756" y="4"/>
                  <a:pt x="755" y="4"/>
                  <a:pt x="755" y="4"/>
                </a:cubicBezTo>
                <a:cubicBezTo>
                  <a:pt x="756" y="4"/>
                  <a:pt x="762" y="3"/>
                  <a:pt x="761" y="5"/>
                </a:cubicBezTo>
                <a:close/>
                <a:moveTo>
                  <a:pt x="582" y="39"/>
                </a:moveTo>
                <a:cubicBezTo>
                  <a:pt x="582" y="39"/>
                  <a:pt x="582" y="39"/>
                  <a:pt x="582" y="39"/>
                </a:cubicBezTo>
                <a:cubicBezTo>
                  <a:pt x="582" y="39"/>
                  <a:pt x="582" y="39"/>
                  <a:pt x="582" y="39"/>
                </a:cubicBezTo>
                <a:close/>
                <a:moveTo>
                  <a:pt x="322" y="53"/>
                </a:moveTo>
                <a:cubicBezTo>
                  <a:pt x="322" y="53"/>
                  <a:pt x="321" y="53"/>
                  <a:pt x="321" y="53"/>
                </a:cubicBezTo>
                <a:cubicBezTo>
                  <a:pt x="321" y="53"/>
                  <a:pt x="322" y="53"/>
                  <a:pt x="322" y="53"/>
                </a:cubicBezTo>
                <a:cubicBezTo>
                  <a:pt x="321" y="53"/>
                  <a:pt x="320" y="53"/>
                  <a:pt x="320" y="54"/>
                </a:cubicBezTo>
                <a:cubicBezTo>
                  <a:pt x="320" y="54"/>
                  <a:pt x="320" y="54"/>
                  <a:pt x="320" y="54"/>
                </a:cubicBezTo>
                <a:cubicBezTo>
                  <a:pt x="320" y="54"/>
                  <a:pt x="319" y="54"/>
                  <a:pt x="319" y="54"/>
                </a:cubicBezTo>
                <a:cubicBezTo>
                  <a:pt x="320" y="55"/>
                  <a:pt x="322" y="54"/>
                  <a:pt x="324" y="53"/>
                </a:cubicBezTo>
                <a:cubicBezTo>
                  <a:pt x="324" y="53"/>
                  <a:pt x="327" y="54"/>
                  <a:pt x="327" y="54"/>
                </a:cubicBezTo>
                <a:cubicBezTo>
                  <a:pt x="328" y="55"/>
                  <a:pt x="329" y="54"/>
                  <a:pt x="330" y="54"/>
                </a:cubicBezTo>
                <a:cubicBezTo>
                  <a:pt x="330" y="54"/>
                  <a:pt x="330" y="54"/>
                  <a:pt x="329" y="54"/>
                </a:cubicBezTo>
                <a:cubicBezTo>
                  <a:pt x="330" y="54"/>
                  <a:pt x="331" y="53"/>
                  <a:pt x="331" y="53"/>
                </a:cubicBezTo>
                <a:cubicBezTo>
                  <a:pt x="332" y="52"/>
                  <a:pt x="333" y="52"/>
                  <a:pt x="334" y="53"/>
                </a:cubicBezTo>
                <a:cubicBezTo>
                  <a:pt x="334" y="53"/>
                  <a:pt x="333" y="53"/>
                  <a:pt x="333" y="53"/>
                </a:cubicBezTo>
                <a:cubicBezTo>
                  <a:pt x="333" y="53"/>
                  <a:pt x="333" y="53"/>
                  <a:pt x="334" y="53"/>
                </a:cubicBezTo>
                <a:cubicBezTo>
                  <a:pt x="333" y="53"/>
                  <a:pt x="332" y="53"/>
                  <a:pt x="332" y="54"/>
                </a:cubicBezTo>
                <a:cubicBezTo>
                  <a:pt x="332" y="54"/>
                  <a:pt x="333" y="54"/>
                  <a:pt x="334" y="54"/>
                </a:cubicBezTo>
                <a:cubicBezTo>
                  <a:pt x="333" y="54"/>
                  <a:pt x="334" y="54"/>
                  <a:pt x="333" y="54"/>
                </a:cubicBezTo>
                <a:cubicBezTo>
                  <a:pt x="333" y="54"/>
                  <a:pt x="333" y="54"/>
                  <a:pt x="332" y="54"/>
                </a:cubicBezTo>
                <a:cubicBezTo>
                  <a:pt x="332" y="55"/>
                  <a:pt x="331" y="55"/>
                  <a:pt x="331" y="55"/>
                </a:cubicBezTo>
                <a:cubicBezTo>
                  <a:pt x="332" y="56"/>
                  <a:pt x="334" y="54"/>
                  <a:pt x="334" y="55"/>
                </a:cubicBezTo>
                <a:cubicBezTo>
                  <a:pt x="334" y="55"/>
                  <a:pt x="334" y="55"/>
                  <a:pt x="334" y="55"/>
                </a:cubicBezTo>
                <a:cubicBezTo>
                  <a:pt x="335" y="55"/>
                  <a:pt x="337" y="55"/>
                  <a:pt x="338" y="54"/>
                </a:cubicBezTo>
                <a:cubicBezTo>
                  <a:pt x="338" y="54"/>
                  <a:pt x="338" y="54"/>
                  <a:pt x="338" y="54"/>
                </a:cubicBezTo>
                <a:cubicBezTo>
                  <a:pt x="339" y="54"/>
                  <a:pt x="341" y="54"/>
                  <a:pt x="339" y="53"/>
                </a:cubicBezTo>
                <a:cubicBezTo>
                  <a:pt x="340" y="53"/>
                  <a:pt x="340" y="53"/>
                  <a:pt x="341" y="53"/>
                </a:cubicBezTo>
                <a:cubicBezTo>
                  <a:pt x="341" y="53"/>
                  <a:pt x="341" y="53"/>
                  <a:pt x="340" y="53"/>
                </a:cubicBezTo>
                <a:cubicBezTo>
                  <a:pt x="341" y="52"/>
                  <a:pt x="341" y="53"/>
                  <a:pt x="342" y="52"/>
                </a:cubicBezTo>
                <a:cubicBezTo>
                  <a:pt x="342" y="52"/>
                  <a:pt x="342" y="52"/>
                  <a:pt x="342" y="52"/>
                </a:cubicBezTo>
                <a:cubicBezTo>
                  <a:pt x="342" y="51"/>
                  <a:pt x="343" y="51"/>
                  <a:pt x="343" y="51"/>
                </a:cubicBezTo>
                <a:cubicBezTo>
                  <a:pt x="343" y="51"/>
                  <a:pt x="344" y="51"/>
                  <a:pt x="344" y="51"/>
                </a:cubicBezTo>
                <a:cubicBezTo>
                  <a:pt x="344" y="51"/>
                  <a:pt x="343" y="51"/>
                  <a:pt x="343" y="52"/>
                </a:cubicBezTo>
                <a:cubicBezTo>
                  <a:pt x="344" y="52"/>
                  <a:pt x="343" y="52"/>
                  <a:pt x="343" y="53"/>
                </a:cubicBezTo>
                <a:cubicBezTo>
                  <a:pt x="343" y="53"/>
                  <a:pt x="345" y="53"/>
                  <a:pt x="345" y="53"/>
                </a:cubicBezTo>
                <a:cubicBezTo>
                  <a:pt x="346" y="52"/>
                  <a:pt x="346" y="52"/>
                  <a:pt x="347" y="52"/>
                </a:cubicBezTo>
                <a:cubicBezTo>
                  <a:pt x="348" y="51"/>
                  <a:pt x="348" y="51"/>
                  <a:pt x="349" y="51"/>
                </a:cubicBezTo>
                <a:cubicBezTo>
                  <a:pt x="350" y="51"/>
                  <a:pt x="351" y="51"/>
                  <a:pt x="351" y="50"/>
                </a:cubicBezTo>
                <a:cubicBezTo>
                  <a:pt x="351" y="50"/>
                  <a:pt x="350" y="50"/>
                  <a:pt x="349" y="50"/>
                </a:cubicBezTo>
                <a:cubicBezTo>
                  <a:pt x="350" y="49"/>
                  <a:pt x="351" y="49"/>
                  <a:pt x="351" y="49"/>
                </a:cubicBezTo>
                <a:cubicBezTo>
                  <a:pt x="351" y="49"/>
                  <a:pt x="352" y="50"/>
                  <a:pt x="352" y="50"/>
                </a:cubicBezTo>
                <a:cubicBezTo>
                  <a:pt x="352" y="50"/>
                  <a:pt x="353" y="49"/>
                  <a:pt x="354" y="49"/>
                </a:cubicBezTo>
                <a:cubicBezTo>
                  <a:pt x="354" y="49"/>
                  <a:pt x="355" y="49"/>
                  <a:pt x="355" y="48"/>
                </a:cubicBezTo>
                <a:cubicBezTo>
                  <a:pt x="355" y="48"/>
                  <a:pt x="355" y="48"/>
                  <a:pt x="355" y="48"/>
                </a:cubicBezTo>
                <a:cubicBezTo>
                  <a:pt x="355" y="48"/>
                  <a:pt x="356" y="48"/>
                  <a:pt x="356" y="48"/>
                </a:cubicBezTo>
                <a:cubicBezTo>
                  <a:pt x="357" y="48"/>
                  <a:pt x="358" y="47"/>
                  <a:pt x="359" y="47"/>
                </a:cubicBezTo>
                <a:cubicBezTo>
                  <a:pt x="359" y="47"/>
                  <a:pt x="360" y="47"/>
                  <a:pt x="361" y="47"/>
                </a:cubicBezTo>
                <a:cubicBezTo>
                  <a:pt x="361" y="47"/>
                  <a:pt x="360" y="48"/>
                  <a:pt x="360" y="48"/>
                </a:cubicBezTo>
                <a:cubicBezTo>
                  <a:pt x="358" y="48"/>
                  <a:pt x="356" y="49"/>
                  <a:pt x="354" y="50"/>
                </a:cubicBezTo>
                <a:cubicBezTo>
                  <a:pt x="355" y="50"/>
                  <a:pt x="355" y="51"/>
                  <a:pt x="355" y="51"/>
                </a:cubicBezTo>
                <a:cubicBezTo>
                  <a:pt x="355" y="51"/>
                  <a:pt x="355" y="51"/>
                  <a:pt x="356" y="51"/>
                </a:cubicBezTo>
                <a:cubicBezTo>
                  <a:pt x="355" y="51"/>
                  <a:pt x="355" y="51"/>
                  <a:pt x="355" y="51"/>
                </a:cubicBezTo>
                <a:cubicBezTo>
                  <a:pt x="356" y="52"/>
                  <a:pt x="358" y="51"/>
                  <a:pt x="359" y="51"/>
                </a:cubicBezTo>
                <a:cubicBezTo>
                  <a:pt x="359" y="51"/>
                  <a:pt x="360" y="51"/>
                  <a:pt x="361" y="51"/>
                </a:cubicBezTo>
                <a:cubicBezTo>
                  <a:pt x="361" y="50"/>
                  <a:pt x="362" y="50"/>
                  <a:pt x="362" y="50"/>
                </a:cubicBezTo>
                <a:cubicBezTo>
                  <a:pt x="362" y="49"/>
                  <a:pt x="365" y="49"/>
                  <a:pt x="366" y="49"/>
                </a:cubicBezTo>
                <a:cubicBezTo>
                  <a:pt x="367" y="49"/>
                  <a:pt x="368" y="49"/>
                  <a:pt x="369" y="49"/>
                </a:cubicBezTo>
                <a:cubicBezTo>
                  <a:pt x="369" y="48"/>
                  <a:pt x="370" y="48"/>
                  <a:pt x="371" y="48"/>
                </a:cubicBezTo>
                <a:cubicBezTo>
                  <a:pt x="371" y="48"/>
                  <a:pt x="371" y="48"/>
                  <a:pt x="372" y="48"/>
                </a:cubicBezTo>
                <a:cubicBezTo>
                  <a:pt x="372" y="48"/>
                  <a:pt x="372" y="48"/>
                  <a:pt x="372" y="47"/>
                </a:cubicBezTo>
                <a:cubicBezTo>
                  <a:pt x="372" y="47"/>
                  <a:pt x="373" y="47"/>
                  <a:pt x="372" y="47"/>
                </a:cubicBezTo>
                <a:cubicBezTo>
                  <a:pt x="372" y="47"/>
                  <a:pt x="371" y="46"/>
                  <a:pt x="372" y="46"/>
                </a:cubicBezTo>
                <a:cubicBezTo>
                  <a:pt x="372" y="46"/>
                  <a:pt x="373" y="46"/>
                  <a:pt x="373" y="46"/>
                </a:cubicBezTo>
                <a:cubicBezTo>
                  <a:pt x="374" y="46"/>
                  <a:pt x="374" y="46"/>
                  <a:pt x="375" y="46"/>
                </a:cubicBezTo>
                <a:cubicBezTo>
                  <a:pt x="376" y="46"/>
                  <a:pt x="376" y="46"/>
                  <a:pt x="375" y="45"/>
                </a:cubicBezTo>
                <a:cubicBezTo>
                  <a:pt x="375" y="45"/>
                  <a:pt x="374" y="45"/>
                  <a:pt x="374" y="45"/>
                </a:cubicBezTo>
                <a:cubicBezTo>
                  <a:pt x="374" y="45"/>
                  <a:pt x="375" y="44"/>
                  <a:pt x="374" y="44"/>
                </a:cubicBezTo>
                <a:cubicBezTo>
                  <a:pt x="375" y="44"/>
                  <a:pt x="376" y="44"/>
                  <a:pt x="377" y="44"/>
                </a:cubicBezTo>
                <a:cubicBezTo>
                  <a:pt x="378" y="44"/>
                  <a:pt x="378" y="44"/>
                  <a:pt x="379" y="44"/>
                </a:cubicBezTo>
                <a:cubicBezTo>
                  <a:pt x="380" y="43"/>
                  <a:pt x="381" y="43"/>
                  <a:pt x="383" y="43"/>
                </a:cubicBezTo>
                <a:cubicBezTo>
                  <a:pt x="383" y="43"/>
                  <a:pt x="383" y="43"/>
                  <a:pt x="383" y="43"/>
                </a:cubicBezTo>
                <a:cubicBezTo>
                  <a:pt x="383" y="42"/>
                  <a:pt x="380" y="42"/>
                  <a:pt x="380" y="42"/>
                </a:cubicBezTo>
                <a:cubicBezTo>
                  <a:pt x="380" y="42"/>
                  <a:pt x="380" y="41"/>
                  <a:pt x="381" y="41"/>
                </a:cubicBezTo>
                <a:cubicBezTo>
                  <a:pt x="380" y="41"/>
                  <a:pt x="379" y="41"/>
                  <a:pt x="379" y="41"/>
                </a:cubicBezTo>
                <a:cubicBezTo>
                  <a:pt x="378" y="41"/>
                  <a:pt x="377" y="41"/>
                  <a:pt x="376" y="41"/>
                </a:cubicBezTo>
                <a:cubicBezTo>
                  <a:pt x="376" y="41"/>
                  <a:pt x="376" y="41"/>
                  <a:pt x="377" y="41"/>
                </a:cubicBezTo>
                <a:cubicBezTo>
                  <a:pt x="375" y="42"/>
                  <a:pt x="374" y="41"/>
                  <a:pt x="373" y="42"/>
                </a:cubicBezTo>
                <a:cubicBezTo>
                  <a:pt x="374" y="42"/>
                  <a:pt x="374" y="42"/>
                  <a:pt x="374" y="42"/>
                </a:cubicBezTo>
                <a:cubicBezTo>
                  <a:pt x="374" y="42"/>
                  <a:pt x="375" y="42"/>
                  <a:pt x="376" y="42"/>
                </a:cubicBezTo>
                <a:cubicBezTo>
                  <a:pt x="375" y="43"/>
                  <a:pt x="374" y="43"/>
                  <a:pt x="374" y="43"/>
                </a:cubicBezTo>
                <a:cubicBezTo>
                  <a:pt x="373" y="43"/>
                  <a:pt x="372" y="42"/>
                  <a:pt x="372" y="43"/>
                </a:cubicBezTo>
                <a:cubicBezTo>
                  <a:pt x="372" y="43"/>
                  <a:pt x="373" y="43"/>
                  <a:pt x="372" y="43"/>
                </a:cubicBezTo>
                <a:cubicBezTo>
                  <a:pt x="372" y="43"/>
                  <a:pt x="371" y="43"/>
                  <a:pt x="371" y="43"/>
                </a:cubicBezTo>
                <a:cubicBezTo>
                  <a:pt x="369" y="43"/>
                  <a:pt x="368" y="43"/>
                  <a:pt x="367" y="42"/>
                </a:cubicBezTo>
                <a:cubicBezTo>
                  <a:pt x="368" y="42"/>
                  <a:pt x="368" y="42"/>
                  <a:pt x="368" y="42"/>
                </a:cubicBezTo>
                <a:cubicBezTo>
                  <a:pt x="367" y="42"/>
                  <a:pt x="366" y="42"/>
                  <a:pt x="366" y="43"/>
                </a:cubicBezTo>
                <a:cubicBezTo>
                  <a:pt x="365" y="43"/>
                  <a:pt x="364" y="42"/>
                  <a:pt x="363" y="42"/>
                </a:cubicBezTo>
                <a:cubicBezTo>
                  <a:pt x="362" y="42"/>
                  <a:pt x="360" y="43"/>
                  <a:pt x="359" y="43"/>
                </a:cubicBezTo>
                <a:cubicBezTo>
                  <a:pt x="358" y="43"/>
                  <a:pt x="357" y="43"/>
                  <a:pt x="356" y="44"/>
                </a:cubicBezTo>
                <a:cubicBezTo>
                  <a:pt x="355" y="44"/>
                  <a:pt x="354" y="44"/>
                  <a:pt x="352" y="45"/>
                </a:cubicBezTo>
                <a:cubicBezTo>
                  <a:pt x="351" y="45"/>
                  <a:pt x="350" y="45"/>
                  <a:pt x="349" y="45"/>
                </a:cubicBezTo>
                <a:cubicBezTo>
                  <a:pt x="348" y="45"/>
                  <a:pt x="347" y="46"/>
                  <a:pt x="346" y="46"/>
                </a:cubicBezTo>
                <a:cubicBezTo>
                  <a:pt x="346" y="46"/>
                  <a:pt x="345" y="46"/>
                  <a:pt x="345" y="47"/>
                </a:cubicBezTo>
                <a:cubicBezTo>
                  <a:pt x="345" y="47"/>
                  <a:pt x="345" y="47"/>
                  <a:pt x="344" y="47"/>
                </a:cubicBezTo>
                <a:cubicBezTo>
                  <a:pt x="343" y="47"/>
                  <a:pt x="342" y="47"/>
                  <a:pt x="341" y="48"/>
                </a:cubicBezTo>
                <a:cubicBezTo>
                  <a:pt x="340" y="48"/>
                  <a:pt x="338" y="48"/>
                  <a:pt x="337" y="48"/>
                </a:cubicBezTo>
                <a:cubicBezTo>
                  <a:pt x="336" y="49"/>
                  <a:pt x="335" y="49"/>
                  <a:pt x="334" y="49"/>
                </a:cubicBezTo>
                <a:cubicBezTo>
                  <a:pt x="333" y="50"/>
                  <a:pt x="332" y="50"/>
                  <a:pt x="331" y="50"/>
                </a:cubicBezTo>
                <a:cubicBezTo>
                  <a:pt x="330" y="50"/>
                  <a:pt x="330" y="50"/>
                  <a:pt x="329" y="50"/>
                </a:cubicBezTo>
                <a:cubicBezTo>
                  <a:pt x="329" y="50"/>
                  <a:pt x="328" y="50"/>
                  <a:pt x="328" y="50"/>
                </a:cubicBezTo>
                <a:cubicBezTo>
                  <a:pt x="326" y="50"/>
                  <a:pt x="325" y="51"/>
                  <a:pt x="324" y="51"/>
                </a:cubicBezTo>
                <a:cubicBezTo>
                  <a:pt x="324" y="51"/>
                  <a:pt x="323" y="51"/>
                  <a:pt x="323" y="51"/>
                </a:cubicBezTo>
                <a:cubicBezTo>
                  <a:pt x="323" y="52"/>
                  <a:pt x="322" y="52"/>
                  <a:pt x="321" y="52"/>
                </a:cubicBezTo>
                <a:cubicBezTo>
                  <a:pt x="320" y="52"/>
                  <a:pt x="319" y="53"/>
                  <a:pt x="318" y="53"/>
                </a:cubicBezTo>
                <a:cubicBezTo>
                  <a:pt x="319" y="53"/>
                  <a:pt x="321" y="52"/>
                  <a:pt x="322" y="53"/>
                </a:cubicBezTo>
                <a:close/>
                <a:moveTo>
                  <a:pt x="454" y="51"/>
                </a:moveTo>
                <a:cubicBezTo>
                  <a:pt x="454" y="51"/>
                  <a:pt x="454" y="51"/>
                  <a:pt x="454" y="51"/>
                </a:cubicBezTo>
                <a:cubicBezTo>
                  <a:pt x="454" y="51"/>
                  <a:pt x="454" y="51"/>
                  <a:pt x="454" y="51"/>
                </a:cubicBezTo>
                <a:close/>
                <a:moveTo>
                  <a:pt x="454" y="54"/>
                </a:moveTo>
                <a:cubicBezTo>
                  <a:pt x="455" y="54"/>
                  <a:pt x="456" y="53"/>
                  <a:pt x="457" y="54"/>
                </a:cubicBezTo>
                <a:cubicBezTo>
                  <a:pt x="457" y="54"/>
                  <a:pt x="454" y="54"/>
                  <a:pt x="454" y="55"/>
                </a:cubicBezTo>
                <a:cubicBezTo>
                  <a:pt x="454" y="55"/>
                  <a:pt x="455" y="55"/>
                  <a:pt x="454" y="56"/>
                </a:cubicBezTo>
                <a:cubicBezTo>
                  <a:pt x="455" y="56"/>
                  <a:pt x="456" y="55"/>
                  <a:pt x="457" y="55"/>
                </a:cubicBezTo>
                <a:cubicBezTo>
                  <a:pt x="457" y="56"/>
                  <a:pt x="456" y="56"/>
                  <a:pt x="455" y="56"/>
                </a:cubicBezTo>
                <a:cubicBezTo>
                  <a:pt x="455" y="56"/>
                  <a:pt x="454" y="56"/>
                  <a:pt x="453" y="56"/>
                </a:cubicBezTo>
                <a:cubicBezTo>
                  <a:pt x="453" y="56"/>
                  <a:pt x="454" y="55"/>
                  <a:pt x="454" y="55"/>
                </a:cubicBezTo>
                <a:cubicBezTo>
                  <a:pt x="453" y="55"/>
                  <a:pt x="452" y="54"/>
                  <a:pt x="451" y="55"/>
                </a:cubicBezTo>
                <a:cubicBezTo>
                  <a:pt x="451" y="55"/>
                  <a:pt x="450" y="55"/>
                  <a:pt x="449" y="55"/>
                </a:cubicBezTo>
                <a:cubicBezTo>
                  <a:pt x="449" y="55"/>
                  <a:pt x="447" y="56"/>
                  <a:pt x="448" y="56"/>
                </a:cubicBezTo>
                <a:cubicBezTo>
                  <a:pt x="449" y="56"/>
                  <a:pt x="449" y="56"/>
                  <a:pt x="449" y="56"/>
                </a:cubicBezTo>
                <a:cubicBezTo>
                  <a:pt x="449" y="56"/>
                  <a:pt x="449" y="56"/>
                  <a:pt x="448" y="56"/>
                </a:cubicBezTo>
                <a:cubicBezTo>
                  <a:pt x="448" y="56"/>
                  <a:pt x="449" y="56"/>
                  <a:pt x="449" y="56"/>
                </a:cubicBezTo>
                <a:cubicBezTo>
                  <a:pt x="449" y="56"/>
                  <a:pt x="449" y="56"/>
                  <a:pt x="449" y="56"/>
                </a:cubicBezTo>
                <a:cubicBezTo>
                  <a:pt x="448" y="57"/>
                  <a:pt x="447" y="56"/>
                  <a:pt x="446" y="56"/>
                </a:cubicBezTo>
                <a:cubicBezTo>
                  <a:pt x="446" y="56"/>
                  <a:pt x="445" y="56"/>
                  <a:pt x="445" y="57"/>
                </a:cubicBezTo>
                <a:cubicBezTo>
                  <a:pt x="445" y="57"/>
                  <a:pt x="444" y="57"/>
                  <a:pt x="444" y="57"/>
                </a:cubicBezTo>
                <a:cubicBezTo>
                  <a:pt x="444" y="57"/>
                  <a:pt x="443" y="57"/>
                  <a:pt x="443" y="57"/>
                </a:cubicBezTo>
                <a:cubicBezTo>
                  <a:pt x="442" y="57"/>
                  <a:pt x="443" y="57"/>
                  <a:pt x="443" y="57"/>
                </a:cubicBezTo>
                <a:cubicBezTo>
                  <a:pt x="443" y="57"/>
                  <a:pt x="443" y="58"/>
                  <a:pt x="442" y="58"/>
                </a:cubicBezTo>
                <a:cubicBezTo>
                  <a:pt x="443" y="58"/>
                  <a:pt x="443" y="58"/>
                  <a:pt x="443" y="58"/>
                </a:cubicBezTo>
                <a:cubicBezTo>
                  <a:pt x="443" y="58"/>
                  <a:pt x="443" y="58"/>
                  <a:pt x="443" y="58"/>
                </a:cubicBezTo>
                <a:cubicBezTo>
                  <a:pt x="443" y="58"/>
                  <a:pt x="444" y="58"/>
                  <a:pt x="445" y="58"/>
                </a:cubicBezTo>
                <a:cubicBezTo>
                  <a:pt x="446" y="58"/>
                  <a:pt x="447" y="58"/>
                  <a:pt x="447" y="58"/>
                </a:cubicBezTo>
                <a:cubicBezTo>
                  <a:pt x="449" y="58"/>
                  <a:pt x="450" y="57"/>
                  <a:pt x="452" y="57"/>
                </a:cubicBezTo>
                <a:cubicBezTo>
                  <a:pt x="451" y="58"/>
                  <a:pt x="453" y="57"/>
                  <a:pt x="453" y="57"/>
                </a:cubicBezTo>
                <a:cubicBezTo>
                  <a:pt x="453" y="57"/>
                  <a:pt x="454" y="57"/>
                  <a:pt x="455" y="57"/>
                </a:cubicBezTo>
                <a:cubicBezTo>
                  <a:pt x="456" y="57"/>
                  <a:pt x="457" y="57"/>
                  <a:pt x="458" y="57"/>
                </a:cubicBezTo>
                <a:cubicBezTo>
                  <a:pt x="460" y="57"/>
                  <a:pt x="463" y="56"/>
                  <a:pt x="465" y="56"/>
                </a:cubicBezTo>
                <a:cubicBezTo>
                  <a:pt x="465" y="56"/>
                  <a:pt x="464" y="56"/>
                  <a:pt x="464" y="57"/>
                </a:cubicBezTo>
                <a:cubicBezTo>
                  <a:pt x="465" y="57"/>
                  <a:pt x="466" y="56"/>
                  <a:pt x="467" y="56"/>
                </a:cubicBezTo>
                <a:cubicBezTo>
                  <a:pt x="468" y="56"/>
                  <a:pt x="469" y="56"/>
                  <a:pt x="469" y="56"/>
                </a:cubicBezTo>
                <a:cubicBezTo>
                  <a:pt x="468" y="57"/>
                  <a:pt x="467" y="56"/>
                  <a:pt x="466" y="57"/>
                </a:cubicBezTo>
                <a:cubicBezTo>
                  <a:pt x="464" y="57"/>
                  <a:pt x="463" y="57"/>
                  <a:pt x="462" y="57"/>
                </a:cubicBezTo>
                <a:cubicBezTo>
                  <a:pt x="462" y="57"/>
                  <a:pt x="463" y="57"/>
                  <a:pt x="463" y="57"/>
                </a:cubicBezTo>
                <a:cubicBezTo>
                  <a:pt x="462" y="58"/>
                  <a:pt x="461" y="57"/>
                  <a:pt x="460" y="58"/>
                </a:cubicBezTo>
                <a:cubicBezTo>
                  <a:pt x="461" y="58"/>
                  <a:pt x="461" y="58"/>
                  <a:pt x="461" y="58"/>
                </a:cubicBezTo>
                <a:cubicBezTo>
                  <a:pt x="460" y="58"/>
                  <a:pt x="459" y="58"/>
                  <a:pt x="458" y="58"/>
                </a:cubicBezTo>
                <a:cubicBezTo>
                  <a:pt x="459" y="58"/>
                  <a:pt x="460" y="58"/>
                  <a:pt x="460" y="58"/>
                </a:cubicBezTo>
                <a:cubicBezTo>
                  <a:pt x="459" y="58"/>
                  <a:pt x="458" y="58"/>
                  <a:pt x="458" y="58"/>
                </a:cubicBezTo>
                <a:cubicBezTo>
                  <a:pt x="458" y="58"/>
                  <a:pt x="459" y="58"/>
                  <a:pt x="459" y="58"/>
                </a:cubicBezTo>
                <a:cubicBezTo>
                  <a:pt x="458" y="59"/>
                  <a:pt x="456" y="58"/>
                  <a:pt x="455" y="59"/>
                </a:cubicBezTo>
                <a:cubicBezTo>
                  <a:pt x="455" y="59"/>
                  <a:pt x="455" y="59"/>
                  <a:pt x="455" y="59"/>
                </a:cubicBezTo>
                <a:cubicBezTo>
                  <a:pt x="456" y="59"/>
                  <a:pt x="456" y="59"/>
                  <a:pt x="456" y="59"/>
                </a:cubicBezTo>
                <a:cubicBezTo>
                  <a:pt x="455" y="59"/>
                  <a:pt x="454" y="59"/>
                  <a:pt x="454" y="59"/>
                </a:cubicBezTo>
                <a:cubicBezTo>
                  <a:pt x="454" y="59"/>
                  <a:pt x="454" y="59"/>
                  <a:pt x="455" y="59"/>
                </a:cubicBezTo>
                <a:cubicBezTo>
                  <a:pt x="454" y="59"/>
                  <a:pt x="454" y="59"/>
                  <a:pt x="453" y="59"/>
                </a:cubicBezTo>
                <a:cubicBezTo>
                  <a:pt x="454" y="59"/>
                  <a:pt x="454" y="60"/>
                  <a:pt x="455" y="60"/>
                </a:cubicBezTo>
                <a:cubicBezTo>
                  <a:pt x="455" y="60"/>
                  <a:pt x="456" y="60"/>
                  <a:pt x="456" y="60"/>
                </a:cubicBezTo>
                <a:cubicBezTo>
                  <a:pt x="456" y="60"/>
                  <a:pt x="455" y="60"/>
                  <a:pt x="455" y="60"/>
                </a:cubicBezTo>
                <a:cubicBezTo>
                  <a:pt x="456" y="60"/>
                  <a:pt x="456" y="60"/>
                  <a:pt x="457" y="60"/>
                </a:cubicBezTo>
                <a:cubicBezTo>
                  <a:pt x="456" y="61"/>
                  <a:pt x="454" y="60"/>
                  <a:pt x="453" y="61"/>
                </a:cubicBezTo>
                <a:cubicBezTo>
                  <a:pt x="454" y="61"/>
                  <a:pt x="452" y="62"/>
                  <a:pt x="453" y="62"/>
                </a:cubicBezTo>
                <a:cubicBezTo>
                  <a:pt x="454" y="63"/>
                  <a:pt x="456" y="62"/>
                  <a:pt x="457" y="63"/>
                </a:cubicBezTo>
                <a:cubicBezTo>
                  <a:pt x="457" y="62"/>
                  <a:pt x="458" y="62"/>
                  <a:pt x="458" y="62"/>
                </a:cubicBezTo>
                <a:cubicBezTo>
                  <a:pt x="458" y="62"/>
                  <a:pt x="459" y="62"/>
                  <a:pt x="459" y="62"/>
                </a:cubicBezTo>
                <a:cubicBezTo>
                  <a:pt x="460" y="61"/>
                  <a:pt x="460" y="61"/>
                  <a:pt x="461" y="61"/>
                </a:cubicBezTo>
                <a:cubicBezTo>
                  <a:pt x="460" y="62"/>
                  <a:pt x="459" y="62"/>
                  <a:pt x="458" y="62"/>
                </a:cubicBezTo>
                <a:cubicBezTo>
                  <a:pt x="459" y="63"/>
                  <a:pt x="460" y="62"/>
                  <a:pt x="461" y="62"/>
                </a:cubicBezTo>
                <a:cubicBezTo>
                  <a:pt x="461" y="62"/>
                  <a:pt x="462" y="62"/>
                  <a:pt x="463" y="62"/>
                </a:cubicBezTo>
                <a:cubicBezTo>
                  <a:pt x="462" y="62"/>
                  <a:pt x="462" y="62"/>
                  <a:pt x="463" y="62"/>
                </a:cubicBezTo>
                <a:cubicBezTo>
                  <a:pt x="462" y="62"/>
                  <a:pt x="464" y="62"/>
                  <a:pt x="464" y="62"/>
                </a:cubicBezTo>
                <a:cubicBezTo>
                  <a:pt x="464" y="62"/>
                  <a:pt x="465" y="62"/>
                  <a:pt x="465" y="62"/>
                </a:cubicBezTo>
                <a:cubicBezTo>
                  <a:pt x="466" y="62"/>
                  <a:pt x="467" y="62"/>
                  <a:pt x="468" y="62"/>
                </a:cubicBezTo>
                <a:cubicBezTo>
                  <a:pt x="468" y="62"/>
                  <a:pt x="469" y="62"/>
                  <a:pt x="469" y="61"/>
                </a:cubicBezTo>
                <a:cubicBezTo>
                  <a:pt x="469" y="61"/>
                  <a:pt x="469" y="61"/>
                  <a:pt x="469" y="61"/>
                </a:cubicBezTo>
                <a:cubicBezTo>
                  <a:pt x="468" y="61"/>
                  <a:pt x="470" y="61"/>
                  <a:pt x="470" y="60"/>
                </a:cubicBezTo>
                <a:cubicBezTo>
                  <a:pt x="469" y="61"/>
                  <a:pt x="469" y="61"/>
                  <a:pt x="469" y="61"/>
                </a:cubicBezTo>
                <a:cubicBezTo>
                  <a:pt x="469" y="61"/>
                  <a:pt x="470" y="61"/>
                  <a:pt x="470" y="61"/>
                </a:cubicBezTo>
                <a:cubicBezTo>
                  <a:pt x="471" y="61"/>
                  <a:pt x="472" y="61"/>
                  <a:pt x="472" y="61"/>
                </a:cubicBezTo>
                <a:cubicBezTo>
                  <a:pt x="472" y="61"/>
                  <a:pt x="471" y="61"/>
                  <a:pt x="472" y="61"/>
                </a:cubicBezTo>
                <a:cubicBezTo>
                  <a:pt x="472" y="61"/>
                  <a:pt x="471" y="61"/>
                  <a:pt x="471" y="61"/>
                </a:cubicBezTo>
                <a:cubicBezTo>
                  <a:pt x="472" y="60"/>
                  <a:pt x="471" y="60"/>
                  <a:pt x="471" y="60"/>
                </a:cubicBezTo>
                <a:cubicBezTo>
                  <a:pt x="471" y="60"/>
                  <a:pt x="471" y="60"/>
                  <a:pt x="471" y="60"/>
                </a:cubicBezTo>
                <a:cubicBezTo>
                  <a:pt x="471" y="60"/>
                  <a:pt x="471" y="60"/>
                  <a:pt x="472" y="59"/>
                </a:cubicBezTo>
                <a:cubicBezTo>
                  <a:pt x="471" y="59"/>
                  <a:pt x="470" y="60"/>
                  <a:pt x="470" y="60"/>
                </a:cubicBezTo>
                <a:cubicBezTo>
                  <a:pt x="470" y="60"/>
                  <a:pt x="470" y="60"/>
                  <a:pt x="471" y="59"/>
                </a:cubicBezTo>
                <a:cubicBezTo>
                  <a:pt x="470" y="59"/>
                  <a:pt x="470" y="59"/>
                  <a:pt x="470" y="59"/>
                </a:cubicBezTo>
                <a:cubicBezTo>
                  <a:pt x="471" y="59"/>
                  <a:pt x="471" y="59"/>
                  <a:pt x="472" y="59"/>
                </a:cubicBezTo>
                <a:cubicBezTo>
                  <a:pt x="472" y="59"/>
                  <a:pt x="472" y="59"/>
                  <a:pt x="472" y="59"/>
                </a:cubicBezTo>
                <a:cubicBezTo>
                  <a:pt x="472" y="58"/>
                  <a:pt x="473" y="59"/>
                  <a:pt x="473" y="59"/>
                </a:cubicBezTo>
                <a:cubicBezTo>
                  <a:pt x="473" y="59"/>
                  <a:pt x="473" y="59"/>
                  <a:pt x="472" y="58"/>
                </a:cubicBezTo>
                <a:cubicBezTo>
                  <a:pt x="472" y="58"/>
                  <a:pt x="473" y="58"/>
                  <a:pt x="472" y="58"/>
                </a:cubicBezTo>
                <a:cubicBezTo>
                  <a:pt x="473" y="58"/>
                  <a:pt x="474" y="58"/>
                  <a:pt x="474" y="58"/>
                </a:cubicBezTo>
                <a:cubicBezTo>
                  <a:pt x="474" y="58"/>
                  <a:pt x="475" y="58"/>
                  <a:pt x="474" y="58"/>
                </a:cubicBezTo>
                <a:cubicBezTo>
                  <a:pt x="475" y="57"/>
                  <a:pt x="476" y="57"/>
                  <a:pt x="476" y="58"/>
                </a:cubicBezTo>
                <a:cubicBezTo>
                  <a:pt x="476" y="58"/>
                  <a:pt x="475" y="58"/>
                  <a:pt x="475" y="59"/>
                </a:cubicBezTo>
                <a:cubicBezTo>
                  <a:pt x="476" y="59"/>
                  <a:pt x="476" y="59"/>
                  <a:pt x="476" y="59"/>
                </a:cubicBezTo>
                <a:cubicBezTo>
                  <a:pt x="476" y="58"/>
                  <a:pt x="478" y="57"/>
                  <a:pt x="478" y="57"/>
                </a:cubicBezTo>
                <a:cubicBezTo>
                  <a:pt x="479" y="56"/>
                  <a:pt x="479" y="56"/>
                  <a:pt x="478" y="56"/>
                </a:cubicBezTo>
                <a:cubicBezTo>
                  <a:pt x="477" y="56"/>
                  <a:pt x="477" y="56"/>
                  <a:pt x="476" y="56"/>
                </a:cubicBezTo>
                <a:cubicBezTo>
                  <a:pt x="477" y="55"/>
                  <a:pt x="478" y="56"/>
                  <a:pt x="479" y="55"/>
                </a:cubicBezTo>
                <a:cubicBezTo>
                  <a:pt x="480" y="55"/>
                  <a:pt x="480" y="54"/>
                  <a:pt x="480" y="54"/>
                </a:cubicBezTo>
                <a:cubicBezTo>
                  <a:pt x="481" y="54"/>
                  <a:pt x="481" y="53"/>
                  <a:pt x="482" y="53"/>
                </a:cubicBezTo>
                <a:cubicBezTo>
                  <a:pt x="483" y="53"/>
                  <a:pt x="484" y="53"/>
                  <a:pt x="483" y="52"/>
                </a:cubicBezTo>
                <a:cubicBezTo>
                  <a:pt x="483" y="51"/>
                  <a:pt x="485" y="50"/>
                  <a:pt x="485" y="50"/>
                </a:cubicBezTo>
                <a:cubicBezTo>
                  <a:pt x="485" y="49"/>
                  <a:pt x="482" y="49"/>
                  <a:pt x="482" y="49"/>
                </a:cubicBezTo>
                <a:cubicBezTo>
                  <a:pt x="482" y="49"/>
                  <a:pt x="483" y="49"/>
                  <a:pt x="483" y="49"/>
                </a:cubicBezTo>
                <a:cubicBezTo>
                  <a:pt x="483" y="49"/>
                  <a:pt x="482" y="49"/>
                  <a:pt x="483" y="48"/>
                </a:cubicBezTo>
                <a:cubicBezTo>
                  <a:pt x="482" y="48"/>
                  <a:pt x="481" y="48"/>
                  <a:pt x="480" y="48"/>
                </a:cubicBezTo>
                <a:cubicBezTo>
                  <a:pt x="481" y="49"/>
                  <a:pt x="481" y="48"/>
                  <a:pt x="482" y="48"/>
                </a:cubicBezTo>
                <a:cubicBezTo>
                  <a:pt x="481" y="48"/>
                  <a:pt x="480" y="49"/>
                  <a:pt x="480" y="49"/>
                </a:cubicBezTo>
                <a:cubicBezTo>
                  <a:pt x="480" y="49"/>
                  <a:pt x="479" y="49"/>
                  <a:pt x="479" y="49"/>
                </a:cubicBezTo>
                <a:cubicBezTo>
                  <a:pt x="478" y="49"/>
                  <a:pt x="478" y="49"/>
                  <a:pt x="477" y="49"/>
                </a:cubicBezTo>
                <a:cubicBezTo>
                  <a:pt x="478" y="49"/>
                  <a:pt x="478" y="50"/>
                  <a:pt x="477" y="50"/>
                </a:cubicBezTo>
                <a:cubicBezTo>
                  <a:pt x="477" y="50"/>
                  <a:pt x="477" y="50"/>
                  <a:pt x="477" y="50"/>
                </a:cubicBezTo>
                <a:cubicBezTo>
                  <a:pt x="476" y="50"/>
                  <a:pt x="476" y="50"/>
                  <a:pt x="475" y="50"/>
                </a:cubicBezTo>
                <a:cubicBezTo>
                  <a:pt x="475" y="50"/>
                  <a:pt x="475" y="50"/>
                  <a:pt x="475" y="50"/>
                </a:cubicBezTo>
                <a:cubicBezTo>
                  <a:pt x="475" y="50"/>
                  <a:pt x="476" y="50"/>
                  <a:pt x="476" y="50"/>
                </a:cubicBezTo>
                <a:cubicBezTo>
                  <a:pt x="476" y="49"/>
                  <a:pt x="476" y="50"/>
                  <a:pt x="475" y="49"/>
                </a:cubicBezTo>
                <a:cubicBezTo>
                  <a:pt x="475" y="49"/>
                  <a:pt x="474" y="49"/>
                  <a:pt x="474" y="49"/>
                </a:cubicBezTo>
                <a:cubicBezTo>
                  <a:pt x="474" y="49"/>
                  <a:pt x="475" y="49"/>
                  <a:pt x="475" y="49"/>
                </a:cubicBezTo>
                <a:cubicBezTo>
                  <a:pt x="475" y="48"/>
                  <a:pt x="473" y="49"/>
                  <a:pt x="473" y="49"/>
                </a:cubicBezTo>
                <a:cubicBezTo>
                  <a:pt x="472" y="49"/>
                  <a:pt x="471" y="48"/>
                  <a:pt x="471" y="48"/>
                </a:cubicBezTo>
                <a:cubicBezTo>
                  <a:pt x="469" y="48"/>
                  <a:pt x="468" y="49"/>
                  <a:pt x="466" y="49"/>
                </a:cubicBezTo>
                <a:cubicBezTo>
                  <a:pt x="466" y="49"/>
                  <a:pt x="465" y="49"/>
                  <a:pt x="464" y="50"/>
                </a:cubicBezTo>
                <a:cubicBezTo>
                  <a:pt x="464" y="50"/>
                  <a:pt x="465" y="50"/>
                  <a:pt x="465" y="51"/>
                </a:cubicBezTo>
                <a:cubicBezTo>
                  <a:pt x="465" y="51"/>
                  <a:pt x="468" y="51"/>
                  <a:pt x="468" y="51"/>
                </a:cubicBezTo>
                <a:cubicBezTo>
                  <a:pt x="468" y="51"/>
                  <a:pt x="468" y="51"/>
                  <a:pt x="468" y="51"/>
                </a:cubicBezTo>
                <a:cubicBezTo>
                  <a:pt x="468" y="51"/>
                  <a:pt x="469" y="51"/>
                  <a:pt x="469" y="51"/>
                </a:cubicBezTo>
                <a:cubicBezTo>
                  <a:pt x="469" y="51"/>
                  <a:pt x="469" y="51"/>
                  <a:pt x="468" y="51"/>
                </a:cubicBezTo>
                <a:cubicBezTo>
                  <a:pt x="469" y="51"/>
                  <a:pt x="469" y="51"/>
                  <a:pt x="469" y="51"/>
                </a:cubicBezTo>
                <a:cubicBezTo>
                  <a:pt x="469" y="52"/>
                  <a:pt x="468" y="51"/>
                  <a:pt x="467" y="51"/>
                </a:cubicBezTo>
                <a:cubicBezTo>
                  <a:pt x="467" y="51"/>
                  <a:pt x="468" y="51"/>
                  <a:pt x="468" y="51"/>
                </a:cubicBezTo>
                <a:cubicBezTo>
                  <a:pt x="467" y="52"/>
                  <a:pt x="466" y="51"/>
                  <a:pt x="465" y="52"/>
                </a:cubicBezTo>
                <a:cubicBezTo>
                  <a:pt x="464" y="52"/>
                  <a:pt x="466" y="52"/>
                  <a:pt x="466" y="52"/>
                </a:cubicBezTo>
                <a:cubicBezTo>
                  <a:pt x="466" y="52"/>
                  <a:pt x="467" y="52"/>
                  <a:pt x="467" y="52"/>
                </a:cubicBezTo>
                <a:cubicBezTo>
                  <a:pt x="468" y="52"/>
                  <a:pt x="468" y="52"/>
                  <a:pt x="468" y="52"/>
                </a:cubicBezTo>
                <a:cubicBezTo>
                  <a:pt x="469" y="52"/>
                  <a:pt x="470" y="52"/>
                  <a:pt x="471" y="52"/>
                </a:cubicBezTo>
                <a:cubicBezTo>
                  <a:pt x="469" y="53"/>
                  <a:pt x="467" y="53"/>
                  <a:pt x="465" y="53"/>
                </a:cubicBezTo>
                <a:cubicBezTo>
                  <a:pt x="466" y="53"/>
                  <a:pt x="465" y="53"/>
                  <a:pt x="465" y="53"/>
                </a:cubicBezTo>
                <a:cubicBezTo>
                  <a:pt x="465" y="53"/>
                  <a:pt x="466" y="53"/>
                  <a:pt x="466" y="53"/>
                </a:cubicBezTo>
                <a:cubicBezTo>
                  <a:pt x="466" y="54"/>
                  <a:pt x="465" y="54"/>
                  <a:pt x="465" y="54"/>
                </a:cubicBezTo>
                <a:cubicBezTo>
                  <a:pt x="466" y="54"/>
                  <a:pt x="465" y="54"/>
                  <a:pt x="466" y="54"/>
                </a:cubicBezTo>
                <a:cubicBezTo>
                  <a:pt x="466" y="54"/>
                  <a:pt x="466" y="54"/>
                  <a:pt x="465" y="54"/>
                </a:cubicBezTo>
                <a:cubicBezTo>
                  <a:pt x="466" y="54"/>
                  <a:pt x="468" y="54"/>
                  <a:pt x="469" y="54"/>
                </a:cubicBezTo>
                <a:cubicBezTo>
                  <a:pt x="468" y="54"/>
                  <a:pt x="467" y="54"/>
                  <a:pt x="466" y="54"/>
                </a:cubicBezTo>
                <a:cubicBezTo>
                  <a:pt x="466" y="55"/>
                  <a:pt x="465" y="55"/>
                  <a:pt x="464" y="55"/>
                </a:cubicBezTo>
                <a:cubicBezTo>
                  <a:pt x="464" y="55"/>
                  <a:pt x="464" y="55"/>
                  <a:pt x="464" y="54"/>
                </a:cubicBezTo>
                <a:cubicBezTo>
                  <a:pt x="464" y="54"/>
                  <a:pt x="464" y="55"/>
                  <a:pt x="463" y="54"/>
                </a:cubicBezTo>
                <a:cubicBezTo>
                  <a:pt x="464" y="54"/>
                  <a:pt x="464" y="54"/>
                  <a:pt x="464" y="54"/>
                </a:cubicBezTo>
                <a:cubicBezTo>
                  <a:pt x="464" y="54"/>
                  <a:pt x="464" y="54"/>
                  <a:pt x="464" y="53"/>
                </a:cubicBezTo>
                <a:cubicBezTo>
                  <a:pt x="463" y="53"/>
                  <a:pt x="463" y="53"/>
                  <a:pt x="462" y="53"/>
                </a:cubicBezTo>
                <a:cubicBezTo>
                  <a:pt x="463" y="53"/>
                  <a:pt x="463" y="53"/>
                  <a:pt x="464" y="53"/>
                </a:cubicBezTo>
                <a:cubicBezTo>
                  <a:pt x="463" y="53"/>
                  <a:pt x="462" y="53"/>
                  <a:pt x="462" y="53"/>
                </a:cubicBezTo>
                <a:cubicBezTo>
                  <a:pt x="462" y="53"/>
                  <a:pt x="463" y="53"/>
                  <a:pt x="462" y="52"/>
                </a:cubicBezTo>
                <a:cubicBezTo>
                  <a:pt x="462" y="52"/>
                  <a:pt x="461" y="52"/>
                  <a:pt x="461" y="52"/>
                </a:cubicBezTo>
                <a:cubicBezTo>
                  <a:pt x="461" y="51"/>
                  <a:pt x="462" y="51"/>
                  <a:pt x="462" y="51"/>
                </a:cubicBezTo>
                <a:cubicBezTo>
                  <a:pt x="461" y="51"/>
                  <a:pt x="461" y="50"/>
                  <a:pt x="460" y="50"/>
                </a:cubicBezTo>
                <a:cubicBezTo>
                  <a:pt x="460" y="50"/>
                  <a:pt x="459" y="50"/>
                  <a:pt x="459" y="50"/>
                </a:cubicBezTo>
                <a:cubicBezTo>
                  <a:pt x="458" y="50"/>
                  <a:pt x="458" y="50"/>
                  <a:pt x="457" y="50"/>
                </a:cubicBezTo>
                <a:cubicBezTo>
                  <a:pt x="457" y="50"/>
                  <a:pt x="456" y="50"/>
                  <a:pt x="457" y="51"/>
                </a:cubicBezTo>
                <a:cubicBezTo>
                  <a:pt x="456" y="51"/>
                  <a:pt x="456" y="51"/>
                  <a:pt x="456" y="51"/>
                </a:cubicBezTo>
                <a:cubicBezTo>
                  <a:pt x="455" y="51"/>
                  <a:pt x="455" y="51"/>
                  <a:pt x="454" y="51"/>
                </a:cubicBezTo>
                <a:cubicBezTo>
                  <a:pt x="455" y="51"/>
                  <a:pt x="455" y="51"/>
                  <a:pt x="455" y="51"/>
                </a:cubicBezTo>
                <a:cubicBezTo>
                  <a:pt x="455" y="51"/>
                  <a:pt x="454" y="52"/>
                  <a:pt x="454" y="52"/>
                </a:cubicBezTo>
                <a:cubicBezTo>
                  <a:pt x="454" y="52"/>
                  <a:pt x="455" y="52"/>
                  <a:pt x="456" y="52"/>
                </a:cubicBezTo>
                <a:cubicBezTo>
                  <a:pt x="457" y="52"/>
                  <a:pt x="458" y="52"/>
                  <a:pt x="459" y="52"/>
                </a:cubicBezTo>
                <a:cubicBezTo>
                  <a:pt x="458" y="52"/>
                  <a:pt x="456" y="52"/>
                  <a:pt x="455" y="53"/>
                </a:cubicBezTo>
                <a:cubicBezTo>
                  <a:pt x="455" y="53"/>
                  <a:pt x="453" y="53"/>
                  <a:pt x="454" y="54"/>
                </a:cubicBezTo>
                <a:close/>
                <a:moveTo>
                  <a:pt x="496" y="46"/>
                </a:moveTo>
                <a:cubicBezTo>
                  <a:pt x="497" y="45"/>
                  <a:pt x="498" y="45"/>
                  <a:pt x="498" y="46"/>
                </a:cubicBezTo>
                <a:cubicBezTo>
                  <a:pt x="499" y="46"/>
                  <a:pt x="500" y="46"/>
                  <a:pt x="500" y="45"/>
                </a:cubicBezTo>
                <a:cubicBezTo>
                  <a:pt x="500" y="45"/>
                  <a:pt x="500" y="45"/>
                  <a:pt x="500" y="45"/>
                </a:cubicBezTo>
                <a:cubicBezTo>
                  <a:pt x="501" y="45"/>
                  <a:pt x="502" y="45"/>
                  <a:pt x="503" y="45"/>
                </a:cubicBezTo>
                <a:cubicBezTo>
                  <a:pt x="504" y="45"/>
                  <a:pt x="505" y="45"/>
                  <a:pt x="506" y="45"/>
                </a:cubicBezTo>
                <a:cubicBezTo>
                  <a:pt x="506" y="45"/>
                  <a:pt x="507" y="45"/>
                  <a:pt x="508" y="46"/>
                </a:cubicBezTo>
                <a:cubicBezTo>
                  <a:pt x="509" y="46"/>
                  <a:pt x="510" y="45"/>
                  <a:pt x="510" y="46"/>
                </a:cubicBezTo>
                <a:cubicBezTo>
                  <a:pt x="511" y="46"/>
                  <a:pt x="511" y="46"/>
                  <a:pt x="511" y="46"/>
                </a:cubicBezTo>
                <a:cubicBezTo>
                  <a:pt x="510" y="46"/>
                  <a:pt x="511" y="46"/>
                  <a:pt x="511" y="46"/>
                </a:cubicBezTo>
                <a:cubicBezTo>
                  <a:pt x="512" y="46"/>
                  <a:pt x="513" y="46"/>
                  <a:pt x="514" y="46"/>
                </a:cubicBezTo>
                <a:cubicBezTo>
                  <a:pt x="514" y="46"/>
                  <a:pt x="515" y="46"/>
                  <a:pt x="515" y="46"/>
                </a:cubicBezTo>
                <a:cubicBezTo>
                  <a:pt x="516" y="47"/>
                  <a:pt x="517" y="48"/>
                  <a:pt x="517" y="48"/>
                </a:cubicBezTo>
                <a:cubicBezTo>
                  <a:pt x="516" y="49"/>
                  <a:pt x="514" y="49"/>
                  <a:pt x="513" y="49"/>
                </a:cubicBezTo>
                <a:cubicBezTo>
                  <a:pt x="513" y="50"/>
                  <a:pt x="511" y="50"/>
                  <a:pt x="511" y="50"/>
                </a:cubicBezTo>
                <a:cubicBezTo>
                  <a:pt x="510" y="50"/>
                  <a:pt x="511" y="50"/>
                  <a:pt x="512" y="50"/>
                </a:cubicBezTo>
                <a:cubicBezTo>
                  <a:pt x="511" y="50"/>
                  <a:pt x="511" y="50"/>
                  <a:pt x="511" y="50"/>
                </a:cubicBezTo>
                <a:cubicBezTo>
                  <a:pt x="512" y="50"/>
                  <a:pt x="513" y="50"/>
                  <a:pt x="515" y="49"/>
                </a:cubicBezTo>
                <a:cubicBezTo>
                  <a:pt x="516" y="49"/>
                  <a:pt x="517" y="49"/>
                  <a:pt x="519" y="49"/>
                </a:cubicBezTo>
                <a:cubicBezTo>
                  <a:pt x="520" y="49"/>
                  <a:pt x="521" y="49"/>
                  <a:pt x="522" y="49"/>
                </a:cubicBezTo>
                <a:cubicBezTo>
                  <a:pt x="523" y="48"/>
                  <a:pt x="525" y="48"/>
                  <a:pt x="526" y="48"/>
                </a:cubicBezTo>
                <a:cubicBezTo>
                  <a:pt x="527" y="48"/>
                  <a:pt x="527" y="48"/>
                  <a:pt x="528" y="48"/>
                </a:cubicBezTo>
                <a:cubicBezTo>
                  <a:pt x="528" y="48"/>
                  <a:pt x="529" y="48"/>
                  <a:pt x="529" y="48"/>
                </a:cubicBezTo>
                <a:cubicBezTo>
                  <a:pt x="530" y="48"/>
                  <a:pt x="530" y="49"/>
                  <a:pt x="531" y="49"/>
                </a:cubicBezTo>
                <a:cubicBezTo>
                  <a:pt x="531" y="49"/>
                  <a:pt x="532" y="49"/>
                  <a:pt x="532" y="49"/>
                </a:cubicBezTo>
                <a:cubicBezTo>
                  <a:pt x="532" y="50"/>
                  <a:pt x="531" y="50"/>
                  <a:pt x="531" y="50"/>
                </a:cubicBezTo>
                <a:cubicBezTo>
                  <a:pt x="531" y="50"/>
                  <a:pt x="530" y="50"/>
                  <a:pt x="530" y="50"/>
                </a:cubicBezTo>
                <a:cubicBezTo>
                  <a:pt x="529" y="50"/>
                  <a:pt x="529" y="50"/>
                  <a:pt x="528" y="50"/>
                </a:cubicBezTo>
                <a:cubicBezTo>
                  <a:pt x="527" y="50"/>
                  <a:pt x="526" y="49"/>
                  <a:pt x="525" y="50"/>
                </a:cubicBezTo>
                <a:cubicBezTo>
                  <a:pt x="526" y="50"/>
                  <a:pt x="527" y="50"/>
                  <a:pt x="528" y="50"/>
                </a:cubicBezTo>
                <a:cubicBezTo>
                  <a:pt x="529" y="50"/>
                  <a:pt x="530" y="50"/>
                  <a:pt x="530" y="50"/>
                </a:cubicBezTo>
                <a:cubicBezTo>
                  <a:pt x="532" y="50"/>
                  <a:pt x="534" y="51"/>
                  <a:pt x="536" y="51"/>
                </a:cubicBezTo>
                <a:cubicBezTo>
                  <a:pt x="536" y="51"/>
                  <a:pt x="537" y="51"/>
                  <a:pt x="537" y="52"/>
                </a:cubicBezTo>
                <a:cubicBezTo>
                  <a:pt x="537" y="52"/>
                  <a:pt x="536" y="52"/>
                  <a:pt x="535" y="52"/>
                </a:cubicBezTo>
                <a:cubicBezTo>
                  <a:pt x="534" y="52"/>
                  <a:pt x="533" y="52"/>
                  <a:pt x="532" y="52"/>
                </a:cubicBezTo>
                <a:cubicBezTo>
                  <a:pt x="531" y="52"/>
                  <a:pt x="529" y="52"/>
                  <a:pt x="528" y="52"/>
                </a:cubicBezTo>
                <a:cubicBezTo>
                  <a:pt x="529" y="53"/>
                  <a:pt x="530" y="52"/>
                  <a:pt x="531" y="53"/>
                </a:cubicBezTo>
                <a:cubicBezTo>
                  <a:pt x="530" y="53"/>
                  <a:pt x="529" y="53"/>
                  <a:pt x="529" y="53"/>
                </a:cubicBezTo>
                <a:cubicBezTo>
                  <a:pt x="528" y="52"/>
                  <a:pt x="527" y="52"/>
                  <a:pt x="526" y="52"/>
                </a:cubicBezTo>
                <a:cubicBezTo>
                  <a:pt x="526" y="52"/>
                  <a:pt x="525" y="52"/>
                  <a:pt x="524" y="52"/>
                </a:cubicBezTo>
                <a:cubicBezTo>
                  <a:pt x="523" y="52"/>
                  <a:pt x="523" y="51"/>
                  <a:pt x="522" y="52"/>
                </a:cubicBezTo>
                <a:cubicBezTo>
                  <a:pt x="522" y="52"/>
                  <a:pt x="523" y="52"/>
                  <a:pt x="524" y="52"/>
                </a:cubicBezTo>
                <a:cubicBezTo>
                  <a:pt x="523" y="52"/>
                  <a:pt x="523" y="52"/>
                  <a:pt x="522" y="52"/>
                </a:cubicBezTo>
                <a:cubicBezTo>
                  <a:pt x="523" y="53"/>
                  <a:pt x="523" y="52"/>
                  <a:pt x="524" y="52"/>
                </a:cubicBezTo>
                <a:cubicBezTo>
                  <a:pt x="525" y="53"/>
                  <a:pt x="526" y="53"/>
                  <a:pt x="526" y="53"/>
                </a:cubicBezTo>
                <a:cubicBezTo>
                  <a:pt x="526" y="53"/>
                  <a:pt x="525" y="53"/>
                  <a:pt x="525" y="53"/>
                </a:cubicBezTo>
                <a:cubicBezTo>
                  <a:pt x="525" y="53"/>
                  <a:pt x="526" y="53"/>
                  <a:pt x="527" y="53"/>
                </a:cubicBezTo>
                <a:cubicBezTo>
                  <a:pt x="527" y="53"/>
                  <a:pt x="528" y="53"/>
                  <a:pt x="529" y="53"/>
                </a:cubicBezTo>
                <a:cubicBezTo>
                  <a:pt x="528" y="54"/>
                  <a:pt x="527" y="54"/>
                  <a:pt x="526" y="54"/>
                </a:cubicBezTo>
                <a:cubicBezTo>
                  <a:pt x="525" y="53"/>
                  <a:pt x="524" y="53"/>
                  <a:pt x="522" y="54"/>
                </a:cubicBezTo>
                <a:cubicBezTo>
                  <a:pt x="523" y="54"/>
                  <a:pt x="523" y="54"/>
                  <a:pt x="524" y="54"/>
                </a:cubicBezTo>
                <a:cubicBezTo>
                  <a:pt x="523" y="54"/>
                  <a:pt x="523" y="54"/>
                  <a:pt x="523" y="54"/>
                </a:cubicBezTo>
                <a:cubicBezTo>
                  <a:pt x="523" y="54"/>
                  <a:pt x="523" y="54"/>
                  <a:pt x="523" y="54"/>
                </a:cubicBezTo>
                <a:cubicBezTo>
                  <a:pt x="522" y="54"/>
                  <a:pt x="522" y="54"/>
                  <a:pt x="521" y="55"/>
                </a:cubicBezTo>
                <a:cubicBezTo>
                  <a:pt x="521" y="55"/>
                  <a:pt x="521" y="55"/>
                  <a:pt x="521" y="55"/>
                </a:cubicBezTo>
                <a:cubicBezTo>
                  <a:pt x="521" y="55"/>
                  <a:pt x="522" y="55"/>
                  <a:pt x="522" y="55"/>
                </a:cubicBezTo>
                <a:cubicBezTo>
                  <a:pt x="522" y="55"/>
                  <a:pt x="523" y="54"/>
                  <a:pt x="523" y="54"/>
                </a:cubicBezTo>
                <a:cubicBezTo>
                  <a:pt x="524" y="54"/>
                  <a:pt x="524" y="54"/>
                  <a:pt x="524" y="54"/>
                </a:cubicBezTo>
                <a:cubicBezTo>
                  <a:pt x="524" y="54"/>
                  <a:pt x="525" y="54"/>
                  <a:pt x="525" y="54"/>
                </a:cubicBezTo>
                <a:cubicBezTo>
                  <a:pt x="525" y="54"/>
                  <a:pt x="526" y="54"/>
                  <a:pt x="526" y="54"/>
                </a:cubicBezTo>
                <a:cubicBezTo>
                  <a:pt x="526" y="54"/>
                  <a:pt x="526" y="54"/>
                  <a:pt x="525" y="55"/>
                </a:cubicBezTo>
                <a:cubicBezTo>
                  <a:pt x="526" y="55"/>
                  <a:pt x="527" y="54"/>
                  <a:pt x="528" y="54"/>
                </a:cubicBezTo>
                <a:cubicBezTo>
                  <a:pt x="529" y="54"/>
                  <a:pt x="529" y="54"/>
                  <a:pt x="530" y="54"/>
                </a:cubicBezTo>
                <a:cubicBezTo>
                  <a:pt x="529" y="54"/>
                  <a:pt x="530" y="54"/>
                  <a:pt x="531" y="55"/>
                </a:cubicBezTo>
                <a:cubicBezTo>
                  <a:pt x="531" y="55"/>
                  <a:pt x="529" y="55"/>
                  <a:pt x="529" y="56"/>
                </a:cubicBezTo>
                <a:cubicBezTo>
                  <a:pt x="529" y="56"/>
                  <a:pt x="530" y="55"/>
                  <a:pt x="530" y="55"/>
                </a:cubicBezTo>
                <a:cubicBezTo>
                  <a:pt x="530" y="55"/>
                  <a:pt x="531" y="55"/>
                  <a:pt x="531" y="55"/>
                </a:cubicBezTo>
                <a:cubicBezTo>
                  <a:pt x="532" y="55"/>
                  <a:pt x="533" y="55"/>
                  <a:pt x="532" y="56"/>
                </a:cubicBezTo>
                <a:cubicBezTo>
                  <a:pt x="532" y="56"/>
                  <a:pt x="531" y="57"/>
                  <a:pt x="530" y="57"/>
                </a:cubicBezTo>
                <a:cubicBezTo>
                  <a:pt x="530" y="57"/>
                  <a:pt x="529" y="57"/>
                  <a:pt x="528" y="57"/>
                </a:cubicBezTo>
                <a:cubicBezTo>
                  <a:pt x="528" y="57"/>
                  <a:pt x="528" y="57"/>
                  <a:pt x="528" y="57"/>
                </a:cubicBezTo>
                <a:cubicBezTo>
                  <a:pt x="528" y="57"/>
                  <a:pt x="527" y="57"/>
                  <a:pt x="527" y="58"/>
                </a:cubicBezTo>
                <a:cubicBezTo>
                  <a:pt x="528" y="58"/>
                  <a:pt x="529" y="57"/>
                  <a:pt x="530" y="57"/>
                </a:cubicBezTo>
                <a:cubicBezTo>
                  <a:pt x="531" y="57"/>
                  <a:pt x="531" y="57"/>
                  <a:pt x="530" y="58"/>
                </a:cubicBezTo>
                <a:cubicBezTo>
                  <a:pt x="531" y="58"/>
                  <a:pt x="531" y="59"/>
                  <a:pt x="532" y="59"/>
                </a:cubicBezTo>
                <a:cubicBezTo>
                  <a:pt x="532" y="59"/>
                  <a:pt x="532" y="58"/>
                  <a:pt x="533" y="58"/>
                </a:cubicBezTo>
                <a:cubicBezTo>
                  <a:pt x="533" y="58"/>
                  <a:pt x="533" y="57"/>
                  <a:pt x="533" y="57"/>
                </a:cubicBezTo>
                <a:cubicBezTo>
                  <a:pt x="534" y="57"/>
                  <a:pt x="535" y="56"/>
                  <a:pt x="535" y="57"/>
                </a:cubicBezTo>
                <a:cubicBezTo>
                  <a:pt x="535" y="57"/>
                  <a:pt x="537" y="58"/>
                  <a:pt x="537" y="58"/>
                </a:cubicBezTo>
                <a:cubicBezTo>
                  <a:pt x="537" y="58"/>
                  <a:pt x="536" y="58"/>
                  <a:pt x="536" y="58"/>
                </a:cubicBezTo>
                <a:cubicBezTo>
                  <a:pt x="536" y="59"/>
                  <a:pt x="538" y="58"/>
                  <a:pt x="538" y="58"/>
                </a:cubicBezTo>
                <a:cubicBezTo>
                  <a:pt x="539" y="58"/>
                  <a:pt x="541" y="57"/>
                  <a:pt x="540" y="58"/>
                </a:cubicBezTo>
                <a:cubicBezTo>
                  <a:pt x="540" y="58"/>
                  <a:pt x="541" y="58"/>
                  <a:pt x="541" y="58"/>
                </a:cubicBezTo>
                <a:cubicBezTo>
                  <a:pt x="541" y="58"/>
                  <a:pt x="540" y="58"/>
                  <a:pt x="540" y="58"/>
                </a:cubicBezTo>
                <a:cubicBezTo>
                  <a:pt x="540" y="59"/>
                  <a:pt x="541" y="58"/>
                  <a:pt x="541" y="58"/>
                </a:cubicBezTo>
                <a:cubicBezTo>
                  <a:pt x="541" y="57"/>
                  <a:pt x="543" y="57"/>
                  <a:pt x="543" y="57"/>
                </a:cubicBezTo>
                <a:cubicBezTo>
                  <a:pt x="544" y="57"/>
                  <a:pt x="544" y="57"/>
                  <a:pt x="545" y="58"/>
                </a:cubicBezTo>
                <a:cubicBezTo>
                  <a:pt x="546" y="59"/>
                  <a:pt x="547" y="58"/>
                  <a:pt x="548" y="59"/>
                </a:cubicBezTo>
                <a:cubicBezTo>
                  <a:pt x="547" y="59"/>
                  <a:pt x="546" y="59"/>
                  <a:pt x="546" y="59"/>
                </a:cubicBezTo>
                <a:cubicBezTo>
                  <a:pt x="547" y="59"/>
                  <a:pt x="548" y="59"/>
                  <a:pt x="549" y="59"/>
                </a:cubicBezTo>
                <a:cubicBezTo>
                  <a:pt x="550" y="59"/>
                  <a:pt x="552" y="59"/>
                  <a:pt x="553" y="59"/>
                </a:cubicBezTo>
                <a:cubicBezTo>
                  <a:pt x="552" y="59"/>
                  <a:pt x="552" y="59"/>
                  <a:pt x="551" y="58"/>
                </a:cubicBezTo>
                <a:cubicBezTo>
                  <a:pt x="551" y="58"/>
                  <a:pt x="550" y="58"/>
                  <a:pt x="550" y="58"/>
                </a:cubicBezTo>
                <a:cubicBezTo>
                  <a:pt x="550" y="58"/>
                  <a:pt x="552" y="58"/>
                  <a:pt x="552" y="58"/>
                </a:cubicBezTo>
                <a:cubicBezTo>
                  <a:pt x="553" y="58"/>
                  <a:pt x="554" y="57"/>
                  <a:pt x="555" y="57"/>
                </a:cubicBezTo>
                <a:cubicBezTo>
                  <a:pt x="554" y="57"/>
                  <a:pt x="554" y="57"/>
                  <a:pt x="554" y="57"/>
                </a:cubicBezTo>
                <a:cubicBezTo>
                  <a:pt x="555" y="58"/>
                  <a:pt x="556" y="58"/>
                  <a:pt x="556" y="57"/>
                </a:cubicBezTo>
                <a:cubicBezTo>
                  <a:pt x="555" y="57"/>
                  <a:pt x="557" y="57"/>
                  <a:pt x="557" y="57"/>
                </a:cubicBezTo>
                <a:cubicBezTo>
                  <a:pt x="557" y="57"/>
                  <a:pt x="559" y="57"/>
                  <a:pt x="558" y="57"/>
                </a:cubicBezTo>
                <a:cubicBezTo>
                  <a:pt x="559" y="56"/>
                  <a:pt x="560" y="57"/>
                  <a:pt x="562" y="57"/>
                </a:cubicBezTo>
                <a:cubicBezTo>
                  <a:pt x="561" y="57"/>
                  <a:pt x="561" y="57"/>
                  <a:pt x="561" y="57"/>
                </a:cubicBezTo>
                <a:cubicBezTo>
                  <a:pt x="561" y="56"/>
                  <a:pt x="563" y="56"/>
                  <a:pt x="564" y="56"/>
                </a:cubicBezTo>
                <a:cubicBezTo>
                  <a:pt x="564" y="56"/>
                  <a:pt x="565" y="56"/>
                  <a:pt x="565" y="56"/>
                </a:cubicBezTo>
                <a:cubicBezTo>
                  <a:pt x="566" y="56"/>
                  <a:pt x="568" y="55"/>
                  <a:pt x="567" y="55"/>
                </a:cubicBezTo>
                <a:cubicBezTo>
                  <a:pt x="567" y="55"/>
                  <a:pt x="567" y="55"/>
                  <a:pt x="568" y="55"/>
                </a:cubicBezTo>
                <a:cubicBezTo>
                  <a:pt x="568" y="55"/>
                  <a:pt x="569" y="55"/>
                  <a:pt x="568" y="55"/>
                </a:cubicBezTo>
                <a:cubicBezTo>
                  <a:pt x="569" y="56"/>
                  <a:pt x="569" y="55"/>
                  <a:pt x="569" y="56"/>
                </a:cubicBezTo>
                <a:cubicBezTo>
                  <a:pt x="570" y="56"/>
                  <a:pt x="571" y="56"/>
                  <a:pt x="571" y="56"/>
                </a:cubicBezTo>
                <a:cubicBezTo>
                  <a:pt x="572" y="56"/>
                  <a:pt x="572" y="56"/>
                  <a:pt x="573" y="56"/>
                </a:cubicBezTo>
                <a:cubicBezTo>
                  <a:pt x="574" y="56"/>
                  <a:pt x="575" y="55"/>
                  <a:pt x="576" y="55"/>
                </a:cubicBezTo>
                <a:cubicBezTo>
                  <a:pt x="577" y="55"/>
                  <a:pt x="579" y="55"/>
                  <a:pt x="581" y="55"/>
                </a:cubicBezTo>
                <a:cubicBezTo>
                  <a:pt x="582" y="55"/>
                  <a:pt x="584" y="55"/>
                  <a:pt x="585" y="56"/>
                </a:cubicBezTo>
                <a:cubicBezTo>
                  <a:pt x="584" y="56"/>
                  <a:pt x="583" y="56"/>
                  <a:pt x="583" y="57"/>
                </a:cubicBezTo>
                <a:cubicBezTo>
                  <a:pt x="584" y="57"/>
                  <a:pt x="586" y="57"/>
                  <a:pt x="587" y="57"/>
                </a:cubicBezTo>
                <a:cubicBezTo>
                  <a:pt x="587" y="57"/>
                  <a:pt x="590" y="57"/>
                  <a:pt x="590" y="58"/>
                </a:cubicBezTo>
                <a:cubicBezTo>
                  <a:pt x="590" y="58"/>
                  <a:pt x="590" y="58"/>
                  <a:pt x="590" y="58"/>
                </a:cubicBezTo>
                <a:cubicBezTo>
                  <a:pt x="589" y="58"/>
                  <a:pt x="588" y="58"/>
                  <a:pt x="587" y="58"/>
                </a:cubicBezTo>
                <a:cubicBezTo>
                  <a:pt x="589" y="59"/>
                  <a:pt x="590" y="58"/>
                  <a:pt x="592" y="58"/>
                </a:cubicBezTo>
                <a:cubicBezTo>
                  <a:pt x="592" y="58"/>
                  <a:pt x="591" y="58"/>
                  <a:pt x="591" y="59"/>
                </a:cubicBezTo>
                <a:cubicBezTo>
                  <a:pt x="591" y="59"/>
                  <a:pt x="592" y="59"/>
                  <a:pt x="592" y="59"/>
                </a:cubicBezTo>
                <a:cubicBezTo>
                  <a:pt x="592" y="59"/>
                  <a:pt x="591" y="60"/>
                  <a:pt x="591" y="60"/>
                </a:cubicBezTo>
                <a:cubicBezTo>
                  <a:pt x="591" y="60"/>
                  <a:pt x="591" y="60"/>
                  <a:pt x="591" y="60"/>
                </a:cubicBezTo>
                <a:cubicBezTo>
                  <a:pt x="590" y="61"/>
                  <a:pt x="588" y="61"/>
                  <a:pt x="587" y="61"/>
                </a:cubicBezTo>
                <a:cubicBezTo>
                  <a:pt x="586" y="62"/>
                  <a:pt x="585" y="62"/>
                  <a:pt x="584" y="62"/>
                </a:cubicBezTo>
                <a:cubicBezTo>
                  <a:pt x="584" y="62"/>
                  <a:pt x="583" y="62"/>
                  <a:pt x="583" y="62"/>
                </a:cubicBezTo>
                <a:cubicBezTo>
                  <a:pt x="583" y="62"/>
                  <a:pt x="584" y="62"/>
                  <a:pt x="584" y="62"/>
                </a:cubicBezTo>
                <a:cubicBezTo>
                  <a:pt x="584" y="62"/>
                  <a:pt x="583" y="63"/>
                  <a:pt x="583" y="63"/>
                </a:cubicBezTo>
                <a:cubicBezTo>
                  <a:pt x="585" y="63"/>
                  <a:pt x="587" y="61"/>
                  <a:pt x="588" y="62"/>
                </a:cubicBezTo>
                <a:cubicBezTo>
                  <a:pt x="588" y="63"/>
                  <a:pt x="588" y="63"/>
                  <a:pt x="589" y="63"/>
                </a:cubicBezTo>
                <a:cubicBezTo>
                  <a:pt x="588" y="63"/>
                  <a:pt x="588" y="63"/>
                  <a:pt x="587" y="63"/>
                </a:cubicBezTo>
                <a:cubicBezTo>
                  <a:pt x="586" y="63"/>
                  <a:pt x="585" y="64"/>
                  <a:pt x="585" y="64"/>
                </a:cubicBezTo>
                <a:cubicBezTo>
                  <a:pt x="584" y="64"/>
                  <a:pt x="584" y="64"/>
                  <a:pt x="583" y="64"/>
                </a:cubicBezTo>
                <a:cubicBezTo>
                  <a:pt x="583" y="63"/>
                  <a:pt x="584" y="63"/>
                  <a:pt x="584" y="63"/>
                </a:cubicBezTo>
                <a:cubicBezTo>
                  <a:pt x="583" y="63"/>
                  <a:pt x="583" y="63"/>
                  <a:pt x="582" y="63"/>
                </a:cubicBezTo>
                <a:cubicBezTo>
                  <a:pt x="582" y="63"/>
                  <a:pt x="583" y="63"/>
                  <a:pt x="583" y="63"/>
                </a:cubicBezTo>
                <a:cubicBezTo>
                  <a:pt x="583" y="63"/>
                  <a:pt x="582" y="63"/>
                  <a:pt x="582" y="63"/>
                </a:cubicBezTo>
                <a:cubicBezTo>
                  <a:pt x="582" y="64"/>
                  <a:pt x="583" y="64"/>
                  <a:pt x="583" y="64"/>
                </a:cubicBezTo>
                <a:cubicBezTo>
                  <a:pt x="583" y="64"/>
                  <a:pt x="582" y="64"/>
                  <a:pt x="582" y="64"/>
                </a:cubicBezTo>
                <a:cubicBezTo>
                  <a:pt x="582" y="65"/>
                  <a:pt x="581" y="66"/>
                  <a:pt x="581" y="66"/>
                </a:cubicBezTo>
                <a:cubicBezTo>
                  <a:pt x="580" y="66"/>
                  <a:pt x="579" y="66"/>
                  <a:pt x="578" y="66"/>
                </a:cubicBezTo>
                <a:cubicBezTo>
                  <a:pt x="577" y="66"/>
                  <a:pt x="576" y="66"/>
                  <a:pt x="575" y="66"/>
                </a:cubicBezTo>
                <a:cubicBezTo>
                  <a:pt x="575" y="66"/>
                  <a:pt x="574" y="66"/>
                  <a:pt x="574" y="66"/>
                </a:cubicBezTo>
                <a:cubicBezTo>
                  <a:pt x="572" y="66"/>
                  <a:pt x="570" y="67"/>
                  <a:pt x="569" y="67"/>
                </a:cubicBezTo>
                <a:cubicBezTo>
                  <a:pt x="568" y="67"/>
                  <a:pt x="566" y="66"/>
                  <a:pt x="565" y="66"/>
                </a:cubicBezTo>
                <a:cubicBezTo>
                  <a:pt x="566" y="66"/>
                  <a:pt x="566" y="66"/>
                  <a:pt x="565" y="66"/>
                </a:cubicBezTo>
                <a:cubicBezTo>
                  <a:pt x="565" y="66"/>
                  <a:pt x="564" y="67"/>
                  <a:pt x="563" y="66"/>
                </a:cubicBezTo>
                <a:cubicBezTo>
                  <a:pt x="563" y="66"/>
                  <a:pt x="562" y="66"/>
                  <a:pt x="562" y="65"/>
                </a:cubicBezTo>
                <a:cubicBezTo>
                  <a:pt x="562" y="65"/>
                  <a:pt x="563" y="64"/>
                  <a:pt x="564" y="64"/>
                </a:cubicBezTo>
                <a:cubicBezTo>
                  <a:pt x="563" y="64"/>
                  <a:pt x="563" y="64"/>
                  <a:pt x="563" y="64"/>
                </a:cubicBezTo>
                <a:cubicBezTo>
                  <a:pt x="564" y="64"/>
                  <a:pt x="562" y="64"/>
                  <a:pt x="562" y="64"/>
                </a:cubicBezTo>
                <a:cubicBezTo>
                  <a:pt x="561" y="63"/>
                  <a:pt x="560" y="64"/>
                  <a:pt x="562" y="64"/>
                </a:cubicBezTo>
                <a:cubicBezTo>
                  <a:pt x="561" y="65"/>
                  <a:pt x="560" y="65"/>
                  <a:pt x="559" y="66"/>
                </a:cubicBezTo>
                <a:cubicBezTo>
                  <a:pt x="559" y="66"/>
                  <a:pt x="558" y="66"/>
                  <a:pt x="558" y="66"/>
                </a:cubicBezTo>
                <a:cubicBezTo>
                  <a:pt x="556" y="66"/>
                  <a:pt x="555" y="66"/>
                  <a:pt x="553" y="67"/>
                </a:cubicBezTo>
                <a:cubicBezTo>
                  <a:pt x="552" y="67"/>
                  <a:pt x="550" y="67"/>
                  <a:pt x="549" y="67"/>
                </a:cubicBezTo>
                <a:cubicBezTo>
                  <a:pt x="548" y="67"/>
                  <a:pt x="550" y="65"/>
                  <a:pt x="550" y="65"/>
                </a:cubicBezTo>
                <a:cubicBezTo>
                  <a:pt x="549" y="65"/>
                  <a:pt x="548" y="66"/>
                  <a:pt x="547" y="67"/>
                </a:cubicBezTo>
                <a:cubicBezTo>
                  <a:pt x="547" y="67"/>
                  <a:pt x="546" y="67"/>
                  <a:pt x="546" y="67"/>
                </a:cubicBezTo>
                <a:cubicBezTo>
                  <a:pt x="546" y="67"/>
                  <a:pt x="546" y="66"/>
                  <a:pt x="546" y="66"/>
                </a:cubicBezTo>
                <a:cubicBezTo>
                  <a:pt x="546" y="66"/>
                  <a:pt x="547" y="65"/>
                  <a:pt x="546" y="65"/>
                </a:cubicBezTo>
                <a:cubicBezTo>
                  <a:pt x="546" y="65"/>
                  <a:pt x="546" y="66"/>
                  <a:pt x="545" y="66"/>
                </a:cubicBezTo>
                <a:cubicBezTo>
                  <a:pt x="545" y="67"/>
                  <a:pt x="544" y="67"/>
                  <a:pt x="543" y="67"/>
                </a:cubicBezTo>
                <a:cubicBezTo>
                  <a:pt x="542" y="67"/>
                  <a:pt x="541" y="67"/>
                  <a:pt x="541" y="67"/>
                </a:cubicBezTo>
                <a:cubicBezTo>
                  <a:pt x="541" y="67"/>
                  <a:pt x="542" y="66"/>
                  <a:pt x="541" y="66"/>
                </a:cubicBezTo>
                <a:cubicBezTo>
                  <a:pt x="541" y="66"/>
                  <a:pt x="541" y="66"/>
                  <a:pt x="541" y="66"/>
                </a:cubicBezTo>
                <a:cubicBezTo>
                  <a:pt x="541" y="65"/>
                  <a:pt x="541" y="66"/>
                  <a:pt x="540" y="66"/>
                </a:cubicBezTo>
                <a:cubicBezTo>
                  <a:pt x="540" y="67"/>
                  <a:pt x="539" y="67"/>
                  <a:pt x="539" y="67"/>
                </a:cubicBezTo>
                <a:cubicBezTo>
                  <a:pt x="538" y="67"/>
                  <a:pt x="537" y="66"/>
                  <a:pt x="538" y="66"/>
                </a:cubicBezTo>
                <a:cubicBezTo>
                  <a:pt x="537" y="65"/>
                  <a:pt x="537" y="67"/>
                  <a:pt x="537" y="67"/>
                </a:cubicBezTo>
                <a:cubicBezTo>
                  <a:pt x="537" y="67"/>
                  <a:pt x="535" y="67"/>
                  <a:pt x="535" y="67"/>
                </a:cubicBezTo>
                <a:cubicBezTo>
                  <a:pt x="534" y="67"/>
                  <a:pt x="534" y="67"/>
                  <a:pt x="533" y="67"/>
                </a:cubicBezTo>
                <a:cubicBezTo>
                  <a:pt x="532" y="67"/>
                  <a:pt x="533" y="66"/>
                  <a:pt x="533" y="66"/>
                </a:cubicBezTo>
                <a:cubicBezTo>
                  <a:pt x="532" y="66"/>
                  <a:pt x="532" y="67"/>
                  <a:pt x="531" y="67"/>
                </a:cubicBezTo>
                <a:cubicBezTo>
                  <a:pt x="531" y="67"/>
                  <a:pt x="529" y="67"/>
                  <a:pt x="530" y="66"/>
                </a:cubicBezTo>
                <a:cubicBezTo>
                  <a:pt x="530" y="66"/>
                  <a:pt x="529" y="67"/>
                  <a:pt x="528" y="67"/>
                </a:cubicBezTo>
                <a:cubicBezTo>
                  <a:pt x="528" y="67"/>
                  <a:pt x="527" y="67"/>
                  <a:pt x="528" y="67"/>
                </a:cubicBezTo>
                <a:cubicBezTo>
                  <a:pt x="527" y="67"/>
                  <a:pt x="524" y="67"/>
                  <a:pt x="525" y="66"/>
                </a:cubicBezTo>
                <a:cubicBezTo>
                  <a:pt x="526" y="65"/>
                  <a:pt x="528" y="64"/>
                  <a:pt x="529" y="64"/>
                </a:cubicBezTo>
                <a:cubicBezTo>
                  <a:pt x="529" y="64"/>
                  <a:pt x="528" y="64"/>
                  <a:pt x="528" y="64"/>
                </a:cubicBezTo>
                <a:cubicBezTo>
                  <a:pt x="528" y="64"/>
                  <a:pt x="529" y="64"/>
                  <a:pt x="529" y="63"/>
                </a:cubicBezTo>
                <a:cubicBezTo>
                  <a:pt x="529" y="63"/>
                  <a:pt x="528" y="64"/>
                  <a:pt x="527" y="64"/>
                </a:cubicBezTo>
                <a:cubicBezTo>
                  <a:pt x="528" y="63"/>
                  <a:pt x="527" y="64"/>
                  <a:pt x="526" y="64"/>
                </a:cubicBezTo>
                <a:cubicBezTo>
                  <a:pt x="526" y="64"/>
                  <a:pt x="525" y="65"/>
                  <a:pt x="525" y="65"/>
                </a:cubicBezTo>
                <a:cubicBezTo>
                  <a:pt x="524" y="65"/>
                  <a:pt x="524" y="65"/>
                  <a:pt x="525" y="65"/>
                </a:cubicBezTo>
                <a:cubicBezTo>
                  <a:pt x="525" y="64"/>
                  <a:pt x="524" y="64"/>
                  <a:pt x="524" y="64"/>
                </a:cubicBezTo>
                <a:cubicBezTo>
                  <a:pt x="525" y="65"/>
                  <a:pt x="523" y="64"/>
                  <a:pt x="522" y="64"/>
                </a:cubicBezTo>
                <a:cubicBezTo>
                  <a:pt x="522" y="65"/>
                  <a:pt x="523" y="65"/>
                  <a:pt x="522" y="65"/>
                </a:cubicBezTo>
                <a:cubicBezTo>
                  <a:pt x="522" y="66"/>
                  <a:pt x="521" y="66"/>
                  <a:pt x="520" y="66"/>
                </a:cubicBezTo>
                <a:cubicBezTo>
                  <a:pt x="520" y="66"/>
                  <a:pt x="519" y="66"/>
                  <a:pt x="518" y="66"/>
                </a:cubicBezTo>
                <a:cubicBezTo>
                  <a:pt x="518" y="66"/>
                  <a:pt x="516" y="67"/>
                  <a:pt x="516" y="66"/>
                </a:cubicBezTo>
                <a:cubicBezTo>
                  <a:pt x="516" y="66"/>
                  <a:pt x="516" y="66"/>
                  <a:pt x="516" y="66"/>
                </a:cubicBezTo>
                <a:cubicBezTo>
                  <a:pt x="516" y="66"/>
                  <a:pt x="516" y="66"/>
                  <a:pt x="515" y="66"/>
                </a:cubicBezTo>
                <a:cubicBezTo>
                  <a:pt x="515" y="66"/>
                  <a:pt x="514" y="66"/>
                  <a:pt x="514" y="66"/>
                </a:cubicBezTo>
                <a:cubicBezTo>
                  <a:pt x="514" y="66"/>
                  <a:pt x="514" y="66"/>
                  <a:pt x="514" y="66"/>
                </a:cubicBezTo>
                <a:cubicBezTo>
                  <a:pt x="514" y="65"/>
                  <a:pt x="513" y="66"/>
                  <a:pt x="512" y="65"/>
                </a:cubicBezTo>
                <a:cubicBezTo>
                  <a:pt x="512" y="65"/>
                  <a:pt x="512" y="65"/>
                  <a:pt x="513" y="65"/>
                </a:cubicBezTo>
                <a:cubicBezTo>
                  <a:pt x="512" y="65"/>
                  <a:pt x="511" y="65"/>
                  <a:pt x="510" y="65"/>
                </a:cubicBezTo>
                <a:cubicBezTo>
                  <a:pt x="511" y="64"/>
                  <a:pt x="513" y="65"/>
                  <a:pt x="514" y="63"/>
                </a:cubicBezTo>
                <a:cubicBezTo>
                  <a:pt x="513" y="63"/>
                  <a:pt x="512" y="64"/>
                  <a:pt x="511" y="64"/>
                </a:cubicBezTo>
                <a:cubicBezTo>
                  <a:pt x="510" y="64"/>
                  <a:pt x="510" y="64"/>
                  <a:pt x="509" y="65"/>
                </a:cubicBezTo>
                <a:cubicBezTo>
                  <a:pt x="509" y="65"/>
                  <a:pt x="509" y="65"/>
                  <a:pt x="509" y="65"/>
                </a:cubicBezTo>
                <a:cubicBezTo>
                  <a:pt x="509" y="66"/>
                  <a:pt x="508" y="66"/>
                  <a:pt x="508" y="65"/>
                </a:cubicBezTo>
                <a:cubicBezTo>
                  <a:pt x="508" y="65"/>
                  <a:pt x="509" y="65"/>
                  <a:pt x="509" y="65"/>
                </a:cubicBezTo>
                <a:cubicBezTo>
                  <a:pt x="508" y="65"/>
                  <a:pt x="508" y="65"/>
                  <a:pt x="507" y="65"/>
                </a:cubicBezTo>
                <a:cubicBezTo>
                  <a:pt x="507" y="65"/>
                  <a:pt x="506" y="65"/>
                  <a:pt x="506" y="65"/>
                </a:cubicBezTo>
                <a:cubicBezTo>
                  <a:pt x="506" y="65"/>
                  <a:pt x="506" y="65"/>
                  <a:pt x="506" y="65"/>
                </a:cubicBezTo>
                <a:cubicBezTo>
                  <a:pt x="507" y="65"/>
                  <a:pt x="505" y="65"/>
                  <a:pt x="505" y="65"/>
                </a:cubicBezTo>
                <a:cubicBezTo>
                  <a:pt x="505" y="65"/>
                  <a:pt x="505" y="65"/>
                  <a:pt x="506" y="65"/>
                </a:cubicBezTo>
                <a:cubicBezTo>
                  <a:pt x="505" y="64"/>
                  <a:pt x="504" y="64"/>
                  <a:pt x="505" y="64"/>
                </a:cubicBezTo>
                <a:cubicBezTo>
                  <a:pt x="505" y="64"/>
                  <a:pt x="506" y="64"/>
                  <a:pt x="506" y="63"/>
                </a:cubicBezTo>
                <a:cubicBezTo>
                  <a:pt x="506" y="63"/>
                  <a:pt x="506" y="63"/>
                  <a:pt x="506" y="62"/>
                </a:cubicBezTo>
                <a:cubicBezTo>
                  <a:pt x="506" y="62"/>
                  <a:pt x="506" y="62"/>
                  <a:pt x="506" y="62"/>
                </a:cubicBezTo>
                <a:cubicBezTo>
                  <a:pt x="507" y="62"/>
                  <a:pt x="507" y="62"/>
                  <a:pt x="508" y="61"/>
                </a:cubicBezTo>
                <a:cubicBezTo>
                  <a:pt x="507" y="61"/>
                  <a:pt x="508" y="61"/>
                  <a:pt x="508" y="61"/>
                </a:cubicBezTo>
                <a:cubicBezTo>
                  <a:pt x="508" y="61"/>
                  <a:pt x="507" y="61"/>
                  <a:pt x="507" y="61"/>
                </a:cubicBezTo>
                <a:cubicBezTo>
                  <a:pt x="506" y="61"/>
                  <a:pt x="506" y="61"/>
                  <a:pt x="506" y="60"/>
                </a:cubicBezTo>
                <a:cubicBezTo>
                  <a:pt x="507" y="60"/>
                  <a:pt x="507" y="60"/>
                  <a:pt x="508" y="59"/>
                </a:cubicBezTo>
                <a:cubicBezTo>
                  <a:pt x="508" y="59"/>
                  <a:pt x="508" y="59"/>
                  <a:pt x="508" y="59"/>
                </a:cubicBezTo>
                <a:cubicBezTo>
                  <a:pt x="509" y="58"/>
                  <a:pt x="510" y="58"/>
                  <a:pt x="511" y="58"/>
                </a:cubicBezTo>
                <a:cubicBezTo>
                  <a:pt x="511" y="58"/>
                  <a:pt x="513" y="57"/>
                  <a:pt x="512" y="57"/>
                </a:cubicBezTo>
                <a:cubicBezTo>
                  <a:pt x="513" y="57"/>
                  <a:pt x="513" y="57"/>
                  <a:pt x="513" y="56"/>
                </a:cubicBezTo>
                <a:cubicBezTo>
                  <a:pt x="513" y="56"/>
                  <a:pt x="514" y="56"/>
                  <a:pt x="514" y="55"/>
                </a:cubicBezTo>
                <a:cubicBezTo>
                  <a:pt x="514" y="55"/>
                  <a:pt x="515" y="55"/>
                  <a:pt x="514" y="55"/>
                </a:cubicBezTo>
                <a:cubicBezTo>
                  <a:pt x="514" y="55"/>
                  <a:pt x="514" y="54"/>
                  <a:pt x="513" y="54"/>
                </a:cubicBezTo>
                <a:cubicBezTo>
                  <a:pt x="513" y="54"/>
                  <a:pt x="513" y="54"/>
                  <a:pt x="513" y="54"/>
                </a:cubicBezTo>
                <a:cubicBezTo>
                  <a:pt x="513" y="53"/>
                  <a:pt x="514" y="53"/>
                  <a:pt x="514" y="53"/>
                </a:cubicBezTo>
                <a:cubicBezTo>
                  <a:pt x="514" y="53"/>
                  <a:pt x="514" y="52"/>
                  <a:pt x="514" y="52"/>
                </a:cubicBezTo>
                <a:cubicBezTo>
                  <a:pt x="514" y="52"/>
                  <a:pt x="513" y="52"/>
                  <a:pt x="513" y="51"/>
                </a:cubicBezTo>
                <a:cubicBezTo>
                  <a:pt x="513" y="51"/>
                  <a:pt x="513" y="51"/>
                  <a:pt x="513" y="51"/>
                </a:cubicBezTo>
                <a:cubicBezTo>
                  <a:pt x="513" y="50"/>
                  <a:pt x="510" y="51"/>
                  <a:pt x="509" y="51"/>
                </a:cubicBezTo>
                <a:cubicBezTo>
                  <a:pt x="509" y="51"/>
                  <a:pt x="509" y="51"/>
                  <a:pt x="510" y="51"/>
                </a:cubicBezTo>
                <a:cubicBezTo>
                  <a:pt x="509" y="51"/>
                  <a:pt x="508" y="51"/>
                  <a:pt x="509" y="52"/>
                </a:cubicBezTo>
                <a:cubicBezTo>
                  <a:pt x="508" y="52"/>
                  <a:pt x="507" y="52"/>
                  <a:pt x="506" y="52"/>
                </a:cubicBezTo>
                <a:cubicBezTo>
                  <a:pt x="505" y="51"/>
                  <a:pt x="504" y="52"/>
                  <a:pt x="503" y="51"/>
                </a:cubicBezTo>
                <a:cubicBezTo>
                  <a:pt x="503" y="51"/>
                  <a:pt x="503" y="51"/>
                  <a:pt x="503" y="51"/>
                </a:cubicBezTo>
                <a:cubicBezTo>
                  <a:pt x="502" y="51"/>
                  <a:pt x="501" y="52"/>
                  <a:pt x="500" y="52"/>
                </a:cubicBezTo>
                <a:cubicBezTo>
                  <a:pt x="499" y="52"/>
                  <a:pt x="499" y="52"/>
                  <a:pt x="498" y="52"/>
                </a:cubicBezTo>
                <a:cubicBezTo>
                  <a:pt x="498" y="51"/>
                  <a:pt x="499" y="51"/>
                  <a:pt x="499" y="51"/>
                </a:cubicBezTo>
                <a:cubicBezTo>
                  <a:pt x="500" y="51"/>
                  <a:pt x="502" y="51"/>
                  <a:pt x="502" y="51"/>
                </a:cubicBezTo>
                <a:cubicBezTo>
                  <a:pt x="502" y="51"/>
                  <a:pt x="502" y="51"/>
                  <a:pt x="502" y="51"/>
                </a:cubicBezTo>
                <a:cubicBezTo>
                  <a:pt x="501" y="51"/>
                  <a:pt x="501" y="51"/>
                  <a:pt x="500" y="51"/>
                </a:cubicBezTo>
                <a:cubicBezTo>
                  <a:pt x="500" y="51"/>
                  <a:pt x="499" y="51"/>
                  <a:pt x="498" y="51"/>
                </a:cubicBezTo>
                <a:cubicBezTo>
                  <a:pt x="499" y="51"/>
                  <a:pt x="499" y="50"/>
                  <a:pt x="499" y="50"/>
                </a:cubicBezTo>
                <a:cubicBezTo>
                  <a:pt x="498" y="50"/>
                  <a:pt x="496" y="51"/>
                  <a:pt x="496" y="50"/>
                </a:cubicBezTo>
                <a:cubicBezTo>
                  <a:pt x="495" y="49"/>
                  <a:pt x="497" y="49"/>
                  <a:pt x="497" y="49"/>
                </a:cubicBezTo>
                <a:cubicBezTo>
                  <a:pt x="498" y="49"/>
                  <a:pt x="499" y="49"/>
                  <a:pt x="500" y="49"/>
                </a:cubicBezTo>
                <a:cubicBezTo>
                  <a:pt x="499" y="49"/>
                  <a:pt x="499" y="49"/>
                  <a:pt x="498" y="49"/>
                </a:cubicBezTo>
                <a:cubicBezTo>
                  <a:pt x="498" y="49"/>
                  <a:pt x="497" y="49"/>
                  <a:pt x="497" y="49"/>
                </a:cubicBezTo>
                <a:cubicBezTo>
                  <a:pt x="497" y="49"/>
                  <a:pt x="497" y="49"/>
                  <a:pt x="497" y="49"/>
                </a:cubicBezTo>
                <a:cubicBezTo>
                  <a:pt x="497" y="49"/>
                  <a:pt x="496" y="49"/>
                  <a:pt x="496" y="48"/>
                </a:cubicBezTo>
                <a:cubicBezTo>
                  <a:pt x="496" y="48"/>
                  <a:pt x="495" y="49"/>
                  <a:pt x="495" y="48"/>
                </a:cubicBezTo>
                <a:cubicBezTo>
                  <a:pt x="495" y="48"/>
                  <a:pt x="493" y="48"/>
                  <a:pt x="493" y="48"/>
                </a:cubicBezTo>
                <a:cubicBezTo>
                  <a:pt x="493" y="48"/>
                  <a:pt x="494" y="47"/>
                  <a:pt x="494" y="47"/>
                </a:cubicBezTo>
                <a:cubicBezTo>
                  <a:pt x="494" y="47"/>
                  <a:pt x="495" y="47"/>
                  <a:pt x="495" y="47"/>
                </a:cubicBezTo>
                <a:cubicBezTo>
                  <a:pt x="495" y="48"/>
                  <a:pt x="496" y="48"/>
                  <a:pt x="497" y="47"/>
                </a:cubicBezTo>
                <a:cubicBezTo>
                  <a:pt x="497" y="47"/>
                  <a:pt x="496" y="47"/>
                  <a:pt x="496" y="47"/>
                </a:cubicBezTo>
                <a:cubicBezTo>
                  <a:pt x="496" y="47"/>
                  <a:pt x="497" y="47"/>
                  <a:pt x="497" y="47"/>
                </a:cubicBezTo>
                <a:cubicBezTo>
                  <a:pt x="497" y="47"/>
                  <a:pt x="495" y="47"/>
                  <a:pt x="495" y="46"/>
                </a:cubicBezTo>
                <a:cubicBezTo>
                  <a:pt x="495" y="46"/>
                  <a:pt x="497" y="46"/>
                  <a:pt x="497" y="46"/>
                </a:cubicBezTo>
                <a:cubicBezTo>
                  <a:pt x="497" y="46"/>
                  <a:pt x="496" y="46"/>
                  <a:pt x="496" y="46"/>
                </a:cubicBezTo>
                <a:close/>
                <a:moveTo>
                  <a:pt x="527" y="57"/>
                </a:moveTo>
                <a:cubicBezTo>
                  <a:pt x="527" y="57"/>
                  <a:pt x="527" y="57"/>
                  <a:pt x="528" y="57"/>
                </a:cubicBezTo>
                <a:cubicBezTo>
                  <a:pt x="527" y="57"/>
                  <a:pt x="527" y="57"/>
                  <a:pt x="527" y="57"/>
                </a:cubicBezTo>
                <a:close/>
                <a:moveTo>
                  <a:pt x="389" y="54"/>
                </a:moveTo>
                <a:cubicBezTo>
                  <a:pt x="388" y="54"/>
                  <a:pt x="387" y="54"/>
                  <a:pt x="386" y="53"/>
                </a:cubicBezTo>
                <a:cubicBezTo>
                  <a:pt x="386" y="53"/>
                  <a:pt x="386" y="53"/>
                  <a:pt x="386" y="53"/>
                </a:cubicBezTo>
                <a:cubicBezTo>
                  <a:pt x="386" y="53"/>
                  <a:pt x="387" y="53"/>
                  <a:pt x="387" y="52"/>
                </a:cubicBezTo>
                <a:cubicBezTo>
                  <a:pt x="387" y="52"/>
                  <a:pt x="387" y="52"/>
                  <a:pt x="386" y="52"/>
                </a:cubicBezTo>
                <a:cubicBezTo>
                  <a:pt x="386" y="52"/>
                  <a:pt x="386" y="52"/>
                  <a:pt x="386" y="52"/>
                </a:cubicBezTo>
                <a:cubicBezTo>
                  <a:pt x="386" y="52"/>
                  <a:pt x="385" y="52"/>
                  <a:pt x="385" y="52"/>
                </a:cubicBezTo>
                <a:cubicBezTo>
                  <a:pt x="386" y="51"/>
                  <a:pt x="385" y="52"/>
                  <a:pt x="385" y="52"/>
                </a:cubicBezTo>
                <a:cubicBezTo>
                  <a:pt x="384" y="52"/>
                  <a:pt x="383" y="52"/>
                  <a:pt x="383" y="52"/>
                </a:cubicBezTo>
                <a:cubicBezTo>
                  <a:pt x="381" y="52"/>
                  <a:pt x="379" y="53"/>
                  <a:pt x="378" y="52"/>
                </a:cubicBezTo>
                <a:cubicBezTo>
                  <a:pt x="378" y="52"/>
                  <a:pt x="378" y="52"/>
                  <a:pt x="378" y="52"/>
                </a:cubicBezTo>
                <a:cubicBezTo>
                  <a:pt x="378" y="52"/>
                  <a:pt x="378" y="52"/>
                  <a:pt x="378" y="52"/>
                </a:cubicBezTo>
                <a:cubicBezTo>
                  <a:pt x="378" y="52"/>
                  <a:pt x="378" y="52"/>
                  <a:pt x="378" y="52"/>
                </a:cubicBezTo>
                <a:cubicBezTo>
                  <a:pt x="378" y="51"/>
                  <a:pt x="379" y="51"/>
                  <a:pt x="378" y="51"/>
                </a:cubicBezTo>
                <a:cubicBezTo>
                  <a:pt x="379" y="51"/>
                  <a:pt x="380" y="50"/>
                  <a:pt x="380" y="50"/>
                </a:cubicBezTo>
                <a:cubicBezTo>
                  <a:pt x="379" y="49"/>
                  <a:pt x="377" y="50"/>
                  <a:pt x="376" y="50"/>
                </a:cubicBezTo>
                <a:cubicBezTo>
                  <a:pt x="377" y="50"/>
                  <a:pt x="377" y="50"/>
                  <a:pt x="377" y="49"/>
                </a:cubicBezTo>
                <a:cubicBezTo>
                  <a:pt x="376" y="49"/>
                  <a:pt x="376" y="50"/>
                  <a:pt x="375" y="50"/>
                </a:cubicBezTo>
                <a:cubicBezTo>
                  <a:pt x="374" y="50"/>
                  <a:pt x="373" y="50"/>
                  <a:pt x="372" y="50"/>
                </a:cubicBezTo>
                <a:cubicBezTo>
                  <a:pt x="372" y="50"/>
                  <a:pt x="371" y="50"/>
                  <a:pt x="370" y="50"/>
                </a:cubicBezTo>
                <a:cubicBezTo>
                  <a:pt x="369" y="50"/>
                  <a:pt x="368" y="50"/>
                  <a:pt x="367" y="51"/>
                </a:cubicBezTo>
                <a:cubicBezTo>
                  <a:pt x="367" y="51"/>
                  <a:pt x="366" y="51"/>
                  <a:pt x="366" y="52"/>
                </a:cubicBezTo>
                <a:cubicBezTo>
                  <a:pt x="367" y="52"/>
                  <a:pt x="368" y="52"/>
                  <a:pt x="368" y="52"/>
                </a:cubicBezTo>
                <a:cubicBezTo>
                  <a:pt x="369" y="52"/>
                  <a:pt x="370" y="52"/>
                  <a:pt x="370" y="52"/>
                </a:cubicBezTo>
                <a:cubicBezTo>
                  <a:pt x="371" y="52"/>
                  <a:pt x="372" y="52"/>
                  <a:pt x="373" y="52"/>
                </a:cubicBezTo>
                <a:cubicBezTo>
                  <a:pt x="372" y="53"/>
                  <a:pt x="370" y="52"/>
                  <a:pt x="369" y="52"/>
                </a:cubicBezTo>
                <a:cubicBezTo>
                  <a:pt x="368" y="52"/>
                  <a:pt x="367" y="52"/>
                  <a:pt x="366" y="52"/>
                </a:cubicBezTo>
                <a:cubicBezTo>
                  <a:pt x="364" y="52"/>
                  <a:pt x="363" y="52"/>
                  <a:pt x="361" y="52"/>
                </a:cubicBezTo>
                <a:cubicBezTo>
                  <a:pt x="361" y="53"/>
                  <a:pt x="358" y="53"/>
                  <a:pt x="358" y="53"/>
                </a:cubicBezTo>
                <a:cubicBezTo>
                  <a:pt x="358" y="54"/>
                  <a:pt x="359" y="54"/>
                  <a:pt x="359" y="54"/>
                </a:cubicBezTo>
                <a:cubicBezTo>
                  <a:pt x="359" y="54"/>
                  <a:pt x="359" y="54"/>
                  <a:pt x="358" y="54"/>
                </a:cubicBezTo>
                <a:cubicBezTo>
                  <a:pt x="358" y="54"/>
                  <a:pt x="357" y="54"/>
                  <a:pt x="357" y="54"/>
                </a:cubicBezTo>
                <a:cubicBezTo>
                  <a:pt x="356" y="54"/>
                  <a:pt x="356" y="55"/>
                  <a:pt x="357" y="55"/>
                </a:cubicBezTo>
                <a:cubicBezTo>
                  <a:pt x="358" y="55"/>
                  <a:pt x="358" y="55"/>
                  <a:pt x="359" y="55"/>
                </a:cubicBezTo>
                <a:cubicBezTo>
                  <a:pt x="361" y="55"/>
                  <a:pt x="363" y="55"/>
                  <a:pt x="365" y="55"/>
                </a:cubicBezTo>
                <a:cubicBezTo>
                  <a:pt x="366" y="55"/>
                  <a:pt x="367" y="54"/>
                  <a:pt x="369" y="55"/>
                </a:cubicBezTo>
                <a:cubicBezTo>
                  <a:pt x="368" y="56"/>
                  <a:pt x="366" y="55"/>
                  <a:pt x="365" y="55"/>
                </a:cubicBezTo>
                <a:cubicBezTo>
                  <a:pt x="364" y="55"/>
                  <a:pt x="363" y="55"/>
                  <a:pt x="362" y="55"/>
                </a:cubicBezTo>
                <a:cubicBezTo>
                  <a:pt x="362" y="55"/>
                  <a:pt x="361" y="55"/>
                  <a:pt x="360" y="55"/>
                </a:cubicBezTo>
                <a:cubicBezTo>
                  <a:pt x="358" y="56"/>
                  <a:pt x="356" y="55"/>
                  <a:pt x="354" y="56"/>
                </a:cubicBezTo>
                <a:cubicBezTo>
                  <a:pt x="353" y="56"/>
                  <a:pt x="352" y="56"/>
                  <a:pt x="351" y="56"/>
                </a:cubicBezTo>
                <a:cubicBezTo>
                  <a:pt x="351" y="57"/>
                  <a:pt x="349" y="57"/>
                  <a:pt x="349" y="57"/>
                </a:cubicBezTo>
                <a:cubicBezTo>
                  <a:pt x="349" y="57"/>
                  <a:pt x="352" y="57"/>
                  <a:pt x="353" y="57"/>
                </a:cubicBezTo>
                <a:cubicBezTo>
                  <a:pt x="354" y="57"/>
                  <a:pt x="356" y="57"/>
                  <a:pt x="357" y="57"/>
                </a:cubicBezTo>
                <a:cubicBezTo>
                  <a:pt x="359" y="57"/>
                  <a:pt x="360" y="57"/>
                  <a:pt x="362" y="57"/>
                </a:cubicBezTo>
                <a:cubicBezTo>
                  <a:pt x="363" y="57"/>
                  <a:pt x="364" y="56"/>
                  <a:pt x="365" y="56"/>
                </a:cubicBezTo>
                <a:cubicBezTo>
                  <a:pt x="364" y="57"/>
                  <a:pt x="362" y="57"/>
                  <a:pt x="361" y="57"/>
                </a:cubicBezTo>
                <a:cubicBezTo>
                  <a:pt x="359" y="57"/>
                  <a:pt x="357" y="58"/>
                  <a:pt x="356" y="58"/>
                </a:cubicBezTo>
                <a:cubicBezTo>
                  <a:pt x="352" y="59"/>
                  <a:pt x="349" y="58"/>
                  <a:pt x="346" y="59"/>
                </a:cubicBezTo>
                <a:cubicBezTo>
                  <a:pt x="345" y="59"/>
                  <a:pt x="344" y="59"/>
                  <a:pt x="344" y="60"/>
                </a:cubicBezTo>
                <a:cubicBezTo>
                  <a:pt x="343" y="60"/>
                  <a:pt x="343" y="60"/>
                  <a:pt x="342" y="60"/>
                </a:cubicBezTo>
                <a:cubicBezTo>
                  <a:pt x="342" y="61"/>
                  <a:pt x="344" y="61"/>
                  <a:pt x="344" y="61"/>
                </a:cubicBezTo>
                <a:cubicBezTo>
                  <a:pt x="345" y="61"/>
                  <a:pt x="346" y="61"/>
                  <a:pt x="347" y="61"/>
                </a:cubicBezTo>
                <a:cubicBezTo>
                  <a:pt x="348" y="61"/>
                  <a:pt x="350" y="60"/>
                  <a:pt x="351" y="61"/>
                </a:cubicBezTo>
                <a:cubicBezTo>
                  <a:pt x="350" y="61"/>
                  <a:pt x="350" y="61"/>
                  <a:pt x="349" y="61"/>
                </a:cubicBezTo>
                <a:cubicBezTo>
                  <a:pt x="350" y="62"/>
                  <a:pt x="351" y="61"/>
                  <a:pt x="351" y="61"/>
                </a:cubicBezTo>
                <a:cubicBezTo>
                  <a:pt x="351" y="62"/>
                  <a:pt x="350" y="61"/>
                  <a:pt x="349" y="62"/>
                </a:cubicBezTo>
                <a:cubicBezTo>
                  <a:pt x="350" y="62"/>
                  <a:pt x="353" y="63"/>
                  <a:pt x="354" y="62"/>
                </a:cubicBezTo>
                <a:cubicBezTo>
                  <a:pt x="354" y="61"/>
                  <a:pt x="354" y="61"/>
                  <a:pt x="355" y="61"/>
                </a:cubicBezTo>
                <a:cubicBezTo>
                  <a:pt x="355" y="61"/>
                  <a:pt x="357" y="61"/>
                  <a:pt x="357" y="61"/>
                </a:cubicBezTo>
                <a:cubicBezTo>
                  <a:pt x="357" y="62"/>
                  <a:pt x="355" y="62"/>
                  <a:pt x="355" y="62"/>
                </a:cubicBezTo>
                <a:cubicBezTo>
                  <a:pt x="356" y="63"/>
                  <a:pt x="357" y="62"/>
                  <a:pt x="358" y="62"/>
                </a:cubicBezTo>
                <a:cubicBezTo>
                  <a:pt x="359" y="62"/>
                  <a:pt x="361" y="62"/>
                  <a:pt x="362" y="61"/>
                </a:cubicBezTo>
                <a:cubicBezTo>
                  <a:pt x="363" y="61"/>
                  <a:pt x="363" y="61"/>
                  <a:pt x="363" y="60"/>
                </a:cubicBezTo>
                <a:cubicBezTo>
                  <a:pt x="363" y="60"/>
                  <a:pt x="363" y="60"/>
                  <a:pt x="362" y="60"/>
                </a:cubicBezTo>
                <a:cubicBezTo>
                  <a:pt x="363" y="60"/>
                  <a:pt x="364" y="59"/>
                  <a:pt x="364" y="60"/>
                </a:cubicBezTo>
                <a:cubicBezTo>
                  <a:pt x="364" y="60"/>
                  <a:pt x="364" y="60"/>
                  <a:pt x="364" y="60"/>
                </a:cubicBezTo>
                <a:cubicBezTo>
                  <a:pt x="364" y="60"/>
                  <a:pt x="365" y="60"/>
                  <a:pt x="365" y="60"/>
                </a:cubicBezTo>
                <a:cubicBezTo>
                  <a:pt x="366" y="60"/>
                  <a:pt x="366" y="60"/>
                  <a:pt x="367" y="59"/>
                </a:cubicBezTo>
                <a:cubicBezTo>
                  <a:pt x="367" y="59"/>
                  <a:pt x="368" y="59"/>
                  <a:pt x="368" y="58"/>
                </a:cubicBezTo>
                <a:cubicBezTo>
                  <a:pt x="369" y="58"/>
                  <a:pt x="368" y="59"/>
                  <a:pt x="368" y="59"/>
                </a:cubicBezTo>
                <a:cubicBezTo>
                  <a:pt x="369" y="59"/>
                  <a:pt x="369" y="59"/>
                  <a:pt x="369" y="59"/>
                </a:cubicBezTo>
                <a:cubicBezTo>
                  <a:pt x="370" y="59"/>
                  <a:pt x="370" y="59"/>
                  <a:pt x="371" y="59"/>
                </a:cubicBezTo>
                <a:cubicBezTo>
                  <a:pt x="371" y="59"/>
                  <a:pt x="372" y="58"/>
                  <a:pt x="372" y="59"/>
                </a:cubicBezTo>
                <a:cubicBezTo>
                  <a:pt x="372" y="59"/>
                  <a:pt x="372" y="59"/>
                  <a:pt x="372" y="59"/>
                </a:cubicBezTo>
                <a:cubicBezTo>
                  <a:pt x="370" y="59"/>
                  <a:pt x="367" y="59"/>
                  <a:pt x="366" y="61"/>
                </a:cubicBezTo>
                <a:cubicBezTo>
                  <a:pt x="366" y="61"/>
                  <a:pt x="367" y="61"/>
                  <a:pt x="368" y="61"/>
                </a:cubicBezTo>
                <a:cubicBezTo>
                  <a:pt x="367" y="61"/>
                  <a:pt x="365" y="61"/>
                  <a:pt x="364" y="61"/>
                </a:cubicBezTo>
                <a:cubicBezTo>
                  <a:pt x="364" y="62"/>
                  <a:pt x="365" y="62"/>
                  <a:pt x="365" y="62"/>
                </a:cubicBezTo>
                <a:cubicBezTo>
                  <a:pt x="367" y="62"/>
                  <a:pt x="369" y="61"/>
                  <a:pt x="370" y="61"/>
                </a:cubicBezTo>
                <a:cubicBezTo>
                  <a:pt x="370" y="62"/>
                  <a:pt x="372" y="61"/>
                  <a:pt x="372" y="61"/>
                </a:cubicBezTo>
                <a:cubicBezTo>
                  <a:pt x="373" y="61"/>
                  <a:pt x="373" y="61"/>
                  <a:pt x="374" y="61"/>
                </a:cubicBezTo>
                <a:cubicBezTo>
                  <a:pt x="374" y="60"/>
                  <a:pt x="375" y="60"/>
                  <a:pt x="375" y="60"/>
                </a:cubicBezTo>
                <a:cubicBezTo>
                  <a:pt x="375" y="60"/>
                  <a:pt x="374" y="60"/>
                  <a:pt x="374" y="61"/>
                </a:cubicBezTo>
                <a:cubicBezTo>
                  <a:pt x="375" y="61"/>
                  <a:pt x="376" y="60"/>
                  <a:pt x="377" y="60"/>
                </a:cubicBezTo>
                <a:cubicBezTo>
                  <a:pt x="376" y="60"/>
                  <a:pt x="376" y="60"/>
                  <a:pt x="376" y="60"/>
                </a:cubicBezTo>
                <a:cubicBezTo>
                  <a:pt x="377" y="61"/>
                  <a:pt x="375" y="61"/>
                  <a:pt x="375" y="61"/>
                </a:cubicBezTo>
                <a:cubicBezTo>
                  <a:pt x="375" y="62"/>
                  <a:pt x="377" y="61"/>
                  <a:pt x="378" y="61"/>
                </a:cubicBezTo>
                <a:cubicBezTo>
                  <a:pt x="378" y="61"/>
                  <a:pt x="380" y="61"/>
                  <a:pt x="380" y="61"/>
                </a:cubicBezTo>
                <a:cubicBezTo>
                  <a:pt x="380" y="61"/>
                  <a:pt x="380" y="61"/>
                  <a:pt x="381" y="61"/>
                </a:cubicBezTo>
                <a:cubicBezTo>
                  <a:pt x="381" y="61"/>
                  <a:pt x="382" y="61"/>
                  <a:pt x="382" y="61"/>
                </a:cubicBezTo>
                <a:cubicBezTo>
                  <a:pt x="382" y="61"/>
                  <a:pt x="383" y="61"/>
                  <a:pt x="383" y="61"/>
                </a:cubicBezTo>
                <a:cubicBezTo>
                  <a:pt x="384" y="60"/>
                  <a:pt x="385" y="60"/>
                  <a:pt x="386" y="60"/>
                </a:cubicBezTo>
                <a:cubicBezTo>
                  <a:pt x="386" y="61"/>
                  <a:pt x="384" y="61"/>
                  <a:pt x="384" y="61"/>
                </a:cubicBezTo>
                <a:cubicBezTo>
                  <a:pt x="383" y="61"/>
                  <a:pt x="382" y="61"/>
                  <a:pt x="382" y="61"/>
                </a:cubicBezTo>
                <a:cubicBezTo>
                  <a:pt x="382" y="62"/>
                  <a:pt x="380" y="62"/>
                  <a:pt x="380" y="62"/>
                </a:cubicBezTo>
                <a:cubicBezTo>
                  <a:pt x="380" y="62"/>
                  <a:pt x="380" y="62"/>
                  <a:pt x="380" y="62"/>
                </a:cubicBezTo>
                <a:cubicBezTo>
                  <a:pt x="378" y="63"/>
                  <a:pt x="375" y="62"/>
                  <a:pt x="373" y="62"/>
                </a:cubicBezTo>
                <a:cubicBezTo>
                  <a:pt x="371" y="62"/>
                  <a:pt x="368" y="63"/>
                  <a:pt x="366" y="63"/>
                </a:cubicBezTo>
                <a:cubicBezTo>
                  <a:pt x="366" y="63"/>
                  <a:pt x="367" y="63"/>
                  <a:pt x="367" y="64"/>
                </a:cubicBezTo>
                <a:cubicBezTo>
                  <a:pt x="366" y="64"/>
                  <a:pt x="365" y="64"/>
                  <a:pt x="365" y="64"/>
                </a:cubicBezTo>
                <a:cubicBezTo>
                  <a:pt x="364" y="64"/>
                  <a:pt x="363" y="64"/>
                  <a:pt x="362" y="64"/>
                </a:cubicBezTo>
                <a:cubicBezTo>
                  <a:pt x="360" y="64"/>
                  <a:pt x="359" y="64"/>
                  <a:pt x="357" y="65"/>
                </a:cubicBezTo>
                <a:cubicBezTo>
                  <a:pt x="355" y="65"/>
                  <a:pt x="358" y="66"/>
                  <a:pt x="358" y="67"/>
                </a:cubicBezTo>
                <a:cubicBezTo>
                  <a:pt x="360" y="67"/>
                  <a:pt x="361" y="67"/>
                  <a:pt x="363" y="67"/>
                </a:cubicBezTo>
                <a:cubicBezTo>
                  <a:pt x="365" y="67"/>
                  <a:pt x="367" y="67"/>
                  <a:pt x="368" y="67"/>
                </a:cubicBezTo>
                <a:cubicBezTo>
                  <a:pt x="371" y="67"/>
                  <a:pt x="373" y="66"/>
                  <a:pt x="375" y="66"/>
                </a:cubicBezTo>
                <a:cubicBezTo>
                  <a:pt x="377" y="66"/>
                  <a:pt x="379" y="65"/>
                  <a:pt x="381" y="65"/>
                </a:cubicBezTo>
                <a:cubicBezTo>
                  <a:pt x="381" y="65"/>
                  <a:pt x="382" y="65"/>
                  <a:pt x="382" y="65"/>
                </a:cubicBezTo>
                <a:cubicBezTo>
                  <a:pt x="382" y="64"/>
                  <a:pt x="382" y="64"/>
                  <a:pt x="382" y="64"/>
                </a:cubicBezTo>
                <a:cubicBezTo>
                  <a:pt x="383" y="64"/>
                  <a:pt x="384" y="64"/>
                  <a:pt x="385" y="64"/>
                </a:cubicBezTo>
                <a:cubicBezTo>
                  <a:pt x="384" y="64"/>
                  <a:pt x="386" y="64"/>
                  <a:pt x="386" y="64"/>
                </a:cubicBezTo>
                <a:cubicBezTo>
                  <a:pt x="386" y="64"/>
                  <a:pt x="387" y="64"/>
                  <a:pt x="387" y="64"/>
                </a:cubicBezTo>
                <a:cubicBezTo>
                  <a:pt x="388" y="64"/>
                  <a:pt x="389" y="64"/>
                  <a:pt x="390" y="63"/>
                </a:cubicBezTo>
                <a:cubicBezTo>
                  <a:pt x="391" y="63"/>
                  <a:pt x="392" y="63"/>
                  <a:pt x="393" y="63"/>
                </a:cubicBezTo>
                <a:cubicBezTo>
                  <a:pt x="394" y="63"/>
                  <a:pt x="394" y="63"/>
                  <a:pt x="395" y="62"/>
                </a:cubicBezTo>
                <a:cubicBezTo>
                  <a:pt x="396" y="62"/>
                  <a:pt x="397" y="61"/>
                  <a:pt x="398" y="62"/>
                </a:cubicBezTo>
                <a:cubicBezTo>
                  <a:pt x="399" y="62"/>
                  <a:pt x="399" y="62"/>
                  <a:pt x="398" y="62"/>
                </a:cubicBezTo>
                <a:cubicBezTo>
                  <a:pt x="398" y="62"/>
                  <a:pt x="397" y="62"/>
                  <a:pt x="397" y="62"/>
                </a:cubicBezTo>
                <a:cubicBezTo>
                  <a:pt x="397" y="62"/>
                  <a:pt x="398" y="62"/>
                  <a:pt x="398" y="63"/>
                </a:cubicBezTo>
                <a:cubicBezTo>
                  <a:pt x="398" y="63"/>
                  <a:pt x="399" y="63"/>
                  <a:pt x="399" y="63"/>
                </a:cubicBezTo>
                <a:cubicBezTo>
                  <a:pt x="400" y="63"/>
                  <a:pt x="401" y="63"/>
                  <a:pt x="402" y="63"/>
                </a:cubicBezTo>
                <a:cubicBezTo>
                  <a:pt x="401" y="63"/>
                  <a:pt x="402" y="63"/>
                  <a:pt x="402" y="62"/>
                </a:cubicBezTo>
                <a:cubicBezTo>
                  <a:pt x="402" y="62"/>
                  <a:pt x="403" y="62"/>
                  <a:pt x="403" y="62"/>
                </a:cubicBezTo>
                <a:cubicBezTo>
                  <a:pt x="404" y="62"/>
                  <a:pt x="404" y="62"/>
                  <a:pt x="405" y="62"/>
                </a:cubicBezTo>
                <a:cubicBezTo>
                  <a:pt x="405" y="62"/>
                  <a:pt x="405" y="61"/>
                  <a:pt x="405" y="62"/>
                </a:cubicBezTo>
                <a:cubicBezTo>
                  <a:pt x="405" y="62"/>
                  <a:pt x="404" y="62"/>
                  <a:pt x="404" y="62"/>
                </a:cubicBezTo>
                <a:cubicBezTo>
                  <a:pt x="404" y="63"/>
                  <a:pt x="405" y="63"/>
                  <a:pt x="405" y="63"/>
                </a:cubicBezTo>
                <a:cubicBezTo>
                  <a:pt x="407" y="63"/>
                  <a:pt x="408" y="63"/>
                  <a:pt x="410" y="62"/>
                </a:cubicBezTo>
                <a:cubicBezTo>
                  <a:pt x="412" y="62"/>
                  <a:pt x="414" y="62"/>
                  <a:pt x="416" y="62"/>
                </a:cubicBezTo>
                <a:cubicBezTo>
                  <a:pt x="416" y="62"/>
                  <a:pt x="416" y="62"/>
                  <a:pt x="416" y="61"/>
                </a:cubicBezTo>
                <a:cubicBezTo>
                  <a:pt x="417" y="61"/>
                  <a:pt x="418" y="61"/>
                  <a:pt x="418" y="61"/>
                </a:cubicBezTo>
                <a:cubicBezTo>
                  <a:pt x="418" y="60"/>
                  <a:pt x="420" y="60"/>
                  <a:pt x="420" y="60"/>
                </a:cubicBezTo>
                <a:cubicBezTo>
                  <a:pt x="421" y="59"/>
                  <a:pt x="422" y="59"/>
                  <a:pt x="423" y="58"/>
                </a:cubicBezTo>
                <a:cubicBezTo>
                  <a:pt x="423" y="58"/>
                  <a:pt x="423" y="58"/>
                  <a:pt x="423" y="58"/>
                </a:cubicBezTo>
                <a:cubicBezTo>
                  <a:pt x="424" y="58"/>
                  <a:pt x="425" y="58"/>
                  <a:pt x="426" y="57"/>
                </a:cubicBezTo>
                <a:cubicBezTo>
                  <a:pt x="427" y="57"/>
                  <a:pt x="427" y="56"/>
                  <a:pt x="428" y="55"/>
                </a:cubicBezTo>
                <a:cubicBezTo>
                  <a:pt x="430" y="54"/>
                  <a:pt x="426" y="53"/>
                  <a:pt x="426" y="53"/>
                </a:cubicBezTo>
                <a:cubicBezTo>
                  <a:pt x="424" y="53"/>
                  <a:pt x="423" y="53"/>
                  <a:pt x="421" y="54"/>
                </a:cubicBezTo>
                <a:cubicBezTo>
                  <a:pt x="420" y="54"/>
                  <a:pt x="420" y="55"/>
                  <a:pt x="419" y="55"/>
                </a:cubicBezTo>
                <a:cubicBezTo>
                  <a:pt x="419" y="55"/>
                  <a:pt x="420" y="55"/>
                  <a:pt x="420" y="55"/>
                </a:cubicBezTo>
                <a:cubicBezTo>
                  <a:pt x="420" y="56"/>
                  <a:pt x="419" y="55"/>
                  <a:pt x="419" y="56"/>
                </a:cubicBezTo>
                <a:cubicBezTo>
                  <a:pt x="418" y="56"/>
                  <a:pt x="418" y="56"/>
                  <a:pt x="418" y="56"/>
                </a:cubicBezTo>
                <a:cubicBezTo>
                  <a:pt x="418" y="56"/>
                  <a:pt x="417" y="57"/>
                  <a:pt x="417" y="57"/>
                </a:cubicBezTo>
                <a:cubicBezTo>
                  <a:pt x="416" y="56"/>
                  <a:pt x="418" y="56"/>
                  <a:pt x="417" y="56"/>
                </a:cubicBezTo>
                <a:cubicBezTo>
                  <a:pt x="418" y="56"/>
                  <a:pt x="418" y="56"/>
                  <a:pt x="418" y="55"/>
                </a:cubicBezTo>
                <a:cubicBezTo>
                  <a:pt x="417" y="55"/>
                  <a:pt x="418" y="55"/>
                  <a:pt x="419" y="55"/>
                </a:cubicBezTo>
                <a:cubicBezTo>
                  <a:pt x="417" y="55"/>
                  <a:pt x="416" y="55"/>
                  <a:pt x="415" y="55"/>
                </a:cubicBezTo>
                <a:cubicBezTo>
                  <a:pt x="414" y="55"/>
                  <a:pt x="412" y="56"/>
                  <a:pt x="411" y="56"/>
                </a:cubicBezTo>
                <a:cubicBezTo>
                  <a:pt x="412" y="55"/>
                  <a:pt x="413" y="55"/>
                  <a:pt x="414" y="55"/>
                </a:cubicBezTo>
                <a:cubicBezTo>
                  <a:pt x="414" y="55"/>
                  <a:pt x="416" y="54"/>
                  <a:pt x="416" y="54"/>
                </a:cubicBezTo>
                <a:cubicBezTo>
                  <a:pt x="416" y="53"/>
                  <a:pt x="412" y="53"/>
                  <a:pt x="411" y="53"/>
                </a:cubicBezTo>
                <a:cubicBezTo>
                  <a:pt x="412" y="53"/>
                  <a:pt x="412" y="53"/>
                  <a:pt x="412" y="53"/>
                </a:cubicBezTo>
                <a:cubicBezTo>
                  <a:pt x="412" y="53"/>
                  <a:pt x="413" y="53"/>
                  <a:pt x="413" y="53"/>
                </a:cubicBezTo>
                <a:cubicBezTo>
                  <a:pt x="413" y="52"/>
                  <a:pt x="414" y="52"/>
                  <a:pt x="414" y="52"/>
                </a:cubicBezTo>
                <a:cubicBezTo>
                  <a:pt x="415" y="52"/>
                  <a:pt x="415" y="52"/>
                  <a:pt x="416" y="52"/>
                </a:cubicBezTo>
                <a:cubicBezTo>
                  <a:pt x="416" y="52"/>
                  <a:pt x="415" y="52"/>
                  <a:pt x="415" y="52"/>
                </a:cubicBezTo>
                <a:cubicBezTo>
                  <a:pt x="416" y="51"/>
                  <a:pt x="416" y="52"/>
                  <a:pt x="417" y="51"/>
                </a:cubicBezTo>
                <a:cubicBezTo>
                  <a:pt x="416" y="51"/>
                  <a:pt x="416" y="51"/>
                  <a:pt x="417" y="51"/>
                </a:cubicBezTo>
                <a:cubicBezTo>
                  <a:pt x="416" y="50"/>
                  <a:pt x="416" y="50"/>
                  <a:pt x="415" y="50"/>
                </a:cubicBezTo>
                <a:cubicBezTo>
                  <a:pt x="415" y="50"/>
                  <a:pt x="416" y="50"/>
                  <a:pt x="416" y="50"/>
                </a:cubicBezTo>
                <a:cubicBezTo>
                  <a:pt x="415" y="50"/>
                  <a:pt x="416" y="50"/>
                  <a:pt x="416" y="49"/>
                </a:cubicBezTo>
                <a:cubicBezTo>
                  <a:pt x="416" y="49"/>
                  <a:pt x="416" y="49"/>
                  <a:pt x="416" y="49"/>
                </a:cubicBezTo>
                <a:cubicBezTo>
                  <a:pt x="416" y="49"/>
                  <a:pt x="417" y="49"/>
                  <a:pt x="417" y="49"/>
                </a:cubicBezTo>
                <a:cubicBezTo>
                  <a:pt x="417" y="49"/>
                  <a:pt x="417" y="49"/>
                  <a:pt x="417" y="49"/>
                </a:cubicBezTo>
                <a:cubicBezTo>
                  <a:pt x="417" y="48"/>
                  <a:pt x="417" y="48"/>
                  <a:pt x="418" y="48"/>
                </a:cubicBezTo>
                <a:cubicBezTo>
                  <a:pt x="418" y="48"/>
                  <a:pt x="420" y="48"/>
                  <a:pt x="419" y="48"/>
                </a:cubicBezTo>
                <a:cubicBezTo>
                  <a:pt x="419" y="47"/>
                  <a:pt x="419" y="47"/>
                  <a:pt x="418" y="47"/>
                </a:cubicBezTo>
                <a:cubicBezTo>
                  <a:pt x="419" y="47"/>
                  <a:pt x="419" y="47"/>
                  <a:pt x="419" y="47"/>
                </a:cubicBezTo>
                <a:cubicBezTo>
                  <a:pt x="419" y="46"/>
                  <a:pt x="418" y="47"/>
                  <a:pt x="418" y="47"/>
                </a:cubicBezTo>
                <a:cubicBezTo>
                  <a:pt x="417" y="47"/>
                  <a:pt x="415" y="47"/>
                  <a:pt x="414" y="47"/>
                </a:cubicBezTo>
                <a:cubicBezTo>
                  <a:pt x="414" y="48"/>
                  <a:pt x="413" y="48"/>
                  <a:pt x="412" y="48"/>
                </a:cubicBezTo>
                <a:cubicBezTo>
                  <a:pt x="412" y="48"/>
                  <a:pt x="411" y="48"/>
                  <a:pt x="411" y="49"/>
                </a:cubicBezTo>
                <a:cubicBezTo>
                  <a:pt x="410" y="49"/>
                  <a:pt x="409" y="49"/>
                  <a:pt x="408" y="49"/>
                </a:cubicBezTo>
                <a:cubicBezTo>
                  <a:pt x="409" y="49"/>
                  <a:pt x="409" y="49"/>
                  <a:pt x="409" y="49"/>
                </a:cubicBezTo>
                <a:cubicBezTo>
                  <a:pt x="408" y="50"/>
                  <a:pt x="406" y="50"/>
                  <a:pt x="405" y="50"/>
                </a:cubicBezTo>
                <a:cubicBezTo>
                  <a:pt x="405" y="50"/>
                  <a:pt x="404" y="50"/>
                  <a:pt x="403" y="50"/>
                </a:cubicBezTo>
                <a:cubicBezTo>
                  <a:pt x="403" y="51"/>
                  <a:pt x="402" y="51"/>
                  <a:pt x="402" y="51"/>
                </a:cubicBezTo>
                <a:cubicBezTo>
                  <a:pt x="402" y="51"/>
                  <a:pt x="403" y="51"/>
                  <a:pt x="403" y="52"/>
                </a:cubicBezTo>
                <a:cubicBezTo>
                  <a:pt x="403" y="52"/>
                  <a:pt x="404" y="52"/>
                  <a:pt x="404" y="52"/>
                </a:cubicBezTo>
                <a:cubicBezTo>
                  <a:pt x="404" y="52"/>
                  <a:pt x="404" y="52"/>
                  <a:pt x="405" y="52"/>
                </a:cubicBezTo>
                <a:cubicBezTo>
                  <a:pt x="405" y="52"/>
                  <a:pt x="406" y="52"/>
                  <a:pt x="405" y="52"/>
                </a:cubicBezTo>
                <a:cubicBezTo>
                  <a:pt x="405" y="52"/>
                  <a:pt x="406" y="52"/>
                  <a:pt x="406" y="52"/>
                </a:cubicBezTo>
                <a:cubicBezTo>
                  <a:pt x="406" y="53"/>
                  <a:pt x="406" y="53"/>
                  <a:pt x="407" y="53"/>
                </a:cubicBezTo>
                <a:cubicBezTo>
                  <a:pt x="406" y="53"/>
                  <a:pt x="406" y="53"/>
                  <a:pt x="406" y="53"/>
                </a:cubicBezTo>
                <a:cubicBezTo>
                  <a:pt x="406" y="53"/>
                  <a:pt x="406" y="53"/>
                  <a:pt x="406" y="53"/>
                </a:cubicBezTo>
                <a:cubicBezTo>
                  <a:pt x="406" y="54"/>
                  <a:pt x="405" y="53"/>
                  <a:pt x="405" y="53"/>
                </a:cubicBezTo>
                <a:cubicBezTo>
                  <a:pt x="405" y="54"/>
                  <a:pt x="405" y="54"/>
                  <a:pt x="405" y="54"/>
                </a:cubicBezTo>
                <a:cubicBezTo>
                  <a:pt x="404" y="54"/>
                  <a:pt x="404" y="54"/>
                  <a:pt x="403" y="54"/>
                </a:cubicBezTo>
                <a:cubicBezTo>
                  <a:pt x="402" y="54"/>
                  <a:pt x="401" y="54"/>
                  <a:pt x="399" y="55"/>
                </a:cubicBezTo>
                <a:cubicBezTo>
                  <a:pt x="400" y="55"/>
                  <a:pt x="401" y="55"/>
                  <a:pt x="402" y="55"/>
                </a:cubicBezTo>
                <a:cubicBezTo>
                  <a:pt x="401" y="55"/>
                  <a:pt x="401" y="55"/>
                  <a:pt x="401" y="55"/>
                </a:cubicBezTo>
                <a:cubicBezTo>
                  <a:pt x="401" y="55"/>
                  <a:pt x="401" y="55"/>
                  <a:pt x="401" y="55"/>
                </a:cubicBezTo>
                <a:cubicBezTo>
                  <a:pt x="401" y="55"/>
                  <a:pt x="401" y="55"/>
                  <a:pt x="401" y="55"/>
                </a:cubicBezTo>
                <a:cubicBezTo>
                  <a:pt x="401" y="56"/>
                  <a:pt x="402" y="55"/>
                  <a:pt x="402" y="55"/>
                </a:cubicBezTo>
                <a:cubicBezTo>
                  <a:pt x="401" y="56"/>
                  <a:pt x="403" y="56"/>
                  <a:pt x="403" y="56"/>
                </a:cubicBezTo>
                <a:cubicBezTo>
                  <a:pt x="403" y="56"/>
                  <a:pt x="404" y="56"/>
                  <a:pt x="404" y="56"/>
                </a:cubicBezTo>
                <a:cubicBezTo>
                  <a:pt x="404" y="56"/>
                  <a:pt x="404" y="56"/>
                  <a:pt x="405" y="56"/>
                </a:cubicBezTo>
                <a:cubicBezTo>
                  <a:pt x="405" y="56"/>
                  <a:pt x="404" y="56"/>
                  <a:pt x="404" y="57"/>
                </a:cubicBezTo>
                <a:cubicBezTo>
                  <a:pt x="404" y="57"/>
                  <a:pt x="404" y="57"/>
                  <a:pt x="403" y="57"/>
                </a:cubicBezTo>
                <a:cubicBezTo>
                  <a:pt x="403" y="57"/>
                  <a:pt x="403" y="58"/>
                  <a:pt x="403" y="57"/>
                </a:cubicBezTo>
                <a:cubicBezTo>
                  <a:pt x="403" y="57"/>
                  <a:pt x="402" y="57"/>
                  <a:pt x="402" y="58"/>
                </a:cubicBezTo>
                <a:cubicBezTo>
                  <a:pt x="402" y="58"/>
                  <a:pt x="402" y="58"/>
                  <a:pt x="402" y="58"/>
                </a:cubicBezTo>
                <a:cubicBezTo>
                  <a:pt x="401" y="58"/>
                  <a:pt x="401" y="58"/>
                  <a:pt x="401" y="58"/>
                </a:cubicBezTo>
                <a:cubicBezTo>
                  <a:pt x="400" y="58"/>
                  <a:pt x="399" y="58"/>
                  <a:pt x="398" y="58"/>
                </a:cubicBezTo>
                <a:cubicBezTo>
                  <a:pt x="396" y="57"/>
                  <a:pt x="394" y="58"/>
                  <a:pt x="393" y="58"/>
                </a:cubicBezTo>
                <a:cubicBezTo>
                  <a:pt x="392" y="57"/>
                  <a:pt x="391" y="58"/>
                  <a:pt x="390" y="58"/>
                </a:cubicBezTo>
                <a:cubicBezTo>
                  <a:pt x="389" y="58"/>
                  <a:pt x="388" y="58"/>
                  <a:pt x="388" y="58"/>
                </a:cubicBezTo>
                <a:cubicBezTo>
                  <a:pt x="387" y="58"/>
                  <a:pt x="387" y="58"/>
                  <a:pt x="387" y="57"/>
                </a:cubicBezTo>
                <a:cubicBezTo>
                  <a:pt x="387" y="57"/>
                  <a:pt x="389" y="56"/>
                  <a:pt x="389" y="56"/>
                </a:cubicBezTo>
                <a:cubicBezTo>
                  <a:pt x="388" y="56"/>
                  <a:pt x="389" y="56"/>
                  <a:pt x="389" y="56"/>
                </a:cubicBezTo>
                <a:cubicBezTo>
                  <a:pt x="389" y="56"/>
                  <a:pt x="389" y="55"/>
                  <a:pt x="388" y="55"/>
                </a:cubicBezTo>
                <a:cubicBezTo>
                  <a:pt x="389" y="55"/>
                  <a:pt x="389" y="55"/>
                  <a:pt x="390" y="55"/>
                </a:cubicBezTo>
                <a:cubicBezTo>
                  <a:pt x="389" y="55"/>
                  <a:pt x="388" y="55"/>
                  <a:pt x="387" y="55"/>
                </a:cubicBezTo>
                <a:cubicBezTo>
                  <a:pt x="387" y="55"/>
                  <a:pt x="386" y="56"/>
                  <a:pt x="386" y="55"/>
                </a:cubicBezTo>
                <a:cubicBezTo>
                  <a:pt x="386" y="55"/>
                  <a:pt x="386" y="55"/>
                  <a:pt x="386" y="55"/>
                </a:cubicBezTo>
                <a:cubicBezTo>
                  <a:pt x="386" y="55"/>
                  <a:pt x="385" y="55"/>
                  <a:pt x="384" y="55"/>
                </a:cubicBezTo>
                <a:cubicBezTo>
                  <a:pt x="385" y="55"/>
                  <a:pt x="386" y="55"/>
                  <a:pt x="387" y="55"/>
                </a:cubicBezTo>
                <a:cubicBezTo>
                  <a:pt x="387" y="55"/>
                  <a:pt x="389" y="55"/>
                  <a:pt x="389" y="54"/>
                </a:cubicBezTo>
                <a:close/>
                <a:moveTo>
                  <a:pt x="378" y="52"/>
                </a:moveTo>
                <a:cubicBezTo>
                  <a:pt x="378" y="52"/>
                  <a:pt x="378" y="52"/>
                  <a:pt x="378" y="52"/>
                </a:cubicBezTo>
                <a:close/>
                <a:moveTo>
                  <a:pt x="546" y="42"/>
                </a:moveTo>
                <a:cubicBezTo>
                  <a:pt x="546" y="41"/>
                  <a:pt x="545" y="41"/>
                  <a:pt x="545" y="41"/>
                </a:cubicBezTo>
                <a:cubicBezTo>
                  <a:pt x="544" y="40"/>
                  <a:pt x="542" y="40"/>
                  <a:pt x="541" y="40"/>
                </a:cubicBezTo>
                <a:cubicBezTo>
                  <a:pt x="540" y="40"/>
                  <a:pt x="538" y="40"/>
                  <a:pt x="538" y="41"/>
                </a:cubicBezTo>
                <a:cubicBezTo>
                  <a:pt x="537" y="41"/>
                  <a:pt x="537" y="42"/>
                  <a:pt x="537" y="42"/>
                </a:cubicBezTo>
                <a:cubicBezTo>
                  <a:pt x="536" y="42"/>
                  <a:pt x="536" y="42"/>
                  <a:pt x="536" y="42"/>
                </a:cubicBezTo>
                <a:cubicBezTo>
                  <a:pt x="537" y="43"/>
                  <a:pt x="538" y="44"/>
                  <a:pt x="539" y="44"/>
                </a:cubicBezTo>
                <a:cubicBezTo>
                  <a:pt x="539" y="44"/>
                  <a:pt x="539" y="44"/>
                  <a:pt x="539" y="44"/>
                </a:cubicBezTo>
                <a:cubicBezTo>
                  <a:pt x="539" y="44"/>
                  <a:pt x="539" y="44"/>
                  <a:pt x="539" y="44"/>
                </a:cubicBezTo>
                <a:cubicBezTo>
                  <a:pt x="541" y="44"/>
                  <a:pt x="542" y="44"/>
                  <a:pt x="543" y="43"/>
                </a:cubicBezTo>
                <a:cubicBezTo>
                  <a:pt x="544" y="43"/>
                  <a:pt x="545" y="43"/>
                  <a:pt x="545" y="43"/>
                </a:cubicBezTo>
                <a:cubicBezTo>
                  <a:pt x="545" y="42"/>
                  <a:pt x="546" y="42"/>
                  <a:pt x="546" y="42"/>
                </a:cubicBezTo>
                <a:close/>
                <a:moveTo>
                  <a:pt x="465" y="49"/>
                </a:moveTo>
                <a:cubicBezTo>
                  <a:pt x="467" y="48"/>
                  <a:pt x="469" y="48"/>
                  <a:pt x="471" y="48"/>
                </a:cubicBezTo>
                <a:cubicBezTo>
                  <a:pt x="471" y="48"/>
                  <a:pt x="472" y="48"/>
                  <a:pt x="472" y="48"/>
                </a:cubicBezTo>
                <a:cubicBezTo>
                  <a:pt x="470" y="47"/>
                  <a:pt x="468" y="47"/>
                  <a:pt x="466" y="48"/>
                </a:cubicBezTo>
                <a:cubicBezTo>
                  <a:pt x="464" y="48"/>
                  <a:pt x="463" y="49"/>
                  <a:pt x="461" y="49"/>
                </a:cubicBezTo>
                <a:cubicBezTo>
                  <a:pt x="462" y="50"/>
                  <a:pt x="464" y="49"/>
                  <a:pt x="465" y="49"/>
                </a:cubicBezTo>
                <a:close/>
                <a:moveTo>
                  <a:pt x="384" y="48"/>
                </a:moveTo>
                <a:cubicBezTo>
                  <a:pt x="385" y="48"/>
                  <a:pt x="388" y="48"/>
                  <a:pt x="389" y="47"/>
                </a:cubicBezTo>
                <a:cubicBezTo>
                  <a:pt x="388" y="47"/>
                  <a:pt x="387" y="46"/>
                  <a:pt x="386" y="46"/>
                </a:cubicBezTo>
                <a:cubicBezTo>
                  <a:pt x="385" y="46"/>
                  <a:pt x="384" y="46"/>
                  <a:pt x="384" y="46"/>
                </a:cubicBezTo>
                <a:cubicBezTo>
                  <a:pt x="382" y="46"/>
                  <a:pt x="380" y="46"/>
                  <a:pt x="379" y="47"/>
                </a:cubicBezTo>
                <a:cubicBezTo>
                  <a:pt x="381" y="47"/>
                  <a:pt x="382" y="48"/>
                  <a:pt x="384" y="48"/>
                </a:cubicBezTo>
                <a:close/>
                <a:moveTo>
                  <a:pt x="393" y="39"/>
                </a:moveTo>
                <a:cubicBezTo>
                  <a:pt x="394" y="39"/>
                  <a:pt x="394" y="39"/>
                  <a:pt x="395" y="40"/>
                </a:cubicBezTo>
                <a:cubicBezTo>
                  <a:pt x="395" y="40"/>
                  <a:pt x="396" y="40"/>
                  <a:pt x="397" y="40"/>
                </a:cubicBezTo>
                <a:cubicBezTo>
                  <a:pt x="398" y="39"/>
                  <a:pt x="399" y="39"/>
                  <a:pt x="401" y="39"/>
                </a:cubicBezTo>
                <a:cubicBezTo>
                  <a:pt x="401" y="39"/>
                  <a:pt x="400" y="39"/>
                  <a:pt x="400" y="38"/>
                </a:cubicBezTo>
                <a:cubicBezTo>
                  <a:pt x="401" y="38"/>
                  <a:pt x="400" y="38"/>
                  <a:pt x="399" y="38"/>
                </a:cubicBezTo>
                <a:cubicBezTo>
                  <a:pt x="399" y="38"/>
                  <a:pt x="400" y="38"/>
                  <a:pt x="400" y="38"/>
                </a:cubicBezTo>
                <a:cubicBezTo>
                  <a:pt x="400" y="38"/>
                  <a:pt x="399" y="38"/>
                  <a:pt x="399" y="38"/>
                </a:cubicBezTo>
                <a:cubicBezTo>
                  <a:pt x="399" y="38"/>
                  <a:pt x="400" y="37"/>
                  <a:pt x="400" y="37"/>
                </a:cubicBezTo>
                <a:cubicBezTo>
                  <a:pt x="399" y="37"/>
                  <a:pt x="399" y="37"/>
                  <a:pt x="398" y="37"/>
                </a:cubicBezTo>
                <a:cubicBezTo>
                  <a:pt x="398" y="37"/>
                  <a:pt x="399" y="37"/>
                  <a:pt x="398" y="37"/>
                </a:cubicBezTo>
                <a:cubicBezTo>
                  <a:pt x="399" y="37"/>
                  <a:pt x="399" y="37"/>
                  <a:pt x="399" y="37"/>
                </a:cubicBezTo>
                <a:cubicBezTo>
                  <a:pt x="398" y="37"/>
                  <a:pt x="396" y="37"/>
                  <a:pt x="395" y="37"/>
                </a:cubicBezTo>
                <a:cubicBezTo>
                  <a:pt x="394" y="37"/>
                  <a:pt x="393" y="37"/>
                  <a:pt x="393" y="38"/>
                </a:cubicBezTo>
                <a:cubicBezTo>
                  <a:pt x="392" y="38"/>
                  <a:pt x="393" y="39"/>
                  <a:pt x="393" y="39"/>
                </a:cubicBezTo>
                <a:close/>
                <a:moveTo>
                  <a:pt x="537" y="49"/>
                </a:moveTo>
                <a:cubicBezTo>
                  <a:pt x="537" y="48"/>
                  <a:pt x="538" y="48"/>
                  <a:pt x="538" y="48"/>
                </a:cubicBezTo>
                <a:cubicBezTo>
                  <a:pt x="539" y="48"/>
                  <a:pt x="539" y="47"/>
                  <a:pt x="539" y="47"/>
                </a:cubicBezTo>
                <a:cubicBezTo>
                  <a:pt x="538" y="47"/>
                  <a:pt x="538" y="47"/>
                  <a:pt x="537" y="47"/>
                </a:cubicBezTo>
                <a:cubicBezTo>
                  <a:pt x="536" y="47"/>
                  <a:pt x="535" y="47"/>
                  <a:pt x="534" y="47"/>
                </a:cubicBezTo>
                <a:cubicBezTo>
                  <a:pt x="533" y="48"/>
                  <a:pt x="534" y="50"/>
                  <a:pt x="534" y="50"/>
                </a:cubicBezTo>
                <a:cubicBezTo>
                  <a:pt x="535" y="50"/>
                  <a:pt x="535" y="50"/>
                  <a:pt x="535" y="50"/>
                </a:cubicBezTo>
                <a:cubicBezTo>
                  <a:pt x="535" y="50"/>
                  <a:pt x="535" y="50"/>
                  <a:pt x="536" y="50"/>
                </a:cubicBezTo>
                <a:cubicBezTo>
                  <a:pt x="536" y="50"/>
                  <a:pt x="536" y="50"/>
                  <a:pt x="537" y="50"/>
                </a:cubicBezTo>
                <a:cubicBezTo>
                  <a:pt x="537" y="50"/>
                  <a:pt x="537" y="49"/>
                  <a:pt x="537" y="49"/>
                </a:cubicBezTo>
                <a:cubicBezTo>
                  <a:pt x="537" y="49"/>
                  <a:pt x="536" y="49"/>
                  <a:pt x="536" y="49"/>
                </a:cubicBezTo>
                <a:cubicBezTo>
                  <a:pt x="537" y="49"/>
                  <a:pt x="537" y="49"/>
                  <a:pt x="537" y="49"/>
                </a:cubicBezTo>
                <a:close/>
                <a:moveTo>
                  <a:pt x="512" y="23"/>
                </a:moveTo>
                <a:cubicBezTo>
                  <a:pt x="512" y="23"/>
                  <a:pt x="512" y="23"/>
                  <a:pt x="511" y="23"/>
                </a:cubicBezTo>
                <a:cubicBezTo>
                  <a:pt x="512" y="24"/>
                  <a:pt x="514" y="23"/>
                  <a:pt x="513" y="24"/>
                </a:cubicBezTo>
                <a:cubicBezTo>
                  <a:pt x="514" y="24"/>
                  <a:pt x="516" y="24"/>
                  <a:pt x="516" y="23"/>
                </a:cubicBezTo>
                <a:cubicBezTo>
                  <a:pt x="516" y="23"/>
                  <a:pt x="516" y="22"/>
                  <a:pt x="517" y="22"/>
                </a:cubicBezTo>
                <a:cubicBezTo>
                  <a:pt x="517" y="22"/>
                  <a:pt x="517" y="22"/>
                  <a:pt x="517" y="22"/>
                </a:cubicBezTo>
                <a:cubicBezTo>
                  <a:pt x="518" y="22"/>
                  <a:pt x="517" y="21"/>
                  <a:pt x="518" y="21"/>
                </a:cubicBezTo>
                <a:cubicBezTo>
                  <a:pt x="516" y="21"/>
                  <a:pt x="515" y="21"/>
                  <a:pt x="514" y="21"/>
                </a:cubicBezTo>
                <a:cubicBezTo>
                  <a:pt x="512" y="20"/>
                  <a:pt x="510" y="21"/>
                  <a:pt x="509" y="22"/>
                </a:cubicBezTo>
                <a:cubicBezTo>
                  <a:pt x="508" y="22"/>
                  <a:pt x="507" y="23"/>
                  <a:pt x="509" y="23"/>
                </a:cubicBezTo>
                <a:cubicBezTo>
                  <a:pt x="510" y="23"/>
                  <a:pt x="511" y="22"/>
                  <a:pt x="512" y="23"/>
                </a:cubicBezTo>
                <a:close/>
                <a:moveTo>
                  <a:pt x="471" y="38"/>
                </a:moveTo>
                <a:cubicBezTo>
                  <a:pt x="471" y="38"/>
                  <a:pt x="470" y="38"/>
                  <a:pt x="470" y="39"/>
                </a:cubicBezTo>
                <a:cubicBezTo>
                  <a:pt x="470" y="39"/>
                  <a:pt x="470" y="39"/>
                  <a:pt x="469" y="39"/>
                </a:cubicBezTo>
                <a:cubicBezTo>
                  <a:pt x="470" y="40"/>
                  <a:pt x="472" y="40"/>
                  <a:pt x="473" y="40"/>
                </a:cubicBezTo>
                <a:cubicBezTo>
                  <a:pt x="474" y="40"/>
                  <a:pt x="476" y="39"/>
                  <a:pt x="477" y="39"/>
                </a:cubicBezTo>
                <a:cubicBezTo>
                  <a:pt x="477" y="40"/>
                  <a:pt x="479" y="40"/>
                  <a:pt x="478" y="39"/>
                </a:cubicBezTo>
                <a:cubicBezTo>
                  <a:pt x="478" y="38"/>
                  <a:pt x="477" y="38"/>
                  <a:pt x="476" y="38"/>
                </a:cubicBezTo>
                <a:cubicBezTo>
                  <a:pt x="474" y="38"/>
                  <a:pt x="473" y="38"/>
                  <a:pt x="471" y="38"/>
                </a:cubicBezTo>
                <a:close/>
                <a:moveTo>
                  <a:pt x="502" y="112"/>
                </a:moveTo>
                <a:cubicBezTo>
                  <a:pt x="502" y="112"/>
                  <a:pt x="502" y="112"/>
                  <a:pt x="502" y="112"/>
                </a:cubicBezTo>
                <a:cubicBezTo>
                  <a:pt x="502" y="112"/>
                  <a:pt x="502" y="112"/>
                  <a:pt x="502" y="112"/>
                </a:cubicBezTo>
                <a:cubicBezTo>
                  <a:pt x="502" y="112"/>
                  <a:pt x="502" y="112"/>
                  <a:pt x="502" y="112"/>
                </a:cubicBezTo>
                <a:close/>
                <a:moveTo>
                  <a:pt x="125" y="111"/>
                </a:moveTo>
                <a:cubicBezTo>
                  <a:pt x="125" y="111"/>
                  <a:pt x="124" y="110"/>
                  <a:pt x="124" y="110"/>
                </a:cubicBezTo>
                <a:cubicBezTo>
                  <a:pt x="124" y="110"/>
                  <a:pt x="124" y="110"/>
                  <a:pt x="124" y="110"/>
                </a:cubicBezTo>
                <a:cubicBezTo>
                  <a:pt x="124" y="110"/>
                  <a:pt x="125" y="110"/>
                  <a:pt x="125" y="111"/>
                </a:cubicBezTo>
                <a:cubicBezTo>
                  <a:pt x="125" y="111"/>
                  <a:pt x="125" y="111"/>
                  <a:pt x="125" y="111"/>
                </a:cubicBezTo>
                <a:close/>
                <a:moveTo>
                  <a:pt x="548" y="185"/>
                </a:moveTo>
                <a:cubicBezTo>
                  <a:pt x="548" y="185"/>
                  <a:pt x="548" y="185"/>
                  <a:pt x="548" y="185"/>
                </a:cubicBezTo>
                <a:cubicBezTo>
                  <a:pt x="548" y="185"/>
                  <a:pt x="548" y="185"/>
                  <a:pt x="548" y="185"/>
                </a:cubicBezTo>
                <a:cubicBezTo>
                  <a:pt x="548" y="185"/>
                  <a:pt x="548" y="185"/>
                  <a:pt x="548" y="185"/>
                </a:cubicBezTo>
                <a:close/>
                <a:moveTo>
                  <a:pt x="124" y="110"/>
                </a:moveTo>
                <a:cubicBezTo>
                  <a:pt x="124" y="110"/>
                  <a:pt x="124" y="110"/>
                  <a:pt x="124" y="110"/>
                </a:cubicBezTo>
                <a:cubicBezTo>
                  <a:pt x="124" y="110"/>
                  <a:pt x="124" y="110"/>
                  <a:pt x="124" y="110"/>
                </a:cubicBezTo>
                <a:close/>
                <a:moveTo>
                  <a:pt x="581" y="304"/>
                </a:moveTo>
                <a:cubicBezTo>
                  <a:pt x="581" y="304"/>
                  <a:pt x="579" y="305"/>
                  <a:pt x="579" y="304"/>
                </a:cubicBezTo>
                <a:cubicBezTo>
                  <a:pt x="579" y="305"/>
                  <a:pt x="579" y="304"/>
                  <a:pt x="578" y="304"/>
                </a:cubicBezTo>
                <a:cubicBezTo>
                  <a:pt x="578" y="305"/>
                  <a:pt x="578" y="305"/>
                  <a:pt x="578" y="305"/>
                </a:cubicBezTo>
                <a:cubicBezTo>
                  <a:pt x="578" y="304"/>
                  <a:pt x="578" y="304"/>
                  <a:pt x="578" y="304"/>
                </a:cubicBezTo>
                <a:cubicBezTo>
                  <a:pt x="578" y="304"/>
                  <a:pt x="577" y="304"/>
                  <a:pt x="577" y="305"/>
                </a:cubicBezTo>
                <a:cubicBezTo>
                  <a:pt x="576" y="305"/>
                  <a:pt x="577" y="305"/>
                  <a:pt x="576" y="305"/>
                </a:cubicBezTo>
                <a:cubicBezTo>
                  <a:pt x="576" y="305"/>
                  <a:pt x="575" y="305"/>
                  <a:pt x="575" y="305"/>
                </a:cubicBezTo>
                <a:cubicBezTo>
                  <a:pt x="575" y="305"/>
                  <a:pt x="574" y="305"/>
                  <a:pt x="574" y="305"/>
                </a:cubicBezTo>
                <a:cubicBezTo>
                  <a:pt x="572" y="305"/>
                  <a:pt x="570" y="306"/>
                  <a:pt x="569" y="306"/>
                </a:cubicBezTo>
                <a:cubicBezTo>
                  <a:pt x="570" y="306"/>
                  <a:pt x="571" y="305"/>
                  <a:pt x="571" y="305"/>
                </a:cubicBezTo>
                <a:cubicBezTo>
                  <a:pt x="571" y="305"/>
                  <a:pt x="569" y="306"/>
                  <a:pt x="569" y="305"/>
                </a:cubicBezTo>
                <a:cubicBezTo>
                  <a:pt x="569" y="304"/>
                  <a:pt x="568" y="304"/>
                  <a:pt x="567" y="304"/>
                </a:cubicBezTo>
                <a:cubicBezTo>
                  <a:pt x="567" y="304"/>
                  <a:pt x="566" y="304"/>
                  <a:pt x="566" y="304"/>
                </a:cubicBezTo>
                <a:cubicBezTo>
                  <a:pt x="565" y="304"/>
                  <a:pt x="565" y="304"/>
                  <a:pt x="564" y="304"/>
                </a:cubicBezTo>
                <a:cubicBezTo>
                  <a:pt x="564" y="304"/>
                  <a:pt x="561" y="304"/>
                  <a:pt x="562" y="304"/>
                </a:cubicBezTo>
                <a:cubicBezTo>
                  <a:pt x="562" y="304"/>
                  <a:pt x="561" y="304"/>
                  <a:pt x="561" y="304"/>
                </a:cubicBezTo>
                <a:cubicBezTo>
                  <a:pt x="560" y="304"/>
                  <a:pt x="560" y="304"/>
                  <a:pt x="560" y="304"/>
                </a:cubicBezTo>
                <a:cubicBezTo>
                  <a:pt x="559" y="304"/>
                  <a:pt x="558" y="304"/>
                  <a:pt x="558" y="304"/>
                </a:cubicBezTo>
                <a:cubicBezTo>
                  <a:pt x="558" y="305"/>
                  <a:pt x="557" y="304"/>
                  <a:pt x="556" y="304"/>
                </a:cubicBezTo>
                <a:cubicBezTo>
                  <a:pt x="556" y="305"/>
                  <a:pt x="556" y="304"/>
                  <a:pt x="555" y="304"/>
                </a:cubicBezTo>
                <a:cubicBezTo>
                  <a:pt x="555" y="304"/>
                  <a:pt x="555" y="304"/>
                  <a:pt x="554" y="304"/>
                </a:cubicBezTo>
                <a:cubicBezTo>
                  <a:pt x="554" y="304"/>
                  <a:pt x="553" y="304"/>
                  <a:pt x="553" y="304"/>
                </a:cubicBezTo>
                <a:cubicBezTo>
                  <a:pt x="552" y="304"/>
                  <a:pt x="551" y="304"/>
                  <a:pt x="550" y="304"/>
                </a:cubicBezTo>
                <a:cubicBezTo>
                  <a:pt x="549" y="304"/>
                  <a:pt x="549" y="304"/>
                  <a:pt x="548" y="304"/>
                </a:cubicBezTo>
                <a:cubicBezTo>
                  <a:pt x="547" y="303"/>
                  <a:pt x="545" y="304"/>
                  <a:pt x="544" y="304"/>
                </a:cubicBezTo>
                <a:cubicBezTo>
                  <a:pt x="543" y="304"/>
                  <a:pt x="542" y="304"/>
                  <a:pt x="542" y="304"/>
                </a:cubicBezTo>
                <a:cubicBezTo>
                  <a:pt x="541" y="304"/>
                  <a:pt x="541" y="304"/>
                  <a:pt x="541" y="304"/>
                </a:cubicBezTo>
                <a:cubicBezTo>
                  <a:pt x="541" y="303"/>
                  <a:pt x="540" y="304"/>
                  <a:pt x="540" y="304"/>
                </a:cubicBezTo>
                <a:cubicBezTo>
                  <a:pt x="539" y="304"/>
                  <a:pt x="537" y="305"/>
                  <a:pt x="535" y="304"/>
                </a:cubicBezTo>
                <a:cubicBezTo>
                  <a:pt x="535" y="304"/>
                  <a:pt x="535" y="304"/>
                  <a:pt x="534" y="304"/>
                </a:cubicBezTo>
                <a:cubicBezTo>
                  <a:pt x="534" y="304"/>
                  <a:pt x="533" y="305"/>
                  <a:pt x="533" y="304"/>
                </a:cubicBezTo>
                <a:cubicBezTo>
                  <a:pt x="533" y="305"/>
                  <a:pt x="533" y="305"/>
                  <a:pt x="533" y="305"/>
                </a:cubicBezTo>
                <a:cubicBezTo>
                  <a:pt x="533" y="305"/>
                  <a:pt x="532" y="305"/>
                  <a:pt x="532" y="305"/>
                </a:cubicBezTo>
                <a:cubicBezTo>
                  <a:pt x="532" y="305"/>
                  <a:pt x="531" y="305"/>
                  <a:pt x="531" y="305"/>
                </a:cubicBezTo>
                <a:cubicBezTo>
                  <a:pt x="531" y="304"/>
                  <a:pt x="531" y="304"/>
                  <a:pt x="531" y="304"/>
                </a:cubicBezTo>
                <a:cubicBezTo>
                  <a:pt x="530" y="304"/>
                  <a:pt x="530" y="304"/>
                  <a:pt x="530" y="304"/>
                </a:cubicBezTo>
                <a:cubicBezTo>
                  <a:pt x="529" y="305"/>
                  <a:pt x="530" y="305"/>
                  <a:pt x="530" y="305"/>
                </a:cubicBezTo>
                <a:cubicBezTo>
                  <a:pt x="530" y="306"/>
                  <a:pt x="529" y="305"/>
                  <a:pt x="529" y="305"/>
                </a:cubicBezTo>
                <a:cubicBezTo>
                  <a:pt x="529" y="305"/>
                  <a:pt x="528" y="306"/>
                  <a:pt x="528" y="306"/>
                </a:cubicBezTo>
                <a:cubicBezTo>
                  <a:pt x="527" y="306"/>
                  <a:pt x="527" y="306"/>
                  <a:pt x="526" y="306"/>
                </a:cubicBezTo>
                <a:cubicBezTo>
                  <a:pt x="525" y="307"/>
                  <a:pt x="525" y="307"/>
                  <a:pt x="524" y="308"/>
                </a:cubicBezTo>
                <a:cubicBezTo>
                  <a:pt x="524" y="309"/>
                  <a:pt x="523" y="308"/>
                  <a:pt x="523" y="309"/>
                </a:cubicBezTo>
                <a:cubicBezTo>
                  <a:pt x="522" y="309"/>
                  <a:pt x="522" y="309"/>
                  <a:pt x="522" y="310"/>
                </a:cubicBezTo>
                <a:cubicBezTo>
                  <a:pt x="522" y="310"/>
                  <a:pt x="521" y="311"/>
                  <a:pt x="521" y="312"/>
                </a:cubicBezTo>
                <a:cubicBezTo>
                  <a:pt x="520" y="313"/>
                  <a:pt x="519" y="314"/>
                  <a:pt x="519" y="314"/>
                </a:cubicBezTo>
                <a:cubicBezTo>
                  <a:pt x="518" y="314"/>
                  <a:pt x="516" y="314"/>
                  <a:pt x="515" y="314"/>
                </a:cubicBezTo>
                <a:cubicBezTo>
                  <a:pt x="514" y="315"/>
                  <a:pt x="513" y="314"/>
                  <a:pt x="512" y="315"/>
                </a:cubicBezTo>
                <a:cubicBezTo>
                  <a:pt x="511" y="315"/>
                  <a:pt x="511" y="316"/>
                  <a:pt x="510" y="315"/>
                </a:cubicBezTo>
                <a:cubicBezTo>
                  <a:pt x="510" y="316"/>
                  <a:pt x="512" y="316"/>
                  <a:pt x="511" y="316"/>
                </a:cubicBezTo>
                <a:cubicBezTo>
                  <a:pt x="510" y="317"/>
                  <a:pt x="510" y="316"/>
                  <a:pt x="509" y="317"/>
                </a:cubicBezTo>
                <a:cubicBezTo>
                  <a:pt x="509" y="317"/>
                  <a:pt x="509" y="317"/>
                  <a:pt x="508" y="317"/>
                </a:cubicBezTo>
                <a:cubicBezTo>
                  <a:pt x="509" y="316"/>
                  <a:pt x="510" y="316"/>
                  <a:pt x="509" y="316"/>
                </a:cubicBezTo>
                <a:cubicBezTo>
                  <a:pt x="509" y="317"/>
                  <a:pt x="508" y="316"/>
                  <a:pt x="507" y="317"/>
                </a:cubicBezTo>
                <a:cubicBezTo>
                  <a:pt x="507" y="317"/>
                  <a:pt x="505" y="318"/>
                  <a:pt x="506" y="318"/>
                </a:cubicBezTo>
                <a:cubicBezTo>
                  <a:pt x="506" y="319"/>
                  <a:pt x="505" y="319"/>
                  <a:pt x="505" y="319"/>
                </a:cubicBezTo>
                <a:cubicBezTo>
                  <a:pt x="504" y="319"/>
                  <a:pt x="503" y="319"/>
                  <a:pt x="503" y="319"/>
                </a:cubicBezTo>
                <a:cubicBezTo>
                  <a:pt x="502" y="320"/>
                  <a:pt x="502" y="320"/>
                  <a:pt x="502" y="320"/>
                </a:cubicBezTo>
                <a:cubicBezTo>
                  <a:pt x="501" y="321"/>
                  <a:pt x="501" y="321"/>
                  <a:pt x="501" y="322"/>
                </a:cubicBezTo>
                <a:cubicBezTo>
                  <a:pt x="500" y="322"/>
                  <a:pt x="500" y="322"/>
                  <a:pt x="500" y="322"/>
                </a:cubicBezTo>
                <a:cubicBezTo>
                  <a:pt x="499" y="322"/>
                  <a:pt x="499" y="322"/>
                  <a:pt x="499" y="323"/>
                </a:cubicBezTo>
                <a:cubicBezTo>
                  <a:pt x="498" y="323"/>
                  <a:pt x="498" y="324"/>
                  <a:pt x="498" y="324"/>
                </a:cubicBezTo>
                <a:cubicBezTo>
                  <a:pt x="497" y="325"/>
                  <a:pt x="496" y="325"/>
                  <a:pt x="495" y="326"/>
                </a:cubicBezTo>
                <a:cubicBezTo>
                  <a:pt x="494" y="327"/>
                  <a:pt x="493" y="327"/>
                  <a:pt x="492" y="326"/>
                </a:cubicBezTo>
                <a:cubicBezTo>
                  <a:pt x="492" y="325"/>
                  <a:pt x="492" y="325"/>
                  <a:pt x="491" y="325"/>
                </a:cubicBezTo>
                <a:cubicBezTo>
                  <a:pt x="491" y="325"/>
                  <a:pt x="490" y="325"/>
                  <a:pt x="490" y="325"/>
                </a:cubicBezTo>
                <a:cubicBezTo>
                  <a:pt x="489" y="324"/>
                  <a:pt x="488" y="324"/>
                  <a:pt x="488" y="324"/>
                </a:cubicBezTo>
                <a:cubicBezTo>
                  <a:pt x="487" y="324"/>
                  <a:pt x="486" y="324"/>
                  <a:pt x="486" y="324"/>
                </a:cubicBezTo>
                <a:cubicBezTo>
                  <a:pt x="486" y="324"/>
                  <a:pt x="486" y="324"/>
                  <a:pt x="486" y="324"/>
                </a:cubicBezTo>
                <a:cubicBezTo>
                  <a:pt x="486" y="324"/>
                  <a:pt x="485" y="324"/>
                  <a:pt x="485" y="324"/>
                </a:cubicBezTo>
                <a:cubicBezTo>
                  <a:pt x="484" y="323"/>
                  <a:pt x="484" y="323"/>
                  <a:pt x="483" y="323"/>
                </a:cubicBezTo>
                <a:cubicBezTo>
                  <a:pt x="484" y="323"/>
                  <a:pt x="485" y="324"/>
                  <a:pt x="485" y="324"/>
                </a:cubicBezTo>
                <a:cubicBezTo>
                  <a:pt x="485" y="324"/>
                  <a:pt x="484" y="324"/>
                  <a:pt x="484" y="325"/>
                </a:cubicBezTo>
                <a:cubicBezTo>
                  <a:pt x="484" y="325"/>
                  <a:pt x="485" y="325"/>
                  <a:pt x="485" y="324"/>
                </a:cubicBezTo>
                <a:cubicBezTo>
                  <a:pt x="486" y="324"/>
                  <a:pt x="487" y="324"/>
                  <a:pt x="488" y="324"/>
                </a:cubicBezTo>
                <a:cubicBezTo>
                  <a:pt x="489" y="325"/>
                  <a:pt x="489" y="326"/>
                  <a:pt x="490" y="326"/>
                </a:cubicBezTo>
                <a:cubicBezTo>
                  <a:pt x="491" y="326"/>
                  <a:pt x="492" y="325"/>
                  <a:pt x="492" y="326"/>
                </a:cubicBezTo>
                <a:cubicBezTo>
                  <a:pt x="492" y="327"/>
                  <a:pt x="493" y="327"/>
                  <a:pt x="493" y="327"/>
                </a:cubicBezTo>
                <a:cubicBezTo>
                  <a:pt x="492" y="328"/>
                  <a:pt x="492" y="329"/>
                  <a:pt x="491" y="329"/>
                </a:cubicBezTo>
                <a:cubicBezTo>
                  <a:pt x="490" y="330"/>
                  <a:pt x="490" y="331"/>
                  <a:pt x="489" y="331"/>
                </a:cubicBezTo>
                <a:cubicBezTo>
                  <a:pt x="488" y="332"/>
                  <a:pt x="487" y="332"/>
                  <a:pt x="487" y="333"/>
                </a:cubicBezTo>
                <a:cubicBezTo>
                  <a:pt x="486" y="333"/>
                  <a:pt x="486" y="334"/>
                  <a:pt x="485" y="334"/>
                </a:cubicBezTo>
                <a:cubicBezTo>
                  <a:pt x="485" y="334"/>
                  <a:pt x="484" y="334"/>
                  <a:pt x="483" y="335"/>
                </a:cubicBezTo>
                <a:cubicBezTo>
                  <a:pt x="483" y="335"/>
                  <a:pt x="482" y="336"/>
                  <a:pt x="482" y="336"/>
                </a:cubicBezTo>
                <a:cubicBezTo>
                  <a:pt x="481" y="337"/>
                  <a:pt x="480" y="338"/>
                  <a:pt x="480" y="338"/>
                </a:cubicBezTo>
                <a:cubicBezTo>
                  <a:pt x="479" y="338"/>
                  <a:pt x="478" y="339"/>
                  <a:pt x="477" y="339"/>
                </a:cubicBezTo>
                <a:cubicBezTo>
                  <a:pt x="476" y="340"/>
                  <a:pt x="476" y="340"/>
                  <a:pt x="475" y="341"/>
                </a:cubicBezTo>
                <a:cubicBezTo>
                  <a:pt x="475" y="341"/>
                  <a:pt x="474" y="341"/>
                  <a:pt x="474" y="342"/>
                </a:cubicBezTo>
                <a:cubicBezTo>
                  <a:pt x="474" y="342"/>
                  <a:pt x="474" y="341"/>
                  <a:pt x="475" y="341"/>
                </a:cubicBezTo>
                <a:cubicBezTo>
                  <a:pt x="475" y="341"/>
                  <a:pt x="475" y="341"/>
                  <a:pt x="476" y="341"/>
                </a:cubicBezTo>
                <a:cubicBezTo>
                  <a:pt x="476" y="341"/>
                  <a:pt x="476" y="341"/>
                  <a:pt x="477" y="340"/>
                </a:cubicBezTo>
                <a:cubicBezTo>
                  <a:pt x="478" y="340"/>
                  <a:pt x="478" y="340"/>
                  <a:pt x="479" y="340"/>
                </a:cubicBezTo>
                <a:cubicBezTo>
                  <a:pt x="481" y="339"/>
                  <a:pt x="482" y="338"/>
                  <a:pt x="484" y="337"/>
                </a:cubicBezTo>
                <a:cubicBezTo>
                  <a:pt x="484" y="337"/>
                  <a:pt x="485" y="336"/>
                  <a:pt x="486" y="336"/>
                </a:cubicBezTo>
                <a:cubicBezTo>
                  <a:pt x="486" y="335"/>
                  <a:pt x="487" y="335"/>
                  <a:pt x="487" y="334"/>
                </a:cubicBezTo>
                <a:cubicBezTo>
                  <a:pt x="488" y="334"/>
                  <a:pt x="488" y="333"/>
                  <a:pt x="489" y="333"/>
                </a:cubicBezTo>
                <a:cubicBezTo>
                  <a:pt x="490" y="333"/>
                  <a:pt x="491" y="332"/>
                  <a:pt x="491" y="331"/>
                </a:cubicBezTo>
                <a:cubicBezTo>
                  <a:pt x="492" y="331"/>
                  <a:pt x="493" y="330"/>
                  <a:pt x="494" y="330"/>
                </a:cubicBezTo>
                <a:cubicBezTo>
                  <a:pt x="494" y="329"/>
                  <a:pt x="495" y="329"/>
                  <a:pt x="495" y="328"/>
                </a:cubicBezTo>
                <a:cubicBezTo>
                  <a:pt x="497" y="328"/>
                  <a:pt x="498" y="327"/>
                  <a:pt x="499" y="326"/>
                </a:cubicBezTo>
                <a:cubicBezTo>
                  <a:pt x="501" y="325"/>
                  <a:pt x="502" y="324"/>
                  <a:pt x="504" y="324"/>
                </a:cubicBezTo>
                <a:cubicBezTo>
                  <a:pt x="505" y="323"/>
                  <a:pt x="507" y="322"/>
                  <a:pt x="508" y="322"/>
                </a:cubicBezTo>
                <a:cubicBezTo>
                  <a:pt x="512" y="320"/>
                  <a:pt x="515" y="319"/>
                  <a:pt x="519" y="318"/>
                </a:cubicBezTo>
                <a:cubicBezTo>
                  <a:pt x="521" y="318"/>
                  <a:pt x="523" y="317"/>
                  <a:pt x="525" y="316"/>
                </a:cubicBezTo>
                <a:cubicBezTo>
                  <a:pt x="527" y="316"/>
                  <a:pt x="529" y="315"/>
                  <a:pt x="531" y="315"/>
                </a:cubicBezTo>
                <a:cubicBezTo>
                  <a:pt x="532" y="315"/>
                  <a:pt x="533" y="315"/>
                  <a:pt x="534" y="315"/>
                </a:cubicBezTo>
                <a:cubicBezTo>
                  <a:pt x="535" y="315"/>
                  <a:pt x="535" y="315"/>
                  <a:pt x="536" y="315"/>
                </a:cubicBezTo>
                <a:cubicBezTo>
                  <a:pt x="537" y="315"/>
                  <a:pt x="538" y="315"/>
                  <a:pt x="539" y="315"/>
                </a:cubicBezTo>
                <a:cubicBezTo>
                  <a:pt x="540" y="316"/>
                  <a:pt x="540" y="316"/>
                  <a:pt x="540" y="316"/>
                </a:cubicBezTo>
                <a:cubicBezTo>
                  <a:pt x="540" y="316"/>
                  <a:pt x="541" y="316"/>
                  <a:pt x="541" y="316"/>
                </a:cubicBezTo>
                <a:cubicBezTo>
                  <a:pt x="542" y="317"/>
                  <a:pt x="542" y="317"/>
                  <a:pt x="542" y="317"/>
                </a:cubicBezTo>
                <a:cubicBezTo>
                  <a:pt x="543" y="318"/>
                  <a:pt x="543" y="318"/>
                  <a:pt x="543" y="319"/>
                </a:cubicBezTo>
                <a:cubicBezTo>
                  <a:pt x="543" y="319"/>
                  <a:pt x="543" y="320"/>
                  <a:pt x="543" y="320"/>
                </a:cubicBezTo>
                <a:cubicBezTo>
                  <a:pt x="543" y="319"/>
                  <a:pt x="541" y="319"/>
                  <a:pt x="541" y="319"/>
                </a:cubicBezTo>
                <a:cubicBezTo>
                  <a:pt x="541" y="319"/>
                  <a:pt x="541" y="319"/>
                  <a:pt x="540" y="319"/>
                </a:cubicBezTo>
                <a:cubicBezTo>
                  <a:pt x="541" y="320"/>
                  <a:pt x="541" y="319"/>
                  <a:pt x="541" y="319"/>
                </a:cubicBezTo>
                <a:cubicBezTo>
                  <a:pt x="542" y="320"/>
                  <a:pt x="541" y="320"/>
                  <a:pt x="541" y="320"/>
                </a:cubicBezTo>
                <a:cubicBezTo>
                  <a:pt x="542" y="320"/>
                  <a:pt x="543" y="321"/>
                  <a:pt x="542" y="322"/>
                </a:cubicBezTo>
                <a:cubicBezTo>
                  <a:pt x="542" y="322"/>
                  <a:pt x="541" y="322"/>
                  <a:pt x="542" y="323"/>
                </a:cubicBezTo>
                <a:cubicBezTo>
                  <a:pt x="542" y="323"/>
                  <a:pt x="541" y="323"/>
                  <a:pt x="541" y="323"/>
                </a:cubicBezTo>
                <a:cubicBezTo>
                  <a:pt x="541" y="323"/>
                  <a:pt x="540" y="324"/>
                  <a:pt x="540" y="324"/>
                </a:cubicBezTo>
                <a:cubicBezTo>
                  <a:pt x="539" y="324"/>
                  <a:pt x="538" y="324"/>
                  <a:pt x="537" y="325"/>
                </a:cubicBezTo>
                <a:cubicBezTo>
                  <a:pt x="537" y="325"/>
                  <a:pt x="536" y="326"/>
                  <a:pt x="535" y="326"/>
                </a:cubicBezTo>
                <a:cubicBezTo>
                  <a:pt x="535" y="326"/>
                  <a:pt x="534" y="326"/>
                  <a:pt x="534" y="327"/>
                </a:cubicBezTo>
                <a:cubicBezTo>
                  <a:pt x="534" y="327"/>
                  <a:pt x="532" y="328"/>
                  <a:pt x="531" y="328"/>
                </a:cubicBezTo>
                <a:cubicBezTo>
                  <a:pt x="530" y="328"/>
                  <a:pt x="530" y="328"/>
                  <a:pt x="529" y="328"/>
                </a:cubicBezTo>
                <a:cubicBezTo>
                  <a:pt x="528" y="327"/>
                  <a:pt x="526" y="327"/>
                  <a:pt x="526" y="326"/>
                </a:cubicBezTo>
                <a:cubicBezTo>
                  <a:pt x="526" y="326"/>
                  <a:pt x="525" y="327"/>
                  <a:pt x="524" y="327"/>
                </a:cubicBezTo>
                <a:cubicBezTo>
                  <a:pt x="524" y="327"/>
                  <a:pt x="523" y="327"/>
                  <a:pt x="522" y="327"/>
                </a:cubicBezTo>
                <a:cubicBezTo>
                  <a:pt x="523" y="327"/>
                  <a:pt x="522" y="328"/>
                  <a:pt x="522" y="327"/>
                </a:cubicBezTo>
                <a:cubicBezTo>
                  <a:pt x="522" y="327"/>
                  <a:pt x="521" y="327"/>
                  <a:pt x="521" y="327"/>
                </a:cubicBezTo>
                <a:cubicBezTo>
                  <a:pt x="520" y="328"/>
                  <a:pt x="519" y="328"/>
                  <a:pt x="517" y="328"/>
                </a:cubicBezTo>
                <a:cubicBezTo>
                  <a:pt x="518" y="329"/>
                  <a:pt x="519" y="328"/>
                  <a:pt x="520" y="328"/>
                </a:cubicBezTo>
                <a:cubicBezTo>
                  <a:pt x="520" y="328"/>
                  <a:pt x="521" y="327"/>
                  <a:pt x="522" y="327"/>
                </a:cubicBezTo>
                <a:cubicBezTo>
                  <a:pt x="522" y="328"/>
                  <a:pt x="521" y="328"/>
                  <a:pt x="522" y="328"/>
                </a:cubicBezTo>
                <a:cubicBezTo>
                  <a:pt x="522" y="328"/>
                  <a:pt x="522" y="328"/>
                  <a:pt x="522" y="328"/>
                </a:cubicBezTo>
                <a:cubicBezTo>
                  <a:pt x="523" y="328"/>
                  <a:pt x="524" y="329"/>
                  <a:pt x="524" y="329"/>
                </a:cubicBezTo>
                <a:cubicBezTo>
                  <a:pt x="525" y="329"/>
                  <a:pt x="526" y="329"/>
                  <a:pt x="526" y="330"/>
                </a:cubicBezTo>
                <a:cubicBezTo>
                  <a:pt x="526" y="330"/>
                  <a:pt x="526" y="331"/>
                  <a:pt x="526" y="332"/>
                </a:cubicBezTo>
                <a:cubicBezTo>
                  <a:pt x="526" y="332"/>
                  <a:pt x="526" y="332"/>
                  <a:pt x="526" y="332"/>
                </a:cubicBezTo>
                <a:cubicBezTo>
                  <a:pt x="526" y="332"/>
                  <a:pt x="526" y="332"/>
                  <a:pt x="527" y="332"/>
                </a:cubicBezTo>
                <a:cubicBezTo>
                  <a:pt x="527" y="332"/>
                  <a:pt x="527" y="332"/>
                  <a:pt x="528" y="332"/>
                </a:cubicBezTo>
                <a:cubicBezTo>
                  <a:pt x="529" y="331"/>
                  <a:pt x="531" y="330"/>
                  <a:pt x="532" y="330"/>
                </a:cubicBezTo>
                <a:cubicBezTo>
                  <a:pt x="532" y="330"/>
                  <a:pt x="532" y="330"/>
                  <a:pt x="532" y="331"/>
                </a:cubicBezTo>
                <a:cubicBezTo>
                  <a:pt x="532" y="331"/>
                  <a:pt x="533" y="330"/>
                  <a:pt x="534" y="330"/>
                </a:cubicBezTo>
                <a:cubicBezTo>
                  <a:pt x="534" y="331"/>
                  <a:pt x="533" y="331"/>
                  <a:pt x="533" y="331"/>
                </a:cubicBezTo>
                <a:cubicBezTo>
                  <a:pt x="533" y="331"/>
                  <a:pt x="534" y="331"/>
                  <a:pt x="534" y="331"/>
                </a:cubicBezTo>
                <a:cubicBezTo>
                  <a:pt x="534" y="331"/>
                  <a:pt x="535" y="330"/>
                  <a:pt x="535" y="331"/>
                </a:cubicBezTo>
                <a:cubicBezTo>
                  <a:pt x="535" y="331"/>
                  <a:pt x="534" y="331"/>
                  <a:pt x="533" y="332"/>
                </a:cubicBezTo>
                <a:cubicBezTo>
                  <a:pt x="533" y="332"/>
                  <a:pt x="533" y="332"/>
                  <a:pt x="533" y="333"/>
                </a:cubicBezTo>
                <a:cubicBezTo>
                  <a:pt x="533" y="333"/>
                  <a:pt x="532" y="333"/>
                  <a:pt x="532" y="333"/>
                </a:cubicBezTo>
                <a:cubicBezTo>
                  <a:pt x="532" y="333"/>
                  <a:pt x="532" y="333"/>
                  <a:pt x="532" y="333"/>
                </a:cubicBezTo>
                <a:cubicBezTo>
                  <a:pt x="532" y="334"/>
                  <a:pt x="532" y="334"/>
                  <a:pt x="531" y="334"/>
                </a:cubicBezTo>
                <a:cubicBezTo>
                  <a:pt x="532" y="334"/>
                  <a:pt x="532" y="334"/>
                  <a:pt x="532" y="334"/>
                </a:cubicBezTo>
                <a:cubicBezTo>
                  <a:pt x="532" y="334"/>
                  <a:pt x="531" y="335"/>
                  <a:pt x="531" y="335"/>
                </a:cubicBezTo>
                <a:cubicBezTo>
                  <a:pt x="532" y="334"/>
                  <a:pt x="531" y="335"/>
                  <a:pt x="531" y="335"/>
                </a:cubicBezTo>
                <a:cubicBezTo>
                  <a:pt x="530" y="336"/>
                  <a:pt x="530" y="336"/>
                  <a:pt x="530" y="336"/>
                </a:cubicBezTo>
                <a:cubicBezTo>
                  <a:pt x="528" y="337"/>
                  <a:pt x="527" y="337"/>
                  <a:pt x="526" y="338"/>
                </a:cubicBezTo>
                <a:cubicBezTo>
                  <a:pt x="526" y="338"/>
                  <a:pt x="528" y="338"/>
                  <a:pt x="527" y="338"/>
                </a:cubicBezTo>
                <a:cubicBezTo>
                  <a:pt x="528" y="339"/>
                  <a:pt x="529" y="338"/>
                  <a:pt x="529" y="338"/>
                </a:cubicBezTo>
                <a:cubicBezTo>
                  <a:pt x="529" y="338"/>
                  <a:pt x="530" y="338"/>
                  <a:pt x="531" y="338"/>
                </a:cubicBezTo>
                <a:cubicBezTo>
                  <a:pt x="530" y="338"/>
                  <a:pt x="531" y="339"/>
                  <a:pt x="530" y="339"/>
                </a:cubicBezTo>
                <a:cubicBezTo>
                  <a:pt x="530" y="340"/>
                  <a:pt x="529" y="340"/>
                  <a:pt x="529" y="340"/>
                </a:cubicBezTo>
                <a:cubicBezTo>
                  <a:pt x="529" y="341"/>
                  <a:pt x="529" y="341"/>
                  <a:pt x="529" y="342"/>
                </a:cubicBezTo>
                <a:cubicBezTo>
                  <a:pt x="529" y="342"/>
                  <a:pt x="529" y="342"/>
                  <a:pt x="529" y="342"/>
                </a:cubicBezTo>
                <a:cubicBezTo>
                  <a:pt x="529" y="342"/>
                  <a:pt x="530" y="342"/>
                  <a:pt x="530" y="343"/>
                </a:cubicBezTo>
                <a:cubicBezTo>
                  <a:pt x="530" y="342"/>
                  <a:pt x="530" y="342"/>
                  <a:pt x="530" y="342"/>
                </a:cubicBezTo>
                <a:cubicBezTo>
                  <a:pt x="530" y="343"/>
                  <a:pt x="530" y="343"/>
                  <a:pt x="530" y="344"/>
                </a:cubicBezTo>
                <a:cubicBezTo>
                  <a:pt x="530" y="344"/>
                  <a:pt x="529" y="345"/>
                  <a:pt x="529" y="345"/>
                </a:cubicBezTo>
                <a:cubicBezTo>
                  <a:pt x="530" y="345"/>
                  <a:pt x="530" y="345"/>
                  <a:pt x="530" y="346"/>
                </a:cubicBezTo>
                <a:cubicBezTo>
                  <a:pt x="530" y="346"/>
                  <a:pt x="529" y="346"/>
                  <a:pt x="529" y="346"/>
                </a:cubicBezTo>
                <a:cubicBezTo>
                  <a:pt x="529" y="346"/>
                  <a:pt x="530" y="346"/>
                  <a:pt x="530" y="346"/>
                </a:cubicBezTo>
                <a:cubicBezTo>
                  <a:pt x="530" y="346"/>
                  <a:pt x="530" y="346"/>
                  <a:pt x="530" y="346"/>
                </a:cubicBezTo>
                <a:cubicBezTo>
                  <a:pt x="530" y="347"/>
                  <a:pt x="530" y="347"/>
                  <a:pt x="530" y="347"/>
                </a:cubicBezTo>
                <a:cubicBezTo>
                  <a:pt x="530" y="347"/>
                  <a:pt x="531" y="347"/>
                  <a:pt x="532" y="347"/>
                </a:cubicBezTo>
                <a:cubicBezTo>
                  <a:pt x="533" y="347"/>
                  <a:pt x="533" y="348"/>
                  <a:pt x="533" y="348"/>
                </a:cubicBezTo>
                <a:cubicBezTo>
                  <a:pt x="534" y="348"/>
                  <a:pt x="534" y="348"/>
                  <a:pt x="535" y="348"/>
                </a:cubicBezTo>
                <a:cubicBezTo>
                  <a:pt x="535" y="348"/>
                  <a:pt x="536" y="348"/>
                  <a:pt x="536" y="349"/>
                </a:cubicBezTo>
                <a:cubicBezTo>
                  <a:pt x="536" y="349"/>
                  <a:pt x="533" y="349"/>
                  <a:pt x="533" y="350"/>
                </a:cubicBezTo>
                <a:cubicBezTo>
                  <a:pt x="533" y="350"/>
                  <a:pt x="534" y="350"/>
                  <a:pt x="535" y="350"/>
                </a:cubicBezTo>
                <a:cubicBezTo>
                  <a:pt x="535" y="351"/>
                  <a:pt x="535" y="351"/>
                  <a:pt x="535" y="351"/>
                </a:cubicBezTo>
                <a:cubicBezTo>
                  <a:pt x="535" y="351"/>
                  <a:pt x="535" y="351"/>
                  <a:pt x="535" y="351"/>
                </a:cubicBezTo>
                <a:cubicBezTo>
                  <a:pt x="535" y="351"/>
                  <a:pt x="536" y="351"/>
                  <a:pt x="536" y="352"/>
                </a:cubicBezTo>
                <a:cubicBezTo>
                  <a:pt x="536" y="351"/>
                  <a:pt x="537" y="351"/>
                  <a:pt x="538" y="351"/>
                </a:cubicBezTo>
                <a:cubicBezTo>
                  <a:pt x="538" y="351"/>
                  <a:pt x="538" y="351"/>
                  <a:pt x="538" y="351"/>
                </a:cubicBezTo>
                <a:cubicBezTo>
                  <a:pt x="538" y="352"/>
                  <a:pt x="537" y="352"/>
                  <a:pt x="537" y="352"/>
                </a:cubicBezTo>
                <a:cubicBezTo>
                  <a:pt x="538" y="352"/>
                  <a:pt x="539" y="352"/>
                  <a:pt x="539" y="352"/>
                </a:cubicBezTo>
                <a:cubicBezTo>
                  <a:pt x="539" y="352"/>
                  <a:pt x="538" y="352"/>
                  <a:pt x="538" y="352"/>
                </a:cubicBezTo>
                <a:cubicBezTo>
                  <a:pt x="538" y="353"/>
                  <a:pt x="539" y="352"/>
                  <a:pt x="540" y="352"/>
                </a:cubicBezTo>
                <a:cubicBezTo>
                  <a:pt x="539" y="353"/>
                  <a:pt x="541" y="352"/>
                  <a:pt x="540" y="352"/>
                </a:cubicBezTo>
                <a:cubicBezTo>
                  <a:pt x="542" y="352"/>
                  <a:pt x="543" y="352"/>
                  <a:pt x="544" y="352"/>
                </a:cubicBezTo>
                <a:cubicBezTo>
                  <a:pt x="544" y="352"/>
                  <a:pt x="544" y="352"/>
                  <a:pt x="543" y="352"/>
                </a:cubicBezTo>
                <a:cubicBezTo>
                  <a:pt x="544" y="353"/>
                  <a:pt x="544" y="352"/>
                  <a:pt x="544" y="353"/>
                </a:cubicBezTo>
                <a:cubicBezTo>
                  <a:pt x="544" y="353"/>
                  <a:pt x="543" y="353"/>
                  <a:pt x="543" y="354"/>
                </a:cubicBezTo>
                <a:cubicBezTo>
                  <a:pt x="543" y="353"/>
                  <a:pt x="543" y="354"/>
                  <a:pt x="543" y="354"/>
                </a:cubicBezTo>
                <a:cubicBezTo>
                  <a:pt x="543" y="354"/>
                  <a:pt x="543" y="353"/>
                  <a:pt x="544" y="354"/>
                </a:cubicBezTo>
                <a:cubicBezTo>
                  <a:pt x="543" y="353"/>
                  <a:pt x="545" y="353"/>
                  <a:pt x="545" y="353"/>
                </a:cubicBezTo>
                <a:cubicBezTo>
                  <a:pt x="545" y="354"/>
                  <a:pt x="545" y="354"/>
                  <a:pt x="545" y="354"/>
                </a:cubicBezTo>
                <a:cubicBezTo>
                  <a:pt x="545" y="354"/>
                  <a:pt x="546" y="353"/>
                  <a:pt x="546" y="353"/>
                </a:cubicBezTo>
                <a:cubicBezTo>
                  <a:pt x="546" y="353"/>
                  <a:pt x="546" y="353"/>
                  <a:pt x="546" y="353"/>
                </a:cubicBezTo>
                <a:cubicBezTo>
                  <a:pt x="546" y="353"/>
                  <a:pt x="547" y="353"/>
                  <a:pt x="547" y="353"/>
                </a:cubicBezTo>
                <a:cubicBezTo>
                  <a:pt x="548" y="353"/>
                  <a:pt x="548" y="353"/>
                  <a:pt x="548" y="352"/>
                </a:cubicBezTo>
                <a:cubicBezTo>
                  <a:pt x="549" y="352"/>
                  <a:pt x="550" y="351"/>
                  <a:pt x="551" y="351"/>
                </a:cubicBezTo>
                <a:cubicBezTo>
                  <a:pt x="551" y="351"/>
                  <a:pt x="551" y="353"/>
                  <a:pt x="551" y="353"/>
                </a:cubicBezTo>
                <a:cubicBezTo>
                  <a:pt x="551" y="353"/>
                  <a:pt x="550" y="354"/>
                  <a:pt x="550" y="354"/>
                </a:cubicBezTo>
                <a:cubicBezTo>
                  <a:pt x="550" y="354"/>
                  <a:pt x="551" y="353"/>
                  <a:pt x="551" y="353"/>
                </a:cubicBezTo>
                <a:cubicBezTo>
                  <a:pt x="552" y="353"/>
                  <a:pt x="552" y="354"/>
                  <a:pt x="553" y="354"/>
                </a:cubicBezTo>
                <a:cubicBezTo>
                  <a:pt x="552" y="354"/>
                  <a:pt x="553" y="353"/>
                  <a:pt x="554" y="353"/>
                </a:cubicBezTo>
                <a:cubicBezTo>
                  <a:pt x="554" y="353"/>
                  <a:pt x="555" y="354"/>
                  <a:pt x="555" y="354"/>
                </a:cubicBezTo>
                <a:cubicBezTo>
                  <a:pt x="555" y="355"/>
                  <a:pt x="556" y="355"/>
                  <a:pt x="556" y="355"/>
                </a:cubicBezTo>
                <a:cubicBezTo>
                  <a:pt x="555" y="356"/>
                  <a:pt x="555" y="356"/>
                  <a:pt x="554" y="356"/>
                </a:cubicBezTo>
                <a:cubicBezTo>
                  <a:pt x="553" y="356"/>
                  <a:pt x="552" y="357"/>
                  <a:pt x="554" y="357"/>
                </a:cubicBezTo>
                <a:cubicBezTo>
                  <a:pt x="555" y="357"/>
                  <a:pt x="556" y="357"/>
                  <a:pt x="556" y="357"/>
                </a:cubicBezTo>
                <a:cubicBezTo>
                  <a:pt x="557" y="357"/>
                  <a:pt x="558" y="357"/>
                  <a:pt x="557" y="358"/>
                </a:cubicBezTo>
                <a:cubicBezTo>
                  <a:pt x="557" y="357"/>
                  <a:pt x="557" y="357"/>
                  <a:pt x="557" y="357"/>
                </a:cubicBezTo>
                <a:cubicBezTo>
                  <a:pt x="557" y="358"/>
                  <a:pt x="555" y="358"/>
                  <a:pt x="556" y="358"/>
                </a:cubicBezTo>
                <a:cubicBezTo>
                  <a:pt x="555" y="358"/>
                  <a:pt x="555" y="359"/>
                  <a:pt x="555" y="358"/>
                </a:cubicBezTo>
                <a:cubicBezTo>
                  <a:pt x="555" y="357"/>
                  <a:pt x="553" y="358"/>
                  <a:pt x="553" y="359"/>
                </a:cubicBezTo>
                <a:cubicBezTo>
                  <a:pt x="553" y="359"/>
                  <a:pt x="551" y="359"/>
                  <a:pt x="550" y="359"/>
                </a:cubicBezTo>
                <a:cubicBezTo>
                  <a:pt x="550" y="359"/>
                  <a:pt x="551" y="359"/>
                  <a:pt x="551" y="359"/>
                </a:cubicBezTo>
                <a:cubicBezTo>
                  <a:pt x="551" y="359"/>
                  <a:pt x="550" y="359"/>
                  <a:pt x="550" y="360"/>
                </a:cubicBezTo>
                <a:cubicBezTo>
                  <a:pt x="550" y="360"/>
                  <a:pt x="550" y="359"/>
                  <a:pt x="550" y="359"/>
                </a:cubicBezTo>
                <a:cubicBezTo>
                  <a:pt x="550" y="360"/>
                  <a:pt x="550" y="360"/>
                  <a:pt x="549" y="360"/>
                </a:cubicBezTo>
                <a:cubicBezTo>
                  <a:pt x="549" y="359"/>
                  <a:pt x="549" y="360"/>
                  <a:pt x="549" y="360"/>
                </a:cubicBezTo>
                <a:cubicBezTo>
                  <a:pt x="549" y="360"/>
                  <a:pt x="547" y="360"/>
                  <a:pt x="547" y="360"/>
                </a:cubicBezTo>
                <a:cubicBezTo>
                  <a:pt x="547" y="360"/>
                  <a:pt x="547" y="360"/>
                  <a:pt x="547" y="361"/>
                </a:cubicBezTo>
                <a:cubicBezTo>
                  <a:pt x="547" y="361"/>
                  <a:pt x="546" y="361"/>
                  <a:pt x="546" y="361"/>
                </a:cubicBezTo>
                <a:cubicBezTo>
                  <a:pt x="545" y="361"/>
                  <a:pt x="544" y="361"/>
                  <a:pt x="544" y="362"/>
                </a:cubicBezTo>
                <a:cubicBezTo>
                  <a:pt x="543" y="361"/>
                  <a:pt x="543" y="362"/>
                  <a:pt x="542" y="362"/>
                </a:cubicBezTo>
                <a:cubicBezTo>
                  <a:pt x="542" y="362"/>
                  <a:pt x="542" y="362"/>
                  <a:pt x="543" y="362"/>
                </a:cubicBezTo>
                <a:cubicBezTo>
                  <a:pt x="542" y="362"/>
                  <a:pt x="542" y="362"/>
                  <a:pt x="542" y="362"/>
                </a:cubicBezTo>
                <a:cubicBezTo>
                  <a:pt x="542" y="362"/>
                  <a:pt x="542" y="363"/>
                  <a:pt x="542" y="363"/>
                </a:cubicBezTo>
                <a:cubicBezTo>
                  <a:pt x="541" y="363"/>
                  <a:pt x="541" y="362"/>
                  <a:pt x="541" y="363"/>
                </a:cubicBezTo>
                <a:cubicBezTo>
                  <a:pt x="540" y="363"/>
                  <a:pt x="540" y="363"/>
                  <a:pt x="540" y="363"/>
                </a:cubicBezTo>
                <a:cubicBezTo>
                  <a:pt x="539" y="363"/>
                  <a:pt x="539" y="363"/>
                  <a:pt x="539" y="363"/>
                </a:cubicBezTo>
                <a:cubicBezTo>
                  <a:pt x="538" y="364"/>
                  <a:pt x="538" y="364"/>
                  <a:pt x="537" y="364"/>
                </a:cubicBezTo>
                <a:cubicBezTo>
                  <a:pt x="537" y="363"/>
                  <a:pt x="538" y="363"/>
                  <a:pt x="537" y="363"/>
                </a:cubicBezTo>
                <a:cubicBezTo>
                  <a:pt x="537" y="363"/>
                  <a:pt x="537" y="364"/>
                  <a:pt x="537" y="364"/>
                </a:cubicBezTo>
                <a:cubicBezTo>
                  <a:pt x="537" y="364"/>
                  <a:pt x="536" y="363"/>
                  <a:pt x="537" y="363"/>
                </a:cubicBezTo>
                <a:cubicBezTo>
                  <a:pt x="536" y="363"/>
                  <a:pt x="536" y="364"/>
                  <a:pt x="536" y="364"/>
                </a:cubicBezTo>
                <a:cubicBezTo>
                  <a:pt x="536" y="364"/>
                  <a:pt x="536" y="364"/>
                  <a:pt x="536" y="364"/>
                </a:cubicBezTo>
                <a:cubicBezTo>
                  <a:pt x="536" y="364"/>
                  <a:pt x="536" y="364"/>
                  <a:pt x="535" y="364"/>
                </a:cubicBezTo>
                <a:cubicBezTo>
                  <a:pt x="535" y="364"/>
                  <a:pt x="535" y="364"/>
                  <a:pt x="535" y="363"/>
                </a:cubicBezTo>
                <a:cubicBezTo>
                  <a:pt x="535" y="364"/>
                  <a:pt x="535" y="364"/>
                  <a:pt x="534" y="365"/>
                </a:cubicBezTo>
                <a:cubicBezTo>
                  <a:pt x="534" y="365"/>
                  <a:pt x="533" y="364"/>
                  <a:pt x="534" y="364"/>
                </a:cubicBezTo>
                <a:cubicBezTo>
                  <a:pt x="534" y="364"/>
                  <a:pt x="533" y="364"/>
                  <a:pt x="533" y="364"/>
                </a:cubicBezTo>
                <a:cubicBezTo>
                  <a:pt x="534" y="365"/>
                  <a:pt x="533" y="365"/>
                  <a:pt x="532" y="364"/>
                </a:cubicBezTo>
                <a:cubicBezTo>
                  <a:pt x="532" y="364"/>
                  <a:pt x="532" y="364"/>
                  <a:pt x="532" y="364"/>
                </a:cubicBezTo>
                <a:cubicBezTo>
                  <a:pt x="531" y="364"/>
                  <a:pt x="532" y="364"/>
                  <a:pt x="532" y="364"/>
                </a:cubicBezTo>
                <a:cubicBezTo>
                  <a:pt x="532" y="364"/>
                  <a:pt x="532" y="365"/>
                  <a:pt x="532" y="365"/>
                </a:cubicBezTo>
                <a:cubicBezTo>
                  <a:pt x="532" y="365"/>
                  <a:pt x="532" y="366"/>
                  <a:pt x="532" y="366"/>
                </a:cubicBezTo>
                <a:cubicBezTo>
                  <a:pt x="532" y="366"/>
                  <a:pt x="531" y="367"/>
                  <a:pt x="531" y="366"/>
                </a:cubicBezTo>
                <a:cubicBezTo>
                  <a:pt x="531" y="366"/>
                  <a:pt x="531" y="366"/>
                  <a:pt x="531" y="367"/>
                </a:cubicBezTo>
                <a:cubicBezTo>
                  <a:pt x="531" y="366"/>
                  <a:pt x="531" y="366"/>
                  <a:pt x="531" y="366"/>
                </a:cubicBezTo>
                <a:cubicBezTo>
                  <a:pt x="530" y="366"/>
                  <a:pt x="530" y="367"/>
                  <a:pt x="530" y="366"/>
                </a:cubicBezTo>
                <a:cubicBezTo>
                  <a:pt x="530" y="366"/>
                  <a:pt x="530" y="366"/>
                  <a:pt x="529" y="366"/>
                </a:cubicBezTo>
                <a:cubicBezTo>
                  <a:pt x="529" y="366"/>
                  <a:pt x="529" y="366"/>
                  <a:pt x="530" y="366"/>
                </a:cubicBezTo>
                <a:cubicBezTo>
                  <a:pt x="529" y="366"/>
                  <a:pt x="528" y="366"/>
                  <a:pt x="528" y="366"/>
                </a:cubicBezTo>
                <a:cubicBezTo>
                  <a:pt x="528" y="365"/>
                  <a:pt x="529" y="364"/>
                  <a:pt x="529" y="364"/>
                </a:cubicBezTo>
                <a:cubicBezTo>
                  <a:pt x="529" y="364"/>
                  <a:pt x="528" y="364"/>
                  <a:pt x="528" y="364"/>
                </a:cubicBezTo>
                <a:cubicBezTo>
                  <a:pt x="527" y="365"/>
                  <a:pt x="528" y="365"/>
                  <a:pt x="528" y="366"/>
                </a:cubicBezTo>
                <a:cubicBezTo>
                  <a:pt x="527" y="366"/>
                  <a:pt x="527" y="367"/>
                  <a:pt x="527" y="366"/>
                </a:cubicBezTo>
                <a:cubicBezTo>
                  <a:pt x="527" y="366"/>
                  <a:pt x="527" y="365"/>
                  <a:pt x="526" y="365"/>
                </a:cubicBezTo>
                <a:cubicBezTo>
                  <a:pt x="526" y="365"/>
                  <a:pt x="526" y="365"/>
                  <a:pt x="526" y="365"/>
                </a:cubicBezTo>
                <a:cubicBezTo>
                  <a:pt x="526" y="366"/>
                  <a:pt x="526" y="365"/>
                  <a:pt x="525" y="365"/>
                </a:cubicBezTo>
                <a:cubicBezTo>
                  <a:pt x="525" y="366"/>
                  <a:pt x="525" y="366"/>
                  <a:pt x="525" y="366"/>
                </a:cubicBezTo>
                <a:cubicBezTo>
                  <a:pt x="525" y="366"/>
                  <a:pt x="524" y="367"/>
                  <a:pt x="525" y="367"/>
                </a:cubicBezTo>
                <a:cubicBezTo>
                  <a:pt x="525" y="367"/>
                  <a:pt x="525" y="367"/>
                  <a:pt x="525" y="367"/>
                </a:cubicBezTo>
                <a:cubicBezTo>
                  <a:pt x="525" y="367"/>
                  <a:pt x="525" y="367"/>
                  <a:pt x="525" y="367"/>
                </a:cubicBezTo>
                <a:cubicBezTo>
                  <a:pt x="525" y="367"/>
                  <a:pt x="524" y="367"/>
                  <a:pt x="524" y="367"/>
                </a:cubicBezTo>
                <a:cubicBezTo>
                  <a:pt x="524" y="367"/>
                  <a:pt x="524" y="368"/>
                  <a:pt x="524" y="368"/>
                </a:cubicBezTo>
                <a:cubicBezTo>
                  <a:pt x="524" y="368"/>
                  <a:pt x="524" y="368"/>
                  <a:pt x="524" y="368"/>
                </a:cubicBezTo>
                <a:cubicBezTo>
                  <a:pt x="525" y="368"/>
                  <a:pt x="525" y="368"/>
                  <a:pt x="524" y="368"/>
                </a:cubicBezTo>
                <a:cubicBezTo>
                  <a:pt x="525" y="368"/>
                  <a:pt x="525" y="368"/>
                  <a:pt x="525" y="368"/>
                </a:cubicBezTo>
                <a:cubicBezTo>
                  <a:pt x="524" y="369"/>
                  <a:pt x="524" y="368"/>
                  <a:pt x="523" y="368"/>
                </a:cubicBezTo>
                <a:cubicBezTo>
                  <a:pt x="524" y="368"/>
                  <a:pt x="523" y="369"/>
                  <a:pt x="522" y="369"/>
                </a:cubicBezTo>
                <a:cubicBezTo>
                  <a:pt x="522" y="370"/>
                  <a:pt x="521" y="370"/>
                  <a:pt x="521" y="370"/>
                </a:cubicBezTo>
                <a:cubicBezTo>
                  <a:pt x="521" y="370"/>
                  <a:pt x="522" y="370"/>
                  <a:pt x="521" y="370"/>
                </a:cubicBezTo>
                <a:cubicBezTo>
                  <a:pt x="521" y="371"/>
                  <a:pt x="520" y="371"/>
                  <a:pt x="520" y="371"/>
                </a:cubicBezTo>
                <a:cubicBezTo>
                  <a:pt x="521" y="371"/>
                  <a:pt x="518" y="372"/>
                  <a:pt x="518" y="372"/>
                </a:cubicBezTo>
                <a:cubicBezTo>
                  <a:pt x="518" y="372"/>
                  <a:pt x="518" y="372"/>
                  <a:pt x="518" y="372"/>
                </a:cubicBezTo>
                <a:cubicBezTo>
                  <a:pt x="518" y="373"/>
                  <a:pt x="518" y="373"/>
                  <a:pt x="518" y="373"/>
                </a:cubicBezTo>
                <a:cubicBezTo>
                  <a:pt x="518" y="373"/>
                  <a:pt x="518" y="373"/>
                  <a:pt x="517" y="373"/>
                </a:cubicBezTo>
                <a:cubicBezTo>
                  <a:pt x="517" y="373"/>
                  <a:pt x="518" y="374"/>
                  <a:pt x="517" y="373"/>
                </a:cubicBezTo>
                <a:cubicBezTo>
                  <a:pt x="517" y="373"/>
                  <a:pt x="517" y="373"/>
                  <a:pt x="517" y="373"/>
                </a:cubicBezTo>
                <a:cubicBezTo>
                  <a:pt x="517" y="373"/>
                  <a:pt x="517" y="374"/>
                  <a:pt x="517" y="374"/>
                </a:cubicBezTo>
                <a:cubicBezTo>
                  <a:pt x="516" y="374"/>
                  <a:pt x="516" y="374"/>
                  <a:pt x="516" y="373"/>
                </a:cubicBezTo>
                <a:cubicBezTo>
                  <a:pt x="516" y="374"/>
                  <a:pt x="516" y="374"/>
                  <a:pt x="515" y="375"/>
                </a:cubicBezTo>
                <a:cubicBezTo>
                  <a:pt x="515" y="374"/>
                  <a:pt x="515" y="374"/>
                  <a:pt x="515" y="374"/>
                </a:cubicBezTo>
                <a:cubicBezTo>
                  <a:pt x="515" y="374"/>
                  <a:pt x="515" y="375"/>
                  <a:pt x="515" y="375"/>
                </a:cubicBezTo>
                <a:cubicBezTo>
                  <a:pt x="514" y="375"/>
                  <a:pt x="515" y="374"/>
                  <a:pt x="515" y="374"/>
                </a:cubicBezTo>
                <a:cubicBezTo>
                  <a:pt x="514" y="375"/>
                  <a:pt x="515" y="374"/>
                  <a:pt x="514" y="374"/>
                </a:cubicBezTo>
                <a:cubicBezTo>
                  <a:pt x="514" y="374"/>
                  <a:pt x="514" y="375"/>
                  <a:pt x="514" y="375"/>
                </a:cubicBezTo>
                <a:cubicBezTo>
                  <a:pt x="513" y="376"/>
                  <a:pt x="513" y="374"/>
                  <a:pt x="513" y="374"/>
                </a:cubicBezTo>
                <a:cubicBezTo>
                  <a:pt x="513" y="374"/>
                  <a:pt x="513" y="374"/>
                  <a:pt x="513" y="375"/>
                </a:cubicBezTo>
                <a:cubicBezTo>
                  <a:pt x="513" y="375"/>
                  <a:pt x="513" y="375"/>
                  <a:pt x="513" y="375"/>
                </a:cubicBezTo>
                <a:cubicBezTo>
                  <a:pt x="512" y="376"/>
                  <a:pt x="513" y="376"/>
                  <a:pt x="512" y="376"/>
                </a:cubicBezTo>
                <a:cubicBezTo>
                  <a:pt x="512" y="376"/>
                  <a:pt x="512" y="376"/>
                  <a:pt x="512" y="376"/>
                </a:cubicBezTo>
                <a:cubicBezTo>
                  <a:pt x="511" y="376"/>
                  <a:pt x="512" y="376"/>
                  <a:pt x="512" y="377"/>
                </a:cubicBezTo>
                <a:cubicBezTo>
                  <a:pt x="512" y="376"/>
                  <a:pt x="511" y="377"/>
                  <a:pt x="511" y="377"/>
                </a:cubicBezTo>
                <a:cubicBezTo>
                  <a:pt x="511" y="377"/>
                  <a:pt x="511" y="376"/>
                  <a:pt x="510" y="376"/>
                </a:cubicBezTo>
                <a:cubicBezTo>
                  <a:pt x="510" y="376"/>
                  <a:pt x="510" y="377"/>
                  <a:pt x="510" y="377"/>
                </a:cubicBezTo>
                <a:cubicBezTo>
                  <a:pt x="509" y="377"/>
                  <a:pt x="509" y="376"/>
                  <a:pt x="509" y="376"/>
                </a:cubicBezTo>
                <a:cubicBezTo>
                  <a:pt x="509" y="376"/>
                  <a:pt x="509" y="376"/>
                  <a:pt x="509" y="376"/>
                </a:cubicBezTo>
                <a:cubicBezTo>
                  <a:pt x="508" y="376"/>
                  <a:pt x="509" y="375"/>
                  <a:pt x="509" y="375"/>
                </a:cubicBezTo>
                <a:cubicBezTo>
                  <a:pt x="509" y="375"/>
                  <a:pt x="509" y="375"/>
                  <a:pt x="509" y="376"/>
                </a:cubicBezTo>
                <a:cubicBezTo>
                  <a:pt x="508" y="375"/>
                  <a:pt x="509" y="374"/>
                  <a:pt x="509" y="374"/>
                </a:cubicBezTo>
                <a:cubicBezTo>
                  <a:pt x="509" y="374"/>
                  <a:pt x="509" y="373"/>
                  <a:pt x="508" y="373"/>
                </a:cubicBezTo>
                <a:cubicBezTo>
                  <a:pt x="508" y="373"/>
                  <a:pt x="508" y="374"/>
                  <a:pt x="508" y="374"/>
                </a:cubicBezTo>
                <a:cubicBezTo>
                  <a:pt x="508" y="374"/>
                  <a:pt x="508" y="373"/>
                  <a:pt x="508" y="373"/>
                </a:cubicBezTo>
                <a:cubicBezTo>
                  <a:pt x="507" y="373"/>
                  <a:pt x="508" y="374"/>
                  <a:pt x="507" y="375"/>
                </a:cubicBezTo>
                <a:cubicBezTo>
                  <a:pt x="507" y="374"/>
                  <a:pt x="507" y="374"/>
                  <a:pt x="507" y="375"/>
                </a:cubicBezTo>
                <a:cubicBezTo>
                  <a:pt x="507" y="374"/>
                  <a:pt x="507" y="374"/>
                  <a:pt x="507" y="374"/>
                </a:cubicBezTo>
                <a:cubicBezTo>
                  <a:pt x="507" y="374"/>
                  <a:pt x="507" y="374"/>
                  <a:pt x="507" y="374"/>
                </a:cubicBezTo>
                <a:cubicBezTo>
                  <a:pt x="506" y="374"/>
                  <a:pt x="506" y="374"/>
                  <a:pt x="506" y="374"/>
                </a:cubicBezTo>
                <a:cubicBezTo>
                  <a:pt x="506" y="374"/>
                  <a:pt x="506" y="373"/>
                  <a:pt x="507" y="373"/>
                </a:cubicBezTo>
                <a:cubicBezTo>
                  <a:pt x="507" y="373"/>
                  <a:pt x="507" y="373"/>
                  <a:pt x="506" y="373"/>
                </a:cubicBezTo>
                <a:cubicBezTo>
                  <a:pt x="506" y="373"/>
                  <a:pt x="507" y="372"/>
                  <a:pt x="507" y="371"/>
                </a:cubicBezTo>
                <a:cubicBezTo>
                  <a:pt x="507" y="371"/>
                  <a:pt x="507" y="370"/>
                  <a:pt x="507" y="370"/>
                </a:cubicBezTo>
                <a:cubicBezTo>
                  <a:pt x="508" y="369"/>
                  <a:pt x="509" y="368"/>
                  <a:pt x="510" y="367"/>
                </a:cubicBezTo>
                <a:cubicBezTo>
                  <a:pt x="510" y="366"/>
                  <a:pt x="511" y="366"/>
                  <a:pt x="511" y="366"/>
                </a:cubicBezTo>
                <a:cubicBezTo>
                  <a:pt x="511" y="366"/>
                  <a:pt x="512" y="365"/>
                  <a:pt x="511" y="365"/>
                </a:cubicBezTo>
                <a:cubicBezTo>
                  <a:pt x="510" y="365"/>
                  <a:pt x="509" y="367"/>
                  <a:pt x="508" y="367"/>
                </a:cubicBezTo>
                <a:cubicBezTo>
                  <a:pt x="508" y="366"/>
                  <a:pt x="510" y="365"/>
                  <a:pt x="511" y="365"/>
                </a:cubicBezTo>
                <a:cubicBezTo>
                  <a:pt x="511" y="365"/>
                  <a:pt x="513" y="364"/>
                  <a:pt x="513" y="364"/>
                </a:cubicBezTo>
                <a:cubicBezTo>
                  <a:pt x="513" y="364"/>
                  <a:pt x="513" y="364"/>
                  <a:pt x="513" y="365"/>
                </a:cubicBezTo>
                <a:cubicBezTo>
                  <a:pt x="513" y="365"/>
                  <a:pt x="516" y="363"/>
                  <a:pt x="516" y="363"/>
                </a:cubicBezTo>
                <a:cubicBezTo>
                  <a:pt x="516" y="363"/>
                  <a:pt x="513" y="364"/>
                  <a:pt x="513" y="364"/>
                </a:cubicBezTo>
                <a:cubicBezTo>
                  <a:pt x="513" y="364"/>
                  <a:pt x="515" y="363"/>
                  <a:pt x="515" y="363"/>
                </a:cubicBezTo>
                <a:cubicBezTo>
                  <a:pt x="516" y="362"/>
                  <a:pt x="517" y="362"/>
                  <a:pt x="518" y="361"/>
                </a:cubicBezTo>
                <a:cubicBezTo>
                  <a:pt x="520" y="360"/>
                  <a:pt x="522" y="359"/>
                  <a:pt x="524" y="359"/>
                </a:cubicBezTo>
                <a:cubicBezTo>
                  <a:pt x="525" y="358"/>
                  <a:pt x="526" y="358"/>
                  <a:pt x="527" y="358"/>
                </a:cubicBezTo>
                <a:cubicBezTo>
                  <a:pt x="527" y="357"/>
                  <a:pt x="527" y="357"/>
                  <a:pt x="527" y="357"/>
                </a:cubicBezTo>
                <a:cubicBezTo>
                  <a:pt x="527" y="357"/>
                  <a:pt x="528" y="357"/>
                  <a:pt x="528" y="358"/>
                </a:cubicBezTo>
                <a:cubicBezTo>
                  <a:pt x="527" y="358"/>
                  <a:pt x="527" y="359"/>
                  <a:pt x="527" y="359"/>
                </a:cubicBezTo>
                <a:cubicBezTo>
                  <a:pt x="528" y="359"/>
                  <a:pt x="529" y="360"/>
                  <a:pt x="528" y="361"/>
                </a:cubicBezTo>
                <a:cubicBezTo>
                  <a:pt x="529" y="360"/>
                  <a:pt x="529" y="360"/>
                  <a:pt x="529" y="360"/>
                </a:cubicBezTo>
                <a:cubicBezTo>
                  <a:pt x="528" y="359"/>
                  <a:pt x="529" y="359"/>
                  <a:pt x="529" y="359"/>
                </a:cubicBezTo>
                <a:cubicBezTo>
                  <a:pt x="530" y="358"/>
                  <a:pt x="531" y="358"/>
                  <a:pt x="532" y="358"/>
                </a:cubicBezTo>
                <a:cubicBezTo>
                  <a:pt x="532" y="357"/>
                  <a:pt x="535" y="356"/>
                  <a:pt x="535" y="357"/>
                </a:cubicBezTo>
                <a:cubicBezTo>
                  <a:pt x="536" y="357"/>
                  <a:pt x="536" y="357"/>
                  <a:pt x="536" y="357"/>
                </a:cubicBezTo>
                <a:cubicBezTo>
                  <a:pt x="535" y="357"/>
                  <a:pt x="534" y="356"/>
                  <a:pt x="532" y="356"/>
                </a:cubicBezTo>
                <a:cubicBezTo>
                  <a:pt x="532" y="357"/>
                  <a:pt x="532" y="356"/>
                  <a:pt x="532" y="356"/>
                </a:cubicBezTo>
                <a:cubicBezTo>
                  <a:pt x="531" y="356"/>
                  <a:pt x="531" y="356"/>
                  <a:pt x="531" y="356"/>
                </a:cubicBezTo>
                <a:cubicBezTo>
                  <a:pt x="530" y="356"/>
                  <a:pt x="529" y="356"/>
                  <a:pt x="529" y="356"/>
                </a:cubicBezTo>
                <a:cubicBezTo>
                  <a:pt x="528" y="356"/>
                  <a:pt x="527" y="356"/>
                  <a:pt x="527" y="356"/>
                </a:cubicBezTo>
                <a:cubicBezTo>
                  <a:pt x="526" y="356"/>
                  <a:pt x="526" y="356"/>
                  <a:pt x="525" y="356"/>
                </a:cubicBezTo>
                <a:cubicBezTo>
                  <a:pt x="525" y="357"/>
                  <a:pt x="525" y="357"/>
                  <a:pt x="525" y="357"/>
                </a:cubicBezTo>
                <a:cubicBezTo>
                  <a:pt x="525" y="357"/>
                  <a:pt x="524" y="357"/>
                  <a:pt x="524" y="357"/>
                </a:cubicBezTo>
                <a:cubicBezTo>
                  <a:pt x="524" y="357"/>
                  <a:pt x="523" y="357"/>
                  <a:pt x="523" y="357"/>
                </a:cubicBezTo>
                <a:cubicBezTo>
                  <a:pt x="523" y="356"/>
                  <a:pt x="524" y="356"/>
                  <a:pt x="525" y="355"/>
                </a:cubicBezTo>
                <a:cubicBezTo>
                  <a:pt x="524" y="355"/>
                  <a:pt x="526" y="355"/>
                  <a:pt x="526" y="355"/>
                </a:cubicBezTo>
                <a:cubicBezTo>
                  <a:pt x="527" y="354"/>
                  <a:pt x="528" y="354"/>
                  <a:pt x="528" y="353"/>
                </a:cubicBezTo>
                <a:cubicBezTo>
                  <a:pt x="529" y="353"/>
                  <a:pt x="530" y="351"/>
                  <a:pt x="530" y="352"/>
                </a:cubicBezTo>
                <a:cubicBezTo>
                  <a:pt x="530" y="352"/>
                  <a:pt x="530" y="352"/>
                  <a:pt x="530" y="352"/>
                </a:cubicBezTo>
                <a:cubicBezTo>
                  <a:pt x="530" y="352"/>
                  <a:pt x="530" y="352"/>
                  <a:pt x="530" y="352"/>
                </a:cubicBezTo>
                <a:cubicBezTo>
                  <a:pt x="530" y="352"/>
                  <a:pt x="531" y="352"/>
                  <a:pt x="530" y="351"/>
                </a:cubicBezTo>
                <a:cubicBezTo>
                  <a:pt x="530" y="351"/>
                  <a:pt x="530" y="351"/>
                  <a:pt x="530" y="351"/>
                </a:cubicBezTo>
                <a:cubicBezTo>
                  <a:pt x="530" y="352"/>
                  <a:pt x="528" y="353"/>
                  <a:pt x="528" y="353"/>
                </a:cubicBezTo>
                <a:cubicBezTo>
                  <a:pt x="528" y="352"/>
                  <a:pt x="528" y="352"/>
                  <a:pt x="529" y="352"/>
                </a:cubicBezTo>
                <a:cubicBezTo>
                  <a:pt x="529" y="351"/>
                  <a:pt x="528" y="351"/>
                  <a:pt x="528" y="351"/>
                </a:cubicBezTo>
                <a:cubicBezTo>
                  <a:pt x="528" y="351"/>
                  <a:pt x="528" y="349"/>
                  <a:pt x="527" y="349"/>
                </a:cubicBezTo>
                <a:cubicBezTo>
                  <a:pt x="528" y="349"/>
                  <a:pt x="527" y="350"/>
                  <a:pt x="528" y="350"/>
                </a:cubicBezTo>
                <a:cubicBezTo>
                  <a:pt x="528" y="351"/>
                  <a:pt x="528" y="351"/>
                  <a:pt x="528" y="352"/>
                </a:cubicBezTo>
                <a:cubicBezTo>
                  <a:pt x="528" y="352"/>
                  <a:pt x="527" y="352"/>
                  <a:pt x="527" y="353"/>
                </a:cubicBezTo>
                <a:cubicBezTo>
                  <a:pt x="527" y="353"/>
                  <a:pt x="526" y="353"/>
                  <a:pt x="526" y="353"/>
                </a:cubicBezTo>
                <a:cubicBezTo>
                  <a:pt x="526" y="354"/>
                  <a:pt x="525" y="354"/>
                  <a:pt x="525" y="354"/>
                </a:cubicBezTo>
                <a:cubicBezTo>
                  <a:pt x="524" y="354"/>
                  <a:pt x="524" y="354"/>
                  <a:pt x="523" y="354"/>
                </a:cubicBezTo>
                <a:cubicBezTo>
                  <a:pt x="522" y="355"/>
                  <a:pt x="521" y="355"/>
                  <a:pt x="520" y="356"/>
                </a:cubicBezTo>
                <a:cubicBezTo>
                  <a:pt x="519" y="356"/>
                  <a:pt x="518" y="357"/>
                  <a:pt x="516" y="357"/>
                </a:cubicBezTo>
                <a:cubicBezTo>
                  <a:pt x="516" y="357"/>
                  <a:pt x="515" y="358"/>
                  <a:pt x="515" y="358"/>
                </a:cubicBezTo>
                <a:cubicBezTo>
                  <a:pt x="515" y="358"/>
                  <a:pt x="514" y="358"/>
                  <a:pt x="514" y="358"/>
                </a:cubicBezTo>
                <a:cubicBezTo>
                  <a:pt x="513" y="358"/>
                  <a:pt x="512" y="357"/>
                  <a:pt x="512" y="357"/>
                </a:cubicBezTo>
                <a:cubicBezTo>
                  <a:pt x="513" y="357"/>
                  <a:pt x="514" y="357"/>
                  <a:pt x="514" y="356"/>
                </a:cubicBezTo>
                <a:cubicBezTo>
                  <a:pt x="514" y="356"/>
                  <a:pt x="513" y="356"/>
                  <a:pt x="513" y="357"/>
                </a:cubicBezTo>
                <a:cubicBezTo>
                  <a:pt x="513" y="357"/>
                  <a:pt x="512" y="357"/>
                  <a:pt x="512" y="357"/>
                </a:cubicBezTo>
                <a:cubicBezTo>
                  <a:pt x="511" y="357"/>
                  <a:pt x="513" y="358"/>
                  <a:pt x="513" y="358"/>
                </a:cubicBezTo>
                <a:cubicBezTo>
                  <a:pt x="513" y="358"/>
                  <a:pt x="511" y="359"/>
                  <a:pt x="511" y="359"/>
                </a:cubicBezTo>
                <a:cubicBezTo>
                  <a:pt x="511" y="358"/>
                  <a:pt x="511" y="358"/>
                  <a:pt x="510" y="358"/>
                </a:cubicBezTo>
                <a:cubicBezTo>
                  <a:pt x="510" y="358"/>
                  <a:pt x="511" y="358"/>
                  <a:pt x="511" y="358"/>
                </a:cubicBezTo>
                <a:cubicBezTo>
                  <a:pt x="511" y="359"/>
                  <a:pt x="509" y="360"/>
                  <a:pt x="509" y="360"/>
                </a:cubicBezTo>
                <a:cubicBezTo>
                  <a:pt x="509" y="359"/>
                  <a:pt x="509" y="359"/>
                  <a:pt x="508" y="359"/>
                </a:cubicBezTo>
                <a:cubicBezTo>
                  <a:pt x="508" y="359"/>
                  <a:pt x="507" y="359"/>
                  <a:pt x="507" y="360"/>
                </a:cubicBezTo>
                <a:cubicBezTo>
                  <a:pt x="507" y="360"/>
                  <a:pt x="505" y="360"/>
                  <a:pt x="506" y="360"/>
                </a:cubicBezTo>
                <a:cubicBezTo>
                  <a:pt x="506" y="360"/>
                  <a:pt x="505" y="360"/>
                  <a:pt x="505" y="360"/>
                </a:cubicBezTo>
                <a:cubicBezTo>
                  <a:pt x="505" y="359"/>
                  <a:pt x="505" y="359"/>
                  <a:pt x="505" y="359"/>
                </a:cubicBezTo>
                <a:cubicBezTo>
                  <a:pt x="505" y="359"/>
                  <a:pt x="505" y="358"/>
                  <a:pt x="504" y="359"/>
                </a:cubicBezTo>
                <a:cubicBezTo>
                  <a:pt x="504" y="359"/>
                  <a:pt x="504" y="359"/>
                  <a:pt x="504" y="360"/>
                </a:cubicBezTo>
                <a:cubicBezTo>
                  <a:pt x="503" y="359"/>
                  <a:pt x="503" y="357"/>
                  <a:pt x="503" y="358"/>
                </a:cubicBezTo>
                <a:cubicBezTo>
                  <a:pt x="502" y="359"/>
                  <a:pt x="502" y="358"/>
                  <a:pt x="502" y="358"/>
                </a:cubicBezTo>
                <a:cubicBezTo>
                  <a:pt x="502" y="359"/>
                  <a:pt x="502" y="359"/>
                  <a:pt x="501" y="359"/>
                </a:cubicBezTo>
                <a:cubicBezTo>
                  <a:pt x="500" y="358"/>
                  <a:pt x="502" y="357"/>
                  <a:pt x="501" y="356"/>
                </a:cubicBezTo>
                <a:cubicBezTo>
                  <a:pt x="501" y="355"/>
                  <a:pt x="501" y="355"/>
                  <a:pt x="502" y="355"/>
                </a:cubicBezTo>
                <a:cubicBezTo>
                  <a:pt x="502" y="355"/>
                  <a:pt x="503" y="354"/>
                  <a:pt x="502" y="354"/>
                </a:cubicBezTo>
                <a:cubicBezTo>
                  <a:pt x="502" y="354"/>
                  <a:pt x="501" y="354"/>
                  <a:pt x="500" y="354"/>
                </a:cubicBezTo>
                <a:cubicBezTo>
                  <a:pt x="500" y="353"/>
                  <a:pt x="500" y="353"/>
                  <a:pt x="500" y="353"/>
                </a:cubicBezTo>
                <a:cubicBezTo>
                  <a:pt x="499" y="353"/>
                  <a:pt x="500" y="352"/>
                  <a:pt x="500" y="352"/>
                </a:cubicBezTo>
                <a:cubicBezTo>
                  <a:pt x="500" y="351"/>
                  <a:pt x="500" y="351"/>
                  <a:pt x="501" y="351"/>
                </a:cubicBezTo>
                <a:cubicBezTo>
                  <a:pt x="501" y="350"/>
                  <a:pt x="501" y="349"/>
                  <a:pt x="501" y="349"/>
                </a:cubicBezTo>
                <a:cubicBezTo>
                  <a:pt x="502" y="348"/>
                  <a:pt x="502" y="347"/>
                  <a:pt x="502" y="346"/>
                </a:cubicBezTo>
                <a:cubicBezTo>
                  <a:pt x="503" y="344"/>
                  <a:pt x="504" y="342"/>
                  <a:pt x="504" y="340"/>
                </a:cubicBezTo>
                <a:cubicBezTo>
                  <a:pt x="504" y="340"/>
                  <a:pt x="505" y="339"/>
                  <a:pt x="505" y="338"/>
                </a:cubicBezTo>
                <a:cubicBezTo>
                  <a:pt x="505" y="338"/>
                  <a:pt x="505" y="338"/>
                  <a:pt x="505" y="338"/>
                </a:cubicBezTo>
                <a:cubicBezTo>
                  <a:pt x="504" y="338"/>
                  <a:pt x="505" y="337"/>
                  <a:pt x="504" y="337"/>
                </a:cubicBezTo>
                <a:cubicBezTo>
                  <a:pt x="504" y="337"/>
                  <a:pt x="504" y="337"/>
                  <a:pt x="504" y="337"/>
                </a:cubicBezTo>
                <a:cubicBezTo>
                  <a:pt x="504" y="336"/>
                  <a:pt x="504" y="336"/>
                  <a:pt x="503" y="336"/>
                </a:cubicBezTo>
                <a:cubicBezTo>
                  <a:pt x="503" y="335"/>
                  <a:pt x="502" y="335"/>
                  <a:pt x="502" y="335"/>
                </a:cubicBezTo>
                <a:cubicBezTo>
                  <a:pt x="501" y="335"/>
                  <a:pt x="501" y="336"/>
                  <a:pt x="501" y="336"/>
                </a:cubicBezTo>
                <a:cubicBezTo>
                  <a:pt x="500" y="336"/>
                  <a:pt x="500" y="336"/>
                  <a:pt x="499" y="336"/>
                </a:cubicBezTo>
                <a:cubicBezTo>
                  <a:pt x="499" y="336"/>
                  <a:pt x="498" y="336"/>
                  <a:pt x="498" y="336"/>
                </a:cubicBezTo>
                <a:cubicBezTo>
                  <a:pt x="497" y="337"/>
                  <a:pt x="496" y="337"/>
                  <a:pt x="496" y="337"/>
                </a:cubicBezTo>
                <a:cubicBezTo>
                  <a:pt x="495" y="336"/>
                  <a:pt x="495" y="336"/>
                  <a:pt x="496" y="335"/>
                </a:cubicBezTo>
                <a:cubicBezTo>
                  <a:pt x="496" y="335"/>
                  <a:pt x="496" y="334"/>
                  <a:pt x="496" y="334"/>
                </a:cubicBezTo>
                <a:cubicBezTo>
                  <a:pt x="495" y="334"/>
                  <a:pt x="495" y="334"/>
                  <a:pt x="494" y="334"/>
                </a:cubicBezTo>
                <a:cubicBezTo>
                  <a:pt x="494" y="334"/>
                  <a:pt x="493" y="335"/>
                  <a:pt x="492" y="336"/>
                </a:cubicBezTo>
                <a:cubicBezTo>
                  <a:pt x="492" y="336"/>
                  <a:pt x="491" y="337"/>
                  <a:pt x="490" y="337"/>
                </a:cubicBezTo>
                <a:cubicBezTo>
                  <a:pt x="489" y="339"/>
                  <a:pt x="487" y="340"/>
                  <a:pt x="485" y="341"/>
                </a:cubicBezTo>
                <a:cubicBezTo>
                  <a:pt x="485" y="342"/>
                  <a:pt x="484" y="343"/>
                  <a:pt x="484" y="343"/>
                </a:cubicBezTo>
                <a:cubicBezTo>
                  <a:pt x="484" y="344"/>
                  <a:pt x="483" y="345"/>
                  <a:pt x="483" y="345"/>
                </a:cubicBezTo>
                <a:cubicBezTo>
                  <a:pt x="482" y="346"/>
                  <a:pt x="480" y="347"/>
                  <a:pt x="480" y="348"/>
                </a:cubicBezTo>
                <a:cubicBezTo>
                  <a:pt x="480" y="348"/>
                  <a:pt x="480" y="349"/>
                  <a:pt x="479" y="349"/>
                </a:cubicBezTo>
                <a:cubicBezTo>
                  <a:pt x="479" y="350"/>
                  <a:pt x="479" y="350"/>
                  <a:pt x="479" y="350"/>
                </a:cubicBezTo>
                <a:cubicBezTo>
                  <a:pt x="480" y="351"/>
                  <a:pt x="477" y="351"/>
                  <a:pt x="477" y="352"/>
                </a:cubicBezTo>
                <a:cubicBezTo>
                  <a:pt x="477" y="353"/>
                  <a:pt x="475" y="353"/>
                  <a:pt x="474" y="354"/>
                </a:cubicBezTo>
                <a:cubicBezTo>
                  <a:pt x="474" y="354"/>
                  <a:pt x="473" y="355"/>
                  <a:pt x="473" y="355"/>
                </a:cubicBezTo>
                <a:cubicBezTo>
                  <a:pt x="474" y="356"/>
                  <a:pt x="474" y="356"/>
                  <a:pt x="473" y="356"/>
                </a:cubicBezTo>
                <a:cubicBezTo>
                  <a:pt x="473" y="356"/>
                  <a:pt x="473" y="356"/>
                  <a:pt x="472" y="356"/>
                </a:cubicBezTo>
                <a:cubicBezTo>
                  <a:pt x="472" y="356"/>
                  <a:pt x="472" y="357"/>
                  <a:pt x="471" y="358"/>
                </a:cubicBezTo>
                <a:cubicBezTo>
                  <a:pt x="471" y="358"/>
                  <a:pt x="471" y="357"/>
                  <a:pt x="471" y="357"/>
                </a:cubicBezTo>
                <a:cubicBezTo>
                  <a:pt x="470" y="357"/>
                  <a:pt x="469" y="357"/>
                  <a:pt x="469" y="357"/>
                </a:cubicBezTo>
                <a:cubicBezTo>
                  <a:pt x="469" y="358"/>
                  <a:pt x="468" y="358"/>
                  <a:pt x="468" y="357"/>
                </a:cubicBezTo>
                <a:cubicBezTo>
                  <a:pt x="467" y="357"/>
                  <a:pt x="466" y="358"/>
                  <a:pt x="466" y="358"/>
                </a:cubicBezTo>
                <a:cubicBezTo>
                  <a:pt x="466" y="358"/>
                  <a:pt x="466" y="358"/>
                  <a:pt x="466" y="359"/>
                </a:cubicBezTo>
                <a:cubicBezTo>
                  <a:pt x="466" y="359"/>
                  <a:pt x="465" y="359"/>
                  <a:pt x="465" y="359"/>
                </a:cubicBezTo>
                <a:cubicBezTo>
                  <a:pt x="464" y="360"/>
                  <a:pt x="465" y="360"/>
                  <a:pt x="464" y="360"/>
                </a:cubicBezTo>
                <a:cubicBezTo>
                  <a:pt x="462" y="360"/>
                  <a:pt x="460" y="360"/>
                  <a:pt x="458" y="360"/>
                </a:cubicBezTo>
                <a:cubicBezTo>
                  <a:pt x="454" y="360"/>
                  <a:pt x="450" y="360"/>
                  <a:pt x="446" y="360"/>
                </a:cubicBezTo>
                <a:cubicBezTo>
                  <a:pt x="444" y="360"/>
                  <a:pt x="442" y="361"/>
                  <a:pt x="440" y="361"/>
                </a:cubicBezTo>
                <a:cubicBezTo>
                  <a:pt x="438" y="360"/>
                  <a:pt x="436" y="360"/>
                  <a:pt x="434" y="361"/>
                </a:cubicBezTo>
                <a:cubicBezTo>
                  <a:pt x="432" y="361"/>
                  <a:pt x="429" y="363"/>
                  <a:pt x="427" y="365"/>
                </a:cubicBezTo>
                <a:cubicBezTo>
                  <a:pt x="426" y="365"/>
                  <a:pt x="425" y="366"/>
                  <a:pt x="425" y="366"/>
                </a:cubicBezTo>
                <a:cubicBezTo>
                  <a:pt x="424" y="366"/>
                  <a:pt x="423" y="367"/>
                  <a:pt x="422" y="367"/>
                </a:cubicBezTo>
                <a:cubicBezTo>
                  <a:pt x="420" y="368"/>
                  <a:pt x="418" y="369"/>
                  <a:pt x="416" y="369"/>
                </a:cubicBezTo>
                <a:cubicBezTo>
                  <a:pt x="415" y="369"/>
                  <a:pt x="414" y="370"/>
                  <a:pt x="412" y="371"/>
                </a:cubicBezTo>
                <a:cubicBezTo>
                  <a:pt x="412" y="370"/>
                  <a:pt x="412" y="370"/>
                  <a:pt x="413" y="370"/>
                </a:cubicBezTo>
                <a:cubicBezTo>
                  <a:pt x="413" y="370"/>
                  <a:pt x="414" y="370"/>
                  <a:pt x="414" y="369"/>
                </a:cubicBezTo>
                <a:cubicBezTo>
                  <a:pt x="414" y="369"/>
                  <a:pt x="412" y="370"/>
                  <a:pt x="412" y="370"/>
                </a:cubicBezTo>
                <a:cubicBezTo>
                  <a:pt x="412" y="369"/>
                  <a:pt x="413" y="369"/>
                  <a:pt x="413" y="369"/>
                </a:cubicBezTo>
                <a:cubicBezTo>
                  <a:pt x="412" y="369"/>
                  <a:pt x="412" y="370"/>
                  <a:pt x="411" y="369"/>
                </a:cubicBezTo>
                <a:cubicBezTo>
                  <a:pt x="411" y="369"/>
                  <a:pt x="410" y="369"/>
                  <a:pt x="410" y="370"/>
                </a:cubicBezTo>
                <a:cubicBezTo>
                  <a:pt x="409" y="370"/>
                  <a:pt x="408" y="370"/>
                  <a:pt x="407" y="370"/>
                </a:cubicBezTo>
                <a:cubicBezTo>
                  <a:pt x="408" y="370"/>
                  <a:pt x="408" y="370"/>
                  <a:pt x="409" y="370"/>
                </a:cubicBezTo>
                <a:cubicBezTo>
                  <a:pt x="409" y="370"/>
                  <a:pt x="409" y="370"/>
                  <a:pt x="410" y="370"/>
                </a:cubicBezTo>
                <a:cubicBezTo>
                  <a:pt x="410" y="370"/>
                  <a:pt x="410" y="370"/>
                  <a:pt x="410" y="370"/>
                </a:cubicBezTo>
                <a:cubicBezTo>
                  <a:pt x="410" y="370"/>
                  <a:pt x="410" y="370"/>
                  <a:pt x="411" y="370"/>
                </a:cubicBezTo>
                <a:cubicBezTo>
                  <a:pt x="411" y="370"/>
                  <a:pt x="412" y="370"/>
                  <a:pt x="412" y="369"/>
                </a:cubicBezTo>
                <a:cubicBezTo>
                  <a:pt x="412" y="370"/>
                  <a:pt x="411" y="370"/>
                  <a:pt x="411" y="371"/>
                </a:cubicBezTo>
                <a:cubicBezTo>
                  <a:pt x="412" y="371"/>
                  <a:pt x="412" y="371"/>
                  <a:pt x="413" y="371"/>
                </a:cubicBezTo>
                <a:cubicBezTo>
                  <a:pt x="413" y="371"/>
                  <a:pt x="413" y="370"/>
                  <a:pt x="414" y="370"/>
                </a:cubicBezTo>
                <a:cubicBezTo>
                  <a:pt x="414" y="371"/>
                  <a:pt x="411" y="371"/>
                  <a:pt x="411" y="372"/>
                </a:cubicBezTo>
                <a:cubicBezTo>
                  <a:pt x="412" y="372"/>
                  <a:pt x="413" y="372"/>
                  <a:pt x="413" y="372"/>
                </a:cubicBezTo>
                <a:cubicBezTo>
                  <a:pt x="413" y="372"/>
                  <a:pt x="412" y="372"/>
                  <a:pt x="412" y="372"/>
                </a:cubicBezTo>
                <a:cubicBezTo>
                  <a:pt x="412" y="372"/>
                  <a:pt x="411" y="373"/>
                  <a:pt x="411" y="373"/>
                </a:cubicBezTo>
                <a:cubicBezTo>
                  <a:pt x="410" y="373"/>
                  <a:pt x="409" y="373"/>
                  <a:pt x="410" y="372"/>
                </a:cubicBezTo>
                <a:cubicBezTo>
                  <a:pt x="410" y="372"/>
                  <a:pt x="409" y="373"/>
                  <a:pt x="409" y="372"/>
                </a:cubicBezTo>
                <a:cubicBezTo>
                  <a:pt x="409" y="372"/>
                  <a:pt x="409" y="372"/>
                  <a:pt x="410" y="372"/>
                </a:cubicBezTo>
                <a:cubicBezTo>
                  <a:pt x="409" y="372"/>
                  <a:pt x="408" y="372"/>
                  <a:pt x="407" y="372"/>
                </a:cubicBezTo>
                <a:cubicBezTo>
                  <a:pt x="407" y="372"/>
                  <a:pt x="407" y="371"/>
                  <a:pt x="407" y="371"/>
                </a:cubicBezTo>
                <a:cubicBezTo>
                  <a:pt x="407" y="371"/>
                  <a:pt x="406" y="371"/>
                  <a:pt x="406" y="371"/>
                </a:cubicBezTo>
                <a:cubicBezTo>
                  <a:pt x="406" y="371"/>
                  <a:pt x="406" y="371"/>
                  <a:pt x="406" y="371"/>
                </a:cubicBezTo>
                <a:cubicBezTo>
                  <a:pt x="406" y="372"/>
                  <a:pt x="405" y="371"/>
                  <a:pt x="405" y="371"/>
                </a:cubicBezTo>
                <a:cubicBezTo>
                  <a:pt x="404" y="371"/>
                  <a:pt x="403" y="372"/>
                  <a:pt x="403" y="372"/>
                </a:cubicBezTo>
                <a:cubicBezTo>
                  <a:pt x="402" y="372"/>
                  <a:pt x="401" y="372"/>
                  <a:pt x="400" y="372"/>
                </a:cubicBezTo>
                <a:cubicBezTo>
                  <a:pt x="400" y="372"/>
                  <a:pt x="399" y="372"/>
                  <a:pt x="398" y="372"/>
                </a:cubicBezTo>
                <a:cubicBezTo>
                  <a:pt x="397" y="372"/>
                  <a:pt x="397" y="373"/>
                  <a:pt x="396" y="373"/>
                </a:cubicBezTo>
                <a:cubicBezTo>
                  <a:pt x="395" y="373"/>
                  <a:pt x="395" y="373"/>
                  <a:pt x="394" y="373"/>
                </a:cubicBezTo>
                <a:cubicBezTo>
                  <a:pt x="393" y="373"/>
                  <a:pt x="392" y="374"/>
                  <a:pt x="391" y="374"/>
                </a:cubicBezTo>
                <a:cubicBezTo>
                  <a:pt x="390" y="375"/>
                  <a:pt x="389" y="375"/>
                  <a:pt x="387" y="376"/>
                </a:cubicBezTo>
                <a:cubicBezTo>
                  <a:pt x="387" y="377"/>
                  <a:pt x="387" y="377"/>
                  <a:pt x="386" y="378"/>
                </a:cubicBezTo>
                <a:cubicBezTo>
                  <a:pt x="386" y="378"/>
                  <a:pt x="385" y="378"/>
                  <a:pt x="385" y="379"/>
                </a:cubicBezTo>
                <a:cubicBezTo>
                  <a:pt x="384" y="380"/>
                  <a:pt x="386" y="380"/>
                  <a:pt x="387" y="380"/>
                </a:cubicBezTo>
                <a:cubicBezTo>
                  <a:pt x="388" y="380"/>
                  <a:pt x="389" y="380"/>
                  <a:pt x="391" y="379"/>
                </a:cubicBezTo>
                <a:cubicBezTo>
                  <a:pt x="391" y="380"/>
                  <a:pt x="390" y="380"/>
                  <a:pt x="390" y="381"/>
                </a:cubicBezTo>
                <a:cubicBezTo>
                  <a:pt x="390" y="381"/>
                  <a:pt x="390" y="382"/>
                  <a:pt x="390" y="382"/>
                </a:cubicBezTo>
                <a:cubicBezTo>
                  <a:pt x="390" y="382"/>
                  <a:pt x="391" y="383"/>
                  <a:pt x="390" y="383"/>
                </a:cubicBezTo>
                <a:cubicBezTo>
                  <a:pt x="389" y="384"/>
                  <a:pt x="389" y="384"/>
                  <a:pt x="388" y="384"/>
                </a:cubicBezTo>
                <a:cubicBezTo>
                  <a:pt x="387" y="383"/>
                  <a:pt x="386" y="384"/>
                  <a:pt x="385" y="384"/>
                </a:cubicBezTo>
                <a:cubicBezTo>
                  <a:pt x="384" y="384"/>
                  <a:pt x="384" y="384"/>
                  <a:pt x="383" y="384"/>
                </a:cubicBezTo>
                <a:cubicBezTo>
                  <a:pt x="383" y="384"/>
                  <a:pt x="382" y="384"/>
                  <a:pt x="381" y="384"/>
                </a:cubicBezTo>
                <a:cubicBezTo>
                  <a:pt x="380" y="384"/>
                  <a:pt x="379" y="384"/>
                  <a:pt x="378" y="385"/>
                </a:cubicBezTo>
                <a:cubicBezTo>
                  <a:pt x="377" y="385"/>
                  <a:pt x="377" y="386"/>
                  <a:pt x="376" y="386"/>
                </a:cubicBezTo>
                <a:cubicBezTo>
                  <a:pt x="376" y="386"/>
                  <a:pt x="375" y="386"/>
                  <a:pt x="376" y="386"/>
                </a:cubicBezTo>
                <a:cubicBezTo>
                  <a:pt x="376" y="387"/>
                  <a:pt x="376" y="386"/>
                  <a:pt x="376" y="387"/>
                </a:cubicBezTo>
                <a:cubicBezTo>
                  <a:pt x="377" y="387"/>
                  <a:pt x="377" y="387"/>
                  <a:pt x="377" y="387"/>
                </a:cubicBezTo>
                <a:cubicBezTo>
                  <a:pt x="378" y="387"/>
                  <a:pt x="378" y="387"/>
                  <a:pt x="379" y="387"/>
                </a:cubicBezTo>
                <a:cubicBezTo>
                  <a:pt x="378" y="387"/>
                  <a:pt x="377" y="387"/>
                  <a:pt x="376" y="387"/>
                </a:cubicBezTo>
                <a:cubicBezTo>
                  <a:pt x="375" y="387"/>
                  <a:pt x="375" y="387"/>
                  <a:pt x="374" y="387"/>
                </a:cubicBezTo>
                <a:cubicBezTo>
                  <a:pt x="372" y="386"/>
                  <a:pt x="371" y="386"/>
                  <a:pt x="369" y="386"/>
                </a:cubicBezTo>
                <a:cubicBezTo>
                  <a:pt x="367" y="386"/>
                  <a:pt x="366" y="387"/>
                  <a:pt x="364" y="388"/>
                </a:cubicBezTo>
                <a:cubicBezTo>
                  <a:pt x="364" y="388"/>
                  <a:pt x="363" y="389"/>
                  <a:pt x="362" y="389"/>
                </a:cubicBezTo>
                <a:cubicBezTo>
                  <a:pt x="362" y="390"/>
                  <a:pt x="362" y="390"/>
                  <a:pt x="361" y="390"/>
                </a:cubicBezTo>
                <a:cubicBezTo>
                  <a:pt x="361" y="390"/>
                  <a:pt x="362" y="390"/>
                  <a:pt x="362" y="390"/>
                </a:cubicBezTo>
                <a:cubicBezTo>
                  <a:pt x="361" y="390"/>
                  <a:pt x="361" y="390"/>
                  <a:pt x="361" y="390"/>
                </a:cubicBezTo>
                <a:cubicBezTo>
                  <a:pt x="360" y="390"/>
                  <a:pt x="360" y="390"/>
                  <a:pt x="360" y="390"/>
                </a:cubicBezTo>
                <a:cubicBezTo>
                  <a:pt x="359" y="390"/>
                  <a:pt x="358" y="391"/>
                  <a:pt x="357" y="391"/>
                </a:cubicBezTo>
                <a:cubicBezTo>
                  <a:pt x="356" y="392"/>
                  <a:pt x="355" y="393"/>
                  <a:pt x="354" y="394"/>
                </a:cubicBezTo>
                <a:cubicBezTo>
                  <a:pt x="354" y="392"/>
                  <a:pt x="353" y="393"/>
                  <a:pt x="352" y="393"/>
                </a:cubicBezTo>
                <a:cubicBezTo>
                  <a:pt x="351" y="393"/>
                  <a:pt x="351" y="393"/>
                  <a:pt x="350" y="393"/>
                </a:cubicBezTo>
                <a:cubicBezTo>
                  <a:pt x="349" y="392"/>
                  <a:pt x="350" y="391"/>
                  <a:pt x="350" y="391"/>
                </a:cubicBezTo>
                <a:cubicBezTo>
                  <a:pt x="350" y="390"/>
                  <a:pt x="351" y="390"/>
                  <a:pt x="352" y="390"/>
                </a:cubicBezTo>
                <a:cubicBezTo>
                  <a:pt x="352" y="389"/>
                  <a:pt x="353" y="390"/>
                  <a:pt x="354" y="390"/>
                </a:cubicBezTo>
                <a:cubicBezTo>
                  <a:pt x="356" y="390"/>
                  <a:pt x="358" y="390"/>
                  <a:pt x="358" y="388"/>
                </a:cubicBezTo>
                <a:cubicBezTo>
                  <a:pt x="358" y="388"/>
                  <a:pt x="356" y="387"/>
                  <a:pt x="356" y="387"/>
                </a:cubicBezTo>
                <a:cubicBezTo>
                  <a:pt x="356" y="387"/>
                  <a:pt x="357" y="386"/>
                  <a:pt x="357" y="386"/>
                </a:cubicBezTo>
                <a:cubicBezTo>
                  <a:pt x="358" y="385"/>
                  <a:pt x="358" y="384"/>
                  <a:pt x="359" y="384"/>
                </a:cubicBezTo>
                <a:cubicBezTo>
                  <a:pt x="359" y="383"/>
                  <a:pt x="360" y="382"/>
                  <a:pt x="361" y="382"/>
                </a:cubicBezTo>
                <a:cubicBezTo>
                  <a:pt x="362" y="382"/>
                  <a:pt x="363" y="381"/>
                  <a:pt x="364" y="381"/>
                </a:cubicBezTo>
                <a:cubicBezTo>
                  <a:pt x="364" y="380"/>
                  <a:pt x="365" y="380"/>
                  <a:pt x="366" y="379"/>
                </a:cubicBezTo>
                <a:cubicBezTo>
                  <a:pt x="367" y="379"/>
                  <a:pt x="368" y="378"/>
                  <a:pt x="368" y="377"/>
                </a:cubicBezTo>
                <a:cubicBezTo>
                  <a:pt x="369" y="376"/>
                  <a:pt x="369" y="375"/>
                  <a:pt x="369" y="374"/>
                </a:cubicBezTo>
                <a:cubicBezTo>
                  <a:pt x="370" y="373"/>
                  <a:pt x="370" y="373"/>
                  <a:pt x="371" y="371"/>
                </a:cubicBezTo>
                <a:cubicBezTo>
                  <a:pt x="371" y="371"/>
                  <a:pt x="371" y="370"/>
                  <a:pt x="372" y="370"/>
                </a:cubicBezTo>
                <a:cubicBezTo>
                  <a:pt x="372" y="369"/>
                  <a:pt x="373" y="369"/>
                  <a:pt x="373" y="369"/>
                </a:cubicBezTo>
                <a:cubicBezTo>
                  <a:pt x="373" y="368"/>
                  <a:pt x="373" y="368"/>
                  <a:pt x="374" y="368"/>
                </a:cubicBezTo>
                <a:cubicBezTo>
                  <a:pt x="374" y="367"/>
                  <a:pt x="375" y="367"/>
                  <a:pt x="376" y="366"/>
                </a:cubicBezTo>
                <a:cubicBezTo>
                  <a:pt x="376" y="366"/>
                  <a:pt x="377" y="365"/>
                  <a:pt x="378" y="364"/>
                </a:cubicBezTo>
                <a:cubicBezTo>
                  <a:pt x="378" y="364"/>
                  <a:pt x="378" y="364"/>
                  <a:pt x="378" y="363"/>
                </a:cubicBezTo>
                <a:cubicBezTo>
                  <a:pt x="378" y="363"/>
                  <a:pt x="378" y="363"/>
                  <a:pt x="378" y="363"/>
                </a:cubicBezTo>
                <a:cubicBezTo>
                  <a:pt x="378" y="362"/>
                  <a:pt x="378" y="362"/>
                  <a:pt x="378" y="362"/>
                </a:cubicBezTo>
                <a:cubicBezTo>
                  <a:pt x="378" y="362"/>
                  <a:pt x="378" y="362"/>
                  <a:pt x="378" y="361"/>
                </a:cubicBezTo>
                <a:cubicBezTo>
                  <a:pt x="378" y="361"/>
                  <a:pt x="379" y="360"/>
                  <a:pt x="378" y="361"/>
                </a:cubicBezTo>
                <a:cubicBezTo>
                  <a:pt x="378" y="360"/>
                  <a:pt x="377" y="359"/>
                  <a:pt x="378" y="358"/>
                </a:cubicBezTo>
                <a:cubicBezTo>
                  <a:pt x="377" y="359"/>
                  <a:pt x="376" y="358"/>
                  <a:pt x="378" y="358"/>
                </a:cubicBezTo>
                <a:cubicBezTo>
                  <a:pt x="377" y="358"/>
                  <a:pt x="380" y="358"/>
                  <a:pt x="380" y="358"/>
                </a:cubicBezTo>
                <a:cubicBezTo>
                  <a:pt x="381" y="358"/>
                  <a:pt x="380" y="358"/>
                  <a:pt x="380" y="359"/>
                </a:cubicBezTo>
                <a:cubicBezTo>
                  <a:pt x="380" y="359"/>
                  <a:pt x="380" y="359"/>
                  <a:pt x="380" y="359"/>
                </a:cubicBezTo>
                <a:cubicBezTo>
                  <a:pt x="380" y="360"/>
                  <a:pt x="380" y="360"/>
                  <a:pt x="380" y="361"/>
                </a:cubicBezTo>
                <a:cubicBezTo>
                  <a:pt x="380" y="360"/>
                  <a:pt x="380" y="360"/>
                  <a:pt x="380" y="361"/>
                </a:cubicBezTo>
                <a:cubicBezTo>
                  <a:pt x="380" y="361"/>
                  <a:pt x="381" y="361"/>
                  <a:pt x="380" y="361"/>
                </a:cubicBezTo>
                <a:cubicBezTo>
                  <a:pt x="380" y="361"/>
                  <a:pt x="381" y="361"/>
                  <a:pt x="381" y="361"/>
                </a:cubicBezTo>
                <a:cubicBezTo>
                  <a:pt x="381" y="361"/>
                  <a:pt x="381" y="361"/>
                  <a:pt x="381" y="361"/>
                </a:cubicBezTo>
                <a:cubicBezTo>
                  <a:pt x="382" y="361"/>
                  <a:pt x="382" y="361"/>
                  <a:pt x="382" y="361"/>
                </a:cubicBezTo>
                <a:cubicBezTo>
                  <a:pt x="381" y="361"/>
                  <a:pt x="381" y="362"/>
                  <a:pt x="381" y="362"/>
                </a:cubicBezTo>
                <a:cubicBezTo>
                  <a:pt x="381" y="362"/>
                  <a:pt x="379" y="363"/>
                  <a:pt x="379" y="363"/>
                </a:cubicBezTo>
                <a:cubicBezTo>
                  <a:pt x="380" y="363"/>
                  <a:pt x="381" y="362"/>
                  <a:pt x="382" y="363"/>
                </a:cubicBezTo>
                <a:cubicBezTo>
                  <a:pt x="382" y="363"/>
                  <a:pt x="381" y="364"/>
                  <a:pt x="380" y="365"/>
                </a:cubicBezTo>
                <a:cubicBezTo>
                  <a:pt x="381" y="365"/>
                  <a:pt x="382" y="363"/>
                  <a:pt x="383" y="363"/>
                </a:cubicBezTo>
                <a:cubicBezTo>
                  <a:pt x="384" y="364"/>
                  <a:pt x="383" y="364"/>
                  <a:pt x="383" y="364"/>
                </a:cubicBezTo>
                <a:cubicBezTo>
                  <a:pt x="384" y="365"/>
                  <a:pt x="384" y="365"/>
                  <a:pt x="384" y="365"/>
                </a:cubicBezTo>
                <a:cubicBezTo>
                  <a:pt x="385" y="365"/>
                  <a:pt x="386" y="366"/>
                  <a:pt x="387" y="366"/>
                </a:cubicBezTo>
                <a:cubicBezTo>
                  <a:pt x="388" y="367"/>
                  <a:pt x="388" y="365"/>
                  <a:pt x="389" y="364"/>
                </a:cubicBezTo>
                <a:cubicBezTo>
                  <a:pt x="389" y="364"/>
                  <a:pt x="389" y="364"/>
                  <a:pt x="388" y="363"/>
                </a:cubicBezTo>
                <a:cubicBezTo>
                  <a:pt x="388" y="363"/>
                  <a:pt x="389" y="362"/>
                  <a:pt x="389" y="362"/>
                </a:cubicBezTo>
                <a:cubicBezTo>
                  <a:pt x="390" y="362"/>
                  <a:pt x="391" y="362"/>
                  <a:pt x="390" y="363"/>
                </a:cubicBezTo>
                <a:cubicBezTo>
                  <a:pt x="391" y="362"/>
                  <a:pt x="390" y="363"/>
                  <a:pt x="390" y="363"/>
                </a:cubicBezTo>
                <a:cubicBezTo>
                  <a:pt x="391" y="363"/>
                  <a:pt x="392" y="363"/>
                  <a:pt x="392" y="363"/>
                </a:cubicBezTo>
                <a:cubicBezTo>
                  <a:pt x="392" y="363"/>
                  <a:pt x="393" y="362"/>
                  <a:pt x="393" y="362"/>
                </a:cubicBezTo>
                <a:cubicBezTo>
                  <a:pt x="392" y="362"/>
                  <a:pt x="392" y="363"/>
                  <a:pt x="392" y="362"/>
                </a:cubicBezTo>
                <a:cubicBezTo>
                  <a:pt x="392" y="362"/>
                  <a:pt x="392" y="361"/>
                  <a:pt x="392" y="361"/>
                </a:cubicBezTo>
                <a:cubicBezTo>
                  <a:pt x="391" y="361"/>
                  <a:pt x="391" y="361"/>
                  <a:pt x="391" y="361"/>
                </a:cubicBezTo>
                <a:cubicBezTo>
                  <a:pt x="391" y="361"/>
                  <a:pt x="391" y="361"/>
                  <a:pt x="391" y="360"/>
                </a:cubicBezTo>
                <a:cubicBezTo>
                  <a:pt x="391" y="360"/>
                  <a:pt x="390" y="360"/>
                  <a:pt x="390" y="359"/>
                </a:cubicBezTo>
                <a:cubicBezTo>
                  <a:pt x="390" y="359"/>
                  <a:pt x="391" y="359"/>
                  <a:pt x="391" y="359"/>
                </a:cubicBezTo>
                <a:cubicBezTo>
                  <a:pt x="391" y="359"/>
                  <a:pt x="391" y="358"/>
                  <a:pt x="390" y="358"/>
                </a:cubicBezTo>
                <a:cubicBezTo>
                  <a:pt x="390" y="358"/>
                  <a:pt x="391" y="358"/>
                  <a:pt x="391" y="357"/>
                </a:cubicBezTo>
                <a:cubicBezTo>
                  <a:pt x="392" y="357"/>
                  <a:pt x="392" y="356"/>
                  <a:pt x="391" y="356"/>
                </a:cubicBezTo>
                <a:cubicBezTo>
                  <a:pt x="390" y="356"/>
                  <a:pt x="391" y="357"/>
                  <a:pt x="390" y="357"/>
                </a:cubicBezTo>
                <a:cubicBezTo>
                  <a:pt x="389" y="357"/>
                  <a:pt x="390" y="356"/>
                  <a:pt x="390" y="356"/>
                </a:cubicBezTo>
                <a:cubicBezTo>
                  <a:pt x="390" y="356"/>
                  <a:pt x="389" y="356"/>
                  <a:pt x="389" y="356"/>
                </a:cubicBezTo>
                <a:cubicBezTo>
                  <a:pt x="389" y="356"/>
                  <a:pt x="389" y="355"/>
                  <a:pt x="390" y="355"/>
                </a:cubicBezTo>
                <a:cubicBezTo>
                  <a:pt x="390" y="355"/>
                  <a:pt x="390" y="354"/>
                  <a:pt x="390" y="354"/>
                </a:cubicBezTo>
                <a:cubicBezTo>
                  <a:pt x="390" y="354"/>
                  <a:pt x="389" y="355"/>
                  <a:pt x="389" y="354"/>
                </a:cubicBezTo>
                <a:cubicBezTo>
                  <a:pt x="389" y="354"/>
                  <a:pt x="389" y="354"/>
                  <a:pt x="389" y="354"/>
                </a:cubicBezTo>
                <a:cubicBezTo>
                  <a:pt x="389" y="353"/>
                  <a:pt x="389" y="354"/>
                  <a:pt x="389" y="353"/>
                </a:cubicBezTo>
                <a:cubicBezTo>
                  <a:pt x="389" y="353"/>
                  <a:pt x="388" y="353"/>
                  <a:pt x="388" y="353"/>
                </a:cubicBezTo>
                <a:cubicBezTo>
                  <a:pt x="388" y="352"/>
                  <a:pt x="389" y="352"/>
                  <a:pt x="389" y="352"/>
                </a:cubicBezTo>
                <a:cubicBezTo>
                  <a:pt x="388" y="352"/>
                  <a:pt x="388" y="351"/>
                  <a:pt x="389" y="351"/>
                </a:cubicBezTo>
                <a:cubicBezTo>
                  <a:pt x="388" y="351"/>
                  <a:pt x="388" y="350"/>
                  <a:pt x="388" y="351"/>
                </a:cubicBezTo>
                <a:cubicBezTo>
                  <a:pt x="388" y="351"/>
                  <a:pt x="388" y="350"/>
                  <a:pt x="388" y="350"/>
                </a:cubicBezTo>
                <a:cubicBezTo>
                  <a:pt x="388" y="350"/>
                  <a:pt x="385" y="350"/>
                  <a:pt x="385" y="350"/>
                </a:cubicBezTo>
                <a:cubicBezTo>
                  <a:pt x="385" y="350"/>
                  <a:pt x="385" y="350"/>
                  <a:pt x="385" y="350"/>
                </a:cubicBezTo>
                <a:cubicBezTo>
                  <a:pt x="385" y="350"/>
                  <a:pt x="385" y="350"/>
                  <a:pt x="384" y="350"/>
                </a:cubicBezTo>
                <a:cubicBezTo>
                  <a:pt x="384" y="350"/>
                  <a:pt x="385" y="350"/>
                  <a:pt x="385" y="350"/>
                </a:cubicBezTo>
                <a:cubicBezTo>
                  <a:pt x="385" y="350"/>
                  <a:pt x="384" y="350"/>
                  <a:pt x="384" y="350"/>
                </a:cubicBezTo>
                <a:cubicBezTo>
                  <a:pt x="384" y="350"/>
                  <a:pt x="383" y="350"/>
                  <a:pt x="383" y="350"/>
                </a:cubicBezTo>
                <a:cubicBezTo>
                  <a:pt x="383" y="350"/>
                  <a:pt x="382" y="350"/>
                  <a:pt x="382" y="350"/>
                </a:cubicBezTo>
                <a:cubicBezTo>
                  <a:pt x="382" y="350"/>
                  <a:pt x="382" y="350"/>
                  <a:pt x="382" y="350"/>
                </a:cubicBezTo>
                <a:cubicBezTo>
                  <a:pt x="382" y="350"/>
                  <a:pt x="381" y="350"/>
                  <a:pt x="381" y="350"/>
                </a:cubicBezTo>
                <a:cubicBezTo>
                  <a:pt x="381" y="350"/>
                  <a:pt x="381" y="350"/>
                  <a:pt x="382" y="350"/>
                </a:cubicBezTo>
                <a:cubicBezTo>
                  <a:pt x="381" y="350"/>
                  <a:pt x="381" y="350"/>
                  <a:pt x="381" y="350"/>
                </a:cubicBezTo>
                <a:cubicBezTo>
                  <a:pt x="381" y="349"/>
                  <a:pt x="382" y="349"/>
                  <a:pt x="382" y="349"/>
                </a:cubicBezTo>
                <a:cubicBezTo>
                  <a:pt x="382" y="349"/>
                  <a:pt x="381" y="349"/>
                  <a:pt x="381" y="350"/>
                </a:cubicBezTo>
                <a:cubicBezTo>
                  <a:pt x="381" y="349"/>
                  <a:pt x="382" y="349"/>
                  <a:pt x="382" y="349"/>
                </a:cubicBezTo>
                <a:cubicBezTo>
                  <a:pt x="382" y="348"/>
                  <a:pt x="381" y="349"/>
                  <a:pt x="381" y="349"/>
                </a:cubicBezTo>
                <a:cubicBezTo>
                  <a:pt x="381" y="349"/>
                  <a:pt x="381" y="349"/>
                  <a:pt x="380" y="349"/>
                </a:cubicBezTo>
                <a:cubicBezTo>
                  <a:pt x="380" y="349"/>
                  <a:pt x="380" y="349"/>
                  <a:pt x="380" y="350"/>
                </a:cubicBezTo>
                <a:cubicBezTo>
                  <a:pt x="380" y="349"/>
                  <a:pt x="380" y="349"/>
                  <a:pt x="381" y="349"/>
                </a:cubicBezTo>
                <a:cubicBezTo>
                  <a:pt x="380" y="348"/>
                  <a:pt x="380" y="349"/>
                  <a:pt x="379" y="349"/>
                </a:cubicBezTo>
                <a:cubicBezTo>
                  <a:pt x="379" y="349"/>
                  <a:pt x="378" y="348"/>
                  <a:pt x="378" y="348"/>
                </a:cubicBezTo>
                <a:cubicBezTo>
                  <a:pt x="377" y="348"/>
                  <a:pt x="376" y="348"/>
                  <a:pt x="375" y="348"/>
                </a:cubicBezTo>
                <a:cubicBezTo>
                  <a:pt x="376" y="348"/>
                  <a:pt x="376" y="348"/>
                  <a:pt x="376" y="348"/>
                </a:cubicBezTo>
                <a:cubicBezTo>
                  <a:pt x="376" y="348"/>
                  <a:pt x="373" y="348"/>
                  <a:pt x="373" y="348"/>
                </a:cubicBezTo>
                <a:cubicBezTo>
                  <a:pt x="373" y="348"/>
                  <a:pt x="373" y="347"/>
                  <a:pt x="373" y="347"/>
                </a:cubicBezTo>
                <a:cubicBezTo>
                  <a:pt x="372" y="347"/>
                  <a:pt x="371" y="348"/>
                  <a:pt x="370" y="348"/>
                </a:cubicBezTo>
                <a:cubicBezTo>
                  <a:pt x="369" y="348"/>
                  <a:pt x="367" y="347"/>
                  <a:pt x="366" y="347"/>
                </a:cubicBezTo>
                <a:cubicBezTo>
                  <a:pt x="366" y="347"/>
                  <a:pt x="366" y="347"/>
                  <a:pt x="366" y="347"/>
                </a:cubicBezTo>
                <a:cubicBezTo>
                  <a:pt x="365" y="347"/>
                  <a:pt x="365" y="347"/>
                  <a:pt x="365" y="347"/>
                </a:cubicBezTo>
                <a:cubicBezTo>
                  <a:pt x="365" y="347"/>
                  <a:pt x="364" y="347"/>
                  <a:pt x="363" y="347"/>
                </a:cubicBezTo>
                <a:cubicBezTo>
                  <a:pt x="363" y="346"/>
                  <a:pt x="363" y="346"/>
                  <a:pt x="363" y="346"/>
                </a:cubicBezTo>
                <a:cubicBezTo>
                  <a:pt x="362" y="346"/>
                  <a:pt x="361" y="346"/>
                  <a:pt x="361" y="346"/>
                </a:cubicBezTo>
                <a:cubicBezTo>
                  <a:pt x="361" y="345"/>
                  <a:pt x="362" y="345"/>
                  <a:pt x="362" y="345"/>
                </a:cubicBezTo>
                <a:cubicBezTo>
                  <a:pt x="362" y="344"/>
                  <a:pt x="362" y="344"/>
                  <a:pt x="362" y="344"/>
                </a:cubicBezTo>
                <a:cubicBezTo>
                  <a:pt x="361" y="344"/>
                  <a:pt x="360" y="344"/>
                  <a:pt x="360" y="344"/>
                </a:cubicBezTo>
                <a:cubicBezTo>
                  <a:pt x="359" y="344"/>
                  <a:pt x="359" y="344"/>
                  <a:pt x="359" y="345"/>
                </a:cubicBezTo>
                <a:cubicBezTo>
                  <a:pt x="358" y="345"/>
                  <a:pt x="358" y="343"/>
                  <a:pt x="359" y="343"/>
                </a:cubicBezTo>
                <a:cubicBezTo>
                  <a:pt x="359" y="343"/>
                  <a:pt x="360" y="343"/>
                  <a:pt x="360" y="342"/>
                </a:cubicBezTo>
                <a:cubicBezTo>
                  <a:pt x="360" y="342"/>
                  <a:pt x="361" y="341"/>
                  <a:pt x="360" y="342"/>
                </a:cubicBezTo>
                <a:cubicBezTo>
                  <a:pt x="360" y="342"/>
                  <a:pt x="360" y="342"/>
                  <a:pt x="359" y="342"/>
                </a:cubicBezTo>
                <a:cubicBezTo>
                  <a:pt x="359" y="341"/>
                  <a:pt x="361" y="341"/>
                  <a:pt x="361" y="341"/>
                </a:cubicBezTo>
                <a:cubicBezTo>
                  <a:pt x="362" y="341"/>
                  <a:pt x="362" y="340"/>
                  <a:pt x="361" y="340"/>
                </a:cubicBezTo>
                <a:cubicBezTo>
                  <a:pt x="360" y="339"/>
                  <a:pt x="360" y="340"/>
                  <a:pt x="360" y="340"/>
                </a:cubicBezTo>
                <a:cubicBezTo>
                  <a:pt x="360" y="340"/>
                  <a:pt x="360" y="340"/>
                  <a:pt x="360" y="339"/>
                </a:cubicBezTo>
                <a:cubicBezTo>
                  <a:pt x="359" y="339"/>
                  <a:pt x="359" y="339"/>
                  <a:pt x="359" y="339"/>
                </a:cubicBezTo>
                <a:cubicBezTo>
                  <a:pt x="359" y="339"/>
                  <a:pt x="359" y="338"/>
                  <a:pt x="360" y="338"/>
                </a:cubicBezTo>
                <a:cubicBezTo>
                  <a:pt x="360" y="338"/>
                  <a:pt x="361" y="337"/>
                  <a:pt x="361" y="337"/>
                </a:cubicBezTo>
                <a:cubicBezTo>
                  <a:pt x="361" y="336"/>
                  <a:pt x="362" y="336"/>
                  <a:pt x="362" y="336"/>
                </a:cubicBezTo>
                <a:cubicBezTo>
                  <a:pt x="362" y="335"/>
                  <a:pt x="362" y="335"/>
                  <a:pt x="362" y="335"/>
                </a:cubicBezTo>
                <a:cubicBezTo>
                  <a:pt x="362" y="335"/>
                  <a:pt x="362" y="334"/>
                  <a:pt x="361" y="334"/>
                </a:cubicBezTo>
                <a:cubicBezTo>
                  <a:pt x="361" y="334"/>
                  <a:pt x="360" y="334"/>
                  <a:pt x="360" y="333"/>
                </a:cubicBezTo>
                <a:cubicBezTo>
                  <a:pt x="360" y="333"/>
                  <a:pt x="360" y="332"/>
                  <a:pt x="360" y="332"/>
                </a:cubicBezTo>
                <a:cubicBezTo>
                  <a:pt x="360" y="332"/>
                  <a:pt x="361" y="331"/>
                  <a:pt x="362" y="331"/>
                </a:cubicBezTo>
                <a:cubicBezTo>
                  <a:pt x="362" y="330"/>
                  <a:pt x="362" y="330"/>
                  <a:pt x="362" y="330"/>
                </a:cubicBezTo>
                <a:cubicBezTo>
                  <a:pt x="363" y="329"/>
                  <a:pt x="363" y="329"/>
                  <a:pt x="363" y="329"/>
                </a:cubicBezTo>
                <a:cubicBezTo>
                  <a:pt x="363" y="328"/>
                  <a:pt x="361" y="328"/>
                  <a:pt x="361" y="329"/>
                </a:cubicBezTo>
                <a:cubicBezTo>
                  <a:pt x="359" y="329"/>
                  <a:pt x="356" y="330"/>
                  <a:pt x="355" y="328"/>
                </a:cubicBezTo>
                <a:cubicBezTo>
                  <a:pt x="354" y="327"/>
                  <a:pt x="354" y="326"/>
                  <a:pt x="354" y="324"/>
                </a:cubicBezTo>
                <a:cubicBezTo>
                  <a:pt x="354" y="324"/>
                  <a:pt x="355" y="322"/>
                  <a:pt x="354" y="322"/>
                </a:cubicBezTo>
                <a:cubicBezTo>
                  <a:pt x="354" y="322"/>
                  <a:pt x="354" y="321"/>
                  <a:pt x="354" y="321"/>
                </a:cubicBezTo>
                <a:cubicBezTo>
                  <a:pt x="354" y="321"/>
                  <a:pt x="354" y="321"/>
                  <a:pt x="354" y="321"/>
                </a:cubicBezTo>
                <a:cubicBezTo>
                  <a:pt x="354" y="321"/>
                  <a:pt x="354" y="320"/>
                  <a:pt x="354" y="320"/>
                </a:cubicBezTo>
                <a:cubicBezTo>
                  <a:pt x="354" y="320"/>
                  <a:pt x="353" y="320"/>
                  <a:pt x="352" y="320"/>
                </a:cubicBezTo>
                <a:cubicBezTo>
                  <a:pt x="353" y="319"/>
                  <a:pt x="351" y="320"/>
                  <a:pt x="351" y="320"/>
                </a:cubicBezTo>
                <a:cubicBezTo>
                  <a:pt x="350" y="320"/>
                  <a:pt x="350" y="320"/>
                  <a:pt x="350" y="320"/>
                </a:cubicBezTo>
                <a:cubicBezTo>
                  <a:pt x="349" y="320"/>
                  <a:pt x="350" y="320"/>
                  <a:pt x="349" y="320"/>
                </a:cubicBezTo>
                <a:cubicBezTo>
                  <a:pt x="348" y="320"/>
                  <a:pt x="347" y="320"/>
                  <a:pt x="347" y="320"/>
                </a:cubicBezTo>
                <a:cubicBezTo>
                  <a:pt x="346" y="319"/>
                  <a:pt x="346" y="319"/>
                  <a:pt x="345" y="319"/>
                </a:cubicBezTo>
                <a:cubicBezTo>
                  <a:pt x="345" y="319"/>
                  <a:pt x="345" y="319"/>
                  <a:pt x="345" y="319"/>
                </a:cubicBezTo>
                <a:cubicBezTo>
                  <a:pt x="345" y="319"/>
                  <a:pt x="345" y="319"/>
                  <a:pt x="344" y="319"/>
                </a:cubicBezTo>
                <a:cubicBezTo>
                  <a:pt x="344" y="319"/>
                  <a:pt x="343" y="318"/>
                  <a:pt x="343" y="318"/>
                </a:cubicBezTo>
                <a:cubicBezTo>
                  <a:pt x="343" y="318"/>
                  <a:pt x="341" y="318"/>
                  <a:pt x="342" y="317"/>
                </a:cubicBezTo>
                <a:cubicBezTo>
                  <a:pt x="342" y="317"/>
                  <a:pt x="340" y="318"/>
                  <a:pt x="340" y="318"/>
                </a:cubicBezTo>
                <a:cubicBezTo>
                  <a:pt x="340" y="318"/>
                  <a:pt x="339" y="319"/>
                  <a:pt x="339" y="319"/>
                </a:cubicBezTo>
                <a:cubicBezTo>
                  <a:pt x="339" y="319"/>
                  <a:pt x="340" y="319"/>
                  <a:pt x="340" y="320"/>
                </a:cubicBezTo>
                <a:cubicBezTo>
                  <a:pt x="340" y="320"/>
                  <a:pt x="338" y="322"/>
                  <a:pt x="338" y="322"/>
                </a:cubicBezTo>
                <a:cubicBezTo>
                  <a:pt x="338" y="322"/>
                  <a:pt x="338" y="322"/>
                  <a:pt x="338" y="321"/>
                </a:cubicBezTo>
                <a:cubicBezTo>
                  <a:pt x="338" y="321"/>
                  <a:pt x="337" y="322"/>
                  <a:pt x="337" y="322"/>
                </a:cubicBezTo>
                <a:cubicBezTo>
                  <a:pt x="337" y="322"/>
                  <a:pt x="337" y="321"/>
                  <a:pt x="337" y="321"/>
                </a:cubicBezTo>
                <a:cubicBezTo>
                  <a:pt x="337" y="321"/>
                  <a:pt x="337" y="322"/>
                  <a:pt x="337" y="322"/>
                </a:cubicBezTo>
                <a:cubicBezTo>
                  <a:pt x="337" y="322"/>
                  <a:pt x="336" y="322"/>
                  <a:pt x="336" y="322"/>
                </a:cubicBezTo>
                <a:cubicBezTo>
                  <a:pt x="335" y="322"/>
                  <a:pt x="335" y="324"/>
                  <a:pt x="334" y="324"/>
                </a:cubicBezTo>
                <a:cubicBezTo>
                  <a:pt x="335" y="322"/>
                  <a:pt x="336" y="322"/>
                  <a:pt x="337" y="321"/>
                </a:cubicBezTo>
                <a:cubicBezTo>
                  <a:pt x="339" y="320"/>
                  <a:pt x="338" y="318"/>
                  <a:pt x="337" y="320"/>
                </a:cubicBezTo>
                <a:cubicBezTo>
                  <a:pt x="336" y="320"/>
                  <a:pt x="336" y="320"/>
                  <a:pt x="336" y="321"/>
                </a:cubicBezTo>
                <a:cubicBezTo>
                  <a:pt x="336" y="321"/>
                  <a:pt x="336" y="321"/>
                  <a:pt x="336" y="321"/>
                </a:cubicBezTo>
                <a:cubicBezTo>
                  <a:pt x="335" y="322"/>
                  <a:pt x="335" y="322"/>
                  <a:pt x="334" y="322"/>
                </a:cubicBezTo>
                <a:cubicBezTo>
                  <a:pt x="334" y="323"/>
                  <a:pt x="333" y="323"/>
                  <a:pt x="333" y="323"/>
                </a:cubicBezTo>
                <a:cubicBezTo>
                  <a:pt x="333" y="323"/>
                  <a:pt x="333" y="324"/>
                  <a:pt x="333" y="324"/>
                </a:cubicBezTo>
                <a:cubicBezTo>
                  <a:pt x="332" y="325"/>
                  <a:pt x="331" y="324"/>
                  <a:pt x="330" y="325"/>
                </a:cubicBezTo>
                <a:cubicBezTo>
                  <a:pt x="331" y="324"/>
                  <a:pt x="333" y="322"/>
                  <a:pt x="333" y="322"/>
                </a:cubicBezTo>
                <a:cubicBezTo>
                  <a:pt x="333" y="322"/>
                  <a:pt x="332" y="322"/>
                  <a:pt x="332" y="322"/>
                </a:cubicBezTo>
                <a:cubicBezTo>
                  <a:pt x="331" y="323"/>
                  <a:pt x="330" y="323"/>
                  <a:pt x="330" y="323"/>
                </a:cubicBezTo>
                <a:cubicBezTo>
                  <a:pt x="329" y="323"/>
                  <a:pt x="328" y="323"/>
                  <a:pt x="328" y="324"/>
                </a:cubicBezTo>
                <a:cubicBezTo>
                  <a:pt x="328" y="324"/>
                  <a:pt x="328" y="325"/>
                  <a:pt x="328" y="325"/>
                </a:cubicBezTo>
                <a:cubicBezTo>
                  <a:pt x="328" y="325"/>
                  <a:pt x="328" y="325"/>
                  <a:pt x="328" y="325"/>
                </a:cubicBezTo>
                <a:cubicBezTo>
                  <a:pt x="327" y="326"/>
                  <a:pt x="327" y="326"/>
                  <a:pt x="326" y="327"/>
                </a:cubicBezTo>
                <a:cubicBezTo>
                  <a:pt x="326" y="327"/>
                  <a:pt x="325" y="327"/>
                  <a:pt x="325" y="327"/>
                </a:cubicBezTo>
                <a:cubicBezTo>
                  <a:pt x="325" y="327"/>
                  <a:pt x="324" y="328"/>
                  <a:pt x="324" y="328"/>
                </a:cubicBezTo>
                <a:cubicBezTo>
                  <a:pt x="324" y="328"/>
                  <a:pt x="323" y="328"/>
                  <a:pt x="323" y="328"/>
                </a:cubicBezTo>
                <a:cubicBezTo>
                  <a:pt x="322" y="328"/>
                  <a:pt x="322" y="328"/>
                  <a:pt x="321" y="328"/>
                </a:cubicBezTo>
                <a:cubicBezTo>
                  <a:pt x="321" y="328"/>
                  <a:pt x="320" y="328"/>
                  <a:pt x="320" y="328"/>
                </a:cubicBezTo>
                <a:cubicBezTo>
                  <a:pt x="320" y="328"/>
                  <a:pt x="320" y="328"/>
                  <a:pt x="320" y="328"/>
                </a:cubicBezTo>
                <a:cubicBezTo>
                  <a:pt x="320" y="328"/>
                  <a:pt x="320" y="328"/>
                  <a:pt x="320" y="328"/>
                </a:cubicBezTo>
                <a:cubicBezTo>
                  <a:pt x="320" y="327"/>
                  <a:pt x="319" y="327"/>
                  <a:pt x="319" y="327"/>
                </a:cubicBezTo>
                <a:cubicBezTo>
                  <a:pt x="318" y="327"/>
                  <a:pt x="317" y="327"/>
                  <a:pt x="316" y="327"/>
                </a:cubicBezTo>
                <a:cubicBezTo>
                  <a:pt x="315" y="327"/>
                  <a:pt x="314" y="327"/>
                  <a:pt x="314" y="327"/>
                </a:cubicBezTo>
                <a:cubicBezTo>
                  <a:pt x="314" y="327"/>
                  <a:pt x="313" y="327"/>
                  <a:pt x="313" y="327"/>
                </a:cubicBezTo>
                <a:cubicBezTo>
                  <a:pt x="314" y="326"/>
                  <a:pt x="313" y="327"/>
                  <a:pt x="313" y="326"/>
                </a:cubicBezTo>
                <a:cubicBezTo>
                  <a:pt x="313" y="326"/>
                  <a:pt x="314" y="325"/>
                  <a:pt x="313" y="326"/>
                </a:cubicBezTo>
                <a:cubicBezTo>
                  <a:pt x="312" y="326"/>
                  <a:pt x="311" y="326"/>
                  <a:pt x="311" y="327"/>
                </a:cubicBezTo>
                <a:cubicBezTo>
                  <a:pt x="310" y="327"/>
                  <a:pt x="308" y="328"/>
                  <a:pt x="306" y="328"/>
                </a:cubicBezTo>
                <a:cubicBezTo>
                  <a:pt x="306" y="328"/>
                  <a:pt x="307" y="327"/>
                  <a:pt x="307" y="327"/>
                </a:cubicBezTo>
                <a:cubicBezTo>
                  <a:pt x="306" y="327"/>
                  <a:pt x="306" y="327"/>
                  <a:pt x="306" y="327"/>
                </a:cubicBezTo>
                <a:cubicBezTo>
                  <a:pt x="306" y="327"/>
                  <a:pt x="306" y="326"/>
                  <a:pt x="306" y="326"/>
                </a:cubicBezTo>
                <a:cubicBezTo>
                  <a:pt x="305" y="326"/>
                  <a:pt x="304" y="326"/>
                  <a:pt x="304" y="325"/>
                </a:cubicBezTo>
                <a:cubicBezTo>
                  <a:pt x="304" y="325"/>
                  <a:pt x="304" y="324"/>
                  <a:pt x="303" y="324"/>
                </a:cubicBezTo>
                <a:cubicBezTo>
                  <a:pt x="302" y="324"/>
                  <a:pt x="302" y="325"/>
                  <a:pt x="302" y="325"/>
                </a:cubicBezTo>
                <a:cubicBezTo>
                  <a:pt x="301" y="325"/>
                  <a:pt x="301" y="326"/>
                  <a:pt x="301" y="326"/>
                </a:cubicBezTo>
                <a:cubicBezTo>
                  <a:pt x="300" y="326"/>
                  <a:pt x="301" y="324"/>
                  <a:pt x="301" y="324"/>
                </a:cubicBezTo>
                <a:cubicBezTo>
                  <a:pt x="301" y="323"/>
                  <a:pt x="300" y="323"/>
                  <a:pt x="300" y="324"/>
                </a:cubicBezTo>
                <a:cubicBezTo>
                  <a:pt x="300" y="324"/>
                  <a:pt x="299" y="324"/>
                  <a:pt x="299" y="323"/>
                </a:cubicBezTo>
                <a:cubicBezTo>
                  <a:pt x="299" y="323"/>
                  <a:pt x="300" y="323"/>
                  <a:pt x="300" y="323"/>
                </a:cubicBezTo>
                <a:cubicBezTo>
                  <a:pt x="300" y="323"/>
                  <a:pt x="299" y="322"/>
                  <a:pt x="299" y="322"/>
                </a:cubicBezTo>
                <a:cubicBezTo>
                  <a:pt x="298" y="322"/>
                  <a:pt x="298" y="322"/>
                  <a:pt x="297" y="322"/>
                </a:cubicBezTo>
                <a:cubicBezTo>
                  <a:pt x="296" y="322"/>
                  <a:pt x="296" y="321"/>
                  <a:pt x="295" y="322"/>
                </a:cubicBezTo>
                <a:cubicBezTo>
                  <a:pt x="294" y="322"/>
                  <a:pt x="294" y="322"/>
                  <a:pt x="293" y="322"/>
                </a:cubicBezTo>
                <a:cubicBezTo>
                  <a:pt x="293" y="323"/>
                  <a:pt x="290" y="323"/>
                  <a:pt x="290" y="322"/>
                </a:cubicBezTo>
                <a:cubicBezTo>
                  <a:pt x="291" y="321"/>
                  <a:pt x="288" y="321"/>
                  <a:pt x="288" y="321"/>
                </a:cubicBezTo>
                <a:cubicBezTo>
                  <a:pt x="287" y="321"/>
                  <a:pt x="287" y="321"/>
                  <a:pt x="287" y="321"/>
                </a:cubicBezTo>
                <a:cubicBezTo>
                  <a:pt x="286" y="321"/>
                  <a:pt x="285" y="321"/>
                  <a:pt x="285" y="321"/>
                </a:cubicBezTo>
                <a:cubicBezTo>
                  <a:pt x="284" y="320"/>
                  <a:pt x="284" y="320"/>
                  <a:pt x="284" y="319"/>
                </a:cubicBezTo>
                <a:cubicBezTo>
                  <a:pt x="285" y="318"/>
                  <a:pt x="285" y="318"/>
                  <a:pt x="285" y="317"/>
                </a:cubicBezTo>
                <a:cubicBezTo>
                  <a:pt x="285" y="316"/>
                  <a:pt x="287" y="314"/>
                  <a:pt x="285" y="314"/>
                </a:cubicBezTo>
                <a:cubicBezTo>
                  <a:pt x="285" y="314"/>
                  <a:pt x="284" y="314"/>
                  <a:pt x="284" y="314"/>
                </a:cubicBezTo>
                <a:cubicBezTo>
                  <a:pt x="283" y="314"/>
                  <a:pt x="283" y="315"/>
                  <a:pt x="283" y="315"/>
                </a:cubicBezTo>
                <a:cubicBezTo>
                  <a:pt x="282" y="316"/>
                  <a:pt x="282" y="318"/>
                  <a:pt x="281" y="318"/>
                </a:cubicBezTo>
                <a:cubicBezTo>
                  <a:pt x="279" y="318"/>
                  <a:pt x="278" y="318"/>
                  <a:pt x="276" y="318"/>
                </a:cubicBezTo>
                <a:cubicBezTo>
                  <a:pt x="275" y="318"/>
                  <a:pt x="273" y="318"/>
                  <a:pt x="271" y="318"/>
                </a:cubicBezTo>
                <a:cubicBezTo>
                  <a:pt x="269" y="318"/>
                  <a:pt x="266" y="318"/>
                  <a:pt x="264" y="318"/>
                </a:cubicBezTo>
                <a:cubicBezTo>
                  <a:pt x="255" y="318"/>
                  <a:pt x="247" y="318"/>
                  <a:pt x="238" y="318"/>
                </a:cubicBezTo>
                <a:cubicBezTo>
                  <a:pt x="205" y="318"/>
                  <a:pt x="171" y="318"/>
                  <a:pt x="137" y="318"/>
                </a:cubicBezTo>
                <a:cubicBezTo>
                  <a:pt x="121" y="318"/>
                  <a:pt x="104" y="318"/>
                  <a:pt x="87" y="318"/>
                </a:cubicBezTo>
                <a:cubicBezTo>
                  <a:pt x="79" y="318"/>
                  <a:pt x="71" y="318"/>
                  <a:pt x="63" y="318"/>
                </a:cubicBezTo>
                <a:cubicBezTo>
                  <a:pt x="58" y="318"/>
                  <a:pt x="54" y="318"/>
                  <a:pt x="50" y="318"/>
                </a:cubicBezTo>
                <a:cubicBezTo>
                  <a:pt x="49" y="318"/>
                  <a:pt x="48" y="318"/>
                  <a:pt x="47" y="317"/>
                </a:cubicBezTo>
                <a:cubicBezTo>
                  <a:pt x="46" y="317"/>
                  <a:pt x="47" y="317"/>
                  <a:pt x="47" y="317"/>
                </a:cubicBezTo>
                <a:cubicBezTo>
                  <a:pt x="47" y="316"/>
                  <a:pt x="44" y="318"/>
                  <a:pt x="44" y="318"/>
                </a:cubicBezTo>
                <a:cubicBezTo>
                  <a:pt x="44" y="317"/>
                  <a:pt x="44" y="317"/>
                  <a:pt x="45" y="317"/>
                </a:cubicBezTo>
                <a:cubicBezTo>
                  <a:pt x="45" y="317"/>
                  <a:pt x="46" y="316"/>
                  <a:pt x="46" y="316"/>
                </a:cubicBezTo>
                <a:cubicBezTo>
                  <a:pt x="46" y="316"/>
                  <a:pt x="45" y="317"/>
                  <a:pt x="44" y="316"/>
                </a:cubicBezTo>
                <a:cubicBezTo>
                  <a:pt x="44" y="316"/>
                  <a:pt x="45" y="315"/>
                  <a:pt x="46" y="315"/>
                </a:cubicBezTo>
                <a:cubicBezTo>
                  <a:pt x="45" y="315"/>
                  <a:pt x="45" y="315"/>
                  <a:pt x="45" y="315"/>
                </a:cubicBezTo>
                <a:cubicBezTo>
                  <a:pt x="46" y="315"/>
                  <a:pt x="46" y="314"/>
                  <a:pt x="46" y="314"/>
                </a:cubicBezTo>
                <a:cubicBezTo>
                  <a:pt x="47" y="314"/>
                  <a:pt x="47" y="315"/>
                  <a:pt x="48" y="314"/>
                </a:cubicBezTo>
                <a:cubicBezTo>
                  <a:pt x="49" y="314"/>
                  <a:pt x="50" y="313"/>
                  <a:pt x="50" y="313"/>
                </a:cubicBezTo>
                <a:cubicBezTo>
                  <a:pt x="49" y="313"/>
                  <a:pt x="49" y="314"/>
                  <a:pt x="48" y="314"/>
                </a:cubicBezTo>
                <a:cubicBezTo>
                  <a:pt x="47" y="315"/>
                  <a:pt x="46" y="314"/>
                  <a:pt x="45" y="314"/>
                </a:cubicBezTo>
                <a:cubicBezTo>
                  <a:pt x="46" y="313"/>
                  <a:pt x="46" y="313"/>
                  <a:pt x="47" y="313"/>
                </a:cubicBezTo>
                <a:cubicBezTo>
                  <a:pt x="47" y="312"/>
                  <a:pt x="47" y="312"/>
                  <a:pt x="47" y="312"/>
                </a:cubicBezTo>
                <a:cubicBezTo>
                  <a:pt x="48" y="311"/>
                  <a:pt x="49" y="311"/>
                  <a:pt x="49" y="310"/>
                </a:cubicBezTo>
                <a:cubicBezTo>
                  <a:pt x="49" y="310"/>
                  <a:pt x="48" y="310"/>
                  <a:pt x="48" y="311"/>
                </a:cubicBezTo>
                <a:cubicBezTo>
                  <a:pt x="48" y="311"/>
                  <a:pt x="48" y="311"/>
                  <a:pt x="47" y="311"/>
                </a:cubicBezTo>
                <a:cubicBezTo>
                  <a:pt x="46" y="312"/>
                  <a:pt x="46" y="312"/>
                  <a:pt x="45" y="312"/>
                </a:cubicBezTo>
                <a:cubicBezTo>
                  <a:pt x="44" y="312"/>
                  <a:pt x="44" y="314"/>
                  <a:pt x="43" y="313"/>
                </a:cubicBezTo>
                <a:cubicBezTo>
                  <a:pt x="43" y="313"/>
                  <a:pt x="43" y="313"/>
                  <a:pt x="42" y="313"/>
                </a:cubicBezTo>
                <a:cubicBezTo>
                  <a:pt x="42" y="313"/>
                  <a:pt x="42" y="313"/>
                  <a:pt x="42" y="313"/>
                </a:cubicBezTo>
                <a:cubicBezTo>
                  <a:pt x="40" y="312"/>
                  <a:pt x="41" y="310"/>
                  <a:pt x="42" y="310"/>
                </a:cubicBezTo>
                <a:cubicBezTo>
                  <a:pt x="44" y="309"/>
                  <a:pt x="42" y="312"/>
                  <a:pt x="43" y="312"/>
                </a:cubicBezTo>
                <a:cubicBezTo>
                  <a:pt x="43" y="312"/>
                  <a:pt x="44" y="311"/>
                  <a:pt x="44" y="311"/>
                </a:cubicBezTo>
                <a:cubicBezTo>
                  <a:pt x="45" y="311"/>
                  <a:pt x="46" y="311"/>
                  <a:pt x="46" y="310"/>
                </a:cubicBezTo>
                <a:cubicBezTo>
                  <a:pt x="45" y="310"/>
                  <a:pt x="43" y="311"/>
                  <a:pt x="43" y="310"/>
                </a:cubicBezTo>
                <a:cubicBezTo>
                  <a:pt x="43" y="310"/>
                  <a:pt x="43" y="309"/>
                  <a:pt x="44" y="309"/>
                </a:cubicBezTo>
                <a:cubicBezTo>
                  <a:pt x="44" y="309"/>
                  <a:pt x="44" y="309"/>
                  <a:pt x="45" y="308"/>
                </a:cubicBezTo>
                <a:cubicBezTo>
                  <a:pt x="45" y="308"/>
                  <a:pt x="44" y="307"/>
                  <a:pt x="45" y="307"/>
                </a:cubicBezTo>
                <a:cubicBezTo>
                  <a:pt x="45" y="307"/>
                  <a:pt x="45" y="307"/>
                  <a:pt x="45" y="307"/>
                </a:cubicBezTo>
                <a:cubicBezTo>
                  <a:pt x="46" y="307"/>
                  <a:pt x="47" y="306"/>
                  <a:pt x="47" y="306"/>
                </a:cubicBezTo>
                <a:cubicBezTo>
                  <a:pt x="48" y="305"/>
                  <a:pt x="46" y="305"/>
                  <a:pt x="46" y="305"/>
                </a:cubicBezTo>
                <a:cubicBezTo>
                  <a:pt x="46" y="305"/>
                  <a:pt x="47" y="305"/>
                  <a:pt x="47" y="306"/>
                </a:cubicBezTo>
                <a:cubicBezTo>
                  <a:pt x="47" y="306"/>
                  <a:pt x="46" y="306"/>
                  <a:pt x="45" y="306"/>
                </a:cubicBezTo>
                <a:cubicBezTo>
                  <a:pt x="45" y="307"/>
                  <a:pt x="44" y="307"/>
                  <a:pt x="44" y="307"/>
                </a:cubicBezTo>
                <a:cubicBezTo>
                  <a:pt x="44" y="308"/>
                  <a:pt x="44" y="308"/>
                  <a:pt x="44" y="309"/>
                </a:cubicBezTo>
                <a:cubicBezTo>
                  <a:pt x="43" y="310"/>
                  <a:pt x="43" y="308"/>
                  <a:pt x="44" y="308"/>
                </a:cubicBezTo>
                <a:cubicBezTo>
                  <a:pt x="43" y="308"/>
                  <a:pt x="43" y="308"/>
                  <a:pt x="42" y="309"/>
                </a:cubicBezTo>
                <a:cubicBezTo>
                  <a:pt x="42" y="309"/>
                  <a:pt x="41" y="309"/>
                  <a:pt x="41" y="309"/>
                </a:cubicBezTo>
                <a:cubicBezTo>
                  <a:pt x="40" y="309"/>
                  <a:pt x="40" y="310"/>
                  <a:pt x="40" y="309"/>
                </a:cubicBezTo>
                <a:cubicBezTo>
                  <a:pt x="40" y="309"/>
                  <a:pt x="39" y="309"/>
                  <a:pt x="39" y="309"/>
                </a:cubicBezTo>
                <a:cubicBezTo>
                  <a:pt x="38" y="309"/>
                  <a:pt x="39" y="309"/>
                  <a:pt x="39" y="308"/>
                </a:cubicBezTo>
                <a:cubicBezTo>
                  <a:pt x="38" y="308"/>
                  <a:pt x="38" y="307"/>
                  <a:pt x="38" y="307"/>
                </a:cubicBezTo>
                <a:cubicBezTo>
                  <a:pt x="38" y="306"/>
                  <a:pt x="38" y="306"/>
                  <a:pt x="39" y="307"/>
                </a:cubicBezTo>
                <a:cubicBezTo>
                  <a:pt x="39" y="306"/>
                  <a:pt x="40" y="306"/>
                  <a:pt x="41" y="305"/>
                </a:cubicBezTo>
                <a:cubicBezTo>
                  <a:pt x="41" y="305"/>
                  <a:pt x="42" y="304"/>
                  <a:pt x="41" y="303"/>
                </a:cubicBezTo>
                <a:cubicBezTo>
                  <a:pt x="41" y="303"/>
                  <a:pt x="42" y="303"/>
                  <a:pt x="42" y="303"/>
                </a:cubicBezTo>
                <a:cubicBezTo>
                  <a:pt x="42" y="303"/>
                  <a:pt x="43" y="303"/>
                  <a:pt x="43" y="303"/>
                </a:cubicBezTo>
                <a:cubicBezTo>
                  <a:pt x="44" y="303"/>
                  <a:pt x="45" y="302"/>
                  <a:pt x="46" y="302"/>
                </a:cubicBezTo>
                <a:cubicBezTo>
                  <a:pt x="45" y="301"/>
                  <a:pt x="44" y="302"/>
                  <a:pt x="44" y="302"/>
                </a:cubicBezTo>
                <a:cubicBezTo>
                  <a:pt x="43" y="302"/>
                  <a:pt x="43" y="302"/>
                  <a:pt x="42" y="302"/>
                </a:cubicBezTo>
                <a:cubicBezTo>
                  <a:pt x="41" y="303"/>
                  <a:pt x="41" y="304"/>
                  <a:pt x="40" y="304"/>
                </a:cubicBezTo>
                <a:cubicBezTo>
                  <a:pt x="38" y="304"/>
                  <a:pt x="40" y="302"/>
                  <a:pt x="40" y="302"/>
                </a:cubicBezTo>
                <a:cubicBezTo>
                  <a:pt x="40" y="302"/>
                  <a:pt x="38" y="304"/>
                  <a:pt x="38" y="303"/>
                </a:cubicBezTo>
                <a:cubicBezTo>
                  <a:pt x="38" y="303"/>
                  <a:pt x="39" y="303"/>
                  <a:pt x="39" y="302"/>
                </a:cubicBezTo>
                <a:cubicBezTo>
                  <a:pt x="39" y="302"/>
                  <a:pt x="40" y="302"/>
                  <a:pt x="40" y="302"/>
                </a:cubicBezTo>
                <a:cubicBezTo>
                  <a:pt x="41" y="301"/>
                  <a:pt x="42" y="300"/>
                  <a:pt x="43" y="300"/>
                </a:cubicBezTo>
                <a:cubicBezTo>
                  <a:pt x="43" y="299"/>
                  <a:pt x="43" y="299"/>
                  <a:pt x="44" y="298"/>
                </a:cubicBezTo>
                <a:cubicBezTo>
                  <a:pt x="44" y="298"/>
                  <a:pt x="45" y="298"/>
                  <a:pt x="45" y="298"/>
                </a:cubicBezTo>
                <a:cubicBezTo>
                  <a:pt x="45" y="297"/>
                  <a:pt x="45" y="297"/>
                  <a:pt x="45" y="297"/>
                </a:cubicBezTo>
                <a:cubicBezTo>
                  <a:pt x="44" y="297"/>
                  <a:pt x="44" y="298"/>
                  <a:pt x="44" y="298"/>
                </a:cubicBezTo>
                <a:cubicBezTo>
                  <a:pt x="43" y="298"/>
                  <a:pt x="43" y="298"/>
                  <a:pt x="43" y="298"/>
                </a:cubicBezTo>
                <a:cubicBezTo>
                  <a:pt x="43" y="299"/>
                  <a:pt x="43" y="299"/>
                  <a:pt x="43" y="299"/>
                </a:cubicBezTo>
                <a:cubicBezTo>
                  <a:pt x="42" y="300"/>
                  <a:pt x="42" y="300"/>
                  <a:pt x="42" y="300"/>
                </a:cubicBezTo>
                <a:cubicBezTo>
                  <a:pt x="41" y="301"/>
                  <a:pt x="40" y="301"/>
                  <a:pt x="39" y="302"/>
                </a:cubicBezTo>
                <a:cubicBezTo>
                  <a:pt x="38" y="302"/>
                  <a:pt x="37" y="303"/>
                  <a:pt x="38" y="302"/>
                </a:cubicBezTo>
                <a:cubicBezTo>
                  <a:pt x="38" y="302"/>
                  <a:pt x="37" y="302"/>
                  <a:pt x="37" y="302"/>
                </a:cubicBezTo>
                <a:cubicBezTo>
                  <a:pt x="37" y="302"/>
                  <a:pt x="37" y="301"/>
                  <a:pt x="37" y="301"/>
                </a:cubicBezTo>
                <a:cubicBezTo>
                  <a:pt x="37" y="301"/>
                  <a:pt x="37" y="302"/>
                  <a:pt x="36" y="302"/>
                </a:cubicBezTo>
                <a:cubicBezTo>
                  <a:pt x="36" y="302"/>
                  <a:pt x="35" y="302"/>
                  <a:pt x="35" y="302"/>
                </a:cubicBezTo>
                <a:cubicBezTo>
                  <a:pt x="35" y="302"/>
                  <a:pt x="36" y="301"/>
                  <a:pt x="36" y="301"/>
                </a:cubicBezTo>
                <a:cubicBezTo>
                  <a:pt x="37" y="300"/>
                  <a:pt x="37" y="300"/>
                  <a:pt x="38" y="299"/>
                </a:cubicBezTo>
                <a:cubicBezTo>
                  <a:pt x="37" y="299"/>
                  <a:pt x="36" y="301"/>
                  <a:pt x="35" y="301"/>
                </a:cubicBezTo>
                <a:cubicBezTo>
                  <a:pt x="35" y="302"/>
                  <a:pt x="34" y="302"/>
                  <a:pt x="34" y="302"/>
                </a:cubicBezTo>
                <a:cubicBezTo>
                  <a:pt x="33" y="302"/>
                  <a:pt x="34" y="301"/>
                  <a:pt x="34" y="301"/>
                </a:cubicBezTo>
                <a:cubicBezTo>
                  <a:pt x="33" y="301"/>
                  <a:pt x="33" y="302"/>
                  <a:pt x="32" y="302"/>
                </a:cubicBezTo>
                <a:cubicBezTo>
                  <a:pt x="32" y="302"/>
                  <a:pt x="31" y="302"/>
                  <a:pt x="31" y="302"/>
                </a:cubicBezTo>
                <a:cubicBezTo>
                  <a:pt x="31" y="302"/>
                  <a:pt x="29" y="301"/>
                  <a:pt x="30" y="301"/>
                </a:cubicBezTo>
                <a:cubicBezTo>
                  <a:pt x="30" y="301"/>
                  <a:pt x="30" y="301"/>
                  <a:pt x="30" y="301"/>
                </a:cubicBezTo>
                <a:cubicBezTo>
                  <a:pt x="31" y="301"/>
                  <a:pt x="31" y="301"/>
                  <a:pt x="31" y="301"/>
                </a:cubicBezTo>
                <a:cubicBezTo>
                  <a:pt x="31" y="301"/>
                  <a:pt x="31" y="301"/>
                  <a:pt x="31" y="301"/>
                </a:cubicBezTo>
                <a:cubicBezTo>
                  <a:pt x="32" y="301"/>
                  <a:pt x="33" y="300"/>
                  <a:pt x="33" y="300"/>
                </a:cubicBezTo>
                <a:cubicBezTo>
                  <a:pt x="33" y="300"/>
                  <a:pt x="31" y="301"/>
                  <a:pt x="31" y="301"/>
                </a:cubicBezTo>
                <a:cubicBezTo>
                  <a:pt x="30" y="301"/>
                  <a:pt x="31" y="300"/>
                  <a:pt x="31" y="300"/>
                </a:cubicBezTo>
                <a:cubicBezTo>
                  <a:pt x="32" y="300"/>
                  <a:pt x="33" y="300"/>
                  <a:pt x="34" y="300"/>
                </a:cubicBezTo>
                <a:cubicBezTo>
                  <a:pt x="35" y="300"/>
                  <a:pt x="35" y="300"/>
                  <a:pt x="36" y="300"/>
                </a:cubicBezTo>
                <a:cubicBezTo>
                  <a:pt x="36" y="299"/>
                  <a:pt x="36" y="299"/>
                  <a:pt x="37" y="299"/>
                </a:cubicBezTo>
                <a:cubicBezTo>
                  <a:pt x="37" y="299"/>
                  <a:pt x="37" y="299"/>
                  <a:pt x="37" y="299"/>
                </a:cubicBezTo>
                <a:cubicBezTo>
                  <a:pt x="38" y="298"/>
                  <a:pt x="38" y="298"/>
                  <a:pt x="38" y="298"/>
                </a:cubicBezTo>
                <a:cubicBezTo>
                  <a:pt x="39" y="298"/>
                  <a:pt x="40" y="295"/>
                  <a:pt x="40" y="295"/>
                </a:cubicBezTo>
                <a:cubicBezTo>
                  <a:pt x="39" y="295"/>
                  <a:pt x="39" y="297"/>
                  <a:pt x="39" y="297"/>
                </a:cubicBezTo>
                <a:cubicBezTo>
                  <a:pt x="39" y="297"/>
                  <a:pt x="38" y="297"/>
                  <a:pt x="38" y="298"/>
                </a:cubicBezTo>
                <a:cubicBezTo>
                  <a:pt x="37" y="298"/>
                  <a:pt x="37" y="298"/>
                  <a:pt x="37" y="298"/>
                </a:cubicBezTo>
                <a:cubicBezTo>
                  <a:pt x="37" y="299"/>
                  <a:pt x="36" y="299"/>
                  <a:pt x="36" y="299"/>
                </a:cubicBezTo>
                <a:cubicBezTo>
                  <a:pt x="36" y="299"/>
                  <a:pt x="34" y="300"/>
                  <a:pt x="34" y="300"/>
                </a:cubicBezTo>
                <a:cubicBezTo>
                  <a:pt x="33" y="299"/>
                  <a:pt x="32" y="300"/>
                  <a:pt x="31" y="300"/>
                </a:cubicBezTo>
                <a:cubicBezTo>
                  <a:pt x="31" y="299"/>
                  <a:pt x="34" y="299"/>
                  <a:pt x="34" y="298"/>
                </a:cubicBezTo>
                <a:cubicBezTo>
                  <a:pt x="33" y="298"/>
                  <a:pt x="33" y="299"/>
                  <a:pt x="33" y="299"/>
                </a:cubicBezTo>
                <a:cubicBezTo>
                  <a:pt x="32" y="299"/>
                  <a:pt x="33" y="298"/>
                  <a:pt x="33" y="298"/>
                </a:cubicBezTo>
                <a:cubicBezTo>
                  <a:pt x="33" y="298"/>
                  <a:pt x="33" y="298"/>
                  <a:pt x="33" y="298"/>
                </a:cubicBezTo>
                <a:cubicBezTo>
                  <a:pt x="33" y="298"/>
                  <a:pt x="31" y="298"/>
                  <a:pt x="30" y="298"/>
                </a:cubicBezTo>
                <a:cubicBezTo>
                  <a:pt x="30" y="298"/>
                  <a:pt x="30" y="297"/>
                  <a:pt x="31" y="297"/>
                </a:cubicBezTo>
                <a:cubicBezTo>
                  <a:pt x="32" y="297"/>
                  <a:pt x="33" y="298"/>
                  <a:pt x="34" y="297"/>
                </a:cubicBezTo>
                <a:cubicBezTo>
                  <a:pt x="33" y="297"/>
                  <a:pt x="33" y="297"/>
                  <a:pt x="32" y="297"/>
                </a:cubicBezTo>
                <a:cubicBezTo>
                  <a:pt x="31" y="297"/>
                  <a:pt x="32" y="296"/>
                  <a:pt x="32" y="296"/>
                </a:cubicBezTo>
                <a:cubicBezTo>
                  <a:pt x="31" y="296"/>
                  <a:pt x="30" y="298"/>
                  <a:pt x="29" y="298"/>
                </a:cubicBezTo>
                <a:cubicBezTo>
                  <a:pt x="29" y="297"/>
                  <a:pt x="28" y="297"/>
                  <a:pt x="28" y="297"/>
                </a:cubicBezTo>
                <a:cubicBezTo>
                  <a:pt x="28" y="297"/>
                  <a:pt x="28" y="297"/>
                  <a:pt x="27" y="297"/>
                </a:cubicBezTo>
                <a:cubicBezTo>
                  <a:pt x="27" y="297"/>
                  <a:pt x="25" y="297"/>
                  <a:pt x="25" y="297"/>
                </a:cubicBezTo>
                <a:cubicBezTo>
                  <a:pt x="25" y="298"/>
                  <a:pt x="27" y="298"/>
                  <a:pt x="27" y="298"/>
                </a:cubicBezTo>
                <a:cubicBezTo>
                  <a:pt x="27" y="298"/>
                  <a:pt x="26" y="298"/>
                  <a:pt x="26" y="298"/>
                </a:cubicBezTo>
                <a:cubicBezTo>
                  <a:pt x="25" y="298"/>
                  <a:pt x="25" y="298"/>
                  <a:pt x="25" y="298"/>
                </a:cubicBezTo>
                <a:cubicBezTo>
                  <a:pt x="24" y="298"/>
                  <a:pt x="25" y="297"/>
                  <a:pt x="25" y="297"/>
                </a:cubicBezTo>
                <a:cubicBezTo>
                  <a:pt x="24" y="297"/>
                  <a:pt x="23" y="297"/>
                  <a:pt x="24" y="297"/>
                </a:cubicBezTo>
                <a:cubicBezTo>
                  <a:pt x="24" y="297"/>
                  <a:pt x="23" y="296"/>
                  <a:pt x="23" y="296"/>
                </a:cubicBezTo>
                <a:cubicBezTo>
                  <a:pt x="23" y="296"/>
                  <a:pt x="24" y="295"/>
                  <a:pt x="25" y="295"/>
                </a:cubicBezTo>
                <a:cubicBezTo>
                  <a:pt x="25" y="296"/>
                  <a:pt x="26" y="296"/>
                  <a:pt x="27" y="296"/>
                </a:cubicBezTo>
                <a:cubicBezTo>
                  <a:pt x="27" y="296"/>
                  <a:pt x="30" y="295"/>
                  <a:pt x="30" y="296"/>
                </a:cubicBezTo>
                <a:cubicBezTo>
                  <a:pt x="30" y="296"/>
                  <a:pt x="30" y="295"/>
                  <a:pt x="31" y="295"/>
                </a:cubicBezTo>
                <a:cubicBezTo>
                  <a:pt x="31" y="295"/>
                  <a:pt x="32" y="295"/>
                  <a:pt x="32" y="294"/>
                </a:cubicBezTo>
                <a:cubicBezTo>
                  <a:pt x="31" y="294"/>
                  <a:pt x="30" y="295"/>
                  <a:pt x="30" y="295"/>
                </a:cubicBezTo>
                <a:cubicBezTo>
                  <a:pt x="29" y="295"/>
                  <a:pt x="28" y="296"/>
                  <a:pt x="27" y="296"/>
                </a:cubicBezTo>
                <a:cubicBezTo>
                  <a:pt x="26" y="296"/>
                  <a:pt x="25" y="296"/>
                  <a:pt x="24" y="295"/>
                </a:cubicBezTo>
                <a:cubicBezTo>
                  <a:pt x="24" y="295"/>
                  <a:pt x="23" y="296"/>
                  <a:pt x="23" y="295"/>
                </a:cubicBezTo>
                <a:cubicBezTo>
                  <a:pt x="22" y="294"/>
                  <a:pt x="22" y="294"/>
                  <a:pt x="23" y="294"/>
                </a:cubicBezTo>
                <a:cubicBezTo>
                  <a:pt x="24" y="293"/>
                  <a:pt x="24" y="293"/>
                  <a:pt x="25" y="293"/>
                </a:cubicBezTo>
                <a:cubicBezTo>
                  <a:pt x="27" y="293"/>
                  <a:pt x="29" y="294"/>
                  <a:pt x="30" y="292"/>
                </a:cubicBezTo>
                <a:cubicBezTo>
                  <a:pt x="29" y="292"/>
                  <a:pt x="29" y="293"/>
                  <a:pt x="28" y="293"/>
                </a:cubicBezTo>
                <a:cubicBezTo>
                  <a:pt x="27" y="293"/>
                  <a:pt x="26" y="293"/>
                  <a:pt x="26" y="293"/>
                </a:cubicBezTo>
                <a:cubicBezTo>
                  <a:pt x="26" y="293"/>
                  <a:pt x="26" y="293"/>
                  <a:pt x="27" y="293"/>
                </a:cubicBezTo>
                <a:cubicBezTo>
                  <a:pt x="26" y="293"/>
                  <a:pt x="25" y="293"/>
                  <a:pt x="24" y="293"/>
                </a:cubicBezTo>
                <a:cubicBezTo>
                  <a:pt x="24" y="293"/>
                  <a:pt x="24" y="293"/>
                  <a:pt x="24" y="293"/>
                </a:cubicBezTo>
                <a:cubicBezTo>
                  <a:pt x="24" y="292"/>
                  <a:pt x="25" y="292"/>
                  <a:pt x="25" y="292"/>
                </a:cubicBezTo>
                <a:cubicBezTo>
                  <a:pt x="27" y="292"/>
                  <a:pt x="28" y="290"/>
                  <a:pt x="29" y="290"/>
                </a:cubicBezTo>
                <a:cubicBezTo>
                  <a:pt x="31" y="289"/>
                  <a:pt x="33" y="289"/>
                  <a:pt x="34" y="289"/>
                </a:cubicBezTo>
                <a:cubicBezTo>
                  <a:pt x="35" y="290"/>
                  <a:pt x="37" y="289"/>
                  <a:pt x="37" y="288"/>
                </a:cubicBezTo>
                <a:cubicBezTo>
                  <a:pt x="37" y="288"/>
                  <a:pt x="36" y="289"/>
                  <a:pt x="36" y="289"/>
                </a:cubicBezTo>
                <a:cubicBezTo>
                  <a:pt x="35" y="289"/>
                  <a:pt x="35" y="289"/>
                  <a:pt x="34" y="289"/>
                </a:cubicBezTo>
                <a:cubicBezTo>
                  <a:pt x="34" y="289"/>
                  <a:pt x="33" y="289"/>
                  <a:pt x="32" y="289"/>
                </a:cubicBezTo>
                <a:cubicBezTo>
                  <a:pt x="32" y="289"/>
                  <a:pt x="31" y="289"/>
                  <a:pt x="31" y="289"/>
                </a:cubicBezTo>
                <a:cubicBezTo>
                  <a:pt x="31" y="289"/>
                  <a:pt x="31" y="289"/>
                  <a:pt x="31" y="289"/>
                </a:cubicBezTo>
                <a:cubicBezTo>
                  <a:pt x="30" y="289"/>
                  <a:pt x="30" y="289"/>
                  <a:pt x="30" y="289"/>
                </a:cubicBezTo>
                <a:cubicBezTo>
                  <a:pt x="29" y="289"/>
                  <a:pt x="32" y="287"/>
                  <a:pt x="32" y="287"/>
                </a:cubicBezTo>
                <a:cubicBezTo>
                  <a:pt x="31" y="287"/>
                  <a:pt x="31" y="288"/>
                  <a:pt x="30" y="288"/>
                </a:cubicBezTo>
                <a:cubicBezTo>
                  <a:pt x="30" y="289"/>
                  <a:pt x="30" y="289"/>
                  <a:pt x="29" y="289"/>
                </a:cubicBezTo>
                <a:cubicBezTo>
                  <a:pt x="29" y="289"/>
                  <a:pt x="28" y="289"/>
                  <a:pt x="28" y="289"/>
                </a:cubicBezTo>
                <a:cubicBezTo>
                  <a:pt x="28" y="289"/>
                  <a:pt x="29" y="289"/>
                  <a:pt x="29" y="289"/>
                </a:cubicBezTo>
                <a:cubicBezTo>
                  <a:pt x="29" y="290"/>
                  <a:pt x="28" y="290"/>
                  <a:pt x="28" y="290"/>
                </a:cubicBezTo>
                <a:cubicBezTo>
                  <a:pt x="27" y="291"/>
                  <a:pt x="27" y="291"/>
                  <a:pt x="26" y="291"/>
                </a:cubicBezTo>
                <a:cubicBezTo>
                  <a:pt x="26" y="291"/>
                  <a:pt x="25" y="291"/>
                  <a:pt x="25" y="291"/>
                </a:cubicBezTo>
                <a:cubicBezTo>
                  <a:pt x="25" y="291"/>
                  <a:pt x="26" y="291"/>
                  <a:pt x="26" y="291"/>
                </a:cubicBezTo>
                <a:cubicBezTo>
                  <a:pt x="26" y="290"/>
                  <a:pt x="26" y="291"/>
                  <a:pt x="25" y="291"/>
                </a:cubicBezTo>
                <a:cubicBezTo>
                  <a:pt x="26" y="291"/>
                  <a:pt x="26" y="289"/>
                  <a:pt x="26" y="289"/>
                </a:cubicBezTo>
                <a:cubicBezTo>
                  <a:pt x="26" y="289"/>
                  <a:pt x="27" y="288"/>
                  <a:pt x="27" y="288"/>
                </a:cubicBezTo>
                <a:cubicBezTo>
                  <a:pt x="28" y="286"/>
                  <a:pt x="30" y="287"/>
                  <a:pt x="31" y="285"/>
                </a:cubicBezTo>
                <a:cubicBezTo>
                  <a:pt x="31" y="285"/>
                  <a:pt x="32" y="284"/>
                  <a:pt x="33" y="284"/>
                </a:cubicBezTo>
                <a:cubicBezTo>
                  <a:pt x="33" y="284"/>
                  <a:pt x="33" y="285"/>
                  <a:pt x="32" y="285"/>
                </a:cubicBezTo>
                <a:cubicBezTo>
                  <a:pt x="32" y="285"/>
                  <a:pt x="32" y="285"/>
                  <a:pt x="31" y="285"/>
                </a:cubicBezTo>
                <a:cubicBezTo>
                  <a:pt x="32" y="285"/>
                  <a:pt x="32" y="285"/>
                  <a:pt x="33" y="285"/>
                </a:cubicBezTo>
                <a:cubicBezTo>
                  <a:pt x="33" y="285"/>
                  <a:pt x="33" y="285"/>
                  <a:pt x="34" y="284"/>
                </a:cubicBezTo>
                <a:cubicBezTo>
                  <a:pt x="34" y="283"/>
                  <a:pt x="36" y="283"/>
                  <a:pt x="36" y="283"/>
                </a:cubicBezTo>
                <a:cubicBezTo>
                  <a:pt x="37" y="283"/>
                  <a:pt x="38" y="282"/>
                  <a:pt x="38" y="283"/>
                </a:cubicBezTo>
                <a:cubicBezTo>
                  <a:pt x="39" y="283"/>
                  <a:pt x="38" y="284"/>
                  <a:pt x="38" y="284"/>
                </a:cubicBezTo>
                <a:cubicBezTo>
                  <a:pt x="39" y="285"/>
                  <a:pt x="39" y="285"/>
                  <a:pt x="39" y="286"/>
                </a:cubicBezTo>
                <a:cubicBezTo>
                  <a:pt x="40" y="285"/>
                  <a:pt x="38" y="284"/>
                  <a:pt x="39" y="283"/>
                </a:cubicBezTo>
                <a:cubicBezTo>
                  <a:pt x="39" y="282"/>
                  <a:pt x="39" y="282"/>
                  <a:pt x="40" y="282"/>
                </a:cubicBezTo>
                <a:cubicBezTo>
                  <a:pt x="40" y="282"/>
                  <a:pt x="41" y="282"/>
                  <a:pt x="41" y="282"/>
                </a:cubicBezTo>
                <a:cubicBezTo>
                  <a:pt x="41" y="281"/>
                  <a:pt x="40" y="282"/>
                  <a:pt x="40" y="282"/>
                </a:cubicBezTo>
                <a:cubicBezTo>
                  <a:pt x="39" y="282"/>
                  <a:pt x="39" y="282"/>
                  <a:pt x="38" y="282"/>
                </a:cubicBezTo>
                <a:cubicBezTo>
                  <a:pt x="37" y="282"/>
                  <a:pt x="39" y="280"/>
                  <a:pt x="39" y="280"/>
                </a:cubicBezTo>
                <a:cubicBezTo>
                  <a:pt x="40" y="279"/>
                  <a:pt x="41" y="279"/>
                  <a:pt x="42" y="279"/>
                </a:cubicBezTo>
                <a:cubicBezTo>
                  <a:pt x="42" y="279"/>
                  <a:pt x="43" y="278"/>
                  <a:pt x="43" y="278"/>
                </a:cubicBezTo>
                <a:cubicBezTo>
                  <a:pt x="43" y="277"/>
                  <a:pt x="43" y="277"/>
                  <a:pt x="43" y="276"/>
                </a:cubicBezTo>
                <a:cubicBezTo>
                  <a:pt x="43" y="277"/>
                  <a:pt x="43" y="277"/>
                  <a:pt x="43" y="278"/>
                </a:cubicBezTo>
                <a:cubicBezTo>
                  <a:pt x="42" y="278"/>
                  <a:pt x="42" y="279"/>
                  <a:pt x="41" y="279"/>
                </a:cubicBezTo>
                <a:cubicBezTo>
                  <a:pt x="40" y="279"/>
                  <a:pt x="39" y="280"/>
                  <a:pt x="38" y="280"/>
                </a:cubicBezTo>
                <a:cubicBezTo>
                  <a:pt x="37" y="281"/>
                  <a:pt x="36" y="281"/>
                  <a:pt x="35" y="282"/>
                </a:cubicBezTo>
                <a:cubicBezTo>
                  <a:pt x="34" y="282"/>
                  <a:pt x="33" y="283"/>
                  <a:pt x="32" y="283"/>
                </a:cubicBezTo>
                <a:cubicBezTo>
                  <a:pt x="32" y="283"/>
                  <a:pt x="33" y="282"/>
                  <a:pt x="33" y="282"/>
                </a:cubicBezTo>
                <a:cubicBezTo>
                  <a:pt x="32" y="282"/>
                  <a:pt x="32" y="283"/>
                  <a:pt x="31" y="283"/>
                </a:cubicBezTo>
                <a:cubicBezTo>
                  <a:pt x="31" y="283"/>
                  <a:pt x="31" y="283"/>
                  <a:pt x="31" y="282"/>
                </a:cubicBezTo>
                <a:cubicBezTo>
                  <a:pt x="31" y="282"/>
                  <a:pt x="32" y="282"/>
                  <a:pt x="32" y="282"/>
                </a:cubicBezTo>
                <a:cubicBezTo>
                  <a:pt x="32" y="281"/>
                  <a:pt x="33" y="281"/>
                  <a:pt x="33" y="280"/>
                </a:cubicBezTo>
                <a:cubicBezTo>
                  <a:pt x="33" y="281"/>
                  <a:pt x="32" y="281"/>
                  <a:pt x="32" y="281"/>
                </a:cubicBezTo>
                <a:cubicBezTo>
                  <a:pt x="32" y="282"/>
                  <a:pt x="30" y="283"/>
                  <a:pt x="31" y="282"/>
                </a:cubicBezTo>
                <a:cubicBezTo>
                  <a:pt x="31" y="280"/>
                  <a:pt x="33" y="281"/>
                  <a:pt x="34" y="280"/>
                </a:cubicBezTo>
                <a:cubicBezTo>
                  <a:pt x="33" y="280"/>
                  <a:pt x="32" y="280"/>
                  <a:pt x="32" y="280"/>
                </a:cubicBezTo>
                <a:cubicBezTo>
                  <a:pt x="31" y="281"/>
                  <a:pt x="30" y="281"/>
                  <a:pt x="30" y="281"/>
                </a:cubicBezTo>
                <a:cubicBezTo>
                  <a:pt x="29" y="282"/>
                  <a:pt x="28" y="283"/>
                  <a:pt x="27" y="283"/>
                </a:cubicBezTo>
                <a:cubicBezTo>
                  <a:pt x="28" y="282"/>
                  <a:pt x="29" y="282"/>
                  <a:pt x="30" y="281"/>
                </a:cubicBezTo>
                <a:cubicBezTo>
                  <a:pt x="30" y="280"/>
                  <a:pt x="31" y="280"/>
                  <a:pt x="31" y="279"/>
                </a:cubicBezTo>
                <a:cubicBezTo>
                  <a:pt x="32" y="279"/>
                  <a:pt x="33" y="278"/>
                  <a:pt x="34" y="277"/>
                </a:cubicBezTo>
                <a:cubicBezTo>
                  <a:pt x="34" y="276"/>
                  <a:pt x="35" y="277"/>
                  <a:pt x="35" y="276"/>
                </a:cubicBezTo>
                <a:cubicBezTo>
                  <a:pt x="34" y="276"/>
                  <a:pt x="33" y="278"/>
                  <a:pt x="32" y="277"/>
                </a:cubicBezTo>
                <a:cubicBezTo>
                  <a:pt x="32" y="277"/>
                  <a:pt x="31" y="277"/>
                  <a:pt x="31" y="277"/>
                </a:cubicBezTo>
                <a:cubicBezTo>
                  <a:pt x="31" y="276"/>
                  <a:pt x="32" y="276"/>
                  <a:pt x="32" y="276"/>
                </a:cubicBezTo>
                <a:cubicBezTo>
                  <a:pt x="32" y="275"/>
                  <a:pt x="33" y="275"/>
                  <a:pt x="33" y="274"/>
                </a:cubicBezTo>
                <a:cubicBezTo>
                  <a:pt x="33" y="274"/>
                  <a:pt x="33" y="274"/>
                  <a:pt x="33" y="274"/>
                </a:cubicBezTo>
                <a:cubicBezTo>
                  <a:pt x="33" y="274"/>
                  <a:pt x="34" y="274"/>
                  <a:pt x="34" y="274"/>
                </a:cubicBezTo>
                <a:cubicBezTo>
                  <a:pt x="34" y="274"/>
                  <a:pt x="33" y="274"/>
                  <a:pt x="33" y="274"/>
                </a:cubicBezTo>
                <a:cubicBezTo>
                  <a:pt x="33" y="273"/>
                  <a:pt x="33" y="273"/>
                  <a:pt x="33" y="273"/>
                </a:cubicBezTo>
                <a:cubicBezTo>
                  <a:pt x="33" y="273"/>
                  <a:pt x="33" y="274"/>
                  <a:pt x="32" y="273"/>
                </a:cubicBezTo>
                <a:cubicBezTo>
                  <a:pt x="32" y="272"/>
                  <a:pt x="32" y="272"/>
                  <a:pt x="33" y="271"/>
                </a:cubicBezTo>
                <a:cubicBezTo>
                  <a:pt x="32" y="271"/>
                  <a:pt x="34" y="270"/>
                  <a:pt x="34" y="270"/>
                </a:cubicBezTo>
                <a:cubicBezTo>
                  <a:pt x="34" y="270"/>
                  <a:pt x="33" y="270"/>
                  <a:pt x="33" y="270"/>
                </a:cubicBezTo>
                <a:cubicBezTo>
                  <a:pt x="33" y="270"/>
                  <a:pt x="33" y="270"/>
                  <a:pt x="34" y="269"/>
                </a:cubicBezTo>
                <a:cubicBezTo>
                  <a:pt x="34" y="269"/>
                  <a:pt x="35" y="269"/>
                  <a:pt x="35" y="269"/>
                </a:cubicBezTo>
                <a:cubicBezTo>
                  <a:pt x="35" y="270"/>
                  <a:pt x="35" y="270"/>
                  <a:pt x="35" y="270"/>
                </a:cubicBezTo>
                <a:cubicBezTo>
                  <a:pt x="35" y="270"/>
                  <a:pt x="35" y="270"/>
                  <a:pt x="35" y="270"/>
                </a:cubicBezTo>
                <a:cubicBezTo>
                  <a:pt x="35" y="270"/>
                  <a:pt x="36" y="271"/>
                  <a:pt x="36" y="271"/>
                </a:cubicBezTo>
                <a:cubicBezTo>
                  <a:pt x="36" y="271"/>
                  <a:pt x="36" y="271"/>
                  <a:pt x="36" y="272"/>
                </a:cubicBezTo>
                <a:cubicBezTo>
                  <a:pt x="36" y="271"/>
                  <a:pt x="36" y="271"/>
                  <a:pt x="37" y="271"/>
                </a:cubicBezTo>
                <a:cubicBezTo>
                  <a:pt x="38" y="271"/>
                  <a:pt x="38" y="270"/>
                  <a:pt x="39" y="270"/>
                </a:cubicBezTo>
                <a:cubicBezTo>
                  <a:pt x="39" y="271"/>
                  <a:pt x="40" y="270"/>
                  <a:pt x="40" y="271"/>
                </a:cubicBezTo>
                <a:cubicBezTo>
                  <a:pt x="40" y="271"/>
                  <a:pt x="39" y="271"/>
                  <a:pt x="39" y="272"/>
                </a:cubicBezTo>
                <a:cubicBezTo>
                  <a:pt x="39" y="271"/>
                  <a:pt x="40" y="271"/>
                  <a:pt x="40" y="272"/>
                </a:cubicBezTo>
                <a:cubicBezTo>
                  <a:pt x="39" y="272"/>
                  <a:pt x="39" y="273"/>
                  <a:pt x="39" y="273"/>
                </a:cubicBezTo>
                <a:cubicBezTo>
                  <a:pt x="39" y="273"/>
                  <a:pt x="40" y="273"/>
                  <a:pt x="40" y="273"/>
                </a:cubicBezTo>
                <a:cubicBezTo>
                  <a:pt x="40" y="272"/>
                  <a:pt x="39" y="272"/>
                  <a:pt x="40" y="272"/>
                </a:cubicBezTo>
                <a:cubicBezTo>
                  <a:pt x="40" y="272"/>
                  <a:pt x="40" y="272"/>
                  <a:pt x="40" y="272"/>
                </a:cubicBezTo>
                <a:cubicBezTo>
                  <a:pt x="40" y="271"/>
                  <a:pt x="40" y="271"/>
                  <a:pt x="40" y="270"/>
                </a:cubicBezTo>
                <a:cubicBezTo>
                  <a:pt x="39" y="270"/>
                  <a:pt x="38" y="270"/>
                  <a:pt x="38" y="270"/>
                </a:cubicBezTo>
                <a:cubicBezTo>
                  <a:pt x="37" y="270"/>
                  <a:pt x="36" y="271"/>
                  <a:pt x="36" y="271"/>
                </a:cubicBezTo>
                <a:cubicBezTo>
                  <a:pt x="36" y="270"/>
                  <a:pt x="36" y="270"/>
                  <a:pt x="36" y="270"/>
                </a:cubicBezTo>
                <a:cubicBezTo>
                  <a:pt x="36" y="270"/>
                  <a:pt x="36" y="270"/>
                  <a:pt x="36" y="270"/>
                </a:cubicBezTo>
                <a:cubicBezTo>
                  <a:pt x="36" y="270"/>
                  <a:pt x="36" y="269"/>
                  <a:pt x="36" y="269"/>
                </a:cubicBezTo>
                <a:cubicBezTo>
                  <a:pt x="35" y="269"/>
                  <a:pt x="35" y="269"/>
                  <a:pt x="35" y="269"/>
                </a:cubicBezTo>
                <a:cubicBezTo>
                  <a:pt x="35" y="269"/>
                  <a:pt x="36" y="268"/>
                  <a:pt x="36" y="268"/>
                </a:cubicBezTo>
                <a:cubicBezTo>
                  <a:pt x="37" y="268"/>
                  <a:pt x="37" y="267"/>
                  <a:pt x="38" y="267"/>
                </a:cubicBezTo>
                <a:cubicBezTo>
                  <a:pt x="38" y="267"/>
                  <a:pt x="38" y="266"/>
                  <a:pt x="39" y="266"/>
                </a:cubicBezTo>
                <a:cubicBezTo>
                  <a:pt x="39" y="266"/>
                  <a:pt x="39" y="266"/>
                  <a:pt x="39" y="266"/>
                </a:cubicBezTo>
                <a:cubicBezTo>
                  <a:pt x="39" y="266"/>
                  <a:pt x="40" y="267"/>
                  <a:pt x="40" y="266"/>
                </a:cubicBezTo>
                <a:cubicBezTo>
                  <a:pt x="40" y="266"/>
                  <a:pt x="39" y="266"/>
                  <a:pt x="39" y="266"/>
                </a:cubicBezTo>
                <a:cubicBezTo>
                  <a:pt x="39" y="266"/>
                  <a:pt x="41" y="265"/>
                  <a:pt x="41" y="264"/>
                </a:cubicBezTo>
                <a:cubicBezTo>
                  <a:pt x="39" y="265"/>
                  <a:pt x="38" y="266"/>
                  <a:pt x="36" y="267"/>
                </a:cubicBezTo>
                <a:cubicBezTo>
                  <a:pt x="36" y="267"/>
                  <a:pt x="37" y="267"/>
                  <a:pt x="37" y="266"/>
                </a:cubicBezTo>
                <a:cubicBezTo>
                  <a:pt x="37" y="266"/>
                  <a:pt x="36" y="267"/>
                  <a:pt x="36" y="267"/>
                </a:cubicBezTo>
                <a:cubicBezTo>
                  <a:pt x="36" y="267"/>
                  <a:pt x="37" y="266"/>
                  <a:pt x="37" y="266"/>
                </a:cubicBezTo>
                <a:cubicBezTo>
                  <a:pt x="36" y="266"/>
                  <a:pt x="36" y="267"/>
                  <a:pt x="36" y="267"/>
                </a:cubicBezTo>
                <a:cubicBezTo>
                  <a:pt x="35" y="267"/>
                  <a:pt x="35" y="267"/>
                  <a:pt x="35" y="267"/>
                </a:cubicBezTo>
                <a:cubicBezTo>
                  <a:pt x="35" y="267"/>
                  <a:pt x="35" y="267"/>
                  <a:pt x="35" y="267"/>
                </a:cubicBezTo>
                <a:cubicBezTo>
                  <a:pt x="34" y="268"/>
                  <a:pt x="34" y="268"/>
                  <a:pt x="34" y="268"/>
                </a:cubicBezTo>
                <a:cubicBezTo>
                  <a:pt x="33" y="268"/>
                  <a:pt x="33" y="268"/>
                  <a:pt x="32" y="269"/>
                </a:cubicBezTo>
                <a:cubicBezTo>
                  <a:pt x="31" y="269"/>
                  <a:pt x="31" y="271"/>
                  <a:pt x="30" y="271"/>
                </a:cubicBezTo>
                <a:cubicBezTo>
                  <a:pt x="29" y="271"/>
                  <a:pt x="28" y="269"/>
                  <a:pt x="29" y="268"/>
                </a:cubicBezTo>
                <a:cubicBezTo>
                  <a:pt x="29" y="268"/>
                  <a:pt x="29" y="268"/>
                  <a:pt x="28" y="267"/>
                </a:cubicBezTo>
                <a:cubicBezTo>
                  <a:pt x="28" y="267"/>
                  <a:pt x="28" y="266"/>
                  <a:pt x="28" y="266"/>
                </a:cubicBezTo>
                <a:cubicBezTo>
                  <a:pt x="28" y="266"/>
                  <a:pt x="28" y="266"/>
                  <a:pt x="28" y="265"/>
                </a:cubicBezTo>
                <a:cubicBezTo>
                  <a:pt x="29" y="265"/>
                  <a:pt x="29" y="264"/>
                  <a:pt x="30" y="263"/>
                </a:cubicBezTo>
                <a:cubicBezTo>
                  <a:pt x="30" y="263"/>
                  <a:pt x="31" y="263"/>
                  <a:pt x="31" y="264"/>
                </a:cubicBezTo>
                <a:cubicBezTo>
                  <a:pt x="31" y="264"/>
                  <a:pt x="31" y="264"/>
                  <a:pt x="31" y="265"/>
                </a:cubicBezTo>
                <a:cubicBezTo>
                  <a:pt x="31" y="265"/>
                  <a:pt x="31" y="265"/>
                  <a:pt x="31" y="265"/>
                </a:cubicBezTo>
                <a:cubicBezTo>
                  <a:pt x="32" y="264"/>
                  <a:pt x="31" y="263"/>
                  <a:pt x="32" y="263"/>
                </a:cubicBezTo>
                <a:cubicBezTo>
                  <a:pt x="33" y="262"/>
                  <a:pt x="33" y="263"/>
                  <a:pt x="34" y="263"/>
                </a:cubicBezTo>
                <a:cubicBezTo>
                  <a:pt x="34" y="263"/>
                  <a:pt x="35" y="262"/>
                  <a:pt x="36" y="262"/>
                </a:cubicBezTo>
                <a:cubicBezTo>
                  <a:pt x="35" y="262"/>
                  <a:pt x="35" y="262"/>
                  <a:pt x="35" y="263"/>
                </a:cubicBezTo>
                <a:cubicBezTo>
                  <a:pt x="34" y="263"/>
                  <a:pt x="34" y="262"/>
                  <a:pt x="33" y="262"/>
                </a:cubicBezTo>
                <a:cubicBezTo>
                  <a:pt x="32" y="262"/>
                  <a:pt x="32" y="263"/>
                  <a:pt x="31" y="263"/>
                </a:cubicBezTo>
                <a:cubicBezTo>
                  <a:pt x="30" y="263"/>
                  <a:pt x="30" y="263"/>
                  <a:pt x="29" y="263"/>
                </a:cubicBezTo>
                <a:cubicBezTo>
                  <a:pt x="29" y="262"/>
                  <a:pt x="30" y="262"/>
                  <a:pt x="30" y="262"/>
                </a:cubicBezTo>
                <a:cubicBezTo>
                  <a:pt x="30" y="262"/>
                  <a:pt x="31" y="261"/>
                  <a:pt x="31" y="261"/>
                </a:cubicBezTo>
                <a:cubicBezTo>
                  <a:pt x="31" y="261"/>
                  <a:pt x="28" y="262"/>
                  <a:pt x="29" y="261"/>
                </a:cubicBezTo>
                <a:cubicBezTo>
                  <a:pt x="29" y="260"/>
                  <a:pt x="30" y="260"/>
                  <a:pt x="30" y="260"/>
                </a:cubicBezTo>
                <a:cubicBezTo>
                  <a:pt x="30" y="260"/>
                  <a:pt x="30" y="259"/>
                  <a:pt x="31" y="259"/>
                </a:cubicBezTo>
                <a:cubicBezTo>
                  <a:pt x="31" y="259"/>
                  <a:pt x="31" y="259"/>
                  <a:pt x="31" y="259"/>
                </a:cubicBezTo>
                <a:cubicBezTo>
                  <a:pt x="32" y="259"/>
                  <a:pt x="31" y="258"/>
                  <a:pt x="32" y="258"/>
                </a:cubicBezTo>
                <a:cubicBezTo>
                  <a:pt x="32" y="258"/>
                  <a:pt x="32" y="258"/>
                  <a:pt x="32" y="259"/>
                </a:cubicBezTo>
                <a:cubicBezTo>
                  <a:pt x="32" y="259"/>
                  <a:pt x="32" y="259"/>
                  <a:pt x="32" y="260"/>
                </a:cubicBezTo>
                <a:cubicBezTo>
                  <a:pt x="32" y="260"/>
                  <a:pt x="32" y="262"/>
                  <a:pt x="33" y="261"/>
                </a:cubicBezTo>
                <a:cubicBezTo>
                  <a:pt x="32" y="261"/>
                  <a:pt x="32" y="261"/>
                  <a:pt x="33" y="260"/>
                </a:cubicBezTo>
                <a:cubicBezTo>
                  <a:pt x="33" y="260"/>
                  <a:pt x="33" y="260"/>
                  <a:pt x="33" y="260"/>
                </a:cubicBezTo>
                <a:cubicBezTo>
                  <a:pt x="34" y="260"/>
                  <a:pt x="34" y="260"/>
                  <a:pt x="34" y="259"/>
                </a:cubicBezTo>
                <a:cubicBezTo>
                  <a:pt x="34" y="260"/>
                  <a:pt x="33" y="260"/>
                  <a:pt x="33" y="260"/>
                </a:cubicBezTo>
                <a:cubicBezTo>
                  <a:pt x="33" y="260"/>
                  <a:pt x="32" y="260"/>
                  <a:pt x="32" y="260"/>
                </a:cubicBezTo>
                <a:cubicBezTo>
                  <a:pt x="32" y="260"/>
                  <a:pt x="32" y="259"/>
                  <a:pt x="32" y="258"/>
                </a:cubicBezTo>
                <a:cubicBezTo>
                  <a:pt x="32" y="257"/>
                  <a:pt x="34" y="257"/>
                  <a:pt x="34" y="257"/>
                </a:cubicBezTo>
                <a:cubicBezTo>
                  <a:pt x="35" y="258"/>
                  <a:pt x="35" y="259"/>
                  <a:pt x="36" y="258"/>
                </a:cubicBezTo>
                <a:cubicBezTo>
                  <a:pt x="36" y="258"/>
                  <a:pt x="35" y="258"/>
                  <a:pt x="35" y="258"/>
                </a:cubicBezTo>
                <a:cubicBezTo>
                  <a:pt x="35" y="257"/>
                  <a:pt x="35" y="257"/>
                  <a:pt x="35" y="257"/>
                </a:cubicBezTo>
                <a:cubicBezTo>
                  <a:pt x="34" y="257"/>
                  <a:pt x="37" y="256"/>
                  <a:pt x="37" y="255"/>
                </a:cubicBezTo>
                <a:cubicBezTo>
                  <a:pt x="37" y="255"/>
                  <a:pt x="36" y="256"/>
                  <a:pt x="36" y="256"/>
                </a:cubicBezTo>
                <a:cubicBezTo>
                  <a:pt x="36" y="255"/>
                  <a:pt x="37" y="255"/>
                  <a:pt x="38" y="255"/>
                </a:cubicBezTo>
                <a:cubicBezTo>
                  <a:pt x="38" y="255"/>
                  <a:pt x="39" y="254"/>
                  <a:pt x="39" y="255"/>
                </a:cubicBezTo>
                <a:cubicBezTo>
                  <a:pt x="38" y="255"/>
                  <a:pt x="38" y="255"/>
                  <a:pt x="38" y="255"/>
                </a:cubicBezTo>
                <a:cubicBezTo>
                  <a:pt x="39" y="255"/>
                  <a:pt x="39" y="255"/>
                  <a:pt x="40" y="255"/>
                </a:cubicBezTo>
                <a:cubicBezTo>
                  <a:pt x="41" y="255"/>
                  <a:pt x="41" y="255"/>
                  <a:pt x="42" y="254"/>
                </a:cubicBezTo>
                <a:cubicBezTo>
                  <a:pt x="41" y="254"/>
                  <a:pt x="39" y="254"/>
                  <a:pt x="39" y="254"/>
                </a:cubicBezTo>
                <a:cubicBezTo>
                  <a:pt x="39" y="254"/>
                  <a:pt x="40" y="253"/>
                  <a:pt x="41" y="253"/>
                </a:cubicBezTo>
                <a:cubicBezTo>
                  <a:pt x="41" y="253"/>
                  <a:pt x="42" y="252"/>
                  <a:pt x="42" y="252"/>
                </a:cubicBezTo>
                <a:cubicBezTo>
                  <a:pt x="43" y="251"/>
                  <a:pt x="44" y="251"/>
                  <a:pt x="44" y="251"/>
                </a:cubicBezTo>
                <a:cubicBezTo>
                  <a:pt x="45" y="251"/>
                  <a:pt x="45" y="250"/>
                  <a:pt x="46" y="250"/>
                </a:cubicBezTo>
                <a:cubicBezTo>
                  <a:pt x="46" y="250"/>
                  <a:pt x="47" y="250"/>
                  <a:pt x="47" y="249"/>
                </a:cubicBezTo>
                <a:cubicBezTo>
                  <a:pt x="47" y="250"/>
                  <a:pt x="46" y="250"/>
                  <a:pt x="46" y="250"/>
                </a:cubicBezTo>
                <a:cubicBezTo>
                  <a:pt x="46" y="250"/>
                  <a:pt x="45" y="250"/>
                  <a:pt x="45" y="250"/>
                </a:cubicBezTo>
                <a:cubicBezTo>
                  <a:pt x="45" y="250"/>
                  <a:pt x="46" y="249"/>
                  <a:pt x="46" y="248"/>
                </a:cubicBezTo>
                <a:cubicBezTo>
                  <a:pt x="46" y="248"/>
                  <a:pt x="45" y="249"/>
                  <a:pt x="45" y="249"/>
                </a:cubicBezTo>
                <a:cubicBezTo>
                  <a:pt x="44" y="250"/>
                  <a:pt x="44" y="250"/>
                  <a:pt x="43" y="251"/>
                </a:cubicBezTo>
                <a:cubicBezTo>
                  <a:pt x="44" y="250"/>
                  <a:pt x="44" y="250"/>
                  <a:pt x="44" y="250"/>
                </a:cubicBezTo>
                <a:cubicBezTo>
                  <a:pt x="42" y="252"/>
                  <a:pt x="40" y="253"/>
                  <a:pt x="39" y="254"/>
                </a:cubicBezTo>
                <a:cubicBezTo>
                  <a:pt x="38" y="254"/>
                  <a:pt x="37" y="255"/>
                  <a:pt x="38" y="254"/>
                </a:cubicBezTo>
                <a:cubicBezTo>
                  <a:pt x="38" y="253"/>
                  <a:pt x="39" y="253"/>
                  <a:pt x="39" y="253"/>
                </a:cubicBezTo>
                <a:cubicBezTo>
                  <a:pt x="40" y="252"/>
                  <a:pt x="40" y="252"/>
                  <a:pt x="41" y="252"/>
                </a:cubicBezTo>
                <a:cubicBezTo>
                  <a:pt x="42" y="252"/>
                  <a:pt x="42" y="251"/>
                  <a:pt x="42" y="251"/>
                </a:cubicBezTo>
                <a:cubicBezTo>
                  <a:pt x="43" y="250"/>
                  <a:pt x="43" y="249"/>
                  <a:pt x="44" y="248"/>
                </a:cubicBezTo>
                <a:cubicBezTo>
                  <a:pt x="44" y="247"/>
                  <a:pt x="45" y="247"/>
                  <a:pt x="45" y="246"/>
                </a:cubicBezTo>
                <a:cubicBezTo>
                  <a:pt x="46" y="246"/>
                  <a:pt x="47" y="245"/>
                  <a:pt x="48" y="245"/>
                </a:cubicBezTo>
                <a:cubicBezTo>
                  <a:pt x="48" y="245"/>
                  <a:pt x="47" y="245"/>
                  <a:pt x="47" y="245"/>
                </a:cubicBezTo>
                <a:cubicBezTo>
                  <a:pt x="48" y="245"/>
                  <a:pt x="49" y="242"/>
                  <a:pt x="48" y="243"/>
                </a:cubicBezTo>
                <a:cubicBezTo>
                  <a:pt x="48" y="243"/>
                  <a:pt x="46" y="243"/>
                  <a:pt x="46" y="243"/>
                </a:cubicBezTo>
                <a:cubicBezTo>
                  <a:pt x="46" y="242"/>
                  <a:pt x="47" y="242"/>
                  <a:pt x="46" y="241"/>
                </a:cubicBezTo>
                <a:cubicBezTo>
                  <a:pt x="46" y="241"/>
                  <a:pt x="46" y="240"/>
                  <a:pt x="45" y="240"/>
                </a:cubicBezTo>
                <a:cubicBezTo>
                  <a:pt x="45" y="240"/>
                  <a:pt x="44" y="240"/>
                  <a:pt x="43" y="240"/>
                </a:cubicBezTo>
                <a:cubicBezTo>
                  <a:pt x="43" y="239"/>
                  <a:pt x="42" y="238"/>
                  <a:pt x="42" y="238"/>
                </a:cubicBezTo>
                <a:cubicBezTo>
                  <a:pt x="41" y="237"/>
                  <a:pt x="40" y="238"/>
                  <a:pt x="39" y="238"/>
                </a:cubicBezTo>
                <a:cubicBezTo>
                  <a:pt x="40" y="238"/>
                  <a:pt x="40" y="237"/>
                  <a:pt x="40" y="237"/>
                </a:cubicBezTo>
                <a:cubicBezTo>
                  <a:pt x="40" y="237"/>
                  <a:pt x="40" y="237"/>
                  <a:pt x="40" y="236"/>
                </a:cubicBezTo>
                <a:cubicBezTo>
                  <a:pt x="41" y="236"/>
                  <a:pt x="41" y="236"/>
                  <a:pt x="41" y="235"/>
                </a:cubicBezTo>
                <a:cubicBezTo>
                  <a:pt x="40" y="235"/>
                  <a:pt x="40" y="235"/>
                  <a:pt x="40" y="235"/>
                </a:cubicBezTo>
                <a:cubicBezTo>
                  <a:pt x="41" y="234"/>
                  <a:pt x="42" y="234"/>
                  <a:pt x="42" y="233"/>
                </a:cubicBezTo>
                <a:cubicBezTo>
                  <a:pt x="42" y="233"/>
                  <a:pt x="41" y="233"/>
                  <a:pt x="40" y="233"/>
                </a:cubicBezTo>
                <a:cubicBezTo>
                  <a:pt x="41" y="232"/>
                  <a:pt x="42" y="232"/>
                  <a:pt x="42" y="231"/>
                </a:cubicBezTo>
                <a:cubicBezTo>
                  <a:pt x="43" y="230"/>
                  <a:pt x="42" y="229"/>
                  <a:pt x="43" y="228"/>
                </a:cubicBezTo>
                <a:cubicBezTo>
                  <a:pt x="43" y="227"/>
                  <a:pt x="43" y="226"/>
                  <a:pt x="43" y="226"/>
                </a:cubicBezTo>
                <a:cubicBezTo>
                  <a:pt x="44" y="225"/>
                  <a:pt x="44" y="225"/>
                  <a:pt x="44" y="224"/>
                </a:cubicBezTo>
                <a:cubicBezTo>
                  <a:pt x="44" y="224"/>
                  <a:pt x="44" y="223"/>
                  <a:pt x="44" y="222"/>
                </a:cubicBezTo>
                <a:cubicBezTo>
                  <a:pt x="44" y="222"/>
                  <a:pt x="45" y="222"/>
                  <a:pt x="44" y="221"/>
                </a:cubicBezTo>
                <a:cubicBezTo>
                  <a:pt x="44" y="221"/>
                  <a:pt x="44" y="220"/>
                  <a:pt x="44" y="220"/>
                </a:cubicBezTo>
                <a:cubicBezTo>
                  <a:pt x="45" y="220"/>
                  <a:pt x="45" y="219"/>
                  <a:pt x="45" y="219"/>
                </a:cubicBezTo>
                <a:cubicBezTo>
                  <a:pt x="46" y="219"/>
                  <a:pt x="45" y="218"/>
                  <a:pt x="45" y="218"/>
                </a:cubicBezTo>
                <a:cubicBezTo>
                  <a:pt x="45" y="218"/>
                  <a:pt x="45" y="217"/>
                  <a:pt x="45" y="217"/>
                </a:cubicBezTo>
                <a:cubicBezTo>
                  <a:pt x="45" y="215"/>
                  <a:pt x="44" y="216"/>
                  <a:pt x="43" y="215"/>
                </a:cubicBezTo>
                <a:cubicBezTo>
                  <a:pt x="43" y="214"/>
                  <a:pt x="44" y="214"/>
                  <a:pt x="43" y="213"/>
                </a:cubicBezTo>
                <a:cubicBezTo>
                  <a:pt x="44" y="213"/>
                  <a:pt x="45" y="212"/>
                  <a:pt x="44" y="212"/>
                </a:cubicBezTo>
                <a:cubicBezTo>
                  <a:pt x="43" y="212"/>
                  <a:pt x="44" y="211"/>
                  <a:pt x="43" y="211"/>
                </a:cubicBezTo>
                <a:cubicBezTo>
                  <a:pt x="43" y="211"/>
                  <a:pt x="42" y="211"/>
                  <a:pt x="42" y="210"/>
                </a:cubicBezTo>
                <a:cubicBezTo>
                  <a:pt x="42" y="210"/>
                  <a:pt x="43" y="210"/>
                  <a:pt x="43" y="209"/>
                </a:cubicBezTo>
                <a:cubicBezTo>
                  <a:pt x="43" y="209"/>
                  <a:pt x="43" y="209"/>
                  <a:pt x="43" y="209"/>
                </a:cubicBezTo>
                <a:cubicBezTo>
                  <a:pt x="43" y="208"/>
                  <a:pt x="45" y="208"/>
                  <a:pt x="44" y="207"/>
                </a:cubicBezTo>
                <a:cubicBezTo>
                  <a:pt x="44" y="207"/>
                  <a:pt x="44" y="207"/>
                  <a:pt x="44" y="207"/>
                </a:cubicBezTo>
                <a:cubicBezTo>
                  <a:pt x="44" y="207"/>
                  <a:pt x="44" y="207"/>
                  <a:pt x="44" y="206"/>
                </a:cubicBezTo>
                <a:cubicBezTo>
                  <a:pt x="44" y="206"/>
                  <a:pt x="44" y="206"/>
                  <a:pt x="44" y="206"/>
                </a:cubicBezTo>
                <a:cubicBezTo>
                  <a:pt x="43" y="205"/>
                  <a:pt x="43" y="205"/>
                  <a:pt x="42" y="206"/>
                </a:cubicBezTo>
                <a:cubicBezTo>
                  <a:pt x="41" y="206"/>
                  <a:pt x="39" y="206"/>
                  <a:pt x="38" y="207"/>
                </a:cubicBezTo>
                <a:cubicBezTo>
                  <a:pt x="38" y="207"/>
                  <a:pt x="35" y="207"/>
                  <a:pt x="35" y="207"/>
                </a:cubicBezTo>
                <a:cubicBezTo>
                  <a:pt x="35" y="208"/>
                  <a:pt x="35" y="208"/>
                  <a:pt x="35" y="208"/>
                </a:cubicBezTo>
                <a:cubicBezTo>
                  <a:pt x="34" y="208"/>
                  <a:pt x="34" y="208"/>
                  <a:pt x="34" y="208"/>
                </a:cubicBezTo>
                <a:cubicBezTo>
                  <a:pt x="33" y="209"/>
                  <a:pt x="32" y="209"/>
                  <a:pt x="31" y="209"/>
                </a:cubicBezTo>
                <a:cubicBezTo>
                  <a:pt x="31" y="210"/>
                  <a:pt x="30" y="211"/>
                  <a:pt x="29" y="211"/>
                </a:cubicBezTo>
                <a:cubicBezTo>
                  <a:pt x="28" y="212"/>
                  <a:pt x="27" y="211"/>
                  <a:pt x="26" y="212"/>
                </a:cubicBezTo>
                <a:cubicBezTo>
                  <a:pt x="25" y="212"/>
                  <a:pt x="24" y="212"/>
                  <a:pt x="23" y="213"/>
                </a:cubicBezTo>
                <a:cubicBezTo>
                  <a:pt x="22" y="213"/>
                  <a:pt x="21" y="213"/>
                  <a:pt x="20" y="214"/>
                </a:cubicBezTo>
                <a:cubicBezTo>
                  <a:pt x="20" y="214"/>
                  <a:pt x="19" y="214"/>
                  <a:pt x="18" y="214"/>
                </a:cubicBezTo>
                <a:cubicBezTo>
                  <a:pt x="19" y="213"/>
                  <a:pt x="20" y="213"/>
                  <a:pt x="20" y="212"/>
                </a:cubicBezTo>
                <a:cubicBezTo>
                  <a:pt x="20" y="212"/>
                  <a:pt x="21" y="211"/>
                  <a:pt x="21" y="210"/>
                </a:cubicBezTo>
                <a:cubicBezTo>
                  <a:pt x="21" y="210"/>
                  <a:pt x="20" y="209"/>
                  <a:pt x="20" y="208"/>
                </a:cubicBezTo>
                <a:cubicBezTo>
                  <a:pt x="20" y="207"/>
                  <a:pt x="19" y="206"/>
                  <a:pt x="19" y="206"/>
                </a:cubicBezTo>
                <a:cubicBezTo>
                  <a:pt x="19" y="205"/>
                  <a:pt x="20" y="205"/>
                  <a:pt x="20" y="204"/>
                </a:cubicBezTo>
                <a:cubicBezTo>
                  <a:pt x="20" y="204"/>
                  <a:pt x="18" y="203"/>
                  <a:pt x="18" y="203"/>
                </a:cubicBezTo>
                <a:cubicBezTo>
                  <a:pt x="18" y="203"/>
                  <a:pt x="18" y="203"/>
                  <a:pt x="18" y="202"/>
                </a:cubicBezTo>
                <a:cubicBezTo>
                  <a:pt x="18" y="202"/>
                  <a:pt x="18" y="202"/>
                  <a:pt x="19" y="202"/>
                </a:cubicBezTo>
                <a:cubicBezTo>
                  <a:pt x="19" y="201"/>
                  <a:pt x="20" y="201"/>
                  <a:pt x="21" y="200"/>
                </a:cubicBezTo>
                <a:cubicBezTo>
                  <a:pt x="21" y="200"/>
                  <a:pt x="22" y="200"/>
                  <a:pt x="21" y="200"/>
                </a:cubicBezTo>
                <a:cubicBezTo>
                  <a:pt x="20" y="199"/>
                  <a:pt x="19" y="200"/>
                  <a:pt x="19" y="200"/>
                </a:cubicBezTo>
                <a:cubicBezTo>
                  <a:pt x="18" y="200"/>
                  <a:pt x="17" y="200"/>
                  <a:pt x="16" y="200"/>
                </a:cubicBezTo>
                <a:cubicBezTo>
                  <a:pt x="15" y="201"/>
                  <a:pt x="14" y="201"/>
                  <a:pt x="13" y="201"/>
                </a:cubicBezTo>
                <a:cubicBezTo>
                  <a:pt x="12" y="201"/>
                  <a:pt x="12" y="201"/>
                  <a:pt x="11" y="201"/>
                </a:cubicBezTo>
                <a:cubicBezTo>
                  <a:pt x="10" y="200"/>
                  <a:pt x="10" y="200"/>
                  <a:pt x="9" y="201"/>
                </a:cubicBezTo>
                <a:cubicBezTo>
                  <a:pt x="9" y="201"/>
                  <a:pt x="6" y="201"/>
                  <a:pt x="7" y="200"/>
                </a:cubicBezTo>
                <a:cubicBezTo>
                  <a:pt x="7" y="199"/>
                  <a:pt x="8" y="198"/>
                  <a:pt x="9" y="198"/>
                </a:cubicBezTo>
                <a:cubicBezTo>
                  <a:pt x="15" y="193"/>
                  <a:pt x="21" y="187"/>
                  <a:pt x="27" y="182"/>
                </a:cubicBezTo>
                <a:cubicBezTo>
                  <a:pt x="33" y="176"/>
                  <a:pt x="40" y="171"/>
                  <a:pt x="46" y="165"/>
                </a:cubicBezTo>
                <a:cubicBezTo>
                  <a:pt x="59" y="155"/>
                  <a:pt x="72" y="144"/>
                  <a:pt x="85" y="134"/>
                </a:cubicBezTo>
                <a:cubicBezTo>
                  <a:pt x="88" y="131"/>
                  <a:pt x="92" y="128"/>
                  <a:pt x="96" y="125"/>
                </a:cubicBezTo>
                <a:cubicBezTo>
                  <a:pt x="99" y="123"/>
                  <a:pt x="102" y="120"/>
                  <a:pt x="105" y="118"/>
                </a:cubicBezTo>
                <a:cubicBezTo>
                  <a:pt x="108" y="116"/>
                  <a:pt x="111" y="113"/>
                  <a:pt x="114" y="111"/>
                </a:cubicBezTo>
                <a:cubicBezTo>
                  <a:pt x="115" y="111"/>
                  <a:pt x="115" y="110"/>
                  <a:pt x="116" y="110"/>
                </a:cubicBezTo>
                <a:cubicBezTo>
                  <a:pt x="116" y="110"/>
                  <a:pt x="116" y="110"/>
                  <a:pt x="116" y="110"/>
                </a:cubicBezTo>
                <a:cubicBezTo>
                  <a:pt x="117" y="110"/>
                  <a:pt x="118" y="110"/>
                  <a:pt x="119" y="110"/>
                </a:cubicBezTo>
                <a:cubicBezTo>
                  <a:pt x="121" y="110"/>
                  <a:pt x="122" y="110"/>
                  <a:pt x="124" y="110"/>
                </a:cubicBezTo>
                <a:cubicBezTo>
                  <a:pt x="124" y="111"/>
                  <a:pt x="124" y="111"/>
                  <a:pt x="124" y="111"/>
                </a:cubicBezTo>
                <a:cubicBezTo>
                  <a:pt x="125" y="111"/>
                  <a:pt x="125" y="111"/>
                  <a:pt x="125" y="111"/>
                </a:cubicBezTo>
                <a:cubicBezTo>
                  <a:pt x="126" y="111"/>
                  <a:pt x="127" y="111"/>
                  <a:pt x="127" y="111"/>
                </a:cubicBezTo>
                <a:cubicBezTo>
                  <a:pt x="127" y="112"/>
                  <a:pt x="127" y="112"/>
                  <a:pt x="128" y="113"/>
                </a:cubicBezTo>
                <a:cubicBezTo>
                  <a:pt x="128" y="113"/>
                  <a:pt x="128" y="113"/>
                  <a:pt x="128" y="114"/>
                </a:cubicBezTo>
                <a:cubicBezTo>
                  <a:pt x="128" y="114"/>
                  <a:pt x="128" y="114"/>
                  <a:pt x="129" y="114"/>
                </a:cubicBezTo>
                <a:cubicBezTo>
                  <a:pt x="129" y="114"/>
                  <a:pt x="130" y="113"/>
                  <a:pt x="129" y="113"/>
                </a:cubicBezTo>
                <a:cubicBezTo>
                  <a:pt x="129" y="113"/>
                  <a:pt x="130" y="113"/>
                  <a:pt x="130" y="113"/>
                </a:cubicBezTo>
                <a:cubicBezTo>
                  <a:pt x="130" y="114"/>
                  <a:pt x="129" y="114"/>
                  <a:pt x="130" y="115"/>
                </a:cubicBezTo>
                <a:cubicBezTo>
                  <a:pt x="131" y="115"/>
                  <a:pt x="132" y="116"/>
                  <a:pt x="133" y="116"/>
                </a:cubicBezTo>
                <a:cubicBezTo>
                  <a:pt x="132" y="116"/>
                  <a:pt x="134" y="116"/>
                  <a:pt x="134" y="116"/>
                </a:cubicBezTo>
                <a:cubicBezTo>
                  <a:pt x="135" y="116"/>
                  <a:pt x="135" y="117"/>
                  <a:pt x="136" y="117"/>
                </a:cubicBezTo>
                <a:cubicBezTo>
                  <a:pt x="137" y="117"/>
                  <a:pt x="138" y="117"/>
                  <a:pt x="139" y="117"/>
                </a:cubicBezTo>
                <a:cubicBezTo>
                  <a:pt x="140" y="117"/>
                  <a:pt x="142" y="117"/>
                  <a:pt x="142" y="117"/>
                </a:cubicBezTo>
                <a:cubicBezTo>
                  <a:pt x="142" y="118"/>
                  <a:pt x="142" y="118"/>
                  <a:pt x="143" y="118"/>
                </a:cubicBezTo>
                <a:cubicBezTo>
                  <a:pt x="143" y="118"/>
                  <a:pt x="143" y="118"/>
                  <a:pt x="143" y="118"/>
                </a:cubicBezTo>
                <a:cubicBezTo>
                  <a:pt x="143" y="118"/>
                  <a:pt x="144" y="119"/>
                  <a:pt x="143" y="119"/>
                </a:cubicBezTo>
                <a:cubicBezTo>
                  <a:pt x="144" y="119"/>
                  <a:pt x="145" y="119"/>
                  <a:pt x="145" y="119"/>
                </a:cubicBezTo>
                <a:cubicBezTo>
                  <a:pt x="145" y="119"/>
                  <a:pt x="145" y="119"/>
                  <a:pt x="145" y="119"/>
                </a:cubicBezTo>
                <a:cubicBezTo>
                  <a:pt x="145" y="119"/>
                  <a:pt x="145" y="119"/>
                  <a:pt x="145" y="118"/>
                </a:cubicBezTo>
                <a:cubicBezTo>
                  <a:pt x="145" y="118"/>
                  <a:pt x="145" y="118"/>
                  <a:pt x="144" y="118"/>
                </a:cubicBezTo>
                <a:cubicBezTo>
                  <a:pt x="144" y="117"/>
                  <a:pt x="146" y="117"/>
                  <a:pt x="146" y="117"/>
                </a:cubicBezTo>
                <a:cubicBezTo>
                  <a:pt x="145" y="117"/>
                  <a:pt x="144" y="117"/>
                  <a:pt x="144" y="117"/>
                </a:cubicBezTo>
                <a:cubicBezTo>
                  <a:pt x="144" y="117"/>
                  <a:pt x="147" y="117"/>
                  <a:pt x="147" y="117"/>
                </a:cubicBezTo>
                <a:cubicBezTo>
                  <a:pt x="148" y="117"/>
                  <a:pt x="148" y="117"/>
                  <a:pt x="148" y="117"/>
                </a:cubicBezTo>
                <a:cubicBezTo>
                  <a:pt x="149" y="117"/>
                  <a:pt x="149" y="117"/>
                  <a:pt x="149" y="117"/>
                </a:cubicBezTo>
                <a:cubicBezTo>
                  <a:pt x="150" y="117"/>
                  <a:pt x="151" y="116"/>
                  <a:pt x="151" y="117"/>
                </a:cubicBezTo>
                <a:cubicBezTo>
                  <a:pt x="151" y="117"/>
                  <a:pt x="150" y="118"/>
                  <a:pt x="151" y="118"/>
                </a:cubicBezTo>
                <a:cubicBezTo>
                  <a:pt x="151" y="118"/>
                  <a:pt x="151" y="118"/>
                  <a:pt x="151" y="118"/>
                </a:cubicBezTo>
                <a:cubicBezTo>
                  <a:pt x="150" y="119"/>
                  <a:pt x="152" y="119"/>
                  <a:pt x="152" y="119"/>
                </a:cubicBezTo>
                <a:cubicBezTo>
                  <a:pt x="152" y="119"/>
                  <a:pt x="152" y="119"/>
                  <a:pt x="152" y="119"/>
                </a:cubicBezTo>
                <a:cubicBezTo>
                  <a:pt x="152" y="119"/>
                  <a:pt x="151" y="119"/>
                  <a:pt x="151" y="119"/>
                </a:cubicBezTo>
                <a:cubicBezTo>
                  <a:pt x="150" y="119"/>
                  <a:pt x="151" y="118"/>
                  <a:pt x="151" y="118"/>
                </a:cubicBezTo>
                <a:cubicBezTo>
                  <a:pt x="151" y="118"/>
                  <a:pt x="151" y="118"/>
                  <a:pt x="151" y="118"/>
                </a:cubicBezTo>
                <a:cubicBezTo>
                  <a:pt x="151" y="117"/>
                  <a:pt x="151" y="116"/>
                  <a:pt x="151" y="116"/>
                </a:cubicBezTo>
                <a:cubicBezTo>
                  <a:pt x="151" y="116"/>
                  <a:pt x="151" y="116"/>
                  <a:pt x="151" y="116"/>
                </a:cubicBezTo>
                <a:cubicBezTo>
                  <a:pt x="151" y="116"/>
                  <a:pt x="150" y="116"/>
                  <a:pt x="150" y="117"/>
                </a:cubicBezTo>
                <a:cubicBezTo>
                  <a:pt x="149" y="117"/>
                  <a:pt x="149" y="117"/>
                  <a:pt x="148" y="117"/>
                </a:cubicBezTo>
                <a:cubicBezTo>
                  <a:pt x="148" y="117"/>
                  <a:pt x="148" y="117"/>
                  <a:pt x="148" y="117"/>
                </a:cubicBezTo>
                <a:cubicBezTo>
                  <a:pt x="148" y="116"/>
                  <a:pt x="147" y="117"/>
                  <a:pt x="147" y="117"/>
                </a:cubicBezTo>
                <a:cubicBezTo>
                  <a:pt x="147" y="117"/>
                  <a:pt x="146" y="116"/>
                  <a:pt x="147" y="116"/>
                </a:cubicBezTo>
                <a:cubicBezTo>
                  <a:pt x="146" y="116"/>
                  <a:pt x="146" y="116"/>
                  <a:pt x="145" y="117"/>
                </a:cubicBezTo>
                <a:cubicBezTo>
                  <a:pt x="145" y="117"/>
                  <a:pt x="145" y="117"/>
                  <a:pt x="144" y="117"/>
                </a:cubicBezTo>
                <a:cubicBezTo>
                  <a:pt x="144" y="117"/>
                  <a:pt x="142" y="117"/>
                  <a:pt x="142" y="116"/>
                </a:cubicBezTo>
                <a:cubicBezTo>
                  <a:pt x="143" y="116"/>
                  <a:pt x="143" y="116"/>
                  <a:pt x="143" y="116"/>
                </a:cubicBezTo>
                <a:cubicBezTo>
                  <a:pt x="143" y="116"/>
                  <a:pt x="143" y="116"/>
                  <a:pt x="143" y="116"/>
                </a:cubicBezTo>
                <a:cubicBezTo>
                  <a:pt x="143" y="116"/>
                  <a:pt x="144" y="115"/>
                  <a:pt x="144" y="116"/>
                </a:cubicBezTo>
                <a:cubicBezTo>
                  <a:pt x="144" y="116"/>
                  <a:pt x="144" y="116"/>
                  <a:pt x="144" y="116"/>
                </a:cubicBezTo>
                <a:cubicBezTo>
                  <a:pt x="145" y="116"/>
                  <a:pt x="146" y="116"/>
                  <a:pt x="147" y="116"/>
                </a:cubicBezTo>
                <a:cubicBezTo>
                  <a:pt x="146" y="116"/>
                  <a:pt x="146" y="116"/>
                  <a:pt x="145" y="116"/>
                </a:cubicBezTo>
                <a:cubicBezTo>
                  <a:pt x="146" y="115"/>
                  <a:pt x="145" y="115"/>
                  <a:pt x="145" y="115"/>
                </a:cubicBezTo>
                <a:cubicBezTo>
                  <a:pt x="145" y="115"/>
                  <a:pt x="145" y="115"/>
                  <a:pt x="145" y="115"/>
                </a:cubicBezTo>
                <a:cubicBezTo>
                  <a:pt x="145" y="114"/>
                  <a:pt x="146" y="114"/>
                  <a:pt x="146" y="114"/>
                </a:cubicBezTo>
                <a:cubicBezTo>
                  <a:pt x="147" y="113"/>
                  <a:pt x="147" y="114"/>
                  <a:pt x="147" y="114"/>
                </a:cubicBezTo>
                <a:cubicBezTo>
                  <a:pt x="147" y="115"/>
                  <a:pt x="148" y="115"/>
                  <a:pt x="148" y="115"/>
                </a:cubicBezTo>
                <a:cubicBezTo>
                  <a:pt x="148" y="115"/>
                  <a:pt x="147" y="114"/>
                  <a:pt x="147" y="113"/>
                </a:cubicBezTo>
                <a:cubicBezTo>
                  <a:pt x="147" y="113"/>
                  <a:pt x="149" y="113"/>
                  <a:pt x="149" y="113"/>
                </a:cubicBezTo>
                <a:cubicBezTo>
                  <a:pt x="149" y="113"/>
                  <a:pt x="149" y="114"/>
                  <a:pt x="149" y="114"/>
                </a:cubicBezTo>
                <a:cubicBezTo>
                  <a:pt x="149" y="114"/>
                  <a:pt x="150" y="112"/>
                  <a:pt x="151" y="113"/>
                </a:cubicBezTo>
                <a:cubicBezTo>
                  <a:pt x="151" y="113"/>
                  <a:pt x="151" y="113"/>
                  <a:pt x="152" y="113"/>
                </a:cubicBezTo>
                <a:cubicBezTo>
                  <a:pt x="152" y="114"/>
                  <a:pt x="152" y="113"/>
                  <a:pt x="152" y="113"/>
                </a:cubicBezTo>
                <a:cubicBezTo>
                  <a:pt x="153" y="112"/>
                  <a:pt x="153" y="112"/>
                  <a:pt x="154" y="112"/>
                </a:cubicBezTo>
                <a:cubicBezTo>
                  <a:pt x="154" y="112"/>
                  <a:pt x="155" y="111"/>
                  <a:pt x="156" y="112"/>
                </a:cubicBezTo>
                <a:cubicBezTo>
                  <a:pt x="156" y="111"/>
                  <a:pt x="157" y="111"/>
                  <a:pt x="157" y="111"/>
                </a:cubicBezTo>
                <a:cubicBezTo>
                  <a:pt x="157" y="111"/>
                  <a:pt x="157" y="111"/>
                  <a:pt x="157" y="111"/>
                </a:cubicBezTo>
                <a:cubicBezTo>
                  <a:pt x="158" y="112"/>
                  <a:pt x="158" y="112"/>
                  <a:pt x="158" y="112"/>
                </a:cubicBezTo>
                <a:cubicBezTo>
                  <a:pt x="159" y="112"/>
                  <a:pt x="159" y="112"/>
                  <a:pt x="160" y="112"/>
                </a:cubicBezTo>
                <a:cubicBezTo>
                  <a:pt x="161" y="111"/>
                  <a:pt x="158" y="112"/>
                  <a:pt x="159" y="111"/>
                </a:cubicBezTo>
                <a:cubicBezTo>
                  <a:pt x="160" y="111"/>
                  <a:pt x="160" y="111"/>
                  <a:pt x="160" y="111"/>
                </a:cubicBezTo>
                <a:cubicBezTo>
                  <a:pt x="161" y="110"/>
                  <a:pt x="161" y="110"/>
                  <a:pt x="162" y="110"/>
                </a:cubicBezTo>
                <a:cubicBezTo>
                  <a:pt x="162" y="110"/>
                  <a:pt x="162" y="109"/>
                  <a:pt x="162" y="109"/>
                </a:cubicBezTo>
                <a:cubicBezTo>
                  <a:pt x="162" y="109"/>
                  <a:pt x="163" y="109"/>
                  <a:pt x="163" y="109"/>
                </a:cubicBezTo>
                <a:cubicBezTo>
                  <a:pt x="163" y="109"/>
                  <a:pt x="163" y="110"/>
                  <a:pt x="163" y="110"/>
                </a:cubicBezTo>
                <a:cubicBezTo>
                  <a:pt x="163" y="110"/>
                  <a:pt x="164" y="109"/>
                  <a:pt x="163" y="110"/>
                </a:cubicBezTo>
                <a:cubicBezTo>
                  <a:pt x="163" y="110"/>
                  <a:pt x="162" y="110"/>
                  <a:pt x="162" y="111"/>
                </a:cubicBezTo>
                <a:cubicBezTo>
                  <a:pt x="162" y="111"/>
                  <a:pt x="163" y="111"/>
                  <a:pt x="163" y="110"/>
                </a:cubicBezTo>
                <a:cubicBezTo>
                  <a:pt x="162" y="111"/>
                  <a:pt x="163" y="111"/>
                  <a:pt x="164" y="111"/>
                </a:cubicBezTo>
                <a:cubicBezTo>
                  <a:pt x="163" y="111"/>
                  <a:pt x="163" y="111"/>
                  <a:pt x="163" y="111"/>
                </a:cubicBezTo>
                <a:cubicBezTo>
                  <a:pt x="163" y="111"/>
                  <a:pt x="163" y="111"/>
                  <a:pt x="163" y="111"/>
                </a:cubicBezTo>
                <a:cubicBezTo>
                  <a:pt x="164" y="111"/>
                  <a:pt x="164" y="111"/>
                  <a:pt x="164" y="111"/>
                </a:cubicBezTo>
                <a:cubicBezTo>
                  <a:pt x="165" y="111"/>
                  <a:pt x="165" y="111"/>
                  <a:pt x="165" y="111"/>
                </a:cubicBezTo>
                <a:cubicBezTo>
                  <a:pt x="165" y="111"/>
                  <a:pt x="164" y="112"/>
                  <a:pt x="163" y="112"/>
                </a:cubicBezTo>
                <a:cubicBezTo>
                  <a:pt x="162" y="112"/>
                  <a:pt x="161" y="112"/>
                  <a:pt x="160" y="113"/>
                </a:cubicBezTo>
                <a:cubicBezTo>
                  <a:pt x="159" y="113"/>
                  <a:pt x="158" y="114"/>
                  <a:pt x="158" y="114"/>
                </a:cubicBezTo>
                <a:cubicBezTo>
                  <a:pt x="157" y="114"/>
                  <a:pt x="156" y="115"/>
                  <a:pt x="155" y="115"/>
                </a:cubicBezTo>
                <a:cubicBezTo>
                  <a:pt x="154" y="115"/>
                  <a:pt x="153" y="115"/>
                  <a:pt x="152" y="116"/>
                </a:cubicBezTo>
                <a:cubicBezTo>
                  <a:pt x="152" y="116"/>
                  <a:pt x="152" y="116"/>
                  <a:pt x="152" y="117"/>
                </a:cubicBezTo>
                <a:cubicBezTo>
                  <a:pt x="152" y="117"/>
                  <a:pt x="152" y="117"/>
                  <a:pt x="152" y="117"/>
                </a:cubicBezTo>
                <a:cubicBezTo>
                  <a:pt x="152" y="117"/>
                  <a:pt x="152" y="118"/>
                  <a:pt x="152" y="118"/>
                </a:cubicBezTo>
                <a:cubicBezTo>
                  <a:pt x="152" y="118"/>
                  <a:pt x="152" y="118"/>
                  <a:pt x="152" y="118"/>
                </a:cubicBezTo>
                <a:cubicBezTo>
                  <a:pt x="152" y="118"/>
                  <a:pt x="152" y="118"/>
                  <a:pt x="152" y="118"/>
                </a:cubicBezTo>
                <a:cubicBezTo>
                  <a:pt x="152" y="118"/>
                  <a:pt x="152" y="118"/>
                  <a:pt x="152" y="118"/>
                </a:cubicBezTo>
                <a:cubicBezTo>
                  <a:pt x="152" y="118"/>
                  <a:pt x="152" y="118"/>
                  <a:pt x="152" y="118"/>
                </a:cubicBezTo>
                <a:cubicBezTo>
                  <a:pt x="152" y="117"/>
                  <a:pt x="153" y="116"/>
                  <a:pt x="153" y="116"/>
                </a:cubicBezTo>
                <a:cubicBezTo>
                  <a:pt x="154" y="115"/>
                  <a:pt x="155" y="115"/>
                  <a:pt x="156" y="115"/>
                </a:cubicBezTo>
                <a:cubicBezTo>
                  <a:pt x="157" y="115"/>
                  <a:pt x="158" y="114"/>
                  <a:pt x="159" y="114"/>
                </a:cubicBezTo>
                <a:cubicBezTo>
                  <a:pt x="159" y="113"/>
                  <a:pt x="160" y="113"/>
                  <a:pt x="161" y="113"/>
                </a:cubicBezTo>
                <a:cubicBezTo>
                  <a:pt x="162" y="113"/>
                  <a:pt x="162" y="113"/>
                  <a:pt x="163" y="113"/>
                </a:cubicBezTo>
                <a:cubicBezTo>
                  <a:pt x="163" y="113"/>
                  <a:pt x="163" y="113"/>
                  <a:pt x="163" y="113"/>
                </a:cubicBezTo>
                <a:cubicBezTo>
                  <a:pt x="165" y="112"/>
                  <a:pt x="166" y="112"/>
                  <a:pt x="167" y="112"/>
                </a:cubicBezTo>
                <a:cubicBezTo>
                  <a:pt x="168" y="112"/>
                  <a:pt x="169" y="112"/>
                  <a:pt x="169" y="112"/>
                </a:cubicBezTo>
                <a:cubicBezTo>
                  <a:pt x="170" y="111"/>
                  <a:pt x="171" y="111"/>
                  <a:pt x="171" y="110"/>
                </a:cubicBezTo>
                <a:cubicBezTo>
                  <a:pt x="172" y="110"/>
                  <a:pt x="172" y="110"/>
                  <a:pt x="173" y="110"/>
                </a:cubicBezTo>
                <a:cubicBezTo>
                  <a:pt x="173" y="110"/>
                  <a:pt x="174" y="110"/>
                  <a:pt x="173" y="110"/>
                </a:cubicBezTo>
                <a:cubicBezTo>
                  <a:pt x="174" y="110"/>
                  <a:pt x="174" y="110"/>
                  <a:pt x="174" y="110"/>
                </a:cubicBezTo>
                <a:cubicBezTo>
                  <a:pt x="175" y="110"/>
                  <a:pt x="175" y="110"/>
                  <a:pt x="175" y="110"/>
                </a:cubicBezTo>
                <a:cubicBezTo>
                  <a:pt x="176" y="110"/>
                  <a:pt x="176" y="110"/>
                  <a:pt x="177" y="110"/>
                </a:cubicBezTo>
                <a:cubicBezTo>
                  <a:pt x="176" y="110"/>
                  <a:pt x="176" y="110"/>
                  <a:pt x="176" y="110"/>
                </a:cubicBezTo>
                <a:cubicBezTo>
                  <a:pt x="176" y="110"/>
                  <a:pt x="176" y="110"/>
                  <a:pt x="176" y="109"/>
                </a:cubicBezTo>
                <a:cubicBezTo>
                  <a:pt x="176" y="109"/>
                  <a:pt x="175" y="110"/>
                  <a:pt x="175" y="110"/>
                </a:cubicBezTo>
                <a:cubicBezTo>
                  <a:pt x="176" y="109"/>
                  <a:pt x="177" y="109"/>
                  <a:pt x="178" y="109"/>
                </a:cubicBezTo>
                <a:cubicBezTo>
                  <a:pt x="178" y="109"/>
                  <a:pt x="177" y="109"/>
                  <a:pt x="176" y="109"/>
                </a:cubicBezTo>
                <a:cubicBezTo>
                  <a:pt x="177" y="109"/>
                  <a:pt x="177" y="109"/>
                  <a:pt x="178" y="109"/>
                </a:cubicBezTo>
                <a:cubicBezTo>
                  <a:pt x="177" y="109"/>
                  <a:pt x="178" y="110"/>
                  <a:pt x="179" y="109"/>
                </a:cubicBezTo>
                <a:cubicBezTo>
                  <a:pt x="179" y="109"/>
                  <a:pt x="180" y="109"/>
                  <a:pt x="180" y="109"/>
                </a:cubicBezTo>
                <a:cubicBezTo>
                  <a:pt x="182" y="109"/>
                  <a:pt x="183" y="108"/>
                  <a:pt x="184" y="108"/>
                </a:cubicBezTo>
                <a:cubicBezTo>
                  <a:pt x="185" y="108"/>
                  <a:pt x="185" y="108"/>
                  <a:pt x="186" y="107"/>
                </a:cubicBezTo>
                <a:cubicBezTo>
                  <a:pt x="186" y="107"/>
                  <a:pt x="186" y="107"/>
                  <a:pt x="187" y="107"/>
                </a:cubicBezTo>
                <a:cubicBezTo>
                  <a:pt x="188" y="107"/>
                  <a:pt x="187" y="108"/>
                  <a:pt x="186" y="108"/>
                </a:cubicBezTo>
                <a:cubicBezTo>
                  <a:pt x="187" y="108"/>
                  <a:pt x="188" y="108"/>
                  <a:pt x="188" y="107"/>
                </a:cubicBezTo>
                <a:cubicBezTo>
                  <a:pt x="189" y="107"/>
                  <a:pt x="190" y="107"/>
                  <a:pt x="191" y="106"/>
                </a:cubicBezTo>
                <a:cubicBezTo>
                  <a:pt x="190" y="106"/>
                  <a:pt x="190" y="106"/>
                  <a:pt x="190" y="106"/>
                </a:cubicBezTo>
                <a:cubicBezTo>
                  <a:pt x="191" y="106"/>
                  <a:pt x="191" y="106"/>
                  <a:pt x="192" y="106"/>
                </a:cubicBezTo>
                <a:cubicBezTo>
                  <a:pt x="191" y="106"/>
                  <a:pt x="192" y="106"/>
                  <a:pt x="192" y="106"/>
                </a:cubicBezTo>
                <a:cubicBezTo>
                  <a:pt x="193" y="106"/>
                  <a:pt x="193" y="106"/>
                  <a:pt x="193" y="106"/>
                </a:cubicBezTo>
                <a:cubicBezTo>
                  <a:pt x="193" y="106"/>
                  <a:pt x="193" y="106"/>
                  <a:pt x="193" y="106"/>
                </a:cubicBezTo>
                <a:cubicBezTo>
                  <a:pt x="194" y="106"/>
                  <a:pt x="194" y="105"/>
                  <a:pt x="195" y="105"/>
                </a:cubicBezTo>
                <a:cubicBezTo>
                  <a:pt x="195" y="105"/>
                  <a:pt x="194" y="106"/>
                  <a:pt x="194" y="106"/>
                </a:cubicBezTo>
                <a:cubicBezTo>
                  <a:pt x="195" y="106"/>
                  <a:pt x="196" y="105"/>
                  <a:pt x="196" y="105"/>
                </a:cubicBezTo>
                <a:cubicBezTo>
                  <a:pt x="196" y="105"/>
                  <a:pt x="196" y="105"/>
                  <a:pt x="196" y="106"/>
                </a:cubicBezTo>
                <a:cubicBezTo>
                  <a:pt x="196" y="106"/>
                  <a:pt x="196" y="106"/>
                  <a:pt x="196" y="106"/>
                </a:cubicBezTo>
                <a:cubicBezTo>
                  <a:pt x="196" y="106"/>
                  <a:pt x="196" y="106"/>
                  <a:pt x="195" y="106"/>
                </a:cubicBezTo>
                <a:cubicBezTo>
                  <a:pt x="196" y="106"/>
                  <a:pt x="196" y="106"/>
                  <a:pt x="197" y="106"/>
                </a:cubicBezTo>
                <a:cubicBezTo>
                  <a:pt x="197" y="106"/>
                  <a:pt x="196" y="106"/>
                  <a:pt x="196" y="106"/>
                </a:cubicBezTo>
                <a:cubicBezTo>
                  <a:pt x="197" y="106"/>
                  <a:pt x="197" y="106"/>
                  <a:pt x="197" y="106"/>
                </a:cubicBezTo>
                <a:cubicBezTo>
                  <a:pt x="197" y="106"/>
                  <a:pt x="198" y="106"/>
                  <a:pt x="198" y="106"/>
                </a:cubicBezTo>
                <a:cubicBezTo>
                  <a:pt x="198" y="106"/>
                  <a:pt x="198" y="106"/>
                  <a:pt x="198" y="106"/>
                </a:cubicBezTo>
                <a:cubicBezTo>
                  <a:pt x="198" y="106"/>
                  <a:pt x="199" y="106"/>
                  <a:pt x="200" y="105"/>
                </a:cubicBezTo>
                <a:cubicBezTo>
                  <a:pt x="200" y="105"/>
                  <a:pt x="201" y="104"/>
                  <a:pt x="202" y="104"/>
                </a:cubicBezTo>
                <a:cubicBezTo>
                  <a:pt x="202" y="105"/>
                  <a:pt x="202" y="105"/>
                  <a:pt x="201" y="105"/>
                </a:cubicBezTo>
                <a:cubicBezTo>
                  <a:pt x="202" y="105"/>
                  <a:pt x="202" y="105"/>
                  <a:pt x="202" y="105"/>
                </a:cubicBezTo>
                <a:cubicBezTo>
                  <a:pt x="202" y="105"/>
                  <a:pt x="202" y="106"/>
                  <a:pt x="202" y="106"/>
                </a:cubicBezTo>
                <a:cubicBezTo>
                  <a:pt x="202" y="106"/>
                  <a:pt x="202" y="106"/>
                  <a:pt x="202" y="106"/>
                </a:cubicBezTo>
                <a:cubicBezTo>
                  <a:pt x="202" y="106"/>
                  <a:pt x="201" y="106"/>
                  <a:pt x="200" y="106"/>
                </a:cubicBezTo>
                <a:cubicBezTo>
                  <a:pt x="201" y="107"/>
                  <a:pt x="199" y="107"/>
                  <a:pt x="199" y="107"/>
                </a:cubicBezTo>
                <a:cubicBezTo>
                  <a:pt x="198" y="107"/>
                  <a:pt x="197" y="107"/>
                  <a:pt x="197" y="107"/>
                </a:cubicBezTo>
                <a:cubicBezTo>
                  <a:pt x="196" y="108"/>
                  <a:pt x="193" y="108"/>
                  <a:pt x="193" y="108"/>
                </a:cubicBezTo>
                <a:cubicBezTo>
                  <a:pt x="192" y="108"/>
                  <a:pt x="191" y="108"/>
                  <a:pt x="190" y="109"/>
                </a:cubicBezTo>
                <a:cubicBezTo>
                  <a:pt x="190" y="109"/>
                  <a:pt x="189" y="109"/>
                  <a:pt x="188" y="110"/>
                </a:cubicBezTo>
                <a:cubicBezTo>
                  <a:pt x="187" y="110"/>
                  <a:pt x="187" y="110"/>
                  <a:pt x="186" y="110"/>
                </a:cubicBezTo>
                <a:cubicBezTo>
                  <a:pt x="186" y="111"/>
                  <a:pt x="185" y="111"/>
                  <a:pt x="185" y="110"/>
                </a:cubicBezTo>
                <a:cubicBezTo>
                  <a:pt x="184" y="110"/>
                  <a:pt x="183" y="110"/>
                  <a:pt x="182" y="111"/>
                </a:cubicBezTo>
                <a:cubicBezTo>
                  <a:pt x="181" y="111"/>
                  <a:pt x="181" y="111"/>
                  <a:pt x="180" y="111"/>
                </a:cubicBezTo>
                <a:cubicBezTo>
                  <a:pt x="180" y="111"/>
                  <a:pt x="180" y="111"/>
                  <a:pt x="180" y="111"/>
                </a:cubicBezTo>
                <a:cubicBezTo>
                  <a:pt x="180" y="111"/>
                  <a:pt x="180" y="111"/>
                  <a:pt x="179" y="111"/>
                </a:cubicBezTo>
                <a:cubicBezTo>
                  <a:pt x="179" y="111"/>
                  <a:pt x="178" y="111"/>
                  <a:pt x="178" y="111"/>
                </a:cubicBezTo>
                <a:cubicBezTo>
                  <a:pt x="177" y="111"/>
                  <a:pt x="177" y="111"/>
                  <a:pt x="176" y="112"/>
                </a:cubicBezTo>
                <a:cubicBezTo>
                  <a:pt x="176" y="112"/>
                  <a:pt x="176" y="112"/>
                  <a:pt x="176" y="112"/>
                </a:cubicBezTo>
                <a:cubicBezTo>
                  <a:pt x="175" y="112"/>
                  <a:pt x="175" y="113"/>
                  <a:pt x="174" y="113"/>
                </a:cubicBezTo>
                <a:cubicBezTo>
                  <a:pt x="173" y="113"/>
                  <a:pt x="173" y="113"/>
                  <a:pt x="172" y="113"/>
                </a:cubicBezTo>
                <a:cubicBezTo>
                  <a:pt x="172" y="113"/>
                  <a:pt x="172" y="114"/>
                  <a:pt x="172" y="114"/>
                </a:cubicBezTo>
                <a:cubicBezTo>
                  <a:pt x="172" y="114"/>
                  <a:pt x="172" y="113"/>
                  <a:pt x="172" y="113"/>
                </a:cubicBezTo>
                <a:cubicBezTo>
                  <a:pt x="171" y="113"/>
                  <a:pt x="170" y="114"/>
                  <a:pt x="170" y="114"/>
                </a:cubicBezTo>
                <a:cubicBezTo>
                  <a:pt x="170" y="114"/>
                  <a:pt x="170" y="114"/>
                  <a:pt x="171" y="113"/>
                </a:cubicBezTo>
                <a:cubicBezTo>
                  <a:pt x="171" y="113"/>
                  <a:pt x="170" y="113"/>
                  <a:pt x="170" y="113"/>
                </a:cubicBezTo>
                <a:cubicBezTo>
                  <a:pt x="169" y="114"/>
                  <a:pt x="168" y="114"/>
                  <a:pt x="168" y="114"/>
                </a:cubicBezTo>
                <a:cubicBezTo>
                  <a:pt x="167" y="114"/>
                  <a:pt x="166" y="115"/>
                  <a:pt x="167" y="115"/>
                </a:cubicBezTo>
                <a:cubicBezTo>
                  <a:pt x="166" y="115"/>
                  <a:pt x="166" y="115"/>
                  <a:pt x="165" y="116"/>
                </a:cubicBezTo>
                <a:cubicBezTo>
                  <a:pt x="165" y="116"/>
                  <a:pt x="165" y="116"/>
                  <a:pt x="165" y="116"/>
                </a:cubicBezTo>
                <a:cubicBezTo>
                  <a:pt x="165" y="116"/>
                  <a:pt x="165" y="115"/>
                  <a:pt x="166" y="115"/>
                </a:cubicBezTo>
                <a:cubicBezTo>
                  <a:pt x="164" y="115"/>
                  <a:pt x="163" y="115"/>
                  <a:pt x="162" y="116"/>
                </a:cubicBezTo>
                <a:cubicBezTo>
                  <a:pt x="162" y="117"/>
                  <a:pt x="161" y="117"/>
                  <a:pt x="161" y="117"/>
                </a:cubicBezTo>
                <a:cubicBezTo>
                  <a:pt x="161" y="117"/>
                  <a:pt x="160" y="117"/>
                  <a:pt x="160" y="117"/>
                </a:cubicBezTo>
                <a:cubicBezTo>
                  <a:pt x="160" y="117"/>
                  <a:pt x="160" y="117"/>
                  <a:pt x="161" y="117"/>
                </a:cubicBezTo>
                <a:cubicBezTo>
                  <a:pt x="160" y="117"/>
                  <a:pt x="158" y="118"/>
                  <a:pt x="159" y="118"/>
                </a:cubicBezTo>
                <a:cubicBezTo>
                  <a:pt x="159" y="118"/>
                  <a:pt x="160" y="118"/>
                  <a:pt x="159" y="119"/>
                </a:cubicBezTo>
                <a:cubicBezTo>
                  <a:pt x="160" y="119"/>
                  <a:pt x="161" y="119"/>
                  <a:pt x="161" y="119"/>
                </a:cubicBezTo>
                <a:cubicBezTo>
                  <a:pt x="161" y="118"/>
                  <a:pt x="161" y="119"/>
                  <a:pt x="161" y="119"/>
                </a:cubicBezTo>
                <a:cubicBezTo>
                  <a:pt x="160" y="119"/>
                  <a:pt x="160" y="119"/>
                  <a:pt x="160" y="118"/>
                </a:cubicBezTo>
                <a:cubicBezTo>
                  <a:pt x="160" y="118"/>
                  <a:pt x="159" y="118"/>
                  <a:pt x="160" y="118"/>
                </a:cubicBezTo>
                <a:cubicBezTo>
                  <a:pt x="160" y="118"/>
                  <a:pt x="160" y="118"/>
                  <a:pt x="160" y="118"/>
                </a:cubicBezTo>
                <a:cubicBezTo>
                  <a:pt x="160" y="118"/>
                  <a:pt x="160" y="118"/>
                  <a:pt x="159" y="118"/>
                </a:cubicBezTo>
                <a:cubicBezTo>
                  <a:pt x="159" y="118"/>
                  <a:pt x="160" y="117"/>
                  <a:pt x="160" y="117"/>
                </a:cubicBezTo>
                <a:cubicBezTo>
                  <a:pt x="161" y="117"/>
                  <a:pt x="161" y="118"/>
                  <a:pt x="161" y="118"/>
                </a:cubicBezTo>
                <a:cubicBezTo>
                  <a:pt x="162" y="118"/>
                  <a:pt x="162" y="118"/>
                  <a:pt x="163" y="117"/>
                </a:cubicBezTo>
                <a:cubicBezTo>
                  <a:pt x="163" y="117"/>
                  <a:pt x="164" y="117"/>
                  <a:pt x="164" y="118"/>
                </a:cubicBezTo>
                <a:cubicBezTo>
                  <a:pt x="164" y="118"/>
                  <a:pt x="164" y="118"/>
                  <a:pt x="165" y="118"/>
                </a:cubicBezTo>
                <a:cubicBezTo>
                  <a:pt x="165" y="118"/>
                  <a:pt x="166" y="118"/>
                  <a:pt x="167" y="117"/>
                </a:cubicBezTo>
                <a:cubicBezTo>
                  <a:pt x="167" y="117"/>
                  <a:pt x="167" y="116"/>
                  <a:pt x="166" y="117"/>
                </a:cubicBezTo>
                <a:cubicBezTo>
                  <a:pt x="166" y="117"/>
                  <a:pt x="166" y="117"/>
                  <a:pt x="166" y="117"/>
                </a:cubicBezTo>
                <a:cubicBezTo>
                  <a:pt x="166" y="117"/>
                  <a:pt x="166" y="117"/>
                  <a:pt x="165" y="117"/>
                </a:cubicBezTo>
                <a:cubicBezTo>
                  <a:pt x="165" y="117"/>
                  <a:pt x="164" y="117"/>
                  <a:pt x="164" y="117"/>
                </a:cubicBezTo>
                <a:cubicBezTo>
                  <a:pt x="164" y="117"/>
                  <a:pt x="164" y="117"/>
                  <a:pt x="165" y="117"/>
                </a:cubicBezTo>
                <a:cubicBezTo>
                  <a:pt x="164" y="117"/>
                  <a:pt x="166" y="117"/>
                  <a:pt x="166" y="116"/>
                </a:cubicBezTo>
                <a:cubicBezTo>
                  <a:pt x="166" y="116"/>
                  <a:pt x="165" y="116"/>
                  <a:pt x="165" y="116"/>
                </a:cubicBezTo>
                <a:cubicBezTo>
                  <a:pt x="166" y="116"/>
                  <a:pt x="166" y="115"/>
                  <a:pt x="166" y="115"/>
                </a:cubicBezTo>
                <a:cubicBezTo>
                  <a:pt x="167" y="115"/>
                  <a:pt x="167" y="115"/>
                  <a:pt x="167" y="115"/>
                </a:cubicBezTo>
                <a:cubicBezTo>
                  <a:pt x="168" y="115"/>
                  <a:pt x="168" y="115"/>
                  <a:pt x="169" y="115"/>
                </a:cubicBezTo>
                <a:cubicBezTo>
                  <a:pt x="169" y="115"/>
                  <a:pt x="169" y="115"/>
                  <a:pt x="170" y="115"/>
                </a:cubicBezTo>
                <a:cubicBezTo>
                  <a:pt x="170" y="114"/>
                  <a:pt x="170" y="114"/>
                  <a:pt x="171" y="114"/>
                </a:cubicBezTo>
                <a:cubicBezTo>
                  <a:pt x="170" y="114"/>
                  <a:pt x="170" y="115"/>
                  <a:pt x="169" y="115"/>
                </a:cubicBezTo>
                <a:cubicBezTo>
                  <a:pt x="170" y="115"/>
                  <a:pt x="171" y="114"/>
                  <a:pt x="172" y="114"/>
                </a:cubicBezTo>
                <a:cubicBezTo>
                  <a:pt x="172" y="114"/>
                  <a:pt x="171" y="114"/>
                  <a:pt x="171" y="114"/>
                </a:cubicBezTo>
                <a:cubicBezTo>
                  <a:pt x="171" y="114"/>
                  <a:pt x="172" y="114"/>
                  <a:pt x="172" y="114"/>
                </a:cubicBezTo>
                <a:cubicBezTo>
                  <a:pt x="172" y="114"/>
                  <a:pt x="172" y="114"/>
                  <a:pt x="171" y="115"/>
                </a:cubicBezTo>
                <a:cubicBezTo>
                  <a:pt x="173" y="114"/>
                  <a:pt x="174" y="113"/>
                  <a:pt x="176" y="113"/>
                </a:cubicBezTo>
                <a:cubicBezTo>
                  <a:pt x="175" y="113"/>
                  <a:pt x="175" y="113"/>
                  <a:pt x="175" y="113"/>
                </a:cubicBezTo>
                <a:cubicBezTo>
                  <a:pt x="176" y="113"/>
                  <a:pt x="177" y="113"/>
                  <a:pt x="178" y="112"/>
                </a:cubicBezTo>
                <a:cubicBezTo>
                  <a:pt x="177" y="112"/>
                  <a:pt x="177" y="112"/>
                  <a:pt x="177" y="112"/>
                </a:cubicBezTo>
                <a:cubicBezTo>
                  <a:pt x="177" y="112"/>
                  <a:pt x="176" y="112"/>
                  <a:pt x="176" y="112"/>
                </a:cubicBezTo>
                <a:cubicBezTo>
                  <a:pt x="177" y="112"/>
                  <a:pt x="178" y="112"/>
                  <a:pt x="179" y="112"/>
                </a:cubicBezTo>
                <a:cubicBezTo>
                  <a:pt x="179" y="112"/>
                  <a:pt x="179" y="112"/>
                  <a:pt x="180" y="112"/>
                </a:cubicBezTo>
                <a:cubicBezTo>
                  <a:pt x="180" y="112"/>
                  <a:pt x="180" y="112"/>
                  <a:pt x="180" y="112"/>
                </a:cubicBezTo>
                <a:cubicBezTo>
                  <a:pt x="180" y="112"/>
                  <a:pt x="179" y="113"/>
                  <a:pt x="178" y="113"/>
                </a:cubicBezTo>
                <a:cubicBezTo>
                  <a:pt x="180" y="113"/>
                  <a:pt x="181" y="112"/>
                  <a:pt x="182" y="111"/>
                </a:cubicBezTo>
                <a:cubicBezTo>
                  <a:pt x="182" y="112"/>
                  <a:pt x="181" y="112"/>
                  <a:pt x="181" y="112"/>
                </a:cubicBezTo>
                <a:cubicBezTo>
                  <a:pt x="182" y="112"/>
                  <a:pt x="182" y="111"/>
                  <a:pt x="182" y="111"/>
                </a:cubicBezTo>
                <a:cubicBezTo>
                  <a:pt x="182" y="113"/>
                  <a:pt x="180" y="112"/>
                  <a:pt x="179" y="113"/>
                </a:cubicBezTo>
                <a:cubicBezTo>
                  <a:pt x="180" y="113"/>
                  <a:pt x="181" y="113"/>
                  <a:pt x="182" y="112"/>
                </a:cubicBezTo>
                <a:cubicBezTo>
                  <a:pt x="182" y="112"/>
                  <a:pt x="183" y="112"/>
                  <a:pt x="183" y="111"/>
                </a:cubicBezTo>
                <a:cubicBezTo>
                  <a:pt x="183" y="111"/>
                  <a:pt x="183" y="111"/>
                  <a:pt x="183" y="111"/>
                </a:cubicBezTo>
                <a:cubicBezTo>
                  <a:pt x="183" y="111"/>
                  <a:pt x="183" y="111"/>
                  <a:pt x="183" y="112"/>
                </a:cubicBezTo>
                <a:cubicBezTo>
                  <a:pt x="182" y="112"/>
                  <a:pt x="182" y="112"/>
                  <a:pt x="182" y="113"/>
                </a:cubicBezTo>
                <a:cubicBezTo>
                  <a:pt x="182" y="112"/>
                  <a:pt x="184" y="112"/>
                  <a:pt x="184" y="111"/>
                </a:cubicBezTo>
                <a:cubicBezTo>
                  <a:pt x="184" y="110"/>
                  <a:pt x="185" y="110"/>
                  <a:pt x="185" y="110"/>
                </a:cubicBezTo>
                <a:cubicBezTo>
                  <a:pt x="185" y="110"/>
                  <a:pt x="184" y="111"/>
                  <a:pt x="184" y="111"/>
                </a:cubicBezTo>
                <a:cubicBezTo>
                  <a:pt x="183" y="112"/>
                  <a:pt x="182" y="112"/>
                  <a:pt x="181" y="113"/>
                </a:cubicBezTo>
                <a:cubicBezTo>
                  <a:pt x="182" y="113"/>
                  <a:pt x="183" y="112"/>
                  <a:pt x="183" y="112"/>
                </a:cubicBezTo>
                <a:cubicBezTo>
                  <a:pt x="184" y="111"/>
                  <a:pt x="184" y="111"/>
                  <a:pt x="185" y="111"/>
                </a:cubicBezTo>
                <a:cubicBezTo>
                  <a:pt x="184" y="111"/>
                  <a:pt x="184" y="112"/>
                  <a:pt x="183" y="112"/>
                </a:cubicBezTo>
                <a:cubicBezTo>
                  <a:pt x="183" y="112"/>
                  <a:pt x="182" y="113"/>
                  <a:pt x="182" y="113"/>
                </a:cubicBezTo>
                <a:cubicBezTo>
                  <a:pt x="182" y="113"/>
                  <a:pt x="183" y="112"/>
                  <a:pt x="183" y="112"/>
                </a:cubicBezTo>
                <a:cubicBezTo>
                  <a:pt x="183" y="113"/>
                  <a:pt x="182" y="113"/>
                  <a:pt x="182" y="113"/>
                </a:cubicBezTo>
                <a:cubicBezTo>
                  <a:pt x="181" y="114"/>
                  <a:pt x="180" y="114"/>
                  <a:pt x="180" y="115"/>
                </a:cubicBezTo>
                <a:cubicBezTo>
                  <a:pt x="181" y="115"/>
                  <a:pt x="182" y="113"/>
                  <a:pt x="182" y="113"/>
                </a:cubicBezTo>
                <a:cubicBezTo>
                  <a:pt x="183" y="113"/>
                  <a:pt x="184" y="112"/>
                  <a:pt x="184" y="112"/>
                </a:cubicBezTo>
                <a:cubicBezTo>
                  <a:pt x="185" y="112"/>
                  <a:pt x="186" y="112"/>
                  <a:pt x="186" y="112"/>
                </a:cubicBezTo>
                <a:cubicBezTo>
                  <a:pt x="186" y="112"/>
                  <a:pt x="186" y="112"/>
                  <a:pt x="185" y="112"/>
                </a:cubicBezTo>
                <a:cubicBezTo>
                  <a:pt x="187" y="111"/>
                  <a:pt x="189" y="110"/>
                  <a:pt x="191" y="110"/>
                </a:cubicBezTo>
                <a:cubicBezTo>
                  <a:pt x="192" y="109"/>
                  <a:pt x="194" y="109"/>
                  <a:pt x="196" y="109"/>
                </a:cubicBezTo>
                <a:cubicBezTo>
                  <a:pt x="198" y="108"/>
                  <a:pt x="199" y="108"/>
                  <a:pt x="201" y="108"/>
                </a:cubicBezTo>
                <a:cubicBezTo>
                  <a:pt x="202" y="108"/>
                  <a:pt x="204" y="107"/>
                  <a:pt x="204" y="107"/>
                </a:cubicBezTo>
                <a:cubicBezTo>
                  <a:pt x="204" y="107"/>
                  <a:pt x="203" y="108"/>
                  <a:pt x="203" y="108"/>
                </a:cubicBezTo>
                <a:cubicBezTo>
                  <a:pt x="202" y="108"/>
                  <a:pt x="202" y="108"/>
                  <a:pt x="201" y="108"/>
                </a:cubicBezTo>
                <a:cubicBezTo>
                  <a:pt x="201" y="108"/>
                  <a:pt x="199" y="109"/>
                  <a:pt x="199" y="109"/>
                </a:cubicBezTo>
                <a:cubicBezTo>
                  <a:pt x="199" y="110"/>
                  <a:pt x="200" y="110"/>
                  <a:pt x="201" y="110"/>
                </a:cubicBezTo>
                <a:cubicBezTo>
                  <a:pt x="201" y="110"/>
                  <a:pt x="201" y="109"/>
                  <a:pt x="201" y="109"/>
                </a:cubicBezTo>
                <a:cubicBezTo>
                  <a:pt x="201" y="109"/>
                  <a:pt x="202" y="109"/>
                  <a:pt x="202" y="109"/>
                </a:cubicBezTo>
                <a:cubicBezTo>
                  <a:pt x="204" y="109"/>
                  <a:pt x="205" y="108"/>
                  <a:pt x="207" y="107"/>
                </a:cubicBezTo>
                <a:cubicBezTo>
                  <a:pt x="208" y="107"/>
                  <a:pt x="208" y="107"/>
                  <a:pt x="209" y="106"/>
                </a:cubicBezTo>
                <a:cubicBezTo>
                  <a:pt x="210" y="105"/>
                  <a:pt x="211" y="105"/>
                  <a:pt x="212" y="105"/>
                </a:cubicBezTo>
                <a:cubicBezTo>
                  <a:pt x="213" y="105"/>
                  <a:pt x="213" y="105"/>
                  <a:pt x="214" y="105"/>
                </a:cubicBezTo>
                <a:cubicBezTo>
                  <a:pt x="215" y="105"/>
                  <a:pt x="216" y="105"/>
                  <a:pt x="217" y="105"/>
                </a:cubicBezTo>
                <a:cubicBezTo>
                  <a:pt x="216" y="104"/>
                  <a:pt x="214" y="105"/>
                  <a:pt x="214" y="104"/>
                </a:cubicBezTo>
                <a:cubicBezTo>
                  <a:pt x="214" y="104"/>
                  <a:pt x="214" y="103"/>
                  <a:pt x="215" y="103"/>
                </a:cubicBezTo>
                <a:cubicBezTo>
                  <a:pt x="215" y="104"/>
                  <a:pt x="215" y="103"/>
                  <a:pt x="216" y="103"/>
                </a:cubicBezTo>
                <a:cubicBezTo>
                  <a:pt x="215" y="103"/>
                  <a:pt x="215" y="103"/>
                  <a:pt x="214" y="103"/>
                </a:cubicBezTo>
                <a:cubicBezTo>
                  <a:pt x="214" y="103"/>
                  <a:pt x="215" y="102"/>
                  <a:pt x="215" y="102"/>
                </a:cubicBezTo>
                <a:cubicBezTo>
                  <a:pt x="216" y="102"/>
                  <a:pt x="217" y="101"/>
                  <a:pt x="218" y="102"/>
                </a:cubicBezTo>
                <a:cubicBezTo>
                  <a:pt x="219" y="102"/>
                  <a:pt x="220" y="104"/>
                  <a:pt x="219" y="105"/>
                </a:cubicBezTo>
                <a:cubicBezTo>
                  <a:pt x="219" y="105"/>
                  <a:pt x="218" y="107"/>
                  <a:pt x="219" y="107"/>
                </a:cubicBezTo>
                <a:cubicBezTo>
                  <a:pt x="218" y="107"/>
                  <a:pt x="217" y="108"/>
                  <a:pt x="217" y="109"/>
                </a:cubicBezTo>
                <a:cubicBezTo>
                  <a:pt x="218" y="110"/>
                  <a:pt x="218" y="112"/>
                  <a:pt x="219" y="112"/>
                </a:cubicBezTo>
                <a:cubicBezTo>
                  <a:pt x="219" y="112"/>
                  <a:pt x="220" y="112"/>
                  <a:pt x="220" y="112"/>
                </a:cubicBezTo>
                <a:cubicBezTo>
                  <a:pt x="220" y="112"/>
                  <a:pt x="220" y="113"/>
                  <a:pt x="221" y="113"/>
                </a:cubicBezTo>
                <a:cubicBezTo>
                  <a:pt x="221" y="113"/>
                  <a:pt x="221" y="113"/>
                  <a:pt x="222" y="113"/>
                </a:cubicBezTo>
                <a:cubicBezTo>
                  <a:pt x="222" y="112"/>
                  <a:pt x="222" y="113"/>
                  <a:pt x="222" y="112"/>
                </a:cubicBezTo>
                <a:cubicBezTo>
                  <a:pt x="222" y="112"/>
                  <a:pt x="223" y="112"/>
                  <a:pt x="223" y="112"/>
                </a:cubicBezTo>
                <a:cubicBezTo>
                  <a:pt x="224" y="112"/>
                  <a:pt x="224" y="112"/>
                  <a:pt x="225" y="112"/>
                </a:cubicBezTo>
                <a:cubicBezTo>
                  <a:pt x="225" y="112"/>
                  <a:pt x="225" y="112"/>
                  <a:pt x="225" y="112"/>
                </a:cubicBezTo>
                <a:cubicBezTo>
                  <a:pt x="225" y="112"/>
                  <a:pt x="224" y="112"/>
                  <a:pt x="224" y="112"/>
                </a:cubicBezTo>
                <a:cubicBezTo>
                  <a:pt x="223" y="112"/>
                  <a:pt x="222" y="112"/>
                  <a:pt x="221" y="112"/>
                </a:cubicBezTo>
                <a:cubicBezTo>
                  <a:pt x="222" y="112"/>
                  <a:pt x="223" y="111"/>
                  <a:pt x="223" y="111"/>
                </a:cubicBezTo>
                <a:cubicBezTo>
                  <a:pt x="224" y="111"/>
                  <a:pt x="224" y="111"/>
                  <a:pt x="224" y="111"/>
                </a:cubicBezTo>
                <a:cubicBezTo>
                  <a:pt x="225" y="111"/>
                  <a:pt x="225" y="111"/>
                  <a:pt x="225" y="111"/>
                </a:cubicBezTo>
                <a:cubicBezTo>
                  <a:pt x="224" y="111"/>
                  <a:pt x="225" y="111"/>
                  <a:pt x="225" y="110"/>
                </a:cubicBezTo>
                <a:cubicBezTo>
                  <a:pt x="225" y="110"/>
                  <a:pt x="225" y="110"/>
                  <a:pt x="224" y="110"/>
                </a:cubicBezTo>
                <a:cubicBezTo>
                  <a:pt x="225" y="110"/>
                  <a:pt x="225" y="110"/>
                  <a:pt x="226" y="110"/>
                </a:cubicBezTo>
                <a:cubicBezTo>
                  <a:pt x="226" y="110"/>
                  <a:pt x="227" y="110"/>
                  <a:pt x="227" y="109"/>
                </a:cubicBezTo>
                <a:cubicBezTo>
                  <a:pt x="228" y="109"/>
                  <a:pt x="228" y="109"/>
                  <a:pt x="229" y="109"/>
                </a:cubicBezTo>
                <a:cubicBezTo>
                  <a:pt x="229" y="109"/>
                  <a:pt x="228" y="110"/>
                  <a:pt x="228" y="110"/>
                </a:cubicBezTo>
                <a:cubicBezTo>
                  <a:pt x="229" y="110"/>
                  <a:pt x="230" y="110"/>
                  <a:pt x="230" y="109"/>
                </a:cubicBezTo>
                <a:cubicBezTo>
                  <a:pt x="230" y="109"/>
                  <a:pt x="228" y="109"/>
                  <a:pt x="227" y="109"/>
                </a:cubicBezTo>
                <a:cubicBezTo>
                  <a:pt x="228" y="108"/>
                  <a:pt x="228" y="108"/>
                  <a:pt x="229" y="108"/>
                </a:cubicBezTo>
                <a:cubicBezTo>
                  <a:pt x="229" y="108"/>
                  <a:pt x="229" y="108"/>
                  <a:pt x="228" y="109"/>
                </a:cubicBezTo>
                <a:cubicBezTo>
                  <a:pt x="230" y="109"/>
                  <a:pt x="231" y="107"/>
                  <a:pt x="233" y="107"/>
                </a:cubicBezTo>
                <a:cubicBezTo>
                  <a:pt x="233" y="107"/>
                  <a:pt x="235" y="107"/>
                  <a:pt x="234" y="107"/>
                </a:cubicBezTo>
                <a:cubicBezTo>
                  <a:pt x="234" y="106"/>
                  <a:pt x="233" y="107"/>
                  <a:pt x="233" y="107"/>
                </a:cubicBezTo>
                <a:cubicBezTo>
                  <a:pt x="233" y="107"/>
                  <a:pt x="233" y="107"/>
                  <a:pt x="233" y="107"/>
                </a:cubicBezTo>
                <a:cubicBezTo>
                  <a:pt x="232" y="106"/>
                  <a:pt x="231" y="107"/>
                  <a:pt x="230" y="107"/>
                </a:cubicBezTo>
                <a:cubicBezTo>
                  <a:pt x="230" y="107"/>
                  <a:pt x="232" y="106"/>
                  <a:pt x="233" y="106"/>
                </a:cubicBezTo>
                <a:cubicBezTo>
                  <a:pt x="232" y="106"/>
                  <a:pt x="232" y="106"/>
                  <a:pt x="232" y="107"/>
                </a:cubicBezTo>
                <a:cubicBezTo>
                  <a:pt x="232" y="107"/>
                  <a:pt x="233" y="107"/>
                  <a:pt x="233" y="106"/>
                </a:cubicBezTo>
                <a:cubicBezTo>
                  <a:pt x="233" y="106"/>
                  <a:pt x="233" y="106"/>
                  <a:pt x="232" y="106"/>
                </a:cubicBezTo>
                <a:cubicBezTo>
                  <a:pt x="233" y="106"/>
                  <a:pt x="235" y="106"/>
                  <a:pt x="235" y="106"/>
                </a:cubicBezTo>
                <a:cubicBezTo>
                  <a:pt x="235" y="107"/>
                  <a:pt x="235" y="106"/>
                  <a:pt x="236" y="106"/>
                </a:cubicBezTo>
                <a:cubicBezTo>
                  <a:pt x="236" y="106"/>
                  <a:pt x="236" y="106"/>
                  <a:pt x="236" y="106"/>
                </a:cubicBezTo>
                <a:cubicBezTo>
                  <a:pt x="236" y="106"/>
                  <a:pt x="236" y="106"/>
                  <a:pt x="236" y="106"/>
                </a:cubicBezTo>
                <a:cubicBezTo>
                  <a:pt x="236" y="106"/>
                  <a:pt x="236" y="106"/>
                  <a:pt x="236" y="106"/>
                </a:cubicBezTo>
                <a:cubicBezTo>
                  <a:pt x="236" y="105"/>
                  <a:pt x="235" y="106"/>
                  <a:pt x="235" y="106"/>
                </a:cubicBezTo>
                <a:cubicBezTo>
                  <a:pt x="235" y="106"/>
                  <a:pt x="235" y="106"/>
                  <a:pt x="235" y="106"/>
                </a:cubicBezTo>
                <a:cubicBezTo>
                  <a:pt x="234" y="106"/>
                  <a:pt x="235" y="105"/>
                  <a:pt x="236" y="105"/>
                </a:cubicBezTo>
                <a:cubicBezTo>
                  <a:pt x="236" y="105"/>
                  <a:pt x="235" y="105"/>
                  <a:pt x="236" y="105"/>
                </a:cubicBezTo>
                <a:cubicBezTo>
                  <a:pt x="236" y="105"/>
                  <a:pt x="237" y="105"/>
                  <a:pt x="237" y="105"/>
                </a:cubicBezTo>
                <a:cubicBezTo>
                  <a:pt x="237" y="105"/>
                  <a:pt x="236" y="105"/>
                  <a:pt x="236" y="105"/>
                </a:cubicBezTo>
                <a:cubicBezTo>
                  <a:pt x="236" y="106"/>
                  <a:pt x="237" y="105"/>
                  <a:pt x="238" y="105"/>
                </a:cubicBezTo>
                <a:cubicBezTo>
                  <a:pt x="237" y="106"/>
                  <a:pt x="237" y="105"/>
                  <a:pt x="237" y="106"/>
                </a:cubicBezTo>
                <a:cubicBezTo>
                  <a:pt x="237" y="106"/>
                  <a:pt x="236" y="106"/>
                  <a:pt x="235" y="107"/>
                </a:cubicBezTo>
                <a:cubicBezTo>
                  <a:pt x="236" y="107"/>
                  <a:pt x="235" y="107"/>
                  <a:pt x="235" y="107"/>
                </a:cubicBezTo>
                <a:cubicBezTo>
                  <a:pt x="235" y="107"/>
                  <a:pt x="235" y="107"/>
                  <a:pt x="235" y="107"/>
                </a:cubicBezTo>
                <a:cubicBezTo>
                  <a:pt x="235" y="107"/>
                  <a:pt x="234" y="107"/>
                  <a:pt x="234" y="108"/>
                </a:cubicBezTo>
                <a:cubicBezTo>
                  <a:pt x="234" y="108"/>
                  <a:pt x="234" y="108"/>
                  <a:pt x="234" y="108"/>
                </a:cubicBezTo>
                <a:cubicBezTo>
                  <a:pt x="233" y="108"/>
                  <a:pt x="233" y="109"/>
                  <a:pt x="232" y="109"/>
                </a:cubicBezTo>
                <a:cubicBezTo>
                  <a:pt x="232" y="109"/>
                  <a:pt x="233" y="109"/>
                  <a:pt x="233" y="109"/>
                </a:cubicBezTo>
                <a:cubicBezTo>
                  <a:pt x="234" y="109"/>
                  <a:pt x="234" y="109"/>
                  <a:pt x="235" y="109"/>
                </a:cubicBezTo>
                <a:cubicBezTo>
                  <a:pt x="235" y="110"/>
                  <a:pt x="233" y="110"/>
                  <a:pt x="233" y="110"/>
                </a:cubicBezTo>
                <a:cubicBezTo>
                  <a:pt x="231" y="111"/>
                  <a:pt x="230" y="111"/>
                  <a:pt x="229" y="112"/>
                </a:cubicBezTo>
                <a:cubicBezTo>
                  <a:pt x="229" y="112"/>
                  <a:pt x="228" y="112"/>
                  <a:pt x="229" y="112"/>
                </a:cubicBezTo>
                <a:cubicBezTo>
                  <a:pt x="229" y="113"/>
                  <a:pt x="229" y="113"/>
                  <a:pt x="229" y="113"/>
                </a:cubicBezTo>
                <a:cubicBezTo>
                  <a:pt x="230" y="113"/>
                  <a:pt x="231" y="113"/>
                  <a:pt x="231" y="112"/>
                </a:cubicBezTo>
                <a:cubicBezTo>
                  <a:pt x="231" y="112"/>
                  <a:pt x="231" y="113"/>
                  <a:pt x="231" y="113"/>
                </a:cubicBezTo>
                <a:cubicBezTo>
                  <a:pt x="231" y="113"/>
                  <a:pt x="232" y="112"/>
                  <a:pt x="232" y="112"/>
                </a:cubicBezTo>
                <a:cubicBezTo>
                  <a:pt x="232" y="112"/>
                  <a:pt x="232" y="113"/>
                  <a:pt x="233" y="112"/>
                </a:cubicBezTo>
                <a:cubicBezTo>
                  <a:pt x="233" y="112"/>
                  <a:pt x="233" y="112"/>
                  <a:pt x="233" y="112"/>
                </a:cubicBezTo>
                <a:cubicBezTo>
                  <a:pt x="234" y="112"/>
                  <a:pt x="234" y="113"/>
                  <a:pt x="235" y="112"/>
                </a:cubicBezTo>
                <a:cubicBezTo>
                  <a:pt x="235" y="112"/>
                  <a:pt x="236" y="112"/>
                  <a:pt x="236" y="112"/>
                </a:cubicBezTo>
                <a:cubicBezTo>
                  <a:pt x="236" y="112"/>
                  <a:pt x="238" y="111"/>
                  <a:pt x="238" y="111"/>
                </a:cubicBezTo>
                <a:cubicBezTo>
                  <a:pt x="239" y="111"/>
                  <a:pt x="239" y="111"/>
                  <a:pt x="240" y="111"/>
                </a:cubicBezTo>
                <a:cubicBezTo>
                  <a:pt x="240" y="111"/>
                  <a:pt x="240" y="110"/>
                  <a:pt x="240" y="110"/>
                </a:cubicBezTo>
                <a:cubicBezTo>
                  <a:pt x="241" y="110"/>
                  <a:pt x="241" y="110"/>
                  <a:pt x="241" y="110"/>
                </a:cubicBezTo>
                <a:cubicBezTo>
                  <a:pt x="242" y="110"/>
                  <a:pt x="242" y="109"/>
                  <a:pt x="242" y="109"/>
                </a:cubicBezTo>
                <a:cubicBezTo>
                  <a:pt x="242" y="109"/>
                  <a:pt x="243" y="109"/>
                  <a:pt x="243" y="108"/>
                </a:cubicBezTo>
                <a:cubicBezTo>
                  <a:pt x="244" y="108"/>
                  <a:pt x="244" y="109"/>
                  <a:pt x="245" y="109"/>
                </a:cubicBezTo>
                <a:cubicBezTo>
                  <a:pt x="245" y="109"/>
                  <a:pt x="246" y="108"/>
                  <a:pt x="246" y="108"/>
                </a:cubicBezTo>
                <a:cubicBezTo>
                  <a:pt x="248" y="109"/>
                  <a:pt x="250" y="108"/>
                  <a:pt x="252" y="109"/>
                </a:cubicBezTo>
                <a:cubicBezTo>
                  <a:pt x="253" y="109"/>
                  <a:pt x="254" y="109"/>
                  <a:pt x="255" y="109"/>
                </a:cubicBezTo>
                <a:cubicBezTo>
                  <a:pt x="255" y="110"/>
                  <a:pt x="256" y="110"/>
                  <a:pt x="256" y="110"/>
                </a:cubicBezTo>
                <a:cubicBezTo>
                  <a:pt x="257" y="110"/>
                  <a:pt x="257" y="111"/>
                  <a:pt x="257" y="111"/>
                </a:cubicBezTo>
                <a:cubicBezTo>
                  <a:pt x="257" y="111"/>
                  <a:pt x="258" y="112"/>
                  <a:pt x="258" y="112"/>
                </a:cubicBezTo>
                <a:cubicBezTo>
                  <a:pt x="259" y="112"/>
                  <a:pt x="259" y="112"/>
                  <a:pt x="259" y="113"/>
                </a:cubicBezTo>
                <a:cubicBezTo>
                  <a:pt x="260" y="113"/>
                  <a:pt x="260" y="113"/>
                  <a:pt x="259" y="113"/>
                </a:cubicBezTo>
                <a:cubicBezTo>
                  <a:pt x="261" y="112"/>
                  <a:pt x="263" y="113"/>
                  <a:pt x="264" y="113"/>
                </a:cubicBezTo>
                <a:cubicBezTo>
                  <a:pt x="265" y="113"/>
                  <a:pt x="267" y="113"/>
                  <a:pt x="268" y="114"/>
                </a:cubicBezTo>
                <a:cubicBezTo>
                  <a:pt x="268" y="114"/>
                  <a:pt x="268" y="115"/>
                  <a:pt x="268" y="115"/>
                </a:cubicBezTo>
                <a:cubicBezTo>
                  <a:pt x="268" y="115"/>
                  <a:pt x="269" y="115"/>
                  <a:pt x="269" y="115"/>
                </a:cubicBezTo>
                <a:cubicBezTo>
                  <a:pt x="270" y="115"/>
                  <a:pt x="270" y="116"/>
                  <a:pt x="271" y="116"/>
                </a:cubicBezTo>
                <a:cubicBezTo>
                  <a:pt x="272" y="116"/>
                  <a:pt x="273" y="116"/>
                  <a:pt x="274" y="117"/>
                </a:cubicBezTo>
                <a:cubicBezTo>
                  <a:pt x="275" y="117"/>
                  <a:pt x="277" y="116"/>
                  <a:pt x="277" y="117"/>
                </a:cubicBezTo>
                <a:cubicBezTo>
                  <a:pt x="277" y="117"/>
                  <a:pt x="279" y="117"/>
                  <a:pt x="280" y="117"/>
                </a:cubicBezTo>
                <a:cubicBezTo>
                  <a:pt x="281" y="117"/>
                  <a:pt x="282" y="118"/>
                  <a:pt x="283" y="118"/>
                </a:cubicBezTo>
                <a:cubicBezTo>
                  <a:pt x="283" y="117"/>
                  <a:pt x="281" y="117"/>
                  <a:pt x="282" y="117"/>
                </a:cubicBezTo>
                <a:cubicBezTo>
                  <a:pt x="282" y="117"/>
                  <a:pt x="281" y="116"/>
                  <a:pt x="282" y="116"/>
                </a:cubicBezTo>
                <a:cubicBezTo>
                  <a:pt x="283" y="116"/>
                  <a:pt x="284" y="117"/>
                  <a:pt x="285" y="116"/>
                </a:cubicBezTo>
                <a:cubicBezTo>
                  <a:pt x="284" y="116"/>
                  <a:pt x="286" y="116"/>
                  <a:pt x="286" y="116"/>
                </a:cubicBezTo>
                <a:cubicBezTo>
                  <a:pt x="287" y="116"/>
                  <a:pt x="287" y="116"/>
                  <a:pt x="288" y="117"/>
                </a:cubicBezTo>
                <a:cubicBezTo>
                  <a:pt x="288" y="117"/>
                  <a:pt x="288" y="117"/>
                  <a:pt x="289" y="117"/>
                </a:cubicBezTo>
                <a:cubicBezTo>
                  <a:pt x="289" y="117"/>
                  <a:pt x="289" y="117"/>
                  <a:pt x="289" y="117"/>
                </a:cubicBezTo>
                <a:cubicBezTo>
                  <a:pt x="290" y="117"/>
                  <a:pt x="290" y="117"/>
                  <a:pt x="291" y="118"/>
                </a:cubicBezTo>
                <a:cubicBezTo>
                  <a:pt x="291" y="118"/>
                  <a:pt x="291" y="118"/>
                  <a:pt x="291" y="118"/>
                </a:cubicBezTo>
                <a:cubicBezTo>
                  <a:pt x="292" y="119"/>
                  <a:pt x="291" y="119"/>
                  <a:pt x="292" y="119"/>
                </a:cubicBezTo>
                <a:cubicBezTo>
                  <a:pt x="292" y="120"/>
                  <a:pt x="292" y="120"/>
                  <a:pt x="292" y="120"/>
                </a:cubicBezTo>
                <a:cubicBezTo>
                  <a:pt x="293" y="121"/>
                  <a:pt x="292" y="121"/>
                  <a:pt x="292" y="121"/>
                </a:cubicBezTo>
                <a:cubicBezTo>
                  <a:pt x="291" y="122"/>
                  <a:pt x="292" y="122"/>
                  <a:pt x="292" y="121"/>
                </a:cubicBezTo>
                <a:cubicBezTo>
                  <a:pt x="292" y="121"/>
                  <a:pt x="293" y="121"/>
                  <a:pt x="293" y="121"/>
                </a:cubicBezTo>
                <a:cubicBezTo>
                  <a:pt x="292" y="122"/>
                  <a:pt x="292" y="122"/>
                  <a:pt x="292" y="122"/>
                </a:cubicBezTo>
                <a:cubicBezTo>
                  <a:pt x="291" y="122"/>
                  <a:pt x="291" y="122"/>
                  <a:pt x="291" y="122"/>
                </a:cubicBezTo>
                <a:cubicBezTo>
                  <a:pt x="291" y="123"/>
                  <a:pt x="291" y="123"/>
                  <a:pt x="290" y="123"/>
                </a:cubicBezTo>
                <a:cubicBezTo>
                  <a:pt x="290" y="123"/>
                  <a:pt x="290" y="123"/>
                  <a:pt x="289" y="123"/>
                </a:cubicBezTo>
                <a:cubicBezTo>
                  <a:pt x="289" y="123"/>
                  <a:pt x="289" y="123"/>
                  <a:pt x="288" y="123"/>
                </a:cubicBezTo>
                <a:cubicBezTo>
                  <a:pt x="288" y="123"/>
                  <a:pt x="287" y="123"/>
                  <a:pt x="286" y="123"/>
                </a:cubicBezTo>
                <a:cubicBezTo>
                  <a:pt x="286" y="123"/>
                  <a:pt x="284" y="123"/>
                  <a:pt x="284" y="123"/>
                </a:cubicBezTo>
                <a:cubicBezTo>
                  <a:pt x="284" y="123"/>
                  <a:pt x="285" y="123"/>
                  <a:pt x="284" y="124"/>
                </a:cubicBezTo>
                <a:cubicBezTo>
                  <a:pt x="284" y="124"/>
                  <a:pt x="283" y="124"/>
                  <a:pt x="282" y="124"/>
                </a:cubicBezTo>
                <a:cubicBezTo>
                  <a:pt x="282" y="124"/>
                  <a:pt x="282" y="123"/>
                  <a:pt x="281" y="124"/>
                </a:cubicBezTo>
                <a:cubicBezTo>
                  <a:pt x="281" y="124"/>
                  <a:pt x="281" y="124"/>
                  <a:pt x="281" y="124"/>
                </a:cubicBezTo>
                <a:cubicBezTo>
                  <a:pt x="280" y="124"/>
                  <a:pt x="279" y="125"/>
                  <a:pt x="280" y="125"/>
                </a:cubicBezTo>
                <a:cubicBezTo>
                  <a:pt x="279" y="126"/>
                  <a:pt x="278" y="126"/>
                  <a:pt x="277" y="126"/>
                </a:cubicBezTo>
                <a:cubicBezTo>
                  <a:pt x="276" y="126"/>
                  <a:pt x="276" y="126"/>
                  <a:pt x="277" y="126"/>
                </a:cubicBezTo>
                <a:cubicBezTo>
                  <a:pt x="278" y="126"/>
                  <a:pt x="278" y="126"/>
                  <a:pt x="278" y="127"/>
                </a:cubicBezTo>
                <a:cubicBezTo>
                  <a:pt x="279" y="128"/>
                  <a:pt x="281" y="126"/>
                  <a:pt x="281" y="127"/>
                </a:cubicBezTo>
                <a:cubicBezTo>
                  <a:pt x="282" y="128"/>
                  <a:pt x="282" y="127"/>
                  <a:pt x="283" y="127"/>
                </a:cubicBezTo>
                <a:cubicBezTo>
                  <a:pt x="283" y="127"/>
                  <a:pt x="283" y="128"/>
                  <a:pt x="283" y="128"/>
                </a:cubicBezTo>
                <a:cubicBezTo>
                  <a:pt x="283" y="128"/>
                  <a:pt x="283" y="128"/>
                  <a:pt x="284" y="128"/>
                </a:cubicBezTo>
                <a:cubicBezTo>
                  <a:pt x="285" y="128"/>
                  <a:pt x="287" y="128"/>
                  <a:pt x="288" y="128"/>
                </a:cubicBezTo>
                <a:cubicBezTo>
                  <a:pt x="289" y="128"/>
                  <a:pt x="290" y="128"/>
                  <a:pt x="290" y="128"/>
                </a:cubicBezTo>
                <a:cubicBezTo>
                  <a:pt x="291" y="128"/>
                  <a:pt x="292" y="128"/>
                  <a:pt x="292" y="128"/>
                </a:cubicBezTo>
                <a:cubicBezTo>
                  <a:pt x="293" y="128"/>
                  <a:pt x="294" y="128"/>
                  <a:pt x="295" y="128"/>
                </a:cubicBezTo>
                <a:cubicBezTo>
                  <a:pt x="295" y="128"/>
                  <a:pt x="296" y="128"/>
                  <a:pt x="297" y="128"/>
                </a:cubicBezTo>
                <a:cubicBezTo>
                  <a:pt x="298" y="128"/>
                  <a:pt x="299" y="127"/>
                  <a:pt x="300" y="128"/>
                </a:cubicBezTo>
                <a:cubicBezTo>
                  <a:pt x="300" y="128"/>
                  <a:pt x="300" y="128"/>
                  <a:pt x="300" y="128"/>
                </a:cubicBezTo>
                <a:cubicBezTo>
                  <a:pt x="300" y="128"/>
                  <a:pt x="300" y="128"/>
                  <a:pt x="300" y="128"/>
                </a:cubicBezTo>
                <a:cubicBezTo>
                  <a:pt x="300" y="128"/>
                  <a:pt x="300" y="128"/>
                  <a:pt x="300" y="128"/>
                </a:cubicBezTo>
                <a:cubicBezTo>
                  <a:pt x="301" y="128"/>
                  <a:pt x="301" y="128"/>
                  <a:pt x="302" y="128"/>
                </a:cubicBezTo>
                <a:cubicBezTo>
                  <a:pt x="302" y="128"/>
                  <a:pt x="303" y="128"/>
                  <a:pt x="303" y="128"/>
                </a:cubicBezTo>
                <a:cubicBezTo>
                  <a:pt x="303" y="128"/>
                  <a:pt x="304" y="127"/>
                  <a:pt x="304" y="127"/>
                </a:cubicBezTo>
                <a:cubicBezTo>
                  <a:pt x="304" y="128"/>
                  <a:pt x="304" y="128"/>
                  <a:pt x="304" y="128"/>
                </a:cubicBezTo>
                <a:cubicBezTo>
                  <a:pt x="305" y="128"/>
                  <a:pt x="306" y="126"/>
                  <a:pt x="307" y="127"/>
                </a:cubicBezTo>
                <a:cubicBezTo>
                  <a:pt x="307" y="127"/>
                  <a:pt x="306" y="127"/>
                  <a:pt x="306" y="127"/>
                </a:cubicBezTo>
                <a:cubicBezTo>
                  <a:pt x="307" y="127"/>
                  <a:pt x="308" y="127"/>
                  <a:pt x="309" y="127"/>
                </a:cubicBezTo>
                <a:cubicBezTo>
                  <a:pt x="310" y="127"/>
                  <a:pt x="310" y="127"/>
                  <a:pt x="311" y="126"/>
                </a:cubicBezTo>
                <a:cubicBezTo>
                  <a:pt x="312" y="126"/>
                  <a:pt x="313" y="126"/>
                  <a:pt x="314" y="126"/>
                </a:cubicBezTo>
                <a:cubicBezTo>
                  <a:pt x="314" y="126"/>
                  <a:pt x="315" y="126"/>
                  <a:pt x="315" y="126"/>
                </a:cubicBezTo>
                <a:cubicBezTo>
                  <a:pt x="315" y="125"/>
                  <a:pt x="316" y="125"/>
                  <a:pt x="316" y="125"/>
                </a:cubicBezTo>
                <a:cubicBezTo>
                  <a:pt x="317" y="126"/>
                  <a:pt x="316" y="126"/>
                  <a:pt x="316" y="126"/>
                </a:cubicBezTo>
                <a:cubicBezTo>
                  <a:pt x="315" y="127"/>
                  <a:pt x="316" y="127"/>
                  <a:pt x="316" y="126"/>
                </a:cubicBezTo>
                <a:cubicBezTo>
                  <a:pt x="316" y="126"/>
                  <a:pt x="317" y="127"/>
                  <a:pt x="317" y="127"/>
                </a:cubicBezTo>
                <a:cubicBezTo>
                  <a:pt x="317" y="127"/>
                  <a:pt x="316" y="127"/>
                  <a:pt x="317" y="128"/>
                </a:cubicBezTo>
                <a:cubicBezTo>
                  <a:pt x="317" y="128"/>
                  <a:pt x="316" y="128"/>
                  <a:pt x="316" y="128"/>
                </a:cubicBezTo>
                <a:cubicBezTo>
                  <a:pt x="316" y="128"/>
                  <a:pt x="317" y="128"/>
                  <a:pt x="317" y="128"/>
                </a:cubicBezTo>
                <a:cubicBezTo>
                  <a:pt x="318" y="128"/>
                  <a:pt x="318" y="128"/>
                  <a:pt x="319" y="127"/>
                </a:cubicBezTo>
                <a:cubicBezTo>
                  <a:pt x="318" y="128"/>
                  <a:pt x="319" y="128"/>
                  <a:pt x="320" y="128"/>
                </a:cubicBezTo>
                <a:cubicBezTo>
                  <a:pt x="320" y="128"/>
                  <a:pt x="321" y="128"/>
                  <a:pt x="321" y="128"/>
                </a:cubicBezTo>
                <a:cubicBezTo>
                  <a:pt x="320" y="129"/>
                  <a:pt x="320" y="130"/>
                  <a:pt x="319" y="130"/>
                </a:cubicBezTo>
                <a:cubicBezTo>
                  <a:pt x="318" y="130"/>
                  <a:pt x="319" y="130"/>
                  <a:pt x="319" y="131"/>
                </a:cubicBezTo>
                <a:cubicBezTo>
                  <a:pt x="319" y="131"/>
                  <a:pt x="319" y="131"/>
                  <a:pt x="319" y="131"/>
                </a:cubicBezTo>
                <a:cubicBezTo>
                  <a:pt x="321" y="131"/>
                  <a:pt x="321" y="129"/>
                  <a:pt x="322" y="129"/>
                </a:cubicBezTo>
                <a:cubicBezTo>
                  <a:pt x="323" y="129"/>
                  <a:pt x="323" y="129"/>
                  <a:pt x="323" y="129"/>
                </a:cubicBezTo>
                <a:cubicBezTo>
                  <a:pt x="322" y="130"/>
                  <a:pt x="322" y="131"/>
                  <a:pt x="321" y="131"/>
                </a:cubicBezTo>
                <a:cubicBezTo>
                  <a:pt x="322" y="131"/>
                  <a:pt x="322" y="131"/>
                  <a:pt x="323" y="131"/>
                </a:cubicBezTo>
                <a:cubicBezTo>
                  <a:pt x="323" y="130"/>
                  <a:pt x="323" y="131"/>
                  <a:pt x="324" y="131"/>
                </a:cubicBezTo>
                <a:cubicBezTo>
                  <a:pt x="324" y="132"/>
                  <a:pt x="324" y="132"/>
                  <a:pt x="324" y="133"/>
                </a:cubicBezTo>
                <a:cubicBezTo>
                  <a:pt x="324" y="133"/>
                  <a:pt x="324" y="134"/>
                  <a:pt x="323" y="134"/>
                </a:cubicBezTo>
                <a:cubicBezTo>
                  <a:pt x="323" y="134"/>
                  <a:pt x="322" y="134"/>
                  <a:pt x="322" y="134"/>
                </a:cubicBezTo>
                <a:cubicBezTo>
                  <a:pt x="321" y="134"/>
                  <a:pt x="321" y="135"/>
                  <a:pt x="320" y="134"/>
                </a:cubicBezTo>
                <a:cubicBezTo>
                  <a:pt x="320" y="134"/>
                  <a:pt x="319" y="133"/>
                  <a:pt x="319" y="133"/>
                </a:cubicBezTo>
                <a:cubicBezTo>
                  <a:pt x="319" y="133"/>
                  <a:pt x="318" y="134"/>
                  <a:pt x="318" y="134"/>
                </a:cubicBezTo>
                <a:cubicBezTo>
                  <a:pt x="318" y="134"/>
                  <a:pt x="319" y="134"/>
                  <a:pt x="319" y="134"/>
                </a:cubicBezTo>
                <a:cubicBezTo>
                  <a:pt x="319" y="134"/>
                  <a:pt x="319" y="134"/>
                  <a:pt x="319" y="134"/>
                </a:cubicBezTo>
                <a:cubicBezTo>
                  <a:pt x="319" y="135"/>
                  <a:pt x="319" y="135"/>
                  <a:pt x="319" y="135"/>
                </a:cubicBezTo>
                <a:cubicBezTo>
                  <a:pt x="320" y="135"/>
                  <a:pt x="320" y="135"/>
                  <a:pt x="320" y="135"/>
                </a:cubicBezTo>
                <a:cubicBezTo>
                  <a:pt x="321" y="136"/>
                  <a:pt x="319" y="136"/>
                  <a:pt x="319" y="136"/>
                </a:cubicBezTo>
                <a:cubicBezTo>
                  <a:pt x="319" y="136"/>
                  <a:pt x="320" y="136"/>
                  <a:pt x="320" y="137"/>
                </a:cubicBezTo>
                <a:cubicBezTo>
                  <a:pt x="320" y="137"/>
                  <a:pt x="319" y="137"/>
                  <a:pt x="319" y="138"/>
                </a:cubicBezTo>
                <a:cubicBezTo>
                  <a:pt x="319" y="138"/>
                  <a:pt x="320" y="138"/>
                  <a:pt x="320" y="138"/>
                </a:cubicBezTo>
                <a:cubicBezTo>
                  <a:pt x="320" y="137"/>
                  <a:pt x="321" y="137"/>
                  <a:pt x="321" y="138"/>
                </a:cubicBezTo>
                <a:cubicBezTo>
                  <a:pt x="320" y="139"/>
                  <a:pt x="320" y="139"/>
                  <a:pt x="321" y="139"/>
                </a:cubicBezTo>
                <a:cubicBezTo>
                  <a:pt x="321" y="139"/>
                  <a:pt x="321" y="140"/>
                  <a:pt x="321" y="140"/>
                </a:cubicBezTo>
                <a:cubicBezTo>
                  <a:pt x="321" y="141"/>
                  <a:pt x="321" y="141"/>
                  <a:pt x="322" y="141"/>
                </a:cubicBezTo>
                <a:cubicBezTo>
                  <a:pt x="322" y="140"/>
                  <a:pt x="322" y="140"/>
                  <a:pt x="321" y="140"/>
                </a:cubicBezTo>
                <a:cubicBezTo>
                  <a:pt x="321" y="139"/>
                  <a:pt x="321" y="139"/>
                  <a:pt x="321" y="139"/>
                </a:cubicBezTo>
                <a:cubicBezTo>
                  <a:pt x="321" y="139"/>
                  <a:pt x="321" y="139"/>
                  <a:pt x="321" y="138"/>
                </a:cubicBezTo>
                <a:cubicBezTo>
                  <a:pt x="321" y="138"/>
                  <a:pt x="321" y="137"/>
                  <a:pt x="321" y="137"/>
                </a:cubicBezTo>
                <a:cubicBezTo>
                  <a:pt x="322" y="137"/>
                  <a:pt x="322" y="136"/>
                  <a:pt x="323" y="135"/>
                </a:cubicBezTo>
                <a:cubicBezTo>
                  <a:pt x="324" y="134"/>
                  <a:pt x="324" y="135"/>
                  <a:pt x="324" y="135"/>
                </a:cubicBezTo>
                <a:cubicBezTo>
                  <a:pt x="324" y="135"/>
                  <a:pt x="324" y="135"/>
                  <a:pt x="325" y="134"/>
                </a:cubicBezTo>
                <a:cubicBezTo>
                  <a:pt x="325" y="134"/>
                  <a:pt x="325" y="134"/>
                  <a:pt x="325" y="135"/>
                </a:cubicBezTo>
                <a:cubicBezTo>
                  <a:pt x="325" y="135"/>
                  <a:pt x="325" y="136"/>
                  <a:pt x="324" y="135"/>
                </a:cubicBezTo>
                <a:cubicBezTo>
                  <a:pt x="324" y="135"/>
                  <a:pt x="323" y="135"/>
                  <a:pt x="323" y="135"/>
                </a:cubicBezTo>
                <a:cubicBezTo>
                  <a:pt x="323" y="136"/>
                  <a:pt x="324" y="135"/>
                  <a:pt x="324" y="136"/>
                </a:cubicBezTo>
                <a:cubicBezTo>
                  <a:pt x="324" y="136"/>
                  <a:pt x="324" y="136"/>
                  <a:pt x="323" y="136"/>
                </a:cubicBezTo>
                <a:cubicBezTo>
                  <a:pt x="323" y="136"/>
                  <a:pt x="324" y="136"/>
                  <a:pt x="324" y="136"/>
                </a:cubicBezTo>
                <a:cubicBezTo>
                  <a:pt x="324" y="136"/>
                  <a:pt x="324" y="136"/>
                  <a:pt x="324" y="136"/>
                </a:cubicBezTo>
                <a:cubicBezTo>
                  <a:pt x="324" y="136"/>
                  <a:pt x="325" y="136"/>
                  <a:pt x="325" y="135"/>
                </a:cubicBezTo>
                <a:cubicBezTo>
                  <a:pt x="325" y="135"/>
                  <a:pt x="326" y="135"/>
                  <a:pt x="326" y="135"/>
                </a:cubicBezTo>
                <a:cubicBezTo>
                  <a:pt x="326" y="135"/>
                  <a:pt x="326" y="136"/>
                  <a:pt x="326" y="136"/>
                </a:cubicBezTo>
                <a:cubicBezTo>
                  <a:pt x="326" y="137"/>
                  <a:pt x="327" y="136"/>
                  <a:pt x="327" y="136"/>
                </a:cubicBezTo>
                <a:cubicBezTo>
                  <a:pt x="327" y="136"/>
                  <a:pt x="327" y="135"/>
                  <a:pt x="327" y="135"/>
                </a:cubicBezTo>
                <a:cubicBezTo>
                  <a:pt x="326" y="134"/>
                  <a:pt x="326" y="134"/>
                  <a:pt x="327" y="134"/>
                </a:cubicBezTo>
                <a:cubicBezTo>
                  <a:pt x="328" y="134"/>
                  <a:pt x="328" y="134"/>
                  <a:pt x="329" y="134"/>
                </a:cubicBezTo>
                <a:cubicBezTo>
                  <a:pt x="327" y="133"/>
                  <a:pt x="327" y="132"/>
                  <a:pt x="328" y="131"/>
                </a:cubicBezTo>
                <a:cubicBezTo>
                  <a:pt x="328" y="130"/>
                  <a:pt x="329" y="131"/>
                  <a:pt x="329" y="130"/>
                </a:cubicBezTo>
                <a:cubicBezTo>
                  <a:pt x="329" y="129"/>
                  <a:pt x="329" y="129"/>
                  <a:pt x="328" y="128"/>
                </a:cubicBezTo>
                <a:cubicBezTo>
                  <a:pt x="328" y="128"/>
                  <a:pt x="329" y="127"/>
                  <a:pt x="329" y="127"/>
                </a:cubicBezTo>
                <a:cubicBezTo>
                  <a:pt x="331" y="126"/>
                  <a:pt x="332" y="127"/>
                  <a:pt x="333" y="126"/>
                </a:cubicBezTo>
                <a:cubicBezTo>
                  <a:pt x="333" y="126"/>
                  <a:pt x="332" y="126"/>
                  <a:pt x="332" y="125"/>
                </a:cubicBezTo>
                <a:cubicBezTo>
                  <a:pt x="332" y="125"/>
                  <a:pt x="333" y="124"/>
                  <a:pt x="334" y="125"/>
                </a:cubicBezTo>
                <a:cubicBezTo>
                  <a:pt x="334" y="125"/>
                  <a:pt x="332" y="125"/>
                  <a:pt x="333" y="125"/>
                </a:cubicBezTo>
                <a:cubicBezTo>
                  <a:pt x="333" y="125"/>
                  <a:pt x="332" y="125"/>
                  <a:pt x="332" y="125"/>
                </a:cubicBezTo>
                <a:cubicBezTo>
                  <a:pt x="332" y="126"/>
                  <a:pt x="334" y="125"/>
                  <a:pt x="334" y="125"/>
                </a:cubicBezTo>
                <a:cubicBezTo>
                  <a:pt x="334" y="125"/>
                  <a:pt x="335" y="125"/>
                  <a:pt x="335" y="125"/>
                </a:cubicBezTo>
                <a:cubicBezTo>
                  <a:pt x="336" y="125"/>
                  <a:pt x="338" y="124"/>
                  <a:pt x="339" y="124"/>
                </a:cubicBezTo>
                <a:cubicBezTo>
                  <a:pt x="338" y="124"/>
                  <a:pt x="338" y="124"/>
                  <a:pt x="338" y="124"/>
                </a:cubicBezTo>
                <a:cubicBezTo>
                  <a:pt x="339" y="124"/>
                  <a:pt x="339" y="124"/>
                  <a:pt x="340" y="124"/>
                </a:cubicBezTo>
                <a:cubicBezTo>
                  <a:pt x="340" y="124"/>
                  <a:pt x="341" y="124"/>
                  <a:pt x="341" y="124"/>
                </a:cubicBezTo>
                <a:cubicBezTo>
                  <a:pt x="342" y="124"/>
                  <a:pt x="342" y="123"/>
                  <a:pt x="342" y="123"/>
                </a:cubicBezTo>
                <a:cubicBezTo>
                  <a:pt x="342" y="123"/>
                  <a:pt x="342" y="123"/>
                  <a:pt x="342" y="124"/>
                </a:cubicBezTo>
                <a:cubicBezTo>
                  <a:pt x="343" y="124"/>
                  <a:pt x="343" y="123"/>
                  <a:pt x="343" y="123"/>
                </a:cubicBezTo>
                <a:cubicBezTo>
                  <a:pt x="344" y="123"/>
                  <a:pt x="344" y="123"/>
                  <a:pt x="344" y="124"/>
                </a:cubicBezTo>
                <a:cubicBezTo>
                  <a:pt x="344" y="124"/>
                  <a:pt x="344" y="124"/>
                  <a:pt x="345" y="123"/>
                </a:cubicBezTo>
                <a:cubicBezTo>
                  <a:pt x="344" y="123"/>
                  <a:pt x="344" y="123"/>
                  <a:pt x="345" y="123"/>
                </a:cubicBezTo>
                <a:cubicBezTo>
                  <a:pt x="345" y="122"/>
                  <a:pt x="345" y="122"/>
                  <a:pt x="346" y="122"/>
                </a:cubicBezTo>
                <a:cubicBezTo>
                  <a:pt x="346" y="122"/>
                  <a:pt x="346" y="122"/>
                  <a:pt x="347" y="122"/>
                </a:cubicBezTo>
                <a:cubicBezTo>
                  <a:pt x="347" y="122"/>
                  <a:pt x="348" y="122"/>
                  <a:pt x="348" y="122"/>
                </a:cubicBezTo>
                <a:cubicBezTo>
                  <a:pt x="349" y="121"/>
                  <a:pt x="350" y="122"/>
                  <a:pt x="351" y="121"/>
                </a:cubicBezTo>
                <a:cubicBezTo>
                  <a:pt x="351" y="122"/>
                  <a:pt x="352" y="121"/>
                  <a:pt x="352" y="120"/>
                </a:cubicBezTo>
                <a:cubicBezTo>
                  <a:pt x="352" y="120"/>
                  <a:pt x="353" y="119"/>
                  <a:pt x="354" y="119"/>
                </a:cubicBezTo>
                <a:cubicBezTo>
                  <a:pt x="353" y="119"/>
                  <a:pt x="353" y="120"/>
                  <a:pt x="352" y="119"/>
                </a:cubicBezTo>
                <a:cubicBezTo>
                  <a:pt x="352" y="119"/>
                  <a:pt x="351" y="120"/>
                  <a:pt x="350" y="120"/>
                </a:cubicBezTo>
                <a:cubicBezTo>
                  <a:pt x="349" y="120"/>
                  <a:pt x="348" y="120"/>
                  <a:pt x="346" y="120"/>
                </a:cubicBezTo>
                <a:cubicBezTo>
                  <a:pt x="347" y="120"/>
                  <a:pt x="347" y="120"/>
                  <a:pt x="347" y="120"/>
                </a:cubicBezTo>
                <a:cubicBezTo>
                  <a:pt x="347" y="121"/>
                  <a:pt x="346" y="121"/>
                  <a:pt x="346" y="121"/>
                </a:cubicBezTo>
                <a:cubicBezTo>
                  <a:pt x="346" y="121"/>
                  <a:pt x="345" y="121"/>
                  <a:pt x="345" y="121"/>
                </a:cubicBezTo>
                <a:cubicBezTo>
                  <a:pt x="345" y="121"/>
                  <a:pt x="346" y="121"/>
                  <a:pt x="346" y="121"/>
                </a:cubicBezTo>
                <a:cubicBezTo>
                  <a:pt x="346" y="122"/>
                  <a:pt x="345" y="122"/>
                  <a:pt x="345" y="122"/>
                </a:cubicBezTo>
                <a:cubicBezTo>
                  <a:pt x="345" y="122"/>
                  <a:pt x="345" y="122"/>
                  <a:pt x="344" y="122"/>
                </a:cubicBezTo>
                <a:cubicBezTo>
                  <a:pt x="344" y="123"/>
                  <a:pt x="344" y="122"/>
                  <a:pt x="344" y="122"/>
                </a:cubicBezTo>
                <a:cubicBezTo>
                  <a:pt x="344" y="122"/>
                  <a:pt x="344" y="121"/>
                  <a:pt x="343" y="122"/>
                </a:cubicBezTo>
                <a:cubicBezTo>
                  <a:pt x="343" y="122"/>
                  <a:pt x="343" y="122"/>
                  <a:pt x="342" y="122"/>
                </a:cubicBezTo>
                <a:cubicBezTo>
                  <a:pt x="342" y="122"/>
                  <a:pt x="342" y="122"/>
                  <a:pt x="341" y="122"/>
                </a:cubicBezTo>
                <a:cubicBezTo>
                  <a:pt x="341" y="122"/>
                  <a:pt x="340" y="123"/>
                  <a:pt x="339" y="123"/>
                </a:cubicBezTo>
                <a:cubicBezTo>
                  <a:pt x="339" y="123"/>
                  <a:pt x="339" y="123"/>
                  <a:pt x="339" y="122"/>
                </a:cubicBezTo>
                <a:cubicBezTo>
                  <a:pt x="338" y="122"/>
                  <a:pt x="338" y="122"/>
                  <a:pt x="338" y="122"/>
                </a:cubicBezTo>
                <a:cubicBezTo>
                  <a:pt x="337" y="122"/>
                  <a:pt x="338" y="122"/>
                  <a:pt x="337" y="122"/>
                </a:cubicBezTo>
                <a:cubicBezTo>
                  <a:pt x="337" y="122"/>
                  <a:pt x="336" y="122"/>
                  <a:pt x="335" y="122"/>
                </a:cubicBezTo>
                <a:cubicBezTo>
                  <a:pt x="334" y="123"/>
                  <a:pt x="335" y="123"/>
                  <a:pt x="336" y="124"/>
                </a:cubicBezTo>
                <a:cubicBezTo>
                  <a:pt x="335" y="124"/>
                  <a:pt x="334" y="123"/>
                  <a:pt x="334" y="124"/>
                </a:cubicBezTo>
                <a:cubicBezTo>
                  <a:pt x="333" y="124"/>
                  <a:pt x="333" y="124"/>
                  <a:pt x="332" y="124"/>
                </a:cubicBezTo>
                <a:cubicBezTo>
                  <a:pt x="333" y="124"/>
                  <a:pt x="332" y="124"/>
                  <a:pt x="331" y="124"/>
                </a:cubicBezTo>
                <a:cubicBezTo>
                  <a:pt x="331" y="124"/>
                  <a:pt x="330" y="124"/>
                  <a:pt x="330" y="124"/>
                </a:cubicBezTo>
                <a:cubicBezTo>
                  <a:pt x="330" y="124"/>
                  <a:pt x="329" y="124"/>
                  <a:pt x="329" y="124"/>
                </a:cubicBezTo>
                <a:cubicBezTo>
                  <a:pt x="330" y="124"/>
                  <a:pt x="330" y="124"/>
                  <a:pt x="330" y="124"/>
                </a:cubicBezTo>
                <a:cubicBezTo>
                  <a:pt x="330" y="124"/>
                  <a:pt x="331" y="123"/>
                  <a:pt x="331" y="123"/>
                </a:cubicBezTo>
                <a:cubicBezTo>
                  <a:pt x="330" y="123"/>
                  <a:pt x="330" y="124"/>
                  <a:pt x="330" y="123"/>
                </a:cubicBezTo>
                <a:cubicBezTo>
                  <a:pt x="330" y="123"/>
                  <a:pt x="331" y="123"/>
                  <a:pt x="331" y="122"/>
                </a:cubicBezTo>
                <a:cubicBezTo>
                  <a:pt x="331" y="122"/>
                  <a:pt x="328" y="124"/>
                  <a:pt x="328" y="123"/>
                </a:cubicBezTo>
                <a:cubicBezTo>
                  <a:pt x="328" y="122"/>
                  <a:pt x="331" y="121"/>
                  <a:pt x="331" y="121"/>
                </a:cubicBezTo>
                <a:cubicBezTo>
                  <a:pt x="333" y="121"/>
                  <a:pt x="334" y="120"/>
                  <a:pt x="336" y="119"/>
                </a:cubicBezTo>
                <a:cubicBezTo>
                  <a:pt x="337" y="119"/>
                  <a:pt x="339" y="119"/>
                  <a:pt x="340" y="119"/>
                </a:cubicBezTo>
                <a:cubicBezTo>
                  <a:pt x="342" y="119"/>
                  <a:pt x="343" y="119"/>
                  <a:pt x="345" y="118"/>
                </a:cubicBezTo>
                <a:cubicBezTo>
                  <a:pt x="346" y="118"/>
                  <a:pt x="346" y="118"/>
                  <a:pt x="347" y="118"/>
                </a:cubicBezTo>
                <a:cubicBezTo>
                  <a:pt x="348" y="118"/>
                  <a:pt x="349" y="117"/>
                  <a:pt x="350" y="117"/>
                </a:cubicBezTo>
                <a:cubicBezTo>
                  <a:pt x="351" y="117"/>
                  <a:pt x="352" y="117"/>
                  <a:pt x="352" y="117"/>
                </a:cubicBezTo>
                <a:cubicBezTo>
                  <a:pt x="353" y="116"/>
                  <a:pt x="354" y="117"/>
                  <a:pt x="354" y="117"/>
                </a:cubicBezTo>
                <a:cubicBezTo>
                  <a:pt x="355" y="117"/>
                  <a:pt x="355" y="117"/>
                  <a:pt x="355" y="118"/>
                </a:cubicBezTo>
                <a:cubicBezTo>
                  <a:pt x="356" y="118"/>
                  <a:pt x="356" y="119"/>
                  <a:pt x="355" y="119"/>
                </a:cubicBezTo>
                <a:cubicBezTo>
                  <a:pt x="355" y="119"/>
                  <a:pt x="354" y="120"/>
                  <a:pt x="355" y="120"/>
                </a:cubicBezTo>
                <a:cubicBezTo>
                  <a:pt x="355" y="121"/>
                  <a:pt x="354" y="121"/>
                  <a:pt x="354" y="121"/>
                </a:cubicBezTo>
                <a:cubicBezTo>
                  <a:pt x="354" y="121"/>
                  <a:pt x="353" y="121"/>
                  <a:pt x="353" y="121"/>
                </a:cubicBezTo>
                <a:cubicBezTo>
                  <a:pt x="352" y="121"/>
                  <a:pt x="354" y="121"/>
                  <a:pt x="354" y="121"/>
                </a:cubicBezTo>
                <a:cubicBezTo>
                  <a:pt x="353" y="122"/>
                  <a:pt x="354" y="122"/>
                  <a:pt x="354" y="123"/>
                </a:cubicBezTo>
                <a:cubicBezTo>
                  <a:pt x="354" y="123"/>
                  <a:pt x="355" y="123"/>
                  <a:pt x="355" y="122"/>
                </a:cubicBezTo>
                <a:cubicBezTo>
                  <a:pt x="355" y="122"/>
                  <a:pt x="356" y="122"/>
                  <a:pt x="356" y="122"/>
                </a:cubicBezTo>
                <a:cubicBezTo>
                  <a:pt x="357" y="123"/>
                  <a:pt x="356" y="123"/>
                  <a:pt x="355" y="123"/>
                </a:cubicBezTo>
                <a:cubicBezTo>
                  <a:pt x="355" y="123"/>
                  <a:pt x="355" y="123"/>
                  <a:pt x="356" y="123"/>
                </a:cubicBezTo>
                <a:cubicBezTo>
                  <a:pt x="356" y="123"/>
                  <a:pt x="356" y="123"/>
                  <a:pt x="356" y="123"/>
                </a:cubicBezTo>
                <a:cubicBezTo>
                  <a:pt x="356" y="123"/>
                  <a:pt x="357" y="123"/>
                  <a:pt x="357" y="123"/>
                </a:cubicBezTo>
                <a:cubicBezTo>
                  <a:pt x="358" y="123"/>
                  <a:pt x="356" y="124"/>
                  <a:pt x="356" y="124"/>
                </a:cubicBezTo>
                <a:cubicBezTo>
                  <a:pt x="357" y="124"/>
                  <a:pt x="356" y="124"/>
                  <a:pt x="356" y="124"/>
                </a:cubicBezTo>
                <a:cubicBezTo>
                  <a:pt x="356" y="125"/>
                  <a:pt x="357" y="125"/>
                  <a:pt x="357" y="125"/>
                </a:cubicBezTo>
                <a:cubicBezTo>
                  <a:pt x="357" y="125"/>
                  <a:pt x="357" y="125"/>
                  <a:pt x="356" y="125"/>
                </a:cubicBezTo>
                <a:cubicBezTo>
                  <a:pt x="357" y="125"/>
                  <a:pt x="359" y="125"/>
                  <a:pt x="360" y="125"/>
                </a:cubicBezTo>
                <a:cubicBezTo>
                  <a:pt x="361" y="125"/>
                  <a:pt x="362" y="125"/>
                  <a:pt x="363" y="125"/>
                </a:cubicBezTo>
                <a:cubicBezTo>
                  <a:pt x="363" y="125"/>
                  <a:pt x="365" y="123"/>
                  <a:pt x="365" y="124"/>
                </a:cubicBezTo>
                <a:cubicBezTo>
                  <a:pt x="366" y="124"/>
                  <a:pt x="364" y="125"/>
                  <a:pt x="364" y="125"/>
                </a:cubicBezTo>
                <a:cubicBezTo>
                  <a:pt x="365" y="125"/>
                  <a:pt x="365" y="126"/>
                  <a:pt x="365" y="126"/>
                </a:cubicBezTo>
                <a:cubicBezTo>
                  <a:pt x="366" y="126"/>
                  <a:pt x="365" y="126"/>
                  <a:pt x="365" y="126"/>
                </a:cubicBezTo>
                <a:cubicBezTo>
                  <a:pt x="366" y="126"/>
                  <a:pt x="366" y="126"/>
                  <a:pt x="366" y="126"/>
                </a:cubicBezTo>
                <a:cubicBezTo>
                  <a:pt x="367" y="126"/>
                  <a:pt x="366" y="127"/>
                  <a:pt x="366" y="127"/>
                </a:cubicBezTo>
                <a:cubicBezTo>
                  <a:pt x="367" y="127"/>
                  <a:pt x="368" y="127"/>
                  <a:pt x="369" y="127"/>
                </a:cubicBezTo>
                <a:cubicBezTo>
                  <a:pt x="369" y="127"/>
                  <a:pt x="370" y="128"/>
                  <a:pt x="369" y="128"/>
                </a:cubicBezTo>
                <a:cubicBezTo>
                  <a:pt x="370" y="128"/>
                  <a:pt x="370" y="127"/>
                  <a:pt x="371" y="128"/>
                </a:cubicBezTo>
                <a:cubicBezTo>
                  <a:pt x="372" y="128"/>
                  <a:pt x="372" y="127"/>
                  <a:pt x="372" y="127"/>
                </a:cubicBezTo>
                <a:cubicBezTo>
                  <a:pt x="372" y="127"/>
                  <a:pt x="373" y="128"/>
                  <a:pt x="373" y="128"/>
                </a:cubicBezTo>
                <a:cubicBezTo>
                  <a:pt x="373" y="128"/>
                  <a:pt x="373" y="128"/>
                  <a:pt x="374" y="128"/>
                </a:cubicBezTo>
                <a:cubicBezTo>
                  <a:pt x="374" y="128"/>
                  <a:pt x="375" y="128"/>
                  <a:pt x="375" y="128"/>
                </a:cubicBezTo>
                <a:cubicBezTo>
                  <a:pt x="375" y="128"/>
                  <a:pt x="375" y="128"/>
                  <a:pt x="376" y="128"/>
                </a:cubicBezTo>
                <a:cubicBezTo>
                  <a:pt x="376" y="128"/>
                  <a:pt x="376" y="128"/>
                  <a:pt x="376" y="128"/>
                </a:cubicBezTo>
                <a:cubicBezTo>
                  <a:pt x="377" y="128"/>
                  <a:pt x="377" y="127"/>
                  <a:pt x="378" y="127"/>
                </a:cubicBezTo>
                <a:cubicBezTo>
                  <a:pt x="378" y="127"/>
                  <a:pt x="378" y="128"/>
                  <a:pt x="378" y="128"/>
                </a:cubicBezTo>
                <a:cubicBezTo>
                  <a:pt x="378" y="128"/>
                  <a:pt x="379" y="128"/>
                  <a:pt x="379" y="128"/>
                </a:cubicBezTo>
                <a:cubicBezTo>
                  <a:pt x="380" y="127"/>
                  <a:pt x="380" y="127"/>
                  <a:pt x="380" y="127"/>
                </a:cubicBezTo>
                <a:cubicBezTo>
                  <a:pt x="381" y="127"/>
                  <a:pt x="382" y="127"/>
                  <a:pt x="383" y="127"/>
                </a:cubicBezTo>
                <a:cubicBezTo>
                  <a:pt x="382" y="127"/>
                  <a:pt x="382" y="127"/>
                  <a:pt x="382" y="127"/>
                </a:cubicBezTo>
                <a:cubicBezTo>
                  <a:pt x="383" y="127"/>
                  <a:pt x="384" y="127"/>
                  <a:pt x="385" y="127"/>
                </a:cubicBezTo>
                <a:cubicBezTo>
                  <a:pt x="386" y="127"/>
                  <a:pt x="386" y="127"/>
                  <a:pt x="387" y="127"/>
                </a:cubicBezTo>
                <a:cubicBezTo>
                  <a:pt x="387" y="127"/>
                  <a:pt x="390" y="127"/>
                  <a:pt x="390" y="127"/>
                </a:cubicBezTo>
                <a:cubicBezTo>
                  <a:pt x="391" y="127"/>
                  <a:pt x="391" y="128"/>
                  <a:pt x="391" y="128"/>
                </a:cubicBezTo>
                <a:cubicBezTo>
                  <a:pt x="392" y="128"/>
                  <a:pt x="393" y="128"/>
                  <a:pt x="393" y="128"/>
                </a:cubicBezTo>
                <a:cubicBezTo>
                  <a:pt x="394" y="128"/>
                  <a:pt x="394" y="128"/>
                  <a:pt x="394" y="128"/>
                </a:cubicBezTo>
                <a:cubicBezTo>
                  <a:pt x="395" y="128"/>
                  <a:pt x="395" y="127"/>
                  <a:pt x="396" y="127"/>
                </a:cubicBezTo>
                <a:cubicBezTo>
                  <a:pt x="396" y="127"/>
                  <a:pt x="399" y="128"/>
                  <a:pt x="398" y="127"/>
                </a:cubicBezTo>
                <a:cubicBezTo>
                  <a:pt x="397" y="126"/>
                  <a:pt x="396" y="126"/>
                  <a:pt x="397" y="125"/>
                </a:cubicBezTo>
                <a:cubicBezTo>
                  <a:pt x="398" y="125"/>
                  <a:pt x="399" y="124"/>
                  <a:pt x="399" y="125"/>
                </a:cubicBezTo>
                <a:cubicBezTo>
                  <a:pt x="399" y="125"/>
                  <a:pt x="400" y="125"/>
                  <a:pt x="400" y="126"/>
                </a:cubicBezTo>
                <a:cubicBezTo>
                  <a:pt x="400" y="126"/>
                  <a:pt x="400" y="127"/>
                  <a:pt x="400" y="127"/>
                </a:cubicBezTo>
                <a:cubicBezTo>
                  <a:pt x="400" y="128"/>
                  <a:pt x="401" y="127"/>
                  <a:pt x="400" y="128"/>
                </a:cubicBezTo>
                <a:cubicBezTo>
                  <a:pt x="400" y="128"/>
                  <a:pt x="401" y="128"/>
                  <a:pt x="401" y="128"/>
                </a:cubicBezTo>
                <a:cubicBezTo>
                  <a:pt x="401" y="128"/>
                  <a:pt x="401" y="128"/>
                  <a:pt x="401" y="129"/>
                </a:cubicBezTo>
                <a:cubicBezTo>
                  <a:pt x="402" y="129"/>
                  <a:pt x="402" y="129"/>
                  <a:pt x="403" y="129"/>
                </a:cubicBezTo>
                <a:cubicBezTo>
                  <a:pt x="403" y="129"/>
                  <a:pt x="404" y="129"/>
                  <a:pt x="405" y="128"/>
                </a:cubicBezTo>
                <a:cubicBezTo>
                  <a:pt x="405" y="129"/>
                  <a:pt x="406" y="128"/>
                  <a:pt x="406" y="128"/>
                </a:cubicBezTo>
                <a:cubicBezTo>
                  <a:pt x="406" y="128"/>
                  <a:pt x="406" y="128"/>
                  <a:pt x="406" y="128"/>
                </a:cubicBezTo>
                <a:cubicBezTo>
                  <a:pt x="406" y="128"/>
                  <a:pt x="407" y="128"/>
                  <a:pt x="407" y="127"/>
                </a:cubicBezTo>
                <a:cubicBezTo>
                  <a:pt x="407" y="127"/>
                  <a:pt x="407" y="126"/>
                  <a:pt x="407" y="126"/>
                </a:cubicBezTo>
                <a:cubicBezTo>
                  <a:pt x="407" y="126"/>
                  <a:pt x="406" y="127"/>
                  <a:pt x="406" y="126"/>
                </a:cubicBezTo>
                <a:cubicBezTo>
                  <a:pt x="406" y="126"/>
                  <a:pt x="405" y="126"/>
                  <a:pt x="405" y="125"/>
                </a:cubicBezTo>
                <a:cubicBezTo>
                  <a:pt x="405" y="125"/>
                  <a:pt x="404" y="125"/>
                  <a:pt x="404" y="126"/>
                </a:cubicBezTo>
                <a:cubicBezTo>
                  <a:pt x="403" y="126"/>
                  <a:pt x="403" y="126"/>
                  <a:pt x="402" y="126"/>
                </a:cubicBezTo>
                <a:cubicBezTo>
                  <a:pt x="402" y="126"/>
                  <a:pt x="402" y="126"/>
                  <a:pt x="402" y="126"/>
                </a:cubicBezTo>
                <a:cubicBezTo>
                  <a:pt x="402" y="126"/>
                  <a:pt x="401" y="126"/>
                  <a:pt x="401" y="126"/>
                </a:cubicBezTo>
                <a:cubicBezTo>
                  <a:pt x="401" y="126"/>
                  <a:pt x="401" y="127"/>
                  <a:pt x="400" y="127"/>
                </a:cubicBezTo>
                <a:cubicBezTo>
                  <a:pt x="400" y="127"/>
                  <a:pt x="400" y="126"/>
                  <a:pt x="400" y="126"/>
                </a:cubicBezTo>
                <a:cubicBezTo>
                  <a:pt x="400" y="126"/>
                  <a:pt x="400" y="126"/>
                  <a:pt x="400" y="125"/>
                </a:cubicBezTo>
                <a:cubicBezTo>
                  <a:pt x="399" y="125"/>
                  <a:pt x="400" y="125"/>
                  <a:pt x="400" y="124"/>
                </a:cubicBezTo>
                <a:cubicBezTo>
                  <a:pt x="400" y="124"/>
                  <a:pt x="400" y="124"/>
                  <a:pt x="400" y="124"/>
                </a:cubicBezTo>
                <a:cubicBezTo>
                  <a:pt x="400" y="124"/>
                  <a:pt x="401" y="123"/>
                  <a:pt x="401" y="124"/>
                </a:cubicBezTo>
                <a:cubicBezTo>
                  <a:pt x="399" y="125"/>
                  <a:pt x="403" y="124"/>
                  <a:pt x="401" y="123"/>
                </a:cubicBezTo>
                <a:cubicBezTo>
                  <a:pt x="401" y="123"/>
                  <a:pt x="401" y="123"/>
                  <a:pt x="401" y="123"/>
                </a:cubicBezTo>
                <a:cubicBezTo>
                  <a:pt x="401" y="123"/>
                  <a:pt x="401" y="123"/>
                  <a:pt x="401" y="122"/>
                </a:cubicBezTo>
                <a:cubicBezTo>
                  <a:pt x="401" y="122"/>
                  <a:pt x="401" y="122"/>
                  <a:pt x="401" y="122"/>
                </a:cubicBezTo>
                <a:cubicBezTo>
                  <a:pt x="402" y="122"/>
                  <a:pt x="401" y="122"/>
                  <a:pt x="402" y="122"/>
                </a:cubicBezTo>
                <a:cubicBezTo>
                  <a:pt x="402" y="122"/>
                  <a:pt x="402" y="122"/>
                  <a:pt x="402" y="122"/>
                </a:cubicBezTo>
                <a:cubicBezTo>
                  <a:pt x="403" y="122"/>
                  <a:pt x="402" y="121"/>
                  <a:pt x="402" y="121"/>
                </a:cubicBezTo>
                <a:cubicBezTo>
                  <a:pt x="402" y="121"/>
                  <a:pt x="403" y="122"/>
                  <a:pt x="403" y="122"/>
                </a:cubicBezTo>
                <a:cubicBezTo>
                  <a:pt x="404" y="122"/>
                  <a:pt x="405" y="122"/>
                  <a:pt x="405" y="122"/>
                </a:cubicBezTo>
                <a:cubicBezTo>
                  <a:pt x="405" y="122"/>
                  <a:pt x="406" y="122"/>
                  <a:pt x="406" y="122"/>
                </a:cubicBezTo>
                <a:cubicBezTo>
                  <a:pt x="406" y="122"/>
                  <a:pt x="407" y="122"/>
                  <a:pt x="407" y="122"/>
                </a:cubicBezTo>
                <a:cubicBezTo>
                  <a:pt x="408" y="121"/>
                  <a:pt x="407" y="121"/>
                  <a:pt x="407" y="121"/>
                </a:cubicBezTo>
                <a:cubicBezTo>
                  <a:pt x="407" y="121"/>
                  <a:pt x="407" y="121"/>
                  <a:pt x="407" y="121"/>
                </a:cubicBezTo>
                <a:cubicBezTo>
                  <a:pt x="406" y="120"/>
                  <a:pt x="408" y="120"/>
                  <a:pt x="408" y="120"/>
                </a:cubicBezTo>
                <a:cubicBezTo>
                  <a:pt x="408" y="120"/>
                  <a:pt x="410" y="120"/>
                  <a:pt x="409" y="121"/>
                </a:cubicBezTo>
                <a:cubicBezTo>
                  <a:pt x="408" y="121"/>
                  <a:pt x="410" y="121"/>
                  <a:pt x="410" y="121"/>
                </a:cubicBezTo>
                <a:cubicBezTo>
                  <a:pt x="410" y="121"/>
                  <a:pt x="409" y="121"/>
                  <a:pt x="409" y="121"/>
                </a:cubicBezTo>
                <a:cubicBezTo>
                  <a:pt x="410" y="120"/>
                  <a:pt x="411" y="120"/>
                  <a:pt x="411" y="121"/>
                </a:cubicBezTo>
                <a:cubicBezTo>
                  <a:pt x="412" y="121"/>
                  <a:pt x="412" y="121"/>
                  <a:pt x="412" y="122"/>
                </a:cubicBezTo>
                <a:cubicBezTo>
                  <a:pt x="412" y="122"/>
                  <a:pt x="412" y="122"/>
                  <a:pt x="412" y="122"/>
                </a:cubicBezTo>
                <a:cubicBezTo>
                  <a:pt x="412" y="122"/>
                  <a:pt x="413" y="122"/>
                  <a:pt x="412" y="122"/>
                </a:cubicBezTo>
                <a:cubicBezTo>
                  <a:pt x="412" y="123"/>
                  <a:pt x="412" y="122"/>
                  <a:pt x="411" y="123"/>
                </a:cubicBezTo>
                <a:cubicBezTo>
                  <a:pt x="412" y="123"/>
                  <a:pt x="412" y="123"/>
                  <a:pt x="413" y="123"/>
                </a:cubicBezTo>
                <a:cubicBezTo>
                  <a:pt x="414" y="123"/>
                  <a:pt x="414" y="122"/>
                  <a:pt x="414" y="123"/>
                </a:cubicBezTo>
                <a:cubicBezTo>
                  <a:pt x="414" y="123"/>
                  <a:pt x="413" y="123"/>
                  <a:pt x="414" y="124"/>
                </a:cubicBezTo>
                <a:cubicBezTo>
                  <a:pt x="414" y="124"/>
                  <a:pt x="415" y="123"/>
                  <a:pt x="415" y="123"/>
                </a:cubicBezTo>
                <a:cubicBezTo>
                  <a:pt x="415" y="123"/>
                  <a:pt x="416" y="122"/>
                  <a:pt x="416" y="122"/>
                </a:cubicBezTo>
                <a:cubicBezTo>
                  <a:pt x="415" y="123"/>
                  <a:pt x="414" y="124"/>
                  <a:pt x="413" y="124"/>
                </a:cubicBezTo>
                <a:cubicBezTo>
                  <a:pt x="413" y="124"/>
                  <a:pt x="411" y="125"/>
                  <a:pt x="411" y="125"/>
                </a:cubicBezTo>
                <a:cubicBezTo>
                  <a:pt x="411" y="126"/>
                  <a:pt x="413" y="125"/>
                  <a:pt x="413" y="125"/>
                </a:cubicBezTo>
                <a:cubicBezTo>
                  <a:pt x="413" y="125"/>
                  <a:pt x="413" y="125"/>
                  <a:pt x="413" y="125"/>
                </a:cubicBezTo>
                <a:cubicBezTo>
                  <a:pt x="414" y="125"/>
                  <a:pt x="414" y="125"/>
                  <a:pt x="414" y="124"/>
                </a:cubicBezTo>
                <a:cubicBezTo>
                  <a:pt x="414" y="124"/>
                  <a:pt x="414" y="124"/>
                  <a:pt x="414" y="124"/>
                </a:cubicBezTo>
                <a:cubicBezTo>
                  <a:pt x="414" y="124"/>
                  <a:pt x="416" y="124"/>
                  <a:pt x="417" y="123"/>
                </a:cubicBezTo>
                <a:cubicBezTo>
                  <a:pt x="418" y="123"/>
                  <a:pt x="419" y="123"/>
                  <a:pt x="420" y="122"/>
                </a:cubicBezTo>
                <a:cubicBezTo>
                  <a:pt x="419" y="123"/>
                  <a:pt x="419" y="123"/>
                  <a:pt x="418" y="124"/>
                </a:cubicBezTo>
                <a:cubicBezTo>
                  <a:pt x="417" y="124"/>
                  <a:pt x="417" y="124"/>
                  <a:pt x="417" y="125"/>
                </a:cubicBezTo>
                <a:cubicBezTo>
                  <a:pt x="415" y="126"/>
                  <a:pt x="414" y="127"/>
                  <a:pt x="413" y="128"/>
                </a:cubicBezTo>
                <a:cubicBezTo>
                  <a:pt x="413" y="128"/>
                  <a:pt x="412" y="129"/>
                  <a:pt x="412" y="129"/>
                </a:cubicBezTo>
                <a:cubicBezTo>
                  <a:pt x="412" y="129"/>
                  <a:pt x="412" y="128"/>
                  <a:pt x="412" y="128"/>
                </a:cubicBezTo>
                <a:cubicBezTo>
                  <a:pt x="412" y="128"/>
                  <a:pt x="411" y="129"/>
                  <a:pt x="410" y="129"/>
                </a:cubicBezTo>
                <a:cubicBezTo>
                  <a:pt x="410" y="129"/>
                  <a:pt x="409" y="130"/>
                  <a:pt x="409" y="130"/>
                </a:cubicBezTo>
                <a:cubicBezTo>
                  <a:pt x="409" y="130"/>
                  <a:pt x="409" y="130"/>
                  <a:pt x="410" y="130"/>
                </a:cubicBezTo>
                <a:cubicBezTo>
                  <a:pt x="410" y="130"/>
                  <a:pt x="410" y="130"/>
                  <a:pt x="410" y="131"/>
                </a:cubicBezTo>
                <a:cubicBezTo>
                  <a:pt x="411" y="131"/>
                  <a:pt x="411" y="130"/>
                  <a:pt x="411" y="130"/>
                </a:cubicBezTo>
                <a:cubicBezTo>
                  <a:pt x="411" y="131"/>
                  <a:pt x="409" y="132"/>
                  <a:pt x="409" y="132"/>
                </a:cubicBezTo>
                <a:cubicBezTo>
                  <a:pt x="409" y="132"/>
                  <a:pt x="409" y="132"/>
                  <a:pt x="409" y="132"/>
                </a:cubicBezTo>
                <a:cubicBezTo>
                  <a:pt x="409" y="132"/>
                  <a:pt x="409" y="132"/>
                  <a:pt x="409" y="133"/>
                </a:cubicBezTo>
                <a:cubicBezTo>
                  <a:pt x="411" y="133"/>
                  <a:pt x="412" y="131"/>
                  <a:pt x="413" y="131"/>
                </a:cubicBezTo>
                <a:cubicBezTo>
                  <a:pt x="413" y="131"/>
                  <a:pt x="413" y="131"/>
                  <a:pt x="413" y="132"/>
                </a:cubicBezTo>
                <a:cubicBezTo>
                  <a:pt x="414" y="132"/>
                  <a:pt x="414" y="131"/>
                  <a:pt x="415" y="131"/>
                </a:cubicBezTo>
                <a:cubicBezTo>
                  <a:pt x="415" y="131"/>
                  <a:pt x="414" y="132"/>
                  <a:pt x="414" y="132"/>
                </a:cubicBezTo>
                <a:cubicBezTo>
                  <a:pt x="413" y="132"/>
                  <a:pt x="412" y="132"/>
                  <a:pt x="411" y="133"/>
                </a:cubicBezTo>
                <a:cubicBezTo>
                  <a:pt x="412" y="133"/>
                  <a:pt x="412" y="133"/>
                  <a:pt x="413" y="133"/>
                </a:cubicBezTo>
                <a:cubicBezTo>
                  <a:pt x="412" y="133"/>
                  <a:pt x="413" y="133"/>
                  <a:pt x="414" y="133"/>
                </a:cubicBezTo>
                <a:cubicBezTo>
                  <a:pt x="414" y="133"/>
                  <a:pt x="413" y="133"/>
                  <a:pt x="413" y="133"/>
                </a:cubicBezTo>
                <a:cubicBezTo>
                  <a:pt x="413" y="133"/>
                  <a:pt x="414" y="133"/>
                  <a:pt x="414" y="133"/>
                </a:cubicBezTo>
                <a:cubicBezTo>
                  <a:pt x="414" y="133"/>
                  <a:pt x="413" y="134"/>
                  <a:pt x="413" y="134"/>
                </a:cubicBezTo>
                <a:cubicBezTo>
                  <a:pt x="413" y="134"/>
                  <a:pt x="414" y="134"/>
                  <a:pt x="413" y="135"/>
                </a:cubicBezTo>
                <a:cubicBezTo>
                  <a:pt x="413" y="135"/>
                  <a:pt x="413" y="135"/>
                  <a:pt x="412" y="135"/>
                </a:cubicBezTo>
                <a:cubicBezTo>
                  <a:pt x="412" y="135"/>
                  <a:pt x="411" y="135"/>
                  <a:pt x="411" y="135"/>
                </a:cubicBezTo>
                <a:cubicBezTo>
                  <a:pt x="411" y="135"/>
                  <a:pt x="411" y="135"/>
                  <a:pt x="411" y="135"/>
                </a:cubicBezTo>
                <a:cubicBezTo>
                  <a:pt x="410" y="135"/>
                  <a:pt x="410" y="135"/>
                  <a:pt x="409" y="135"/>
                </a:cubicBezTo>
                <a:cubicBezTo>
                  <a:pt x="408" y="135"/>
                  <a:pt x="409" y="135"/>
                  <a:pt x="408" y="135"/>
                </a:cubicBezTo>
                <a:cubicBezTo>
                  <a:pt x="409" y="134"/>
                  <a:pt x="409" y="134"/>
                  <a:pt x="409" y="134"/>
                </a:cubicBezTo>
                <a:cubicBezTo>
                  <a:pt x="408" y="134"/>
                  <a:pt x="408" y="135"/>
                  <a:pt x="407" y="135"/>
                </a:cubicBezTo>
                <a:cubicBezTo>
                  <a:pt x="407" y="135"/>
                  <a:pt x="407" y="135"/>
                  <a:pt x="407" y="135"/>
                </a:cubicBezTo>
                <a:cubicBezTo>
                  <a:pt x="407" y="135"/>
                  <a:pt x="406" y="135"/>
                  <a:pt x="406" y="134"/>
                </a:cubicBezTo>
                <a:cubicBezTo>
                  <a:pt x="407" y="134"/>
                  <a:pt x="407" y="134"/>
                  <a:pt x="406" y="134"/>
                </a:cubicBezTo>
                <a:cubicBezTo>
                  <a:pt x="406" y="134"/>
                  <a:pt x="406" y="134"/>
                  <a:pt x="406" y="134"/>
                </a:cubicBezTo>
                <a:cubicBezTo>
                  <a:pt x="405" y="135"/>
                  <a:pt x="406" y="135"/>
                  <a:pt x="406" y="135"/>
                </a:cubicBezTo>
                <a:cubicBezTo>
                  <a:pt x="406" y="136"/>
                  <a:pt x="406" y="136"/>
                  <a:pt x="406" y="136"/>
                </a:cubicBezTo>
                <a:cubicBezTo>
                  <a:pt x="407" y="136"/>
                  <a:pt x="406" y="136"/>
                  <a:pt x="406" y="136"/>
                </a:cubicBezTo>
                <a:cubicBezTo>
                  <a:pt x="406" y="136"/>
                  <a:pt x="406" y="137"/>
                  <a:pt x="407" y="137"/>
                </a:cubicBezTo>
                <a:cubicBezTo>
                  <a:pt x="408" y="137"/>
                  <a:pt x="407" y="138"/>
                  <a:pt x="406" y="139"/>
                </a:cubicBezTo>
                <a:cubicBezTo>
                  <a:pt x="407" y="138"/>
                  <a:pt x="407" y="138"/>
                  <a:pt x="408" y="138"/>
                </a:cubicBezTo>
                <a:cubicBezTo>
                  <a:pt x="408" y="138"/>
                  <a:pt x="409" y="137"/>
                  <a:pt x="408" y="137"/>
                </a:cubicBezTo>
                <a:cubicBezTo>
                  <a:pt x="408" y="137"/>
                  <a:pt x="408" y="138"/>
                  <a:pt x="407" y="138"/>
                </a:cubicBezTo>
                <a:cubicBezTo>
                  <a:pt x="407" y="138"/>
                  <a:pt x="408" y="137"/>
                  <a:pt x="408" y="137"/>
                </a:cubicBezTo>
                <a:cubicBezTo>
                  <a:pt x="407" y="136"/>
                  <a:pt x="407" y="135"/>
                  <a:pt x="408" y="135"/>
                </a:cubicBezTo>
                <a:cubicBezTo>
                  <a:pt x="408" y="135"/>
                  <a:pt x="408" y="135"/>
                  <a:pt x="409" y="135"/>
                </a:cubicBezTo>
                <a:cubicBezTo>
                  <a:pt x="409" y="135"/>
                  <a:pt x="409" y="135"/>
                  <a:pt x="409" y="135"/>
                </a:cubicBezTo>
                <a:cubicBezTo>
                  <a:pt x="409" y="135"/>
                  <a:pt x="409" y="136"/>
                  <a:pt x="409" y="136"/>
                </a:cubicBezTo>
                <a:cubicBezTo>
                  <a:pt x="410" y="136"/>
                  <a:pt x="411" y="136"/>
                  <a:pt x="411" y="135"/>
                </a:cubicBezTo>
                <a:cubicBezTo>
                  <a:pt x="412" y="135"/>
                  <a:pt x="412" y="136"/>
                  <a:pt x="413" y="135"/>
                </a:cubicBezTo>
                <a:cubicBezTo>
                  <a:pt x="413" y="135"/>
                  <a:pt x="414" y="135"/>
                  <a:pt x="413" y="135"/>
                </a:cubicBezTo>
                <a:cubicBezTo>
                  <a:pt x="414" y="134"/>
                  <a:pt x="414" y="134"/>
                  <a:pt x="414" y="134"/>
                </a:cubicBezTo>
                <a:cubicBezTo>
                  <a:pt x="414" y="134"/>
                  <a:pt x="414" y="133"/>
                  <a:pt x="415" y="133"/>
                </a:cubicBezTo>
                <a:cubicBezTo>
                  <a:pt x="415" y="133"/>
                  <a:pt x="417" y="132"/>
                  <a:pt x="417" y="132"/>
                </a:cubicBezTo>
                <a:cubicBezTo>
                  <a:pt x="417" y="132"/>
                  <a:pt x="416" y="132"/>
                  <a:pt x="416" y="131"/>
                </a:cubicBezTo>
                <a:cubicBezTo>
                  <a:pt x="416" y="130"/>
                  <a:pt x="417" y="130"/>
                  <a:pt x="417" y="130"/>
                </a:cubicBezTo>
                <a:cubicBezTo>
                  <a:pt x="418" y="129"/>
                  <a:pt x="416" y="128"/>
                  <a:pt x="417" y="128"/>
                </a:cubicBezTo>
                <a:cubicBezTo>
                  <a:pt x="417" y="127"/>
                  <a:pt x="418" y="127"/>
                  <a:pt x="418" y="127"/>
                </a:cubicBezTo>
                <a:cubicBezTo>
                  <a:pt x="419" y="127"/>
                  <a:pt x="419" y="126"/>
                  <a:pt x="419" y="126"/>
                </a:cubicBezTo>
                <a:cubicBezTo>
                  <a:pt x="419" y="126"/>
                  <a:pt x="422" y="125"/>
                  <a:pt x="421" y="125"/>
                </a:cubicBezTo>
                <a:cubicBezTo>
                  <a:pt x="422" y="124"/>
                  <a:pt x="422" y="125"/>
                  <a:pt x="423" y="124"/>
                </a:cubicBezTo>
                <a:cubicBezTo>
                  <a:pt x="423" y="125"/>
                  <a:pt x="423" y="125"/>
                  <a:pt x="422" y="125"/>
                </a:cubicBezTo>
                <a:cubicBezTo>
                  <a:pt x="423" y="125"/>
                  <a:pt x="424" y="124"/>
                  <a:pt x="424" y="125"/>
                </a:cubicBezTo>
                <a:cubicBezTo>
                  <a:pt x="424" y="125"/>
                  <a:pt x="425" y="125"/>
                  <a:pt x="426" y="125"/>
                </a:cubicBezTo>
                <a:cubicBezTo>
                  <a:pt x="427" y="125"/>
                  <a:pt x="427" y="124"/>
                  <a:pt x="428" y="124"/>
                </a:cubicBezTo>
                <a:cubicBezTo>
                  <a:pt x="429" y="123"/>
                  <a:pt x="430" y="123"/>
                  <a:pt x="431" y="123"/>
                </a:cubicBezTo>
                <a:cubicBezTo>
                  <a:pt x="432" y="123"/>
                  <a:pt x="432" y="122"/>
                  <a:pt x="433" y="122"/>
                </a:cubicBezTo>
                <a:cubicBezTo>
                  <a:pt x="433" y="121"/>
                  <a:pt x="434" y="121"/>
                  <a:pt x="435" y="121"/>
                </a:cubicBezTo>
                <a:cubicBezTo>
                  <a:pt x="437" y="120"/>
                  <a:pt x="439" y="120"/>
                  <a:pt x="441" y="119"/>
                </a:cubicBezTo>
                <a:cubicBezTo>
                  <a:pt x="440" y="119"/>
                  <a:pt x="439" y="120"/>
                  <a:pt x="438" y="120"/>
                </a:cubicBezTo>
                <a:cubicBezTo>
                  <a:pt x="439" y="119"/>
                  <a:pt x="440" y="118"/>
                  <a:pt x="441" y="118"/>
                </a:cubicBezTo>
                <a:cubicBezTo>
                  <a:pt x="441" y="118"/>
                  <a:pt x="441" y="116"/>
                  <a:pt x="442" y="116"/>
                </a:cubicBezTo>
                <a:cubicBezTo>
                  <a:pt x="441" y="116"/>
                  <a:pt x="441" y="116"/>
                  <a:pt x="441" y="116"/>
                </a:cubicBezTo>
                <a:cubicBezTo>
                  <a:pt x="441" y="116"/>
                  <a:pt x="440" y="116"/>
                  <a:pt x="440" y="116"/>
                </a:cubicBezTo>
                <a:cubicBezTo>
                  <a:pt x="440" y="116"/>
                  <a:pt x="440" y="116"/>
                  <a:pt x="441" y="116"/>
                </a:cubicBezTo>
                <a:cubicBezTo>
                  <a:pt x="440" y="116"/>
                  <a:pt x="440" y="116"/>
                  <a:pt x="440" y="116"/>
                </a:cubicBezTo>
                <a:cubicBezTo>
                  <a:pt x="440" y="116"/>
                  <a:pt x="441" y="116"/>
                  <a:pt x="441" y="115"/>
                </a:cubicBezTo>
                <a:cubicBezTo>
                  <a:pt x="441" y="115"/>
                  <a:pt x="441" y="115"/>
                  <a:pt x="440" y="116"/>
                </a:cubicBezTo>
                <a:cubicBezTo>
                  <a:pt x="440" y="116"/>
                  <a:pt x="440" y="116"/>
                  <a:pt x="440" y="116"/>
                </a:cubicBezTo>
                <a:cubicBezTo>
                  <a:pt x="439" y="116"/>
                  <a:pt x="439" y="116"/>
                  <a:pt x="439" y="116"/>
                </a:cubicBezTo>
                <a:cubicBezTo>
                  <a:pt x="438" y="117"/>
                  <a:pt x="438" y="117"/>
                  <a:pt x="438" y="117"/>
                </a:cubicBezTo>
                <a:cubicBezTo>
                  <a:pt x="438" y="118"/>
                  <a:pt x="439" y="117"/>
                  <a:pt x="439" y="117"/>
                </a:cubicBezTo>
                <a:cubicBezTo>
                  <a:pt x="438" y="117"/>
                  <a:pt x="440" y="117"/>
                  <a:pt x="440" y="117"/>
                </a:cubicBezTo>
                <a:cubicBezTo>
                  <a:pt x="438" y="118"/>
                  <a:pt x="437" y="118"/>
                  <a:pt x="435" y="118"/>
                </a:cubicBezTo>
                <a:cubicBezTo>
                  <a:pt x="435" y="118"/>
                  <a:pt x="434" y="118"/>
                  <a:pt x="434" y="118"/>
                </a:cubicBezTo>
                <a:cubicBezTo>
                  <a:pt x="433" y="119"/>
                  <a:pt x="433" y="118"/>
                  <a:pt x="433" y="118"/>
                </a:cubicBezTo>
                <a:cubicBezTo>
                  <a:pt x="433" y="118"/>
                  <a:pt x="434" y="117"/>
                  <a:pt x="435" y="117"/>
                </a:cubicBezTo>
                <a:cubicBezTo>
                  <a:pt x="435" y="116"/>
                  <a:pt x="436" y="116"/>
                  <a:pt x="436" y="116"/>
                </a:cubicBezTo>
                <a:cubicBezTo>
                  <a:pt x="436" y="116"/>
                  <a:pt x="437" y="116"/>
                  <a:pt x="437" y="116"/>
                </a:cubicBezTo>
                <a:cubicBezTo>
                  <a:pt x="437" y="116"/>
                  <a:pt x="438" y="116"/>
                  <a:pt x="438" y="116"/>
                </a:cubicBezTo>
                <a:cubicBezTo>
                  <a:pt x="439" y="115"/>
                  <a:pt x="439" y="115"/>
                  <a:pt x="439" y="115"/>
                </a:cubicBezTo>
                <a:cubicBezTo>
                  <a:pt x="440" y="115"/>
                  <a:pt x="440" y="115"/>
                  <a:pt x="440" y="114"/>
                </a:cubicBezTo>
                <a:cubicBezTo>
                  <a:pt x="440" y="115"/>
                  <a:pt x="439" y="115"/>
                  <a:pt x="439" y="115"/>
                </a:cubicBezTo>
                <a:cubicBezTo>
                  <a:pt x="438" y="114"/>
                  <a:pt x="440" y="113"/>
                  <a:pt x="440" y="113"/>
                </a:cubicBezTo>
                <a:cubicBezTo>
                  <a:pt x="440" y="112"/>
                  <a:pt x="443" y="113"/>
                  <a:pt x="443" y="113"/>
                </a:cubicBezTo>
                <a:cubicBezTo>
                  <a:pt x="444" y="113"/>
                  <a:pt x="445" y="112"/>
                  <a:pt x="446" y="112"/>
                </a:cubicBezTo>
                <a:cubicBezTo>
                  <a:pt x="445" y="113"/>
                  <a:pt x="444" y="113"/>
                  <a:pt x="442" y="114"/>
                </a:cubicBezTo>
                <a:cubicBezTo>
                  <a:pt x="443" y="114"/>
                  <a:pt x="443" y="114"/>
                  <a:pt x="443" y="113"/>
                </a:cubicBezTo>
                <a:cubicBezTo>
                  <a:pt x="443" y="114"/>
                  <a:pt x="442" y="114"/>
                  <a:pt x="443" y="114"/>
                </a:cubicBezTo>
                <a:cubicBezTo>
                  <a:pt x="442" y="114"/>
                  <a:pt x="442" y="114"/>
                  <a:pt x="442" y="114"/>
                </a:cubicBezTo>
                <a:cubicBezTo>
                  <a:pt x="443" y="114"/>
                  <a:pt x="444" y="113"/>
                  <a:pt x="445" y="113"/>
                </a:cubicBezTo>
                <a:cubicBezTo>
                  <a:pt x="446" y="113"/>
                  <a:pt x="446" y="113"/>
                  <a:pt x="447" y="112"/>
                </a:cubicBezTo>
                <a:cubicBezTo>
                  <a:pt x="447" y="112"/>
                  <a:pt x="446" y="112"/>
                  <a:pt x="445" y="113"/>
                </a:cubicBezTo>
                <a:cubicBezTo>
                  <a:pt x="446" y="112"/>
                  <a:pt x="448" y="111"/>
                  <a:pt x="447" y="111"/>
                </a:cubicBezTo>
                <a:cubicBezTo>
                  <a:pt x="447" y="111"/>
                  <a:pt x="445" y="111"/>
                  <a:pt x="444" y="112"/>
                </a:cubicBezTo>
                <a:cubicBezTo>
                  <a:pt x="444" y="112"/>
                  <a:pt x="442" y="112"/>
                  <a:pt x="441" y="112"/>
                </a:cubicBezTo>
                <a:cubicBezTo>
                  <a:pt x="440" y="111"/>
                  <a:pt x="441" y="111"/>
                  <a:pt x="441" y="110"/>
                </a:cubicBezTo>
                <a:cubicBezTo>
                  <a:pt x="441" y="110"/>
                  <a:pt x="441" y="110"/>
                  <a:pt x="441" y="110"/>
                </a:cubicBezTo>
                <a:cubicBezTo>
                  <a:pt x="441" y="110"/>
                  <a:pt x="441" y="110"/>
                  <a:pt x="441" y="110"/>
                </a:cubicBezTo>
                <a:cubicBezTo>
                  <a:pt x="440" y="110"/>
                  <a:pt x="440" y="110"/>
                  <a:pt x="440" y="110"/>
                </a:cubicBezTo>
                <a:cubicBezTo>
                  <a:pt x="439" y="110"/>
                  <a:pt x="439" y="110"/>
                  <a:pt x="439" y="111"/>
                </a:cubicBezTo>
                <a:cubicBezTo>
                  <a:pt x="439" y="111"/>
                  <a:pt x="437" y="110"/>
                  <a:pt x="438" y="110"/>
                </a:cubicBezTo>
                <a:cubicBezTo>
                  <a:pt x="437" y="110"/>
                  <a:pt x="436" y="110"/>
                  <a:pt x="435" y="109"/>
                </a:cubicBezTo>
                <a:cubicBezTo>
                  <a:pt x="435" y="109"/>
                  <a:pt x="435" y="109"/>
                  <a:pt x="434" y="109"/>
                </a:cubicBezTo>
                <a:cubicBezTo>
                  <a:pt x="434" y="109"/>
                  <a:pt x="433" y="109"/>
                  <a:pt x="433" y="109"/>
                </a:cubicBezTo>
                <a:cubicBezTo>
                  <a:pt x="433" y="109"/>
                  <a:pt x="433" y="109"/>
                  <a:pt x="434" y="109"/>
                </a:cubicBezTo>
                <a:cubicBezTo>
                  <a:pt x="433" y="108"/>
                  <a:pt x="432" y="109"/>
                  <a:pt x="432" y="108"/>
                </a:cubicBezTo>
                <a:cubicBezTo>
                  <a:pt x="432" y="108"/>
                  <a:pt x="432" y="108"/>
                  <a:pt x="431" y="108"/>
                </a:cubicBezTo>
                <a:cubicBezTo>
                  <a:pt x="432" y="108"/>
                  <a:pt x="433" y="107"/>
                  <a:pt x="432" y="107"/>
                </a:cubicBezTo>
                <a:cubicBezTo>
                  <a:pt x="432" y="107"/>
                  <a:pt x="431" y="106"/>
                  <a:pt x="432" y="105"/>
                </a:cubicBezTo>
                <a:cubicBezTo>
                  <a:pt x="432" y="104"/>
                  <a:pt x="433" y="103"/>
                  <a:pt x="434" y="103"/>
                </a:cubicBezTo>
                <a:cubicBezTo>
                  <a:pt x="435" y="103"/>
                  <a:pt x="436" y="102"/>
                  <a:pt x="437" y="101"/>
                </a:cubicBezTo>
                <a:cubicBezTo>
                  <a:pt x="437" y="102"/>
                  <a:pt x="438" y="101"/>
                  <a:pt x="438" y="101"/>
                </a:cubicBezTo>
                <a:cubicBezTo>
                  <a:pt x="439" y="101"/>
                  <a:pt x="440" y="102"/>
                  <a:pt x="440" y="102"/>
                </a:cubicBezTo>
                <a:cubicBezTo>
                  <a:pt x="440" y="102"/>
                  <a:pt x="439" y="101"/>
                  <a:pt x="439" y="101"/>
                </a:cubicBezTo>
                <a:cubicBezTo>
                  <a:pt x="439" y="100"/>
                  <a:pt x="441" y="100"/>
                  <a:pt x="442" y="100"/>
                </a:cubicBezTo>
                <a:cubicBezTo>
                  <a:pt x="441" y="100"/>
                  <a:pt x="440" y="100"/>
                  <a:pt x="439" y="101"/>
                </a:cubicBezTo>
                <a:cubicBezTo>
                  <a:pt x="439" y="101"/>
                  <a:pt x="438" y="101"/>
                  <a:pt x="438" y="101"/>
                </a:cubicBezTo>
                <a:cubicBezTo>
                  <a:pt x="437" y="101"/>
                  <a:pt x="438" y="100"/>
                  <a:pt x="437" y="100"/>
                </a:cubicBezTo>
                <a:cubicBezTo>
                  <a:pt x="437" y="100"/>
                  <a:pt x="437" y="100"/>
                  <a:pt x="437" y="99"/>
                </a:cubicBezTo>
                <a:cubicBezTo>
                  <a:pt x="438" y="99"/>
                  <a:pt x="439" y="98"/>
                  <a:pt x="439" y="98"/>
                </a:cubicBezTo>
                <a:cubicBezTo>
                  <a:pt x="440" y="97"/>
                  <a:pt x="441" y="97"/>
                  <a:pt x="441" y="96"/>
                </a:cubicBezTo>
                <a:cubicBezTo>
                  <a:pt x="441" y="97"/>
                  <a:pt x="440" y="97"/>
                  <a:pt x="440" y="96"/>
                </a:cubicBezTo>
                <a:cubicBezTo>
                  <a:pt x="440" y="96"/>
                  <a:pt x="442" y="96"/>
                  <a:pt x="442" y="96"/>
                </a:cubicBezTo>
                <a:cubicBezTo>
                  <a:pt x="442" y="96"/>
                  <a:pt x="442" y="96"/>
                  <a:pt x="442" y="95"/>
                </a:cubicBezTo>
                <a:cubicBezTo>
                  <a:pt x="441" y="95"/>
                  <a:pt x="443" y="95"/>
                  <a:pt x="443" y="95"/>
                </a:cubicBezTo>
                <a:cubicBezTo>
                  <a:pt x="444" y="94"/>
                  <a:pt x="445" y="94"/>
                  <a:pt x="446" y="94"/>
                </a:cubicBezTo>
                <a:cubicBezTo>
                  <a:pt x="447" y="94"/>
                  <a:pt x="447" y="95"/>
                  <a:pt x="448" y="95"/>
                </a:cubicBezTo>
                <a:cubicBezTo>
                  <a:pt x="448" y="95"/>
                  <a:pt x="449" y="95"/>
                  <a:pt x="449" y="95"/>
                </a:cubicBezTo>
                <a:cubicBezTo>
                  <a:pt x="449" y="95"/>
                  <a:pt x="449" y="94"/>
                  <a:pt x="449" y="94"/>
                </a:cubicBezTo>
                <a:cubicBezTo>
                  <a:pt x="449" y="94"/>
                  <a:pt x="450" y="94"/>
                  <a:pt x="450" y="94"/>
                </a:cubicBezTo>
                <a:cubicBezTo>
                  <a:pt x="449" y="94"/>
                  <a:pt x="451" y="93"/>
                  <a:pt x="452" y="93"/>
                </a:cubicBezTo>
                <a:cubicBezTo>
                  <a:pt x="451" y="93"/>
                  <a:pt x="450" y="93"/>
                  <a:pt x="449" y="93"/>
                </a:cubicBezTo>
                <a:cubicBezTo>
                  <a:pt x="449" y="93"/>
                  <a:pt x="449" y="93"/>
                  <a:pt x="448" y="93"/>
                </a:cubicBezTo>
                <a:cubicBezTo>
                  <a:pt x="448" y="93"/>
                  <a:pt x="449" y="92"/>
                  <a:pt x="449" y="92"/>
                </a:cubicBezTo>
                <a:cubicBezTo>
                  <a:pt x="450" y="92"/>
                  <a:pt x="451" y="92"/>
                  <a:pt x="451" y="92"/>
                </a:cubicBezTo>
                <a:cubicBezTo>
                  <a:pt x="452" y="91"/>
                  <a:pt x="452" y="91"/>
                  <a:pt x="453" y="91"/>
                </a:cubicBezTo>
                <a:cubicBezTo>
                  <a:pt x="453" y="91"/>
                  <a:pt x="454" y="91"/>
                  <a:pt x="454" y="91"/>
                </a:cubicBezTo>
                <a:cubicBezTo>
                  <a:pt x="455" y="91"/>
                  <a:pt x="455" y="90"/>
                  <a:pt x="456" y="90"/>
                </a:cubicBezTo>
                <a:cubicBezTo>
                  <a:pt x="456" y="90"/>
                  <a:pt x="457" y="90"/>
                  <a:pt x="457" y="90"/>
                </a:cubicBezTo>
                <a:cubicBezTo>
                  <a:pt x="458" y="90"/>
                  <a:pt x="459" y="90"/>
                  <a:pt x="460" y="90"/>
                </a:cubicBezTo>
                <a:cubicBezTo>
                  <a:pt x="459" y="90"/>
                  <a:pt x="459" y="90"/>
                  <a:pt x="458" y="90"/>
                </a:cubicBezTo>
                <a:cubicBezTo>
                  <a:pt x="458" y="90"/>
                  <a:pt x="457" y="90"/>
                  <a:pt x="457" y="90"/>
                </a:cubicBezTo>
                <a:cubicBezTo>
                  <a:pt x="455" y="90"/>
                  <a:pt x="456" y="89"/>
                  <a:pt x="457" y="89"/>
                </a:cubicBezTo>
                <a:cubicBezTo>
                  <a:pt x="457" y="89"/>
                  <a:pt x="458" y="89"/>
                  <a:pt x="458" y="89"/>
                </a:cubicBezTo>
                <a:cubicBezTo>
                  <a:pt x="458" y="89"/>
                  <a:pt x="458" y="89"/>
                  <a:pt x="457" y="89"/>
                </a:cubicBezTo>
                <a:cubicBezTo>
                  <a:pt x="458" y="89"/>
                  <a:pt x="458" y="89"/>
                  <a:pt x="458" y="89"/>
                </a:cubicBezTo>
                <a:cubicBezTo>
                  <a:pt x="458" y="89"/>
                  <a:pt x="457" y="89"/>
                  <a:pt x="457" y="89"/>
                </a:cubicBezTo>
                <a:cubicBezTo>
                  <a:pt x="458" y="88"/>
                  <a:pt x="458" y="88"/>
                  <a:pt x="459" y="88"/>
                </a:cubicBezTo>
                <a:cubicBezTo>
                  <a:pt x="459" y="88"/>
                  <a:pt x="458" y="88"/>
                  <a:pt x="458" y="88"/>
                </a:cubicBezTo>
                <a:cubicBezTo>
                  <a:pt x="459" y="88"/>
                  <a:pt x="459" y="87"/>
                  <a:pt x="459" y="87"/>
                </a:cubicBezTo>
                <a:cubicBezTo>
                  <a:pt x="459" y="87"/>
                  <a:pt x="459" y="87"/>
                  <a:pt x="459" y="87"/>
                </a:cubicBezTo>
                <a:cubicBezTo>
                  <a:pt x="459" y="87"/>
                  <a:pt x="459" y="87"/>
                  <a:pt x="459" y="87"/>
                </a:cubicBezTo>
                <a:cubicBezTo>
                  <a:pt x="460" y="86"/>
                  <a:pt x="460" y="86"/>
                  <a:pt x="460" y="86"/>
                </a:cubicBezTo>
                <a:cubicBezTo>
                  <a:pt x="461" y="86"/>
                  <a:pt x="461" y="85"/>
                  <a:pt x="462" y="85"/>
                </a:cubicBezTo>
                <a:cubicBezTo>
                  <a:pt x="462" y="85"/>
                  <a:pt x="462" y="84"/>
                  <a:pt x="462" y="84"/>
                </a:cubicBezTo>
                <a:cubicBezTo>
                  <a:pt x="461" y="83"/>
                  <a:pt x="462" y="84"/>
                  <a:pt x="462" y="83"/>
                </a:cubicBezTo>
                <a:cubicBezTo>
                  <a:pt x="462" y="83"/>
                  <a:pt x="461" y="83"/>
                  <a:pt x="461" y="82"/>
                </a:cubicBezTo>
                <a:cubicBezTo>
                  <a:pt x="461" y="82"/>
                  <a:pt x="462" y="82"/>
                  <a:pt x="462" y="82"/>
                </a:cubicBezTo>
                <a:cubicBezTo>
                  <a:pt x="461" y="82"/>
                  <a:pt x="462" y="81"/>
                  <a:pt x="462" y="81"/>
                </a:cubicBezTo>
                <a:cubicBezTo>
                  <a:pt x="463" y="81"/>
                  <a:pt x="463" y="80"/>
                  <a:pt x="463" y="80"/>
                </a:cubicBezTo>
                <a:cubicBezTo>
                  <a:pt x="463" y="80"/>
                  <a:pt x="466" y="78"/>
                  <a:pt x="466" y="78"/>
                </a:cubicBezTo>
                <a:cubicBezTo>
                  <a:pt x="466" y="78"/>
                  <a:pt x="466" y="77"/>
                  <a:pt x="467" y="77"/>
                </a:cubicBezTo>
                <a:cubicBezTo>
                  <a:pt x="467" y="77"/>
                  <a:pt x="467" y="76"/>
                  <a:pt x="468" y="76"/>
                </a:cubicBezTo>
                <a:cubicBezTo>
                  <a:pt x="468" y="75"/>
                  <a:pt x="469" y="75"/>
                  <a:pt x="469" y="75"/>
                </a:cubicBezTo>
                <a:cubicBezTo>
                  <a:pt x="469" y="75"/>
                  <a:pt x="469" y="75"/>
                  <a:pt x="470" y="75"/>
                </a:cubicBezTo>
                <a:cubicBezTo>
                  <a:pt x="470" y="75"/>
                  <a:pt x="469" y="74"/>
                  <a:pt x="469" y="74"/>
                </a:cubicBezTo>
                <a:cubicBezTo>
                  <a:pt x="470" y="74"/>
                  <a:pt x="470" y="73"/>
                  <a:pt x="471" y="73"/>
                </a:cubicBezTo>
                <a:cubicBezTo>
                  <a:pt x="471" y="73"/>
                  <a:pt x="472" y="73"/>
                  <a:pt x="473" y="73"/>
                </a:cubicBezTo>
                <a:cubicBezTo>
                  <a:pt x="474" y="73"/>
                  <a:pt x="474" y="74"/>
                  <a:pt x="475" y="74"/>
                </a:cubicBezTo>
                <a:cubicBezTo>
                  <a:pt x="475" y="74"/>
                  <a:pt x="477" y="74"/>
                  <a:pt x="477" y="74"/>
                </a:cubicBezTo>
                <a:cubicBezTo>
                  <a:pt x="476" y="74"/>
                  <a:pt x="475" y="74"/>
                  <a:pt x="475" y="73"/>
                </a:cubicBezTo>
                <a:cubicBezTo>
                  <a:pt x="474" y="72"/>
                  <a:pt x="475" y="72"/>
                  <a:pt x="476" y="72"/>
                </a:cubicBezTo>
                <a:cubicBezTo>
                  <a:pt x="476" y="72"/>
                  <a:pt x="475" y="73"/>
                  <a:pt x="475" y="72"/>
                </a:cubicBezTo>
                <a:cubicBezTo>
                  <a:pt x="474" y="72"/>
                  <a:pt x="474" y="72"/>
                  <a:pt x="475" y="71"/>
                </a:cubicBezTo>
                <a:cubicBezTo>
                  <a:pt x="476" y="71"/>
                  <a:pt x="477" y="71"/>
                  <a:pt x="479" y="70"/>
                </a:cubicBezTo>
                <a:cubicBezTo>
                  <a:pt x="480" y="70"/>
                  <a:pt x="482" y="70"/>
                  <a:pt x="483" y="70"/>
                </a:cubicBezTo>
                <a:cubicBezTo>
                  <a:pt x="484" y="70"/>
                  <a:pt x="485" y="70"/>
                  <a:pt x="486" y="70"/>
                </a:cubicBezTo>
                <a:cubicBezTo>
                  <a:pt x="486" y="70"/>
                  <a:pt x="486" y="70"/>
                  <a:pt x="487" y="70"/>
                </a:cubicBezTo>
                <a:cubicBezTo>
                  <a:pt x="486" y="69"/>
                  <a:pt x="489" y="69"/>
                  <a:pt x="489" y="69"/>
                </a:cubicBezTo>
                <a:cubicBezTo>
                  <a:pt x="490" y="69"/>
                  <a:pt x="492" y="69"/>
                  <a:pt x="493" y="70"/>
                </a:cubicBezTo>
                <a:cubicBezTo>
                  <a:pt x="493" y="70"/>
                  <a:pt x="493" y="70"/>
                  <a:pt x="493" y="70"/>
                </a:cubicBezTo>
                <a:cubicBezTo>
                  <a:pt x="493" y="70"/>
                  <a:pt x="493" y="70"/>
                  <a:pt x="493" y="70"/>
                </a:cubicBezTo>
                <a:cubicBezTo>
                  <a:pt x="494" y="70"/>
                  <a:pt x="495" y="70"/>
                  <a:pt x="495" y="70"/>
                </a:cubicBezTo>
                <a:cubicBezTo>
                  <a:pt x="496" y="71"/>
                  <a:pt x="495" y="71"/>
                  <a:pt x="495" y="71"/>
                </a:cubicBezTo>
                <a:cubicBezTo>
                  <a:pt x="496" y="71"/>
                  <a:pt x="496" y="71"/>
                  <a:pt x="497" y="71"/>
                </a:cubicBezTo>
                <a:cubicBezTo>
                  <a:pt x="499" y="71"/>
                  <a:pt x="500" y="71"/>
                  <a:pt x="501" y="71"/>
                </a:cubicBezTo>
                <a:cubicBezTo>
                  <a:pt x="502" y="71"/>
                  <a:pt x="504" y="71"/>
                  <a:pt x="505" y="71"/>
                </a:cubicBezTo>
                <a:cubicBezTo>
                  <a:pt x="505" y="71"/>
                  <a:pt x="506" y="71"/>
                  <a:pt x="507" y="72"/>
                </a:cubicBezTo>
                <a:cubicBezTo>
                  <a:pt x="507" y="72"/>
                  <a:pt x="508" y="72"/>
                  <a:pt x="508" y="72"/>
                </a:cubicBezTo>
                <a:cubicBezTo>
                  <a:pt x="508" y="72"/>
                  <a:pt x="508" y="72"/>
                  <a:pt x="507" y="72"/>
                </a:cubicBezTo>
                <a:cubicBezTo>
                  <a:pt x="508" y="72"/>
                  <a:pt x="506" y="73"/>
                  <a:pt x="506" y="73"/>
                </a:cubicBezTo>
                <a:cubicBezTo>
                  <a:pt x="506" y="73"/>
                  <a:pt x="505" y="73"/>
                  <a:pt x="504" y="74"/>
                </a:cubicBezTo>
                <a:cubicBezTo>
                  <a:pt x="503" y="74"/>
                  <a:pt x="502" y="74"/>
                  <a:pt x="502" y="75"/>
                </a:cubicBezTo>
                <a:cubicBezTo>
                  <a:pt x="501" y="75"/>
                  <a:pt x="500" y="75"/>
                  <a:pt x="500" y="75"/>
                </a:cubicBezTo>
                <a:cubicBezTo>
                  <a:pt x="500" y="75"/>
                  <a:pt x="500" y="75"/>
                  <a:pt x="499" y="76"/>
                </a:cubicBezTo>
                <a:cubicBezTo>
                  <a:pt x="499" y="76"/>
                  <a:pt x="498" y="76"/>
                  <a:pt x="497" y="76"/>
                </a:cubicBezTo>
                <a:cubicBezTo>
                  <a:pt x="497" y="77"/>
                  <a:pt x="496" y="77"/>
                  <a:pt x="495" y="77"/>
                </a:cubicBezTo>
                <a:cubicBezTo>
                  <a:pt x="494" y="78"/>
                  <a:pt x="494" y="77"/>
                  <a:pt x="493" y="78"/>
                </a:cubicBezTo>
                <a:cubicBezTo>
                  <a:pt x="493" y="78"/>
                  <a:pt x="494" y="78"/>
                  <a:pt x="494" y="78"/>
                </a:cubicBezTo>
                <a:cubicBezTo>
                  <a:pt x="493" y="79"/>
                  <a:pt x="492" y="79"/>
                  <a:pt x="491" y="79"/>
                </a:cubicBezTo>
                <a:cubicBezTo>
                  <a:pt x="490" y="80"/>
                  <a:pt x="489" y="80"/>
                  <a:pt x="488" y="81"/>
                </a:cubicBezTo>
                <a:cubicBezTo>
                  <a:pt x="487" y="81"/>
                  <a:pt x="486" y="82"/>
                  <a:pt x="485" y="82"/>
                </a:cubicBezTo>
                <a:cubicBezTo>
                  <a:pt x="483" y="82"/>
                  <a:pt x="482" y="82"/>
                  <a:pt x="481" y="82"/>
                </a:cubicBezTo>
                <a:cubicBezTo>
                  <a:pt x="479" y="82"/>
                  <a:pt x="477" y="81"/>
                  <a:pt x="476" y="82"/>
                </a:cubicBezTo>
                <a:cubicBezTo>
                  <a:pt x="475" y="82"/>
                  <a:pt x="474" y="82"/>
                  <a:pt x="473" y="82"/>
                </a:cubicBezTo>
                <a:cubicBezTo>
                  <a:pt x="472" y="82"/>
                  <a:pt x="470" y="82"/>
                  <a:pt x="470" y="82"/>
                </a:cubicBezTo>
                <a:cubicBezTo>
                  <a:pt x="470" y="82"/>
                  <a:pt x="471" y="82"/>
                  <a:pt x="471" y="82"/>
                </a:cubicBezTo>
                <a:cubicBezTo>
                  <a:pt x="472" y="82"/>
                  <a:pt x="473" y="82"/>
                  <a:pt x="474" y="82"/>
                </a:cubicBezTo>
                <a:cubicBezTo>
                  <a:pt x="473" y="82"/>
                  <a:pt x="473" y="82"/>
                  <a:pt x="473" y="83"/>
                </a:cubicBezTo>
                <a:cubicBezTo>
                  <a:pt x="472" y="83"/>
                  <a:pt x="473" y="83"/>
                  <a:pt x="473" y="83"/>
                </a:cubicBezTo>
                <a:cubicBezTo>
                  <a:pt x="474" y="84"/>
                  <a:pt x="472" y="85"/>
                  <a:pt x="472" y="85"/>
                </a:cubicBezTo>
                <a:cubicBezTo>
                  <a:pt x="471" y="86"/>
                  <a:pt x="469" y="86"/>
                  <a:pt x="468" y="87"/>
                </a:cubicBezTo>
                <a:cubicBezTo>
                  <a:pt x="467" y="87"/>
                  <a:pt x="466" y="87"/>
                  <a:pt x="466" y="88"/>
                </a:cubicBezTo>
                <a:cubicBezTo>
                  <a:pt x="465" y="88"/>
                  <a:pt x="465" y="88"/>
                  <a:pt x="464" y="88"/>
                </a:cubicBezTo>
                <a:cubicBezTo>
                  <a:pt x="465" y="89"/>
                  <a:pt x="465" y="88"/>
                  <a:pt x="466" y="88"/>
                </a:cubicBezTo>
                <a:cubicBezTo>
                  <a:pt x="465" y="88"/>
                  <a:pt x="465" y="89"/>
                  <a:pt x="464" y="89"/>
                </a:cubicBezTo>
                <a:cubicBezTo>
                  <a:pt x="464" y="89"/>
                  <a:pt x="463" y="88"/>
                  <a:pt x="462" y="88"/>
                </a:cubicBezTo>
                <a:cubicBezTo>
                  <a:pt x="462" y="88"/>
                  <a:pt x="461" y="89"/>
                  <a:pt x="460" y="89"/>
                </a:cubicBezTo>
                <a:cubicBezTo>
                  <a:pt x="461" y="89"/>
                  <a:pt x="462" y="88"/>
                  <a:pt x="462" y="89"/>
                </a:cubicBezTo>
                <a:cubicBezTo>
                  <a:pt x="462" y="89"/>
                  <a:pt x="462" y="89"/>
                  <a:pt x="462" y="89"/>
                </a:cubicBezTo>
                <a:cubicBezTo>
                  <a:pt x="462" y="89"/>
                  <a:pt x="461" y="89"/>
                  <a:pt x="461" y="89"/>
                </a:cubicBezTo>
                <a:cubicBezTo>
                  <a:pt x="462" y="90"/>
                  <a:pt x="461" y="90"/>
                  <a:pt x="460" y="90"/>
                </a:cubicBezTo>
                <a:cubicBezTo>
                  <a:pt x="460" y="90"/>
                  <a:pt x="459" y="90"/>
                  <a:pt x="459" y="91"/>
                </a:cubicBezTo>
                <a:cubicBezTo>
                  <a:pt x="459" y="91"/>
                  <a:pt x="461" y="90"/>
                  <a:pt x="461" y="90"/>
                </a:cubicBezTo>
                <a:cubicBezTo>
                  <a:pt x="461" y="90"/>
                  <a:pt x="461" y="90"/>
                  <a:pt x="461" y="90"/>
                </a:cubicBezTo>
                <a:cubicBezTo>
                  <a:pt x="461" y="90"/>
                  <a:pt x="460" y="91"/>
                  <a:pt x="460" y="92"/>
                </a:cubicBezTo>
                <a:cubicBezTo>
                  <a:pt x="460" y="91"/>
                  <a:pt x="461" y="91"/>
                  <a:pt x="462" y="91"/>
                </a:cubicBezTo>
                <a:cubicBezTo>
                  <a:pt x="462" y="90"/>
                  <a:pt x="462" y="91"/>
                  <a:pt x="463" y="91"/>
                </a:cubicBezTo>
                <a:cubicBezTo>
                  <a:pt x="463" y="90"/>
                  <a:pt x="463" y="91"/>
                  <a:pt x="464" y="91"/>
                </a:cubicBezTo>
                <a:cubicBezTo>
                  <a:pt x="464" y="91"/>
                  <a:pt x="465" y="90"/>
                  <a:pt x="465" y="91"/>
                </a:cubicBezTo>
                <a:cubicBezTo>
                  <a:pt x="466" y="91"/>
                  <a:pt x="463" y="91"/>
                  <a:pt x="464" y="92"/>
                </a:cubicBezTo>
                <a:cubicBezTo>
                  <a:pt x="465" y="93"/>
                  <a:pt x="466" y="93"/>
                  <a:pt x="466" y="93"/>
                </a:cubicBezTo>
                <a:cubicBezTo>
                  <a:pt x="466" y="93"/>
                  <a:pt x="466" y="94"/>
                  <a:pt x="466" y="94"/>
                </a:cubicBezTo>
                <a:cubicBezTo>
                  <a:pt x="467" y="94"/>
                  <a:pt x="467" y="95"/>
                  <a:pt x="466" y="95"/>
                </a:cubicBezTo>
                <a:cubicBezTo>
                  <a:pt x="466" y="96"/>
                  <a:pt x="465" y="97"/>
                  <a:pt x="464" y="98"/>
                </a:cubicBezTo>
                <a:cubicBezTo>
                  <a:pt x="464" y="98"/>
                  <a:pt x="463" y="99"/>
                  <a:pt x="462" y="99"/>
                </a:cubicBezTo>
                <a:cubicBezTo>
                  <a:pt x="463" y="99"/>
                  <a:pt x="462" y="98"/>
                  <a:pt x="462" y="99"/>
                </a:cubicBezTo>
                <a:cubicBezTo>
                  <a:pt x="462" y="99"/>
                  <a:pt x="463" y="99"/>
                  <a:pt x="463" y="99"/>
                </a:cubicBezTo>
                <a:cubicBezTo>
                  <a:pt x="464" y="100"/>
                  <a:pt x="464" y="100"/>
                  <a:pt x="463" y="100"/>
                </a:cubicBezTo>
                <a:cubicBezTo>
                  <a:pt x="464" y="100"/>
                  <a:pt x="463" y="100"/>
                  <a:pt x="463" y="100"/>
                </a:cubicBezTo>
                <a:cubicBezTo>
                  <a:pt x="463" y="100"/>
                  <a:pt x="463" y="100"/>
                  <a:pt x="463" y="100"/>
                </a:cubicBezTo>
                <a:cubicBezTo>
                  <a:pt x="464" y="100"/>
                  <a:pt x="464" y="101"/>
                  <a:pt x="465" y="101"/>
                </a:cubicBezTo>
                <a:cubicBezTo>
                  <a:pt x="465" y="101"/>
                  <a:pt x="464" y="101"/>
                  <a:pt x="465" y="101"/>
                </a:cubicBezTo>
                <a:cubicBezTo>
                  <a:pt x="465" y="101"/>
                  <a:pt x="466" y="101"/>
                  <a:pt x="466" y="101"/>
                </a:cubicBezTo>
                <a:cubicBezTo>
                  <a:pt x="465" y="101"/>
                  <a:pt x="465" y="101"/>
                  <a:pt x="465" y="102"/>
                </a:cubicBezTo>
                <a:cubicBezTo>
                  <a:pt x="465" y="102"/>
                  <a:pt x="465" y="102"/>
                  <a:pt x="465" y="102"/>
                </a:cubicBezTo>
                <a:cubicBezTo>
                  <a:pt x="465" y="102"/>
                  <a:pt x="464" y="102"/>
                  <a:pt x="464" y="102"/>
                </a:cubicBezTo>
                <a:cubicBezTo>
                  <a:pt x="464" y="102"/>
                  <a:pt x="465" y="102"/>
                  <a:pt x="465" y="102"/>
                </a:cubicBezTo>
                <a:cubicBezTo>
                  <a:pt x="465" y="103"/>
                  <a:pt x="465" y="103"/>
                  <a:pt x="465" y="103"/>
                </a:cubicBezTo>
                <a:cubicBezTo>
                  <a:pt x="465" y="103"/>
                  <a:pt x="465" y="103"/>
                  <a:pt x="465" y="103"/>
                </a:cubicBezTo>
                <a:cubicBezTo>
                  <a:pt x="465" y="103"/>
                  <a:pt x="465" y="103"/>
                  <a:pt x="465" y="103"/>
                </a:cubicBezTo>
                <a:cubicBezTo>
                  <a:pt x="465" y="103"/>
                  <a:pt x="465" y="103"/>
                  <a:pt x="465" y="103"/>
                </a:cubicBezTo>
                <a:cubicBezTo>
                  <a:pt x="465" y="103"/>
                  <a:pt x="465" y="103"/>
                  <a:pt x="465" y="103"/>
                </a:cubicBezTo>
                <a:cubicBezTo>
                  <a:pt x="465" y="104"/>
                  <a:pt x="465" y="104"/>
                  <a:pt x="465" y="103"/>
                </a:cubicBezTo>
                <a:cubicBezTo>
                  <a:pt x="465" y="104"/>
                  <a:pt x="464" y="104"/>
                  <a:pt x="464" y="104"/>
                </a:cubicBezTo>
                <a:cubicBezTo>
                  <a:pt x="464" y="104"/>
                  <a:pt x="464" y="104"/>
                  <a:pt x="464" y="104"/>
                </a:cubicBezTo>
                <a:cubicBezTo>
                  <a:pt x="464" y="105"/>
                  <a:pt x="465" y="104"/>
                  <a:pt x="465" y="104"/>
                </a:cubicBezTo>
                <a:cubicBezTo>
                  <a:pt x="466" y="104"/>
                  <a:pt x="466" y="103"/>
                  <a:pt x="466" y="104"/>
                </a:cubicBezTo>
                <a:cubicBezTo>
                  <a:pt x="467" y="104"/>
                  <a:pt x="467" y="103"/>
                  <a:pt x="467" y="104"/>
                </a:cubicBezTo>
                <a:cubicBezTo>
                  <a:pt x="466" y="104"/>
                  <a:pt x="466" y="105"/>
                  <a:pt x="466" y="105"/>
                </a:cubicBezTo>
                <a:cubicBezTo>
                  <a:pt x="466" y="105"/>
                  <a:pt x="466" y="104"/>
                  <a:pt x="467" y="105"/>
                </a:cubicBezTo>
                <a:cubicBezTo>
                  <a:pt x="467" y="105"/>
                  <a:pt x="467" y="105"/>
                  <a:pt x="466" y="105"/>
                </a:cubicBezTo>
                <a:cubicBezTo>
                  <a:pt x="466" y="106"/>
                  <a:pt x="465" y="105"/>
                  <a:pt x="465" y="105"/>
                </a:cubicBezTo>
                <a:cubicBezTo>
                  <a:pt x="464" y="105"/>
                  <a:pt x="463" y="106"/>
                  <a:pt x="463" y="105"/>
                </a:cubicBezTo>
                <a:cubicBezTo>
                  <a:pt x="462" y="105"/>
                  <a:pt x="462" y="105"/>
                  <a:pt x="462" y="104"/>
                </a:cubicBezTo>
                <a:cubicBezTo>
                  <a:pt x="462" y="104"/>
                  <a:pt x="462" y="105"/>
                  <a:pt x="461" y="105"/>
                </a:cubicBezTo>
                <a:cubicBezTo>
                  <a:pt x="462" y="105"/>
                  <a:pt x="460" y="105"/>
                  <a:pt x="460" y="105"/>
                </a:cubicBezTo>
                <a:cubicBezTo>
                  <a:pt x="460" y="105"/>
                  <a:pt x="460" y="105"/>
                  <a:pt x="460" y="105"/>
                </a:cubicBezTo>
                <a:cubicBezTo>
                  <a:pt x="460" y="106"/>
                  <a:pt x="459" y="106"/>
                  <a:pt x="458" y="106"/>
                </a:cubicBezTo>
                <a:cubicBezTo>
                  <a:pt x="459" y="106"/>
                  <a:pt x="459" y="106"/>
                  <a:pt x="459" y="106"/>
                </a:cubicBezTo>
                <a:cubicBezTo>
                  <a:pt x="460" y="106"/>
                  <a:pt x="460" y="106"/>
                  <a:pt x="461" y="106"/>
                </a:cubicBezTo>
                <a:cubicBezTo>
                  <a:pt x="461" y="106"/>
                  <a:pt x="461" y="106"/>
                  <a:pt x="462" y="106"/>
                </a:cubicBezTo>
                <a:cubicBezTo>
                  <a:pt x="463" y="106"/>
                  <a:pt x="462" y="107"/>
                  <a:pt x="461" y="107"/>
                </a:cubicBezTo>
                <a:cubicBezTo>
                  <a:pt x="460" y="107"/>
                  <a:pt x="459" y="108"/>
                  <a:pt x="458" y="108"/>
                </a:cubicBezTo>
                <a:cubicBezTo>
                  <a:pt x="458" y="108"/>
                  <a:pt x="457" y="108"/>
                  <a:pt x="456" y="109"/>
                </a:cubicBezTo>
                <a:cubicBezTo>
                  <a:pt x="456" y="109"/>
                  <a:pt x="456" y="109"/>
                  <a:pt x="456" y="109"/>
                </a:cubicBezTo>
                <a:cubicBezTo>
                  <a:pt x="455" y="109"/>
                  <a:pt x="454" y="109"/>
                  <a:pt x="453" y="109"/>
                </a:cubicBezTo>
                <a:cubicBezTo>
                  <a:pt x="454" y="109"/>
                  <a:pt x="455" y="109"/>
                  <a:pt x="455" y="109"/>
                </a:cubicBezTo>
                <a:cubicBezTo>
                  <a:pt x="455" y="110"/>
                  <a:pt x="454" y="109"/>
                  <a:pt x="453" y="110"/>
                </a:cubicBezTo>
                <a:cubicBezTo>
                  <a:pt x="453" y="110"/>
                  <a:pt x="454" y="110"/>
                  <a:pt x="455" y="110"/>
                </a:cubicBezTo>
                <a:cubicBezTo>
                  <a:pt x="455" y="109"/>
                  <a:pt x="456" y="109"/>
                  <a:pt x="457" y="109"/>
                </a:cubicBezTo>
                <a:cubicBezTo>
                  <a:pt x="457" y="110"/>
                  <a:pt x="457" y="110"/>
                  <a:pt x="456" y="110"/>
                </a:cubicBezTo>
                <a:cubicBezTo>
                  <a:pt x="457" y="110"/>
                  <a:pt x="457" y="110"/>
                  <a:pt x="457" y="110"/>
                </a:cubicBezTo>
                <a:cubicBezTo>
                  <a:pt x="458" y="110"/>
                  <a:pt x="458" y="110"/>
                  <a:pt x="458" y="110"/>
                </a:cubicBezTo>
                <a:cubicBezTo>
                  <a:pt x="458" y="110"/>
                  <a:pt x="457" y="110"/>
                  <a:pt x="457" y="110"/>
                </a:cubicBezTo>
                <a:cubicBezTo>
                  <a:pt x="457" y="111"/>
                  <a:pt x="458" y="111"/>
                  <a:pt x="459" y="111"/>
                </a:cubicBezTo>
                <a:cubicBezTo>
                  <a:pt x="459" y="111"/>
                  <a:pt x="461" y="111"/>
                  <a:pt x="461" y="111"/>
                </a:cubicBezTo>
                <a:cubicBezTo>
                  <a:pt x="462" y="110"/>
                  <a:pt x="462" y="110"/>
                  <a:pt x="463" y="110"/>
                </a:cubicBezTo>
                <a:cubicBezTo>
                  <a:pt x="464" y="110"/>
                  <a:pt x="465" y="110"/>
                  <a:pt x="465" y="110"/>
                </a:cubicBezTo>
                <a:cubicBezTo>
                  <a:pt x="465" y="110"/>
                  <a:pt x="465" y="110"/>
                  <a:pt x="465" y="110"/>
                </a:cubicBezTo>
                <a:cubicBezTo>
                  <a:pt x="465" y="110"/>
                  <a:pt x="464" y="110"/>
                  <a:pt x="464" y="110"/>
                </a:cubicBezTo>
                <a:cubicBezTo>
                  <a:pt x="464" y="110"/>
                  <a:pt x="463" y="111"/>
                  <a:pt x="463" y="111"/>
                </a:cubicBezTo>
                <a:cubicBezTo>
                  <a:pt x="462" y="111"/>
                  <a:pt x="462" y="111"/>
                  <a:pt x="461" y="111"/>
                </a:cubicBezTo>
                <a:cubicBezTo>
                  <a:pt x="462" y="111"/>
                  <a:pt x="463" y="110"/>
                  <a:pt x="464" y="111"/>
                </a:cubicBezTo>
                <a:cubicBezTo>
                  <a:pt x="464" y="111"/>
                  <a:pt x="464" y="111"/>
                  <a:pt x="464" y="111"/>
                </a:cubicBezTo>
                <a:cubicBezTo>
                  <a:pt x="464" y="111"/>
                  <a:pt x="464" y="111"/>
                  <a:pt x="465" y="111"/>
                </a:cubicBezTo>
                <a:cubicBezTo>
                  <a:pt x="465" y="111"/>
                  <a:pt x="465" y="111"/>
                  <a:pt x="466" y="111"/>
                </a:cubicBezTo>
                <a:cubicBezTo>
                  <a:pt x="466" y="111"/>
                  <a:pt x="466" y="111"/>
                  <a:pt x="465" y="111"/>
                </a:cubicBezTo>
                <a:cubicBezTo>
                  <a:pt x="466" y="112"/>
                  <a:pt x="467" y="111"/>
                  <a:pt x="468" y="111"/>
                </a:cubicBezTo>
                <a:cubicBezTo>
                  <a:pt x="468" y="111"/>
                  <a:pt x="469" y="112"/>
                  <a:pt x="469" y="112"/>
                </a:cubicBezTo>
                <a:cubicBezTo>
                  <a:pt x="469" y="112"/>
                  <a:pt x="468" y="112"/>
                  <a:pt x="468" y="112"/>
                </a:cubicBezTo>
                <a:cubicBezTo>
                  <a:pt x="468" y="112"/>
                  <a:pt x="467" y="112"/>
                  <a:pt x="467" y="112"/>
                </a:cubicBezTo>
                <a:cubicBezTo>
                  <a:pt x="467" y="112"/>
                  <a:pt x="467" y="112"/>
                  <a:pt x="466" y="112"/>
                </a:cubicBezTo>
                <a:cubicBezTo>
                  <a:pt x="467" y="112"/>
                  <a:pt x="467" y="112"/>
                  <a:pt x="467" y="112"/>
                </a:cubicBezTo>
                <a:cubicBezTo>
                  <a:pt x="466" y="112"/>
                  <a:pt x="465" y="112"/>
                  <a:pt x="464" y="113"/>
                </a:cubicBezTo>
                <a:cubicBezTo>
                  <a:pt x="464" y="113"/>
                  <a:pt x="464" y="113"/>
                  <a:pt x="464" y="114"/>
                </a:cubicBezTo>
                <a:cubicBezTo>
                  <a:pt x="464" y="114"/>
                  <a:pt x="463" y="114"/>
                  <a:pt x="464" y="113"/>
                </a:cubicBezTo>
                <a:cubicBezTo>
                  <a:pt x="463" y="113"/>
                  <a:pt x="463" y="113"/>
                  <a:pt x="463" y="113"/>
                </a:cubicBezTo>
                <a:cubicBezTo>
                  <a:pt x="463" y="113"/>
                  <a:pt x="463" y="113"/>
                  <a:pt x="464" y="113"/>
                </a:cubicBezTo>
                <a:cubicBezTo>
                  <a:pt x="464" y="113"/>
                  <a:pt x="462" y="113"/>
                  <a:pt x="462" y="113"/>
                </a:cubicBezTo>
                <a:cubicBezTo>
                  <a:pt x="462" y="113"/>
                  <a:pt x="464" y="113"/>
                  <a:pt x="464" y="113"/>
                </a:cubicBezTo>
                <a:cubicBezTo>
                  <a:pt x="463" y="113"/>
                  <a:pt x="463" y="113"/>
                  <a:pt x="462" y="113"/>
                </a:cubicBezTo>
                <a:cubicBezTo>
                  <a:pt x="461" y="113"/>
                  <a:pt x="461" y="113"/>
                  <a:pt x="460" y="113"/>
                </a:cubicBezTo>
                <a:cubicBezTo>
                  <a:pt x="461" y="113"/>
                  <a:pt x="464" y="114"/>
                  <a:pt x="463" y="115"/>
                </a:cubicBezTo>
                <a:cubicBezTo>
                  <a:pt x="463" y="115"/>
                  <a:pt x="462" y="116"/>
                  <a:pt x="463" y="116"/>
                </a:cubicBezTo>
                <a:cubicBezTo>
                  <a:pt x="463" y="116"/>
                  <a:pt x="463" y="116"/>
                  <a:pt x="463" y="117"/>
                </a:cubicBezTo>
                <a:cubicBezTo>
                  <a:pt x="463" y="117"/>
                  <a:pt x="464" y="117"/>
                  <a:pt x="463" y="117"/>
                </a:cubicBezTo>
                <a:cubicBezTo>
                  <a:pt x="464" y="117"/>
                  <a:pt x="463" y="117"/>
                  <a:pt x="463" y="117"/>
                </a:cubicBezTo>
                <a:cubicBezTo>
                  <a:pt x="462" y="118"/>
                  <a:pt x="462" y="118"/>
                  <a:pt x="462" y="118"/>
                </a:cubicBezTo>
                <a:cubicBezTo>
                  <a:pt x="462" y="118"/>
                  <a:pt x="463" y="118"/>
                  <a:pt x="463" y="118"/>
                </a:cubicBezTo>
                <a:cubicBezTo>
                  <a:pt x="462" y="118"/>
                  <a:pt x="461" y="119"/>
                  <a:pt x="460" y="120"/>
                </a:cubicBezTo>
                <a:cubicBezTo>
                  <a:pt x="460" y="120"/>
                  <a:pt x="460" y="120"/>
                  <a:pt x="460" y="120"/>
                </a:cubicBezTo>
                <a:cubicBezTo>
                  <a:pt x="460" y="120"/>
                  <a:pt x="460" y="121"/>
                  <a:pt x="460" y="121"/>
                </a:cubicBezTo>
                <a:cubicBezTo>
                  <a:pt x="460" y="121"/>
                  <a:pt x="459" y="121"/>
                  <a:pt x="459" y="121"/>
                </a:cubicBezTo>
                <a:cubicBezTo>
                  <a:pt x="459" y="121"/>
                  <a:pt x="460" y="122"/>
                  <a:pt x="460" y="122"/>
                </a:cubicBezTo>
                <a:cubicBezTo>
                  <a:pt x="460" y="122"/>
                  <a:pt x="459" y="122"/>
                  <a:pt x="459" y="122"/>
                </a:cubicBezTo>
                <a:cubicBezTo>
                  <a:pt x="459" y="122"/>
                  <a:pt x="460" y="122"/>
                  <a:pt x="460" y="122"/>
                </a:cubicBezTo>
                <a:cubicBezTo>
                  <a:pt x="460" y="122"/>
                  <a:pt x="459" y="123"/>
                  <a:pt x="460" y="123"/>
                </a:cubicBezTo>
                <a:cubicBezTo>
                  <a:pt x="461" y="123"/>
                  <a:pt x="461" y="122"/>
                  <a:pt x="461" y="122"/>
                </a:cubicBezTo>
                <a:cubicBezTo>
                  <a:pt x="462" y="122"/>
                  <a:pt x="462" y="122"/>
                  <a:pt x="463" y="122"/>
                </a:cubicBezTo>
                <a:cubicBezTo>
                  <a:pt x="463" y="122"/>
                  <a:pt x="463" y="121"/>
                  <a:pt x="463" y="121"/>
                </a:cubicBezTo>
                <a:cubicBezTo>
                  <a:pt x="464" y="121"/>
                  <a:pt x="465" y="120"/>
                  <a:pt x="465" y="120"/>
                </a:cubicBezTo>
                <a:cubicBezTo>
                  <a:pt x="465" y="120"/>
                  <a:pt x="464" y="120"/>
                  <a:pt x="465" y="119"/>
                </a:cubicBezTo>
                <a:cubicBezTo>
                  <a:pt x="465" y="119"/>
                  <a:pt x="466" y="119"/>
                  <a:pt x="466" y="119"/>
                </a:cubicBezTo>
                <a:cubicBezTo>
                  <a:pt x="467" y="118"/>
                  <a:pt x="467" y="119"/>
                  <a:pt x="466" y="119"/>
                </a:cubicBezTo>
                <a:cubicBezTo>
                  <a:pt x="467" y="119"/>
                  <a:pt x="468" y="118"/>
                  <a:pt x="468" y="117"/>
                </a:cubicBezTo>
                <a:cubicBezTo>
                  <a:pt x="469" y="117"/>
                  <a:pt x="469" y="116"/>
                  <a:pt x="469" y="116"/>
                </a:cubicBezTo>
                <a:cubicBezTo>
                  <a:pt x="470" y="116"/>
                  <a:pt x="470" y="115"/>
                  <a:pt x="471" y="115"/>
                </a:cubicBezTo>
                <a:cubicBezTo>
                  <a:pt x="472" y="115"/>
                  <a:pt x="474" y="114"/>
                  <a:pt x="475" y="113"/>
                </a:cubicBezTo>
                <a:cubicBezTo>
                  <a:pt x="477" y="113"/>
                  <a:pt x="477" y="115"/>
                  <a:pt x="478" y="116"/>
                </a:cubicBezTo>
                <a:cubicBezTo>
                  <a:pt x="479" y="116"/>
                  <a:pt x="481" y="117"/>
                  <a:pt x="480" y="119"/>
                </a:cubicBezTo>
                <a:cubicBezTo>
                  <a:pt x="480" y="119"/>
                  <a:pt x="479" y="120"/>
                  <a:pt x="479" y="120"/>
                </a:cubicBezTo>
                <a:cubicBezTo>
                  <a:pt x="479" y="121"/>
                  <a:pt x="479" y="121"/>
                  <a:pt x="479" y="121"/>
                </a:cubicBezTo>
                <a:cubicBezTo>
                  <a:pt x="479" y="121"/>
                  <a:pt x="479" y="121"/>
                  <a:pt x="478" y="121"/>
                </a:cubicBezTo>
                <a:cubicBezTo>
                  <a:pt x="478" y="122"/>
                  <a:pt x="478" y="122"/>
                  <a:pt x="477" y="123"/>
                </a:cubicBezTo>
                <a:cubicBezTo>
                  <a:pt x="477" y="123"/>
                  <a:pt x="476" y="123"/>
                  <a:pt x="476" y="123"/>
                </a:cubicBezTo>
                <a:cubicBezTo>
                  <a:pt x="476" y="123"/>
                  <a:pt x="475" y="123"/>
                  <a:pt x="475" y="123"/>
                </a:cubicBezTo>
                <a:cubicBezTo>
                  <a:pt x="474" y="123"/>
                  <a:pt x="476" y="122"/>
                  <a:pt x="475" y="122"/>
                </a:cubicBezTo>
                <a:cubicBezTo>
                  <a:pt x="475" y="122"/>
                  <a:pt x="474" y="122"/>
                  <a:pt x="474" y="122"/>
                </a:cubicBezTo>
                <a:cubicBezTo>
                  <a:pt x="473" y="122"/>
                  <a:pt x="473" y="123"/>
                  <a:pt x="473" y="123"/>
                </a:cubicBezTo>
                <a:cubicBezTo>
                  <a:pt x="473" y="124"/>
                  <a:pt x="472" y="124"/>
                  <a:pt x="472" y="125"/>
                </a:cubicBezTo>
                <a:cubicBezTo>
                  <a:pt x="471" y="125"/>
                  <a:pt x="471" y="126"/>
                  <a:pt x="471" y="126"/>
                </a:cubicBezTo>
                <a:cubicBezTo>
                  <a:pt x="470" y="127"/>
                  <a:pt x="470" y="128"/>
                  <a:pt x="470" y="128"/>
                </a:cubicBezTo>
                <a:cubicBezTo>
                  <a:pt x="470" y="129"/>
                  <a:pt x="471" y="129"/>
                  <a:pt x="471" y="129"/>
                </a:cubicBezTo>
                <a:cubicBezTo>
                  <a:pt x="472" y="130"/>
                  <a:pt x="472" y="131"/>
                  <a:pt x="472" y="131"/>
                </a:cubicBezTo>
                <a:cubicBezTo>
                  <a:pt x="473" y="131"/>
                  <a:pt x="472" y="132"/>
                  <a:pt x="472" y="132"/>
                </a:cubicBezTo>
                <a:cubicBezTo>
                  <a:pt x="472" y="132"/>
                  <a:pt x="472" y="132"/>
                  <a:pt x="473" y="132"/>
                </a:cubicBezTo>
                <a:cubicBezTo>
                  <a:pt x="473" y="132"/>
                  <a:pt x="471" y="133"/>
                  <a:pt x="470" y="134"/>
                </a:cubicBezTo>
                <a:cubicBezTo>
                  <a:pt x="471" y="134"/>
                  <a:pt x="472" y="133"/>
                  <a:pt x="472" y="133"/>
                </a:cubicBezTo>
                <a:cubicBezTo>
                  <a:pt x="472" y="133"/>
                  <a:pt x="472" y="134"/>
                  <a:pt x="472" y="134"/>
                </a:cubicBezTo>
                <a:cubicBezTo>
                  <a:pt x="472" y="134"/>
                  <a:pt x="473" y="133"/>
                  <a:pt x="473" y="133"/>
                </a:cubicBezTo>
                <a:cubicBezTo>
                  <a:pt x="474" y="132"/>
                  <a:pt x="474" y="133"/>
                  <a:pt x="474" y="133"/>
                </a:cubicBezTo>
                <a:cubicBezTo>
                  <a:pt x="474" y="133"/>
                  <a:pt x="475" y="132"/>
                  <a:pt x="475" y="132"/>
                </a:cubicBezTo>
                <a:cubicBezTo>
                  <a:pt x="475" y="132"/>
                  <a:pt x="475" y="132"/>
                  <a:pt x="476" y="132"/>
                </a:cubicBezTo>
                <a:cubicBezTo>
                  <a:pt x="475" y="132"/>
                  <a:pt x="475" y="131"/>
                  <a:pt x="476" y="131"/>
                </a:cubicBezTo>
                <a:cubicBezTo>
                  <a:pt x="476" y="132"/>
                  <a:pt x="477" y="131"/>
                  <a:pt x="477" y="131"/>
                </a:cubicBezTo>
                <a:cubicBezTo>
                  <a:pt x="477" y="131"/>
                  <a:pt x="478" y="130"/>
                  <a:pt x="478" y="131"/>
                </a:cubicBezTo>
                <a:cubicBezTo>
                  <a:pt x="479" y="131"/>
                  <a:pt x="479" y="131"/>
                  <a:pt x="479" y="131"/>
                </a:cubicBezTo>
                <a:cubicBezTo>
                  <a:pt x="479" y="131"/>
                  <a:pt x="479" y="131"/>
                  <a:pt x="479" y="131"/>
                </a:cubicBezTo>
                <a:cubicBezTo>
                  <a:pt x="480" y="131"/>
                  <a:pt x="480" y="130"/>
                  <a:pt x="481" y="130"/>
                </a:cubicBezTo>
                <a:cubicBezTo>
                  <a:pt x="481" y="130"/>
                  <a:pt x="482" y="129"/>
                  <a:pt x="482" y="129"/>
                </a:cubicBezTo>
                <a:cubicBezTo>
                  <a:pt x="482" y="129"/>
                  <a:pt x="482" y="128"/>
                  <a:pt x="482" y="128"/>
                </a:cubicBezTo>
                <a:cubicBezTo>
                  <a:pt x="483" y="127"/>
                  <a:pt x="484" y="127"/>
                  <a:pt x="485" y="126"/>
                </a:cubicBezTo>
                <a:cubicBezTo>
                  <a:pt x="486" y="126"/>
                  <a:pt x="486" y="126"/>
                  <a:pt x="487" y="126"/>
                </a:cubicBezTo>
                <a:cubicBezTo>
                  <a:pt x="487" y="126"/>
                  <a:pt x="487" y="125"/>
                  <a:pt x="487" y="125"/>
                </a:cubicBezTo>
                <a:cubicBezTo>
                  <a:pt x="487" y="125"/>
                  <a:pt x="487" y="125"/>
                  <a:pt x="487" y="125"/>
                </a:cubicBezTo>
                <a:cubicBezTo>
                  <a:pt x="488" y="125"/>
                  <a:pt x="489" y="125"/>
                  <a:pt x="489" y="125"/>
                </a:cubicBezTo>
                <a:cubicBezTo>
                  <a:pt x="490" y="124"/>
                  <a:pt x="491" y="124"/>
                  <a:pt x="491" y="123"/>
                </a:cubicBezTo>
                <a:cubicBezTo>
                  <a:pt x="491" y="123"/>
                  <a:pt x="494" y="121"/>
                  <a:pt x="494" y="121"/>
                </a:cubicBezTo>
                <a:cubicBezTo>
                  <a:pt x="493" y="121"/>
                  <a:pt x="495" y="119"/>
                  <a:pt x="495" y="119"/>
                </a:cubicBezTo>
                <a:cubicBezTo>
                  <a:pt x="496" y="119"/>
                  <a:pt x="496" y="118"/>
                  <a:pt x="496" y="118"/>
                </a:cubicBezTo>
                <a:cubicBezTo>
                  <a:pt x="497" y="118"/>
                  <a:pt x="497" y="118"/>
                  <a:pt x="498" y="118"/>
                </a:cubicBezTo>
                <a:cubicBezTo>
                  <a:pt x="498" y="118"/>
                  <a:pt x="497" y="118"/>
                  <a:pt x="497" y="118"/>
                </a:cubicBezTo>
                <a:cubicBezTo>
                  <a:pt x="498" y="118"/>
                  <a:pt x="498" y="118"/>
                  <a:pt x="498" y="118"/>
                </a:cubicBezTo>
                <a:cubicBezTo>
                  <a:pt x="498" y="118"/>
                  <a:pt x="498" y="118"/>
                  <a:pt x="499" y="118"/>
                </a:cubicBezTo>
                <a:cubicBezTo>
                  <a:pt x="499" y="118"/>
                  <a:pt x="499" y="118"/>
                  <a:pt x="499" y="118"/>
                </a:cubicBezTo>
                <a:cubicBezTo>
                  <a:pt x="500" y="118"/>
                  <a:pt x="502" y="119"/>
                  <a:pt x="503" y="118"/>
                </a:cubicBezTo>
                <a:cubicBezTo>
                  <a:pt x="503" y="117"/>
                  <a:pt x="501" y="118"/>
                  <a:pt x="501" y="117"/>
                </a:cubicBezTo>
                <a:cubicBezTo>
                  <a:pt x="500" y="117"/>
                  <a:pt x="501" y="117"/>
                  <a:pt x="501" y="117"/>
                </a:cubicBezTo>
                <a:cubicBezTo>
                  <a:pt x="502" y="117"/>
                  <a:pt x="502" y="117"/>
                  <a:pt x="502" y="117"/>
                </a:cubicBezTo>
                <a:cubicBezTo>
                  <a:pt x="502" y="117"/>
                  <a:pt x="502" y="117"/>
                  <a:pt x="502" y="117"/>
                </a:cubicBezTo>
                <a:cubicBezTo>
                  <a:pt x="502" y="117"/>
                  <a:pt x="502" y="117"/>
                  <a:pt x="502" y="116"/>
                </a:cubicBezTo>
                <a:cubicBezTo>
                  <a:pt x="501" y="116"/>
                  <a:pt x="503" y="117"/>
                  <a:pt x="504" y="117"/>
                </a:cubicBezTo>
                <a:cubicBezTo>
                  <a:pt x="505" y="117"/>
                  <a:pt x="503" y="116"/>
                  <a:pt x="503" y="116"/>
                </a:cubicBezTo>
                <a:cubicBezTo>
                  <a:pt x="504" y="115"/>
                  <a:pt x="506" y="116"/>
                  <a:pt x="506" y="116"/>
                </a:cubicBezTo>
                <a:cubicBezTo>
                  <a:pt x="506" y="116"/>
                  <a:pt x="505" y="116"/>
                  <a:pt x="505" y="115"/>
                </a:cubicBezTo>
                <a:cubicBezTo>
                  <a:pt x="505" y="115"/>
                  <a:pt x="505" y="115"/>
                  <a:pt x="505" y="115"/>
                </a:cubicBezTo>
                <a:cubicBezTo>
                  <a:pt x="505" y="115"/>
                  <a:pt x="504" y="115"/>
                  <a:pt x="504" y="115"/>
                </a:cubicBezTo>
                <a:cubicBezTo>
                  <a:pt x="504" y="115"/>
                  <a:pt x="504" y="115"/>
                  <a:pt x="504" y="115"/>
                </a:cubicBezTo>
                <a:cubicBezTo>
                  <a:pt x="504" y="115"/>
                  <a:pt x="504" y="115"/>
                  <a:pt x="504" y="115"/>
                </a:cubicBezTo>
                <a:cubicBezTo>
                  <a:pt x="504" y="115"/>
                  <a:pt x="503" y="115"/>
                  <a:pt x="503" y="115"/>
                </a:cubicBezTo>
                <a:cubicBezTo>
                  <a:pt x="503" y="114"/>
                  <a:pt x="504" y="115"/>
                  <a:pt x="504" y="114"/>
                </a:cubicBezTo>
                <a:cubicBezTo>
                  <a:pt x="504" y="114"/>
                  <a:pt x="503" y="114"/>
                  <a:pt x="503" y="114"/>
                </a:cubicBezTo>
                <a:cubicBezTo>
                  <a:pt x="503" y="115"/>
                  <a:pt x="502" y="115"/>
                  <a:pt x="502" y="115"/>
                </a:cubicBezTo>
                <a:cubicBezTo>
                  <a:pt x="502" y="114"/>
                  <a:pt x="503" y="114"/>
                  <a:pt x="503" y="114"/>
                </a:cubicBezTo>
                <a:cubicBezTo>
                  <a:pt x="502" y="114"/>
                  <a:pt x="502" y="114"/>
                  <a:pt x="502" y="113"/>
                </a:cubicBezTo>
                <a:cubicBezTo>
                  <a:pt x="502" y="113"/>
                  <a:pt x="503" y="113"/>
                  <a:pt x="503" y="113"/>
                </a:cubicBezTo>
                <a:cubicBezTo>
                  <a:pt x="503" y="113"/>
                  <a:pt x="502" y="113"/>
                  <a:pt x="502" y="113"/>
                </a:cubicBezTo>
                <a:cubicBezTo>
                  <a:pt x="502" y="112"/>
                  <a:pt x="504" y="112"/>
                  <a:pt x="504" y="112"/>
                </a:cubicBezTo>
                <a:cubicBezTo>
                  <a:pt x="504" y="112"/>
                  <a:pt x="502" y="112"/>
                  <a:pt x="503" y="111"/>
                </a:cubicBezTo>
                <a:cubicBezTo>
                  <a:pt x="503" y="111"/>
                  <a:pt x="503" y="111"/>
                  <a:pt x="504" y="111"/>
                </a:cubicBezTo>
                <a:cubicBezTo>
                  <a:pt x="504" y="111"/>
                  <a:pt x="504" y="111"/>
                  <a:pt x="505" y="111"/>
                </a:cubicBezTo>
                <a:cubicBezTo>
                  <a:pt x="505" y="111"/>
                  <a:pt x="504" y="110"/>
                  <a:pt x="505" y="110"/>
                </a:cubicBezTo>
                <a:cubicBezTo>
                  <a:pt x="505" y="110"/>
                  <a:pt x="505" y="109"/>
                  <a:pt x="505" y="109"/>
                </a:cubicBezTo>
                <a:cubicBezTo>
                  <a:pt x="506" y="109"/>
                  <a:pt x="507" y="108"/>
                  <a:pt x="506" y="109"/>
                </a:cubicBezTo>
                <a:cubicBezTo>
                  <a:pt x="506" y="109"/>
                  <a:pt x="507" y="109"/>
                  <a:pt x="507" y="108"/>
                </a:cubicBezTo>
                <a:cubicBezTo>
                  <a:pt x="507" y="108"/>
                  <a:pt x="506" y="108"/>
                  <a:pt x="505" y="108"/>
                </a:cubicBezTo>
                <a:cubicBezTo>
                  <a:pt x="506" y="107"/>
                  <a:pt x="507" y="108"/>
                  <a:pt x="508" y="109"/>
                </a:cubicBezTo>
                <a:cubicBezTo>
                  <a:pt x="509" y="109"/>
                  <a:pt x="510" y="108"/>
                  <a:pt x="510" y="108"/>
                </a:cubicBezTo>
                <a:cubicBezTo>
                  <a:pt x="510" y="108"/>
                  <a:pt x="512" y="108"/>
                  <a:pt x="513" y="108"/>
                </a:cubicBezTo>
                <a:cubicBezTo>
                  <a:pt x="513" y="108"/>
                  <a:pt x="514" y="108"/>
                  <a:pt x="514" y="108"/>
                </a:cubicBezTo>
                <a:cubicBezTo>
                  <a:pt x="515" y="108"/>
                  <a:pt x="515" y="108"/>
                  <a:pt x="515" y="108"/>
                </a:cubicBezTo>
                <a:cubicBezTo>
                  <a:pt x="516" y="109"/>
                  <a:pt x="517" y="109"/>
                  <a:pt x="519" y="110"/>
                </a:cubicBezTo>
                <a:cubicBezTo>
                  <a:pt x="520" y="110"/>
                  <a:pt x="521" y="109"/>
                  <a:pt x="522" y="110"/>
                </a:cubicBezTo>
                <a:cubicBezTo>
                  <a:pt x="522" y="110"/>
                  <a:pt x="523" y="110"/>
                  <a:pt x="524" y="110"/>
                </a:cubicBezTo>
                <a:cubicBezTo>
                  <a:pt x="524" y="110"/>
                  <a:pt x="525" y="109"/>
                  <a:pt x="525" y="109"/>
                </a:cubicBezTo>
                <a:cubicBezTo>
                  <a:pt x="525" y="109"/>
                  <a:pt x="525" y="110"/>
                  <a:pt x="526" y="110"/>
                </a:cubicBezTo>
                <a:cubicBezTo>
                  <a:pt x="526" y="110"/>
                  <a:pt x="527" y="110"/>
                  <a:pt x="527" y="110"/>
                </a:cubicBezTo>
                <a:cubicBezTo>
                  <a:pt x="527" y="110"/>
                  <a:pt x="526" y="110"/>
                  <a:pt x="526" y="110"/>
                </a:cubicBezTo>
                <a:cubicBezTo>
                  <a:pt x="525" y="110"/>
                  <a:pt x="525" y="110"/>
                  <a:pt x="524" y="110"/>
                </a:cubicBezTo>
                <a:cubicBezTo>
                  <a:pt x="524" y="110"/>
                  <a:pt x="525" y="110"/>
                  <a:pt x="525" y="110"/>
                </a:cubicBezTo>
                <a:cubicBezTo>
                  <a:pt x="524" y="111"/>
                  <a:pt x="524" y="110"/>
                  <a:pt x="523" y="111"/>
                </a:cubicBezTo>
                <a:cubicBezTo>
                  <a:pt x="524" y="111"/>
                  <a:pt x="524" y="111"/>
                  <a:pt x="524" y="111"/>
                </a:cubicBezTo>
                <a:cubicBezTo>
                  <a:pt x="525" y="111"/>
                  <a:pt x="524" y="111"/>
                  <a:pt x="524" y="111"/>
                </a:cubicBezTo>
                <a:cubicBezTo>
                  <a:pt x="523" y="111"/>
                  <a:pt x="523" y="111"/>
                  <a:pt x="522" y="111"/>
                </a:cubicBezTo>
                <a:cubicBezTo>
                  <a:pt x="522" y="111"/>
                  <a:pt x="520" y="110"/>
                  <a:pt x="519" y="111"/>
                </a:cubicBezTo>
                <a:cubicBezTo>
                  <a:pt x="520" y="111"/>
                  <a:pt x="521" y="111"/>
                  <a:pt x="521" y="111"/>
                </a:cubicBezTo>
                <a:cubicBezTo>
                  <a:pt x="522" y="111"/>
                  <a:pt x="522" y="111"/>
                  <a:pt x="523" y="111"/>
                </a:cubicBezTo>
                <a:cubicBezTo>
                  <a:pt x="524" y="112"/>
                  <a:pt x="525" y="112"/>
                  <a:pt x="525" y="112"/>
                </a:cubicBezTo>
                <a:cubicBezTo>
                  <a:pt x="525" y="112"/>
                  <a:pt x="525" y="112"/>
                  <a:pt x="524" y="112"/>
                </a:cubicBezTo>
                <a:cubicBezTo>
                  <a:pt x="525" y="113"/>
                  <a:pt x="526" y="113"/>
                  <a:pt x="525" y="113"/>
                </a:cubicBezTo>
                <a:cubicBezTo>
                  <a:pt x="525" y="113"/>
                  <a:pt x="524" y="114"/>
                  <a:pt x="524" y="114"/>
                </a:cubicBezTo>
                <a:cubicBezTo>
                  <a:pt x="526" y="114"/>
                  <a:pt x="527" y="113"/>
                  <a:pt x="528" y="114"/>
                </a:cubicBezTo>
                <a:cubicBezTo>
                  <a:pt x="529" y="114"/>
                  <a:pt x="530" y="114"/>
                  <a:pt x="530" y="114"/>
                </a:cubicBezTo>
                <a:cubicBezTo>
                  <a:pt x="530" y="115"/>
                  <a:pt x="530" y="115"/>
                  <a:pt x="529" y="115"/>
                </a:cubicBezTo>
                <a:cubicBezTo>
                  <a:pt x="528" y="115"/>
                  <a:pt x="528" y="116"/>
                  <a:pt x="527" y="116"/>
                </a:cubicBezTo>
                <a:cubicBezTo>
                  <a:pt x="526" y="116"/>
                  <a:pt x="526" y="116"/>
                  <a:pt x="526" y="116"/>
                </a:cubicBezTo>
                <a:cubicBezTo>
                  <a:pt x="525" y="117"/>
                  <a:pt x="524" y="117"/>
                  <a:pt x="523" y="117"/>
                </a:cubicBezTo>
                <a:cubicBezTo>
                  <a:pt x="523" y="117"/>
                  <a:pt x="527" y="117"/>
                  <a:pt x="526" y="117"/>
                </a:cubicBezTo>
                <a:cubicBezTo>
                  <a:pt x="527" y="118"/>
                  <a:pt x="527" y="117"/>
                  <a:pt x="528" y="118"/>
                </a:cubicBezTo>
                <a:cubicBezTo>
                  <a:pt x="528" y="118"/>
                  <a:pt x="527" y="118"/>
                  <a:pt x="527" y="119"/>
                </a:cubicBezTo>
                <a:cubicBezTo>
                  <a:pt x="526" y="120"/>
                  <a:pt x="525" y="120"/>
                  <a:pt x="523" y="120"/>
                </a:cubicBezTo>
                <a:cubicBezTo>
                  <a:pt x="523" y="121"/>
                  <a:pt x="522" y="120"/>
                  <a:pt x="522" y="121"/>
                </a:cubicBezTo>
                <a:cubicBezTo>
                  <a:pt x="521" y="121"/>
                  <a:pt x="521" y="121"/>
                  <a:pt x="520" y="121"/>
                </a:cubicBezTo>
                <a:cubicBezTo>
                  <a:pt x="520" y="121"/>
                  <a:pt x="520" y="121"/>
                  <a:pt x="520" y="121"/>
                </a:cubicBezTo>
                <a:cubicBezTo>
                  <a:pt x="520" y="120"/>
                  <a:pt x="519" y="120"/>
                  <a:pt x="519" y="120"/>
                </a:cubicBezTo>
                <a:cubicBezTo>
                  <a:pt x="519" y="120"/>
                  <a:pt x="519" y="121"/>
                  <a:pt x="519" y="121"/>
                </a:cubicBezTo>
                <a:cubicBezTo>
                  <a:pt x="519" y="121"/>
                  <a:pt x="518" y="121"/>
                  <a:pt x="518" y="121"/>
                </a:cubicBezTo>
                <a:cubicBezTo>
                  <a:pt x="517" y="121"/>
                  <a:pt x="516" y="120"/>
                  <a:pt x="516" y="121"/>
                </a:cubicBezTo>
                <a:cubicBezTo>
                  <a:pt x="516" y="121"/>
                  <a:pt x="516" y="121"/>
                  <a:pt x="517" y="121"/>
                </a:cubicBezTo>
                <a:cubicBezTo>
                  <a:pt x="516" y="121"/>
                  <a:pt x="515" y="121"/>
                  <a:pt x="515" y="121"/>
                </a:cubicBezTo>
                <a:cubicBezTo>
                  <a:pt x="516" y="122"/>
                  <a:pt x="516" y="121"/>
                  <a:pt x="517" y="122"/>
                </a:cubicBezTo>
                <a:cubicBezTo>
                  <a:pt x="517" y="122"/>
                  <a:pt x="516" y="122"/>
                  <a:pt x="516" y="122"/>
                </a:cubicBezTo>
                <a:cubicBezTo>
                  <a:pt x="516" y="122"/>
                  <a:pt x="515" y="122"/>
                  <a:pt x="516" y="123"/>
                </a:cubicBezTo>
                <a:cubicBezTo>
                  <a:pt x="516" y="123"/>
                  <a:pt x="516" y="123"/>
                  <a:pt x="516" y="123"/>
                </a:cubicBezTo>
                <a:cubicBezTo>
                  <a:pt x="517" y="123"/>
                  <a:pt x="516" y="123"/>
                  <a:pt x="516" y="124"/>
                </a:cubicBezTo>
                <a:cubicBezTo>
                  <a:pt x="515" y="124"/>
                  <a:pt x="516" y="124"/>
                  <a:pt x="516" y="124"/>
                </a:cubicBezTo>
                <a:cubicBezTo>
                  <a:pt x="517" y="124"/>
                  <a:pt x="517" y="124"/>
                  <a:pt x="518" y="123"/>
                </a:cubicBezTo>
                <a:cubicBezTo>
                  <a:pt x="518" y="123"/>
                  <a:pt x="518" y="123"/>
                  <a:pt x="518" y="124"/>
                </a:cubicBezTo>
                <a:cubicBezTo>
                  <a:pt x="518" y="124"/>
                  <a:pt x="517" y="124"/>
                  <a:pt x="517" y="124"/>
                </a:cubicBezTo>
                <a:cubicBezTo>
                  <a:pt x="516" y="124"/>
                  <a:pt x="516" y="125"/>
                  <a:pt x="515" y="126"/>
                </a:cubicBezTo>
                <a:cubicBezTo>
                  <a:pt x="515" y="126"/>
                  <a:pt x="516" y="127"/>
                  <a:pt x="517" y="127"/>
                </a:cubicBezTo>
                <a:cubicBezTo>
                  <a:pt x="516" y="127"/>
                  <a:pt x="517" y="128"/>
                  <a:pt x="517" y="128"/>
                </a:cubicBezTo>
                <a:cubicBezTo>
                  <a:pt x="518" y="129"/>
                  <a:pt x="518" y="129"/>
                  <a:pt x="518" y="130"/>
                </a:cubicBezTo>
                <a:cubicBezTo>
                  <a:pt x="518" y="131"/>
                  <a:pt x="517" y="131"/>
                  <a:pt x="517" y="131"/>
                </a:cubicBezTo>
                <a:cubicBezTo>
                  <a:pt x="516" y="132"/>
                  <a:pt x="516" y="132"/>
                  <a:pt x="515" y="133"/>
                </a:cubicBezTo>
                <a:cubicBezTo>
                  <a:pt x="514" y="134"/>
                  <a:pt x="513" y="134"/>
                  <a:pt x="512" y="135"/>
                </a:cubicBezTo>
                <a:cubicBezTo>
                  <a:pt x="511" y="135"/>
                  <a:pt x="511" y="135"/>
                  <a:pt x="510" y="135"/>
                </a:cubicBezTo>
                <a:cubicBezTo>
                  <a:pt x="509" y="135"/>
                  <a:pt x="509" y="135"/>
                  <a:pt x="508" y="136"/>
                </a:cubicBezTo>
                <a:cubicBezTo>
                  <a:pt x="508" y="136"/>
                  <a:pt x="507" y="136"/>
                  <a:pt x="507" y="137"/>
                </a:cubicBezTo>
                <a:cubicBezTo>
                  <a:pt x="506" y="137"/>
                  <a:pt x="506" y="137"/>
                  <a:pt x="506" y="137"/>
                </a:cubicBezTo>
                <a:cubicBezTo>
                  <a:pt x="506" y="137"/>
                  <a:pt x="506" y="137"/>
                  <a:pt x="505" y="137"/>
                </a:cubicBezTo>
                <a:cubicBezTo>
                  <a:pt x="504" y="137"/>
                  <a:pt x="503" y="139"/>
                  <a:pt x="501" y="139"/>
                </a:cubicBezTo>
                <a:cubicBezTo>
                  <a:pt x="501" y="139"/>
                  <a:pt x="500" y="139"/>
                  <a:pt x="499" y="139"/>
                </a:cubicBezTo>
                <a:cubicBezTo>
                  <a:pt x="499" y="139"/>
                  <a:pt x="498" y="140"/>
                  <a:pt x="497" y="140"/>
                </a:cubicBezTo>
                <a:cubicBezTo>
                  <a:pt x="496" y="140"/>
                  <a:pt x="495" y="141"/>
                  <a:pt x="493" y="141"/>
                </a:cubicBezTo>
                <a:cubicBezTo>
                  <a:pt x="493" y="141"/>
                  <a:pt x="493" y="140"/>
                  <a:pt x="494" y="140"/>
                </a:cubicBezTo>
                <a:cubicBezTo>
                  <a:pt x="493" y="140"/>
                  <a:pt x="494" y="141"/>
                  <a:pt x="494" y="140"/>
                </a:cubicBezTo>
                <a:cubicBezTo>
                  <a:pt x="494" y="140"/>
                  <a:pt x="494" y="140"/>
                  <a:pt x="494" y="140"/>
                </a:cubicBezTo>
                <a:cubicBezTo>
                  <a:pt x="494" y="139"/>
                  <a:pt x="492" y="139"/>
                  <a:pt x="493" y="139"/>
                </a:cubicBezTo>
                <a:cubicBezTo>
                  <a:pt x="493" y="139"/>
                  <a:pt x="492" y="139"/>
                  <a:pt x="492" y="139"/>
                </a:cubicBezTo>
                <a:cubicBezTo>
                  <a:pt x="492" y="138"/>
                  <a:pt x="492" y="138"/>
                  <a:pt x="493" y="138"/>
                </a:cubicBezTo>
                <a:cubicBezTo>
                  <a:pt x="493" y="137"/>
                  <a:pt x="493" y="138"/>
                  <a:pt x="493" y="138"/>
                </a:cubicBezTo>
                <a:cubicBezTo>
                  <a:pt x="494" y="138"/>
                  <a:pt x="493" y="138"/>
                  <a:pt x="493" y="137"/>
                </a:cubicBezTo>
                <a:cubicBezTo>
                  <a:pt x="493" y="137"/>
                  <a:pt x="495" y="137"/>
                  <a:pt x="495" y="136"/>
                </a:cubicBezTo>
                <a:cubicBezTo>
                  <a:pt x="495" y="136"/>
                  <a:pt x="492" y="137"/>
                  <a:pt x="492" y="137"/>
                </a:cubicBezTo>
                <a:cubicBezTo>
                  <a:pt x="492" y="137"/>
                  <a:pt x="491" y="137"/>
                  <a:pt x="491" y="137"/>
                </a:cubicBezTo>
                <a:cubicBezTo>
                  <a:pt x="491" y="137"/>
                  <a:pt x="491" y="137"/>
                  <a:pt x="491" y="137"/>
                </a:cubicBezTo>
                <a:cubicBezTo>
                  <a:pt x="491" y="137"/>
                  <a:pt x="490" y="136"/>
                  <a:pt x="491" y="136"/>
                </a:cubicBezTo>
                <a:cubicBezTo>
                  <a:pt x="491" y="136"/>
                  <a:pt x="491" y="136"/>
                  <a:pt x="492" y="136"/>
                </a:cubicBezTo>
                <a:cubicBezTo>
                  <a:pt x="492" y="136"/>
                  <a:pt x="491" y="136"/>
                  <a:pt x="491" y="136"/>
                </a:cubicBezTo>
                <a:cubicBezTo>
                  <a:pt x="491" y="136"/>
                  <a:pt x="491" y="136"/>
                  <a:pt x="491" y="135"/>
                </a:cubicBezTo>
                <a:cubicBezTo>
                  <a:pt x="491" y="135"/>
                  <a:pt x="491" y="135"/>
                  <a:pt x="491" y="135"/>
                </a:cubicBezTo>
                <a:cubicBezTo>
                  <a:pt x="491" y="135"/>
                  <a:pt x="492" y="135"/>
                  <a:pt x="492" y="135"/>
                </a:cubicBezTo>
                <a:cubicBezTo>
                  <a:pt x="492" y="135"/>
                  <a:pt x="489" y="134"/>
                  <a:pt x="489" y="134"/>
                </a:cubicBezTo>
                <a:cubicBezTo>
                  <a:pt x="489" y="134"/>
                  <a:pt x="489" y="135"/>
                  <a:pt x="489" y="135"/>
                </a:cubicBezTo>
                <a:cubicBezTo>
                  <a:pt x="489" y="135"/>
                  <a:pt x="490" y="134"/>
                  <a:pt x="490" y="135"/>
                </a:cubicBezTo>
                <a:cubicBezTo>
                  <a:pt x="489" y="135"/>
                  <a:pt x="487" y="135"/>
                  <a:pt x="486" y="136"/>
                </a:cubicBezTo>
                <a:cubicBezTo>
                  <a:pt x="486" y="136"/>
                  <a:pt x="485" y="136"/>
                  <a:pt x="485" y="136"/>
                </a:cubicBezTo>
                <a:cubicBezTo>
                  <a:pt x="485" y="136"/>
                  <a:pt x="486" y="136"/>
                  <a:pt x="486" y="136"/>
                </a:cubicBezTo>
                <a:cubicBezTo>
                  <a:pt x="486" y="136"/>
                  <a:pt x="487" y="136"/>
                  <a:pt x="488" y="136"/>
                </a:cubicBezTo>
                <a:cubicBezTo>
                  <a:pt x="487" y="136"/>
                  <a:pt x="487" y="136"/>
                  <a:pt x="487" y="135"/>
                </a:cubicBezTo>
                <a:cubicBezTo>
                  <a:pt x="488" y="135"/>
                  <a:pt x="489" y="135"/>
                  <a:pt x="490" y="135"/>
                </a:cubicBezTo>
                <a:cubicBezTo>
                  <a:pt x="490" y="136"/>
                  <a:pt x="489" y="135"/>
                  <a:pt x="489" y="136"/>
                </a:cubicBezTo>
                <a:cubicBezTo>
                  <a:pt x="489" y="136"/>
                  <a:pt x="490" y="136"/>
                  <a:pt x="490" y="136"/>
                </a:cubicBezTo>
                <a:cubicBezTo>
                  <a:pt x="490" y="137"/>
                  <a:pt x="489" y="136"/>
                  <a:pt x="489" y="136"/>
                </a:cubicBezTo>
                <a:cubicBezTo>
                  <a:pt x="489" y="136"/>
                  <a:pt x="491" y="137"/>
                  <a:pt x="491" y="137"/>
                </a:cubicBezTo>
                <a:cubicBezTo>
                  <a:pt x="491" y="137"/>
                  <a:pt x="490" y="137"/>
                  <a:pt x="490" y="137"/>
                </a:cubicBezTo>
                <a:cubicBezTo>
                  <a:pt x="490" y="137"/>
                  <a:pt x="490" y="138"/>
                  <a:pt x="491" y="138"/>
                </a:cubicBezTo>
                <a:cubicBezTo>
                  <a:pt x="491" y="138"/>
                  <a:pt x="492" y="138"/>
                  <a:pt x="491" y="138"/>
                </a:cubicBezTo>
                <a:cubicBezTo>
                  <a:pt x="491" y="138"/>
                  <a:pt x="490" y="138"/>
                  <a:pt x="491" y="139"/>
                </a:cubicBezTo>
                <a:cubicBezTo>
                  <a:pt x="491" y="139"/>
                  <a:pt x="491" y="139"/>
                  <a:pt x="491" y="140"/>
                </a:cubicBezTo>
                <a:cubicBezTo>
                  <a:pt x="492" y="140"/>
                  <a:pt x="491" y="140"/>
                  <a:pt x="491" y="141"/>
                </a:cubicBezTo>
                <a:cubicBezTo>
                  <a:pt x="491" y="141"/>
                  <a:pt x="492" y="141"/>
                  <a:pt x="491" y="142"/>
                </a:cubicBezTo>
                <a:cubicBezTo>
                  <a:pt x="491" y="142"/>
                  <a:pt x="492" y="142"/>
                  <a:pt x="491" y="142"/>
                </a:cubicBezTo>
                <a:cubicBezTo>
                  <a:pt x="491" y="143"/>
                  <a:pt x="490" y="143"/>
                  <a:pt x="490" y="143"/>
                </a:cubicBezTo>
                <a:cubicBezTo>
                  <a:pt x="490" y="142"/>
                  <a:pt x="490" y="142"/>
                  <a:pt x="491" y="142"/>
                </a:cubicBezTo>
                <a:cubicBezTo>
                  <a:pt x="490" y="142"/>
                  <a:pt x="490" y="142"/>
                  <a:pt x="489" y="142"/>
                </a:cubicBezTo>
                <a:cubicBezTo>
                  <a:pt x="489" y="142"/>
                  <a:pt x="489" y="142"/>
                  <a:pt x="489" y="142"/>
                </a:cubicBezTo>
                <a:cubicBezTo>
                  <a:pt x="488" y="142"/>
                  <a:pt x="489" y="141"/>
                  <a:pt x="488" y="141"/>
                </a:cubicBezTo>
                <a:cubicBezTo>
                  <a:pt x="488" y="141"/>
                  <a:pt x="487" y="142"/>
                  <a:pt x="487" y="141"/>
                </a:cubicBezTo>
                <a:cubicBezTo>
                  <a:pt x="487" y="141"/>
                  <a:pt x="487" y="141"/>
                  <a:pt x="487" y="141"/>
                </a:cubicBezTo>
                <a:cubicBezTo>
                  <a:pt x="487" y="140"/>
                  <a:pt x="487" y="141"/>
                  <a:pt x="487" y="140"/>
                </a:cubicBezTo>
                <a:cubicBezTo>
                  <a:pt x="486" y="140"/>
                  <a:pt x="486" y="141"/>
                  <a:pt x="485" y="141"/>
                </a:cubicBezTo>
                <a:cubicBezTo>
                  <a:pt x="485" y="141"/>
                  <a:pt x="486" y="142"/>
                  <a:pt x="486" y="142"/>
                </a:cubicBezTo>
                <a:cubicBezTo>
                  <a:pt x="487" y="143"/>
                  <a:pt x="484" y="142"/>
                  <a:pt x="484" y="142"/>
                </a:cubicBezTo>
                <a:cubicBezTo>
                  <a:pt x="483" y="142"/>
                  <a:pt x="483" y="142"/>
                  <a:pt x="483" y="142"/>
                </a:cubicBezTo>
                <a:cubicBezTo>
                  <a:pt x="483" y="142"/>
                  <a:pt x="482" y="142"/>
                  <a:pt x="482" y="142"/>
                </a:cubicBezTo>
                <a:cubicBezTo>
                  <a:pt x="482" y="142"/>
                  <a:pt x="482" y="141"/>
                  <a:pt x="482" y="141"/>
                </a:cubicBezTo>
                <a:cubicBezTo>
                  <a:pt x="481" y="141"/>
                  <a:pt x="481" y="142"/>
                  <a:pt x="481" y="142"/>
                </a:cubicBezTo>
                <a:cubicBezTo>
                  <a:pt x="480" y="142"/>
                  <a:pt x="481" y="141"/>
                  <a:pt x="481" y="141"/>
                </a:cubicBezTo>
                <a:cubicBezTo>
                  <a:pt x="481" y="140"/>
                  <a:pt x="482" y="138"/>
                  <a:pt x="480" y="139"/>
                </a:cubicBezTo>
                <a:cubicBezTo>
                  <a:pt x="479" y="139"/>
                  <a:pt x="477" y="140"/>
                  <a:pt x="476" y="139"/>
                </a:cubicBezTo>
                <a:cubicBezTo>
                  <a:pt x="475" y="139"/>
                  <a:pt x="475" y="139"/>
                  <a:pt x="474" y="139"/>
                </a:cubicBezTo>
                <a:cubicBezTo>
                  <a:pt x="474" y="139"/>
                  <a:pt x="473" y="139"/>
                  <a:pt x="473" y="139"/>
                </a:cubicBezTo>
                <a:cubicBezTo>
                  <a:pt x="472" y="139"/>
                  <a:pt x="472" y="139"/>
                  <a:pt x="472" y="139"/>
                </a:cubicBezTo>
                <a:cubicBezTo>
                  <a:pt x="471" y="139"/>
                  <a:pt x="471" y="140"/>
                  <a:pt x="472" y="140"/>
                </a:cubicBezTo>
                <a:cubicBezTo>
                  <a:pt x="471" y="140"/>
                  <a:pt x="470" y="140"/>
                  <a:pt x="470" y="140"/>
                </a:cubicBezTo>
                <a:cubicBezTo>
                  <a:pt x="471" y="141"/>
                  <a:pt x="471" y="141"/>
                  <a:pt x="472" y="141"/>
                </a:cubicBezTo>
                <a:cubicBezTo>
                  <a:pt x="473" y="141"/>
                  <a:pt x="473" y="142"/>
                  <a:pt x="474" y="142"/>
                </a:cubicBezTo>
                <a:cubicBezTo>
                  <a:pt x="475" y="142"/>
                  <a:pt x="475" y="143"/>
                  <a:pt x="474" y="143"/>
                </a:cubicBezTo>
                <a:cubicBezTo>
                  <a:pt x="473" y="143"/>
                  <a:pt x="473" y="144"/>
                  <a:pt x="472" y="144"/>
                </a:cubicBezTo>
                <a:cubicBezTo>
                  <a:pt x="471" y="144"/>
                  <a:pt x="471" y="145"/>
                  <a:pt x="470" y="145"/>
                </a:cubicBezTo>
                <a:cubicBezTo>
                  <a:pt x="468" y="146"/>
                  <a:pt x="468" y="147"/>
                  <a:pt x="466" y="147"/>
                </a:cubicBezTo>
                <a:cubicBezTo>
                  <a:pt x="464" y="148"/>
                  <a:pt x="463" y="149"/>
                  <a:pt x="461" y="149"/>
                </a:cubicBezTo>
                <a:cubicBezTo>
                  <a:pt x="461" y="149"/>
                  <a:pt x="460" y="149"/>
                  <a:pt x="461" y="150"/>
                </a:cubicBezTo>
                <a:cubicBezTo>
                  <a:pt x="461" y="150"/>
                  <a:pt x="461" y="150"/>
                  <a:pt x="460" y="150"/>
                </a:cubicBezTo>
                <a:cubicBezTo>
                  <a:pt x="460" y="150"/>
                  <a:pt x="459" y="150"/>
                  <a:pt x="458" y="151"/>
                </a:cubicBezTo>
                <a:cubicBezTo>
                  <a:pt x="457" y="151"/>
                  <a:pt x="456" y="151"/>
                  <a:pt x="455" y="151"/>
                </a:cubicBezTo>
                <a:cubicBezTo>
                  <a:pt x="455" y="151"/>
                  <a:pt x="454" y="151"/>
                  <a:pt x="453" y="150"/>
                </a:cubicBezTo>
                <a:cubicBezTo>
                  <a:pt x="452" y="150"/>
                  <a:pt x="452" y="149"/>
                  <a:pt x="451" y="149"/>
                </a:cubicBezTo>
                <a:cubicBezTo>
                  <a:pt x="451" y="148"/>
                  <a:pt x="450" y="148"/>
                  <a:pt x="450" y="148"/>
                </a:cubicBezTo>
                <a:cubicBezTo>
                  <a:pt x="451" y="147"/>
                  <a:pt x="451" y="148"/>
                  <a:pt x="452" y="148"/>
                </a:cubicBezTo>
                <a:cubicBezTo>
                  <a:pt x="452" y="147"/>
                  <a:pt x="451" y="148"/>
                  <a:pt x="450" y="147"/>
                </a:cubicBezTo>
                <a:cubicBezTo>
                  <a:pt x="450" y="147"/>
                  <a:pt x="450" y="147"/>
                  <a:pt x="450" y="147"/>
                </a:cubicBezTo>
                <a:cubicBezTo>
                  <a:pt x="450" y="147"/>
                  <a:pt x="449" y="147"/>
                  <a:pt x="449" y="147"/>
                </a:cubicBezTo>
                <a:cubicBezTo>
                  <a:pt x="448" y="147"/>
                  <a:pt x="448" y="146"/>
                  <a:pt x="447" y="146"/>
                </a:cubicBezTo>
                <a:cubicBezTo>
                  <a:pt x="447" y="146"/>
                  <a:pt x="447" y="145"/>
                  <a:pt x="447" y="145"/>
                </a:cubicBezTo>
                <a:cubicBezTo>
                  <a:pt x="447" y="146"/>
                  <a:pt x="446" y="146"/>
                  <a:pt x="446" y="146"/>
                </a:cubicBezTo>
                <a:cubicBezTo>
                  <a:pt x="446" y="145"/>
                  <a:pt x="446" y="145"/>
                  <a:pt x="446" y="145"/>
                </a:cubicBezTo>
                <a:cubicBezTo>
                  <a:pt x="445" y="145"/>
                  <a:pt x="444" y="145"/>
                  <a:pt x="443" y="145"/>
                </a:cubicBezTo>
                <a:cubicBezTo>
                  <a:pt x="444" y="145"/>
                  <a:pt x="445" y="146"/>
                  <a:pt x="444" y="146"/>
                </a:cubicBezTo>
                <a:cubicBezTo>
                  <a:pt x="444" y="146"/>
                  <a:pt x="443" y="145"/>
                  <a:pt x="443" y="145"/>
                </a:cubicBezTo>
                <a:cubicBezTo>
                  <a:pt x="443" y="145"/>
                  <a:pt x="442" y="145"/>
                  <a:pt x="441" y="145"/>
                </a:cubicBezTo>
                <a:cubicBezTo>
                  <a:pt x="441" y="146"/>
                  <a:pt x="440" y="146"/>
                  <a:pt x="440" y="145"/>
                </a:cubicBezTo>
                <a:cubicBezTo>
                  <a:pt x="440" y="145"/>
                  <a:pt x="441" y="145"/>
                  <a:pt x="441" y="145"/>
                </a:cubicBezTo>
                <a:cubicBezTo>
                  <a:pt x="441" y="145"/>
                  <a:pt x="439" y="145"/>
                  <a:pt x="439" y="145"/>
                </a:cubicBezTo>
                <a:cubicBezTo>
                  <a:pt x="438" y="145"/>
                  <a:pt x="438" y="145"/>
                  <a:pt x="437" y="145"/>
                </a:cubicBezTo>
                <a:cubicBezTo>
                  <a:pt x="435" y="145"/>
                  <a:pt x="434" y="144"/>
                  <a:pt x="432" y="145"/>
                </a:cubicBezTo>
                <a:cubicBezTo>
                  <a:pt x="433" y="145"/>
                  <a:pt x="435" y="147"/>
                  <a:pt x="435" y="146"/>
                </a:cubicBezTo>
                <a:cubicBezTo>
                  <a:pt x="435" y="144"/>
                  <a:pt x="438" y="145"/>
                  <a:pt x="438" y="145"/>
                </a:cubicBezTo>
                <a:cubicBezTo>
                  <a:pt x="440" y="145"/>
                  <a:pt x="442" y="146"/>
                  <a:pt x="443" y="146"/>
                </a:cubicBezTo>
                <a:cubicBezTo>
                  <a:pt x="443" y="147"/>
                  <a:pt x="444" y="147"/>
                  <a:pt x="444" y="148"/>
                </a:cubicBezTo>
                <a:cubicBezTo>
                  <a:pt x="445" y="148"/>
                  <a:pt x="444" y="148"/>
                  <a:pt x="444" y="149"/>
                </a:cubicBezTo>
                <a:cubicBezTo>
                  <a:pt x="444" y="150"/>
                  <a:pt x="445" y="149"/>
                  <a:pt x="445" y="150"/>
                </a:cubicBezTo>
                <a:cubicBezTo>
                  <a:pt x="445" y="151"/>
                  <a:pt x="446" y="151"/>
                  <a:pt x="446" y="151"/>
                </a:cubicBezTo>
                <a:cubicBezTo>
                  <a:pt x="448" y="151"/>
                  <a:pt x="449" y="151"/>
                  <a:pt x="451" y="151"/>
                </a:cubicBezTo>
                <a:cubicBezTo>
                  <a:pt x="452" y="151"/>
                  <a:pt x="453" y="151"/>
                  <a:pt x="455" y="151"/>
                </a:cubicBezTo>
                <a:cubicBezTo>
                  <a:pt x="456" y="151"/>
                  <a:pt x="458" y="151"/>
                  <a:pt x="460" y="152"/>
                </a:cubicBezTo>
                <a:cubicBezTo>
                  <a:pt x="459" y="152"/>
                  <a:pt x="460" y="152"/>
                  <a:pt x="459" y="153"/>
                </a:cubicBezTo>
                <a:cubicBezTo>
                  <a:pt x="459" y="153"/>
                  <a:pt x="459" y="153"/>
                  <a:pt x="458" y="153"/>
                </a:cubicBezTo>
                <a:cubicBezTo>
                  <a:pt x="458" y="154"/>
                  <a:pt x="458" y="154"/>
                  <a:pt x="457" y="154"/>
                </a:cubicBezTo>
                <a:cubicBezTo>
                  <a:pt x="457" y="155"/>
                  <a:pt x="456" y="155"/>
                  <a:pt x="455" y="155"/>
                </a:cubicBezTo>
                <a:cubicBezTo>
                  <a:pt x="454" y="156"/>
                  <a:pt x="454" y="156"/>
                  <a:pt x="454" y="156"/>
                </a:cubicBezTo>
                <a:cubicBezTo>
                  <a:pt x="453" y="156"/>
                  <a:pt x="452" y="157"/>
                  <a:pt x="453" y="156"/>
                </a:cubicBezTo>
                <a:cubicBezTo>
                  <a:pt x="452" y="156"/>
                  <a:pt x="452" y="157"/>
                  <a:pt x="451" y="158"/>
                </a:cubicBezTo>
                <a:cubicBezTo>
                  <a:pt x="450" y="158"/>
                  <a:pt x="449" y="158"/>
                  <a:pt x="449" y="159"/>
                </a:cubicBezTo>
                <a:cubicBezTo>
                  <a:pt x="448" y="159"/>
                  <a:pt x="447" y="160"/>
                  <a:pt x="446" y="160"/>
                </a:cubicBezTo>
                <a:cubicBezTo>
                  <a:pt x="446" y="161"/>
                  <a:pt x="444" y="161"/>
                  <a:pt x="445" y="161"/>
                </a:cubicBezTo>
                <a:cubicBezTo>
                  <a:pt x="445" y="162"/>
                  <a:pt x="443" y="162"/>
                  <a:pt x="443" y="162"/>
                </a:cubicBezTo>
                <a:cubicBezTo>
                  <a:pt x="442" y="162"/>
                  <a:pt x="441" y="163"/>
                  <a:pt x="440" y="163"/>
                </a:cubicBezTo>
                <a:cubicBezTo>
                  <a:pt x="439" y="163"/>
                  <a:pt x="438" y="164"/>
                  <a:pt x="437" y="164"/>
                </a:cubicBezTo>
                <a:cubicBezTo>
                  <a:pt x="437" y="164"/>
                  <a:pt x="437" y="164"/>
                  <a:pt x="437" y="163"/>
                </a:cubicBezTo>
                <a:cubicBezTo>
                  <a:pt x="436" y="163"/>
                  <a:pt x="436" y="164"/>
                  <a:pt x="436" y="164"/>
                </a:cubicBezTo>
                <a:cubicBezTo>
                  <a:pt x="436" y="163"/>
                  <a:pt x="435" y="163"/>
                  <a:pt x="435" y="163"/>
                </a:cubicBezTo>
                <a:cubicBezTo>
                  <a:pt x="435" y="163"/>
                  <a:pt x="435" y="162"/>
                  <a:pt x="435" y="162"/>
                </a:cubicBezTo>
                <a:cubicBezTo>
                  <a:pt x="434" y="162"/>
                  <a:pt x="434" y="164"/>
                  <a:pt x="435" y="164"/>
                </a:cubicBezTo>
                <a:cubicBezTo>
                  <a:pt x="435" y="164"/>
                  <a:pt x="435" y="164"/>
                  <a:pt x="434" y="164"/>
                </a:cubicBezTo>
                <a:cubicBezTo>
                  <a:pt x="434" y="164"/>
                  <a:pt x="434" y="163"/>
                  <a:pt x="434" y="163"/>
                </a:cubicBezTo>
                <a:cubicBezTo>
                  <a:pt x="434" y="164"/>
                  <a:pt x="433" y="163"/>
                  <a:pt x="433" y="163"/>
                </a:cubicBezTo>
                <a:cubicBezTo>
                  <a:pt x="433" y="163"/>
                  <a:pt x="433" y="163"/>
                  <a:pt x="433" y="163"/>
                </a:cubicBezTo>
                <a:cubicBezTo>
                  <a:pt x="433" y="163"/>
                  <a:pt x="433" y="163"/>
                  <a:pt x="432" y="163"/>
                </a:cubicBezTo>
                <a:cubicBezTo>
                  <a:pt x="432" y="163"/>
                  <a:pt x="432" y="163"/>
                  <a:pt x="432" y="163"/>
                </a:cubicBezTo>
                <a:cubicBezTo>
                  <a:pt x="432" y="163"/>
                  <a:pt x="432" y="164"/>
                  <a:pt x="432" y="164"/>
                </a:cubicBezTo>
                <a:cubicBezTo>
                  <a:pt x="432" y="163"/>
                  <a:pt x="431" y="163"/>
                  <a:pt x="431" y="163"/>
                </a:cubicBezTo>
                <a:cubicBezTo>
                  <a:pt x="431" y="163"/>
                  <a:pt x="430" y="163"/>
                  <a:pt x="431" y="162"/>
                </a:cubicBezTo>
                <a:cubicBezTo>
                  <a:pt x="431" y="162"/>
                  <a:pt x="432" y="162"/>
                  <a:pt x="432" y="161"/>
                </a:cubicBezTo>
                <a:cubicBezTo>
                  <a:pt x="432" y="161"/>
                  <a:pt x="431" y="162"/>
                  <a:pt x="431" y="162"/>
                </a:cubicBezTo>
                <a:cubicBezTo>
                  <a:pt x="431" y="162"/>
                  <a:pt x="431" y="162"/>
                  <a:pt x="431" y="162"/>
                </a:cubicBezTo>
                <a:cubicBezTo>
                  <a:pt x="430" y="162"/>
                  <a:pt x="430" y="162"/>
                  <a:pt x="429" y="162"/>
                </a:cubicBezTo>
                <a:cubicBezTo>
                  <a:pt x="430" y="162"/>
                  <a:pt x="430" y="162"/>
                  <a:pt x="430" y="161"/>
                </a:cubicBezTo>
                <a:cubicBezTo>
                  <a:pt x="429" y="162"/>
                  <a:pt x="429" y="162"/>
                  <a:pt x="428" y="162"/>
                </a:cubicBezTo>
                <a:cubicBezTo>
                  <a:pt x="429" y="163"/>
                  <a:pt x="429" y="162"/>
                  <a:pt x="430" y="163"/>
                </a:cubicBezTo>
                <a:cubicBezTo>
                  <a:pt x="429" y="163"/>
                  <a:pt x="429" y="163"/>
                  <a:pt x="430" y="163"/>
                </a:cubicBezTo>
                <a:cubicBezTo>
                  <a:pt x="429" y="163"/>
                  <a:pt x="429" y="163"/>
                  <a:pt x="429" y="164"/>
                </a:cubicBezTo>
                <a:cubicBezTo>
                  <a:pt x="429" y="164"/>
                  <a:pt x="429" y="164"/>
                  <a:pt x="429" y="164"/>
                </a:cubicBezTo>
                <a:cubicBezTo>
                  <a:pt x="429" y="164"/>
                  <a:pt x="428" y="164"/>
                  <a:pt x="428" y="164"/>
                </a:cubicBezTo>
                <a:cubicBezTo>
                  <a:pt x="429" y="164"/>
                  <a:pt x="427" y="164"/>
                  <a:pt x="427" y="164"/>
                </a:cubicBezTo>
                <a:cubicBezTo>
                  <a:pt x="427" y="163"/>
                  <a:pt x="427" y="163"/>
                  <a:pt x="426" y="164"/>
                </a:cubicBezTo>
                <a:cubicBezTo>
                  <a:pt x="427" y="164"/>
                  <a:pt x="426" y="165"/>
                  <a:pt x="427" y="165"/>
                </a:cubicBezTo>
                <a:cubicBezTo>
                  <a:pt x="428" y="166"/>
                  <a:pt x="426" y="166"/>
                  <a:pt x="426" y="166"/>
                </a:cubicBezTo>
                <a:cubicBezTo>
                  <a:pt x="426" y="166"/>
                  <a:pt x="424" y="168"/>
                  <a:pt x="423" y="167"/>
                </a:cubicBezTo>
                <a:cubicBezTo>
                  <a:pt x="423" y="167"/>
                  <a:pt x="424" y="167"/>
                  <a:pt x="424" y="167"/>
                </a:cubicBezTo>
                <a:cubicBezTo>
                  <a:pt x="423" y="167"/>
                  <a:pt x="423" y="168"/>
                  <a:pt x="422" y="167"/>
                </a:cubicBezTo>
                <a:cubicBezTo>
                  <a:pt x="422" y="167"/>
                  <a:pt x="422" y="167"/>
                  <a:pt x="422" y="167"/>
                </a:cubicBezTo>
                <a:cubicBezTo>
                  <a:pt x="422" y="167"/>
                  <a:pt x="422" y="167"/>
                  <a:pt x="422" y="167"/>
                </a:cubicBezTo>
                <a:cubicBezTo>
                  <a:pt x="421" y="166"/>
                  <a:pt x="421" y="167"/>
                  <a:pt x="420" y="167"/>
                </a:cubicBezTo>
                <a:cubicBezTo>
                  <a:pt x="421" y="167"/>
                  <a:pt x="422" y="167"/>
                  <a:pt x="421" y="167"/>
                </a:cubicBezTo>
                <a:cubicBezTo>
                  <a:pt x="421" y="168"/>
                  <a:pt x="420" y="168"/>
                  <a:pt x="419" y="168"/>
                </a:cubicBezTo>
                <a:cubicBezTo>
                  <a:pt x="419" y="168"/>
                  <a:pt x="418" y="168"/>
                  <a:pt x="418" y="168"/>
                </a:cubicBezTo>
                <a:cubicBezTo>
                  <a:pt x="417" y="167"/>
                  <a:pt x="417" y="167"/>
                  <a:pt x="417" y="167"/>
                </a:cubicBezTo>
                <a:cubicBezTo>
                  <a:pt x="417" y="167"/>
                  <a:pt x="415" y="167"/>
                  <a:pt x="415" y="167"/>
                </a:cubicBezTo>
                <a:cubicBezTo>
                  <a:pt x="415" y="167"/>
                  <a:pt x="416" y="167"/>
                  <a:pt x="416" y="167"/>
                </a:cubicBezTo>
                <a:cubicBezTo>
                  <a:pt x="415" y="166"/>
                  <a:pt x="414" y="167"/>
                  <a:pt x="414" y="166"/>
                </a:cubicBezTo>
                <a:cubicBezTo>
                  <a:pt x="414" y="166"/>
                  <a:pt x="414" y="166"/>
                  <a:pt x="414" y="166"/>
                </a:cubicBezTo>
                <a:cubicBezTo>
                  <a:pt x="414" y="166"/>
                  <a:pt x="412" y="166"/>
                  <a:pt x="412" y="166"/>
                </a:cubicBezTo>
                <a:cubicBezTo>
                  <a:pt x="411" y="166"/>
                  <a:pt x="412" y="166"/>
                  <a:pt x="413" y="165"/>
                </a:cubicBezTo>
                <a:cubicBezTo>
                  <a:pt x="412" y="165"/>
                  <a:pt x="411" y="166"/>
                  <a:pt x="411" y="166"/>
                </a:cubicBezTo>
                <a:cubicBezTo>
                  <a:pt x="410" y="166"/>
                  <a:pt x="410" y="166"/>
                  <a:pt x="409" y="166"/>
                </a:cubicBezTo>
                <a:cubicBezTo>
                  <a:pt x="409" y="166"/>
                  <a:pt x="409" y="165"/>
                  <a:pt x="408" y="165"/>
                </a:cubicBezTo>
                <a:cubicBezTo>
                  <a:pt x="407" y="165"/>
                  <a:pt x="407" y="165"/>
                  <a:pt x="407" y="165"/>
                </a:cubicBezTo>
                <a:cubicBezTo>
                  <a:pt x="407" y="164"/>
                  <a:pt x="406" y="165"/>
                  <a:pt x="406" y="164"/>
                </a:cubicBezTo>
                <a:cubicBezTo>
                  <a:pt x="406" y="164"/>
                  <a:pt x="405" y="164"/>
                  <a:pt x="405" y="164"/>
                </a:cubicBezTo>
                <a:cubicBezTo>
                  <a:pt x="405" y="164"/>
                  <a:pt x="405" y="164"/>
                  <a:pt x="404" y="164"/>
                </a:cubicBezTo>
                <a:cubicBezTo>
                  <a:pt x="404" y="164"/>
                  <a:pt x="401" y="163"/>
                  <a:pt x="403" y="162"/>
                </a:cubicBezTo>
                <a:cubicBezTo>
                  <a:pt x="402" y="162"/>
                  <a:pt x="402" y="162"/>
                  <a:pt x="402" y="162"/>
                </a:cubicBezTo>
                <a:cubicBezTo>
                  <a:pt x="402" y="162"/>
                  <a:pt x="402" y="163"/>
                  <a:pt x="402" y="163"/>
                </a:cubicBezTo>
                <a:cubicBezTo>
                  <a:pt x="402" y="163"/>
                  <a:pt x="402" y="163"/>
                  <a:pt x="402" y="163"/>
                </a:cubicBezTo>
                <a:cubicBezTo>
                  <a:pt x="402" y="163"/>
                  <a:pt x="402" y="164"/>
                  <a:pt x="402" y="164"/>
                </a:cubicBezTo>
                <a:cubicBezTo>
                  <a:pt x="401" y="164"/>
                  <a:pt x="400" y="163"/>
                  <a:pt x="400" y="164"/>
                </a:cubicBezTo>
                <a:cubicBezTo>
                  <a:pt x="401" y="164"/>
                  <a:pt x="400" y="164"/>
                  <a:pt x="400" y="165"/>
                </a:cubicBezTo>
                <a:cubicBezTo>
                  <a:pt x="401" y="165"/>
                  <a:pt x="401" y="165"/>
                  <a:pt x="402" y="165"/>
                </a:cubicBezTo>
                <a:cubicBezTo>
                  <a:pt x="402" y="165"/>
                  <a:pt x="403" y="165"/>
                  <a:pt x="403" y="165"/>
                </a:cubicBezTo>
                <a:cubicBezTo>
                  <a:pt x="402" y="165"/>
                  <a:pt x="402" y="164"/>
                  <a:pt x="403" y="164"/>
                </a:cubicBezTo>
                <a:cubicBezTo>
                  <a:pt x="403" y="164"/>
                  <a:pt x="404" y="164"/>
                  <a:pt x="404" y="165"/>
                </a:cubicBezTo>
                <a:cubicBezTo>
                  <a:pt x="404" y="165"/>
                  <a:pt x="405" y="165"/>
                  <a:pt x="405" y="165"/>
                </a:cubicBezTo>
                <a:cubicBezTo>
                  <a:pt x="405" y="165"/>
                  <a:pt x="406" y="165"/>
                  <a:pt x="406" y="165"/>
                </a:cubicBezTo>
                <a:cubicBezTo>
                  <a:pt x="407" y="165"/>
                  <a:pt x="407" y="166"/>
                  <a:pt x="407" y="165"/>
                </a:cubicBezTo>
                <a:cubicBezTo>
                  <a:pt x="408" y="165"/>
                  <a:pt x="408" y="165"/>
                  <a:pt x="408" y="166"/>
                </a:cubicBezTo>
                <a:cubicBezTo>
                  <a:pt x="408" y="167"/>
                  <a:pt x="410" y="166"/>
                  <a:pt x="410" y="166"/>
                </a:cubicBezTo>
                <a:cubicBezTo>
                  <a:pt x="410" y="167"/>
                  <a:pt x="409" y="167"/>
                  <a:pt x="409" y="167"/>
                </a:cubicBezTo>
                <a:cubicBezTo>
                  <a:pt x="409" y="167"/>
                  <a:pt x="408" y="167"/>
                  <a:pt x="408" y="167"/>
                </a:cubicBezTo>
                <a:cubicBezTo>
                  <a:pt x="407" y="168"/>
                  <a:pt x="406" y="168"/>
                  <a:pt x="406" y="168"/>
                </a:cubicBezTo>
                <a:cubicBezTo>
                  <a:pt x="406" y="168"/>
                  <a:pt x="407" y="168"/>
                  <a:pt x="407" y="168"/>
                </a:cubicBezTo>
                <a:cubicBezTo>
                  <a:pt x="408" y="168"/>
                  <a:pt x="408" y="168"/>
                  <a:pt x="408" y="168"/>
                </a:cubicBezTo>
                <a:cubicBezTo>
                  <a:pt x="409" y="167"/>
                  <a:pt x="410" y="167"/>
                  <a:pt x="411" y="167"/>
                </a:cubicBezTo>
                <a:cubicBezTo>
                  <a:pt x="411" y="167"/>
                  <a:pt x="414" y="166"/>
                  <a:pt x="413" y="167"/>
                </a:cubicBezTo>
                <a:cubicBezTo>
                  <a:pt x="413" y="168"/>
                  <a:pt x="413" y="168"/>
                  <a:pt x="414" y="168"/>
                </a:cubicBezTo>
                <a:cubicBezTo>
                  <a:pt x="414" y="168"/>
                  <a:pt x="414" y="168"/>
                  <a:pt x="414" y="168"/>
                </a:cubicBezTo>
                <a:cubicBezTo>
                  <a:pt x="414" y="168"/>
                  <a:pt x="416" y="169"/>
                  <a:pt x="416" y="169"/>
                </a:cubicBezTo>
                <a:cubicBezTo>
                  <a:pt x="416" y="169"/>
                  <a:pt x="417" y="169"/>
                  <a:pt x="417" y="169"/>
                </a:cubicBezTo>
                <a:cubicBezTo>
                  <a:pt x="417" y="169"/>
                  <a:pt x="417" y="169"/>
                  <a:pt x="418" y="169"/>
                </a:cubicBezTo>
                <a:cubicBezTo>
                  <a:pt x="417" y="170"/>
                  <a:pt x="417" y="169"/>
                  <a:pt x="417" y="169"/>
                </a:cubicBezTo>
                <a:cubicBezTo>
                  <a:pt x="416" y="169"/>
                  <a:pt x="417" y="170"/>
                  <a:pt x="417" y="170"/>
                </a:cubicBezTo>
                <a:cubicBezTo>
                  <a:pt x="418" y="170"/>
                  <a:pt x="419" y="170"/>
                  <a:pt x="418" y="170"/>
                </a:cubicBezTo>
                <a:cubicBezTo>
                  <a:pt x="417" y="170"/>
                  <a:pt x="417" y="171"/>
                  <a:pt x="417" y="171"/>
                </a:cubicBezTo>
                <a:cubicBezTo>
                  <a:pt x="417" y="171"/>
                  <a:pt x="417" y="171"/>
                  <a:pt x="417" y="172"/>
                </a:cubicBezTo>
                <a:cubicBezTo>
                  <a:pt x="417" y="172"/>
                  <a:pt x="417" y="172"/>
                  <a:pt x="416" y="172"/>
                </a:cubicBezTo>
                <a:cubicBezTo>
                  <a:pt x="416" y="172"/>
                  <a:pt x="416" y="173"/>
                  <a:pt x="416" y="173"/>
                </a:cubicBezTo>
                <a:cubicBezTo>
                  <a:pt x="416" y="173"/>
                  <a:pt x="416" y="173"/>
                  <a:pt x="415" y="173"/>
                </a:cubicBezTo>
                <a:cubicBezTo>
                  <a:pt x="415" y="173"/>
                  <a:pt x="415" y="174"/>
                  <a:pt x="415" y="174"/>
                </a:cubicBezTo>
                <a:cubicBezTo>
                  <a:pt x="414" y="174"/>
                  <a:pt x="413" y="174"/>
                  <a:pt x="413" y="174"/>
                </a:cubicBezTo>
                <a:cubicBezTo>
                  <a:pt x="412" y="174"/>
                  <a:pt x="411" y="174"/>
                  <a:pt x="410" y="175"/>
                </a:cubicBezTo>
                <a:cubicBezTo>
                  <a:pt x="410" y="175"/>
                  <a:pt x="409" y="175"/>
                  <a:pt x="409" y="175"/>
                </a:cubicBezTo>
                <a:cubicBezTo>
                  <a:pt x="409" y="175"/>
                  <a:pt x="409" y="175"/>
                  <a:pt x="409" y="175"/>
                </a:cubicBezTo>
                <a:cubicBezTo>
                  <a:pt x="409" y="176"/>
                  <a:pt x="404" y="174"/>
                  <a:pt x="403" y="175"/>
                </a:cubicBezTo>
                <a:cubicBezTo>
                  <a:pt x="403" y="175"/>
                  <a:pt x="404" y="175"/>
                  <a:pt x="403" y="175"/>
                </a:cubicBezTo>
                <a:cubicBezTo>
                  <a:pt x="403" y="175"/>
                  <a:pt x="403" y="175"/>
                  <a:pt x="403" y="175"/>
                </a:cubicBezTo>
                <a:cubicBezTo>
                  <a:pt x="402" y="175"/>
                  <a:pt x="402" y="175"/>
                  <a:pt x="401" y="175"/>
                </a:cubicBezTo>
                <a:cubicBezTo>
                  <a:pt x="400" y="175"/>
                  <a:pt x="401" y="176"/>
                  <a:pt x="401" y="176"/>
                </a:cubicBezTo>
                <a:cubicBezTo>
                  <a:pt x="401" y="176"/>
                  <a:pt x="401" y="176"/>
                  <a:pt x="401" y="177"/>
                </a:cubicBezTo>
                <a:cubicBezTo>
                  <a:pt x="401" y="177"/>
                  <a:pt x="404" y="177"/>
                  <a:pt x="403" y="177"/>
                </a:cubicBezTo>
                <a:cubicBezTo>
                  <a:pt x="403" y="178"/>
                  <a:pt x="402" y="178"/>
                  <a:pt x="402" y="178"/>
                </a:cubicBezTo>
                <a:cubicBezTo>
                  <a:pt x="402" y="178"/>
                  <a:pt x="401" y="178"/>
                  <a:pt x="401" y="178"/>
                </a:cubicBezTo>
                <a:cubicBezTo>
                  <a:pt x="401" y="178"/>
                  <a:pt x="402" y="177"/>
                  <a:pt x="401" y="177"/>
                </a:cubicBezTo>
                <a:cubicBezTo>
                  <a:pt x="400" y="177"/>
                  <a:pt x="400" y="178"/>
                  <a:pt x="400" y="178"/>
                </a:cubicBezTo>
                <a:cubicBezTo>
                  <a:pt x="400" y="178"/>
                  <a:pt x="398" y="178"/>
                  <a:pt x="399" y="177"/>
                </a:cubicBezTo>
                <a:cubicBezTo>
                  <a:pt x="398" y="177"/>
                  <a:pt x="398" y="178"/>
                  <a:pt x="398" y="177"/>
                </a:cubicBezTo>
                <a:cubicBezTo>
                  <a:pt x="398" y="177"/>
                  <a:pt x="398" y="178"/>
                  <a:pt x="397" y="178"/>
                </a:cubicBezTo>
                <a:cubicBezTo>
                  <a:pt x="398" y="178"/>
                  <a:pt x="398" y="178"/>
                  <a:pt x="398" y="178"/>
                </a:cubicBezTo>
                <a:cubicBezTo>
                  <a:pt x="398" y="179"/>
                  <a:pt x="397" y="179"/>
                  <a:pt x="396" y="179"/>
                </a:cubicBezTo>
                <a:cubicBezTo>
                  <a:pt x="396" y="179"/>
                  <a:pt x="395" y="179"/>
                  <a:pt x="396" y="179"/>
                </a:cubicBezTo>
                <a:cubicBezTo>
                  <a:pt x="395" y="180"/>
                  <a:pt x="395" y="180"/>
                  <a:pt x="394" y="180"/>
                </a:cubicBezTo>
                <a:cubicBezTo>
                  <a:pt x="395" y="180"/>
                  <a:pt x="396" y="180"/>
                  <a:pt x="395" y="181"/>
                </a:cubicBezTo>
                <a:cubicBezTo>
                  <a:pt x="395" y="181"/>
                  <a:pt x="395" y="181"/>
                  <a:pt x="395" y="181"/>
                </a:cubicBezTo>
                <a:cubicBezTo>
                  <a:pt x="395" y="182"/>
                  <a:pt x="395" y="181"/>
                  <a:pt x="395" y="182"/>
                </a:cubicBezTo>
                <a:cubicBezTo>
                  <a:pt x="395" y="182"/>
                  <a:pt x="395" y="182"/>
                  <a:pt x="395" y="182"/>
                </a:cubicBezTo>
                <a:cubicBezTo>
                  <a:pt x="395" y="182"/>
                  <a:pt x="395" y="181"/>
                  <a:pt x="395" y="181"/>
                </a:cubicBezTo>
                <a:cubicBezTo>
                  <a:pt x="395" y="180"/>
                  <a:pt x="393" y="180"/>
                  <a:pt x="392" y="180"/>
                </a:cubicBezTo>
                <a:cubicBezTo>
                  <a:pt x="392" y="180"/>
                  <a:pt x="394" y="181"/>
                  <a:pt x="394" y="181"/>
                </a:cubicBezTo>
                <a:cubicBezTo>
                  <a:pt x="394" y="182"/>
                  <a:pt x="393" y="181"/>
                  <a:pt x="392" y="181"/>
                </a:cubicBezTo>
                <a:cubicBezTo>
                  <a:pt x="392" y="181"/>
                  <a:pt x="392" y="181"/>
                  <a:pt x="392" y="182"/>
                </a:cubicBezTo>
                <a:cubicBezTo>
                  <a:pt x="391" y="182"/>
                  <a:pt x="391" y="181"/>
                  <a:pt x="391" y="182"/>
                </a:cubicBezTo>
                <a:cubicBezTo>
                  <a:pt x="390" y="182"/>
                  <a:pt x="391" y="182"/>
                  <a:pt x="392" y="182"/>
                </a:cubicBezTo>
                <a:cubicBezTo>
                  <a:pt x="391" y="183"/>
                  <a:pt x="389" y="183"/>
                  <a:pt x="389" y="183"/>
                </a:cubicBezTo>
                <a:cubicBezTo>
                  <a:pt x="389" y="183"/>
                  <a:pt x="389" y="183"/>
                  <a:pt x="389" y="183"/>
                </a:cubicBezTo>
                <a:cubicBezTo>
                  <a:pt x="389" y="182"/>
                  <a:pt x="388" y="183"/>
                  <a:pt x="388" y="183"/>
                </a:cubicBezTo>
                <a:cubicBezTo>
                  <a:pt x="388" y="183"/>
                  <a:pt x="387" y="183"/>
                  <a:pt x="387" y="183"/>
                </a:cubicBezTo>
                <a:cubicBezTo>
                  <a:pt x="388" y="183"/>
                  <a:pt x="388" y="183"/>
                  <a:pt x="388" y="184"/>
                </a:cubicBezTo>
                <a:cubicBezTo>
                  <a:pt x="388" y="184"/>
                  <a:pt x="387" y="184"/>
                  <a:pt x="387" y="184"/>
                </a:cubicBezTo>
                <a:cubicBezTo>
                  <a:pt x="388" y="184"/>
                  <a:pt x="387" y="185"/>
                  <a:pt x="386" y="184"/>
                </a:cubicBezTo>
                <a:cubicBezTo>
                  <a:pt x="386" y="184"/>
                  <a:pt x="385" y="184"/>
                  <a:pt x="385" y="184"/>
                </a:cubicBezTo>
                <a:cubicBezTo>
                  <a:pt x="385" y="184"/>
                  <a:pt x="386" y="184"/>
                  <a:pt x="386" y="184"/>
                </a:cubicBezTo>
                <a:cubicBezTo>
                  <a:pt x="385" y="185"/>
                  <a:pt x="385" y="184"/>
                  <a:pt x="385" y="185"/>
                </a:cubicBezTo>
                <a:cubicBezTo>
                  <a:pt x="385" y="185"/>
                  <a:pt x="386" y="185"/>
                  <a:pt x="386" y="185"/>
                </a:cubicBezTo>
                <a:cubicBezTo>
                  <a:pt x="386" y="185"/>
                  <a:pt x="385" y="185"/>
                  <a:pt x="386" y="185"/>
                </a:cubicBezTo>
                <a:cubicBezTo>
                  <a:pt x="386" y="185"/>
                  <a:pt x="387" y="185"/>
                  <a:pt x="387" y="186"/>
                </a:cubicBezTo>
                <a:cubicBezTo>
                  <a:pt x="387" y="186"/>
                  <a:pt x="385" y="185"/>
                  <a:pt x="385" y="186"/>
                </a:cubicBezTo>
                <a:cubicBezTo>
                  <a:pt x="385" y="186"/>
                  <a:pt x="386" y="186"/>
                  <a:pt x="386" y="186"/>
                </a:cubicBezTo>
                <a:cubicBezTo>
                  <a:pt x="385" y="186"/>
                  <a:pt x="384" y="186"/>
                  <a:pt x="383" y="187"/>
                </a:cubicBezTo>
                <a:cubicBezTo>
                  <a:pt x="383" y="187"/>
                  <a:pt x="382" y="187"/>
                  <a:pt x="381" y="187"/>
                </a:cubicBezTo>
                <a:cubicBezTo>
                  <a:pt x="380" y="188"/>
                  <a:pt x="381" y="187"/>
                  <a:pt x="381" y="187"/>
                </a:cubicBezTo>
                <a:cubicBezTo>
                  <a:pt x="380" y="188"/>
                  <a:pt x="380" y="188"/>
                  <a:pt x="380" y="188"/>
                </a:cubicBezTo>
                <a:cubicBezTo>
                  <a:pt x="379" y="188"/>
                  <a:pt x="379" y="188"/>
                  <a:pt x="379" y="188"/>
                </a:cubicBezTo>
                <a:cubicBezTo>
                  <a:pt x="379" y="189"/>
                  <a:pt x="379" y="189"/>
                  <a:pt x="378" y="189"/>
                </a:cubicBezTo>
                <a:cubicBezTo>
                  <a:pt x="379" y="189"/>
                  <a:pt x="379" y="189"/>
                  <a:pt x="379" y="190"/>
                </a:cubicBezTo>
                <a:cubicBezTo>
                  <a:pt x="378" y="190"/>
                  <a:pt x="377" y="190"/>
                  <a:pt x="377" y="190"/>
                </a:cubicBezTo>
                <a:cubicBezTo>
                  <a:pt x="377" y="190"/>
                  <a:pt x="377" y="191"/>
                  <a:pt x="377" y="191"/>
                </a:cubicBezTo>
                <a:cubicBezTo>
                  <a:pt x="376" y="191"/>
                  <a:pt x="376" y="191"/>
                  <a:pt x="375" y="192"/>
                </a:cubicBezTo>
                <a:cubicBezTo>
                  <a:pt x="376" y="192"/>
                  <a:pt x="376" y="192"/>
                  <a:pt x="376" y="192"/>
                </a:cubicBezTo>
                <a:cubicBezTo>
                  <a:pt x="376" y="192"/>
                  <a:pt x="375" y="192"/>
                  <a:pt x="375" y="192"/>
                </a:cubicBezTo>
                <a:cubicBezTo>
                  <a:pt x="375" y="192"/>
                  <a:pt x="376" y="192"/>
                  <a:pt x="376" y="192"/>
                </a:cubicBezTo>
                <a:cubicBezTo>
                  <a:pt x="376" y="192"/>
                  <a:pt x="371" y="195"/>
                  <a:pt x="371" y="195"/>
                </a:cubicBezTo>
                <a:cubicBezTo>
                  <a:pt x="370" y="196"/>
                  <a:pt x="369" y="196"/>
                  <a:pt x="368" y="197"/>
                </a:cubicBezTo>
                <a:cubicBezTo>
                  <a:pt x="367" y="198"/>
                  <a:pt x="366" y="197"/>
                  <a:pt x="366" y="198"/>
                </a:cubicBezTo>
                <a:cubicBezTo>
                  <a:pt x="366" y="198"/>
                  <a:pt x="366" y="198"/>
                  <a:pt x="366" y="198"/>
                </a:cubicBezTo>
                <a:cubicBezTo>
                  <a:pt x="366" y="198"/>
                  <a:pt x="365" y="198"/>
                  <a:pt x="365" y="198"/>
                </a:cubicBezTo>
                <a:cubicBezTo>
                  <a:pt x="365" y="199"/>
                  <a:pt x="366" y="199"/>
                  <a:pt x="365" y="200"/>
                </a:cubicBezTo>
                <a:cubicBezTo>
                  <a:pt x="365" y="200"/>
                  <a:pt x="364" y="200"/>
                  <a:pt x="364" y="201"/>
                </a:cubicBezTo>
                <a:cubicBezTo>
                  <a:pt x="363" y="201"/>
                  <a:pt x="363" y="202"/>
                  <a:pt x="362" y="202"/>
                </a:cubicBezTo>
                <a:cubicBezTo>
                  <a:pt x="362" y="203"/>
                  <a:pt x="361" y="203"/>
                  <a:pt x="361" y="203"/>
                </a:cubicBezTo>
                <a:cubicBezTo>
                  <a:pt x="361" y="203"/>
                  <a:pt x="361" y="204"/>
                  <a:pt x="360" y="204"/>
                </a:cubicBezTo>
                <a:cubicBezTo>
                  <a:pt x="360" y="204"/>
                  <a:pt x="360" y="205"/>
                  <a:pt x="360" y="205"/>
                </a:cubicBezTo>
                <a:cubicBezTo>
                  <a:pt x="359" y="206"/>
                  <a:pt x="359" y="206"/>
                  <a:pt x="358" y="207"/>
                </a:cubicBezTo>
                <a:cubicBezTo>
                  <a:pt x="358" y="207"/>
                  <a:pt x="358" y="207"/>
                  <a:pt x="358" y="207"/>
                </a:cubicBezTo>
                <a:cubicBezTo>
                  <a:pt x="358" y="208"/>
                  <a:pt x="358" y="208"/>
                  <a:pt x="358" y="208"/>
                </a:cubicBezTo>
                <a:cubicBezTo>
                  <a:pt x="357" y="209"/>
                  <a:pt x="357" y="209"/>
                  <a:pt x="356" y="210"/>
                </a:cubicBezTo>
                <a:cubicBezTo>
                  <a:pt x="357" y="210"/>
                  <a:pt x="357" y="210"/>
                  <a:pt x="357" y="210"/>
                </a:cubicBezTo>
                <a:cubicBezTo>
                  <a:pt x="357" y="210"/>
                  <a:pt x="356" y="210"/>
                  <a:pt x="356" y="211"/>
                </a:cubicBezTo>
                <a:cubicBezTo>
                  <a:pt x="355" y="211"/>
                  <a:pt x="355" y="211"/>
                  <a:pt x="355" y="212"/>
                </a:cubicBezTo>
                <a:cubicBezTo>
                  <a:pt x="354" y="212"/>
                  <a:pt x="354" y="212"/>
                  <a:pt x="354" y="212"/>
                </a:cubicBezTo>
                <a:cubicBezTo>
                  <a:pt x="353" y="213"/>
                  <a:pt x="353" y="212"/>
                  <a:pt x="352" y="213"/>
                </a:cubicBezTo>
                <a:cubicBezTo>
                  <a:pt x="353" y="213"/>
                  <a:pt x="354" y="212"/>
                  <a:pt x="354" y="213"/>
                </a:cubicBezTo>
                <a:cubicBezTo>
                  <a:pt x="355" y="213"/>
                  <a:pt x="353" y="215"/>
                  <a:pt x="353" y="215"/>
                </a:cubicBezTo>
                <a:cubicBezTo>
                  <a:pt x="353" y="215"/>
                  <a:pt x="354" y="214"/>
                  <a:pt x="354" y="215"/>
                </a:cubicBezTo>
                <a:cubicBezTo>
                  <a:pt x="354" y="215"/>
                  <a:pt x="354" y="216"/>
                  <a:pt x="354" y="216"/>
                </a:cubicBezTo>
                <a:cubicBezTo>
                  <a:pt x="354" y="217"/>
                  <a:pt x="356" y="215"/>
                  <a:pt x="356" y="215"/>
                </a:cubicBezTo>
                <a:cubicBezTo>
                  <a:pt x="356" y="216"/>
                  <a:pt x="356" y="216"/>
                  <a:pt x="356" y="217"/>
                </a:cubicBezTo>
                <a:cubicBezTo>
                  <a:pt x="355" y="217"/>
                  <a:pt x="354" y="217"/>
                  <a:pt x="354" y="218"/>
                </a:cubicBezTo>
                <a:cubicBezTo>
                  <a:pt x="353" y="219"/>
                  <a:pt x="352" y="220"/>
                  <a:pt x="351" y="221"/>
                </a:cubicBezTo>
                <a:cubicBezTo>
                  <a:pt x="352" y="220"/>
                  <a:pt x="353" y="220"/>
                  <a:pt x="354" y="218"/>
                </a:cubicBezTo>
                <a:cubicBezTo>
                  <a:pt x="355" y="217"/>
                  <a:pt x="356" y="217"/>
                  <a:pt x="357" y="216"/>
                </a:cubicBezTo>
                <a:cubicBezTo>
                  <a:pt x="357" y="215"/>
                  <a:pt x="359" y="216"/>
                  <a:pt x="359" y="216"/>
                </a:cubicBezTo>
                <a:cubicBezTo>
                  <a:pt x="360" y="216"/>
                  <a:pt x="362" y="215"/>
                  <a:pt x="362" y="216"/>
                </a:cubicBezTo>
                <a:cubicBezTo>
                  <a:pt x="361" y="217"/>
                  <a:pt x="364" y="216"/>
                  <a:pt x="364" y="216"/>
                </a:cubicBezTo>
                <a:cubicBezTo>
                  <a:pt x="365" y="216"/>
                  <a:pt x="363" y="218"/>
                  <a:pt x="363" y="218"/>
                </a:cubicBezTo>
                <a:cubicBezTo>
                  <a:pt x="362" y="220"/>
                  <a:pt x="363" y="221"/>
                  <a:pt x="362" y="223"/>
                </a:cubicBezTo>
                <a:cubicBezTo>
                  <a:pt x="362" y="223"/>
                  <a:pt x="361" y="225"/>
                  <a:pt x="361" y="225"/>
                </a:cubicBezTo>
                <a:cubicBezTo>
                  <a:pt x="362" y="225"/>
                  <a:pt x="360" y="230"/>
                  <a:pt x="360" y="231"/>
                </a:cubicBezTo>
                <a:cubicBezTo>
                  <a:pt x="359" y="232"/>
                  <a:pt x="358" y="232"/>
                  <a:pt x="357" y="233"/>
                </a:cubicBezTo>
                <a:cubicBezTo>
                  <a:pt x="356" y="233"/>
                  <a:pt x="355" y="234"/>
                  <a:pt x="355" y="234"/>
                </a:cubicBezTo>
                <a:cubicBezTo>
                  <a:pt x="354" y="234"/>
                  <a:pt x="354" y="234"/>
                  <a:pt x="353" y="235"/>
                </a:cubicBezTo>
                <a:cubicBezTo>
                  <a:pt x="355" y="235"/>
                  <a:pt x="357" y="232"/>
                  <a:pt x="359" y="233"/>
                </a:cubicBezTo>
                <a:cubicBezTo>
                  <a:pt x="359" y="234"/>
                  <a:pt x="357" y="234"/>
                  <a:pt x="357" y="234"/>
                </a:cubicBezTo>
                <a:cubicBezTo>
                  <a:pt x="358" y="234"/>
                  <a:pt x="358" y="234"/>
                  <a:pt x="359" y="233"/>
                </a:cubicBezTo>
                <a:cubicBezTo>
                  <a:pt x="360" y="233"/>
                  <a:pt x="362" y="233"/>
                  <a:pt x="363" y="233"/>
                </a:cubicBezTo>
                <a:cubicBezTo>
                  <a:pt x="365" y="232"/>
                  <a:pt x="368" y="231"/>
                  <a:pt x="370" y="231"/>
                </a:cubicBezTo>
                <a:cubicBezTo>
                  <a:pt x="371" y="231"/>
                  <a:pt x="373" y="231"/>
                  <a:pt x="374" y="232"/>
                </a:cubicBezTo>
                <a:cubicBezTo>
                  <a:pt x="375" y="232"/>
                  <a:pt x="377" y="233"/>
                  <a:pt x="377" y="234"/>
                </a:cubicBezTo>
                <a:cubicBezTo>
                  <a:pt x="377" y="234"/>
                  <a:pt x="379" y="234"/>
                  <a:pt x="379" y="234"/>
                </a:cubicBezTo>
                <a:cubicBezTo>
                  <a:pt x="380" y="234"/>
                  <a:pt x="381" y="235"/>
                  <a:pt x="382" y="235"/>
                </a:cubicBezTo>
                <a:cubicBezTo>
                  <a:pt x="383" y="235"/>
                  <a:pt x="383" y="235"/>
                  <a:pt x="384" y="235"/>
                </a:cubicBezTo>
                <a:cubicBezTo>
                  <a:pt x="384" y="235"/>
                  <a:pt x="384" y="235"/>
                  <a:pt x="385" y="235"/>
                </a:cubicBezTo>
                <a:cubicBezTo>
                  <a:pt x="385" y="235"/>
                  <a:pt x="384" y="236"/>
                  <a:pt x="385" y="236"/>
                </a:cubicBezTo>
                <a:cubicBezTo>
                  <a:pt x="385" y="236"/>
                  <a:pt x="385" y="236"/>
                  <a:pt x="385" y="236"/>
                </a:cubicBezTo>
                <a:cubicBezTo>
                  <a:pt x="385" y="237"/>
                  <a:pt x="385" y="237"/>
                  <a:pt x="386" y="237"/>
                </a:cubicBezTo>
                <a:cubicBezTo>
                  <a:pt x="386" y="237"/>
                  <a:pt x="386" y="238"/>
                  <a:pt x="387" y="238"/>
                </a:cubicBezTo>
                <a:cubicBezTo>
                  <a:pt x="387" y="239"/>
                  <a:pt x="389" y="239"/>
                  <a:pt x="389" y="240"/>
                </a:cubicBezTo>
                <a:cubicBezTo>
                  <a:pt x="389" y="240"/>
                  <a:pt x="389" y="240"/>
                  <a:pt x="389" y="241"/>
                </a:cubicBezTo>
                <a:cubicBezTo>
                  <a:pt x="389" y="241"/>
                  <a:pt x="389" y="242"/>
                  <a:pt x="389" y="242"/>
                </a:cubicBezTo>
                <a:cubicBezTo>
                  <a:pt x="389" y="243"/>
                  <a:pt x="390" y="243"/>
                  <a:pt x="390" y="243"/>
                </a:cubicBezTo>
                <a:cubicBezTo>
                  <a:pt x="389" y="244"/>
                  <a:pt x="389" y="244"/>
                  <a:pt x="389" y="244"/>
                </a:cubicBezTo>
                <a:cubicBezTo>
                  <a:pt x="389" y="244"/>
                  <a:pt x="390" y="243"/>
                  <a:pt x="390" y="244"/>
                </a:cubicBezTo>
                <a:cubicBezTo>
                  <a:pt x="390" y="244"/>
                  <a:pt x="391" y="244"/>
                  <a:pt x="391" y="244"/>
                </a:cubicBezTo>
                <a:cubicBezTo>
                  <a:pt x="392" y="244"/>
                  <a:pt x="394" y="245"/>
                  <a:pt x="395" y="246"/>
                </a:cubicBezTo>
                <a:cubicBezTo>
                  <a:pt x="396" y="246"/>
                  <a:pt x="397" y="246"/>
                  <a:pt x="397" y="246"/>
                </a:cubicBezTo>
                <a:cubicBezTo>
                  <a:pt x="398" y="247"/>
                  <a:pt x="398" y="247"/>
                  <a:pt x="398" y="247"/>
                </a:cubicBezTo>
                <a:cubicBezTo>
                  <a:pt x="399" y="247"/>
                  <a:pt x="400" y="247"/>
                  <a:pt x="401" y="248"/>
                </a:cubicBezTo>
                <a:cubicBezTo>
                  <a:pt x="401" y="248"/>
                  <a:pt x="402" y="248"/>
                  <a:pt x="402" y="248"/>
                </a:cubicBezTo>
                <a:cubicBezTo>
                  <a:pt x="402" y="248"/>
                  <a:pt x="402" y="249"/>
                  <a:pt x="402" y="249"/>
                </a:cubicBezTo>
                <a:cubicBezTo>
                  <a:pt x="403" y="250"/>
                  <a:pt x="404" y="250"/>
                  <a:pt x="404" y="251"/>
                </a:cubicBezTo>
                <a:cubicBezTo>
                  <a:pt x="405" y="251"/>
                  <a:pt x="403" y="252"/>
                  <a:pt x="402" y="252"/>
                </a:cubicBezTo>
                <a:cubicBezTo>
                  <a:pt x="402" y="253"/>
                  <a:pt x="401" y="253"/>
                  <a:pt x="400" y="254"/>
                </a:cubicBezTo>
                <a:cubicBezTo>
                  <a:pt x="401" y="254"/>
                  <a:pt x="401" y="254"/>
                  <a:pt x="402" y="253"/>
                </a:cubicBezTo>
                <a:cubicBezTo>
                  <a:pt x="402" y="253"/>
                  <a:pt x="403" y="252"/>
                  <a:pt x="404" y="252"/>
                </a:cubicBezTo>
                <a:cubicBezTo>
                  <a:pt x="405" y="251"/>
                  <a:pt x="407" y="252"/>
                  <a:pt x="408" y="252"/>
                </a:cubicBezTo>
                <a:cubicBezTo>
                  <a:pt x="409" y="252"/>
                  <a:pt x="410" y="251"/>
                  <a:pt x="411" y="251"/>
                </a:cubicBezTo>
                <a:cubicBezTo>
                  <a:pt x="412" y="251"/>
                  <a:pt x="412" y="252"/>
                  <a:pt x="412" y="251"/>
                </a:cubicBezTo>
                <a:cubicBezTo>
                  <a:pt x="413" y="251"/>
                  <a:pt x="413" y="251"/>
                  <a:pt x="414" y="251"/>
                </a:cubicBezTo>
                <a:cubicBezTo>
                  <a:pt x="414" y="251"/>
                  <a:pt x="416" y="252"/>
                  <a:pt x="415" y="252"/>
                </a:cubicBezTo>
                <a:cubicBezTo>
                  <a:pt x="415" y="252"/>
                  <a:pt x="416" y="252"/>
                  <a:pt x="416" y="252"/>
                </a:cubicBezTo>
                <a:cubicBezTo>
                  <a:pt x="416" y="252"/>
                  <a:pt x="416" y="253"/>
                  <a:pt x="416" y="253"/>
                </a:cubicBezTo>
                <a:cubicBezTo>
                  <a:pt x="416" y="253"/>
                  <a:pt x="416" y="252"/>
                  <a:pt x="416" y="252"/>
                </a:cubicBezTo>
                <a:cubicBezTo>
                  <a:pt x="416" y="252"/>
                  <a:pt x="416" y="252"/>
                  <a:pt x="416" y="252"/>
                </a:cubicBezTo>
                <a:cubicBezTo>
                  <a:pt x="415" y="251"/>
                  <a:pt x="416" y="251"/>
                  <a:pt x="416" y="251"/>
                </a:cubicBezTo>
                <a:cubicBezTo>
                  <a:pt x="417" y="252"/>
                  <a:pt x="417" y="252"/>
                  <a:pt x="417" y="252"/>
                </a:cubicBezTo>
                <a:cubicBezTo>
                  <a:pt x="418" y="252"/>
                  <a:pt x="419" y="252"/>
                  <a:pt x="420" y="252"/>
                </a:cubicBezTo>
                <a:cubicBezTo>
                  <a:pt x="420" y="252"/>
                  <a:pt x="420" y="252"/>
                  <a:pt x="421" y="252"/>
                </a:cubicBezTo>
                <a:cubicBezTo>
                  <a:pt x="421" y="252"/>
                  <a:pt x="422" y="252"/>
                  <a:pt x="422" y="252"/>
                </a:cubicBezTo>
                <a:cubicBezTo>
                  <a:pt x="421" y="253"/>
                  <a:pt x="421" y="253"/>
                  <a:pt x="421" y="253"/>
                </a:cubicBezTo>
                <a:cubicBezTo>
                  <a:pt x="421" y="253"/>
                  <a:pt x="421" y="253"/>
                  <a:pt x="422" y="253"/>
                </a:cubicBezTo>
                <a:cubicBezTo>
                  <a:pt x="422" y="253"/>
                  <a:pt x="422" y="253"/>
                  <a:pt x="423" y="253"/>
                </a:cubicBezTo>
                <a:cubicBezTo>
                  <a:pt x="423" y="253"/>
                  <a:pt x="424" y="253"/>
                  <a:pt x="425" y="253"/>
                </a:cubicBezTo>
                <a:cubicBezTo>
                  <a:pt x="425" y="253"/>
                  <a:pt x="425" y="254"/>
                  <a:pt x="425" y="254"/>
                </a:cubicBezTo>
                <a:cubicBezTo>
                  <a:pt x="426" y="253"/>
                  <a:pt x="426" y="253"/>
                  <a:pt x="426" y="253"/>
                </a:cubicBezTo>
                <a:cubicBezTo>
                  <a:pt x="427" y="253"/>
                  <a:pt x="425" y="254"/>
                  <a:pt x="425" y="255"/>
                </a:cubicBezTo>
                <a:cubicBezTo>
                  <a:pt x="425" y="255"/>
                  <a:pt x="425" y="256"/>
                  <a:pt x="425" y="256"/>
                </a:cubicBezTo>
                <a:cubicBezTo>
                  <a:pt x="424" y="257"/>
                  <a:pt x="424" y="258"/>
                  <a:pt x="423" y="258"/>
                </a:cubicBezTo>
                <a:cubicBezTo>
                  <a:pt x="422" y="259"/>
                  <a:pt x="421" y="260"/>
                  <a:pt x="420" y="261"/>
                </a:cubicBezTo>
                <a:cubicBezTo>
                  <a:pt x="420" y="261"/>
                  <a:pt x="420" y="262"/>
                  <a:pt x="419" y="262"/>
                </a:cubicBezTo>
                <a:cubicBezTo>
                  <a:pt x="419" y="263"/>
                  <a:pt x="420" y="263"/>
                  <a:pt x="419" y="263"/>
                </a:cubicBezTo>
                <a:cubicBezTo>
                  <a:pt x="420" y="263"/>
                  <a:pt x="420" y="264"/>
                  <a:pt x="420" y="265"/>
                </a:cubicBezTo>
                <a:cubicBezTo>
                  <a:pt x="420" y="266"/>
                  <a:pt x="419" y="267"/>
                  <a:pt x="419" y="267"/>
                </a:cubicBezTo>
                <a:cubicBezTo>
                  <a:pt x="418" y="268"/>
                  <a:pt x="417" y="269"/>
                  <a:pt x="417" y="270"/>
                </a:cubicBezTo>
                <a:cubicBezTo>
                  <a:pt x="417" y="272"/>
                  <a:pt x="416" y="272"/>
                  <a:pt x="415" y="273"/>
                </a:cubicBezTo>
                <a:cubicBezTo>
                  <a:pt x="414" y="273"/>
                  <a:pt x="414" y="274"/>
                  <a:pt x="413" y="275"/>
                </a:cubicBezTo>
                <a:cubicBezTo>
                  <a:pt x="413" y="276"/>
                  <a:pt x="414" y="276"/>
                  <a:pt x="414" y="276"/>
                </a:cubicBezTo>
                <a:cubicBezTo>
                  <a:pt x="414" y="277"/>
                  <a:pt x="414" y="277"/>
                  <a:pt x="414" y="278"/>
                </a:cubicBezTo>
                <a:cubicBezTo>
                  <a:pt x="414" y="279"/>
                  <a:pt x="415" y="280"/>
                  <a:pt x="415" y="280"/>
                </a:cubicBezTo>
                <a:cubicBezTo>
                  <a:pt x="416" y="281"/>
                  <a:pt x="415" y="282"/>
                  <a:pt x="416" y="282"/>
                </a:cubicBezTo>
                <a:cubicBezTo>
                  <a:pt x="416" y="282"/>
                  <a:pt x="414" y="283"/>
                  <a:pt x="414" y="283"/>
                </a:cubicBezTo>
                <a:cubicBezTo>
                  <a:pt x="414" y="283"/>
                  <a:pt x="413" y="283"/>
                  <a:pt x="412" y="283"/>
                </a:cubicBezTo>
                <a:cubicBezTo>
                  <a:pt x="413" y="283"/>
                  <a:pt x="412" y="284"/>
                  <a:pt x="412" y="284"/>
                </a:cubicBezTo>
                <a:cubicBezTo>
                  <a:pt x="413" y="284"/>
                  <a:pt x="414" y="283"/>
                  <a:pt x="415" y="283"/>
                </a:cubicBezTo>
                <a:cubicBezTo>
                  <a:pt x="415" y="283"/>
                  <a:pt x="415" y="284"/>
                  <a:pt x="415" y="284"/>
                </a:cubicBezTo>
                <a:cubicBezTo>
                  <a:pt x="415" y="285"/>
                  <a:pt x="416" y="285"/>
                  <a:pt x="416" y="285"/>
                </a:cubicBezTo>
                <a:cubicBezTo>
                  <a:pt x="417" y="285"/>
                  <a:pt x="418" y="285"/>
                  <a:pt x="418" y="286"/>
                </a:cubicBezTo>
                <a:cubicBezTo>
                  <a:pt x="418" y="287"/>
                  <a:pt x="419" y="287"/>
                  <a:pt x="419" y="288"/>
                </a:cubicBezTo>
                <a:cubicBezTo>
                  <a:pt x="420" y="289"/>
                  <a:pt x="419" y="289"/>
                  <a:pt x="419" y="290"/>
                </a:cubicBezTo>
                <a:cubicBezTo>
                  <a:pt x="419" y="290"/>
                  <a:pt x="420" y="291"/>
                  <a:pt x="420" y="291"/>
                </a:cubicBezTo>
                <a:cubicBezTo>
                  <a:pt x="419" y="292"/>
                  <a:pt x="419" y="293"/>
                  <a:pt x="418" y="293"/>
                </a:cubicBezTo>
                <a:cubicBezTo>
                  <a:pt x="417" y="293"/>
                  <a:pt x="416" y="294"/>
                  <a:pt x="415" y="294"/>
                </a:cubicBezTo>
                <a:cubicBezTo>
                  <a:pt x="414" y="295"/>
                  <a:pt x="414" y="295"/>
                  <a:pt x="414" y="295"/>
                </a:cubicBezTo>
                <a:cubicBezTo>
                  <a:pt x="413" y="296"/>
                  <a:pt x="413" y="296"/>
                  <a:pt x="412" y="296"/>
                </a:cubicBezTo>
                <a:cubicBezTo>
                  <a:pt x="413" y="296"/>
                  <a:pt x="413" y="296"/>
                  <a:pt x="413" y="296"/>
                </a:cubicBezTo>
                <a:cubicBezTo>
                  <a:pt x="413" y="296"/>
                  <a:pt x="413" y="296"/>
                  <a:pt x="413" y="296"/>
                </a:cubicBezTo>
                <a:cubicBezTo>
                  <a:pt x="413" y="296"/>
                  <a:pt x="414" y="295"/>
                  <a:pt x="414" y="295"/>
                </a:cubicBezTo>
                <a:cubicBezTo>
                  <a:pt x="415" y="295"/>
                  <a:pt x="416" y="295"/>
                  <a:pt x="417" y="294"/>
                </a:cubicBezTo>
                <a:cubicBezTo>
                  <a:pt x="418" y="293"/>
                  <a:pt x="419" y="292"/>
                  <a:pt x="420" y="293"/>
                </a:cubicBezTo>
                <a:cubicBezTo>
                  <a:pt x="421" y="293"/>
                  <a:pt x="422" y="293"/>
                  <a:pt x="422" y="294"/>
                </a:cubicBezTo>
                <a:cubicBezTo>
                  <a:pt x="423" y="295"/>
                  <a:pt x="423" y="295"/>
                  <a:pt x="424" y="296"/>
                </a:cubicBezTo>
                <a:cubicBezTo>
                  <a:pt x="424" y="297"/>
                  <a:pt x="425" y="298"/>
                  <a:pt x="425" y="299"/>
                </a:cubicBezTo>
                <a:cubicBezTo>
                  <a:pt x="425" y="299"/>
                  <a:pt x="425" y="297"/>
                  <a:pt x="425" y="297"/>
                </a:cubicBezTo>
                <a:cubicBezTo>
                  <a:pt x="424" y="296"/>
                  <a:pt x="423" y="295"/>
                  <a:pt x="424" y="294"/>
                </a:cubicBezTo>
                <a:cubicBezTo>
                  <a:pt x="424" y="294"/>
                  <a:pt x="425" y="294"/>
                  <a:pt x="425" y="293"/>
                </a:cubicBezTo>
                <a:cubicBezTo>
                  <a:pt x="425" y="293"/>
                  <a:pt x="425" y="292"/>
                  <a:pt x="426" y="292"/>
                </a:cubicBezTo>
                <a:cubicBezTo>
                  <a:pt x="426" y="292"/>
                  <a:pt x="426" y="291"/>
                  <a:pt x="427" y="291"/>
                </a:cubicBezTo>
                <a:cubicBezTo>
                  <a:pt x="427" y="291"/>
                  <a:pt x="427" y="291"/>
                  <a:pt x="427" y="291"/>
                </a:cubicBezTo>
                <a:cubicBezTo>
                  <a:pt x="428" y="290"/>
                  <a:pt x="429" y="289"/>
                  <a:pt x="430" y="289"/>
                </a:cubicBezTo>
                <a:cubicBezTo>
                  <a:pt x="431" y="290"/>
                  <a:pt x="429" y="291"/>
                  <a:pt x="430" y="291"/>
                </a:cubicBezTo>
                <a:cubicBezTo>
                  <a:pt x="433" y="291"/>
                  <a:pt x="430" y="294"/>
                  <a:pt x="431" y="295"/>
                </a:cubicBezTo>
                <a:cubicBezTo>
                  <a:pt x="431" y="294"/>
                  <a:pt x="431" y="294"/>
                  <a:pt x="431" y="293"/>
                </a:cubicBezTo>
                <a:cubicBezTo>
                  <a:pt x="432" y="293"/>
                  <a:pt x="432" y="293"/>
                  <a:pt x="432" y="293"/>
                </a:cubicBezTo>
                <a:cubicBezTo>
                  <a:pt x="432" y="292"/>
                  <a:pt x="432" y="292"/>
                  <a:pt x="432" y="292"/>
                </a:cubicBezTo>
                <a:cubicBezTo>
                  <a:pt x="432" y="292"/>
                  <a:pt x="433" y="292"/>
                  <a:pt x="433" y="292"/>
                </a:cubicBezTo>
                <a:cubicBezTo>
                  <a:pt x="433" y="291"/>
                  <a:pt x="434" y="291"/>
                  <a:pt x="434" y="291"/>
                </a:cubicBezTo>
                <a:cubicBezTo>
                  <a:pt x="434" y="291"/>
                  <a:pt x="433" y="291"/>
                  <a:pt x="433" y="291"/>
                </a:cubicBezTo>
                <a:cubicBezTo>
                  <a:pt x="433" y="290"/>
                  <a:pt x="434" y="290"/>
                  <a:pt x="434" y="290"/>
                </a:cubicBezTo>
                <a:cubicBezTo>
                  <a:pt x="434" y="290"/>
                  <a:pt x="433" y="289"/>
                  <a:pt x="433" y="289"/>
                </a:cubicBezTo>
                <a:cubicBezTo>
                  <a:pt x="433" y="289"/>
                  <a:pt x="433" y="288"/>
                  <a:pt x="433" y="288"/>
                </a:cubicBezTo>
                <a:cubicBezTo>
                  <a:pt x="434" y="288"/>
                  <a:pt x="434" y="288"/>
                  <a:pt x="435" y="288"/>
                </a:cubicBezTo>
                <a:cubicBezTo>
                  <a:pt x="435" y="287"/>
                  <a:pt x="435" y="286"/>
                  <a:pt x="435" y="286"/>
                </a:cubicBezTo>
                <a:cubicBezTo>
                  <a:pt x="436" y="286"/>
                  <a:pt x="437" y="286"/>
                  <a:pt x="437" y="285"/>
                </a:cubicBezTo>
                <a:cubicBezTo>
                  <a:pt x="437" y="285"/>
                  <a:pt x="438" y="285"/>
                  <a:pt x="439" y="284"/>
                </a:cubicBezTo>
                <a:cubicBezTo>
                  <a:pt x="440" y="284"/>
                  <a:pt x="439" y="283"/>
                  <a:pt x="441" y="283"/>
                </a:cubicBezTo>
                <a:cubicBezTo>
                  <a:pt x="441" y="283"/>
                  <a:pt x="440" y="283"/>
                  <a:pt x="440" y="283"/>
                </a:cubicBezTo>
                <a:cubicBezTo>
                  <a:pt x="440" y="282"/>
                  <a:pt x="440" y="282"/>
                  <a:pt x="441" y="282"/>
                </a:cubicBezTo>
                <a:cubicBezTo>
                  <a:pt x="441" y="282"/>
                  <a:pt x="441" y="282"/>
                  <a:pt x="441" y="282"/>
                </a:cubicBezTo>
                <a:cubicBezTo>
                  <a:pt x="441" y="282"/>
                  <a:pt x="441" y="281"/>
                  <a:pt x="441" y="281"/>
                </a:cubicBezTo>
                <a:cubicBezTo>
                  <a:pt x="442" y="280"/>
                  <a:pt x="440" y="280"/>
                  <a:pt x="440" y="280"/>
                </a:cubicBezTo>
                <a:cubicBezTo>
                  <a:pt x="440" y="280"/>
                  <a:pt x="441" y="279"/>
                  <a:pt x="440" y="279"/>
                </a:cubicBezTo>
                <a:cubicBezTo>
                  <a:pt x="440" y="279"/>
                  <a:pt x="440" y="279"/>
                  <a:pt x="440" y="278"/>
                </a:cubicBezTo>
                <a:cubicBezTo>
                  <a:pt x="440" y="278"/>
                  <a:pt x="440" y="278"/>
                  <a:pt x="440" y="278"/>
                </a:cubicBezTo>
                <a:cubicBezTo>
                  <a:pt x="441" y="278"/>
                  <a:pt x="440" y="278"/>
                  <a:pt x="440" y="278"/>
                </a:cubicBezTo>
                <a:cubicBezTo>
                  <a:pt x="441" y="277"/>
                  <a:pt x="441" y="278"/>
                  <a:pt x="441" y="277"/>
                </a:cubicBezTo>
                <a:cubicBezTo>
                  <a:pt x="440" y="277"/>
                  <a:pt x="442" y="277"/>
                  <a:pt x="442" y="276"/>
                </a:cubicBezTo>
                <a:cubicBezTo>
                  <a:pt x="442" y="276"/>
                  <a:pt x="441" y="277"/>
                  <a:pt x="441" y="276"/>
                </a:cubicBezTo>
                <a:cubicBezTo>
                  <a:pt x="440" y="276"/>
                  <a:pt x="442" y="276"/>
                  <a:pt x="442" y="275"/>
                </a:cubicBezTo>
                <a:cubicBezTo>
                  <a:pt x="441" y="275"/>
                  <a:pt x="442" y="275"/>
                  <a:pt x="441" y="275"/>
                </a:cubicBezTo>
                <a:cubicBezTo>
                  <a:pt x="441" y="275"/>
                  <a:pt x="441" y="275"/>
                  <a:pt x="441" y="275"/>
                </a:cubicBezTo>
                <a:cubicBezTo>
                  <a:pt x="441" y="275"/>
                  <a:pt x="441" y="275"/>
                  <a:pt x="441" y="274"/>
                </a:cubicBezTo>
                <a:cubicBezTo>
                  <a:pt x="440" y="275"/>
                  <a:pt x="442" y="274"/>
                  <a:pt x="442" y="273"/>
                </a:cubicBezTo>
                <a:cubicBezTo>
                  <a:pt x="442" y="273"/>
                  <a:pt x="442" y="273"/>
                  <a:pt x="443" y="272"/>
                </a:cubicBezTo>
                <a:cubicBezTo>
                  <a:pt x="442" y="272"/>
                  <a:pt x="442" y="272"/>
                  <a:pt x="442" y="272"/>
                </a:cubicBezTo>
                <a:cubicBezTo>
                  <a:pt x="442" y="272"/>
                  <a:pt x="443" y="270"/>
                  <a:pt x="442" y="271"/>
                </a:cubicBezTo>
                <a:cubicBezTo>
                  <a:pt x="442" y="270"/>
                  <a:pt x="442" y="270"/>
                  <a:pt x="443" y="270"/>
                </a:cubicBezTo>
                <a:cubicBezTo>
                  <a:pt x="442" y="270"/>
                  <a:pt x="443" y="270"/>
                  <a:pt x="443" y="270"/>
                </a:cubicBezTo>
                <a:cubicBezTo>
                  <a:pt x="443" y="269"/>
                  <a:pt x="444" y="269"/>
                  <a:pt x="444" y="269"/>
                </a:cubicBezTo>
                <a:cubicBezTo>
                  <a:pt x="445" y="269"/>
                  <a:pt x="444" y="269"/>
                  <a:pt x="443" y="269"/>
                </a:cubicBezTo>
                <a:cubicBezTo>
                  <a:pt x="443" y="269"/>
                  <a:pt x="444" y="269"/>
                  <a:pt x="444" y="268"/>
                </a:cubicBezTo>
                <a:cubicBezTo>
                  <a:pt x="444" y="268"/>
                  <a:pt x="444" y="268"/>
                  <a:pt x="444" y="268"/>
                </a:cubicBezTo>
                <a:cubicBezTo>
                  <a:pt x="444" y="268"/>
                  <a:pt x="443" y="268"/>
                  <a:pt x="443" y="268"/>
                </a:cubicBezTo>
                <a:cubicBezTo>
                  <a:pt x="443" y="268"/>
                  <a:pt x="444" y="268"/>
                  <a:pt x="444" y="268"/>
                </a:cubicBezTo>
                <a:cubicBezTo>
                  <a:pt x="444" y="267"/>
                  <a:pt x="444" y="267"/>
                  <a:pt x="445" y="267"/>
                </a:cubicBezTo>
                <a:cubicBezTo>
                  <a:pt x="445" y="266"/>
                  <a:pt x="446" y="267"/>
                  <a:pt x="446" y="267"/>
                </a:cubicBezTo>
                <a:cubicBezTo>
                  <a:pt x="446" y="266"/>
                  <a:pt x="445" y="266"/>
                  <a:pt x="445" y="266"/>
                </a:cubicBezTo>
                <a:cubicBezTo>
                  <a:pt x="445" y="266"/>
                  <a:pt x="445" y="266"/>
                  <a:pt x="445" y="266"/>
                </a:cubicBezTo>
                <a:cubicBezTo>
                  <a:pt x="445" y="266"/>
                  <a:pt x="446" y="266"/>
                  <a:pt x="446" y="266"/>
                </a:cubicBezTo>
                <a:cubicBezTo>
                  <a:pt x="446" y="265"/>
                  <a:pt x="445" y="265"/>
                  <a:pt x="445" y="265"/>
                </a:cubicBezTo>
                <a:cubicBezTo>
                  <a:pt x="445" y="265"/>
                  <a:pt x="445" y="265"/>
                  <a:pt x="446" y="265"/>
                </a:cubicBezTo>
                <a:cubicBezTo>
                  <a:pt x="445" y="265"/>
                  <a:pt x="445" y="265"/>
                  <a:pt x="445" y="265"/>
                </a:cubicBezTo>
                <a:cubicBezTo>
                  <a:pt x="446" y="265"/>
                  <a:pt x="445" y="265"/>
                  <a:pt x="446" y="265"/>
                </a:cubicBezTo>
                <a:cubicBezTo>
                  <a:pt x="446" y="265"/>
                  <a:pt x="446" y="265"/>
                  <a:pt x="446" y="265"/>
                </a:cubicBezTo>
                <a:cubicBezTo>
                  <a:pt x="446" y="265"/>
                  <a:pt x="446" y="264"/>
                  <a:pt x="446" y="264"/>
                </a:cubicBezTo>
                <a:cubicBezTo>
                  <a:pt x="445" y="264"/>
                  <a:pt x="446" y="264"/>
                  <a:pt x="445" y="264"/>
                </a:cubicBezTo>
                <a:cubicBezTo>
                  <a:pt x="445" y="264"/>
                  <a:pt x="445" y="264"/>
                  <a:pt x="444" y="264"/>
                </a:cubicBezTo>
                <a:cubicBezTo>
                  <a:pt x="445" y="264"/>
                  <a:pt x="445" y="264"/>
                  <a:pt x="446" y="263"/>
                </a:cubicBezTo>
                <a:cubicBezTo>
                  <a:pt x="446" y="263"/>
                  <a:pt x="446" y="263"/>
                  <a:pt x="446" y="263"/>
                </a:cubicBezTo>
                <a:cubicBezTo>
                  <a:pt x="446" y="263"/>
                  <a:pt x="446" y="263"/>
                  <a:pt x="447" y="263"/>
                </a:cubicBezTo>
                <a:cubicBezTo>
                  <a:pt x="446" y="263"/>
                  <a:pt x="446" y="263"/>
                  <a:pt x="445" y="263"/>
                </a:cubicBezTo>
                <a:cubicBezTo>
                  <a:pt x="445" y="263"/>
                  <a:pt x="445" y="263"/>
                  <a:pt x="444" y="263"/>
                </a:cubicBezTo>
                <a:cubicBezTo>
                  <a:pt x="444" y="262"/>
                  <a:pt x="445" y="262"/>
                  <a:pt x="445" y="262"/>
                </a:cubicBezTo>
                <a:cubicBezTo>
                  <a:pt x="445" y="262"/>
                  <a:pt x="444" y="262"/>
                  <a:pt x="444" y="262"/>
                </a:cubicBezTo>
                <a:cubicBezTo>
                  <a:pt x="444" y="262"/>
                  <a:pt x="445" y="261"/>
                  <a:pt x="444" y="261"/>
                </a:cubicBezTo>
                <a:cubicBezTo>
                  <a:pt x="444" y="261"/>
                  <a:pt x="445" y="260"/>
                  <a:pt x="445" y="260"/>
                </a:cubicBezTo>
                <a:cubicBezTo>
                  <a:pt x="444" y="260"/>
                  <a:pt x="445" y="259"/>
                  <a:pt x="445" y="259"/>
                </a:cubicBezTo>
                <a:cubicBezTo>
                  <a:pt x="445" y="259"/>
                  <a:pt x="445" y="259"/>
                  <a:pt x="445" y="259"/>
                </a:cubicBezTo>
                <a:cubicBezTo>
                  <a:pt x="445" y="258"/>
                  <a:pt x="445" y="259"/>
                  <a:pt x="444" y="259"/>
                </a:cubicBezTo>
                <a:cubicBezTo>
                  <a:pt x="444" y="259"/>
                  <a:pt x="445" y="258"/>
                  <a:pt x="445" y="258"/>
                </a:cubicBezTo>
                <a:cubicBezTo>
                  <a:pt x="445" y="258"/>
                  <a:pt x="444" y="258"/>
                  <a:pt x="444" y="258"/>
                </a:cubicBezTo>
                <a:cubicBezTo>
                  <a:pt x="445" y="258"/>
                  <a:pt x="445" y="258"/>
                  <a:pt x="445" y="258"/>
                </a:cubicBezTo>
                <a:cubicBezTo>
                  <a:pt x="444" y="258"/>
                  <a:pt x="444" y="258"/>
                  <a:pt x="444" y="258"/>
                </a:cubicBezTo>
                <a:cubicBezTo>
                  <a:pt x="445" y="257"/>
                  <a:pt x="446" y="257"/>
                  <a:pt x="447" y="257"/>
                </a:cubicBezTo>
                <a:cubicBezTo>
                  <a:pt x="449" y="257"/>
                  <a:pt x="450" y="256"/>
                  <a:pt x="451" y="256"/>
                </a:cubicBezTo>
                <a:cubicBezTo>
                  <a:pt x="452" y="256"/>
                  <a:pt x="454" y="255"/>
                  <a:pt x="455" y="255"/>
                </a:cubicBezTo>
                <a:cubicBezTo>
                  <a:pt x="456" y="254"/>
                  <a:pt x="457" y="254"/>
                  <a:pt x="459" y="253"/>
                </a:cubicBezTo>
                <a:cubicBezTo>
                  <a:pt x="459" y="253"/>
                  <a:pt x="459" y="253"/>
                  <a:pt x="460" y="253"/>
                </a:cubicBezTo>
                <a:cubicBezTo>
                  <a:pt x="461" y="253"/>
                  <a:pt x="461" y="252"/>
                  <a:pt x="462" y="252"/>
                </a:cubicBezTo>
                <a:cubicBezTo>
                  <a:pt x="463" y="251"/>
                  <a:pt x="465" y="251"/>
                  <a:pt x="466" y="250"/>
                </a:cubicBezTo>
                <a:cubicBezTo>
                  <a:pt x="467" y="250"/>
                  <a:pt x="468" y="249"/>
                  <a:pt x="469" y="248"/>
                </a:cubicBezTo>
                <a:cubicBezTo>
                  <a:pt x="470" y="248"/>
                  <a:pt x="471" y="248"/>
                  <a:pt x="472" y="247"/>
                </a:cubicBezTo>
                <a:cubicBezTo>
                  <a:pt x="471" y="247"/>
                  <a:pt x="471" y="247"/>
                  <a:pt x="471" y="247"/>
                </a:cubicBezTo>
                <a:cubicBezTo>
                  <a:pt x="472" y="246"/>
                  <a:pt x="473" y="246"/>
                  <a:pt x="475" y="245"/>
                </a:cubicBezTo>
                <a:cubicBezTo>
                  <a:pt x="476" y="244"/>
                  <a:pt x="477" y="244"/>
                  <a:pt x="478" y="243"/>
                </a:cubicBezTo>
                <a:cubicBezTo>
                  <a:pt x="479" y="242"/>
                  <a:pt x="480" y="241"/>
                  <a:pt x="481" y="239"/>
                </a:cubicBezTo>
                <a:cubicBezTo>
                  <a:pt x="481" y="238"/>
                  <a:pt x="482" y="237"/>
                  <a:pt x="483" y="236"/>
                </a:cubicBezTo>
                <a:cubicBezTo>
                  <a:pt x="483" y="235"/>
                  <a:pt x="484" y="234"/>
                  <a:pt x="484" y="233"/>
                </a:cubicBezTo>
                <a:cubicBezTo>
                  <a:pt x="484" y="233"/>
                  <a:pt x="485" y="232"/>
                  <a:pt x="485" y="232"/>
                </a:cubicBezTo>
                <a:cubicBezTo>
                  <a:pt x="486" y="230"/>
                  <a:pt x="485" y="229"/>
                  <a:pt x="486" y="228"/>
                </a:cubicBezTo>
                <a:cubicBezTo>
                  <a:pt x="486" y="227"/>
                  <a:pt x="486" y="227"/>
                  <a:pt x="486" y="226"/>
                </a:cubicBezTo>
                <a:cubicBezTo>
                  <a:pt x="486" y="225"/>
                  <a:pt x="485" y="225"/>
                  <a:pt x="485" y="224"/>
                </a:cubicBezTo>
                <a:cubicBezTo>
                  <a:pt x="485" y="223"/>
                  <a:pt x="485" y="223"/>
                  <a:pt x="484" y="222"/>
                </a:cubicBezTo>
                <a:cubicBezTo>
                  <a:pt x="485" y="222"/>
                  <a:pt x="483" y="221"/>
                  <a:pt x="483" y="221"/>
                </a:cubicBezTo>
                <a:cubicBezTo>
                  <a:pt x="482" y="220"/>
                  <a:pt x="481" y="220"/>
                  <a:pt x="481" y="219"/>
                </a:cubicBezTo>
                <a:cubicBezTo>
                  <a:pt x="481" y="219"/>
                  <a:pt x="481" y="219"/>
                  <a:pt x="480" y="219"/>
                </a:cubicBezTo>
                <a:cubicBezTo>
                  <a:pt x="480" y="219"/>
                  <a:pt x="480" y="218"/>
                  <a:pt x="480" y="218"/>
                </a:cubicBezTo>
                <a:cubicBezTo>
                  <a:pt x="480" y="218"/>
                  <a:pt x="480" y="217"/>
                  <a:pt x="479" y="217"/>
                </a:cubicBezTo>
                <a:cubicBezTo>
                  <a:pt x="479" y="217"/>
                  <a:pt x="479" y="217"/>
                  <a:pt x="479" y="217"/>
                </a:cubicBezTo>
                <a:cubicBezTo>
                  <a:pt x="480" y="219"/>
                  <a:pt x="479" y="217"/>
                  <a:pt x="478" y="217"/>
                </a:cubicBezTo>
                <a:cubicBezTo>
                  <a:pt x="478" y="217"/>
                  <a:pt x="478" y="217"/>
                  <a:pt x="478" y="217"/>
                </a:cubicBezTo>
                <a:cubicBezTo>
                  <a:pt x="478" y="217"/>
                  <a:pt x="479" y="217"/>
                  <a:pt x="479" y="217"/>
                </a:cubicBezTo>
                <a:cubicBezTo>
                  <a:pt x="479" y="216"/>
                  <a:pt x="479" y="216"/>
                  <a:pt x="479" y="215"/>
                </a:cubicBezTo>
                <a:cubicBezTo>
                  <a:pt x="480" y="215"/>
                  <a:pt x="480" y="215"/>
                  <a:pt x="480" y="215"/>
                </a:cubicBezTo>
                <a:cubicBezTo>
                  <a:pt x="480" y="214"/>
                  <a:pt x="480" y="214"/>
                  <a:pt x="480" y="214"/>
                </a:cubicBezTo>
                <a:cubicBezTo>
                  <a:pt x="480" y="214"/>
                  <a:pt x="481" y="214"/>
                  <a:pt x="481" y="214"/>
                </a:cubicBezTo>
                <a:cubicBezTo>
                  <a:pt x="481" y="214"/>
                  <a:pt x="481" y="213"/>
                  <a:pt x="482" y="214"/>
                </a:cubicBezTo>
                <a:cubicBezTo>
                  <a:pt x="482" y="214"/>
                  <a:pt x="482" y="214"/>
                  <a:pt x="481" y="214"/>
                </a:cubicBezTo>
                <a:cubicBezTo>
                  <a:pt x="482" y="214"/>
                  <a:pt x="482" y="214"/>
                  <a:pt x="483" y="213"/>
                </a:cubicBezTo>
                <a:cubicBezTo>
                  <a:pt x="483" y="213"/>
                  <a:pt x="482" y="213"/>
                  <a:pt x="482" y="213"/>
                </a:cubicBezTo>
                <a:cubicBezTo>
                  <a:pt x="483" y="213"/>
                  <a:pt x="483" y="213"/>
                  <a:pt x="483" y="213"/>
                </a:cubicBezTo>
                <a:cubicBezTo>
                  <a:pt x="483" y="213"/>
                  <a:pt x="484" y="213"/>
                  <a:pt x="484" y="212"/>
                </a:cubicBezTo>
                <a:cubicBezTo>
                  <a:pt x="484" y="212"/>
                  <a:pt x="484" y="212"/>
                  <a:pt x="485" y="212"/>
                </a:cubicBezTo>
                <a:cubicBezTo>
                  <a:pt x="485" y="212"/>
                  <a:pt x="485" y="212"/>
                  <a:pt x="485" y="212"/>
                </a:cubicBezTo>
                <a:cubicBezTo>
                  <a:pt x="486" y="211"/>
                  <a:pt x="486" y="211"/>
                  <a:pt x="487" y="211"/>
                </a:cubicBezTo>
                <a:cubicBezTo>
                  <a:pt x="487" y="211"/>
                  <a:pt x="488" y="210"/>
                  <a:pt x="488" y="210"/>
                </a:cubicBezTo>
                <a:cubicBezTo>
                  <a:pt x="488" y="210"/>
                  <a:pt x="488" y="210"/>
                  <a:pt x="488" y="210"/>
                </a:cubicBezTo>
                <a:cubicBezTo>
                  <a:pt x="488" y="210"/>
                  <a:pt x="489" y="210"/>
                  <a:pt x="490" y="209"/>
                </a:cubicBezTo>
                <a:cubicBezTo>
                  <a:pt x="489" y="209"/>
                  <a:pt x="489" y="209"/>
                  <a:pt x="488" y="209"/>
                </a:cubicBezTo>
                <a:cubicBezTo>
                  <a:pt x="489" y="209"/>
                  <a:pt x="489" y="208"/>
                  <a:pt x="489" y="208"/>
                </a:cubicBezTo>
                <a:cubicBezTo>
                  <a:pt x="490" y="208"/>
                  <a:pt x="491" y="208"/>
                  <a:pt x="491" y="207"/>
                </a:cubicBezTo>
                <a:cubicBezTo>
                  <a:pt x="490" y="207"/>
                  <a:pt x="491" y="207"/>
                  <a:pt x="491" y="206"/>
                </a:cubicBezTo>
                <a:cubicBezTo>
                  <a:pt x="491" y="206"/>
                  <a:pt x="491" y="206"/>
                  <a:pt x="492" y="206"/>
                </a:cubicBezTo>
                <a:cubicBezTo>
                  <a:pt x="492" y="206"/>
                  <a:pt x="493" y="206"/>
                  <a:pt x="493" y="207"/>
                </a:cubicBezTo>
                <a:cubicBezTo>
                  <a:pt x="493" y="208"/>
                  <a:pt x="493" y="208"/>
                  <a:pt x="494" y="208"/>
                </a:cubicBezTo>
                <a:cubicBezTo>
                  <a:pt x="494" y="207"/>
                  <a:pt x="493" y="207"/>
                  <a:pt x="493" y="207"/>
                </a:cubicBezTo>
                <a:cubicBezTo>
                  <a:pt x="493" y="207"/>
                  <a:pt x="493" y="207"/>
                  <a:pt x="493" y="207"/>
                </a:cubicBezTo>
                <a:cubicBezTo>
                  <a:pt x="493" y="206"/>
                  <a:pt x="493" y="206"/>
                  <a:pt x="493" y="206"/>
                </a:cubicBezTo>
                <a:cubicBezTo>
                  <a:pt x="493" y="206"/>
                  <a:pt x="494" y="205"/>
                  <a:pt x="495" y="205"/>
                </a:cubicBezTo>
                <a:cubicBezTo>
                  <a:pt x="496" y="205"/>
                  <a:pt x="496" y="204"/>
                  <a:pt x="495" y="204"/>
                </a:cubicBezTo>
                <a:cubicBezTo>
                  <a:pt x="496" y="204"/>
                  <a:pt x="496" y="203"/>
                  <a:pt x="497" y="203"/>
                </a:cubicBezTo>
                <a:cubicBezTo>
                  <a:pt x="497" y="203"/>
                  <a:pt x="497" y="203"/>
                  <a:pt x="497" y="203"/>
                </a:cubicBezTo>
                <a:cubicBezTo>
                  <a:pt x="497" y="203"/>
                  <a:pt x="497" y="203"/>
                  <a:pt x="498" y="203"/>
                </a:cubicBezTo>
                <a:cubicBezTo>
                  <a:pt x="498" y="203"/>
                  <a:pt x="497" y="203"/>
                  <a:pt x="497" y="203"/>
                </a:cubicBezTo>
                <a:cubicBezTo>
                  <a:pt x="497" y="203"/>
                  <a:pt x="497" y="203"/>
                  <a:pt x="496" y="203"/>
                </a:cubicBezTo>
                <a:cubicBezTo>
                  <a:pt x="496" y="203"/>
                  <a:pt x="495" y="203"/>
                  <a:pt x="495" y="202"/>
                </a:cubicBezTo>
                <a:cubicBezTo>
                  <a:pt x="495" y="202"/>
                  <a:pt x="495" y="202"/>
                  <a:pt x="496" y="202"/>
                </a:cubicBezTo>
                <a:cubicBezTo>
                  <a:pt x="496" y="202"/>
                  <a:pt x="496" y="202"/>
                  <a:pt x="496" y="202"/>
                </a:cubicBezTo>
                <a:cubicBezTo>
                  <a:pt x="496" y="202"/>
                  <a:pt x="496" y="201"/>
                  <a:pt x="496" y="201"/>
                </a:cubicBezTo>
                <a:cubicBezTo>
                  <a:pt x="496" y="201"/>
                  <a:pt x="497" y="201"/>
                  <a:pt x="496" y="201"/>
                </a:cubicBezTo>
                <a:cubicBezTo>
                  <a:pt x="496" y="200"/>
                  <a:pt x="496" y="200"/>
                  <a:pt x="497" y="200"/>
                </a:cubicBezTo>
                <a:cubicBezTo>
                  <a:pt x="496" y="200"/>
                  <a:pt x="496" y="200"/>
                  <a:pt x="496" y="200"/>
                </a:cubicBezTo>
                <a:cubicBezTo>
                  <a:pt x="496" y="200"/>
                  <a:pt x="497" y="200"/>
                  <a:pt x="496" y="200"/>
                </a:cubicBezTo>
                <a:cubicBezTo>
                  <a:pt x="496" y="199"/>
                  <a:pt x="496" y="199"/>
                  <a:pt x="496" y="199"/>
                </a:cubicBezTo>
                <a:cubicBezTo>
                  <a:pt x="497" y="198"/>
                  <a:pt x="498" y="198"/>
                  <a:pt x="499" y="198"/>
                </a:cubicBezTo>
                <a:cubicBezTo>
                  <a:pt x="499" y="197"/>
                  <a:pt x="497" y="198"/>
                  <a:pt x="497" y="197"/>
                </a:cubicBezTo>
                <a:cubicBezTo>
                  <a:pt x="497" y="196"/>
                  <a:pt x="499" y="196"/>
                  <a:pt x="499" y="196"/>
                </a:cubicBezTo>
                <a:cubicBezTo>
                  <a:pt x="499" y="195"/>
                  <a:pt x="498" y="196"/>
                  <a:pt x="498" y="196"/>
                </a:cubicBezTo>
                <a:cubicBezTo>
                  <a:pt x="499" y="195"/>
                  <a:pt x="500" y="195"/>
                  <a:pt x="500" y="195"/>
                </a:cubicBezTo>
                <a:cubicBezTo>
                  <a:pt x="499" y="195"/>
                  <a:pt x="498" y="195"/>
                  <a:pt x="497" y="196"/>
                </a:cubicBezTo>
                <a:cubicBezTo>
                  <a:pt x="497" y="196"/>
                  <a:pt x="497" y="195"/>
                  <a:pt x="497" y="195"/>
                </a:cubicBezTo>
                <a:cubicBezTo>
                  <a:pt x="497" y="195"/>
                  <a:pt x="497" y="195"/>
                  <a:pt x="497" y="195"/>
                </a:cubicBezTo>
                <a:cubicBezTo>
                  <a:pt x="497" y="195"/>
                  <a:pt x="497" y="195"/>
                  <a:pt x="497" y="195"/>
                </a:cubicBezTo>
                <a:cubicBezTo>
                  <a:pt x="497" y="195"/>
                  <a:pt x="496" y="195"/>
                  <a:pt x="495" y="195"/>
                </a:cubicBezTo>
                <a:cubicBezTo>
                  <a:pt x="496" y="194"/>
                  <a:pt x="498" y="193"/>
                  <a:pt x="499" y="193"/>
                </a:cubicBezTo>
                <a:cubicBezTo>
                  <a:pt x="500" y="192"/>
                  <a:pt x="500" y="192"/>
                  <a:pt x="501" y="191"/>
                </a:cubicBezTo>
                <a:cubicBezTo>
                  <a:pt x="501" y="191"/>
                  <a:pt x="502" y="191"/>
                  <a:pt x="501" y="191"/>
                </a:cubicBezTo>
                <a:cubicBezTo>
                  <a:pt x="501" y="191"/>
                  <a:pt x="502" y="189"/>
                  <a:pt x="503" y="189"/>
                </a:cubicBezTo>
                <a:cubicBezTo>
                  <a:pt x="503" y="189"/>
                  <a:pt x="503" y="189"/>
                  <a:pt x="503" y="189"/>
                </a:cubicBezTo>
                <a:cubicBezTo>
                  <a:pt x="504" y="189"/>
                  <a:pt x="504" y="189"/>
                  <a:pt x="504" y="188"/>
                </a:cubicBezTo>
                <a:cubicBezTo>
                  <a:pt x="504" y="188"/>
                  <a:pt x="503" y="188"/>
                  <a:pt x="504" y="188"/>
                </a:cubicBezTo>
                <a:cubicBezTo>
                  <a:pt x="504" y="188"/>
                  <a:pt x="505" y="188"/>
                  <a:pt x="505" y="188"/>
                </a:cubicBezTo>
                <a:cubicBezTo>
                  <a:pt x="505" y="187"/>
                  <a:pt x="504" y="187"/>
                  <a:pt x="504" y="187"/>
                </a:cubicBezTo>
                <a:cubicBezTo>
                  <a:pt x="504" y="187"/>
                  <a:pt x="505" y="187"/>
                  <a:pt x="505" y="187"/>
                </a:cubicBezTo>
                <a:cubicBezTo>
                  <a:pt x="505" y="187"/>
                  <a:pt x="504" y="187"/>
                  <a:pt x="504" y="187"/>
                </a:cubicBezTo>
                <a:cubicBezTo>
                  <a:pt x="504" y="187"/>
                  <a:pt x="504" y="186"/>
                  <a:pt x="504" y="186"/>
                </a:cubicBezTo>
                <a:cubicBezTo>
                  <a:pt x="504" y="186"/>
                  <a:pt x="503" y="186"/>
                  <a:pt x="503" y="186"/>
                </a:cubicBezTo>
                <a:cubicBezTo>
                  <a:pt x="502" y="186"/>
                  <a:pt x="503" y="185"/>
                  <a:pt x="503" y="185"/>
                </a:cubicBezTo>
                <a:cubicBezTo>
                  <a:pt x="503" y="185"/>
                  <a:pt x="503" y="185"/>
                  <a:pt x="503" y="184"/>
                </a:cubicBezTo>
                <a:cubicBezTo>
                  <a:pt x="503" y="184"/>
                  <a:pt x="503" y="184"/>
                  <a:pt x="503" y="183"/>
                </a:cubicBezTo>
                <a:cubicBezTo>
                  <a:pt x="504" y="183"/>
                  <a:pt x="504" y="182"/>
                  <a:pt x="504" y="182"/>
                </a:cubicBezTo>
                <a:cubicBezTo>
                  <a:pt x="505" y="180"/>
                  <a:pt x="506" y="180"/>
                  <a:pt x="507" y="179"/>
                </a:cubicBezTo>
                <a:cubicBezTo>
                  <a:pt x="508" y="179"/>
                  <a:pt x="509" y="179"/>
                  <a:pt x="509" y="179"/>
                </a:cubicBezTo>
                <a:cubicBezTo>
                  <a:pt x="510" y="179"/>
                  <a:pt x="510" y="178"/>
                  <a:pt x="511" y="178"/>
                </a:cubicBezTo>
                <a:cubicBezTo>
                  <a:pt x="511" y="178"/>
                  <a:pt x="512" y="177"/>
                  <a:pt x="513" y="177"/>
                </a:cubicBezTo>
                <a:cubicBezTo>
                  <a:pt x="513" y="178"/>
                  <a:pt x="514" y="178"/>
                  <a:pt x="514" y="178"/>
                </a:cubicBezTo>
                <a:cubicBezTo>
                  <a:pt x="516" y="178"/>
                  <a:pt x="517" y="178"/>
                  <a:pt x="518" y="179"/>
                </a:cubicBezTo>
                <a:cubicBezTo>
                  <a:pt x="519" y="179"/>
                  <a:pt x="520" y="179"/>
                  <a:pt x="520" y="179"/>
                </a:cubicBezTo>
                <a:cubicBezTo>
                  <a:pt x="521" y="179"/>
                  <a:pt x="521" y="180"/>
                  <a:pt x="521" y="180"/>
                </a:cubicBezTo>
                <a:cubicBezTo>
                  <a:pt x="521" y="180"/>
                  <a:pt x="524" y="180"/>
                  <a:pt x="524" y="180"/>
                </a:cubicBezTo>
                <a:cubicBezTo>
                  <a:pt x="524" y="181"/>
                  <a:pt x="522" y="181"/>
                  <a:pt x="521" y="182"/>
                </a:cubicBezTo>
                <a:cubicBezTo>
                  <a:pt x="522" y="182"/>
                  <a:pt x="524" y="181"/>
                  <a:pt x="524" y="181"/>
                </a:cubicBezTo>
                <a:cubicBezTo>
                  <a:pt x="525" y="180"/>
                  <a:pt x="526" y="180"/>
                  <a:pt x="527" y="180"/>
                </a:cubicBezTo>
                <a:cubicBezTo>
                  <a:pt x="527" y="180"/>
                  <a:pt x="528" y="180"/>
                  <a:pt x="527" y="181"/>
                </a:cubicBezTo>
                <a:cubicBezTo>
                  <a:pt x="528" y="181"/>
                  <a:pt x="529" y="180"/>
                  <a:pt x="529" y="181"/>
                </a:cubicBezTo>
                <a:cubicBezTo>
                  <a:pt x="530" y="182"/>
                  <a:pt x="530" y="182"/>
                  <a:pt x="531" y="182"/>
                </a:cubicBezTo>
                <a:cubicBezTo>
                  <a:pt x="531" y="182"/>
                  <a:pt x="530" y="181"/>
                  <a:pt x="531" y="181"/>
                </a:cubicBezTo>
                <a:cubicBezTo>
                  <a:pt x="532" y="181"/>
                  <a:pt x="533" y="181"/>
                  <a:pt x="534" y="181"/>
                </a:cubicBezTo>
                <a:cubicBezTo>
                  <a:pt x="535" y="180"/>
                  <a:pt x="536" y="180"/>
                  <a:pt x="537" y="180"/>
                </a:cubicBezTo>
                <a:cubicBezTo>
                  <a:pt x="538" y="179"/>
                  <a:pt x="538" y="179"/>
                  <a:pt x="539" y="179"/>
                </a:cubicBezTo>
                <a:cubicBezTo>
                  <a:pt x="540" y="178"/>
                  <a:pt x="540" y="179"/>
                  <a:pt x="541" y="179"/>
                </a:cubicBezTo>
                <a:cubicBezTo>
                  <a:pt x="541" y="180"/>
                  <a:pt x="542" y="180"/>
                  <a:pt x="542" y="180"/>
                </a:cubicBezTo>
                <a:cubicBezTo>
                  <a:pt x="543" y="180"/>
                  <a:pt x="542" y="181"/>
                  <a:pt x="543" y="181"/>
                </a:cubicBezTo>
                <a:cubicBezTo>
                  <a:pt x="543" y="181"/>
                  <a:pt x="544" y="182"/>
                  <a:pt x="544" y="182"/>
                </a:cubicBezTo>
                <a:cubicBezTo>
                  <a:pt x="544" y="182"/>
                  <a:pt x="544" y="182"/>
                  <a:pt x="545" y="182"/>
                </a:cubicBezTo>
                <a:cubicBezTo>
                  <a:pt x="544" y="182"/>
                  <a:pt x="546" y="182"/>
                  <a:pt x="546" y="182"/>
                </a:cubicBezTo>
                <a:cubicBezTo>
                  <a:pt x="546" y="182"/>
                  <a:pt x="546" y="183"/>
                  <a:pt x="546" y="183"/>
                </a:cubicBezTo>
                <a:cubicBezTo>
                  <a:pt x="545" y="183"/>
                  <a:pt x="545" y="183"/>
                  <a:pt x="544" y="184"/>
                </a:cubicBezTo>
                <a:cubicBezTo>
                  <a:pt x="544" y="184"/>
                  <a:pt x="544" y="185"/>
                  <a:pt x="543" y="185"/>
                </a:cubicBezTo>
                <a:cubicBezTo>
                  <a:pt x="543" y="185"/>
                  <a:pt x="544" y="185"/>
                  <a:pt x="544" y="184"/>
                </a:cubicBezTo>
                <a:cubicBezTo>
                  <a:pt x="544" y="185"/>
                  <a:pt x="544" y="185"/>
                  <a:pt x="544" y="185"/>
                </a:cubicBezTo>
                <a:cubicBezTo>
                  <a:pt x="545" y="185"/>
                  <a:pt x="544" y="184"/>
                  <a:pt x="545" y="184"/>
                </a:cubicBezTo>
                <a:cubicBezTo>
                  <a:pt x="545" y="184"/>
                  <a:pt x="546" y="184"/>
                  <a:pt x="546" y="184"/>
                </a:cubicBezTo>
                <a:cubicBezTo>
                  <a:pt x="547" y="184"/>
                  <a:pt x="547" y="184"/>
                  <a:pt x="548" y="185"/>
                </a:cubicBezTo>
                <a:cubicBezTo>
                  <a:pt x="548" y="185"/>
                  <a:pt x="547" y="185"/>
                  <a:pt x="548" y="185"/>
                </a:cubicBezTo>
                <a:cubicBezTo>
                  <a:pt x="547" y="185"/>
                  <a:pt x="547" y="185"/>
                  <a:pt x="547" y="185"/>
                </a:cubicBezTo>
                <a:cubicBezTo>
                  <a:pt x="546" y="186"/>
                  <a:pt x="548" y="186"/>
                  <a:pt x="548" y="186"/>
                </a:cubicBezTo>
                <a:cubicBezTo>
                  <a:pt x="549" y="186"/>
                  <a:pt x="547" y="187"/>
                  <a:pt x="547" y="187"/>
                </a:cubicBezTo>
                <a:cubicBezTo>
                  <a:pt x="546" y="187"/>
                  <a:pt x="546" y="187"/>
                  <a:pt x="545" y="187"/>
                </a:cubicBezTo>
                <a:cubicBezTo>
                  <a:pt x="546" y="187"/>
                  <a:pt x="547" y="187"/>
                  <a:pt x="548" y="187"/>
                </a:cubicBezTo>
                <a:cubicBezTo>
                  <a:pt x="548" y="187"/>
                  <a:pt x="548" y="187"/>
                  <a:pt x="548" y="186"/>
                </a:cubicBezTo>
                <a:cubicBezTo>
                  <a:pt x="548" y="186"/>
                  <a:pt x="548" y="186"/>
                  <a:pt x="548" y="186"/>
                </a:cubicBezTo>
                <a:cubicBezTo>
                  <a:pt x="549" y="186"/>
                  <a:pt x="551" y="187"/>
                  <a:pt x="551" y="187"/>
                </a:cubicBezTo>
                <a:cubicBezTo>
                  <a:pt x="550" y="188"/>
                  <a:pt x="549" y="188"/>
                  <a:pt x="548" y="188"/>
                </a:cubicBezTo>
                <a:cubicBezTo>
                  <a:pt x="549" y="188"/>
                  <a:pt x="548" y="188"/>
                  <a:pt x="549" y="188"/>
                </a:cubicBezTo>
                <a:cubicBezTo>
                  <a:pt x="548" y="189"/>
                  <a:pt x="548" y="189"/>
                  <a:pt x="547" y="189"/>
                </a:cubicBezTo>
                <a:cubicBezTo>
                  <a:pt x="548" y="189"/>
                  <a:pt x="549" y="189"/>
                  <a:pt x="549" y="189"/>
                </a:cubicBezTo>
                <a:cubicBezTo>
                  <a:pt x="549" y="189"/>
                  <a:pt x="548" y="189"/>
                  <a:pt x="547" y="189"/>
                </a:cubicBezTo>
                <a:cubicBezTo>
                  <a:pt x="547" y="189"/>
                  <a:pt x="548" y="190"/>
                  <a:pt x="548" y="190"/>
                </a:cubicBezTo>
                <a:cubicBezTo>
                  <a:pt x="547" y="190"/>
                  <a:pt x="547" y="190"/>
                  <a:pt x="547" y="190"/>
                </a:cubicBezTo>
                <a:cubicBezTo>
                  <a:pt x="548" y="190"/>
                  <a:pt x="549" y="190"/>
                  <a:pt x="548" y="190"/>
                </a:cubicBezTo>
                <a:cubicBezTo>
                  <a:pt x="548" y="191"/>
                  <a:pt x="548" y="191"/>
                  <a:pt x="548" y="191"/>
                </a:cubicBezTo>
                <a:cubicBezTo>
                  <a:pt x="548" y="191"/>
                  <a:pt x="548" y="191"/>
                  <a:pt x="548" y="191"/>
                </a:cubicBezTo>
                <a:cubicBezTo>
                  <a:pt x="548" y="191"/>
                  <a:pt x="548" y="192"/>
                  <a:pt x="548" y="192"/>
                </a:cubicBezTo>
                <a:cubicBezTo>
                  <a:pt x="549" y="192"/>
                  <a:pt x="548" y="191"/>
                  <a:pt x="549" y="191"/>
                </a:cubicBezTo>
                <a:cubicBezTo>
                  <a:pt x="549" y="191"/>
                  <a:pt x="549" y="192"/>
                  <a:pt x="549" y="192"/>
                </a:cubicBezTo>
                <a:cubicBezTo>
                  <a:pt x="550" y="192"/>
                  <a:pt x="550" y="192"/>
                  <a:pt x="551" y="192"/>
                </a:cubicBezTo>
                <a:cubicBezTo>
                  <a:pt x="551" y="192"/>
                  <a:pt x="551" y="192"/>
                  <a:pt x="551" y="192"/>
                </a:cubicBezTo>
                <a:cubicBezTo>
                  <a:pt x="551" y="192"/>
                  <a:pt x="553" y="192"/>
                  <a:pt x="552" y="192"/>
                </a:cubicBezTo>
                <a:cubicBezTo>
                  <a:pt x="553" y="192"/>
                  <a:pt x="553" y="193"/>
                  <a:pt x="553" y="193"/>
                </a:cubicBezTo>
                <a:cubicBezTo>
                  <a:pt x="554" y="193"/>
                  <a:pt x="554" y="192"/>
                  <a:pt x="554" y="192"/>
                </a:cubicBezTo>
                <a:cubicBezTo>
                  <a:pt x="554" y="192"/>
                  <a:pt x="555" y="193"/>
                  <a:pt x="554" y="193"/>
                </a:cubicBezTo>
                <a:cubicBezTo>
                  <a:pt x="554" y="193"/>
                  <a:pt x="555" y="193"/>
                  <a:pt x="555" y="193"/>
                </a:cubicBezTo>
                <a:cubicBezTo>
                  <a:pt x="555" y="193"/>
                  <a:pt x="555" y="193"/>
                  <a:pt x="555" y="193"/>
                </a:cubicBezTo>
                <a:cubicBezTo>
                  <a:pt x="556" y="193"/>
                  <a:pt x="556" y="193"/>
                  <a:pt x="556" y="193"/>
                </a:cubicBezTo>
                <a:cubicBezTo>
                  <a:pt x="557" y="192"/>
                  <a:pt x="556" y="192"/>
                  <a:pt x="557" y="192"/>
                </a:cubicBezTo>
                <a:cubicBezTo>
                  <a:pt x="557" y="193"/>
                  <a:pt x="557" y="192"/>
                  <a:pt x="557" y="192"/>
                </a:cubicBezTo>
                <a:cubicBezTo>
                  <a:pt x="557" y="192"/>
                  <a:pt x="558" y="192"/>
                  <a:pt x="559" y="193"/>
                </a:cubicBezTo>
                <a:cubicBezTo>
                  <a:pt x="559" y="193"/>
                  <a:pt x="558" y="193"/>
                  <a:pt x="558" y="193"/>
                </a:cubicBezTo>
                <a:cubicBezTo>
                  <a:pt x="558" y="193"/>
                  <a:pt x="558" y="193"/>
                  <a:pt x="558" y="193"/>
                </a:cubicBezTo>
                <a:cubicBezTo>
                  <a:pt x="558" y="193"/>
                  <a:pt x="558" y="193"/>
                  <a:pt x="558" y="194"/>
                </a:cubicBezTo>
                <a:cubicBezTo>
                  <a:pt x="558" y="194"/>
                  <a:pt x="558" y="194"/>
                  <a:pt x="557" y="194"/>
                </a:cubicBezTo>
                <a:cubicBezTo>
                  <a:pt x="558" y="194"/>
                  <a:pt x="559" y="196"/>
                  <a:pt x="559" y="195"/>
                </a:cubicBezTo>
                <a:cubicBezTo>
                  <a:pt x="559" y="195"/>
                  <a:pt x="559" y="195"/>
                  <a:pt x="559" y="195"/>
                </a:cubicBezTo>
                <a:cubicBezTo>
                  <a:pt x="559" y="194"/>
                  <a:pt x="560" y="194"/>
                  <a:pt x="561" y="194"/>
                </a:cubicBezTo>
                <a:cubicBezTo>
                  <a:pt x="560" y="194"/>
                  <a:pt x="561" y="194"/>
                  <a:pt x="561" y="194"/>
                </a:cubicBezTo>
                <a:cubicBezTo>
                  <a:pt x="561" y="194"/>
                  <a:pt x="561" y="193"/>
                  <a:pt x="562" y="193"/>
                </a:cubicBezTo>
                <a:cubicBezTo>
                  <a:pt x="562" y="193"/>
                  <a:pt x="563" y="192"/>
                  <a:pt x="563" y="193"/>
                </a:cubicBezTo>
                <a:cubicBezTo>
                  <a:pt x="563" y="193"/>
                  <a:pt x="563" y="194"/>
                  <a:pt x="563" y="194"/>
                </a:cubicBezTo>
                <a:cubicBezTo>
                  <a:pt x="563" y="194"/>
                  <a:pt x="563" y="195"/>
                  <a:pt x="563" y="195"/>
                </a:cubicBezTo>
                <a:cubicBezTo>
                  <a:pt x="562" y="195"/>
                  <a:pt x="562" y="195"/>
                  <a:pt x="561" y="196"/>
                </a:cubicBezTo>
                <a:cubicBezTo>
                  <a:pt x="561" y="196"/>
                  <a:pt x="560" y="196"/>
                  <a:pt x="560" y="196"/>
                </a:cubicBezTo>
                <a:cubicBezTo>
                  <a:pt x="559" y="197"/>
                  <a:pt x="560" y="197"/>
                  <a:pt x="559" y="198"/>
                </a:cubicBezTo>
                <a:cubicBezTo>
                  <a:pt x="558" y="198"/>
                  <a:pt x="558" y="198"/>
                  <a:pt x="558" y="199"/>
                </a:cubicBezTo>
                <a:cubicBezTo>
                  <a:pt x="558" y="199"/>
                  <a:pt x="557" y="199"/>
                  <a:pt x="557" y="200"/>
                </a:cubicBezTo>
                <a:cubicBezTo>
                  <a:pt x="557" y="200"/>
                  <a:pt x="557" y="201"/>
                  <a:pt x="557" y="201"/>
                </a:cubicBezTo>
                <a:cubicBezTo>
                  <a:pt x="558" y="201"/>
                  <a:pt x="557" y="201"/>
                  <a:pt x="557" y="201"/>
                </a:cubicBezTo>
                <a:cubicBezTo>
                  <a:pt x="558" y="201"/>
                  <a:pt x="557" y="202"/>
                  <a:pt x="557" y="202"/>
                </a:cubicBezTo>
                <a:cubicBezTo>
                  <a:pt x="556" y="202"/>
                  <a:pt x="556" y="203"/>
                  <a:pt x="556" y="203"/>
                </a:cubicBezTo>
                <a:cubicBezTo>
                  <a:pt x="556" y="203"/>
                  <a:pt x="555" y="202"/>
                  <a:pt x="555" y="203"/>
                </a:cubicBezTo>
                <a:cubicBezTo>
                  <a:pt x="555" y="203"/>
                  <a:pt x="555" y="203"/>
                  <a:pt x="555" y="203"/>
                </a:cubicBezTo>
                <a:cubicBezTo>
                  <a:pt x="555" y="204"/>
                  <a:pt x="553" y="203"/>
                  <a:pt x="553" y="203"/>
                </a:cubicBezTo>
                <a:cubicBezTo>
                  <a:pt x="552" y="203"/>
                  <a:pt x="552" y="203"/>
                  <a:pt x="551" y="203"/>
                </a:cubicBezTo>
                <a:cubicBezTo>
                  <a:pt x="551" y="203"/>
                  <a:pt x="551" y="203"/>
                  <a:pt x="550" y="203"/>
                </a:cubicBezTo>
                <a:cubicBezTo>
                  <a:pt x="549" y="203"/>
                  <a:pt x="549" y="203"/>
                  <a:pt x="548" y="203"/>
                </a:cubicBezTo>
                <a:cubicBezTo>
                  <a:pt x="547" y="203"/>
                  <a:pt x="546" y="202"/>
                  <a:pt x="546" y="203"/>
                </a:cubicBezTo>
                <a:cubicBezTo>
                  <a:pt x="546" y="203"/>
                  <a:pt x="547" y="203"/>
                  <a:pt x="547" y="203"/>
                </a:cubicBezTo>
                <a:cubicBezTo>
                  <a:pt x="547" y="203"/>
                  <a:pt x="548" y="203"/>
                  <a:pt x="547" y="203"/>
                </a:cubicBezTo>
                <a:cubicBezTo>
                  <a:pt x="548" y="203"/>
                  <a:pt x="549" y="204"/>
                  <a:pt x="549" y="204"/>
                </a:cubicBezTo>
                <a:cubicBezTo>
                  <a:pt x="550" y="203"/>
                  <a:pt x="551" y="203"/>
                  <a:pt x="551" y="203"/>
                </a:cubicBezTo>
                <a:cubicBezTo>
                  <a:pt x="552" y="203"/>
                  <a:pt x="552" y="204"/>
                  <a:pt x="553" y="204"/>
                </a:cubicBezTo>
                <a:cubicBezTo>
                  <a:pt x="554" y="204"/>
                  <a:pt x="555" y="203"/>
                  <a:pt x="555" y="204"/>
                </a:cubicBezTo>
                <a:cubicBezTo>
                  <a:pt x="555" y="204"/>
                  <a:pt x="555" y="204"/>
                  <a:pt x="555" y="204"/>
                </a:cubicBezTo>
                <a:cubicBezTo>
                  <a:pt x="555" y="204"/>
                  <a:pt x="555" y="204"/>
                  <a:pt x="556" y="205"/>
                </a:cubicBezTo>
                <a:cubicBezTo>
                  <a:pt x="556" y="205"/>
                  <a:pt x="555" y="205"/>
                  <a:pt x="555" y="205"/>
                </a:cubicBezTo>
                <a:cubicBezTo>
                  <a:pt x="555" y="206"/>
                  <a:pt x="555" y="206"/>
                  <a:pt x="555" y="206"/>
                </a:cubicBezTo>
                <a:cubicBezTo>
                  <a:pt x="554" y="206"/>
                  <a:pt x="555" y="206"/>
                  <a:pt x="555" y="207"/>
                </a:cubicBezTo>
                <a:cubicBezTo>
                  <a:pt x="555" y="207"/>
                  <a:pt x="552" y="208"/>
                  <a:pt x="552" y="208"/>
                </a:cubicBezTo>
                <a:cubicBezTo>
                  <a:pt x="552" y="209"/>
                  <a:pt x="553" y="209"/>
                  <a:pt x="553" y="209"/>
                </a:cubicBezTo>
                <a:cubicBezTo>
                  <a:pt x="553" y="209"/>
                  <a:pt x="552" y="210"/>
                  <a:pt x="552" y="210"/>
                </a:cubicBezTo>
                <a:cubicBezTo>
                  <a:pt x="552" y="210"/>
                  <a:pt x="551" y="210"/>
                  <a:pt x="551" y="210"/>
                </a:cubicBezTo>
                <a:cubicBezTo>
                  <a:pt x="552" y="211"/>
                  <a:pt x="553" y="210"/>
                  <a:pt x="553" y="210"/>
                </a:cubicBezTo>
                <a:cubicBezTo>
                  <a:pt x="554" y="210"/>
                  <a:pt x="555" y="210"/>
                  <a:pt x="554" y="210"/>
                </a:cubicBezTo>
                <a:cubicBezTo>
                  <a:pt x="554" y="210"/>
                  <a:pt x="555" y="210"/>
                  <a:pt x="555" y="210"/>
                </a:cubicBezTo>
                <a:cubicBezTo>
                  <a:pt x="555" y="210"/>
                  <a:pt x="555" y="211"/>
                  <a:pt x="554" y="211"/>
                </a:cubicBezTo>
                <a:cubicBezTo>
                  <a:pt x="554" y="211"/>
                  <a:pt x="554" y="211"/>
                  <a:pt x="554" y="211"/>
                </a:cubicBezTo>
                <a:cubicBezTo>
                  <a:pt x="554" y="211"/>
                  <a:pt x="554" y="211"/>
                  <a:pt x="553" y="211"/>
                </a:cubicBezTo>
                <a:cubicBezTo>
                  <a:pt x="553" y="211"/>
                  <a:pt x="552" y="211"/>
                  <a:pt x="552" y="212"/>
                </a:cubicBezTo>
                <a:cubicBezTo>
                  <a:pt x="552" y="212"/>
                  <a:pt x="553" y="212"/>
                  <a:pt x="553" y="212"/>
                </a:cubicBezTo>
                <a:cubicBezTo>
                  <a:pt x="553" y="212"/>
                  <a:pt x="552" y="213"/>
                  <a:pt x="552" y="213"/>
                </a:cubicBezTo>
                <a:cubicBezTo>
                  <a:pt x="552" y="213"/>
                  <a:pt x="552" y="213"/>
                  <a:pt x="552" y="213"/>
                </a:cubicBezTo>
                <a:cubicBezTo>
                  <a:pt x="551" y="213"/>
                  <a:pt x="552" y="214"/>
                  <a:pt x="551" y="214"/>
                </a:cubicBezTo>
                <a:cubicBezTo>
                  <a:pt x="550" y="215"/>
                  <a:pt x="550" y="215"/>
                  <a:pt x="550" y="215"/>
                </a:cubicBezTo>
                <a:cubicBezTo>
                  <a:pt x="549" y="216"/>
                  <a:pt x="549" y="215"/>
                  <a:pt x="549" y="215"/>
                </a:cubicBezTo>
                <a:cubicBezTo>
                  <a:pt x="549" y="214"/>
                  <a:pt x="550" y="214"/>
                  <a:pt x="549" y="214"/>
                </a:cubicBezTo>
                <a:cubicBezTo>
                  <a:pt x="550" y="214"/>
                  <a:pt x="549" y="213"/>
                  <a:pt x="549" y="213"/>
                </a:cubicBezTo>
                <a:cubicBezTo>
                  <a:pt x="549" y="214"/>
                  <a:pt x="549" y="213"/>
                  <a:pt x="549" y="213"/>
                </a:cubicBezTo>
                <a:cubicBezTo>
                  <a:pt x="548" y="213"/>
                  <a:pt x="548" y="214"/>
                  <a:pt x="548" y="214"/>
                </a:cubicBezTo>
                <a:cubicBezTo>
                  <a:pt x="549" y="214"/>
                  <a:pt x="548" y="215"/>
                  <a:pt x="548" y="215"/>
                </a:cubicBezTo>
                <a:cubicBezTo>
                  <a:pt x="548" y="215"/>
                  <a:pt x="548" y="215"/>
                  <a:pt x="547" y="215"/>
                </a:cubicBezTo>
                <a:cubicBezTo>
                  <a:pt x="547" y="215"/>
                  <a:pt x="547" y="215"/>
                  <a:pt x="547" y="215"/>
                </a:cubicBezTo>
                <a:cubicBezTo>
                  <a:pt x="547" y="215"/>
                  <a:pt x="546" y="215"/>
                  <a:pt x="546" y="215"/>
                </a:cubicBezTo>
                <a:cubicBezTo>
                  <a:pt x="545" y="215"/>
                  <a:pt x="545" y="215"/>
                  <a:pt x="544" y="216"/>
                </a:cubicBezTo>
                <a:cubicBezTo>
                  <a:pt x="545" y="216"/>
                  <a:pt x="545" y="216"/>
                  <a:pt x="546" y="216"/>
                </a:cubicBezTo>
                <a:cubicBezTo>
                  <a:pt x="546" y="216"/>
                  <a:pt x="546" y="216"/>
                  <a:pt x="547" y="216"/>
                </a:cubicBezTo>
                <a:cubicBezTo>
                  <a:pt x="547" y="216"/>
                  <a:pt x="546" y="216"/>
                  <a:pt x="546" y="216"/>
                </a:cubicBezTo>
                <a:cubicBezTo>
                  <a:pt x="546" y="216"/>
                  <a:pt x="547" y="216"/>
                  <a:pt x="547" y="216"/>
                </a:cubicBezTo>
                <a:cubicBezTo>
                  <a:pt x="547" y="217"/>
                  <a:pt x="547" y="217"/>
                  <a:pt x="547" y="217"/>
                </a:cubicBezTo>
                <a:cubicBezTo>
                  <a:pt x="546" y="217"/>
                  <a:pt x="546" y="217"/>
                  <a:pt x="547" y="217"/>
                </a:cubicBezTo>
                <a:cubicBezTo>
                  <a:pt x="547" y="217"/>
                  <a:pt x="547" y="217"/>
                  <a:pt x="548" y="217"/>
                </a:cubicBezTo>
                <a:cubicBezTo>
                  <a:pt x="548" y="216"/>
                  <a:pt x="548" y="216"/>
                  <a:pt x="549" y="216"/>
                </a:cubicBezTo>
                <a:cubicBezTo>
                  <a:pt x="549" y="216"/>
                  <a:pt x="550" y="216"/>
                  <a:pt x="550" y="215"/>
                </a:cubicBezTo>
                <a:cubicBezTo>
                  <a:pt x="551" y="215"/>
                  <a:pt x="552" y="215"/>
                  <a:pt x="553" y="214"/>
                </a:cubicBezTo>
                <a:cubicBezTo>
                  <a:pt x="553" y="214"/>
                  <a:pt x="554" y="214"/>
                  <a:pt x="555" y="214"/>
                </a:cubicBezTo>
                <a:cubicBezTo>
                  <a:pt x="554" y="215"/>
                  <a:pt x="556" y="214"/>
                  <a:pt x="557" y="214"/>
                </a:cubicBezTo>
                <a:cubicBezTo>
                  <a:pt x="557" y="214"/>
                  <a:pt x="558" y="214"/>
                  <a:pt x="558" y="215"/>
                </a:cubicBezTo>
                <a:cubicBezTo>
                  <a:pt x="558" y="215"/>
                  <a:pt x="559" y="215"/>
                  <a:pt x="559" y="216"/>
                </a:cubicBezTo>
                <a:cubicBezTo>
                  <a:pt x="559" y="216"/>
                  <a:pt x="558" y="217"/>
                  <a:pt x="558" y="217"/>
                </a:cubicBezTo>
                <a:cubicBezTo>
                  <a:pt x="558" y="217"/>
                  <a:pt x="559" y="218"/>
                  <a:pt x="559" y="218"/>
                </a:cubicBezTo>
                <a:cubicBezTo>
                  <a:pt x="559" y="218"/>
                  <a:pt x="558" y="218"/>
                  <a:pt x="558" y="218"/>
                </a:cubicBezTo>
                <a:cubicBezTo>
                  <a:pt x="558" y="218"/>
                  <a:pt x="559" y="218"/>
                  <a:pt x="559" y="218"/>
                </a:cubicBezTo>
                <a:cubicBezTo>
                  <a:pt x="558" y="219"/>
                  <a:pt x="557" y="220"/>
                  <a:pt x="556" y="221"/>
                </a:cubicBezTo>
                <a:cubicBezTo>
                  <a:pt x="555" y="222"/>
                  <a:pt x="555" y="223"/>
                  <a:pt x="553" y="223"/>
                </a:cubicBezTo>
                <a:cubicBezTo>
                  <a:pt x="551" y="224"/>
                  <a:pt x="548" y="224"/>
                  <a:pt x="545" y="226"/>
                </a:cubicBezTo>
                <a:cubicBezTo>
                  <a:pt x="547" y="225"/>
                  <a:pt x="549" y="224"/>
                  <a:pt x="551" y="224"/>
                </a:cubicBezTo>
                <a:cubicBezTo>
                  <a:pt x="553" y="223"/>
                  <a:pt x="555" y="223"/>
                  <a:pt x="556" y="222"/>
                </a:cubicBezTo>
                <a:cubicBezTo>
                  <a:pt x="556" y="221"/>
                  <a:pt x="557" y="221"/>
                  <a:pt x="558" y="220"/>
                </a:cubicBezTo>
                <a:cubicBezTo>
                  <a:pt x="558" y="220"/>
                  <a:pt x="558" y="219"/>
                  <a:pt x="559" y="218"/>
                </a:cubicBezTo>
                <a:cubicBezTo>
                  <a:pt x="560" y="218"/>
                  <a:pt x="560" y="218"/>
                  <a:pt x="560" y="218"/>
                </a:cubicBezTo>
                <a:cubicBezTo>
                  <a:pt x="561" y="217"/>
                  <a:pt x="561" y="218"/>
                  <a:pt x="561" y="218"/>
                </a:cubicBezTo>
                <a:cubicBezTo>
                  <a:pt x="561" y="218"/>
                  <a:pt x="561" y="219"/>
                  <a:pt x="560" y="219"/>
                </a:cubicBezTo>
                <a:cubicBezTo>
                  <a:pt x="560" y="219"/>
                  <a:pt x="560" y="220"/>
                  <a:pt x="560" y="220"/>
                </a:cubicBezTo>
                <a:cubicBezTo>
                  <a:pt x="559" y="222"/>
                  <a:pt x="558" y="222"/>
                  <a:pt x="557" y="223"/>
                </a:cubicBezTo>
                <a:cubicBezTo>
                  <a:pt x="558" y="223"/>
                  <a:pt x="558" y="221"/>
                  <a:pt x="559" y="221"/>
                </a:cubicBezTo>
                <a:cubicBezTo>
                  <a:pt x="560" y="221"/>
                  <a:pt x="560" y="221"/>
                  <a:pt x="561" y="220"/>
                </a:cubicBezTo>
                <a:cubicBezTo>
                  <a:pt x="561" y="219"/>
                  <a:pt x="562" y="218"/>
                  <a:pt x="562" y="219"/>
                </a:cubicBezTo>
                <a:cubicBezTo>
                  <a:pt x="563" y="219"/>
                  <a:pt x="561" y="220"/>
                  <a:pt x="561" y="221"/>
                </a:cubicBezTo>
                <a:cubicBezTo>
                  <a:pt x="562" y="221"/>
                  <a:pt x="561" y="222"/>
                  <a:pt x="561" y="222"/>
                </a:cubicBezTo>
                <a:cubicBezTo>
                  <a:pt x="560" y="222"/>
                  <a:pt x="560" y="223"/>
                  <a:pt x="560" y="223"/>
                </a:cubicBezTo>
                <a:cubicBezTo>
                  <a:pt x="560" y="223"/>
                  <a:pt x="559" y="224"/>
                  <a:pt x="559" y="224"/>
                </a:cubicBezTo>
                <a:cubicBezTo>
                  <a:pt x="560" y="224"/>
                  <a:pt x="560" y="224"/>
                  <a:pt x="560" y="223"/>
                </a:cubicBezTo>
                <a:cubicBezTo>
                  <a:pt x="560" y="223"/>
                  <a:pt x="560" y="223"/>
                  <a:pt x="561" y="223"/>
                </a:cubicBezTo>
                <a:cubicBezTo>
                  <a:pt x="561" y="223"/>
                  <a:pt x="561" y="223"/>
                  <a:pt x="561" y="222"/>
                </a:cubicBezTo>
                <a:cubicBezTo>
                  <a:pt x="561" y="222"/>
                  <a:pt x="562" y="221"/>
                  <a:pt x="563" y="221"/>
                </a:cubicBezTo>
                <a:cubicBezTo>
                  <a:pt x="564" y="220"/>
                  <a:pt x="565" y="220"/>
                  <a:pt x="566" y="220"/>
                </a:cubicBezTo>
                <a:cubicBezTo>
                  <a:pt x="566" y="219"/>
                  <a:pt x="566" y="220"/>
                  <a:pt x="567" y="220"/>
                </a:cubicBezTo>
                <a:cubicBezTo>
                  <a:pt x="567" y="219"/>
                  <a:pt x="567" y="219"/>
                  <a:pt x="567" y="219"/>
                </a:cubicBezTo>
                <a:cubicBezTo>
                  <a:pt x="568" y="219"/>
                  <a:pt x="568" y="218"/>
                  <a:pt x="569" y="218"/>
                </a:cubicBezTo>
                <a:cubicBezTo>
                  <a:pt x="569" y="219"/>
                  <a:pt x="568" y="219"/>
                  <a:pt x="569" y="219"/>
                </a:cubicBezTo>
                <a:cubicBezTo>
                  <a:pt x="570" y="219"/>
                  <a:pt x="570" y="218"/>
                  <a:pt x="570" y="218"/>
                </a:cubicBezTo>
                <a:cubicBezTo>
                  <a:pt x="570" y="218"/>
                  <a:pt x="571" y="219"/>
                  <a:pt x="571" y="218"/>
                </a:cubicBezTo>
                <a:cubicBezTo>
                  <a:pt x="571" y="218"/>
                  <a:pt x="571" y="218"/>
                  <a:pt x="571" y="218"/>
                </a:cubicBezTo>
                <a:cubicBezTo>
                  <a:pt x="572" y="218"/>
                  <a:pt x="572" y="217"/>
                  <a:pt x="572" y="217"/>
                </a:cubicBezTo>
                <a:cubicBezTo>
                  <a:pt x="572" y="216"/>
                  <a:pt x="574" y="216"/>
                  <a:pt x="574" y="216"/>
                </a:cubicBezTo>
                <a:cubicBezTo>
                  <a:pt x="574" y="215"/>
                  <a:pt x="575" y="214"/>
                  <a:pt x="575" y="215"/>
                </a:cubicBezTo>
                <a:cubicBezTo>
                  <a:pt x="575" y="215"/>
                  <a:pt x="576" y="216"/>
                  <a:pt x="576" y="216"/>
                </a:cubicBezTo>
                <a:cubicBezTo>
                  <a:pt x="576" y="216"/>
                  <a:pt x="576" y="217"/>
                  <a:pt x="576" y="217"/>
                </a:cubicBezTo>
                <a:cubicBezTo>
                  <a:pt x="577" y="217"/>
                  <a:pt x="577" y="217"/>
                  <a:pt x="577" y="217"/>
                </a:cubicBezTo>
                <a:cubicBezTo>
                  <a:pt x="577" y="217"/>
                  <a:pt x="577" y="217"/>
                  <a:pt x="577" y="217"/>
                </a:cubicBezTo>
                <a:cubicBezTo>
                  <a:pt x="577" y="218"/>
                  <a:pt x="577" y="218"/>
                  <a:pt x="576" y="218"/>
                </a:cubicBezTo>
                <a:cubicBezTo>
                  <a:pt x="576" y="218"/>
                  <a:pt x="576" y="218"/>
                  <a:pt x="576" y="219"/>
                </a:cubicBezTo>
                <a:cubicBezTo>
                  <a:pt x="576" y="219"/>
                  <a:pt x="576" y="219"/>
                  <a:pt x="575" y="219"/>
                </a:cubicBezTo>
                <a:cubicBezTo>
                  <a:pt x="575" y="220"/>
                  <a:pt x="574" y="220"/>
                  <a:pt x="575" y="220"/>
                </a:cubicBezTo>
                <a:cubicBezTo>
                  <a:pt x="575" y="220"/>
                  <a:pt x="576" y="219"/>
                  <a:pt x="576" y="219"/>
                </a:cubicBezTo>
                <a:cubicBezTo>
                  <a:pt x="576" y="219"/>
                  <a:pt x="576" y="219"/>
                  <a:pt x="577" y="218"/>
                </a:cubicBezTo>
                <a:cubicBezTo>
                  <a:pt x="577" y="218"/>
                  <a:pt x="577" y="217"/>
                  <a:pt x="578" y="218"/>
                </a:cubicBezTo>
                <a:cubicBezTo>
                  <a:pt x="578" y="217"/>
                  <a:pt x="577" y="217"/>
                  <a:pt x="577" y="216"/>
                </a:cubicBezTo>
                <a:cubicBezTo>
                  <a:pt x="577" y="216"/>
                  <a:pt x="577" y="217"/>
                  <a:pt x="577" y="216"/>
                </a:cubicBezTo>
                <a:cubicBezTo>
                  <a:pt x="577" y="216"/>
                  <a:pt x="577" y="216"/>
                  <a:pt x="577" y="216"/>
                </a:cubicBezTo>
                <a:cubicBezTo>
                  <a:pt x="577" y="214"/>
                  <a:pt x="579" y="215"/>
                  <a:pt x="580" y="215"/>
                </a:cubicBezTo>
                <a:cubicBezTo>
                  <a:pt x="579" y="215"/>
                  <a:pt x="578" y="215"/>
                  <a:pt x="578" y="214"/>
                </a:cubicBezTo>
                <a:cubicBezTo>
                  <a:pt x="579" y="214"/>
                  <a:pt x="580" y="214"/>
                  <a:pt x="580" y="213"/>
                </a:cubicBezTo>
                <a:cubicBezTo>
                  <a:pt x="580" y="213"/>
                  <a:pt x="581" y="214"/>
                  <a:pt x="581" y="214"/>
                </a:cubicBezTo>
                <a:cubicBezTo>
                  <a:pt x="581" y="214"/>
                  <a:pt x="581" y="213"/>
                  <a:pt x="580" y="213"/>
                </a:cubicBezTo>
                <a:cubicBezTo>
                  <a:pt x="581" y="213"/>
                  <a:pt x="581" y="213"/>
                  <a:pt x="581" y="213"/>
                </a:cubicBezTo>
                <a:cubicBezTo>
                  <a:pt x="582" y="213"/>
                  <a:pt x="582" y="214"/>
                  <a:pt x="583" y="213"/>
                </a:cubicBezTo>
                <a:cubicBezTo>
                  <a:pt x="583" y="213"/>
                  <a:pt x="582" y="213"/>
                  <a:pt x="583" y="213"/>
                </a:cubicBezTo>
                <a:cubicBezTo>
                  <a:pt x="583" y="213"/>
                  <a:pt x="584" y="213"/>
                  <a:pt x="584" y="213"/>
                </a:cubicBezTo>
                <a:cubicBezTo>
                  <a:pt x="584" y="213"/>
                  <a:pt x="583" y="212"/>
                  <a:pt x="583" y="212"/>
                </a:cubicBezTo>
                <a:cubicBezTo>
                  <a:pt x="582" y="212"/>
                  <a:pt x="582" y="213"/>
                  <a:pt x="582" y="212"/>
                </a:cubicBezTo>
                <a:cubicBezTo>
                  <a:pt x="582" y="212"/>
                  <a:pt x="582" y="212"/>
                  <a:pt x="582" y="211"/>
                </a:cubicBezTo>
                <a:cubicBezTo>
                  <a:pt x="582" y="211"/>
                  <a:pt x="583" y="210"/>
                  <a:pt x="583" y="211"/>
                </a:cubicBezTo>
                <a:cubicBezTo>
                  <a:pt x="583" y="211"/>
                  <a:pt x="583" y="211"/>
                  <a:pt x="583" y="211"/>
                </a:cubicBezTo>
                <a:cubicBezTo>
                  <a:pt x="583" y="211"/>
                  <a:pt x="584" y="211"/>
                  <a:pt x="584" y="211"/>
                </a:cubicBezTo>
                <a:cubicBezTo>
                  <a:pt x="584" y="211"/>
                  <a:pt x="584" y="209"/>
                  <a:pt x="584" y="210"/>
                </a:cubicBezTo>
                <a:cubicBezTo>
                  <a:pt x="584" y="210"/>
                  <a:pt x="585" y="211"/>
                  <a:pt x="585" y="210"/>
                </a:cubicBezTo>
                <a:cubicBezTo>
                  <a:pt x="585" y="210"/>
                  <a:pt x="585" y="209"/>
                  <a:pt x="586" y="209"/>
                </a:cubicBezTo>
                <a:cubicBezTo>
                  <a:pt x="586" y="209"/>
                  <a:pt x="585" y="209"/>
                  <a:pt x="585" y="209"/>
                </a:cubicBezTo>
                <a:cubicBezTo>
                  <a:pt x="585" y="209"/>
                  <a:pt x="585" y="209"/>
                  <a:pt x="585" y="208"/>
                </a:cubicBezTo>
                <a:cubicBezTo>
                  <a:pt x="586" y="208"/>
                  <a:pt x="587" y="208"/>
                  <a:pt x="587" y="209"/>
                </a:cubicBezTo>
                <a:cubicBezTo>
                  <a:pt x="588" y="209"/>
                  <a:pt x="588" y="210"/>
                  <a:pt x="589" y="209"/>
                </a:cubicBezTo>
                <a:cubicBezTo>
                  <a:pt x="588" y="209"/>
                  <a:pt x="588" y="209"/>
                  <a:pt x="588" y="209"/>
                </a:cubicBezTo>
                <a:cubicBezTo>
                  <a:pt x="588" y="209"/>
                  <a:pt x="588" y="208"/>
                  <a:pt x="588" y="208"/>
                </a:cubicBezTo>
                <a:cubicBezTo>
                  <a:pt x="587" y="208"/>
                  <a:pt x="587" y="208"/>
                  <a:pt x="586" y="208"/>
                </a:cubicBezTo>
                <a:cubicBezTo>
                  <a:pt x="586" y="208"/>
                  <a:pt x="586" y="206"/>
                  <a:pt x="586" y="206"/>
                </a:cubicBezTo>
                <a:cubicBezTo>
                  <a:pt x="587" y="206"/>
                  <a:pt x="587" y="206"/>
                  <a:pt x="587" y="205"/>
                </a:cubicBezTo>
                <a:cubicBezTo>
                  <a:pt x="588" y="206"/>
                  <a:pt x="588" y="205"/>
                  <a:pt x="588" y="205"/>
                </a:cubicBezTo>
                <a:cubicBezTo>
                  <a:pt x="589" y="205"/>
                  <a:pt x="590" y="206"/>
                  <a:pt x="591" y="206"/>
                </a:cubicBezTo>
                <a:cubicBezTo>
                  <a:pt x="590" y="206"/>
                  <a:pt x="590" y="205"/>
                  <a:pt x="589" y="205"/>
                </a:cubicBezTo>
                <a:cubicBezTo>
                  <a:pt x="590" y="205"/>
                  <a:pt x="590" y="204"/>
                  <a:pt x="590" y="204"/>
                </a:cubicBezTo>
                <a:cubicBezTo>
                  <a:pt x="590" y="204"/>
                  <a:pt x="590" y="204"/>
                  <a:pt x="590" y="204"/>
                </a:cubicBezTo>
                <a:cubicBezTo>
                  <a:pt x="591" y="204"/>
                  <a:pt x="590" y="204"/>
                  <a:pt x="590" y="204"/>
                </a:cubicBezTo>
                <a:cubicBezTo>
                  <a:pt x="590" y="204"/>
                  <a:pt x="590" y="204"/>
                  <a:pt x="591" y="204"/>
                </a:cubicBezTo>
                <a:cubicBezTo>
                  <a:pt x="591" y="204"/>
                  <a:pt x="591" y="204"/>
                  <a:pt x="591" y="204"/>
                </a:cubicBezTo>
                <a:cubicBezTo>
                  <a:pt x="591" y="204"/>
                  <a:pt x="591" y="203"/>
                  <a:pt x="591" y="203"/>
                </a:cubicBezTo>
                <a:cubicBezTo>
                  <a:pt x="592" y="203"/>
                  <a:pt x="591" y="203"/>
                  <a:pt x="591" y="203"/>
                </a:cubicBezTo>
                <a:cubicBezTo>
                  <a:pt x="591" y="203"/>
                  <a:pt x="592" y="203"/>
                  <a:pt x="592" y="202"/>
                </a:cubicBezTo>
                <a:cubicBezTo>
                  <a:pt x="592" y="202"/>
                  <a:pt x="593" y="202"/>
                  <a:pt x="593" y="202"/>
                </a:cubicBezTo>
                <a:cubicBezTo>
                  <a:pt x="593" y="201"/>
                  <a:pt x="594" y="201"/>
                  <a:pt x="594" y="201"/>
                </a:cubicBezTo>
                <a:cubicBezTo>
                  <a:pt x="594" y="201"/>
                  <a:pt x="594" y="201"/>
                  <a:pt x="594" y="201"/>
                </a:cubicBezTo>
                <a:cubicBezTo>
                  <a:pt x="594" y="200"/>
                  <a:pt x="595" y="200"/>
                  <a:pt x="595" y="200"/>
                </a:cubicBezTo>
                <a:cubicBezTo>
                  <a:pt x="595" y="200"/>
                  <a:pt x="595" y="199"/>
                  <a:pt x="596" y="200"/>
                </a:cubicBezTo>
                <a:cubicBezTo>
                  <a:pt x="597" y="200"/>
                  <a:pt x="598" y="200"/>
                  <a:pt x="598" y="201"/>
                </a:cubicBezTo>
                <a:cubicBezTo>
                  <a:pt x="597" y="201"/>
                  <a:pt x="596" y="200"/>
                  <a:pt x="595" y="201"/>
                </a:cubicBezTo>
                <a:cubicBezTo>
                  <a:pt x="596" y="201"/>
                  <a:pt x="597" y="200"/>
                  <a:pt x="597" y="201"/>
                </a:cubicBezTo>
                <a:cubicBezTo>
                  <a:pt x="597" y="201"/>
                  <a:pt x="597" y="201"/>
                  <a:pt x="596" y="201"/>
                </a:cubicBezTo>
                <a:cubicBezTo>
                  <a:pt x="597" y="202"/>
                  <a:pt x="597" y="201"/>
                  <a:pt x="598" y="201"/>
                </a:cubicBezTo>
                <a:cubicBezTo>
                  <a:pt x="597" y="201"/>
                  <a:pt x="598" y="201"/>
                  <a:pt x="597" y="202"/>
                </a:cubicBezTo>
                <a:cubicBezTo>
                  <a:pt x="597" y="202"/>
                  <a:pt x="597" y="202"/>
                  <a:pt x="597" y="202"/>
                </a:cubicBezTo>
                <a:cubicBezTo>
                  <a:pt x="596" y="203"/>
                  <a:pt x="596" y="202"/>
                  <a:pt x="595" y="203"/>
                </a:cubicBezTo>
                <a:cubicBezTo>
                  <a:pt x="595" y="203"/>
                  <a:pt x="594" y="203"/>
                  <a:pt x="593" y="203"/>
                </a:cubicBezTo>
                <a:cubicBezTo>
                  <a:pt x="593" y="203"/>
                  <a:pt x="594" y="203"/>
                  <a:pt x="594" y="203"/>
                </a:cubicBezTo>
                <a:cubicBezTo>
                  <a:pt x="595" y="203"/>
                  <a:pt x="596" y="203"/>
                  <a:pt x="596" y="203"/>
                </a:cubicBezTo>
                <a:cubicBezTo>
                  <a:pt x="596" y="203"/>
                  <a:pt x="598" y="202"/>
                  <a:pt x="598" y="202"/>
                </a:cubicBezTo>
                <a:cubicBezTo>
                  <a:pt x="598" y="202"/>
                  <a:pt x="597" y="202"/>
                  <a:pt x="597" y="202"/>
                </a:cubicBezTo>
                <a:cubicBezTo>
                  <a:pt x="597" y="203"/>
                  <a:pt x="597" y="203"/>
                  <a:pt x="597" y="203"/>
                </a:cubicBezTo>
                <a:cubicBezTo>
                  <a:pt x="597" y="203"/>
                  <a:pt x="596" y="203"/>
                  <a:pt x="596" y="203"/>
                </a:cubicBezTo>
                <a:cubicBezTo>
                  <a:pt x="596" y="203"/>
                  <a:pt x="597" y="203"/>
                  <a:pt x="596" y="203"/>
                </a:cubicBezTo>
                <a:cubicBezTo>
                  <a:pt x="596" y="204"/>
                  <a:pt x="596" y="204"/>
                  <a:pt x="595" y="204"/>
                </a:cubicBezTo>
                <a:cubicBezTo>
                  <a:pt x="596" y="204"/>
                  <a:pt x="597" y="204"/>
                  <a:pt x="597" y="204"/>
                </a:cubicBezTo>
                <a:cubicBezTo>
                  <a:pt x="597" y="203"/>
                  <a:pt x="598" y="203"/>
                  <a:pt x="598" y="203"/>
                </a:cubicBezTo>
                <a:cubicBezTo>
                  <a:pt x="598" y="203"/>
                  <a:pt x="597" y="203"/>
                  <a:pt x="597" y="203"/>
                </a:cubicBezTo>
                <a:cubicBezTo>
                  <a:pt x="597" y="203"/>
                  <a:pt x="598" y="203"/>
                  <a:pt x="598" y="203"/>
                </a:cubicBezTo>
                <a:cubicBezTo>
                  <a:pt x="599" y="203"/>
                  <a:pt x="598" y="204"/>
                  <a:pt x="597" y="204"/>
                </a:cubicBezTo>
                <a:cubicBezTo>
                  <a:pt x="597" y="204"/>
                  <a:pt x="598" y="204"/>
                  <a:pt x="598" y="204"/>
                </a:cubicBezTo>
                <a:cubicBezTo>
                  <a:pt x="598" y="204"/>
                  <a:pt x="597" y="204"/>
                  <a:pt x="597" y="204"/>
                </a:cubicBezTo>
                <a:cubicBezTo>
                  <a:pt x="598" y="205"/>
                  <a:pt x="598" y="204"/>
                  <a:pt x="598" y="204"/>
                </a:cubicBezTo>
                <a:cubicBezTo>
                  <a:pt x="598" y="204"/>
                  <a:pt x="597" y="205"/>
                  <a:pt x="597" y="205"/>
                </a:cubicBezTo>
                <a:cubicBezTo>
                  <a:pt x="597" y="206"/>
                  <a:pt x="597" y="205"/>
                  <a:pt x="597" y="206"/>
                </a:cubicBezTo>
                <a:cubicBezTo>
                  <a:pt x="597" y="207"/>
                  <a:pt x="598" y="206"/>
                  <a:pt x="598" y="206"/>
                </a:cubicBezTo>
                <a:cubicBezTo>
                  <a:pt x="598" y="207"/>
                  <a:pt x="598" y="207"/>
                  <a:pt x="598" y="207"/>
                </a:cubicBezTo>
                <a:cubicBezTo>
                  <a:pt x="598" y="207"/>
                  <a:pt x="598" y="207"/>
                  <a:pt x="597" y="207"/>
                </a:cubicBezTo>
                <a:cubicBezTo>
                  <a:pt x="597" y="207"/>
                  <a:pt x="597" y="208"/>
                  <a:pt x="596" y="208"/>
                </a:cubicBezTo>
                <a:cubicBezTo>
                  <a:pt x="597" y="208"/>
                  <a:pt x="597" y="207"/>
                  <a:pt x="598" y="207"/>
                </a:cubicBezTo>
                <a:cubicBezTo>
                  <a:pt x="598" y="207"/>
                  <a:pt x="599" y="207"/>
                  <a:pt x="599" y="207"/>
                </a:cubicBezTo>
                <a:cubicBezTo>
                  <a:pt x="599" y="208"/>
                  <a:pt x="598" y="208"/>
                  <a:pt x="597" y="208"/>
                </a:cubicBezTo>
                <a:cubicBezTo>
                  <a:pt x="598" y="208"/>
                  <a:pt x="598" y="207"/>
                  <a:pt x="599" y="208"/>
                </a:cubicBezTo>
                <a:cubicBezTo>
                  <a:pt x="599" y="208"/>
                  <a:pt x="599" y="208"/>
                  <a:pt x="599" y="208"/>
                </a:cubicBezTo>
                <a:cubicBezTo>
                  <a:pt x="598" y="209"/>
                  <a:pt x="597" y="209"/>
                  <a:pt x="596" y="209"/>
                </a:cubicBezTo>
                <a:cubicBezTo>
                  <a:pt x="597" y="210"/>
                  <a:pt x="598" y="210"/>
                  <a:pt x="598" y="209"/>
                </a:cubicBezTo>
                <a:cubicBezTo>
                  <a:pt x="598" y="210"/>
                  <a:pt x="598" y="210"/>
                  <a:pt x="598" y="210"/>
                </a:cubicBezTo>
                <a:cubicBezTo>
                  <a:pt x="598" y="210"/>
                  <a:pt x="598" y="210"/>
                  <a:pt x="598" y="210"/>
                </a:cubicBezTo>
                <a:cubicBezTo>
                  <a:pt x="598" y="210"/>
                  <a:pt x="598" y="211"/>
                  <a:pt x="597" y="211"/>
                </a:cubicBezTo>
                <a:cubicBezTo>
                  <a:pt x="598" y="211"/>
                  <a:pt x="599" y="210"/>
                  <a:pt x="599" y="210"/>
                </a:cubicBezTo>
                <a:cubicBezTo>
                  <a:pt x="600" y="210"/>
                  <a:pt x="599" y="211"/>
                  <a:pt x="598" y="211"/>
                </a:cubicBezTo>
                <a:cubicBezTo>
                  <a:pt x="599" y="212"/>
                  <a:pt x="600" y="210"/>
                  <a:pt x="601" y="210"/>
                </a:cubicBezTo>
                <a:cubicBezTo>
                  <a:pt x="601" y="211"/>
                  <a:pt x="600" y="211"/>
                  <a:pt x="600" y="211"/>
                </a:cubicBezTo>
                <a:cubicBezTo>
                  <a:pt x="600" y="211"/>
                  <a:pt x="600" y="211"/>
                  <a:pt x="600" y="211"/>
                </a:cubicBezTo>
                <a:cubicBezTo>
                  <a:pt x="600" y="211"/>
                  <a:pt x="600" y="211"/>
                  <a:pt x="600" y="211"/>
                </a:cubicBezTo>
                <a:cubicBezTo>
                  <a:pt x="601" y="212"/>
                  <a:pt x="598" y="213"/>
                  <a:pt x="598" y="213"/>
                </a:cubicBezTo>
                <a:cubicBezTo>
                  <a:pt x="596" y="213"/>
                  <a:pt x="595" y="212"/>
                  <a:pt x="594" y="213"/>
                </a:cubicBezTo>
                <a:cubicBezTo>
                  <a:pt x="595" y="213"/>
                  <a:pt x="595" y="213"/>
                  <a:pt x="595" y="213"/>
                </a:cubicBezTo>
                <a:cubicBezTo>
                  <a:pt x="595" y="213"/>
                  <a:pt x="595" y="213"/>
                  <a:pt x="595" y="214"/>
                </a:cubicBezTo>
                <a:cubicBezTo>
                  <a:pt x="595" y="214"/>
                  <a:pt x="596" y="213"/>
                  <a:pt x="596" y="213"/>
                </a:cubicBezTo>
                <a:cubicBezTo>
                  <a:pt x="596" y="213"/>
                  <a:pt x="596" y="213"/>
                  <a:pt x="596" y="213"/>
                </a:cubicBezTo>
                <a:cubicBezTo>
                  <a:pt x="597" y="213"/>
                  <a:pt x="598" y="213"/>
                  <a:pt x="599" y="213"/>
                </a:cubicBezTo>
                <a:cubicBezTo>
                  <a:pt x="599" y="213"/>
                  <a:pt x="600" y="212"/>
                  <a:pt x="600" y="212"/>
                </a:cubicBezTo>
                <a:cubicBezTo>
                  <a:pt x="600" y="213"/>
                  <a:pt x="601" y="213"/>
                  <a:pt x="601" y="213"/>
                </a:cubicBezTo>
                <a:cubicBezTo>
                  <a:pt x="601" y="213"/>
                  <a:pt x="600" y="213"/>
                  <a:pt x="600" y="213"/>
                </a:cubicBezTo>
                <a:cubicBezTo>
                  <a:pt x="600" y="213"/>
                  <a:pt x="600" y="213"/>
                  <a:pt x="600" y="213"/>
                </a:cubicBezTo>
                <a:cubicBezTo>
                  <a:pt x="600" y="213"/>
                  <a:pt x="600" y="214"/>
                  <a:pt x="600" y="214"/>
                </a:cubicBezTo>
                <a:cubicBezTo>
                  <a:pt x="600" y="214"/>
                  <a:pt x="600" y="213"/>
                  <a:pt x="601" y="214"/>
                </a:cubicBezTo>
                <a:cubicBezTo>
                  <a:pt x="601" y="214"/>
                  <a:pt x="600" y="214"/>
                  <a:pt x="600" y="214"/>
                </a:cubicBezTo>
                <a:cubicBezTo>
                  <a:pt x="600" y="214"/>
                  <a:pt x="600" y="214"/>
                  <a:pt x="601" y="214"/>
                </a:cubicBezTo>
                <a:cubicBezTo>
                  <a:pt x="600" y="214"/>
                  <a:pt x="599" y="215"/>
                  <a:pt x="599" y="215"/>
                </a:cubicBezTo>
                <a:cubicBezTo>
                  <a:pt x="599" y="215"/>
                  <a:pt x="600" y="215"/>
                  <a:pt x="600" y="215"/>
                </a:cubicBezTo>
                <a:cubicBezTo>
                  <a:pt x="600" y="215"/>
                  <a:pt x="600" y="215"/>
                  <a:pt x="600" y="215"/>
                </a:cubicBezTo>
                <a:cubicBezTo>
                  <a:pt x="600" y="215"/>
                  <a:pt x="601" y="214"/>
                  <a:pt x="602" y="214"/>
                </a:cubicBezTo>
                <a:cubicBezTo>
                  <a:pt x="601" y="215"/>
                  <a:pt x="601" y="215"/>
                  <a:pt x="601" y="215"/>
                </a:cubicBezTo>
                <a:cubicBezTo>
                  <a:pt x="601" y="215"/>
                  <a:pt x="602" y="215"/>
                  <a:pt x="602" y="216"/>
                </a:cubicBezTo>
                <a:cubicBezTo>
                  <a:pt x="601" y="216"/>
                  <a:pt x="601" y="216"/>
                  <a:pt x="600" y="216"/>
                </a:cubicBezTo>
                <a:cubicBezTo>
                  <a:pt x="601" y="216"/>
                  <a:pt x="602" y="216"/>
                  <a:pt x="602" y="217"/>
                </a:cubicBezTo>
                <a:cubicBezTo>
                  <a:pt x="602" y="217"/>
                  <a:pt x="601" y="217"/>
                  <a:pt x="601" y="217"/>
                </a:cubicBezTo>
                <a:cubicBezTo>
                  <a:pt x="601" y="217"/>
                  <a:pt x="600" y="218"/>
                  <a:pt x="600" y="218"/>
                </a:cubicBezTo>
                <a:cubicBezTo>
                  <a:pt x="599" y="218"/>
                  <a:pt x="598" y="218"/>
                  <a:pt x="597" y="218"/>
                </a:cubicBezTo>
                <a:cubicBezTo>
                  <a:pt x="597" y="218"/>
                  <a:pt x="597" y="218"/>
                  <a:pt x="596" y="218"/>
                </a:cubicBezTo>
                <a:cubicBezTo>
                  <a:pt x="596" y="218"/>
                  <a:pt x="596" y="219"/>
                  <a:pt x="595" y="219"/>
                </a:cubicBezTo>
                <a:cubicBezTo>
                  <a:pt x="596" y="219"/>
                  <a:pt x="597" y="219"/>
                  <a:pt x="596" y="219"/>
                </a:cubicBezTo>
                <a:cubicBezTo>
                  <a:pt x="595" y="220"/>
                  <a:pt x="594" y="220"/>
                  <a:pt x="594" y="220"/>
                </a:cubicBezTo>
                <a:cubicBezTo>
                  <a:pt x="595" y="220"/>
                  <a:pt x="596" y="219"/>
                  <a:pt x="598" y="219"/>
                </a:cubicBezTo>
                <a:cubicBezTo>
                  <a:pt x="598" y="219"/>
                  <a:pt x="599" y="218"/>
                  <a:pt x="599" y="219"/>
                </a:cubicBezTo>
                <a:cubicBezTo>
                  <a:pt x="598" y="219"/>
                  <a:pt x="598" y="219"/>
                  <a:pt x="598" y="220"/>
                </a:cubicBezTo>
                <a:cubicBezTo>
                  <a:pt x="598" y="219"/>
                  <a:pt x="598" y="219"/>
                  <a:pt x="599" y="219"/>
                </a:cubicBezTo>
                <a:cubicBezTo>
                  <a:pt x="599" y="219"/>
                  <a:pt x="599" y="219"/>
                  <a:pt x="599" y="219"/>
                </a:cubicBezTo>
                <a:cubicBezTo>
                  <a:pt x="600" y="219"/>
                  <a:pt x="601" y="219"/>
                  <a:pt x="601" y="218"/>
                </a:cubicBezTo>
                <a:cubicBezTo>
                  <a:pt x="601" y="219"/>
                  <a:pt x="601" y="219"/>
                  <a:pt x="601" y="219"/>
                </a:cubicBezTo>
                <a:cubicBezTo>
                  <a:pt x="601" y="219"/>
                  <a:pt x="602" y="218"/>
                  <a:pt x="603" y="218"/>
                </a:cubicBezTo>
                <a:cubicBezTo>
                  <a:pt x="603" y="218"/>
                  <a:pt x="602" y="219"/>
                  <a:pt x="602" y="219"/>
                </a:cubicBezTo>
                <a:cubicBezTo>
                  <a:pt x="602" y="220"/>
                  <a:pt x="601" y="221"/>
                  <a:pt x="600" y="221"/>
                </a:cubicBezTo>
                <a:cubicBezTo>
                  <a:pt x="600" y="221"/>
                  <a:pt x="599" y="221"/>
                  <a:pt x="599" y="221"/>
                </a:cubicBezTo>
                <a:cubicBezTo>
                  <a:pt x="599" y="221"/>
                  <a:pt x="602" y="220"/>
                  <a:pt x="601" y="221"/>
                </a:cubicBezTo>
                <a:cubicBezTo>
                  <a:pt x="601" y="222"/>
                  <a:pt x="598" y="222"/>
                  <a:pt x="597" y="222"/>
                </a:cubicBezTo>
                <a:cubicBezTo>
                  <a:pt x="598" y="222"/>
                  <a:pt x="596" y="223"/>
                  <a:pt x="596" y="223"/>
                </a:cubicBezTo>
                <a:cubicBezTo>
                  <a:pt x="596" y="223"/>
                  <a:pt x="596" y="223"/>
                  <a:pt x="596" y="223"/>
                </a:cubicBezTo>
                <a:cubicBezTo>
                  <a:pt x="596" y="224"/>
                  <a:pt x="595" y="223"/>
                  <a:pt x="594" y="224"/>
                </a:cubicBezTo>
                <a:cubicBezTo>
                  <a:pt x="596" y="224"/>
                  <a:pt x="597" y="222"/>
                  <a:pt x="599" y="222"/>
                </a:cubicBezTo>
                <a:cubicBezTo>
                  <a:pt x="598" y="222"/>
                  <a:pt x="600" y="222"/>
                  <a:pt x="600" y="222"/>
                </a:cubicBezTo>
                <a:cubicBezTo>
                  <a:pt x="600" y="222"/>
                  <a:pt x="600" y="222"/>
                  <a:pt x="601" y="222"/>
                </a:cubicBezTo>
                <a:cubicBezTo>
                  <a:pt x="601" y="222"/>
                  <a:pt x="601" y="222"/>
                  <a:pt x="601" y="222"/>
                </a:cubicBezTo>
                <a:cubicBezTo>
                  <a:pt x="601" y="223"/>
                  <a:pt x="602" y="222"/>
                  <a:pt x="602" y="222"/>
                </a:cubicBezTo>
                <a:cubicBezTo>
                  <a:pt x="602" y="222"/>
                  <a:pt x="601" y="222"/>
                  <a:pt x="601" y="223"/>
                </a:cubicBezTo>
                <a:cubicBezTo>
                  <a:pt x="602" y="223"/>
                  <a:pt x="602" y="222"/>
                  <a:pt x="602" y="222"/>
                </a:cubicBezTo>
                <a:cubicBezTo>
                  <a:pt x="603" y="222"/>
                  <a:pt x="602" y="223"/>
                  <a:pt x="602" y="223"/>
                </a:cubicBezTo>
                <a:cubicBezTo>
                  <a:pt x="602" y="223"/>
                  <a:pt x="602" y="223"/>
                  <a:pt x="602" y="223"/>
                </a:cubicBezTo>
                <a:cubicBezTo>
                  <a:pt x="602" y="223"/>
                  <a:pt x="602" y="223"/>
                  <a:pt x="602" y="223"/>
                </a:cubicBezTo>
                <a:cubicBezTo>
                  <a:pt x="602" y="223"/>
                  <a:pt x="603" y="223"/>
                  <a:pt x="602" y="223"/>
                </a:cubicBezTo>
                <a:cubicBezTo>
                  <a:pt x="602" y="224"/>
                  <a:pt x="602" y="224"/>
                  <a:pt x="601" y="223"/>
                </a:cubicBezTo>
                <a:cubicBezTo>
                  <a:pt x="601" y="223"/>
                  <a:pt x="600" y="224"/>
                  <a:pt x="599" y="224"/>
                </a:cubicBezTo>
                <a:cubicBezTo>
                  <a:pt x="600" y="224"/>
                  <a:pt x="601" y="223"/>
                  <a:pt x="601" y="224"/>
                </a:cubicBezTo>
                <a:cubicBezTo>
                  <a:pt x="601" y="224"/>
                  <a:pt x="601" y="225"/>
                  <a:pt x="601" y="225"/>
                </a:cubicBezTo>
                <a:cubicBezTo>
                  <a:pt x="601" y="225"/>
                  <a:pt x="602" y="224"/>
                  <a:pt x="602" y="224"/>
                </a:cubicBezTo>
                <a:cubicBezTo>
                  <a:pt x="602" y="224"/>
                  <a:pt x="602" y="224"/>
                  <a:pt x="602" y="224"/>
                </a:cubicBezTo>
                <a:cubicBezTo>
                  <a:pt x="602" y="224"/>
                  <a:pt x="602" y="224"/>
                  <a:pt x="602" y="224"/>
                </a:cubicBezTo>
                <a:cubicBezTo>
                  <a:pt x="603" y="224"/>
                  <a:pt x="603" y="224"/>
                  <a:pt x="603" y="224"/>
                </a:cubicBezTo>
                <a:cubicBezTo>
                  <a:pt x="603" y="224"/>
                  <a:pt x="603" y="224"/>
                  <a:pt x="604" y="224"/>
                </a:cubicBezTo>
                <a:cubicBezTo>
                  <a:pt x="604" y="224"/>
                  <a:pt x="604" y="225"/>
                  <a:pt x="603" y="225"/>
                </a:cubicBezTo>
                <a:cubicBezTo>
                  <a:pt x="603" y="225"/>
                  <a:pt x="603" y="226"/>
                  <a:pt x="603" y="226"/>
                </a:cubicBezTo>
                <a:cubicBezTo>
                  <a:pt x="604" y="226"/>
                  <a:pt x="603" y="227"/>
                  <a:pt x="604" y="227"/>
                </a:cubicBezTo>
                <a:cubicBezTo>
                  <a:pt x="604" y="227"/>
                  <a:pt x="604" y="227"/>
                  <a:pt x="604" y="227"/>
                </a:cubicBezTo>
                <a:cubicBezTo>
                  <a:pt x="604" y="227"/>
                  <a:pt x="604" y="227"/>
                  <a:pt x="603" y="227"/>
                </a:cubicBezTo>
                <a:cubicBezTo>
                  <a:pt x="603" y="228"/>
                  <a:pt x="602" y="228"/>
                  <a:pt x="602" y="228"/>
                </a:cubicBezTo>
                <a:cubicBezTo>
                  <a:pt x="601" y="229"/>
                  <a:pt x="601" y="228"/>
                  <a:pt x="600" y="229"/>
                </a:cubicBezTo>
                <a:cubicBezTo>
                  <a:pt x="599" y="229"/>
                  <a:pt x="599" y="229"/>
                  <a:pt x="598" y="229"/>
                </a:cubicBezTo>
                <a:cubicBezTo>
                  <a:pt x="599" y="230"/>
                  <a:pt x="600" y="229"/>
                  <a:pt x="601" y="229"/>
                </a:cubicBezTo>
                <a:cubicBezTo>
                  <a:pt x="601" y="229"/>
                  <a:pt x="604" y="229"/>
                  <a:pt x="603" y="230"/>
                </a:cubicBezTo>
                <a:cubicBezTo>
                  <a:pt x="603" y="230"/>
                  <a:pt x="602" y="230"/>
                  <a:pt x="602" y="230"/>
                </a:cubicBezTo>
                <a:cubicBezTo>
                  <a:pt x="603" y="231"/>
                  <a:pt x="601" y="231"/>
                  <a:pt x="601" y="231"/>
                </a:cubicBezTo>
                <a:cubicBezTo>
                  <a:pt x="601" y="231"/>
                  <a:pt x="602" y="231"/>
                  <a:pt x="602" y="232"/>
                </a:cubicBezTo>
                <a:cubicBezTo>
                  <a:pt x="602" y="232"/>
                  <a:pt x="602" y="232"/>
                  <a:pt x="603" y="232"/>
                </a:cubicBezTo>
                <a:cubicBezTo>
                  <a:pt x="602" y="232"/>
                  <a:pt x="602" y="232"/>
                  <a:pt x="602" y="232"/>
                </a:cubicBezTo>
                <a:cubicBezTo>
                  <a:pt x="602" y="232"/>
                  <a:pt x="604" y="231"/>
                  <a:pt x="604" y="231"/>
                </a:cubicBezTo>
                <a:cubicBezTo>
                  <a:pt x="604" y="232"/>
                  <a:pt x="603" y="232"/>
                  <a:pt x="603" y="232"/>
                </a:cubicBezTo>
                <a:cubicBezTo>
                  <a:pt x="604" y="232"/>
                  <a:pt x="604" y="232"/>
                  <a:pt x="605" y="232"/>
                </a:cubicBezTo>
                <a:cubicBezTo>
                  <a:pt x="605" y="232"/>
                  <a:pt x="605" y="233"/>
                  <a:pt x="605" y="233"/>
                </a:cubicBezTo>
                <a:cubicBezTo>
                  <a:pt x="605" y="233"/>
                  <a:pt x="605" y="234"/>
                  <a:pt x="605" y="234"/>
                </a:cubicBezTo>
                <a:cubicBezTo>
                  <a:pt x="605" y="233"/>
                  <a:pt x="602" y="235"/>
                  <a:pt x="602" y="235"/>
                </a:cubicBezTo>
                <a:cubicBezTo>
                  <a:pt x="601" y="236"/>
                  <a:pt x="601" y="236"/>
                  <a:pt x="600" y="236"/>
                </a:cubicBezTo>
                <a:cubicBezTo>
                  <a:pt x="599" y="236"/>
                  <a:pt x="599" y="236"/>
                  <a:pt x="599" y="237"/>
                </a:cubicBezTo>
                <a:cubicBezTo>
                  <a:pt x="600" y="237"/>
                  <a:pt x="600" y="236"/>
                  <a:pt x="600" y="236"/>
                </a:cubicBezTo>
                <a:cubicBezTo>
                  <a:pt x="600" y="236"/>
                  <a:pt x="601" y="236"/>
                  <a:pt x="601" y="237"/>
                </a:cubicBezTo>
                <a:cubicBezTo>
                  <a:pt x="601" y="237"/>
                  <a:pt x="600" y="237"/>
                  <a:pt x="600" y="237"/>
                </a:cubicBezTo>
                <a:cubicBezTo>
                  <a:pt x="600" y="237"/>
                  <a:pt x="601" y="237"/>
                  <a:pt x="601" y="237"/>
                </a:cubicBezTo>
                <a:cubicBezTo>
                  <a:pt x="600" y="238"/>
                  <a:pt x="599" y="237"/>
                  <a:pt x="599" y="237"/>
                </a:cubicBezTo>
                <a:cubicBezTo>
                  <a:pt x="599" y="237"/>
                  <a:pt x="599" y="237"/>
                  <a:pt x="599" y="237"/>
                </a:cubicBezTo>
                <a:cubicBezTo>
                  <a:pt x="599" y="237"/>
                  <a:pt x="598" y="237"/>
                  <a:pt x="598" y="237"/>
                </a:cubicBezTo>
                <a:cubicBezTo>
                  <a:pt x="598" y="237"/>
                  <a:pt x="597" y="237"/>
                  <a:pt x="597" y="237"/>
                </a:cubicBezTo>
                <a:cubicBezTo>
                  <a:pt x="597" y="237"/>
                  <a:pt x="595" y="236"/>
                  <a:pt x="595" y="236"/>
                </a:cubicBezTo>
                <a:cubicBezTo>
                  <a:pt x="595" y="235"/>
                  <a:pt x="598" y="236"/>
                  <a:pt x="599" y="235"/>
                </a:cubicBezTo>
                <a:cubicBezTo>
                  <a:pt x="598" y="235"/>
                  <a:pt x="597" y="235"/>
                  <a:pt x="596" y="235"/>
                </a:cubicBezTo>
                <a:cubicBezTo>
                  <a:pt x="596" y="235"/>
                  <a:pt x="595" y="235"/>
                  <a:pt x="595" y="235"/>
                </a:cubicBezTo>
                <a:cubicBezTo>
                  <a:pt x="594" y="235"/>
                  <a:pt x="594" y="236"/>
                  <a:pt x="594" y="236"/>
                </a:cubicBezTo>
                <a:cubicBezTo>
                  <a:pt x="595" y="236"/>
                  <a:pt x="596" y="237"/>
                  <a:pt x="597" y="237"/>
                </a:cubicBezTo>
                <a:cubicBezTo>
                  <a:pt x="597" y="237"/>
                  <a:pt x="597" y="237"/>
                  <a:pt x="598" y="237"/>
                </a:cubicBezTo>
                <a:cubicBezTo>
                  <a:pt x="598" y="237"/>
                  <a:pt x="598" y="237"/>
                  <a:pt x="599" y="238"/>
                </a:cubicBezTo>
                <a:cubicBezTo>
                  <a:pt x="598" y="238"/>
                  <a:pt x="597" y="237"/>
                  <a:pt x="596" y="238"/>
                </a:cubicBezTo>
                <a:cubicBezTo>
                  <a:pt x="597" y="238"/>
                  <a:pt x="600" y="237"/>
                  <a:pt x="600" y="238"/>
                </a:cubicBezTo>
                <a:cubicBezTo>
                  <a:pt x="600" y="239"/>
                  <a:pt x="599" y="239"/>
                  <a:pt x="599" y="239"/>
                </a:cubicBezTo>
                <a:cubicBezTo>
                  <a:pt x="598" y="239"/>
                  <a:pt x="597" y="238"/>
                  <a:pt x="597" y="239"/>
                </a:cubicBezTo>
                <a:cubicBezTo>
                  <a:pt x="597" y="239"/>
                  <a:pt x="597" y="239"/>
                  <a:pt x="597" y="239"/>
                </a:cubicBezTo>
                <a:cubicBezTo>
                  <a:pt x="597" y="239"/>
                  <a:pt x="596" y="239"/>
                  <a:pt x="596" y="239"/>
                </a:cubicBezTo>
                <a:cubicBezTo>
                  <a:pt x="596" y="240"/>
                  <a:pt x="597" y="240"/>
                  <a:pt x="597" y="240"/>
                </a:cubicBezTo>
                <a:cubicBezTo>
                  <a:pt x="597" y="240"/>
                  <a:pt x="597" y="239"/>
                  <a:pt x="597" y="240"/>
                </a:cubicBezTo>
                <a:cubicBezTo>
                  <a:pt x="598" y="240"/>
                  <a:pt x="598" y="240"/>
                  <a:pt x="598" y="240"/>
                </a:cubicBezTo>
                <a:cubicBezTo>
                  <a:pt x="598" y="240"/>
                  <a:pt x="598" y="240"/>
                  <a:pt x="598" y="240"/>
                </a:cubicBezTo>
                <a:cubicBezTo>
                  <a:pt x="598" y="240"/>
                  <a:pt x="598" y="241"/>
                  <a:pt x="599" y="240"/>
                </a:cubicBezTo>
                <a:cubicBezTo>
                  <a:pt x="598" y="241"/>
                  <a:pt x="599" y="241"/>
                  <a:pt x="599" y="241"/>
                </a:cubicBezTo>
                <a:cubicBezTo>
                  <a:pt x="600" y="241"/>
                  <a:pt x="598" y="241"/>
                  <a:pt x="598" y="241"/>
                </a:cubicBezTo>
                <a:cubicBezTo>
                  <a:pt x="598" y="241"/>
                  <a:pt x="598" y="241"/>
                  <a:pt x="599" y="241"/>
                </a:cubicBezTo>
                <a:cubicBezTo>
                  <a:pt x="598" y="241"/>
                  <a:pt x="598" y="241"/>
                  <a:pt x="598" y="241"/>
                </a:cubicBezTo>
                <a:cubicBezTo>
                  <a:pt x="598" y="241"/>
                  <a:pt x="598" y="241"/>
                  <a:pt x="598" y="241"/>
                </a:cubicBezTo>
                <a:cubicBezTo>
                  <a:pt x="598" y="241"/>
                  <a:pt x="595" y="241"/>
                  <a:pt x="596" y="241"/>
                </a:cubicBezTo>
                <a:cubicBezTo>
                  <a:pt x="596" y="242"/>
                  <a:pt x="597" y="242"/>
                  <a:pt x="598" y="242"/>
                </a:cubicBezTo>
                <a:cubicBezTo>
                  <a:pt x="598" y="242"/>
                  <a:pt x="599" y="242"/>
                  <a:pt x="599" y="242"/>
                </a:cubicBezTo>
                <a:cubicBezTo>
                  <a:pt x="599" y="242"/>
                  <a:pt x="600" y="242"/>
                  <a:pt x="600" y="242"/>
                </a:cubicBezTo>
                <a:cubicBezTo>
                  <a:pt x="600" y="242"/>
                  <a:pt x="601" y="242"/>
                  <a:pt x="601" y="242"/>
                </a:cubicBezTo>
                <a:cubicBezTo>
                  <a:pt x="601" y="242"/>
                  <a:pt x="600" y="242"/>
                  <a:pt x="600" y="243"/>
                </a:cubicBezTo>
                <a:cubicBezTo>
                  <a:pt x="600" y="243"/>
                  <a:pt x="601" y="243"/>
                  <a:pt x="600" y="243"/>
                </a:cubicBezTo>
                <a:cubicBezTo>
                  <a:pt x="600" y="243"/>
                  <a:pt x="599" y="243"/>
                  <a:pt x="600" y="243"/>
                </a:cubicBezTo>
                <a:cubicBezTo>
                  <a:pt x="600" y="244"/>
                  <a:pt x="601" y="243"/>
                  <a:pt x="601" y="244"/>
                </a:cubicBezTo>
                <a:cubicBezTo>
                  <a:pt x="601" y="244"/>
                  <a:pt x="601" y="244"/>
                  <a:pt x="600" y="244"/>
                </a:cubicBezTo>
                <a:cubicBezTo>
                  <a:pt x="601" y="244"/>
                  <a:pt x="600" y="244"/>
                  <a:pt x="600" y="244"/>
                </a:cubicBezTo>
                <a:cubicBezTo>
                  <a:pt x="599" y="244"/>
                  <a:pt x="599" y="244"/>
                  <a:pt x="599" y="244"/>
                </a:cubicBezTo>
                <a:cubicBezTo>
                  <a:pt x="599" y="244"/>
                  <a:pt x="600" y="244"/>
                  <a:pt x="600" y="244"/>
                </a:cubicBezTo>
                <a:cubicBezTo>
                  <a:pt x="600" y="244"/>
                  <a:pt x="599" y="244"/>
                  <a:pt x="599" y="244"/>
                </a:cubicBezTo>
                <a:cubicBezTo>
                  <a:pt x="600" y="245"/>
                  <a:pt x="600" y="244"/>
                  <a:pt x="601" y="244"/>
                </a:cubicBezTo>
                <a:cubicBezTo>
                  <a:pt x="601" y="244"/>
                  <a:pt x="602" y="244"/>
                  <a:pt x="602" y="245"/>
                </a:cubicBezTo>
                <a:cubicBezTo>
                  <a:pt x="602" y="245"/>
                  <a:pt x="601" y="245"/>
                  <a:pt x="601" y="245"/>
                </a:cubicBezTo>
                <a:cubicBezTo>
                  <a:pt x="601" y="246"/>
                  <a:pt x="604" y="245"/>
                  <a:pt x="604" y="246"/>
                </a:cubicBezTo>
                <a:cubicBezTo>
                  <a:pt x="604" y="246"/>
                  <a:pt x="602" y="247"/>
                  <a:pt x="602" y="247"/>
                </a:cubicBezTo>
                <a:cubicBezTo>
                  <a:pt x="602" y="247"/>
                  <a:pt x="603" y="247"/>
                  <a:pt x="603" y="247"/>
                </a:cubicBezTo>
                <a:cubicBezTo>
                  <a:pt x="604" y="247"/>
                  <a:pt x="604" y="246"/>
                  <a:pt x="605" y="246"/>
                </a:cubicBezTo>
                <a:cubicBezTo>
                  <a:pt x="605" y="246"/>
                  <a:pt x="605" y="247"/>
                  <a:pt x="605" y="247"/>
                </a:cubicBezTo>
                <a:cubicBezTo>
                  <a:pt x="604" y="247"/>
                  <a:pt x="604" y="247"/>
                  <a:pt x="604" y="248"/>
                </a:cubicBezTo>
                <a:cubicBezTo>
                  <a:pt x="604" y="248"/>
                  <a:pt x="603" y="248"/>
                  <a:pt x="603" y="248"/>
                </a:cubicBezTo>
                <a:cubicBezTo>
                  <a:pt x="604" y="248"/>
                  <a:pt x="605" y="247"/>
                  <a:pt x="606" y="246"/>
                </a:cubicBezTo>
                <a:cubicBezTo>
                  <a:pt x="606" y="246"/>
                  <a:pt x="606" y="246"/>
                  <a:pt x="606" y="246"/>
                </a:cubicBezTo>
                <a:cubicBezTo>
                  <a:pt x="606" y="246"/>
                  <a:pt x="607" y="246"/>
                  <a:pt x="607" y="246"/>
                </a:cubicBezTo>
                <a:cubicBezTo>
                  <a:pt x="607" y="247"/>
                  <a:pt x="605" y="248"/>
                  <a:pt x="605" y="248"/>
                </a:cubicBezTo>
                <a:cubicBezTo>
                  <a:pt x="605" y="248"/>
                  <a:pt x="606" y="247"/>
                  <a:pt x="606" y="248"/>
                </a:cubicBezTo>
                <a:cubicBezTo>
                  <a:pt x="606" y="249"/>
                  <a:pt x="605" y="249"/>
                  <a:pt x="605" y="249"/>
                </a:cubicBezTo>
                <a:cubicBezTo>
                  <a:pt x="605" y="249"/>
                  <a:pt x="606" y="248"/>
                  <a:pt x="606" y="248"/>
                </a:cubicBezTo>
                <a:cubicBezTo>
                  <a:pt x="606" y="249"/>
                  <a:pt x="606" y="249"/>
                  <a:pt x="606" y="249"/>
                </a:cubicBezTo>
                <a:cubicBezTo>
                  <a:pt x="605" y="250"/>
                  <a:pt x="604" y="250"/>
                  <a:pt x="604" y="251"/>
                </a:cubicBezTo>
                <a:cubicBezTo>
                  <a:pt x="605" y="250"/>
                  <a:pt x="605" y="249"/>
                  <a:pt x="606" y="249"/>
                </a:cubicBezTo>
                <a:cubicBezTo>
                  <a:pt x="606" y="249"/>
                  <a:pt x="605" y="250"/>
                  <a:pt x="605" y="250"/>
                </a:cubicBezTo>
                <a:cubicBezTo>
                  <a:pt x="606" y="250"/>
                  <a:pt x="606" y="249"/>
                  <a:pt x="607" y="249"/>
                </a:cubicBezTo>
                <a:cubicBezTo>
                  <a:pt x="607" y="250"/>
                  <a:pt x="606" y="250"/>
                  <a:pt x="606" y="250"/>
                </a:cubicBezTo>
                <a:cubicBezTo>
                  <a:pt x="605" y="250"/>
                  <a:pt x="605" y="251"/>
                  <a:pt x="604" y="251"/>
                </a:cubicBezTo>
                <a:cubicBezTo>
                  <a:pt x="604" y="251"/>
                  <a:pt x="604" y="251"/>
                  <a:pt x="604" y="251"/>
                </a:cubicBezTo>
                <a:cubicBezTo>
                  <a:pt x="604" y="251"/>
                  <a:pt x="603" y="252"/>
                  <a:pt x="603" y="252"/>
                </a:cubicBezTo>
                <a:cubicBezTo>
                  <a:pt x="603" y="252"/>
                  <a:pt x="602" y="252"/>
                  <a:pt x="602" y="253"/>
                </a:cubicBezTo>
                <a:cubicBezTo>
                  <a:pt x="602" y="253"/>
                  <a:pt x="603" y="252"/>
                  <a:pt x="603" y="252"/>
                </a:cubicBezTo>
                <a:cubicBezTo>
                  <a:pt x="604" y="252"/>
                  <a:pt x="604" y="252"/>
                  <a:pt x="604" y="252"/>
                </a:cubicBezTo>
                <a:cubicBezTo>
                  <a:pt x="604" y="252"/>
                  <a:pt x="604" y="252"/>
                  <a:pt x="603" y="252"/>
                </a:cubicBezTo>
                <a:cubicBezTo>
                  <a:pt x="603" y="252"/>
                  <a:pt x="603" y="253"/>
                  <a:pt x="602" y="253"/>
                </a:cubicBezTo>
                <a:cubicBezTo>
                  <a:pt x="602" y="253"/>
                  <a:pt x="602" y="253"/>
                  <a:pt x="601" y="254"/>
                </a:cubicBezTo>
                <a:cubicBezTo>
                  <a:pt x="601" y="254"/>
                  <a:pt x="601" y="254"/>
                  <a:pt x="601" y="254"/>
                </a:cubicBezTo>
                <a:cubicBezTo>
                  <a:pt x="601" y="254"/>
                  <a:pt x="602" y="254"/>
                  <a:pt x="602" y="253"/>
                </a:cubicBezTo>
                <a:cubicBezTo>
                  <a:pt x="603" y="253"/>
                  <a:pt x="603" y="253"/>
                  <a:pt x="604" y="253"/>
                </a:cubicBezTo>
                <a:cubicBezTo>
                  <a:pt x="604" y="253"/>
                  <a:pt x="605" y="252"/>
                  <a:pt x="606" y="251"/>
                </a:cubicBezTo>
                <a:cubicBezTo>
                  <a:pt x="606" y="252"/>
                  <a:pt x="606" y="252"/>
                  <a:pt x="605" y="252"/>
                </a:cubicBezTo>
                <a:cubicBezTo>
                  <a:pt x="606" y="252"/>
                  <a:pt x="606" y="252"/>
                  <a:pt x="607" y="252"/>
                </a:cubicBezTo>
                <a:cubicBezTo>
                  <a:pt x="607" y="252"/>
                  <a:pt x="606" y="253"/>
                  <a:pt x="605" y="253"/>
                </a:cubicBezTo>
                <a:cubicBezTo>
                  <a:pt x="605" y="253"/>
                  <a:pt x="604" y="253"/>
                  <a:pt x="604" y="254"/>
                </a:cubicBezTo>
                <a:cubicBezTo>
                  <a:pt x="604" y="254"/>
                  <a:pt x="605" y="253"/>
                  <a:pt x="606" y="253"/>
                </a:cubicBezTo>
                <a:cubicBezTo>
                  <a:pt x="606" y="253"/>
                  <a:pt x="606" y="252"/>
                  <a:pt x="607" y="252"/>
                </a:cubicBezTo>
                <a:cubicBezTo>
                  <a:pt x="607" y="252"/>
                  <a:pt x="608" y="252"/>
                  <a:pt x="608" y="252"/>
                </a:cubicBezTo>
                <a:cubicBezTo>
                  <a:pt x="609" y="251"/>
                  <a:pt x="609" y="251"/>
                  <a:pt x="609" y="251"/>
                </a:cubicBezTo>
                <a:cubicBezTo>
                  <a:pt x="609" y="251"/>
                  <a:pt x="610" y="251"/>
                  <a:pt x="609" y="252"/>
                </a:cubicBezTo>
                <a:cubicBezTo>
                  <a:pt x="609" y="252"/>
                  <a:pt x="609" y="252"/>
                  <a:pt x="609" y="252"/>
                </a:cubicBezTo>
                <a:cubicBezTo>
                  <a:pt x="608" y="253"/>
                  <a:pt x="608" y="253"/>
                  <a:pt x="607" y="253"/>
                </a:cubicBezTo>
                <a:cubicBezTo>
                  <a:pt x="607" y="253"/>
                  <a:pt x="607" y="253"/>
                  <a:pt x="607" y="253"/>
                </a:cubicBezTo>
                <a:cubicBezTo>
                  <a:pt x="607" y="253"/>
                  <a:pt x="607" y="253"/>
                  <a:pt x="608" y="253"/>
                </a:cubicBezTo>
                <a:cubicBezTo>
                  <a:pt x="608" y="253"/>
                  <a:pt x="608" y="253"/>
                  <a:pt x="609" y="253"/>
                </a:cubicBezTo>
                <a:cubicBezTo>
                  <a:pt x="609" y="253"/>
                  <a:pt x="609" y="253"/>
                  <a:pt x="610" y="253"/>
                </a:cubicBezTo>
                <a:cubicBezTo>
                  <a:pt x="610" y="253"/>
                  <a:pt x="611" y="252"/>
                  <a:pt x="611" y="252"/>
                </a:cubicBezTo>
                <a:cubicBezTo>
                  <a:pt x="611" y="252"/>
                  <a:pt x="611" y="253"/>
                  <a:pt x="611" y="253"/>
                </a:cubicBezTo>
                <a:cubicBezTo>
                  <a:pt x="611" y="253"/>
                  <a:pt x="611" y="253"/>
                  <a:pt x="611" y="253"/>
                </a:cubicBezTo>
                <a:cubicBezTo>
                  <a:pt x="611" y="253"/>
                  <a:pt x="609" y="254"/>
                  <a:pt x="609" y="255"/>
                </a:cubicBezTo>
                <a:cubicBezTo>
                  <a:pt x="608" y="255"/>
                  <a:pt x="607" y="255"/>
                  <a:pt x="606" y="256"/>
                </a:cubicBezTo>
                <a:cubicBezTo>
                  <a:pt x="607" y="256"/>
                  <a:pt x="605" y="257"/>
                  <a:pt x="605" y="257"/>
                </a:cubicBezTo>
                <a:cubicBezTo>
                  <a:pt x="606" y="257"/>
                  <a:pt x="607" y="257"/>
                  <a:pt x="607" y="256"/>
                </a:cubicBezTo>
                <a:cubicBezTo>
                  <a:pt x="607" y="256"/>
                  <a:pt x="607" y="255"/>
                  <a:pt x="608" y="255"/>
                </a:cubicBezTo>
                <a:cubicBezTo>
                  <a:pt x="609" y="255"/>
                  <a:pt x="609" y="255"/>
                  <a:pt x="610" y="254"/>
                </a:cubicBezTo>
                <a:cubicBezTo>
                  <a:pt x="610" y="254"/>
                  <a:pt x="611" y="253"/>
                  <a:pt x="611" y="254"/>
                </a:cubicBezTo>
                <a:cubicBezTo>
                  <a:pt x="612" y="254"/>
                  <a:pt x="612" y="252"/>
                  <a:pt x="613" y="252"/>
                </a:cubicBezTo>
                <a:cubicBezTo>
                  <a:pt x="613" y="252"/>
                  <a:pt x="613" y="252"/>
                  <a:pt x="613" y="253"/>
                </a:cubicBezTo>
                <a:cubicBezTo>
                  <a:pt x="613" y="253"/>
                  <a:pt x="614" y="252"/>
                  <a:pt x="614" y="252"/>
                </a:cubicBezTo>
                <a:cubicBezTo>
                  <a:pt x="614" y="252"/>
                  <a:pt x="614" y="253"/>
                  <a:pt x="613" y="253"/>
                </a:cubicBezTo>
                <a:cubicBezTo>
                  <a:pt x="613" y="253"/>
                  <a:pt x="613" y="253"/>
                  <a:pt x="612" y="254"/>
                </a:cubicBezTo>
                <a:cubicBezTo>
                  <a:pt x="612" y="254"/>
                  <a:pt x="611" y="254"/>
                  <a:pt x="611" y="255"/>
                </a:cubicBezTo>
                <a:cubicBezTo>
                  <a:pt x="611" y="255"/>
                  <a:pt x="612" y="254"/>
                  <a:pt x="612" y="254"/>
                </a:cubicBezTo>
                <a:cubicBezTo>
                  <a:pt x="613" y="253"/>
                  <a:pt x="613" y="253"/>
                  <a:pt x="613" y="254"/>
                </a:cubicBezTo>
                <a:cubicBezTo>
                  <a:pt x="613" y="253"/>
                  <a:pt x="614" y="253"/>
                  <a:pt x="614" y="253"/>
                </a:cubicBezTo>
                <a:cubicBezTo>
                  <a:pt x="614" y="253"/>
                  <a:pt x="614" y="253"/>
                  <a:pt x="615" y="253"/>
                </a:cubicBezTo>
                <a:cubicBezTo>
                  <a:pt x="615" y="252"/>
                  <a:pt x="614" y="253"/>
                  <a:pt x="615" y="253"/>
                </a:cubicBezTo>
                <a:cubicBezTo>
                  <a:pt x="615" y="254"/>
                  <a:pt x="614" y="254"/>
                  <a:pt x="614" y="254"/>
                </a:cubicBezTo>
                <a:cubicBezTo>
                  <a:pt x="614" y="254"/>
                  <a:pt x="615" y="254"/>
                  <a:pt x="615" y="255"/>
                </a:cubicBezTo>
                <a:cubicBezTo>
                  <a:pt x="614" y="255"/>
                  <a:pt x="614" y="255"/>
                  <a:pt x="614" y="255"/>
                </a:cubicBezTo>
                <a:cubicBezTo>
                  <a:pt x="614" y="256"/>
                  <a:pt x="614" y="255"/>
                  <a:pt x="615" y="255"/>
                </a:cubicBezTo>
                <a:cubicBezTo>
                  <a:pt x="615" y="255"/>
                  <a:pt x="614" y="256"/>
                  <a:pt x="615" y="256"/>
                </a:cubicBezTo>
                <a:cubicBezTo>
                  <a:pt x="615" y="256"/>
                  <a:pt x="616" y="256"/>
                  <a:pt x="615" y="256"/>
                </a:cubicBezTo>
                <a:cubicBezTo>
                  <a:pt x="615" y="256"/>
                  <a:pt x="616" y="256"/>
                  <a:pt x="616" y="256"/>
                </a:cubicBezTo>
                <a:cubicBezTo>
                  <a:pt x="616" y="256"/>
                  <a:pt x="617" y="256"/>
                  <a:pt x="617" y="256"/>
                </a:cubicBezTo>
                <a:cubicBezTo>
                  <a:pt x="617" y="256"/>
                  <a:pt x="617" y="257"/>
                  <a:pt x="617" y="257"/>
                </a:cubicBezTo>
                <a:cubicBezTo>
                  <a:pt x="617" y="257"/>
                  <a:pt x="617" y="257"/>
                  <a:pt x="618" y="257"/>
                </a:cubicBezTo>
                <a:cubicBezTo>
                  <a:pt x="618" y="257"/>
                  <a:pt x="618" y="257"/>
                  <a:pt x="618" y="257"/>
                </a:cubicBezTo>
                <a:cubicBezTo>
                  <a:pt x="618" y="256"/>
                  <a:pt x="619" y="256"/>
                  <a:pt x="620" y="256"/>
                </a:cubicBezTo>
                <a:cubicBezTo>
                  <a:pt x="619" y="257"/>
                  <a:pt x="621" y="257"/>
                  <a:pt x="621" y="257"/>
                </a:cubicBezTo>
                <a:cubicBezTo>
                  <a:pt x="621" y="257"/>
                  <a:pt x="622" y="257"/>
                  <a:pt x="622" y="257"/>
                </a:cubicBezTo>
                <a:cubicBezTo>
                  <a:pt x="623" y="257"/>
                  <a:pt x="623" y="258"/>
                  <a:pt x="623" y="258"/>
                </a:cubicBezTo>
                <a:cubicBezTo>
                  <a:pt x="623" y="259"/>
                  <a:pt x="624" y="258"/>
                  <a:pt x="625" y="258"/>
                </a:cubicBezTo>
                <a:cubicBezTo>
                  <a:pt x="625" y="258"/>
                  <a:pt x="625" y="259"/>
                  <a:pt x="625" y="259"/>
                </a:cubicBezTo>
                <a:cubicBezTo>
                  <a:pt x="626" y="259"/>
                  <a:pt x="625" y="259"/>
                  <a:pt x="625" y="259"/>
                </a:cubicBezTo>
                <a:cubicBezTo>
                  <a:pt x="626" y="259"/>
                  <a:pt x="624" y="260"/>
                  <a:pt x="624" y="260"/>
                </a:cubicBezTo>
                <a:cubicBezTo>
                  <a:pt x="624" y="260"/>
                  <a:pt x="623" y="259"/>
                  <a:pt x="622" y="260"/>
                </a:cubicBezTo>
                <a:cubicBezTo>
                  <a:pt x="623" y="260"/>
                  <a:pt x="624" y="260"/>
                  <a:pt x="624" y="260"/>
                </a:cubicBezTo>
                <a:cubicBezTo>
                  <a:pt x="625" y="260"/>
                  <a:pt x="624" y="260"/>
                  <a:pt x="624" y="260"/>
                </a:cubicBezTo>
                <a:cubicBezTo>
                  <a:pt x="624" y="260"/>
                  <a:pt x="624" y="260"/>
                  <a:pt x="623" y="260"/>
                </a:cubicBezTo>
                <a:cubicBezTo>
                  <a:pt x="623" y="261"/>
                  <a:pt x="622" y="261"/>
                  <a:pt x="621" y="261"/>
                </a:cubicBezTo>
                <a:cubicBezTo>
                  <a:pt x="620" y="261"/>
                  <a:pt x="618" y="261"/>
                  <a:pt x="617" y="261"/>
                </a:cubicBezTo>
                <a:cubicBezTo>
                  <a:pt x="617" y="262"/>
                  <a:pt x="618" y="261"/>
                  <a:pt x="618" y="261"/>
                </a:cubicBezTo>
                <a:cubicBezTo>
                  <a:pt x="618" y="262"/>
                  <a:pt x="617" y="262"/>
                  <a:pt x="617" y="262"/>
                </a:cubicBezTo>
                <a:cubicBezTo>
                  <a:pt x="617" y="262"/>
                  <a:pt x="617" y="262"/>
                  <a:pt x="617" y="262"/>
                </a:cubicBezTo>
                <a:cubicBezTo>
                  <a:pt x="616" y="262"/>
                  <a:pt x="616" y="262"/>
                  <a:pt x="616" y="262"/>
                </a:cubicBezTo>
                <a:cubicBezTo>
                  <a:pt x="615" y="262"/>
                  <a:pt x="614" y="263"/>
                  <a:pt x="613" y="263"/>
                </a:cubicBezTo>
                <a:cubicBezTo>
                  <a:pt x="611" y="264"/>
                  <a:pt x="610" y="263"/>
                  <a:pt x="608" y="264"/>
                </a:cubicBezTo>
                <a:cubicBezTo>
                  <a:pt x="608" y="264"/>
                  <a:pt x="607" y="264"/>
                  <a:pt x="606" y="264"/>
                </a:cubicBezTo>
                <a:cubicBezTo>
                  <a:pt x="606" y="264"/>
                  <a:pt x="605" y="264"/>
                  <a:pt x="605" y="264"/>
                </a:cubicBezTo>
                <a:cubicBezTo>
                  <a:pt x="605" y="265"/>
                  <a:pt x="605" y="264"/>
                  <a:pt x="605" y="265"/>
                </a:cubicBezTo>
                <a:cubicBezTo>
                  <a:pt x="607" y="265"/>
                  <a:pt x="609" y="264"/>
                  <a:pt x="611" y="264"/>
                </a:cubicBezTo>
                <a:cubicBezTo>
                  <a:pt x="612" y="264"/>
                  <a:pt x="613" y="263"/>
                  <a:pt x="614" y="263"/>
                </a:cubicBezTo>
                <a:cubicBezTo>
                  <a:pt x="614" y="263"/>
                  <a:pt x="615" y="262"/>
                  <a:pt x="616" y="262"/>
                </a:cubicBezTo>
                <a:cubicBezTo>
                  <a:pt x="615" y="263"/>
                  <a:pt x="614" y="264"/>
                  <a:pt x="613" y="264"/>
                </a:cubicBezTo>
                <a:cubicBezTo>
                  <a:pt x="612" y="265"/>
                  <a:pt x="612" y="264"/>
                  <a:pt x="611" y="264"/>
                </a:cubicBezTo>
                <a:cubicBezTo>
                  <a:pt x="610" y="264"/>
                  <a:pt x="610" y="264"/>
                  <a:pt x="609" y="264"/>
                </a:cubicBezTo>
                <a:cubicBezTo>
                  <a:pt x="610" y="265"/>
                  <a:pt x="610" y="265"/>
                  <a:pt x="610" y="265"/>
                </a:cubicBezTo>
                <a:cubicBezTo>
                  <a:pt x="610" y="265"/>
                  <a:pt x="609" y="265"/>
                  <a:pt x="608" y="265"/>
                </a:cubicBezTo>
                <a:cubicBezTo>
                  <a:pt x="607" y="266"/>
                  <a:pt x="607" y="266"/>
                  <a:pt x="606" y="266"/>
                </a:cubicBezTo>
                <a:cubicBezTo>
                  <a:pt x="605" y="266"/>
                  <a:pt x="604" y="267"/>
                  <a:pt x="603" y="267"/>
                </a:cubicBezTo>
                <a:cubicBezTo>
                  <a:pt x="603" y="266"/>
                  <a:pt x="602" y="266"/>
                  <a:pt x="602" y="267"/>
                </a:cubicBezTo>
                <a:cubicBezTo>
                  <a:pt x="602" y="267"/>
                  <a:pt x="602" y="267"/>
                  <a:pt x="602" y="267"/>
                </a:cubicBezTo>
                <a:cubicBezTo>
                  <a:pt x="602" y="267"/>
                  <a:pt x="601" y="267"/>
                  <a:pt x="601" y="267"/>
                </a:cubicBezTo>
                <a:cubicBezTo>
                  <a:pt x="600" y="267"/>
                  <a:pt x="600" y="267"/>
                  <a:pt x="599" y="267"/>
                </a:cubicBezTo>
                <a:cubicBezTo>
                  <a:pt x="599" y="267"/>
                  <a:pt x="600" y="268"/>
                  <a:pt x="600" y="268"/>
                </a:cubicBezTo>
                <a:cubicBezTo>
                  <a:pt x="598" y="268"/>
                  <a:pt x="599" y="271"/>
                  <a:pt x="597" y="269"/>
                </a:cubicBezTo>
                <a:cubicBezTo>
                  <a:pt x="597" y="269"/>
                  <a:pt x="596" y="268"/>
                  <a:pt x="595" y="268"/>
                </a:cubicBezTo>
                <a:cubicBezTo>
                  <a:pt x="595" y="268"/>
                  <a:pt x="594" y="267"/>
                  <a:pt x="594" y="267"/>
                </a:cubicBezTo>
                <a:cubicBezTo>
                  <a:pt x="594" y="267"/>
                  <a:pt x="594" y="267"/>
                  <a:pt x="593" y="267"/>
                </a:cubicBezTo>
                <a:cubicBezTo>
                  <a:pt x="593" y="267"/>
                  <a:pt x="592" y="268"/>
                  <a:pt x="593" y="268"/>
                </a:cubicBezTo>
                <a:cubicBezTo>
                  <a:pt x="593" y="268"/>
                  <a:pt x="594" y="268"/>
                  <a:pt x="594" y="268"/>
                </a:cubicBezTo>
                <a:cubicBezTo>
                  <a:pt x="594" y="268"/>
                  <a:pt x="595" y="268"/>
                  <a:pt x="595" y="268"/>
                </a:cubicBezTo>
                <a:cubicBezTo>
                  <a:pt x="596" y="268"/>
                  <a:pt x="596" y="269"/>
                  <a:pt x="597" y="269"/>
                </a:cubicBezTo>
                <a:cubicBezTo>
                  <a:pt x="597" y="269"/>
                  <a:pt x="598" y="269"/>
                  <a:pt x="598" y="270"/>
                </a:cubicBezTo>
                <a:cubicBezTo>
                  <a:pt x="598" y="270"/>
                  <a:pt x="598" y="270"/>
                  <a:pt x="598" y="270"/>
                </a:cubicBezTo>
                <a:cubicBezTo>
                  <a:pt x="598" y="270"/>
                  <a:pt x="599" y="270"/>
                  <a:pt x="599" y="270"/>
                </a:cubicBezTo>
                <a:cubicBezTo>
                  <a:pt x="599" y="270"/>
                  <a:pt x="599" y="270"/>
                  <a:pt x="598" y="271"/>
                </a:cubicBezTo>
                <a:cubicBezTo>
                  <a:pt x="598" y="271"/>
                  <a:pt x="597" y="270"/>
                  <a:pt x="597" y="271"/>
                </a:cubicBezTo>
                <a:cubicBezTo>
                  <a:pt x="597" y="271"/>
                  <a:pt x="595" y="272"/>
                  <a:pt x="595" y="272"/>
                </a:cubicBezTo>
                <a:cubicBezTo>
                  <a:pt x="595" y="272"/>
                  <a:pt x="597" y="271"/>
                  <a:pt x="597" y="272"/>
                </a:cubicBezTo>
                <a:cubicBezTo>
                  <a:pt x="597" y="272"/>
                  <a:pt x="595" y="272"/>
                  <a:pt x="595" y="272"/>
                </a:cubicBezTo>
                <a:cubicBezTo>
                  <a:pt x="595" y="272"/>
                  <a:pt x="597" y="272"/>
                  <a:pt x="597" y="272"/>
                </a:cubicBezTo>
                <a:cubicBezTo>
                  <a:pt x="597" y="273"/>
                  <a:pt x="597" y="272"/>
                  <a:pt x="597" y="272"/>
                </a:cubicBezTo>
                <a:cubicBezTo>
                  <a:pt x="597" y="272"/>
                  <a:pt x="598" y="272"/>
                  <a:pt x="598" y="272"/>
                </a:cubicBezTo>
                <a:cubicBezTo>
                  <a:pt x="599" y="271"/>
                  <a:pt x="599" y="271"/>
                  <a:pt x="599" y="271"/>
                </a:cubicBezTo>
                <a:cubicBezTo>
                  <a:pt x="600" y="270"/>
                  <a:pt x="599" y="271"/>
                  <a:pt x="600" y="271"/>
                </a:cubicBezTo>
                <a:cubicBezTo>
                  <a:pt x="600" y="270"/>
                  <a:pt x="600" y="270"/>
                  <a:pt x="600" y="270"/>
                </a:cubicBezTo>
                <a:cubicBezTo>
                  <a:pt x="600" y="270"/>
                  <a:pt x="600" y="270"/>
                  <a:pt x="601" y="270"/>
                </a:cubicBezTo>
                <a:cubicBezTo>
                  <a:pt x="601" y="270"/>
                  <a:pt x="599" y="270"/>
                  <a:pt x="600" y="270"/>
                </a:cubicBezTo>
                <a:cubicBezTo>
                  <a:pt x="601" y="270"/>
                  <a:pt x="601" y="270"/>
                  <a:pt x="602" y="270"/>
                </a:cubicBezTo>
                <a:cubicBezTo>
                  <a:pt x="602" y="270"/>
                  <a:pt x="603" y="270"/>
                  <a:pt x="603" y="269"/>
                </a:cubicBezTo>
                <a:cubicBezTo>
                  <a:pt x="604" y="269"/>
                  <a:pt x="605" y="268"/>
                  <a:pt x="606" y="268"/>
                </a:cubicBezTo>
                <a:cubicBezTo>
                  <a:pt x="607" y="268"/>
                  <a:pt x="608" y="268"/>
                  <a:pt x="608" y="267"/>
                </a:cubicBezTo>
                <a:cubicBezTo>
                  <a:pt x="607" y="267"/>
                  <a:pt x="610" y="266"/>
                  <a:pt x="610" y="266"/>
                </a:cubicBezTo>
                <a:cubicBezTo>
                  <a:pt x="611" y="265"/>
                  <a:pt x="612" y="265"/>
                  <a:pt x="613" y="265"/>
                </a:cubicBezTo>
                <a:cubicBezTo>
                  <a:pt x="614" y="264"/>
                  <a:pt x="615" y="264"/>
                  <a:pt x="615" y="264"/>
                </a:cubicBezTo>
                <a:cubicBezTo>
                  <a:pt x="616" y="264"/>
                  <a:pt x="617" y="264"/>
                  <a:pt x="617" y="264"/>
                </a:cubicBezTo>
                <a:cubicBezTo>
                  <a:pt x="617" y="264"/>
                  <a:pt x="620" y="264"/>
                  <a:pt x="620" y="264"/>
                </a:cubicBezTo>
                <a:cubicBezTo>
                  <a:pt x="620" y="264"/>
                  <a:pt x="617" y="263"/>
                  <a:pt x="617" y="263"/>
                </a:cubicBezTo>
                <a:cubicBezTo>
                  <a:pt x="617" y="263"/>
                  <a:pt x="615" y="264"/>
                  <a:pt x="615" y="263"/>
                </a:cubicBezTo>
                <a:cubicBezTo>
                  <a:pt x="615" y="262"/>
                  <a:pt x="620" y="263"/>
                  <a:pt x="620" y="263"/>
                </a:cubicBezTo>
                <a:cubicBezTo>
                  <a:pt x="620" y="263"/>
                  <a:pt x="622" y="262"/>
                  <a:pt x="622" y="263"/>
                </a:cubicBezTo>
                <a:cubicBezTo>
                  <a:pt x="622" y="263"/>
                  <a:pt x="624" y="263"/>
                  <a:pt x="623" y="263"/>
                </a:cubicBezTo>
                <a:cubicBezTo>
                  <a:pt x="624" y="263"/>
                  <a:pt x="623" y="264"/>
                  <a:pt x="623" y="264"/>
                </a:cubicBezTo>
                <a:cubicBezTo>
                  <a:pt x="623" y="264"/>
                  <a:pt x="623" y="264"/>
                  <a:pt x="623" y="265"/>
                </a:cubicBezTo>
                <a:cubicBezTo>
                  <a:pt x="624" y="265"/>
                  <a:pt x="624" y="265"/>
                  <a:pt x="624" y="265"/>
                </a:cubicBezTo>
                <a:cubicBezTo>
                  <a:pt x="624" y="265"/>
                  <a:pt x="623" y="266"/>
                  <a:pt x="624" y="266"/>
                </a:cubicBezTo>
                <a:cubicBezTo>
                  <a:pt x="624" y="266"/>
                  <a:pt x="624" y="266"/>
                  <a:pt x="624" y="267"/>
                </a:cubicBezTo>
                <a:cubicBezTo>
                  <a:pt x="624" y="266"/>
                  <a:pt x="624" y="267"/>
                  <a:pt x="624" y="267"/>
                </a:cubicBezTo>
                <a:cubicBezTo>
                  <a:pt x="624" y="267"/>
                  <a:pt x="623" y="267"/>
                  <a:pt x="624" y="267"/>
                </a:cubicBezTo>
                <a:cubicBezTo>
                  <a:pt x="623" y="268"/>
                  <a:pt x="622" y="268"/>
                  <a:pt x="621" y="268"/>
                </a:cubicBezTo>
                <a:cubicBezTo>
                  <a:pt x="621" y="268"/>
                  <a:pt x="620" y="269"/>
                  <a:pt x="620" y="269"/>
                </a:cubicBezTo>
                <a:cubicBezTo>
                  <a:pt x="620" y="269"/>
                  <a:pt x="620" y="269"/>
                  <a:pt x="621" y="269"/>
                </a:cubicBezTo>
                <a:cubicBezTo>
                  <a:pt x="620" y="269"/>
                  <a:pt x="621" y="269"/>
                  <a:pt x="621" y="269"/>
                </a:cubicBezTo>
                <a:cubicBezTo>
                  <a:pt x="621" y="269"/>
                  <a:pt x="621" y="269"/>
                  <a:pt x="621" y="270"/>
                </a:cubicBezTo>
                <a:cubicBezTo>
                  <a:pt x="622" y="270"/>
                  <a:pt x="621" y="271"/>
                  <a:pt x="620" y="271"/>
                </a:cubicBezTo>
                <a:cubicBezTo>
                  <a:pt x="621" y="271"/>
                  <a:pt x="621" y="271"/>
                  <a:pt x="621" y="270"/>
                </a:cubicBezTo>
                <a:cubicBezTo>
                  <a:pt x="621" y="270"/>
                  <a:pt x="621" y="270"/>
                  <a:pt x="622" y="270"/>
                </a:cubicBezTo>
                <a:cubicBezTo>
                  <a:pt x="622" y="270"/>
                  <a:pt x="623" y="270"/>
                  <a:pt x="623" y="269"/>
                </a:cubicBezTo>
                <a:cubicBezTo>
                  <a:pt x="623" y="269"/>
                  <a:pt x="624" y="269"/>
                  <a:pt x="624" y="268"/>
                </a:cubicBezTo>
                <a:cubicBezTo>
                  <a:pt x="624" y="268"/>
                  <a:pt x="624" y="268"/>
                  <a:pt x="625" y="268"/>
                </a:cubicBezTo>
                <a:cubicBezTo>
                  <a:pt x="625" y="267"/>
                  <a:pt x="626" y="268"/>
                  <a:pt x="627" y="268"/>
                </a:cubicBezTo>
                <a:cubicBezTo>
                  <a:pt x="627" y="267"/>
                  <a:pt x="628" y="268"/>
                  <a:pt x="628" y="267"/>
                </a:cubicBezTo>
                <a:cubicBezTo>
                  <a:pt x="628" y="267"/>
                  <a:pt x="629" y="267"/>
                  <a:pt x="629" y="267"/>
                </a:cubicBezTo>
                <a:cubicBezTo>
                  <a:pt x="629" y="267"/>
                  <a:pt x="630" y="267"/>
                  <a:pt x="629" y="268"/>
                </a:cubicBezTo>
                <a:cubicBezTo>
                  <a:pt x="629" y="268"/>
                  <a:pt x="629" y="268"/>
                  <a:pt x="629" y="268"/>
                </a:cubicBezTo>
                <a:cubicBezTo>
                  <a:pt x="628" y="268"/>
                  <a:pt x="628" y="268"/>
                  <a:pt x="628" y="268"/>
                </a:cubicBezTo>
                <a:cubicBezTo>
                  <a:pt x="627" y="268"/>
                  <a:pt x="627" y="268"/>
                  <a:pt x="627" y="268"/>
                </a:cubicBezTo>
                <a:cubicBezTo>
                  <a:pt x="627" y="268"/>
                  <a:pt x="628" y="269"/>
                  <a:pt x="629" y="269"/>
                </a:cubicBezTo>
                <a:cubicBezTo>
                  <a:pt x="629" y="269"/>
                  <a:pt x="630" y="268"/>
                  <a:pt x="630" y="269"/>
                </a:cubicBezTo>
                <a:cubicBezTo>
                  <a:pt x="630" y="269"/>
                  <a:pt x="630" y="269"/>
                  <a:pt x="629" y="269"/>
                </a:cubicBezTo>
                <a:cubicBezTo>
                  <a:pt x="630" y="269"/>
                  <a:pt x="631" y="269"/>
                  <a:pt x="631" y="269"/>
                </a:cubicBezTo>
                <a:cubicBezTo>
                  <a:pt x="632" y="269"/>
                  <a:pt x="633" y="269"/>
                  <a:pt x="632" y="270"/>
                </a:cubicBezTo>
                <a:cubicBezTo>
                  <a:pt x="632" y="270"/>
                  <a:pt x="631" y="269"/>
                  <a:pt x="630" y="269"/>
                </a:cubicBezTo>
                <a:cubicBezTo>
                  <a:pt x="629" y="269"/>
                  <a:pt x="631" y="270"/>
                  <a:pt x="631" y="270"/>
                </a:cubicBezTo>
                <a:cubicBezTo>
                  <a:pt x="631" y="270"/>
                  <a:pt x="631" y="271"/>
                  <a:pt x="632" y="271"/>
                </a:cubicBezTo>
                <a:cubicBezTo>
                  <a:pt x="632" y="271"/>
                  <a:pt x="631" y="271"/>
                  <a:pt x="631" y="271"/>
                </a:cubicBezTo>
                <a:cubicBezTo>
                  <a:pt x="631" y="271"/>
                  <a:pt x="633" y="271"/>
                  <a:pt x="632" y="272"/>
                </a:cubicBezTo>
                <a:cubicBezTo>
                  <a:pt x="632" y="272"/>
                  <a:pt x="633" y="272"/>
                  <a:pt x="633" y="272"/>
                </a:cubicBezTo>
                <a:cubicBezTo>
                  <a:pt x="632" y="272"/>
                  <a:pt x="632" y="272"/>
                  <a:pt x="632" y="272"/>
                </a:cubicBezTo>
                <a:cubicBezTo>
                  <a:pt x="632" y="272"/>
                  <a:pt x="633" y="272"/>
                  <a:pt x="632" y="273"/>
                </a:cubicBezTo>
                <a:cubicBezTo>
                  <a:pt x="632" y="273"/>
                  <a:pt x="633" y="273"/>
                  <a:pt x="633" y="273"/>
                </a:cubicBezTo>
                <a:cubicBezTo>
                  <a:pt x="633" y="273"/>
                  <a:pt x="632" y="273"/>
                  <a:pt x="632" y="273"/>
                </a:cubicBezTo>
                <a:cubicBezTo>
                  <a:pt x="632" y="273"/>
                  <a:pt x="632" y="273"/>
                  <a:pt x="632" y="274"/>
                </a:cubicBezTo>
                <a:cubicBezTo>
                  <a:pt x="632" y="274"/>
                  <a:pt x="631" y="274"/>
                  <a:pt x="631" y="274"/>
                </a:cubicBezTo>
                <a:cubicBezTo>
                  <a:pt x="631" y="274"/>
                  <a:pt x="631" y="275"/>
                  <a:pt x="630" y="275"/>
                </a:cubicBezTo>
                <a:cubicBezTo>
                  <a:pt x="630" y="275"/>
                  <a:pt x="629" y="275"/>
                  <a:pt x="629" y="275"/>
                </a:cubicBezTo>
                <a:cubicBezTo>
                  <a:pt x="629" y="275"/>
                  <a:pt x="629" y="275"/>
                  <a:pt x="629" y="275"/>
                </a:cubicBezTo>
                <a:cubicBezTo>
                  <a:pt x="629" y="275"/>
                  <a:pt x="628" y="275"/>
                  <a:pt x="629" y="276"/>
                </a:cubicBezTo>
                <a:cubicBezTo>
                  <a:pt x="629" y="276"/>
                  <a:pt x="629" y="275"/>
                  <a:pt x="629" y="275"/>
                </a:cubicBezTo>
                <a:cubicBezTo>
                  <a:pt x="629" y="275"/>
                  <a:pt x="630" y="275"/>
                  <a:pt x="630" y="275"/>
                </a:cubicBezTo>
                <a:cubicBezTo>
                  <a:pt x="630" y="275"/>
                  <a:pt x="630" y="276"/>
                  <a:pt x="631" y="276"/>
                </a:cubicBezTo>
                <a:cubicBezTo>
                  <a:pt x="631" y="276"/>
                  <a:pt x="631" y="277"/>
                  <a:pt x="630" y="277"/>
                </a:cubicBezTo>
                <a:cubicBezTo>
                  <a:pt x="630" y="277"/>
                  <a:pt x="629" y="277"/>
                  <a:pt x="629" y="277"/>
                </a:cubicBezTo>
                <a:cubicBezTo>
                  <a:pt x="629" y="277"/>
                  <a:pt x="629" y="277"/>
                  <a:pt x="629" y="277"/>
                </a:cubicBezTo>
                <a:cubicBezTo>
                  <a:pt x="629" y="278"/>
                  <a:pt x="628" y="277"/>
                  <a:pt x="628" y="277"/>
                </a:cubicBezTo>
                <a:cubicBezTo>
                  <a:pt x="628" y="278"/>
                  <a:pt x="628" y="277"/>
                  <a:pt x="628" y="278"/>
                </a:cubicBezTo>
                <a:cubicBezTo>
                  <a:pt x="628" y="278"/>
                  <a:pt x="628" y="278"/>
                  <a:pt x="628" y="278"/>
                </a:cubicBezTo>
                <a:cubicBezTo>
                  <a:pt x="629" y="278"/>
                  <a:pt x="629" y="279"/>
                  <a:pt x="629" y="279"/>
                </a:cubicBezTo>
                <a:cubicBezTo>
                  <a:pt x="629" y="279"/>
                  <a:pt x="630" y="278"/>
                  <a:pt x="630" y="279"/>
                </a:cubicBezTo>
                <a:cubicBezTo>
                  <a:pt x="630" y="279"/>
                  <a:pt x="630" y="279"/>
                  <a:pt x="630" y="279"/>
                </a:cubicBezTo>
                <a:cubicBezTo>
                  <a:pt x="629" y="279"/>
                  <a:pt x="628" y="278"/>
                  <a:pt x="627" y="279"/>
                </a:cubicBezTo>
                <a:cubicBezTo>
                  <a:pt x="627" y="279"/>
                  <a:pt x="628" y="279"/>
                  <a:pt x="628" y="279"/>
                </a:cubicBezTo>
                <a:cubicBezTo>
                  <a:pt x="628" y="279"/>
                  <a:pt x="628" y="280"/>
                  <a:pt x="628" y="280"/>
                </a:cubicBezTo>
                <a:cubicBezTo>
                  <a:pt x="628" y="280"/>
                  <a:pt x="628" y="280"/>
                  <a:pt x="628" y="280"/>
                </a:cubicBezTo>
                <a:cubicBezTo>
                  <a:pt x="627" y="280"/>
                  <a:pt x="627" y="280"/>
                  <a:pt x="627" y="280"/>
                </a:cubicBezTo>
                <a:cubicBezTo>
                  <a:pt x="626" y="280"/>
                  <a:pt x="625" y="279"/>
                  <a:pt x="624" y="279"/>
                </a:cubicBezTo>
                <a:cubicBezTo>
                  <a:pt x="624" y="280"/>
                  <a:pt x="626" y="280"/>
                  <a:pt x="627" y="280"/>
                </a:cubicBezTo>
                <a:cubicBezTo>
                  <a:pt x="627" y="280"/>
                  <a:pt x="627" y="280"/>
                  <a:pt x="628" y="280"/>
                </a:cubicBezTo>
                <a:cubicBezTo>
                  <a:pt x="628" y="281"/>
                  <a:pt x="629" y="280"/>
                  <a:pt x="629" y="280"/>
                </a:cubicBezTo>
                <a:cubicBezTo>
                  <a:pt x="629" y="281"/>
                  <a:pt x="629" y="280"/>
                  <a:pt x="629" y="281"/>
                </a:cubicBezTo>
                <a:cubicBezTo>
                  <a:pt x="630" y="281"/>
                  <a:pt x="630" y="281"/>
                  <a:pt x="629" y="281"/>
                </a:cubicBezTo>
                <a:cubicBezTo>
                  <a:pt x="630" y="281"/>
                  <a:pt x="630" y="281"/>
                  <a:pt x="630" y="281"/>
                </a:cubicBezTo>
                <a:cubicBezTo>
                  <a:pt x="630" y="281"/>
                  <a:pt x="630" y="282"/>
                  <a:pt x="630" y="282"/>
                </a:cubicBezTo>
                <a:cubicBezTo>
                  <a:pt x="630" y="282"/>
                  <a:pt x="630" y="282"/>
                  <a:pt x="629" y="282"/>
                </a:cubicBezTo>
                <a:cubicBezTo>
                  <a:pt x="629" y="282"/>
                  <a:pt x="629" y="281"/>
                  <a:pt x="629" y="282"/>
                </a:cubicBezTo>
                <a:cubicBezTo>
                  <a:pt x="629" y="282"/>
                  <a:pt x="629" y="282"/>
                  <a:pt x="629" y="282"/>
                </a:cubicBezTo>
                <a:cubicBezTo>
                  <a:pt x="628" y="283"/>
                  <a:pt x="627" y="281"/>
                  <a:pt x="626" y="281"/>
                </a:cubicBezTo>
                <a:cubicBezTo>
                  <a:pt x="626" y="281"/>
                  <a:pt x="627" y="282"/>
                  <a:pt x="627" y="282"/>
                </a:cubicBezTo>
                <a:cubicBezTo>
                  <a:pt x="628" y="282"/>
                  <a:pt x="628" y="282"/>
                  <a:pt x="628" y="283"/>
                </a:cubicBezTo>
                <a:cubicBezTo>
                  <a:pt x="628" y="283"/>
                  <a:pt x="629" y="283"/>
                  <a:pt x="629" y="283"/>
                </a:cubicBezTo>
                <a:cubicBezTo>
                  <a:pt x="629" y="283"/>
                  <a:pt x="628" y="283"/>
                  <a:pt x="628" y="283"/>
                </a:cubicBezTo>
                <a:cubicBezTo>
                  <a:pt x="629" y="283"/>
                  <a:pt x="629" y="283"/>
                  <a:pt x="629" y="283"/>
                </a:cubicBezTo>
                <a:cubicBezTo>
                  <a:pt x="629" y="284"/>
                  <a:pt x="629" y="283"/>
                  <a:pt x="628" y="284"/>
                </a:cubicBezTo>
                <a:cubicBezTo>
                  <a:pt x="628" y="284"/>
                  <a:pt x="629" y="284"/>
                  <a:pt x="629" y="284"/>
                </a:cubicBezTo>
                <a:cubicBezTo>
                  <a:pt x="629" y="284"/>
                  <a:pt x="629" y="284"/>
                  <a:pt x="628" y="285"/>
                </a:cubicBezTo>
                <a:cubicBezTo>
                  <a:pt x="628" y="285"/>
                  <a:pt x="628" y="285"/>
                  <a:pt x="628" y="285"/>
                </a:cubicBezTo>
                <a:cubicBezTo>
                  <a:pt x="627" y="285"/>
                  <a:pt x="627" y="286"/>
                  <a:pt x="627" y="286"/>
                </a:cubicBezTo>
                <a:cubicBezTo>
                  <a:pt x="627" y="286"/>
                  <a:pt x="626" y="286"/>
                  <a:pt x="626" y="286"/>
                </a:cubicBezTo>
                <a:cubicBezTo>
                  <a:pt x="626" y="286"/>
                  <a:pt x="626" y="286"/>
                  <a:pt x="626" y="286"/>
                </a:cubicBezTo>
                <a:cubicBezTo>
                  <a:pt x="626" y="287"/>
                  <a:pt x="625" y="287"/>
                  <a:pt x="625" y="287"/>
                </a:cubicBezTo>
                <a:cubicBezTo>
                  <a:pt x="624" y="287"/>
                  <a:pt x="623" y="288"/>
                  <a:pt x="622" y="288"/>
                </a:cubicBezTo>
                <a:cubicBezTo>
                  <a:pt x="621" y="288"/>
                  <a:pt x="621" y="289"/>
                  <a:pt x="620" y="289"/>
                </a:cubicBezTo>
                <a:cubicBezTo>
                  <a:pt x="620" y="289"/>
                  <a:pt x="619" y="289"/>
                  <a:pt x="619" y="289"/>
                </a:cubicBezTo>
                <a:cubicBezTo>
                  <a:pt x="618" y="290"/>
                  <a:pt x="617" y="291"/>
                  <a:pt x="617" y="291"/>
                </a:cubicBezTo>
                <a:cubicBezTo>
                  <a:pt x="616" y="291"/>
                  <a:pt x="616" y="291"/>
                  <a:pt x="615" y="291"/>
                </a:cubicBezTo>
                <a:cubicBezTo>
                  <a:pt x="615" y="292"/>
                  <a:pt x="615" y="292"/>
                  <a:pt x="615" y="292"/>
                </a:cubicBezTo>
                <a:cubicBezTo>
                  <a:pt x="614" y="292"/>
                  <a:pt x="613" y="292"/>
                  <a:pt x="613" y="292"/>
                </a:cubicBezTo>
                <a:cubicBezTo>
                  <a:pt x="613" y="292"/>
                  <a:pt x="613" y="291"/>
                  <a:pt x="613" y="291"/>
                </a:cubicBezTo>
                <a:cubicBezTo>
                  <a:pt x="613" y="291"/>
                  <a:pt x="612" y="291"/>
                  <a:pt x="612" y="291"/>
                </a:cubicBezTo>
                <a:cubicBezTo>
                  <a:pt x="611" y="291"/>
                  <a:pt x="610" y="292"/>
                  <a:pt x="610" y="292"/>
                </a:cubicBezTo>
                <a:cubicBezTo>
                  <a:pt x="610" y="292"/>
                  <a:pt x="610" y="291"/>
                  <a:pt x="610" y="291"/>
                </a:cubicBezTo>
                <a:cubicBezTo>
                  <a:pt x="610" y="292"/>
                  <a:pt x="609" y="292"/>
                  <a:pt x="609" y="291"/>
                </a:cubicBezTo>
                <a:cubicBezTo>
                  <a:pt x="609" y="291"/>
                  <a:pt x="608" y="292"/>
                  <a:pt x="608" y="292"/>
                </a:cubicBezTo>
                <a:cubicBezTo>
                  <a:pt x="608" y="292"/>
                  <a:pt x="607" y="292"/>
                  <a:pt x="607" y="292"/>
                </a:cubicBezTo>
                <a:cubicBezTo>
                  <a:pt x="606" y="293"/>
                  <a:pt x="606" y="293"/>
                  <a:pt x="605" y="293"/>
                </a:cubicBezTo>
                <a:cubicBezTo>
                  <a:pt x="605" y="293"/>
                  <a:pt x="604" y="294"/>
                  <a:pt x="604" y="293"/>
                </a:cubicBezTo>
                <a:cubicBezTo>
                  <a:pt x="604" y="293"/>
                  <a:pt x="604" y="293"/>
                  <a:pt x="604" y="293"/>
                </a:cubicBezTo>
                <a:cubicBezTo>
                  <a:pt x="604" y="293"/>
                  <a:pt x="603" y="293"/>
                  <a:pt x="603" y="293"/>
                </a:cubicBezTo>
                <a:cubicBezTo>
                  <a:pt x="602" y="293"/>
                  <a:pt x="602" y="293"/>
                  <a:pt x="602" y="293"/>
                </a:cubicBezTo>
                <a:cubicBezTo>
                  <a:pt x="601" y="294"/>
                  <a:pt x="600" y="294"/>
                  <a:pt x="600" y="294"/>
                </a:cubicBezTo>
                <a:cubicBezTo>
                  <a:pt x="600" y="294"/>
                  <a:pt x="601" y="294"/>
                  <a:pt x="600" y="295"/>
                </a:cubicBezTo>
                <a:cubicBezTo>
                  <a:pt x="600" y="295"/>
                  <a:pt x="599" y="295"/>
                  <a:pt x="599" y="295"/>
                </a:cubicBezTo>
                <a:cubicBezTo>
                  <a:pt x="598" y="295"/>
                  <a:pt x="598" y="295"/>
                  <a:pt x="598" y="296"/>
                </a:cubicBezTo>
                <a:cubicBezTo>
                  <a:pt x="598" y="296"/>
                  <a:pt x="597" y="296"/>
                  <a:pt x="597" y="296"/>
                </a:cubicBezTo>
                <a:cubicBezTo>
                  <a:pt x="597" y="296"/>
                  <a:pt x="598" y="296"/>
                  <a:pt x="597" y="296"/>
                </a:cubicBezTo>
                <a:cubicBezTo>
                  <a:pt x="597" y="296"/>
                  <a:pt x="596" y="296"/>
                  <a:pt x="596" y="296"/>
                </a:cubicBezTo>
                <a:cubicBezTo>
                  <a:pt x="596" y="296"/>
                  <a:pt x="597" y="296"/>
                  <a:pt x="597" y="296"/>
                </a:cubicBezTo>
                <a:cubicBezTo>
                  <a:pt x="597" y="297"/>
                  <a:pt x="596" y="297"/>
                  <a:pt x="596" y="297"/>
                </a:cubicBezTo>
                <a:cubicBezTo>
                  <a:pt x="596" y="297"/>
                  <a:pt x="596" y="298"/>
                  <a:pt x="596" y="298"/>
                </a:cubicBezTo>
                <a:cubicBezTo>
                  <a:pt x="596" y="298"/>
                  <a:pt x="596" y="298"/>
                  <a:pt x="595" y="299"/>
                </a:cubicBezTo>
                <a:cubicBezTo>
                  <a:pt x="595" y="299"/>
                  <a:pt x="595" y="299"/>
                  <a:pt x="595" y="299"/>
                </a:cubicBezTo>
                <a:cubicBezTo>
                  <a:pt x="595" y="298"/>
                  <a:pt x="595" y="298"/>
                  <a:pt x="595" y="298"/>
                </a:cubicBezTo>
                <a:cubicBezTo>
                  <a:pt x="595" y="297"/>
                  <a:pt x="594" y="298"/>
                  <a:pt x="594" y="299"/>
                </a:cubicBezTo>
                <a:cubicBezTo>
                  <a:pt x="594" y="299"/>
                  <a:pt x="594" y="299"/>
                  <a:pt x="593" y="299"/>
                </a:cubicBezTo>
                <a:cubicBezTo>
                  <a:pt x="593" y="299"/>
                  <a:pt x="593" y="299"/>
                  <a:pt x="593" y="299"/>
                </a:cubicBezTo>
                <a:cubicBezTo>
                  <a:pt x="593" y="299"/>
                  <a:pt x="593" y="299"/>
                  <a:pt x="593" y="299"/>
                </a:cubicBezTo>
                <a:cubicBezTo>
                  <a:pt x="592" y="299"/>
                  <a:pt x="592" y="300"/>
                  <a:pt x="592" y="300"/>
                </a:cubicBezTo>
                <a:cubicBezTo>
                  <a:pt x="591" y="300"/>
                  <a:pt x="590" y="301"/>
                  <a:pt x="590" y="301"/>
                </a:cubicBezTo>
                <a:cubicBezTo>
                  <a:pt x="589" y="302"/>
                  <a:pt x="586" y="302"/>
                  <a:pt x="586" y="303"/>
                </a:cubicBezTo>
                <a:cubicBezTo>
                  <a:pt x="586" y="303"/>
                  <a:pt x="587" y="303"/>
                  <a:pt x="587" y="303"/>
                </a:cubicBezTo>
                <a:cubicBezTo>
                  <a:pt x="587" y="304"/>
                  <a:pt x="584" y="304"/>
                  <a:pt x="583" y="305"/>
                </a:cubicBezTo>
                <a:cubicBezTo>
                  <a:pt x="583" y="305"/>
                  <a:pt x="583" y="305"/>
                  <a:pt x="583" y="305"/>
                </a:cubicBezTo>
                <a:cubicBezTo>
                  <a:pt x="583" y="304"/>
                  <a:pt x="583" y="304"/>
                  <a:pt x="583" y="304"/>
                </a:cubicBezTo>
                <a:cubicBezTo>
                  <a:pt x="583" y="304"/>
                  <a:pt x="583" y="304"/>
                  <a:pt x="584" y="304"/>
                </a:cubicBezTo>
                <a:cubicBezTo>
                  <a:pt x="583" y="304"/>
                  <a:pt x="583" y="304"/>
                  <a:pt x="582" y="304"/>
                </a:cubicBezTo>
                <a:cubicBezTo>
                  <a:pt x="583" y="304"/>
                  <a:pt x="583" y="304"/>
                  <a:pt x="583" y="304"/>
                </a:cubicBezTo>
                <a:cubicBezTo>
                  <a:pt x="582" y="305"/>
                  <a:pt x="581" y="304"/>
                  <a:pt x="581" y="304"/>
                </a:cubicBezTo>
                <a:close/>
                <a:moveTo>
                  <a:pt x="595" y="203"/>
                </a:moveTo>
                <a:cubicBezTo>
                  <a:pt x="595" y="203"/>
                  <a:pt x="596" y="203"/>
                  <a:pt x="596" y="203"/>
                </a:cubicBezTo>
                <a:cubicBezTo>
                  <a:pt x="596" y="203"/>
                  <a:pt x="595" y="203"/>
                  <a:pt x="595" y="203"/>
                </a:cubicBezTo>
                <a:close/>
                <a:moveTo>
                  <a:pt x="461" y="87"/>
                </a:moveTo>
                <a:cubicBezTo>
                  <a:pt x="461" y="87"/>
                  <a:pt x="461" y="87"/>
                  <a:pt x="462" y="87"/>
                </a:cubicBezTo>
                <a:cubicBezTo>
                  <a:pt x="461" y="87"/>
                  <a:pt x="461" y="87"/>
                  <a:pt x="461" y="87"/>
                </a:cubicBezTo>
                <a:close/>
                <a:moveTo>
                  <a:pt x="191" y="153"/>
                </a:moveTo>
                <a:cubicBezTo>
                  <a:pt x="192" y="153"/>
                  <a:pt x="195" y="153"/>
                  <a:pt x="196" y="154"/>
                </a:cubicBezTo>
                <a:cubicBezTo>
                  <a:pt x="197" y="154"/>
                  <a:pt x="198" y="154"/>
                  <a:pt x="198" y="154"/>
                </a:cubicBezTo>
                <a:cubicBezTo>
                  <a:pt x="199" y="154"/>
                  <a:pt x="199" y="155"/>
                  <a:pt x="199" y="154"/>
                </a:cubicBezTo>
                <a:cubicBezTo>
                  <a:pt x="200" y="154"/>
                  <a:pt x="201" y="154"/>
                  <a:pt x="202" y="153"/>
                </a:cubicBezTo>
                <a:cubicBezTo>
                  <a:pt x="203" y="153"/>
                  <a:pt x="203" y="153"/>
                  <a:pt x="204" y="153"/>
                </a:cubicBezTo>
                <a:cubicBezTo>
                  <a:pt x="204" y="153"/>
                  <a:pt x="204" y="153"/>
                  <a:pt x="204" y="153"/>
                </a:cubicBezTo>
                <a:cubicBezTo>
                  <a:pt x="204" y="152"/>
                  <a:pt x="205" y="152"/>
                  <a:pt x="205" y="152"/>
                </a:cubicBezTo>
                <a:cubicBezTo>
                  <a:pt x="205" y="151"/>
                  <a:pt x="206" y="151"/>
                  <a:pt x="206" y="151"/>
                </a:cubicBezTo>
                <a:cubicBezTo>
                  <a:pt x="206" y="151"/>
                  <a:pt x="208" y="150"/>
                  <a:pt x="207" y="150"/>
                </a:cubicBezTo>
                <a:cubicBezTo>
                  <a:pt x="208" y="150"/>
                  <a:pt x="210" y="150"/>
                  <a:pt x="211" y="149"/>
                </a:cubicBezTo>
                <a:cubicBezTo>
                  <a:pt x="212" y="149"/>
                  <a:pt x="214" y="148"/>
                  <a:pt x="215" y="148"/>
                </a:cubicBezTo>
                <a:cubicBezTo>
                  <a:pt x="216" y="148"/>
                  <a:pt x="217" y="148"/>
                  <a:pt x="217" y="148"/>
                </a:cubicBezTo>
                <a:cubicBezTo>
                  <a:pt x="218" y="148"/>
                  <a:pt x="218" y="148"/>
                  <a:pt x="217" y="149"/>
                </a:cubicBezTo>
                <a:cubicBezTo>
                  <a:pt x="216" y="150"/>
                  <a:pt x="215" y="150"/>
                  <a:pt x="214" y="151"/>
                </a:cubicBezTo>
                <a:cubicBezTo>
                  <a:pt x="213" y="151"/>
                  <a:pt x="211" y="152"/>
                  <a:pt x="210" y="152"/>
                </a:cubicBezTo>
                <a:cubicBezTo>
                  <a:pt x="209" y="153"/>
                  <a:pt x="208" y="153"/>
                  <a:pt x="208" y="153"/>
                </a:cubicBezTo>
                <a:cubicBezTo>
                  <a:pt x="208" y="154"/>
                  <a:pt x="207" y="154"/>
                  <a:pt x="207" y="154"/>
                </a:cubicBezTo>
                <a:cubicBezTo>
                  <a:pt x="207" y="154"/>
                  <a:pt x="204" y="154"/>
                  <a:pt x="204" y="154"/>
                </a:cubicBezTo>
                <a:cubicBezTo>
                  <a:pt x="203" y="154"/>
                  <a:pt x="202" y="154"/>
                  <a:pt x="203" y="156"/>
                </a:cubicBezTo>
                <a:cubicBezTo>
                  <a:pt x="203" y="156"/>
                  <a:pt x="204" y="156"/>
                  <a:pt x="204" y="156"/>
                </a:cubicBezTo>
                <a:cubicBezTo>
                  <a:pt x="205" y="155"/>
                  <a:pt x="205" y="155"/>
                  <a:pt x="206" y="155"/>
                </a:cubicBezTo>
                <a:cubicBezTo>
                  <a:pt x="207" y="154"/>
                  <a:pt x="208" y="154"/>
                  <a:pt x="210" y="154"/>
                </a:cubicBezTo>
                <a:cubicBezTo>
                  <a:pt x="211" y="154"/>
                  <a:pt x="212" y="153"/>
                  <a:pt x="214" y="153"/>
                </a:cubicBezTo>
                <a:cubicBezTo>
                  <a:pt x="215" y="152"/>
                  <a:pt x="215" y="152"/>
                  <a:pt x="216" y="152"/>
                </a:cubicBezTo>
                <a:cubicBezTo>
                  <a:pt x="217" y="152"/>
                  <a:pt x="217" y="151"/>
                  <a:pt x="217" y="151"/>
                </a:cubicBezTo>
                <a:cubicBezTo>
                  <a:pt x="217" y="152"/>
                  <a:pt x="217" y="152"/>
                  <a:pt x="217" y="152"/>
                </a:cubicBezTo>
                <a:cubicBezTo>
                  <a:pt x="217" y="151"/>
                  <a:pt x="219" y="151"/>
                  <a:pt x="220" y="151"/>
                </a:cubicBezTo>
                <a:cubicBezTo>
                  <a:pt x="221" y="150"/>
                  <a:pt x="222" y="151"/>
                  <a:pt x="222" y="150"/>
                </a:cubicBezTo>
                <a:cubicBezTo>
                  <a:pt x="222" y="149"/>
                  <a:pt x="221" y="149"/>
                  <a:pt x="221" y="149"/>
                </a:cubicBezTo>
                <a:cubicBezTo>
                  <a:pt x="221" y="149"/>
                  <a:pt x="220" y="148"/>
                  <a:pt x="220" y="148"/>
                </a:cubicBezTo>
                <a:cubicBezTo>
                  <a:pt x="221" y="148"/>
                  <a:pt x="221" y="148"/>
                  <a:pt x="222" y="148"/>
                </a:cubicBezTo>
                <a:cubicBezTo>
                  <a:pt x="222" y="148"/>
                  <a:pt x="222" y="147"/>
                  <a:pt x="223" y="147"/>
                </a:cubicBezTo>
                <a:cubicBezTo>
                  <a:pt x="223" y="147"/>
                  <a:pt x="224" y="147"/>
                  <a:pt x="225" y="147"/>
                </a:cubicBezTo>
                <a:cubicBezTo>
                  <a:pt x="225" y="147"/>
                  <a:pt x="224" y="147"/>
                  <a:pt x="224" y="147"/>
                </a:cubicBezTo>
                <a:cubicBezTo>
                  <a:pt x="224" y="147"/>
                  <a:pt x="224" y="147"/>
                  <a:pt x="224" y="147"/>
                </a:cubicBezTo>
                <a:cubicBezTo>
                  <a:pt x="225" y="146"/>
                  <a:pt x="227" y="146"/>
                  <a:pt x="228" y="146"/>
                </a:cubicBezTo>
                <a:cubicBezTo>
                  <a:pt x="229" y="146"/>
                  <a:pt x="230" y="146"/>
                  <a:pt x="231" y="147"/>
                </a:cubicBezTo>
                <a:cubicBezTo>
                  <a:pt x="231" y="147"/>
                  <a:pt x="231" y="147"/>
                  <a:pt x="230" y="147"/>
                </a:cubicBezTo>
                <a:cubicBezTo>
                  <a:pt x="231" y="147"/>
                  <a:pt x="231" y="147"/>
                  <a:pt x="232" y="147"/>
                </a:cubicBezTo>
                <a:cubicBezTo>
                  <a:pt x="231" y="147"/>
                  <a:pt x="232" y="148"/>
                  <a:pt x="232" y="148"/>
                </a:cubicBezTo>
                <a:cubicBezTo>
                  <a:pt x="231" y="147"/>
                  <a:pt x="233" y="147"/>
                  <a:pt x="234" y="147"/>
                </a:cubicBezTo>
                <a:cubicBezTo>
                  <a:pt x="233" y="147"/>
                  <a:pt x="233" y="147"/>
                  <a:pt x="233" y="148"/>
                </a:cubicBezTo>
                <a:cubicBezTo>
                  <a:pt x="234" y="148"/>
                  <a:pt x="235" y="147"/>
                  <a:pt x="237" y="147"/>
                </a:cubicBezTo>
                <a:cubicBezTo>
                  <a:pt x="237" y="147"/>
                  <a:pt x="238" y="147"/>
                  <a:pt x="238" y="146"/>
                </a:cubicBezTo>
                <a:cubicBezTo>
                  <a:pt x="238" y="146"/>
                  <a:pt x="237" y="147"/>
                  <a:pt x="237" y="146"/>
                </a:cubicBezTo>
                <a:cubicBezTo>
                  <a:pt x="238" y="146"/>
                  <a:pt x="239" y="146"/>
                  <a:pt x="239" y="146"/>
                </a:cubicBezTo>
                <a:cubicBezTo>
                  <a:pt x="239" y="145"/>
                  <a:pt x="238" y="146"/>
                  <a:pt x="237" y="146"/>
                </a:cubicBezTo>
                <a:cubicBezTo>
                  <a:pt x="237" y="146"/>
                  <a:pt x="236" y="146"/>
                  <a:pt x="236" y="146"/>
                </a:cubicBezTo>
                <a:cubicBezTo>
                  <a:pt x="236" y="146"/>
                  <a:pt x="236" y="146"/>
                  <a:pt x="236" y="146"/>
                </a:cubicBezTo>
                <a:cubicBezTo>
                  <a:pt x="237" y="145"/>
                  <a:pt x="237" y="145"/>
                  <a:pt x="238" y="145"/>
                </a:cubicBezTo>
                <a:cubicBezTo>
                  <a:pt x="239" y="144"/>
                  <a:pt x="239" y="144"/>
                  <a:pt x="239" y="144"/>
                </a:cubicBezTo>
                <a:cubicBezTo>
                  <a:pt x="240" y="144"/>
                  <a:pt x="241" y="143"/>
                  <a:pt x="240" y="144"/>
                </a:cubicBezTo>
                <a:cubicBezTo>
                  <a:pt x="241" y="144"/>
                  <a:pt x="241" y="144"/>
                  <a:pt x="242" y="144"/>
                </a:cubicBezTo>
                <a:cubicBezTo>
                  <a:pt x="241" y="144"/>
                  <a:pt x="241" y="144"/>
                  <a:pt x="240" y="144"/>
                </a:cubicBezTo>
                <a:cubicBezTo>
                  <a:pt x="240" y="143"/>
                  <a:pt x="240" y="143"/>
                  <a:pt x="240" y="143"/>
                </a:cubicBezTo>
                <a:cubicBezTo>
                  <a:pt x="240" y="143"/>
                  <a:pt x="240" y="143"/>
                  <a:pt x="240" y="143"/>
                </a:cubicBezTo>
                <a:cubicBezTo>
                  <a:pt x="241" y="143"/>
                  <a:pt x="243" y="143"/>
                  <a:pt x="244" y="142"/>
                </a:cubicBezTo>
                <a:cubicBezTo>
                  <a:pt x="243" y="142"/>
                  <a:pt x="243" y="142"/>
                  <a:pt x="243" y="143"/>
                </a:cubicBezTo>
                <a:cubicBezTo>
                  <a:pt x="243" y="142"/>
                  <a:pt x="243" y="142"/>
                  <a:pt x="244" y="142"/>
                </a:cubicBezTo>
                <a:cubicBezTo>
                  <a:pt x="243" y="143"/>
                  <a:pt x="245" y="141"/>
                  <a:pt x="245" y="141"/>
                </a:cubicBezTo>
                <a:cubicBezTo>
                  <a:pt x="245" y="141"/>
                  <a:pt x="245" y="141"/>
                  <a:pt x="245" y="141"/>
                </a:cubicBezTo>
                <a:cubicBezTo>
                  <a:pt x="245" y="141"/>
                  <a:pt x="246" y="141"/>
                  <a:pt x="246" y="141"/>
                </a:cubicBezTo>
                <a:cubicBezTo>
                  <a:pt x="246" y="141"/>
                  <a:pt x="246" y="141"/>
                  <a:pt x="246" y="141"/>
                </a:cubicBezTo>
                <a:cubicBezTo>
                  <a:pt x="246" y="140"/>
                  <a:pt x="247" y="140"/>
                  <a:pt x="247" y="140"/>
                </a:cubicBezTo>
                <a:cubicBezTo>
                  <a:pt x="247" y="140"/>
                  <a:pt x="248" y="140"/>
                  <a:pt x="248" y="140"/>
                </a:cubicBezTo>
                <a:cubicBezTo>
                  <a:pt x="248" y="140"/>
                  <a:pt x="247" y="140"/>
                  <a:pt x="247" y="140"/>
                </a:cubicBezTo>
                <a:cubicBezTo>
                  <a:pt x="247" y="140"/>
                  <a:pt x="248" y="140"/>
                  <a:pt x="248" y="140"/>
                </a:cubicBezTo>
                <a:cubicBezTo>
                  <a:pt x="247" y="139"/>
                  <a:pt x="245" y="140"/>
                  <a:pt x="244" y="140"/>
                </a:cubicBezTo>
                <a:cubicBezTo>
                  <a:pt x="245" y="140"/>
                  <a:pt x="245" y="140"/>
                  <a:pt x="245" y="140"/>
                </a:cubicBezTo>
                <a:cubicBezTo>
                  <a:pt x="245" y="139"/>
                  <a:pt x="246" y="139"/>
                  <a:pt x="246" y="139"/>
                </a:cubicBezTo>
                <a:cubicBezTo>
                  <a:pt x="247" y="139"/>
                  <a:pt x="247" y="139"/>
                  <a:pt x="247" y="139"/>
                </a:cubicBezTo>
                <a:cubicBezTo>
                  <a:pt x="248" y="138"/>
                  <a:pt x="248" y="138"/>
                  <a:pt x="249" y="138"/>
                </a:cubicBezTo>
                <a:cubicBezTo>
                  <a:pt x="248" y="138"/>
                  <a:pt x="248" y="138"/>
                  <a:pt x="248" y="138"/>
                </a:cubicBezTo>
                <a:cubicBezTo>
                  <a:pt x="248" y="138"/>
                  <a:pt x="249" y="138"/>
                  <a:pt x="249" y="138"/>
                </a:cubicBezTo>
                <a:cubicBezTo>
                  <a:pt x="248" y="138"/>
                  <a:pt x="248" y="138"/>
                  <a:pt x="247" y="138"/>
                </a:cubicBezTo>
                <a:cubicBezTo>
                  <a:pt x="246" y="138"/>
                  <a:pt x="246" y="138"/>
                  <a:pt x="245" y="139"/>
                </a:cubicBezTo>
                <a:cubicBezTo>
                  <a:pt x="244" y="139"/>
                  <a:pt x="243" y="139"/>
                  <a:pt x="242" y="140"/>
                </a:cubicBezTo>
                <a:cubicBezTo>
                  <a:pt x="242" y="140"/>
                  <a:pt x="243" y="140"/>
                  <a:pt x="243" y="139"/>
                </a:cubicBezTo>
                <a:cubicBezTo>
                  <a:pt x="243" y="140"/>
                  <a:pt x="242" y="140"/>
                  <a:pt x="241" y="140"/>
                </a:cubicBezTo>
                <a:cubicBezTo>
                  <a:pt x="240" y="141"/>
                  <a:pt x="239" y="141"/>
                  <a:pt x="238" y="141"/>
                </a:cubicBezTo>
                <a:cubicBezTo>
                  <a:pt x="237" y="141"/>
                  <a:pt x="236" y="141"/>
                  <a:pt x="235" y="141"/>
                </a:cubicBezTo>
                <a:cubicBezTo>
                  <a:pt x="234" y="141"/>
                  <a:pt x="233" y="141"/>
                  <a:pt x="232" y="141"/>
                </a:cubicBezTo>
                <a:cubicBezTo>
                  <a:pt x="232" y="141"/>
                  <a:pt x="230" y="141"/>
                  <a:pt x="230" y="141"/>
                </a:cubicBezTo>
                <a:cubicBezTo>
                  <a:pt x="230" y="141"/>
                  <a:pt x="231" y="141"/>
                  <a:pt x="231" y="141"/>
                </a:cubicBezTo>
                <a:cubicBezTo>
                  <a:pt x="231" y="141"/>
                  <a:pt x="230" y="141"/>
                  <a:pt x="230" y="141"/>
                </a:cubicBezTo>
                <a:cubicBezTo>
                  <a:pt x="229" y="141"/>
                  <a:pt x="229" y="141"/>
                  <a:pt x="228" y="141"/>
                </a:cubicBezTo>
                <a:cubicBezTo>
                  <a:pt x="229" y="141"/>
                  <a:pt x="229" y="141"/>
                  <a:pt x="229" y="141"/>
                </a:cubicBezTo>
                <a:cubicBezTo>
                  <a:pt x="228" y="140"/>
                  <a:pt x="227" y="141"/>
                  <a:pt x="225" y="141"/>
                </a:cubicBezTo>
                <a:cubicBezTo>
                  <a:pt x="225" y="139"/>
                  <a:pt x="227" y="140"/>
                  <a:pt x="228" y="140"/>
                </a:cubicBezTo>
                <a:cubicBezTo>
                  <a:pt x="228" y="140"/>
                  <a:pt x="227" y="140"/>
                  <a:pt x="227" y="140"/>
                </a:cubicBezTo>
                <a:cubicBezTo>
                  <a:pt x="227" y="140"/>
                  <a:pt x="227" y="140"/>
                  <a:pt x="227" y="139"/>
                </a:cubicBezTo>
                <a:cubicBezTo>
                  <a:pt x="227" y="139"/>
                  <a:pt x="229" y="139"/>
                  <a:pt x="229" y="139"/>
                </a:cubicBezTo>
                <a:cubicBezTo>
                  <a:pt x="229" y="139"/>
                  <a:pt x="231" y="138"/>
                  <a:pt x="231" y="138"/>
                </a:cubicBezTo>
                <a:cubicBezTo>
                  <a:pt x="232" y="138"/>
                  <a:pt x="233" y="138"/>
                  <a:pt x="234" y="138"/>
                </a:cubicBezTo>
                <a:cubicBezTo>
                  <a:pt x="234" y="137"/>
                  <a:pt x="235" y="137"/>
                  <a:pt x="235" y="137"/>
                </a:cubicBezTo>
                <a:cubicBezTo>
                  <a:pt x="235" y="137"/>
                  <a:pt x="236" y="137"/>
                  <a:pt x="236" y="137"/>
                </a:cubicBezTo>
                <a:cubicBezTo>
                  <a:pt x="236" y="137"/>
                  <a:pt x="237" y="137"/>
                  <a:pt x="237" y="137"/>
                </a:cubicBezTo>
                <a:cubicBezTo>
                  <a:pt x="238" y="137"/>
                  <a:pt x="238" y="136"/>
                  <a:pt x="239" y="136"/>
                </a:cubicBezTo>
                <a:cubicBezTo>
                  <a:pt x="239" y="136"/>
                  <a:pt x="240" y="136"/>
                  <a:pt x="241" y="136"/>
                </a:cubicBezTo>
                <a:cubicBezTo>
                  <a:pt x="242" y="135"/>
                  <a:pt x="239" y="136"/>
                  <a:pt x="240" y="135"/>
                </a:cubicBezTo>
                <a:cubicBezTo>
                  <a:pt x="240" y="135"/>
                  <a:pt x="238" y="136"/>
                  <a:pt x="238" y="135"/>
                </a:cubicBezTo>
                <a:cubicBezTo>
                  <a:pt x="238" y="135"/>
                  <a:pt x="239" y="135"/>
                  <a:pt x="239" y="135"/>
                </a:cubicBezTo>
                <a:cubicBezTo>
                  <a:pt x="238" y="135"/>
                  <a:pt x="238" y="135"/>
                  <a:pt x="237" y="135"/>
                </a:cubicBezTo>
                <a:cubicBezTo>
                  <a:pt x="238" y="135"/>
                  <a:pt x="238" y="135"/>
                  <a:pt x="238" y="135"/>
                </a:cubicBezTo>
                <a:cubicBezTo>
                  <a:pt x="238" y="135"/>
                  <a:pt x="236" y="135"/>
                  <a:pt x="237" y="135"/>
                </a:cubicBezTo>
                <a:cubicBezTo>
                  <a:pt x="237" y="135"/>
                  <a:pt x="237" y="135"/>
                  <a:pt x="237" y="134"/>
                </a:cubicBezTo>
                <a:cubicBezTo>
                  <a:pt x="237" y="134"/>
                  <a:pt x="236" y="134"/>
                  <a:pt x="236" y="134"/>
                </a:cubicBezTo>
                <a:cubicBezTo>
                  <a:pt x="236" y="134"/>
                  <a:pt x="235" y="135"/>
                  <a:pt x="235" y="134"/>
                </a:cubicBezTo>
                <a:cubicBezTo>
                  <a:pt x="234" y="135"/>
                  <a:pt x="233" y="135"/>
                  <a:pt x="232" y="135"/>
                </a:cubicBezTo>
                <a:cubicBezTo>
                  <a:pt x="231" y="135"/>
                  <a:pt x="230" y="135"/>
                  <a:pt x="229" y="136"/>
                </a:cubicBezTo>
                <a:cubicBezTo>
                  <a:pt x="228" y="136"/>
                  <a:pt x="227" y="136"/>
                  <a:pt x="226" y="136"/>
                </a:cubicBezTo>
                <a:cubicBezTo>
                  <a:pt x="225" y="136"/>
                  <a:pt x="224" y="136"/>
                  <a:pt x="223" y="137"/>
                </a:cubicBezTo>
                <a:cubicBezTo>
                  <a:pt x="223" y="137"/>
                  <a:pt x="223" y="137"/>
                  <a:pt x="222" y="137"/>
                </a:cubicBezTo>
                <a:cubicBezTo>
                  <a:pt x="222" y="137"/>
                  <a:pt x="222" y="137"/>
                  <a:pt x="221" y="137"/>
                </a:cubicBezTo>
                <a:cubicBezTo>
                  <a:pt x="221" y="138"/>
                  <a:pt x="220" y="138"/>
                  <a:pt x="219" y="138"/>
                </a:cubicBezTo>
                <a:cubicBezTo>
                  <a:pt x="218" y="138"/>
                  <a:pt x="217" y="138"/>
                  <a:pt x="216" y="138"/>
                </a:cubicBezTo>
                <a:cubicBezTo>
                  <a:pt x="215" y="138"/>
                  <a:pt x="214" y="139"/>
                  <a:pt x="213" y="139"/>
                </a:cubicBezTo>
                <a:cubicBezTo>
                  <a:pt x="213" y="139"/>
                  <a:pt x="214" y="139"/>
                  <a:pt x="214" y="138"/>
                </a:cubicBezTo>
                <a:cubicBezTo>
                  <a:pt x="214" y="138"/>
                  <a:pt x="213" y="139"/>
                  <a:pt x="213" y="139"/>
                </a:cubicBezTo>
                <a:cubicBezTo>
                  <a:pt x="213" y="139"/>
                  <a:pt x="213" y="138"/>
                  <a:pt x="213" y="138"/>
                </a:cubicBezTo>
                <a:cubicBezTo>
                  <a:pt x="213" y="138"/>
                  <a:pt x="212" y="139"/>
                  <a:pt x="212" y="139"/>
                </a:cubicBezTo>
                <a:cubicBezTo>
                  <a:pt x="212" y="139"/>
                  <a:pt x="212" y="139"/>
                  <a:pt x="213" y="139"/>
                </a:cubicBezTo>
                <a:cubicBezTo>
                  <a:pt x="211" y="139"/>
                  <a:pt x="210" y="139"/>
                  <a:pt x="209" y="139"/>
                </a:cubicBezTo>
                <a:cubicBezTo>
                  <a:pt x="209" y="139"/>
                  <a:pt x="207" y="140"/>
                  <a:pt x="207" y="140"/>
                </a:cubicBezTo>
                <a:cubicBezTo>
                  <a:pt x="207" y="140"/>
                  <a:pt x="207" y="139"/>
                  <a:pt x="207" y="139"/>
                </a:cubicBezTo>
                <a:cubicBezTo>
                  <a:pt x="207" y="139"/>
                  <a:pt x="207" y="139"/>
                  <a:pt x="206" y="140"/>
                </a:cubicBezTo>
                <a:cubicBezTo>
                  <a:pt x="206" y="140"/>
                  <a:pt x="205" y="140"/>
                  <a:pt x="205" y="140"/>
                </a:cubicBezTo>
                <a:cubicBezTo>
                  <a:pt x="204" y="140"/>
                  <a:pt x="203" y="140"/>
                  <a:pt x="203" y="140"/>
                </a:cubicBezTo>
                <a:cubicBezTo>
                  <a:pt x="202" y="140"/>
                  <a:pt x="200" y="141"/>
                  <a:pt x="199" y="141"/>
                </a:cubicBezTo>
                <a:cubicBezTo>
                  <a:pt x="199" y="141"/>
                  <a:pt x="198" y="141"/>
                  <a:pt x="197" y="141"/>
                </a:cubicBezTo>
                <a:cubicBezTo>
                  <a:pt x="197" y="141"/>
                  <a:pt x="196" y="141"/>
                  <a:pt x="195" y="142"/>
                </a:cubicBezTo>
                <a:cubicBezTo>
                  <a:pt x="195" y="142"/>
                  <a:pt x="194" y="142"/>
                  <a:pt x="194" y="141"/>
                </a:cubicBezTo>
                <a:cubicBezTo>
                  <a:pt x="193" y="141"/>
                  <a:pt x="191" y="142"/>
                  <a:pt x="192" y="141"/>
                </a:cubicBezTo>
                <a:cubicBezTo>
                  <a:pt x="191" y="141"/>
                  <a:pt x="190" y="142"/>
                  <a:pt x="190" y="142"/>
                </a:cubicBezTo>
                <a:cubicBezTo>
                  <a:pt x="189" y="143"/>
                  <a:pt x="189" y="144"/>
                  <a:pt x="189" y="144"/>
                </a:cubicBezTo>
                <a:cubicBezTo>
                  <a:pt x="189" y="145"/>
                  <a:pt x="189" y="145"/>
                  <a:pt x="190" y="144"/>
                </a:cubicBezTo>
                <a:cubicBezTo>
                  <a:pt x="190" y="144"/>
                  <a:pt x="191" y="143"/>
                  <a:pt x="191" y="144"/>
                </a:cubicBezTo>
                <a:cubicBezTo>
                  <a:pt x="191" y="144"/>
                  <a:pt x="190" y="144"/>
                  <a:pt x="191" y="144"/>
                </a:cubicBezTo>
                <a:cubicBezTo>
                  <a:pt x="191" y="144"/>
                  <a:pt x="192" y="144"/>
                  <a:pt x="192" y="144"/>
                </a:cubicBezTo>
                <a:cubicBezTo>
                  <a:pt x="192" y="144"/>
                  <a:pt x="193" y="143"/>
                  <a:pt x="193" y="143"/>
                </a:cubicBezTo>
                <a:cubicBezTo>
                  <a:pt x="192" y="143"/>
                  <a:pt x="193" y="143"/>
                  <a:pt x="193" y="143"/>
                </a:cubicBezTo>
                <a:cubicBezTo>
                  <a:pt x="194" y="143"/>
                  <a:pt x="195" y="142"/>
                  <a:pt x="196" y="143"/>
                </a:cubicBezTo>
                <a:cubicBezTo>
                  <a:pt x="197" y="143"/>
                  <a:pt x="196" y="143"/>
                  <a:pt x="197" y="143"/>
                </a:cubicBezTo>
                <a:cubicBezTo>
                  <a:pt x="197" y="143"/>
                  <a:pt x="198" y="143"/>
                  <a:pt x="198" y="143"/>
                </a:cubicBezTo>
                <a:cubicBezTo>
                  <a:pt x="200" y="143"/>
                  <a:pt x="201" y="143"/>
                  <a:pt x="202" y="143"/>
                </a:cubicBezTo>
                <a:cubicBezTo>
                  <a:pt x="203" y="143"/>
                  <a:pt x="202" y="144"/>
                  <a:pt x="203" y="144"/>
                </a:cubicBezTo>
                <a:cubicBezTo>
                  <a:pt x="203" y="143"/>
                  <a:pt x="203" y="143"/>
                  <a:pt x="204" y="143"/>
                </a:cubicBezTo>
                <a:cubicBezTo>
                  <a:pt x="204" y="143"/>
                  <a:pt x="204" y="143"/>
                  <a:pt x="205" y="143"/>
                </a:cubicBezTo>
                <a:cubicBezTo>
                  <a:pt x="206" y="142"/>
                  <a:pt x="205" y="142"/>
                  <a:pt x="206" y="142"/>
                </a:cubicBezTo>
                <a:cubicBezTo>
                  <a:pt x="207" y="142"/>
                  <a:pt x="209" y="142"/>
                  <a:pt x="210" y="142"/>
                </a:cubicBezTo>
                <a:cubicBezTo>
                  <a:pt x="212" y="142"/>
                  <a:pt x="213" y="141"/>
                  <a:pt x="214" y="142"/>
                </a:cubicBezTo>
                <a:cubicBezTo>
                  <a:pt x="215" y="143"/>
                  <a:pt x="214" y="143"/>
                  <a:pt x="215" y="143"/>
                </a:cubicBezTo>
                <a:cubicBezTo>
                  <a:pt x="215" y="143"/>
                  <a:pt x="217" y="143"/>
                  <a:pt x="217" y="144"/>
                </a:cubicBezTo>
                <a:cubicBezTo>
                  <a:pt x="216" y="145"/>
                  <a:pt x="212" y="145"/>
                  <a:pt x="211" y="145"/>
                </a:cubicBezTo>
                <a:cubicBezTo>
                  <a:pt x="210" y="145"/>
                  <a:pt x="210" y="144"/>
                  <a:pt x="209" y="144"/>
                </a:cubicBezTo>
                <a:cubicBezTo>
                  <a:pt x="209" y="144"/>
                  <a:pt x="208" y="144"/>
                  <a:pt x="207" y="144"/>
                </a:cubicBezTo>
                <a:cubicBezTo>
                  <a:pt x="206" y="144"/>
                  <a:pt x="205" y="144"/>
                  <a:pt x="204" y="145"/>
                </a:cubicBezTo>
                <a:cubicBezTo>
                  <a:pt x="205" y="145"/>
                  <a:pt x="205" y="144"/>
                  <a:pt x="206" y="145"/>
                </a:cubicBezTo>
                <a:cubicBezTo>
                  <a:pt x="205" y="145"/>
                  <a:pt x="207" y="145"/>
                  <a:pt x="207" y="146"/>
                </a:cubicBezTo>
                <a:cubicBezTo>
                  <a:pt x="207" y="147"/>
                  <a:pt x="206" y="147"/>
                  <a:pt x="205" y="147"/>
                </a:cubicBezTo>
                <a:cubicBezTo>
                  <a:pt x="204" y="148"/>
                  <a:pt x="202" y="148"/>
                  <a:pt x="201" y="148"/>
                </a:cubicBezTo>
                <a:cubicBezTo>
                  <a:pt x="201" y="148"/>
                  <a:pt x="200" y="148"/>
                  <a:pt x="199" y="149"/>
                </a:cubicBezTo>
                <a:cubicBezTo>
                  <a:pt x="199" y="149"/>
                  <a:pt x="199" y="149"/>
                  <a:pt x="198" y="149"/>
                </a:cubicBezTo>
                <a:cubicBezTo>
                  <a:pt x="200" y="150"/>
                  <a:pt x="196" y="152"/>
                  <a:pt x="195" y="152"/>
                </a:cubicBezTo>
                <a:cubicBezTo>
                  <a:pt x="194" y="152"/>
                  <a:pt x="193" y="152"/>
                  <a:pt x="191" y="152"/>
                </a:cubicBezTo>
                <a:cubicBezTo>
                  <a:pt x="191" y="152"/>
                  <a:pt x="190" y="152"/>
                  <a:pt x="191" y="153"/>
                </a:cubicBezTo>
                <a:close/>
                <a:moveTo>
                  <a:pt x="274" y="177"/>
                </a:moveTo>
                <a:cubicBezTo>
                  <a:pt x="275" y="176"/>
                  <a:pt x="275" y="176"/>
                  <a:pt x="275" y="176"/>
                </a:cubicBezTo>
                <a:cubicBezTo>
                  <a:pt x="276" y="176"/>
                  <a:pt x="276" y="176"/>
                  <a:pt x="276" y="175"/>
                </a:cubicBezTo>
                <a:cubicBezTo>
                  <a:pt x="276" y="175"/>
                  <a:pt x="275" y="176"/>
                  <a:pt x="274" y="176"/>
                </a:cubicBezTo>
                <a:cubicBezTo>
                  <a:pt x="275" y="176"/>
                  <a:pt x="275" y="176"/>
                  <a:pt x="276" y="175"/>
                </a:cubicBezTo>
                <a:cubicBezTo>
                  <a:pt x="275" y="175"/>
                  <a:pt x="275" y="175"/>
                  <a:pt x="274" y="175"/>
                </a:cubicBezTo>
                <a:cubicBezTo>
                  <a:pt x="273" y="175"/>
                  <a:pt x="273" y="175"/>
                  <a:pt x="272" y="174"/>
                </a:cubicBezTo>
                <a:cubicBezTo>
                  <a:pt x="272" y="174"/>
                  <a:pt x="272" y="174"/>
                  <a:pt x="272" y="174"/>
                </a:cubicBezTo>
                <a:cubicBezTo>
                  <a:pt x="271" y="174"/>
                  <a:pt x="270" y="174"/>
                  <a:pt x="270" y="174"/>
                </a:cubicBezTo>
                <a:cubicBezTo>
                  <a:pt x="270" y="174"/>
                  <a:pt x="270" y="174"/>
                  <a:pt x="270" y="174"/>
                </a:cubicBezTo>
                <a:cubicBezTo>
                  <a:pt x="267" y="174"/>
                  <a:pt x="264" y="174"/>
                  <a:pt x="262" y="175"/>
                </a:cubicBezTo>
                <a:cubicBezTo>
                  <a:pt x="260" y="175"/>
                  <a:pt x="259" y="175"/>
                  <a:pt x="257" y="176"/>
                </a:cubicBezTo>
                <a:cubicBezTo>
                  <a:pt x="256" y="176"/>
                  <a:pt x="255" y="177"/>
                  <a:pt x="254" y="178"/>
                </a:cubicBezTo>
                <a:cubicBezTo>
                  <a:pt x="253" y="178"/>
                  <a:pt x="252" y="179"/>
                  <a:pt x="251" y="180"/>
                </a:cubicBezTo>
                <a:cubicBezTo>
                  <a:pt x="250" y="180"/>
                  <a:pt x="250" y="180"/>
                  <a:pt x="249" y="180"/>
                </a:cubicBezTo>
                <a:cubicBezTo>
                  <a:pt x="248" y="180"/>
                  <a:pt x="248" y="181"/>
                  <a:pt x="247" y="181"/>
                </a:cubicBezTo>
                <a:cubicBezTo>
                  <a:pt x="246" y="181"/>
                  <a:pt x="244" y="182"/>
                  <a:pt x="243" y="182"/>
                </a:cubicBezTo>
                <a:cubicBezTo>
                  <a:pt x="242" y="183"/>
                  <a:pt x="242" y="183"/>
                  <a:pt x="241" y="183"/>
                </a:cubicBezTo>
                <a:cubicBezTo>
                  <a:pt x="240" y="183"/>
                  <a:pt x="240" y="183"/>
                  <a:pt x="239" y="183"/>
                </a:cubicBezTo>
                <a:cubicBezTo>
                  <a:pt x="239" y="183"/>
                  <a:pt x="239" y="183"/>
                  <a:pt x="239" y="183"/>
                </a:cubicBezTo>
                <a:cubicBezTo>
                  <a:pt x="239" y="182"/>
                  <a:pt x="238" y="183"/>
                  <a:pt x="238" y="183"/>
                </a:cubicBezTo>
                <a:cubicBezTo>
                  <a:pt x="237" y="183"/>
                  <a:pt x="237" y="183"/>
                  <a:pt x="237" y="183"/>
                </a:cubicBezTo>
                <a:cubicBezTo>
                  <a:pt x="237" y="183"/>
                  <a:pt x="237" y="183"/>
                  <a:pt x="236" y="183"/>
                </a:cubicBezTo>
                <a:cubicBezTo>
                  <a:pt x="236" y="183"/>
                  <a:pt x="235" y="183"/>
                  <a:pt x="235" y="183"/>
                </a:cubicBezTo>
                <a:cubicBezTo>
                  <a:pt x="235" y="183"/>
                  <a:pt x="235" y="183"/>
                  <a:pt x="235" y="183"/>
                </a:cubicBezTo>
                <a:cubicBezTo>
                  <a:pt x="235" y="183"/>
                  <a:pt x="234" y="183"/>
                  <a:pt x="234" y="183"/>
                </a:cubicBezTo>
                <a:cubicBezTo>
                  <a:pt x="234" y="183"/>
                  <a:pt x="234" y="183"/>
                  <a:pt x="235" y="183"/>
                </a:cubicBezTo>
                <a:cubicBezTo>
                  <a:pt x="234" y="183"/>
                  <a:pt x="233" y="182"/>
                  <a:pt x="234" y="182"/>
                </a:cubicBezTo>
                <a:cubicBezTo>
                  <a:pt x="233" y="182"/>
                  <a:pt x="233" y="180"/>
                  <a:pt x="232" y="180"/>
                </a:cubicBezTo>
                <a:cubicBezTo>
                  <a:pt x="232" y="180"/>
                  <a:pt x="231" y="180"/>
                  <a:pt x="232" y="180"/>
                </a:cubicBezTo>
                <a:cubicBezTo>
                  <a:pt x="233" y="179"/>
                  <a:pt x="232" y="179"/>
                  <a:pt x="232" y="179"/>
                </a:cubicBezTo>
                <a:cubicBezTo>
                  <a:pt x="231" y="179"/>
                  <a:pt x="229" y="180"/>
                  <a:pt x="229" y="180"/>
                </a:cubicBezTo>
                <a:cubicBezTo>
                  <a:pt x="228" y="179"/>
                  <a:pt x="228" y="179"/>
                  <a:pt x="228" y="179"/>
                </a:cubicBezTo>
                <a:cubicBezTo>
                  <a:pt x="228" y="179"/>
                  <a:pt x="227" y="178"/>
                  <a:pt x="226" y="178"/>
                </a:cubicBezTo>
                <a:cubicBezTo>
                  <a:pt x="226" y="178"/>
                  <a:pt x="227" y="178"/>
                  <a:pt x="227" y="177"/>
                </a:cubicBezTo>
                <a:cubicBezTo>
                  <a:pt x="226" y="177"/>
                  <a:pt x="226" y="177"/>
                  <a:pt x="226" y="177"/>
                </a:cubicBezTo>
                <a:cubicBezTo>
                  <a:pt x="225" y="177"/>
                  <a:pt x="224" y="177"/>
                  <a:pt x="223" y="177"/>
                </a:cubicBezTo>
                <a:cubicBezTo>
                  <a:pt x="223" y="177"/>
                  <a:pt x="224" y="176"/>
                  <a:pt x="224" y="176"/>
                </a:cubicBezTo>
                <a:cubicBezTo>
                  <a:pt x="224" y="176"/>
                  <a:pt x="223" y="175"/>
                  <a:pt x="222" y="176"/>
                </a:cubicBezTo>
                <a:cubicBezTo>
                  <a:pt x="221" y="176"/>
                  <a:pt x="222" y="177"/>
                  <a:pt x="223" y="177"/>
                </a:cubicBezTo>
                <a:cubicBezTo>
                  <a:pt x="222" y="177"/>
                  <a:pt x="222" y="177"/>
                  <a:pt x="222" y="178"/>
                </a:cubicBezTo>
                <a:cubicBezTo>
                  <a:pt x="222" y="178"/>
                  <a:pt x="223" y="177"/>
                  <a:pt x="223" y="178"/>
                </a:cubicBezTo>
                <a:cubicBezTo>
                  <a:pt x="223" y="178"/>
                  <a:pt x="222" y="178"/>
                  <a:pt x="222" y="178"/>
                </a:cubicBezTo>
                <a:cubicBezTo>
                  <a:pt x="222" y="178"/>
                  <a:pt x="222" y="179"/>
                  <a:pt x="222" y="179"/>
                </a:cubicBezTo>
                <a:cubicBezTo>
                  <a:pt x="223" y="178"/>
                  <a:pt x="223" y="178"/>
                  <a:pt x="224" y="179"/>
                </a:cubicBezTo>
                <a:cubicBezTo>
                  <a:pt x="224" y="179"/>
                  <a:pt x="225" y="178"/>
                  <a:pt x="225" y="178"/>
                </a:cubicBezTo>
                <a:cubicBezTo>
                  <a:pt x="225" y="178"/>
                  <a:pt x="223" y="180"/>
                  <a:pt x="224" y="180"/>
                </a:cubicBezTo>
                <a:cubicBezTo>
                  <a:pt x="224" y="180"/>
                  <a:pt x="223" y="181"/>
                  <a:pt x="223" y="181"/>
                </a:cubicBezTo>
                <a:cubicBezTo>
                  <a:pt x="223" y="181"/>
                  <a:pt x="224" y="181"/>
                  <a:pt x="224" y="181"/>
                </a:cubicBezTo>
                <a:cubicBezTo>
                  <a:pt x="224" y="181"/>
                  <a:pt x="224" y="181"/>
                  <a:pt x="224" y="181"/>
                </a:cubicBezTo>
                <a:cubicBezTo>
                  <a:pt x="224" y="181"/>
                  <a:pt x="225" y="182"/>
                  <a:pt x="224" y="182"/>
                </a:cubicBezTo>
                <a:cubicBezTo>
                  <a:pt x="224" y="182"/>
                  <a:pt x="224" y="182"/>
                  <a:pt x="224" y="182"/>
                </a:cubicBezTo>
                <a:cubicBezTo>
                  <a:pt x="224" y="182"/>
                  <a:pt x="224" y="183"/>
                  <a:pt x="224" y="183"/>
                </a:cubicBezTo>
                <a:cubicBezTo>
                  <a:pt x="224" y="183"/>
                  <a:pt x="225" y="183"/>
                  <a:pt x="225" y="183"/>
                </a:cubicBezTo>
                <a:cubicBezTo>
                  <a:pt x="225" y="183"/>
                  <a:pt x="224" y="184"/>
                  <a:pt x="224" y="184"/>
                </a:cubicBezTo>
                <a:cubicBezTo>
                  <a:pt x="224" y="184"/>
                  <a:pt x="225" y="184"/>
                  <a:pt x="225" y="184"/>
                </a:cubicBezTo>
                <a:cubicBezTo>
                  <a:pt x="225" y="184"/>
                  <a:pt x="224" y="184"/>
                  <a:pt x="224" y="184"/>
                </a:cubicBezTo>
                <a:cubicBezTo>
                  <a:pt x="224" y="184"/>
                  <a:pt x="224" y="184"/>
                  <a:pt x="225" y="184"/>
                </a:cubicBezTo>
                <a:cubicBezTo>
                  <a:pt x="225" y="185"/>
                  <a:pt x="223" y="185"/>
                  <a:pt x="224" y="185"/>
                </a:cubicBezTo>
                <a:cubicBezTo>
                  <a:pt x="223" y="185"/>
                  <a:pt x="223" y="185"/>
                  <a:pt x="222" y="185"/>
                </a:cubicBezTo>
                <a:cubicBezTo>
                  <a:pt x="222" y="186"/>
                  <a:pt x="222" y="185"/>
                  <a:pt x="221" y="186"/>
                </a:cubicBezTo>
                <a:cubicBezTo>
                  <a:pt x="221" y="186"/>
                  <a:pt x="220" y="186"/>
                  <a:pt x="219" y="186"/>
                </a:cubicBezTo>
                <a:cubicBezTo>
                  <a:pt x="219" y="186"/>
                  <a:pt x="219" y="186"/>
                  <a:pt x="219" y="186"/>
                </a:cubicBezTo>
                <a:cubicBezTo>
                  <a:pt x="219" y="186"/>
                  <a:pt x="216" y="185"/>
                  <a:pt x="216" y="186"/>
                </a:cubicBezTo>
                <a:cubicBezTo>
                  <a:pt x="216" y="186"/>
                  <a:pt x="216" y="186"/>
                  <a:pt x="216" y="186"/>
                </a:cubicBezTo>
                <a:cubicBezTo>
                  <a:pt x="215" y="187"/>
                  <a:pt x="214" y="187"/>
                  <a:pt x="213" y="188"/>
                </a:cubicBezTo>
                <a:cubicBezTo>
                  <a:pt x="213" y="188"/>
                  <a:pt x="213" y="188"/>
                  <a:pt x="212" y="189"/>
                </a:cubicBezTo>
                <a:cubicBezTo>
                  <a:pt x="211" y="189"/>
                  <a:pt x="210" y="189"/>
                  <a:pt x="209" y="189"/>
                </a:cubicBezTo>
                <a:cubicBezTo>
                  <a:pt x="209" y="189"/>
                  <a:pt x="210" y="190"/>
                  <a:pt x="210" y="190"/>
                </a:cubicBezTo>
                <a:cubicBezTo>
                  <a:pt x="210" y="191"/>
                  <a:pt x="208" y="191"/>
                  <a:pt x="208" y="191"/>
                </a:cubicBezTo>
                <a:cubicBezTo>
                  <a:pt x="208" y="191"/>
                  <a:pt x="208" y="192"/>
                  <a:pt x="208" y="191"/>
                </a:cubicBezTo>
                <a:cubicBezTo>
                  <a:pt x="207" y="191"/>
                  <a:pt x="207" y="191"/>
                  <a:pt x="207" y="191"/>
                </a:cubicBezTo>
                <a:cubicBezTo>
                  <a:pt x="207" y="190"/>
                  <a:pt x="207" y="190"/>
                  <a:pt x="207" y="190"/>
                </a:cubicBezTo>
                <a:cubicBezTo>
                  <a:pt x="206" y="190"/>
                  <a:pt x="205" y="190"/>
                  <a:pt x="205" y="190"/>
                </a:cubicBezTo>
                <a:cubicBezTo>
                  <a:pt x="204" y="190"/>
                  <a:pt x="203" y="190"/>
                  <a:pt x="203" y="190"/>
                </a:cubicBezTo>
                <a:cubicBezTo>
                  <a:pt x="202" y="190"/>
                  <a:pt x="203" y="191"/>
                  <a:pt x="202" y="191"/>
                </a:cubicBezTo>
                <a:cubicBezTo>
                  <a:pt x="201" y="191"/>
                  <a:pt x="200" y="191"/>
                  <a:pt x="200" y="192"/>
                </a:cubicBezTo>
                <a:cubicBezTo>
                  <a:pt x="198" y="192"/>
                  <a:pt x="197" y="190"/>
                  <a:pt x="196" y="190"/>
                </a:cubicBezTo>
                <a:cubicBezTo>
                  <a:pt x="196" y="190"/>
                  <a:pt x="197" y="190"/>
                  <a:pt x="197" y="191"/>
                </a:cubicBezTo>
                <a:cubicBezTo>
                  <a:pt x="197" y="191"/>
                  <a:pt x="196" y="191"/>
                  <a:pt x="197" y="191"/>
                </a:cubicBezTo>
                <a:cubicBezTo>
                  <a:pt x="197" y="192"/>
                  <a:pt x="197" y="192"/>
                  <a:pt x="198" y="193"/>
                </a:cubicBezTo>
                <a:cubicBezTo>
                  <a:pt x="199" y="193"/>
                  <a:pt x="200" y="193"/>
                  <a:pt x="201" y="193"/>
                </a:cubicBezTo>
                <a:cubicBezTo>
                  <a:pt x="201" y="193"/>
                  <a:pt x="201" y="193"/>
                  <a:pt x="202" y="193"/>
                </a:cubicBezTo>
                <a:cubicBezTo>
                  <a:pt x="202" y="193"/>
                  <a:pt x="203" y="193"/>
                  <a:pt x="202" y="193"/>
                </a:cubicBezTo>
                <a:cubicBezTo>
                  <a:pt x="202" y="193"/>
                  <a:pt x="202" y="194"/>
                  <a:pt x="203" y="194"/>
                </a:cubicBezTo>
                <a:cubicBezTo>
                  <a:pt x="203" y="194"/>
                  <a:pt x="204" y="194"/>
                  <a:pt x="205" y="195"/>
                </a:cubicBezTo>
                <a:cubicBezTo>
                  <a:pt x="205" y="195"/>
                  <a:pt x="206" y="195"/>
                  <a:pt x="206" y="195"/>
                </a:cubicBezTo>
                <a:cubicBezTo>
                  <a:pt x="207" y="194"/>
                  <a:pt x="207" y="195"/>
                  <a:pt x="208" y="195"/>
                </a:cubicBezTo>
                <a:cubicBezTo>
                  <a:pt x="209" y="195"/>
                  <a:pt x="211" y="195"/>
                  <a:pt x="212" y="194"/>
                </a:cubicBezTo>
                <a:cubicBezTo>
                  <a:pt x="213" y="194"/>
                  <a:pt x="213" y="194"/>
                  <a:pt x="214" y="194"/>
                </a:cubicBezTo>
                <a:cubicBezTo>
                  <a:pt x="215" y="194"/>
                  <a:pt x="215" y="194"/>
                  <a:pt x="215" y="194"/>
                </a:cubicBezTo>
                <a:cubicBezTo>
                  <a:pt x="216" y="194"/>
                  <a:pt x="217" y="194"/>
                  <a:pt x="217" y="194"/>
                </a:cubicBezTo>
                <a:cubicBezTo>
                  <a:pt x="218" y="194"/>
                  <a:pt x="218" y="194"/>
                  <a:pt x="219" y="193"/>
                </a:cubicBezTo>
                <a:cubicBezTo>
                  <a:pt x="219" y="193"/>
                  <a:pt x="220" y="193"/>
                  <a:pt x="220" y="193"/>
                </a:cubicBezTo>
                <a:cubicBezTo>
                  <a:pt x="221" y="193"/>
                  <a:pt x="221" y="193"/>
                  <a:pt x="221" y="193"/>
                </a:cubicBezTo>
                <a:cubicBezTo>
                  <a:pt x="222" y="193"/>
                  <a:pt x="224" y="193"/>
                  <a:pt x="225" y="192"/>
                </a:cubicBezTo>
                <a:cubicBezTo>
                  <a:pt x="225" y="192"/>
                  <a:pt x="226" y="191"/>
                  <a:pt x="225" y="192"/>
                </a:cubicBezTo>
                <a:cubicBezTo>
                  <a:pt x="225" y="191"/>
                  <a:pt x="226" y="191"/>
                  <a:pt x="226" y="190"/>
                </a:cubicBezTo>
                <a:cubicBezTo>
                  <a:pt x="227" y="190"/>
                  <a:pt x="228" y="190"/>
                  <a:pt x="228" y="190"/>
                </a:cubicBezTo>
                <a:cubicBezTo>
                  <a:pt x="229" y="189"/>
                  <a:pt x="230" y="189"/>
                  <a:pt x="231" y="189"/>
                </a:cubicBezTo>
                <a:cubicBezTo>
                  <a:pt x="231" y="189"/>
                  <a:pt x="232" y="189"/>
                  <a:pt x="233" y="189"/>
                </a:cubicBezTo>
                <a:cubicBezTo>
                  <a:pt x="232" y="188"/>
                  <a:pt x="233" y="188"/>
                  <a:pt x="233" y="189"/>
                </a:cubicBezTo>
                <a:cubicBezTo>
                  <a:pt x="233" y="189"/>
                  <a:pt x="233" y="189"/>
                  <a:pt x="233" y="189"/>
                </a:cubicBezTo>
                <a:cubicBezTo>
                  <a:pt x="233" y="189"/>
                  <a:pt x="234" y="189"/>
                  <a:pt x="235" y="189"/>
                </a:cubicBezTo>
                <a:cubicBezTo>
                  <a:pt x="235" y="189"/>
                  <a:pt x="236" y="188"/>
                  <a:pt x="237" y="188"/>
                </a:cubicBezTo>
                <a:cubicBezTo>
                  <a:pt x="238" y="188"/>
                  <a:pt x="240" y="188"/>
                  <a:pt x="241" y="187"/>
                </a:cubicBezTo>
                <a:cubicBezTo>
                  <a:pt x="242" y="186"/>
                  <a:pt x="243" y="186"/>
                  <a:pt x="244" y="185"/>
                </a:cubicBezTo>
                <a:cubicBezTo>
                  <a:pt x="244" y="185"/>
                  <a:pt x="246" y="185"/>
                  <a:pt x="246" y="184"/>
                </a:cubicBezTo>
                <a:cubicBezTo>
                  <a:pt x="247" y="184"/>
                  <a:pt x="249" y="184"/>
                  <a:pt x="250" y="182"/>
                </a:cubicBezTo>
                <a:cubicBezTo>
                  <a:pt x="250" y="182"/>
                  <a:pt x="249" y="183"/>
                  <a:pt x="248" y="183"/>
                </a:cubicBezTo>
                <a:cubicBezTo>
                  <a:pt x="249" y="182"/>
                  <a:pt x="250" y="182"/>
                  <a:pt x="251" y="182"/>
                </a:cubicBezTo>
                <a:cubicBezTo>
                  <a:pt x="250" y="182"/>
                  <a:pt x="250" y="182"/>
                  <a:pt x="250" y="182"/>
                </a:cubicBezTo>
                <a:cubicBezTo>
                  <a:pt x="251" y="182"/>
                  <a:pt x="251" y="182"/>
                  <a:pt x="252" y="181"/>
                </a:cubicBezTo>
                <a:cubicBezTo>
                  <a:pt x="253" y="181"/>
                  <a:pt x="253" y="181"/>
                  <a:pt x="254" y="181"/>
                </a:cubicBezTo>
                <a:cubicBezTo>
                  <a:pt x="254" y="181"/>
                  <a:pt x="254" y="181"/>
                  <a:pt x="253" y="181"/>
                </a:cubicBezTo>
                <a:cubicBezTo>
                  <a:pt x="254" y="180"/>
                  <a:pt x="254" y="180"/>
                  <a:pt x="255" y="180"/>
                </a:cubicBezTo>
                <a:cubicBezTo>
                  <a:pt x="255" y="180"/>
                  <a:pt x="256" y="180"/>
                  <a:pt x="255" y="180"/>
                </a:cubicBezTo>
                <a:cubicBezTo>
                  <a:pt x="256" y="179"/>
                  <a:pt x="257" y="179"/>
                  <a:pt x="258" y="179"/>
                </a:cubicBezTo>
                <a:cubicBezTo>
                  <a:pt x="258" y="179"/>
                  <a:pt x="260" y="179"/>
                  <a:pt x="260" y="179"/>
                </a:cubicBezTo>
                <a:cubicBezTo>
                  <a:pt x="260" y="179"/>
                  <a:pt x="259" y="180"/>
                  <a:pt x="259" y="180"/>
                </a:cubicBezTo>
                <a:cubicBezTo>
                  <a:pt x="260" y="180"/>
                  <a:pt x="262" y="180"/>
                  <a:pt x="263" y="179"/>
                </a:cubicBezTo>
                <a:cubicBezTo>
                  <a:pt x="262" y="179"/>
                  <a:pt x="262" y="179"/>
                  <a:pt x="261" y="179"/>
                </a:cubicBezTo>
                <a:cubicBezTo>
                  <a:pt x="261" y="179"/>
                  <a:pt x="262" y="179"/>
                  <a:pt x="263" y="179"/>
                </a:cubicBezTo>
                <a:cubicBezTo>
                  <a:pt x="262" y="179"/>
                  <a:pt x="263" y="179"/>
                  <a:pt x="264" y="179"/>
                </a:cubicBezTo>
                <a:cubicBezTo>
                  <a:pt x="264" y="179"/>
                  <a:pt x="264" y="179"/>
                  <a:pt x="265" y="179"/>
                </a:cubicBezTo>
                <a:cubicBezTo>
                  <a:pt x="265" y="178"/>
                  <a:pt x="266" y="178"/>
                  <a:pt x="267" y="178"/>
                </a:cubicBezTo>
                <a:cubicBezTo>
                  <a:pt x="266" y="178"/>
                  <a:pt x="266" y="178"/>
                  <a:pt x="265" y="178"/>
                </a:cubicBezTo>
                <a:cubicBezTo>
                  <a:pt x="265" y="178"/>
                  <a:pt x="263" y="179"/>
                  <a:pt x="264" y="178"/>
                </a:cubicBezTo>
                <a:cubicBezTo>
                  <a:pt x="263" y="178"/>
                  <a:pt x="261" y="179"/>
                  <a:pt x="260" y="179"/>
                </a:cubicBezTo>
                <a:cubicBezTo>
                  <a:pt x="260" y="179"/>
                  <a:pt x="261" y="178"/>
                  <a:pt x="261" y="178"/>
                </a:cubicBezTo>
                <a:cubicBezTo>
                  <a:pt x="261" y="178"/>
                  <a:pt x="260" y="178"/>
                  <a:pt x="260" y="178"/>
                </a:cubicBezTo>
                <a:cubicBezTo>
                  <a:pt x="260" y="178"/>
                  <a:pt x="262" y="178"/>
                  <a:pt x="262" y="178"/>
                </a:cubicBezTo>
                <a:cubicBezTo>
                  <a:pt x="263" y="178"/>
                  <a:pt x="264" y="178"/>
                  <a:pt x="264" y="178"/>
                </a:cubicBezTo>
                <a:cubicBezTo>
                  <a:pt x="265" y="178"/>
                  <a:pt x="265" y="178"/>
                  <a:pt x="265" y="178"/>
                </a:cubicBezTo>
                <a:cubicBezTo>
                  <a:pt x="266" y="178"/>
                  <a:pt x="266" y="178"/>
                  <a:pt x="267" y="177"/>
                </a:cubicBezTo>
                <a:cubicBezTo>
                  <a:pt x="268" y="177"/>
                  <a:pt x="269" y="177"/>
                  <a:pt x="269" y="177"/>
                </a:cubicBezTo>
                <a:cubicBezTo>
                  <a:pt x="269" y="176"/>
                  <a:pt x="264" y="177"/>
                  <a:pt x="264" y="176"/>
                </a:cubicBezTo>
                <a:cubicBezTo>
                  <a:pt x="264" y="175"/>
                  <a:pt x="269" y="176"/>
                  <a:pt x="269" y="176"/>
                </a:cubicBezTo>
                <a:cubicBezTo>
                  <a:pt x="269" y="176"/>
                  <a:pt x="268" y="176"/>
                  <a:pt x="268" y="176"/>
                </a:cubicBezTo>
                <a:cubicBezTo>
                  <a:pt x="267" y="175"/>
                  <a:pt x="266" y="176"/>
                  <a:pt x="265" y="176"/>
                </a:cubicBezTo>
                <a:cubicBezTo>
                  <a:pt x="265" y="176"/>
                  <a:pt x="264" y="175"/>
                  <a:pt x="264" y="176"/>
                </a:cubicBezTo>
                <a:cubicBezTo>
                  <a:pt x="264" y="176"/>
                  <a:pt x="264" y="176"/>
                  <a:pt x="264" y="176"/>
                </a:cubicBezTo>
                <a:cubicBezTo>
                  <a:pt x="265" y="176"/>
                  <a:pt x="264" y="176"/>
                  <a:pt x="263" y="177"/>
                </a:cubicBezTo>
                <a:cubicBezTo>
                  <a:pt x="263" y="177"/>
                  <a:pt x="263" y="177"/>
                  <a:pt x="262" y="177"/>
                </a:cubicBezTo>
                <a:cubicBezTo>
                  <a:pt x="261" y="176"/>
                  <a:pt x="260" y="177"/>
                  <a:pt x="258" y="177"/>
                </a:cubicBezTo>
                <a:cubicBezTo>
                  <a:pt x="257" y="177"/>
                  <a:pt x="256" y="178"/>
                  <a:pt x="255" y="178"/>
                </a:cubicBezTo>
                <a:cubicBezTo>
                  <a:pt x="254" y="178"/>
                  <a:pt x="253" y="179"/>
                  <a:pt x="252" y="180"/>
                </a:cubicBezTo>
                <a:cubicBezTo>
                  <a:pt x="253" y="178"/>
                  <a:pt x="256" y="177"/>
                  <a:pt x="258" y="177"/>
                </a:cubicBezTo>
                <a:cubicBezTo>
                  <a:pt x="259" y="176"/>
                  <a:pt x="260" y="176"/>
                  <a:pt x="262" y="176"/>
                </a:cubicBezTo>
                <a:cubicBezTo>
                  <a:pt x="262" y="176"/>
                  <a:pt x="263" y="176"/>
                  <a:pt x="264" y="175"/>
                </a:cubicBezTo>
                <a:cubicBezTo>
                  <a:pt x="264" y="175"/>
                  <a:pt x="263" y="175"/>
                  <a:pt x="263" y="175"/>
                </a:cubicBezTo>
                <a:cubicBezTo>
                  <a:pt x="263" y="175"/>
                  <a:pt x="265" y="175"/>
                  <a:pt x="265" y="175"/>
                </a:cubicBezTo>
                <a:cubicBezTo>
                  <a:pt x="266" y="175"/>
                  <a:pt x="268" y="175"/>
                  <a:pt x="269" y="175"/>
                </a:cubicBezTo>
                <a:cubicBezTo>
                  <a:pt x="270" y="176"/>
                  <a:pt x="271" y="176"/>
                  <a:pt x="272" y="176"/>
                </a:cubicBezTo>
                <a:cubicBezTo>
                  <a:pt x="272" y="176"/>
                  <a:pt x="273" y="176"/>
                  <a:pt x="272" y="176"/>
                </a:cubicBezTo>
                <a:cubicBezTo>
                  <a:pt x="273" y="176"/>
                  <a:pt x="273" y="176"/>
                  <a:pt x="273" y="176"/>
                </a:cubicBezTo>
                <a:cubicBezTo>
                  <a:pt x="273" y="177"/>
                  <a:pt x="273" y="177"/>
                  <a:pt x="272" y="177"/>
                </a:cubicBezTo>
                <a:cubicBezTo>
                  <a:pt x="273" y="177"/>
                  <a:pt x="273" y="177"/>
                  <a:pt x="273" y="177"/>
                </a:cubicBezTo>
                <a:cubicBezTo>
                  <a:pt x="272" y="177"/>
                  <a:pt x="272" y="177"/>
                  <a:pt x="271" y="177"/>
                </a:cubicBezTo>
                <a:cubicBezTo>
                  <a:pt x="272" y="178"/>
                  <a:pt x="273" y="177"/>
                  <a:pt x="274" y="177"/>
                </a:cubicBezTo>
                <a:close/>
                <a:moveTo>
                  <a:pt x="261" y="178"/>
                </a:moveTo>
                <a:cubicBezTo>
                  <a:pt x="262" y="178"/>
                  <a:pt x="263" y="178"/>
                  <a:pt x="263" y="178"/>
                </a:cubicBezTo>
                <a:cubicBezTo>
                  <a:pt x="263" y="178"/>
                  <a:pt x="262" y="178"/>
                  <a:pt x="261" y="178"/>
                </a:cubicBezTo>
                <a:close/>
                <a:moveTo>
                  <a:pt x="290" y="268"/>
                </a:moveTo>
                <a:cubicBezTo>
                  <a:pt x="290" y="267"/>
                  <a:pt x="289" y="268"/>
                  <a:pt x="289" y="268"/>
                </a:cubicBezTo>
                <a:cubicBezTo>
                  <a:pt x="288" y="268"/>
                  <a:pt x="289" y="267"/>
                  <a:pt x="288" y="267"/>
                </a:cubicBezTo>
                <a:cubicBezTo>
                  <a:pt x="288" y="267"/>
                  <a:pt x="287" y="266"/>
                  <a:pt x="287" y="266"/>
                </a:cubicBezTo>
                <a:cubicBezTo>
                  <a:pt x="286" y="266"/>
                  <a:pt x="285" y="266"/>
                  <a:pt x="284" y="266"/>
                </a:cubicBezTo>
                <a:cubicBezTo>
                  <a:pt x="285" y="265"/>
                  <a:pt x="282" y="266"/>
                  <a:pt x="281" y="267"/>
                </a:cubicBezTo>
                <a:cubicBezTo>
                  <a:pt x="281" y="267"/>
                  <a:pt x="281" y="267"/>
                  <a:pt x="280" y="268"/>
                </a:cubicBezTo>
                <a:cubicBezTo>
                  <a:pt x="280" y="268"/>
                  <a:pt x="280" y="269"/>
                  <a:pt x="279" y="269"/>
                </a:cubicBezTo>
                <a:cubicBezTo>
                  <a:pt x="279" y="270"/>
                  <a:pt x="278" y="271"/>
                  <a:pt x="277" y="271"/>
                </a:cubicBezTo>
                <a:cubicBezTo>
                  <a:pt x="276" y="271"/>
                  <a:pt x="275" y="272"/>
                  <a:pt x="275" y="273"/>
                </a:cubicBezTo>
                <a:cubicBezTo>
                  <a:pt x="276" y="273"/>
                  <a:pt x="275" y="275"/>
                  <a:pt x="276" y="275"/>
                </a:cubicBezTo>
                <a:cubicBezTo>
                  <a:pt x="277" y="274"/>
                  <a:pt x="277" y="275"/>
                  <a:pt x="277" y="275"/>
                </a:cubicBezTo>
                <a:cubicBezTo>
                  <a:pt x="278" y="274"/>
                  <a:pt x="278" y="275"/>
                  <a:pt x="279" y="275"/>
                </a:cubicBezTo>
                <a:cubicBezTo>
                  <a:pt x="279" y="275"/>
                  <a:pt x="281" y="275"/>
                  <a:pt x="280" y="275"/>
                </a:cubicBezTo>
                <a:cubicBezTo>
                  <a:pt x="280" y="275"/>
                  <a:pt x="279" y="275"/>
                  <a:pt x="278" y="275"/>
                </a:cubicBezTo>
                <a:cubicBezTo>
                  <a:pt x="277" y="276"/>
                  <a:pt x="277" y="276"/>
                  <a:pt x="276" y="276"/>
                </a:cubicBezTo>
                <a:cubicBezTo>
                  <a:pt x="275" y="277"/>
                  <a:pt x="276" y="277"/>
                  <a:pt x="275" y="278"/>
                </a:cubicBezTo>
                <a:cubicBezTo>
                  <a:pt x="275" y="278"/>
                  <a:pt x="275" y="279"/>
                  <a:pt x="275" y="279"/>
                </a:cubicBezTo>
                <a:cubicBezTo>
                  <a:pt x="276" y="279"/>
                  <a:pt x="276" y="279"/>
                  <a:pt x="276" y="279"/>
                </a:cubicBezTo>
                <a:cubicBezTo>
                  <a:pt x="276" y="280"/>
                  <a:pt x="276" y="280"/>
                  <a:pt x="276" y="280"/>
                </a:cubicBezTo>
                <a:cubicBezTo>
                  <a:pt x="276" y="281"/>
                  <a:pt x="276" y="281"/>
                  <a:pt x="276" y="282"/>
                </a:cubicBezTo>
                <a:cubicBezTo>
                  <a:pt x="276" y="282"/>
                  <a:pt x="277" y="282"/>
                  <a:pt x="277" y="282"/>
                </a:cubicBezTo>
                <a:cubicBezTo>
                  <a:pt x="277" y="283"/>
                  <a:pt x="277" y="284"/>
                  <a:pt x="277" y="284"/>
                </a:cubicBezTo>
                <a:cubicBezTo>
                  <a:pt x="276" y="284"/>
                  <a:pt x="277" y="284"/>
                  <a:pt x="277" y="285"/>
                </a:cubicBezTo>
                <a:cubicBezTo>
                  <a:pt x="277" y="285"/>
                  <a:pt x="276" y="287"/>
                  <a:pt x="277" y="287"/>
                </a:cubicBezTo>
                <a:cubicBezTo>
                  <a:pt x="277" y="287"/>
                  <a:pt x="278" y="287"/>
                  <a:pt x="278" y="287"/>
                </a:cubicBezTo>
                <a:cubicBezTo>
                  <a:pt x="278" y="287"/>
                  <a:pt x="278" y="287"/>
                  <a:pt x="278" y="286"/>
                </a:cubicBezTo>
                <a:cubicBezTo>
                  <a:pt x="278" y="286"/>
                  <a:pt x="279" y="286"/>
                  <a:pt x="279" y="286"/>
                </a:cubicBezTo>
                <a:cubicBezTo>
                  <a:pt x="279" y="286"/>
                  <a:pt x="280" y="285"/>
                  <a:pt x="280" y="285"/>
                </a:cubicBezTo>
                <a:cubicBezTo>
                  <a:pt x="280" y="285"/>
                  <a:pt x="279" y="285"/>
                  <a:pt x="279" y="285"/>
                </a:cubicBezTo>
                <a:cubicBezTo>
                  <a:pt x="279" y="284"/>
                  <a:pt x="280" y="284"/>
                  <a:pt x="280" y="284"/>
                </a:cubicBezTo>
                <a:cubicBezTo>
                  <a:pt x="280" y="285"/>
                  <a:pt x="282" y="284"/>
                  <a:pt x="282" y="284"/>
                </a:cubicBezTo>
                <a:cubicBezTo>
                  <a:pt x="282" y="284"/>
                  <a:pt x="279" y="286"/>
                  <a:pt x="280" y="287"/>
                </a:cubicBezTo>
                <a:cubicBezTo>
                  <a:pt x="280" y="287"/>
                  <a:pt x="282" y="285"/>
                  <a:pt x="282" y="285"/>
                </a:cubicBezTo>
                <a:cubicBezTo>
                  <a:pt x="283" y="285"/>
                  <a:pt x="282" y="286"/>
                  <a:pt x="282" y="287"/>
                </a:cubicBezTo>
                <a:cubicBezTo>
                  <a:pt x="282" y="288"/>
                  <a:pt x="282" y="288"/>
                  <a:pt x="281" y="289"/>
                </a:cubicBezTo>
                <a:cubicBezTo>
                  <a:pt x="280" y="289"/>
                  <a:pt x="280" y="290"/>
                  <a:pt x="279" y="291"/>
                </a:cubicBezTo>
                <a:cubicBezTo>
                  <a:pt x="279" y="292"/>
                  <a:pt x="279" y="292"/>
                  <a:pt x="280" y="291"/>
                </a:cubicBezTo>
                <a:cubicBezTo>
                  <a:pt x="281" y="291"/>
                  <a:pt x="281" y="290"/>
                  <a:pt x="282" y="290"/>
                </a:cubicBezTo>
                <a:cubicBezTo>
                  <a:pt x="282" y="289"/>
                  <a:pt x="282" y="289"/>
                  <a:pt x="283" y="289"/>
                </a:cubicBezTo>
                <a:cubicBezTo>
                  <a:pt x="283" y="289"/>
                  <a:pt x="284" y="289"/>
                  <a:pt x="284" y="289"/>
                </a:cubicBezTo>
                <a:cubicBezTo>
                  <a:pt x="285" y="289"/>
                  <a:pt x="284" y="289"/>
                  <a:pt x="284" y="289"/>
                </a:cubicBezTo>
                <a:cubicBezTo>
                  <a:pt x="284" y="289"/>
                  <a:pt x="285" y="289"/>
                  <a:pt x="284" y="290"/>
                </a:cubicBezTo>
                <a:cubicBezTo>
                  <a:pt x="284" y="290"/>
                  <a:pt x="284" y="290"/>
                  <a:pt x="284" y="290"/>
                </a:cubicBezTo>
                <a:cubicBezTo>
                  <a:pt x="284" y="290"/>
                  <a:pt x="284" y="290"/>
                  <a:pt x="285" y="290"/>
                </a:cubicBezTo>
                <a:cubicBezTo>
                  <a:pt x="284" y="291"/>
                  <a:pt x="283" y="292"/>
                  <a:pt x="282" y="292"/>
                </a:cubicBezTo>
                <a:cubicBezTo>
                  <a:pt x="281" y="293"/>
                  <a:pt x="280" y="294"/>
                  <a:pt x="280" y="294"/>
                </a:cubicBezTo>
                <a:cubicBezTo>
                  <a:pt x="280" y="295"/>
                  <a:pt x="283" y="292"/>
                  <a:pt x="283" y="292"/>
                </a:cubicBezTo>
                <a:cubicBezTo>
                  <a:pt x="283" y="293"/>
                  <a:pt x="283" y="293"/>
                  <a:pt x="283" y="293"/>
                </a:cubicBezTo>
                <a:cubicBezTo>
                  <a:pt x="283" y="293"/>
                  <a:pt x="284" y="292"/>
                  <a:pt x="284" y="293"/>
                </a:cubicBezTo>
                <a:cubicBezTo>
                  <a:pt x="284" y="293"/>
                  <a:pt x="282" y="294"/>
                  <a:pt x="281" y="294"/>
                </a:cubicBezTo>
                <a:cubicBezTo>
                  <a:pt x="281" y="295"/>
                  <a:pt x="281" y="295"/>
                  <a:pt x="280" y="295"/>
                </a:cubicBezTo>
                <a:cubicBezTo>
                  <a:pt x="279" y="295"/>
                  <a:pt x="279" y="296"/>
                  <a:pt x="279" y="296"/>
                </a:cubicBezTo>
                <a:cubicBezTo>
                  <a:pt x="279" y="297"/>
                  <a:pt x="278" y="297"/>
                  <a:pt x="278" y="297"/>
                </a:cubicBezTo>
                <a:cubicBezTo>
                  <a:pt x="278" y="298"/>
                  <a:pt x="278" y="298"/>
                  <a:pt x="278" y="298"/>
                </a:cubicBezTo>
                <a:cubicBezTo>
                  <a:pt x="277" y="298"/>
                  <a:pt x="277" y="298"/>
                  <a:pt x="277" y="299"/>
                </a:cubicBezTo>
                <a:cubicBezTo>
                  <a:pt x="277" y="299"/>
                  <a:pt x="276" y="300"/>
                  <a:pt x="276" y="300"/>
                </a:cubicBezTo>
                <a:cubicBezTo>
                  <a:pt x="276" y="301"/>
                  <a:pt x="276" y="301"/>
                  <a:pt x="276" y="301"/>
                </a:cubicBezTo>
                <a:cubicBezTo>
                  <a:pt x="275" y="302"/>
                  <a:pt x="275" y="303"/>
                  <a:pt x="276" y="303"/>
                </a:cubicBezTo>
                <a:cubicBezTo>
                  <a:pt x="277" y="303"/>
                  <a:pt x="278" y="303"/>
                  <a:pt x="279" y="302"/>
                </a:cubicBezTo>
                <a:cubicBezTo>
                  <a:pt x="279" y="302"/>
                  <a:pt x="279" y="301"/>
                  <a:pt x="279" y="301"/>
                </a:cubicBezTo>
                <a:cubicBezTo>
                  <a:pt x="279" y="301"/>
                  <a:pt x="279" y="300"/>
                  <a:pt x="280" y="300"/>
                </a:cubicBezTo>
                <a:cubicBezTo>
                  <a:pt x="280" y="300"/>
                  <a:pt x="280" y="299"/>
                  <a:pt x="281" y="300"/>
                </a:cubicBezTo>
                <a:cubicBezTo>
                  <a:pt x="281" y="300"/>
                  <a:pt x="281" y="300"/>
                  <a:pt x="281" y="300"/>
                </a:cubicBezTo>
                <a:cubicBezTo>
                  <a:pt x="281" y="300"/>
                  <a:pt x="282" y="300"/>
                  <a:pt x="282" y="300"/>
                </a:cubicBezTo>
                <a:cubicBezTo>
                  <a:pt x="281" y="300"/>
                  <a:pt x="283" y="298"/>
                  <a:pt x="283" y="298"/>
                </a:cubicBezTo>
                <a:cubicBezTo>
                  <a:pt x="283" y="297"/>
                  <a:pt x="283" y="295"/>
                  <a:pt x="284" y="295"/>
                </a:cubicBezTo>
                <a:cubicBezTo>
                  <a:pt x="285" y="295"/>
                  <a:pt x="285" y="295"/>
                  <a:pt x="285" y="295"/>
                </a:cubicBezTo>
                <a:cubicBezTo>
                  <a:pt x="285" y="294"/>
                  <a:pt x="286" y="294"/>
                  <a:pt x="286" y="294"/>
                </a:cubicBezTo>
                <a:cubicBezTo>
                  <a:pt x="286" y="294"/>
                  <a:pt x="286" y="293"/>
                  <a:pt x="286" y="293"/>
                </a:cubicBezTo>
                <a:cubicBezTo>
                  <a:pt x="286" y="293"/>
                  <a:pt x="285" y="293"/>
                  <a:pt x="285" y="292"/>
                </a:cubicBezTo>
                <a:cubicBezTo>
                  <a:pt x="285" y="292"/>
                  <a:pt x="285" y="292"/>
                  <a:pt x="285" y="291"/>
                </a:cubicBezTo>
                <a:cubicBezTo>
                  <a:pt x="285" y="291"/>
                  <a:pt x="286" y="291"/>
                  <a:pt x="286" y="290"/>
                </a:cubicBezTo>
                <a:cubicBezTo>
                  <a:pt x="286" y="290"/>
                  <a:pt x="285" y="289"/>
                  <a:pt x="285" y="288"/>
                </a:cubicBezTo>
                <a:cubicBezTo>
                  <a:pt x="285" y="288"/>
                  <a:pt x="286" y="288"/>
                  <a:pt x="286" y="288"/>
                </a:cubicBezTo>
                <a:cubicBezTo>
                  <a:pt x="287" y="288"/>
                  <a:pt x="285" y="287"/>
                  <a:pt x="285" y="287"/>
                </a:cubicBezTo>
                <a:cubicBezTo>
                  <a:pt x="285" y="287"/>
                  <a:pt x="286" y="287"/>
                  <a:pt x="286" y="286"/>
                </a:cubicBezTo>
                <a:cubicBezTo>
                  <a:pt x="286" y="285"/>
                  <a:pt x="286" y="285"/>
                  <a:pt x="286" y="285"/>
                </a:cubicBezTo>
                <a:cubicBezTo>
                  <a:pt x="286" y="284"/>
                  <a:pt x="286" y="283"/>
                  <a:pt x="286" y="283"/>
                </a:cubicBezTo>
                <a:cubicBezTo>
                  <a:pt x="287" y="283"/>
                  <a:pt x="287" y="283"/>
                  <a:pt x="287" y="282"/>
                </a:cubicBezTo>
                <a:cubicBezTo>
                  <a:pt x="287" y="282"/>
                  <a:pt x="287" y="282"/>
                  <a:pt x="287" y="282"/>
                </a:cubicBezTo>
                <a:cubicBezTo>
                  <a:pt x="287" y="282"/>
                  <a:pt x="288" y="281"/>
                  <a:pt x="288" y="281"/>
                </a:cubicBezTo>
                <a:cubicBezTo>
                  <a:pt x="288" y="281"/>
                  <a:pt x="287" y="281"/>
                  <a:pt x="287" y="281"/>
                </a:cubicBezTo>
                <a:cubicBezTo>
                  <a:pt x="287" y="281"/>
                  <a:pt x="288" y="280"/>
                  <a:pt x="288" y="280"/>
                </a:cubicBezTo>
                <a:cubicBezTo>
                  <a:pt x="288" y="280"/>
                  <a:pt x="288" y="279"/>
                  <a:pt x="288" y="279"/>
                </a:cubicBezTo>
                <a:cubicBezTo>
                  <a:pt x="288" y="278"/>
                  <a:pt x="288" y="278"/>
                  <a:pt x="288" y="277"/>
                </a:cubicBezTo>
                <a:cubicBezTo>
                  <a:pt x="288" y="277"/>
                  <a:pt x="288" y="276"/>
                  <a:pt x="288" y="276"/>
                </a:cubicBezTo>
                <a:cubicBezTo>
                  <a:pt x="288" y="276"/>
                  <a:pt x="289" y="275"/>
                  <a:pt x="289" y="275"/>
                </a:cubicBezTo>
                <a:cubicBezTo>
                  <a:pt x="289" y="275"/>
                  <a:pt x="289" y="275"/>
                  <a:pt x="289" y="275"/>
                </a:cubicBezTo>
                <a:cubicBezTo>
                  <a:pt x="289" y="274"/>
                  <a:pt x="289" y="274"/>
                  <a:pt x="289" y="273"/>
                </a:cubicBezTo>
                <a:cubicBezTo>
                  <a:pt x="290" y="273"/>
                  <a:pt x="289" y="273"/>
                  <a:pt x="289" y="273"/>
                </a:cubicBezTo>
                <a:cubicBezTo>
                  <a:pt x="289" y="272"/>
                  <a:pt x="289" y="272"/>
                  <a:pt x="290" y="272"/>
                </a:cubicBezTo>
                <a:cubicBezTo>
                  <a:pt x="290" y="271"/>
                  <a:pt x="289" y="271"/>
                  <a:pt x="289" y="271"/>
                </a:cubicBezTo>
                <a:cubicBezTo>
                  <a:pt x="289" y="270"/>
                  <a:pt x="290" y="270"/>
                  <a:pt x="290" y="270"/>
                </a:cubicBezTo>
                <a:cubicBezTo>
                  <a:pt x="290" y="269"/>
                  <a:pt x="289" y="269"/>
                  <a:pt x="290" y="269"/>
                </a:cubicBezTo>
                <a:cubicBezTo>
                  <a:pt x="290" y="268"/>
                  <a:pt x="290" y="268"/>
                  <a:pt x="290" y="268"/>
                </a:cubicBezTo>
                <a:cubicBezTo>
                  <a:pt x="290" y="268"/>
                  <a:pt x="290" y="268"/>
                  <a:pt x="290" y="268"/>
                </a:cubicBezTo>
                <a:close/>
                <a:moveTo>
                  <a:pt x="295" y="261"/>
                </a:moveTo>
                <a:cubicBezTo>
                  <a:pt x="294" y="261"/>
                  <a:pt x="293" y="262"/>
                  <a:pt x="293" y="261"/>
                </a:cubicBezTo>
                <a:cubicBezTo>
                  <a:pt x="293" y="262"/>
                  <a:pt x="295" y="261"/>
                  <a:pt x="294" y="260"/>
                </a:cubicBezTo>
                <a:cubicBezTo>
                  <a:pt x="293" y="261"/>
                  <a:pt x="293" y="261"/>
                  <a:pt x="292" y="261"/>
                </a:cubicBezTo>
                <a:cubicBezTo>
                  <a:pt x="292" y="262"/>
                  <a:pt x="292" y="262"/>
                  <a:pt x="291" y="262"/>
                </a:cubicBezTo>
                <a:cubicBezTo>
                  <a:pt x="291" y="263"/>
                  <a:pt x="290" y="264"/>
                  <a:pt x="289" y="264"/>
                </a:cubicBezTo>
                <a:cubicBezTo>
                  <a:pt x="289" y="264"/>
                  <a:pt x="288" y="266"/>
                  <a:pt x="288" y="266"/>
                </a:cubicBezTo>
                <a:cubicBezTo>
                  <a:pt x="288" y="266"/>
                  <a:pt x="289" y="266"/>
                  <a:pt x="289" y="266"/>
                </a:cubicBezTo>
                <a:cubicBezTo>
                  <a:pt x="289" y="267"/>
                  <a:pt x="289" y="267"/>
                  <a:pt x="289" y="267"/>
                </a:cubicBezTo>
                <a:cubicBezTo>
                  <a:pt x="290" y="267"/>
                  <a:pt x="291" y="267"/>
                  <a:pt x="290" y="266"/>
                </a:cubicBezTo>
                <a:cubicBezTo>
                  <a:pt x="290" y="266"/>
                  <a:pt x="291" y="266"/>
                  <a:pt x="291" y="266"/>
                </a:cubicBezTo>
                <a:cubicBezTo>
                  <a:pt x="290" y="265"/>
                  <a:pt x="291" y="265"/>
                  <a:pt x="291" y="265"/>
                </a:cubicBezTo>
                <a:cubicBezTo>
                  <a:pt x="292" y="265"/>
                  <a:pt x="293" y="265"/>
                  <a:pt x="294" y="264"/>
                </a:cubicBezTo>
                <a:cubicBezTo>
                  <a:pt x="293" y="264"/>
                  <a:pt x="292" y="265"/>
                  <a:pt x="292" y="264"/>
                </a:cubicBezTo>
                <a:cubicBezTo>
                  <a:pt x="292" y="264"/>
                  <a:pt x="291" y="265"/>
                  <a:pt x="291" y="265"/>
                </a:cubicBezTo>
                <a:cubicBezTo>
                  <a:pt x="291" y="265"/>
                  <a:pt x="290" y="266"/>
                  <a:pt x="289" y="266"/>
                </a:cubicBezTo>
                <a:cubicBezTo>
                  <a:pt x="289" y="265"/>
                  <a:pt x="289" y="265"/>
                  <a:pt x="289" y="265"/>
                </a:cubicBezTo>
                <a:cubicBezTo>
                  <a:pt x="289" y="264"/>
                  <a:pt x="290" y="264"/>
                  <a:pt x="290" y="264"/>
                </a:cubicBezTo>
                <a:cubicBezTo>
                  <a:pt x="290" y="264"/>
                  <a:pt x="290" y="263"/>
                  <a:pt x="291" y="263"/>
                </a:cubicBezTo>
                <a:cubicBezTo>
                  <a:pt x="292" y="262"/>
                  <a:pt x="293" y="262"/>
                  <a:pt x="294" y="262"/>
                </a:cubicBezTo>
                <a:cubicBezTo>
                  <a:pt x="294" y="262"/>
                  <a:pt x="295" y="262"/>
                  <a:pt x="295" y="261"/>
                </a:cubicBezTo>
                <a:close/>
                <a:moveTo>
                  <a:pt x="602" y="223"/>
                </a:moveTo>
                <a:cubicBezTo>
                  <a:pt x="602" y="223"/>
                  <a:pt x="602" y="223"/>
                  <a:pt x="602" y="223"/>
                </a:cubicBezTo>
                <a:close/>
                <a:moveTo>
                  <a:pt x="293" y="120"/>
                </a:moveTo>
                <a:cubicBezTo>
                  <a:pt x="293" y="120"/>
                  <a:pt x="293" y="120"/>
                  <a:pt x="293" y="120"/>
                </a:cubicBezTo>
                <a:cubicBezTo>
                  <a:pt x="293" y="120"/>
                  <a:pt x="293" y="120"/>
                  <a:pt x="293" y="120"/>
                </a:cubicBezTo>
                <a:cubicBezTo>
                  <a:pt x="293" y="120"/>
                  <a:pt x="293" y="120"/>
                  <a:pt x="293" y="120"/>
                </a:cubicBezTo>
                <a:close/>
                <a:moveTo>
                  <a:pt x="458" y="78"/>
                </a:moveTo>
                <a:cubicBezTo>
                  <a:pt x="457" y="78"/>
                  <a:pt x="453" y="79"/>
                  <a:pt x="454" y="80"/>
                </a:cubicBezTo>
                <a:cubicBezTo>
                  <a:pt x="454" y="81"/>
                  <a:pt x="458" y="80"/>
                  <a:pt x="458" y="78"/>
                </a:cubicBezTo>
                <a:cubicBezTo>
                  <a:pt x="458" y="79"/>
                  <a:pt x="458" y="79"/>
                  <a:pt x="457" y="79"/>
                </a:cubicBezTo>
                <a:cubicBezTo>
                  <a:pt x="457" y="79"/>
                  <a:pt x="458" y="78"/>
                  <a:pt x="458" y="78"/>
                </a:cubicBezTo>
                <a:close/>
                <a:moveTo>
                  <a:pt x="435" y="73"/>
                </a:moveTo>
                <a:cubicBezTo>
                  <a:pt x="435" y="73"/>
                  <a:pt x="435" y="73"/>
                  <a:pt x="434" y="73"/>
                </a:cubicBezTo>
                <a:cubicBezTo>
                  <a:pt x="435" y="73"/>
                  <a:pt x="434" y="73"/>
                  <a:pt x="434" y="74"/>
                </a:cubicBezTo>
                <a:cubicBezTo>
                  <a:pt x="434" y="74"/>
                  <a:pt x="435" y="74"/>
                  <a:pt x="435" y="74"/>
                </a:cubicBezTo>
                <a:cubicBezTo>
                  <a:pt x="435" y="74"/>
                  <a:pt x="435" y="74"/>
                  <a:pt x="434" y="74"/>
                </a:cubicBezTo>
                <a:cubicBezTo>
                  <a:pt x="435" y="74"/>
                  <a:pt x="436" y="75"/>
                  <a:pt x="436" y="74"/>
                </a:cubicBezTo>
                <a:cubicBezTo>
                  <a:pt x="436" y="75"/>
                  <a:pt x="436" y="75"/>
                  <a:pt x="435" y="75"/>
                </a:cubicBezTo>
                <a:cubicBezTo>
                  <a:pt x="435" y="75"/>
                  <a:pt x="436" y="76"/>
                  <a:pt x="435" y="76"/>
                </a:cubicBezTo>
                <a:cubicBezTo>
                  <a:pt x="435" y="76"/>
                  <a:pt x="435" y="76"/>
                  <a:pt x="435" y="76"/>
                </a:cubicBezTo>
                <a:cubicBezTo>
                  <a:pt x="434" y="75"/>
                  <a:pt x="435" y="75"/>
                  <a:pt x="434" y="75"/>
                </a:cubicBezTo>
                <a:cubicBezTo>
                  <a:pt x="434" y="74"/>
                  <a:pt x="432" y="74"/>
                  <a:pt x="431" y="75"/>
                </a:cubicBezTo>
                <a:cubicBezTo>
                  <a:pt x="430" y="75"/>
                  <a:pt x="429" y="75"/>
                  <a:pt x="428" y="76"/>
                </a:cubicBezTo>
                <a:cubicBezTo>
                  <a:pt x="429" y="76"/>
                  <a:pt x="429" y="76"/>
                  <a:pt x="429" y="76"/>
                </a:cubicBezTo>
                <a:cubicBezTo>
                  <a:pt x="429" y="77"/>
                  <a:pt x="430" y="77"/>
                  <a:pt x="431" y="77"/>
                </a:cubicBezTo>
                <a:cubicBezTo>
                  <a:pt x="430" y="77"/>
                  <a:pt x="431" y="77"/>
                  <a:pt x="432" y="77"/>
                </a:cubicBezTo>
                <a:cubicBezTo>
                  <a:pt x="432" y="77"/>
                  <a:pt x="433" y="77"/>
                  <a:pt x="433" y="77"/>
                </a:cubicBezTo>
                <a:cubicBezTo>
                  <a:pt x="434" y="77"/>
                  <a:pt x="435" y="77"/>
                  <a:pt x="435" y="77"/>
                </a:cubicBezTo>
                <a:cubicBezTo>
                  <a:pt x="436" y="76"/>
                  <a:pt x="436" y="76"/>
                  <a:pt x="436" y="77"/>
                </a:cubicBezTo>
                <a:cubicBezTo>
                  <a:pt x="436" y="78"/>
                  <a:pt x="437" y="78"/>
                  <a:pt x="438" y="78"/>
                </a:cubicBezTo>
                <a:cubicBezTo>
                  <a:pt x="437" y="78"/>
                  <a:pt x="437" y="78"/>
                  <a:pt x="436" y="78"/>
                </a:cubicBezTo>
                <a:cubicBezTo>
                  <a:pt x="436" y="78"/>
                  <a:pt x="435" y="78"/>
                  <a:pt x="436" y="78"/>
                </a:cubicBezTo>
                <a:cubicBezTo>
                  <a:pt x="436" y="78"/>
                  <a:pt x="435" y="77"/>
                  <a:pt x="435" y="77"/>
                </a:cubicBezTo>
                <a:cubicBezTo>
                  <a:pt x="434" y="77"/>
                  <a:pt x="433" y="77"/>
                  <a:pt x="433" y="78"/>
                </a:cubicBezTo>
                <a:cubicBezTo>
                  <a:pt x="434" y="78"/>
                  <a:pt x="432" y="78"/>
                  <a:pt x="432" y="78"/>
                </a:cubicBezTo>
                <a:cubicBezTo>
                  <a:pt x="432" y="78"/>
                  <a:pt x="432" y="79"/>
                  <a:pt x="432" y="79"/>
                </a:cubicBezTo>
                <a:cubicBezTo>
                  <a:pt x="433" y="79"/>
                  <a:pt x="433" y="78"/>
                  <a:pt x="434" y="78"/>
                </a:cubicBezTo>
                <a:cubicBezTo>
                  <a:pt x="434" y="79"/>
                  <a:pt x="433" y="79"/>
                  <a:pt x="433" y="79"/>
                </a:cubicBezTo>
                <a:cubicBezTo>
                  <a:pt x="433" y="79"/>
                  <a:pt x="434" y="79"/>
                  <a:pt x="434" y="79"/>
                </a:cubicBezTo>
                <a:cubicBezTo>
                  <a:pt x="434" y="79"/>
                  <a:pt x="433" y="79"/>
                  <a:pt x="433" y="79"/>
                </a:cubicBezTo>
                <a:cubicBezTo>
                  <a:pt x="434" y="79"/>
                  <a:pt x="433" y="80"/>
                  <a:pt x="433" y="80"/>
                </a:cubicBezTo>
                <a:cubicBezTo>
                  <a:pt x="433" y="80"/>
                  <a:pt x="433" y="80"/>
                  <a:pt x="434" y="80"/>
                </a:cubicBezTo>
                <a:cubicBezTo>
                  <a:pt x="433" y="81"/>
                  <a:pt x="432" y="81"/>
                  <a:pt x="431" y="81"/>
                </a:cubicBezTo>
                <a:cubicBezTo>
                  <a:pt x="431" y="80"/>
                  <a:pt x="432" y="81"/>
                  <a:pt x="432" y="80"/>
                </a:cubicBezTo>
                <a:cubicBezTo>
                  <a:pt x="432" y="80"/>
                  <a:pt x="431" y="80"/>
                  <a:pt x="431" y="80"/>
                </a:cubicBezTo>
                <a:cubicBezTo>
                  <a:pt x="431" y="79"/>
                  <a:pt x="432" y="80"/>
                  <a:pt x="432" y="79"/>
                </a:cubicBezTo>
                <a:cubicBezTo>
                  <a:pt x="432" y="80"/>
                  <a:pt x="432" y="79"/>
                  <a:pt x="431" y="79"/>
                </a:cubicBezTo>
                <a:cubicBezTo>
                  <a:pt x="431" y="80"/>
                  <a:pt x="431" y="80"/>
                  <a:pt x="431" y="80"/>
                </a:cubicBezTo>
                <a:cubicBezTo>
                  <a:pt x="431" y="80"/>
                  <a:pt x="431" y="80"/>
                  <a:pt x="431" y="80"/>
                </a:cubicBezTo>
                <a:cubicBezTo>
                  <a:pt x="431" y="80"/>
                  <a:pt x="431" y="81"/>
                  <a:pt x="430" y="81"/>
                </a:cubicBezTo>
                <a:cubicBezTo>
                  <a:pt x="431" y="81"/>
                  <a:pt x="430" y="82"/>
                  <a:pt x="430" y="82"/>
                </a:cubicBezTo>
                <a:cubicBezTo>
                  <a:pt x="429" y="82"/>
                  <a:pt x="429" y="82"/>
                  <a:pt x="428" y="82"/>
                </a:cubicBezTo>
                <a:cubicBezTo>
                  <a:pt x="428" y="82"/>
                  <a:pt x="427" y="82"/>
                  <a:pt x="426" y="82"/>
                </a:cubicBezTo>
                <a:cubicBezTo>
                  <a:pt x="426" y="82"/>
                  <a:pt x="426" y="82"/>
                  <a:pt x="426" y="82"/>
                </a:cubicBezTo>
                <a:cubicBezTo>
                  <a:pt x="426" y="82"/>
                  <a:pt x="425" y="82"/>
                  <a:pt x="425" y="82"/>
                </a:cubicBezTo>
                <a:cubicBezTo>
                  <a:pt x="424" y="83"/>
                  <a:pt x="423" y="83"/>
                  <a:pt x="422" y="82"/>
                </a:cubicBezTo>
                <a:cubicBezTo>
                  <a:pt x="423" y="82"/>
                  <a:pt x="423" y="82"/>
                  <a:pt x="424" y="82"/>
                </a:cubicBezTo>
                <a:cubicBezTo>
                  <a:pt x="424" y="82"/>
                  <a:pt x="423" y="82"/>
                  <a:pt x="423" y="82"/>
                </a:cubicBezTo>
                <a:cubicBezTo>
                  <a:pt x="423" y="81"/>
                  <a:pt x="423" y="80"/>
                  <a:pt x="423" y="80"/>
                </a:cubicBezTo>
                <a:cubicBezTo>
                  <a:pt x="423" y="80"/>
                  <a:pt x="422" y="81"/>
                  <a:pt x="422" y="80"/>
                </a:cubicBezTo>
                <a:cubicBezTo>
                  <a:pt x="422" y="80"/>
                  <a:pt x="422" y="80"/>
                  <a:pt x="422" y="80"/>
                </a:cubicBezTo>
                <a:cubicBezTo>
                  <a:pt x="422" y="80"/>
                  <a:pt x="422" y="80"/>
                  <a:pt x="423" y="80"/>
                </a:cubicBezTo>
                <a:cubicBezTo>
                  <a:pt x="422" y="80"/>
                  <a:pt x="422" y="79"/>
                  <a:pt x="422" y="79"/>
                </a:cubicBezTo>
                <a:cubicBezTo>
                  <a:pt x="422" y="79"/>
                  <a:pt x="422" y="79"/>
                  <a:pt x="422" y="79"/>
                </a:cubicBezTo>
                <a:cubicBezTo>
                  <a:pt x="421" y="79"/>
                  <a:pt x="420" y="79"/>
                  <a:pt x="419" y="79"/>
                </a:cubicBezTo>
                <a:cubicBezTo>
                  <a:pt x="419" y="79"/>
                  <a:pt x="419" y="79"/>
                  <a:pt x="418" y="79"/>
                </a:cubicBezTo>
                <a:cubicBezTo>
                  <a:pt x="418" y="79"/>
                  <a:pt x="417" y="80"/>
                  <a:pt x="416" y="80"/>
                </a:cubicBezTo>
                <a:cubicBezTo>
                  <a:pt x="416" y="81"/>
                  <a:pt x="415" y="81"/>
                  <a:pt x="414" y="81"/>
                </a:cubicBezTo>
                <a:cubicBezTo>
                  <a:pt x="414" y="81"/>
                  <a:pt x="414" y="82"/>
                  <a:pt x="413" y="82"/>
                </a:cubicBezTo>
                <a:cubicBezTo>
                  <a:pt x="414" y="82"/>
                  <a:pt x="414" y="83"/>
                  <a:pt x="414" y="83"/>
                </a:cubicBezTo>
                <a:cubicBezTo>
                  <a:pt x="414" y="84"/>
                  <a:pt x="415" y="84"/>
                  <a:pt x="415" y="84"/>
                </a:cubicBezTo>
                <a:cubicBezTo>
                  <a:pt x="416" y="84"/>
                  <a:pt x="416" y="84"/>
                  <a:pt x="416" y="85"/>
                </a:cubicBezTo>
                <a:cubicBezTo>
                  <a:pt x="416" y="85"/>
                  <a:pt x="416" y="85"/>
                  <a:pt x="416" y="85"/>
                </a:cubicBezTo>
                <a:cubicBezTo>
                  <a:pt x="416" y="85"/>
                  <a:pt x="415" y="86"/>
                  <a:pt x="416" y="86"/>
                </a:cubicBezTo>
                <a:cubicBezTo>
                  <a:pt x="416" y="86"/>
                  <a:pt x="416" y="86"/>
                  <a:pt x="417" y="86"/>
                </a:cubicBezTo>
                <a:cubicBezTo>
                  <a:pt x="417" y="86"/>
                  <a:pt x="418" y="86"/>
                  <a:pt x="417" y="86"/>
                </a:cubicBezTo>
                <a:cubicBezTo>
                  <a:pt x="418" y="87"/>
                  <a:pt x="418" y="86"/>
                  <a:pt x="419" y="86"/>
                </a:cubicBezTo>
                <a:cubicBezTo>
                  <a:pt x="420" y="86"/>
                  <a:pt x="420" y="86"/>
                  <a:pt x="420" y="86"/>
                </a:cubicBezTo>
                <a:cubicBezTo>
                  <a:pt x="420" y="86"/>
                  <a:pt x="421" y="86"/>
                  <a:pt x="420" y="86"/>
                </a:cubicBezTo>
                <a:cubicBezTo>
                  <a:pt x="420" y="86"/>
                  <a:pt x="420" y="86"/>
                  <a:pt x="420" y="86"/>
                </a:cubicBezTo>
                <a:cubicBezTo>
                  <a:pt x="420" y="86"/>
                  <a:pt x="419" y="87"/>
                  <a:pt x="420" y="87"/>
                </a:cubicBezTo>
                <a:cubicBezTo>
                  <a:pt x="421" y="87"/>
                  <a:pt x="421" y="87"/>
                  <a:pt x="421" y="87"/>
                </a:cubicBezTo>
                <a:cubicBezTo>
                  <a:pt x="422" y="87"/>
                  <a:pt x="422" y="87"/>
                  <a:pt x="422" y="87"/>
                </a:cubicBezTo>
                <a:cubicBezTo>
                  <a:pt x="422" y="88"/>
                  <a:pt x="422" y="88"/>
                  <a:pt x="423" y="88"/>
                </a:cubicBezTo>
                <a:cubicBezTo>
                  <a:pt x="422" y="88"/>
                  <a:pt x="423" y="90"/>
                  <a:pt x="424" y="90"/>
                </a:cubicBezTo>
                <a:cubicBezTo>
                  <a:pt x="424" y="90"/>
                  <a:pt x="425" y="91"/>
                  <a:pt x="424" y="91"/>
                </a:cubicBezTo>
                <a:cubicBezTo>
                  <a:pt x="424" y="91"/>
                  <a:pt x="424" y="92"/>
                  <a:pt x="424" y="92"/>
                </a:cubicBezTo>
                <a:cubicBezTo>
                  <a:pt x="424" y="92"/>
                  <a:pt x="425" y="92"/>
                  <a:pt x="425" y="92"/>
                </a:cubicBezTo>
                <a:cubicBezTo>
                  <a:pt x="425" y="93"/>
                  <a:pt x="424" y="93"/>
                  <a:pt x="424" y="93"/>
                </a:cubicBezTo>
                <a:cubicBezTo>
                  <a:pt x="424" y="93"/>
                  <a:pt x="424" y="94"/>
                  <a:pt x="424" y="94"/>
                </a:cubicBezTo>
                <a:cubicBezTo>
                  <a:pt x="424" y="95"/>
                  <a:pt x="425" y="94"/>
                  <a:pt x="426" y="94"/>
                </a:cubicBezTo>
                <a:cubicBezTo>
                  <a:pt x="426" y="94"/>
                  <a:pt x="426" y="95"/>
                  <a:pt x="427" y="95"/>
                </a:cubicBezTo>
                <a:cubicBezTo>
                  <a:pt x="427" y="95"/>
                  <a:pt x="428" y="95"/>
                  <a:pt x="428" y="95"/>
                </a:cubicBezTo>
                <a:cubicBezTo>
                  <a:pt x="429" y="95"/>
                  <a:pt x="430" y="94"/>
                  <a:pt x="430" y="94"/>
                </a:cubicBezTo>
                <a:cubicBezTo>
                  <a:pt x="431" y="94"/>
                  <a:pt x="433" y="94"/>
                  <a:pt x="434" y="93"/>
                </a:cubicBezTo>
                <a:cubicBezTo>
                  <a:pt x="433" y="93"/>
                  <a:pt x="433" y="93"/>
                  <a:pt x="433" y="93"/>
                </a:cubicBezTo>
                <a:cubicBezTo>
                  <a:pt x="433" y="92"/>
                  <a:pt x="432" y="92"/>
                  <a:pt x="433" y="91"/>
                </a:cubicBezTo>
                <a:cubicBezTo>
                  <a:pt x="433" y="91"/>
                  <a:pt x="433" y="91"/>
                  <a:pt x="432" y="91"/>
                </a:cubicBezTo>
                <a:cubicBezTo>
                  <a:pt x="433" y="90"/>
                  <a:pt x="435" y="89"/>
                  <a:pt x="436" y="90"/>
                </a:cubicBezTo>
                <a:cubicBezTo>
                  <a:pt x="435" y="90"/>
                  <a:pt x="434" y="90"/>
                  <a:pt x="434" y="91"/>
                </a:cubicBezTo>
                <a:cubicBezTo>
                  <a:pt x="433" y="91"/>
                  <a:pt x="433" y="91"/>
                  <a:pt x="434" y="92"/>
                </a:cubicBezTo>
                <a:cubicBezTo>
                  <a:pt x="434" y="92"/>
                  <a:pt x="435" y="92"/>
                  <a:pt x="435" y="92"/>
                </a:cubicBezTo>
                <a:cubicBezTo>
                  <a:pt x="436" y="92"/>
                  <a:pt x="437" y="92"/>
                  <a:pt x="438" y="92"/>
                </a:cubicBezTo>
                <a:cubicBezTo>
                  <a:pt x="439" y="92"/>
                  <a:pt x="440" y="92"/>
                  <a:pt x="441" y="91"/>
                </a:cubicBezTo>
                <a:cubicBezTo>
                  <a:pt x="442" y="91"/>
                  <a:pt x="444" y="90"/>
                  <a:pt x="446" y="90"/>
                </a:cubicBezTo>
                <a:cubicBezTo>
                  <a:pt x="445" y="90"/>
                  <a:pt x="445" y="90"/>
                  <a:pt x="445" y="90"/>
                </a:cubicBezTo>
                <a:cubicBezTo>
                  <a:pt x="446" y="90"/>
                  <a:pt x="447" y="90"/>
                  <a:pt x="448" y="90"/>
                </a:cubicBezTo>
                <a:cubicBezTo>
                  <a:pt x="448" y="89"/>
                  <a:pt x="446" y="89"/>
                  <a:pt x="446" y="89"/>
                </a:cubicBezTo>
                <a:cubicBezTo>
                  <a:pt x="447" y="88"/>
                  <a:pt x="448" y="89"/>
                  <a:pt x="449" y="88"/>
                </a:cubicBezTo>
                <a:cubicBezTo>
                  <a:pt x="448" y="88"/>
                  <a:pt x="448" y="88"/>
                  <a:pt x="447" y="88"/>
                </a:cubicBezTo>
                <a:cubicBezTo>
                  <a:pt x="447" y="88"/>
                  <a:pt x="447" y="88"/>
                  <a:pt x="446" y="88"/>
                </a:cubicBezTo>
                <a:cubicBezTo>
                  <a:pt x="447" y="88"/>
                  <a:pt x="448" y="88"/>
                  <a:pt x="449" y="88"/>
                </a:cubicBezTo>
                <a:cubicBezTo>
                  <a:pt x="450" y="88"/>
                  <a:pt x="450" y="87"/>
                  <a:pt x="450" y="86"/>
                </a:cubicBezTo>
                <a:cubicBezTo>
                  <a:pt x="450" y="87"/>
                  <a:pt x="450" y="87"/>
                  <a:pt x="450" y="86"/>
                </a:cubicBezTo>
                <a:cubicBezTo>
                  <a:pt x="450" y="86"/>
                  <a:pt x="450" y="86"/>
                  <a:pt x="451" y="86"/>
                </a:cubicBezTo>
                <a:cubicBezTo>
                  <a:pt x="450" y="86"/>
                  <a:pt x="449" y="86"/>
                  <a:pt x="449" y="86"/>
                </a:cubicBezTo>
                <a:cubicBezTo>
                  <a:pt x="450" y="86"/>
                  <a:pt x="450" y="86"/>
                  <a:pt x="451" y="86"/>
                </a:cubicBezTo>
                <a:cubicBezTo>
                  <a:pt x="451" y="85"/>
                  <a:pt x="452" y="85"/>
                  <a:pt x="453" y="85"/>
                </a:cubicBezTo>
                <a:cubicBezTo>
                  <a:pt x="453" y="85"/>
                  <a:pt x="454" y="85"/>
                  <a:pt x="454" y="84"/>
                </a:cubicBezTo>
                <a:cubicBezTo>
                  <a:pt x="454" y="84"/>
                  <a:pt x="454" y="84"/>
                  <a:pt x="454" y="84"/>
                </a:cubicBezTo>
                <a:cubicBezTo>
                  <a:pt x="454" y="84"/>
                  <a:pt x="455" y="83"/>
                  <a:pt x="454" y="82"/>
                </a:cubicBezTo>
                <a:cubicBezTo>
                  <a:pt x="455" y="82"/>
                  <a:pt x="455" y="82"/>
                  <a:pt x="455" y="82"/>
                </a:cubicBezTo>
                <a:cubicBezTo>
                  <a:pt x="455" y="82"/>
                  <a:pt x="454" y="82"/>
                  <a:pt x="454" y="82"/>
                </a:cubicBezTo>
                <a:cubicBezTo>
                  <a:pt x="453" y="82"/>
                  <a:pt x="453" y="82"/>
                  <a:pt x="452" y="82"/>
                </a:cubicBezTo>
                <a:cubicBezTo>
                  <a:pt x="451" y="83"/>
                  <a:pt x="450" y="83"/>
                  <a:pt x="450" y="83"/>
                </a:cubicBezTo>
                <a:cubicBezTo>
                  <a:pt x="450" y="83"/>
                  <a:pt x="452" y="82"/>
                  <a:pt x="452" y="82"/>
                </a:cubicBezTo>
                <a:cubicBezTo>
                  <a:pt x="452" y="82"/>
                  <a:pt x="451" y="82"/>
                  <a:pt x="451" y="81"/>
                </a:cubicBezTo>
                <a:cubicBezTo>
                  <a:pt x="452" y="81"/>
                  <a:pt x="451" y="81"/>
                  <a:pt x="450" y="81"/>
                </a:cubicBezTo>
                <a:cubicBezTo>
                  <a:pt x="451" y="81"/>
                  <a:pt x="452" y="81"/>
                  <a:pt x="452" y="80"/>
                </a:cubicBezTo>
                <a:cubicBezTo>
                  <a:pt x="453" y="80"/>
                  <a:pt x="451" y="79"/>
                  <a:pt x="450" y="79"/>
                </a:cubicBezTo>
                <a:cubicBezTo>
                  <a:pt x="449" y="79"/>
                  <a:pt x="448" y="79"/>
                  <a:pt x="446" y="80"/>
                </a:cubicBezTo>
                <a:cubicBezTo>
                  <a:pt x="445" y="80"/>
                  <a:pt x="445" y="81"/>
                  <a:pt x="443" y="81"/>
                </a:cubicBezTo>
                <a:cubicBezTo>
                  <a:pt x="444" y="81"/>
                  <a:pt x="445" y="80"/>
                  <a:pt x="444" y="80"/>
                </a:cubicBezTo>
                <a:cubicBezTo>
                  <a:pt x="446" y="79"/>
                  <a:pt x="447" y="79"/>
                  <a:pt x="449" y="78"/>
                </a:cubicBezTo>
                <a:cubicBezTo>
                  <a:pt x="450" y="78"/>
                  <a:pt x="451" y="77"/>
                  <a:pt x="452" y="77"/>
                </a:cubicBezTo>
                <a:cubicBezTo>
                  <a:pt x="454" y="77"/>
                  <a:pt x="455" y="77"/>
                  <a:pt x="456" y="77"/>
                </a:cubicBezTo>
                <a:cubicBezTo>
                  <a:pt x="456" y="77"/>
                  <a:pt x="458" y="76"/>
                  <a:pt x="457" y="76"/>
                </a:cubicBezTo>
                <a:cubicBezTo>
                  <a:pt x="457" y="76"/>
                  <a:pt x="457" y="76"/>
                  <a:pt x="458" y="76"/>
                </a:cubicBezTo>
                <a:cubicBezTo>
                  <a:pt x="457" y="76"/>
                  <a:pt x="456" y="75"/>
                  <a:pt x="456" y="75"/>
                </a:cubicBezTo>
                <a:cubicBezTo>
                  <a:pt x="456" y="75"/>
                  <a:pt x="455" y="76"/>
                  <a:pt x="455" y="76"/>
                </a:cubicBezTo>
                <a:cubicBezTo>
                  <a:pt x="455" y="75"/>
                  <a:pt x="456" y="75"/>
                  <a:pt x="456" y="75"/>
                </a:cubicBezTo>
                <a:cubicBezTo>
                  <a:pt x="456" y="75"/>
                  <a:pt x="457" y="75"/>
                  <a:pt x="457" y="75"/>
                </a:cubicBezTo>
                <a:cubicBezTo>
                  <a:pt x="457" y="74"/>
                  <a:pt x="458" y="75"/>
                  <a:pt x="458" y="75"/>
                </a:cubicBezTo>
                <a:cubicBezTo>
                  <a:pt x="459" y="75"/>
                  <a:pt x="462" y="74"/>
                  <a:pt x="461" y="73"/>
                </a:cubicBezTo>
                <a:cubicBezTo>
                  <a:pt x="461" y="72"/>
                  <a:pt x="460" y="73"/>
                  <a:pt x="460" y="72"/>
                </a:cubicBezTo>
                <a:cubicBezTo>
                  <a:pt x="459" y="72"/>
                  <a:pt x="458" y="72"/>
                  <a:pt x="457" y="72"/>
                </a:cubicBezTo>
                <a:cubicBezTo>
                  <a:pt x="458" y="72"/>
                  <a:pt x="458" y="72"/>
                  <a:pt x="458" y="72"/>
                </a:cubicBezTo>
                <a:cubicBezTo>
                  <a:pt x="457" y="71"/>
                  <a:pt x="456" y="72"/>
                  <a:pt x="455" y="72"/>
                </a:cubicBezTo>
                <a:cubicBezTo>
                  <a:pt x="454" y="73"/>
                  <a:pt x="453" y="73"/>
                  <a:pt x="452" y="73"/>
                </a:cubicBezTo>
                <a:cubicBezTo>
                  <a:pt x="451" y="73"/>
                  <a:pt x="450" y="73"/>
                  <a:pt x="449" y="73"/>
                </a:cubicBezTo>
                <a:cubicBezTo>
                  <a:pt x="448" y="73"/>
                  <a:pt x="448" y="73"/>
                  <a:pt x="447" y="73"/>
                </a:cubicBezTo>
                <a:cubicBezTo>
                  <a:pt x="447" y="73"/>
                  <a:pt x="447" y="74"/>
                  <a:pt x="446" y="74"/>
                </a:cubicBezTo>
                <a:cubicBezTo>
                  <a:pt x="447" y="73"/>
                  <a:pt x="446" y="72"/>
                  <a:pt x="445" y="72"/>
                </a:cubicBezTo>
                <a:cubicBezTo>
                  <a:pt x="445" y="72"/>
                  <a:pt x="444" y="72"/>
                  <a:pt x="445" y="72"/>
                </a:cubicBezTo>
                <a:cubicBezTo>
                  <a:pt x="444" y="71"/>
                  <a:pt x="443" y="71"/>
                  <a:pt x="442" y="72"/>
                </a:cubicBezTo>
                <a:cubicBezTo>
                  <a:pt x="442" y="72"/>
                  <a:pt x="441" y="72"/>
                  <a:pt x="441" y="72"/>
                </a:cubicBezTo>
                <a:cubicBezTo>
                  <a:pt x="442" y="73"/>
                  <a:pt x="444" y="71"/>
                  <a:pt x="444" y="72"/>
                </a:cubicBezTo>
                <a:cubicBezTo>
                  <a:pt x="444" y="72"/>
                  <a:pt x="442" y="73"/>
                  <a:pt x="441" y="73"/>
                </a:cubicBezTo>
                <a:cubicBezTo>
                  <a:pt x="442" y="72"/>
                  <a:pt x="439" y="72"/>
                  <a:pt x="438" y="72"/>
                </a:cubicBezTo>
                <a:cubicBezTo>
                  <a:pt x="437" y="73"/>
                  <a:pt x="437" y="72"/>
                  <a:pt x="436" y="73"/>
                </a:cubicBezTo>
                <a:cubicBezTo>
                  <a:pt x="436" y="73"/>
                  <a:pt x="435" y="73"/>
                  <a:pt x="435" y="73"/>
                </a:cubicBezTo>
                <a:close/>
                <a:moveTo>
                  <a:pt x="600" y="54"/>
                </a:moveTo>
                <a:cubicBezTo>
                  <a:pt x="600" y="54"/>
                  <a:pt x="601" y="54"/>
                  <a:pt x="601" y="54"/>
                </a:cubicBezTo>
                <a:cubicBezTo>
                  <a:pt x="601" y="53"/>
                  <a:pt x="603" y="53"/>
                  <a:pt x="602" y="53"/>
                </a:cubicBezTo>
                <a:cubicBezTo>
                  <a:pt x="601" y="53"/>
                  <a:pt x="601" y="53"/>
                  <a:pt x="600" y="53"/>
                </a:cubicBezTo>
                <a:cubicBezTo>
                  <a:pt x="599" y="53"/>
                  <a:pt x="598" y="54"/>
                  <a:pt x="598" y="54"/>
                </a:cubicBezTo>
                <a:cubicBezTo>
                  <a:pt x="597" y="54"/>
                  <a:pt x="596" y="55"/>
                  <a:pt x="595" y="55"/>
                </a:cubicBezTo>
                <a:cubicBezTo>
                  <a:pt x="595" y="55"/>
                  <a:pt x="594" y="55"/>
                  <a:pt x="595" y="55"/>
                </a:cubicBezTo>
                <a:cubicBezTo>
                  <a:pt x="595" y="55"/>
                  <a:pt x="596" y="55"/>
                  <a:pt x="595" y="55"/>
                </a:cubicBezTo>
                <a:cubicBezTo>
                  <a:pt x="596" y="55"/>
                  <a:pt x="596" y="55"/>
                  <a:pt x="597" y="55"/>
                </a:cubicBezTo>
                <a:cubicBezTo>
                  <a:pt x="597" y="55"/>
                  <a:pt x="596" y="55"/>
                  <a:pt x="596" y="55"/>
                </a:cubicBezTo>
                <a:cubicBezTo>
                  <a:pt x="597" y="55"/>
                  <a:pt x="598" y="55"/>
                  <a:pt x="599" y="55"/>
                </a:cubicBezTo>
                <a:cubicBezTo>
                  <a:pt x="599" y="55"/>
                  <a:pt x="599" y="55"/>
                  <a:pt x="599" y="55"/>
                </a:cubicBezTo>
                <a:cubicBezTo>
                  <a:pt x="599" y="55"/>
                  <a:pt x="600" y="55"/>
                  <a:pt x="600" y="55"/>
                </a:cubicBezTo>
                <a:cubicBezTo>
                  <a:pt x="599" y="55"/>
                  <a:pt x="598" y="54"/>
                  <a:pt x="600" y="54"/>
                </a:cubicBezTo>
                <a:close/>
                <a:moveTo>
                  <a:pt x="389" y="74"/>
                </a:moveTo>
                <a:cubicBezTo>
                  <a:pt x="389" y="74"/>
                  <a:pt x="388" y="74"/>
                  <a:pt x="387" y="74"/>
                </a:cubicBezTo>
                <a:cubicBezTo>
                  <a:pt x="387" y="74"/>
                  <a:pt x="386" y="74"/>
                  <a:pt x="386" y="75"/>
                </a:cubicBezTo>
                <a:cubicBezTo>
                  <a:pt x="386" y="75"/>
                  <a:pt x="389" y="75"/>
                  <a:pt x="389" y="75"/>
                </a:cubicBezTo>
                <a:cubicBezTo>
                  <a:pt x="390" y="75"/>
                  <a:pt x="390" y="74"/>
                  <a:pt x="389" y="74"/>
                </a:cubicBezTo>
                <a:close/>
                <a:moveTo>
                  <a:pt x="409" y="74"/>
                </a:moveTo>
                <a:cubicBezTo>
                  <a:pt x="409" y="74"/>
                  <a:pt x="408" y="74"/>
                  <a:pt x="408" y="73"/>
                </a:cubicBezTo>
                <a:cubicBezTo>
                  <a:pt x="407" y="73"/>
                  <a:pt x="407" y="73"/>
                  <a:pt x="406" y="73"/>
                </a:cubicBezTo>
                <a:cubicBezTo>
                  <a:pt x="404" y="73"/>
                  <a:pt x="403" y="73"/>
                  <a:pt x="401" y="73"/>
                </a:cubicBezTo>
                <a:cubicBezTo>
                  <a:pt x="399" y="73"/>
                  <a:pt x="397" y="73"/>
                  <a:pt x="396" y="74"/>
                </a:cubicBezTo>
                <a:cubicBezTo>
                  <a:pt x="395" y="74"/>
                  <a:pt x="394" y="75"/>
                  <a:pt x="393" y="75"/>
                </a:cubicBezTo>
                <a:cubicBezTo>
                  <a:pt x="393" y="75"/>
                  <a:pt x="392" y="76"/>
                  <a:pt x="393" y="76"/>
                </a:cubicBezTo>
                <a:cubicBezTo>
                  <a:pt x="394" y="76"/>
                  <a:pt x="395" y="76"/>
                  <a:pt x="396" y="77"/>
                </a:cubicBezTo>
                <a:cubicBezTo>
                  <a:pt x="396" y="77"/>
                  <a:pt x="396" y="77"/>
                  <a:pt x="396" y="77"/>
                </a:cubicBezTo>
                <a:cubicBezTo>
                  <a:pt x="396" y="78"/>
                  <a:pt x="396" y="78"/>
                  <a:pt x="395" y="78"/>
                </a:cubicBezTo>
                <a:cubicBezTo>
                  <a:pt x="396" y="78"/>
                  <a:pt x="396" y="78"/>
                  <a:pt x="396" y="78"/>
                </a:cubicBezTo>
                <a:cubicBezTo>
                  <a:pt x="396" y="78"/>
                  <a:pt x="396" y="79"/>
                  <a:pt x="396" y="80"/>
                </a:cubicBezTo>
                <a:cubicBezTo>
                  <a:pt x="396" y="80"/>
                  <a:pt x="397" y="80"/>
                  <a:pt x="397" y="80"/>
                </a:cubicBezTo>
                <a:cubicBezTo>
                  <a:pt x="397" y="80"/>
                  <a:pt x="397" y="80"/>
                  <a:pt x="397" y="81"/>
                </a:cubicBezTo>
                <a:cubicBezTo>
                  <a:pt x="397" y="81"/>
                  <a:pt x="398" y="81"/>
                  <a:pt x="398" y="81"/>
                </a:cubicBezTo>
                <a:cubicBezTo>
                  <a:pt x="397" y="81"/>
                  <a:pt x="398" y="80"/>
                  <a:pt x="398" y="80"/>
                </a:cubicBezTo>
                <a:cubicBezTo>
                  <a:pt x="398" y="80"/>
                  <a:pt x="398" y="80"/>
                  <a:pt x="399" y="80"/>
                </a:cubicBezTo>
                <a:cubicBezTo>
                  <a:pt x="399" y="80"/>
                  <a:pt x="399" y="80"/>
                  <a:pt x="400" y="80"/>
                </a:cubicBezTo>
                <a:cubicBezTo>
                  <a:pt x="401" y="80"/>
                  <a:pt x="401" y="79"/>
                  <a:pt x="402" y="79"/>
                </a:cubicBezTo>
                <a:cubicBezTo>
                  <a:pt x="404" y="78"/>
                  <a:pt x="405" y="78"/>
                  <a:pt x="407" y="77"/>
                </a:cubicBezTo>
                <a:cubicBezTo>
                  <a:pt x="408" y="76"/>
                  <a:pt x="408" y="76"/>
                  <a:pt x="409" y="75"/>
                </a:cubicBezTo>
                <a:cubicBezTo>
                  <a:pt x="410" y="75"/>
                  <a:pt x="410" y="74"/>
                  <a:pt x="409" y="74"/>
                </a:cubicBezTo>
                <a:close/>
                <a:moveTo>
                  <a:pt x="592" y="77"/>
                </a:moveTo>
                <a:cubicBezTo>
                  <a:pt x="591" y="77"/>
                  <a:pt x="592" y="76"/>
                  <a:pt x="592" y="76"/>
                </a:cubicBezTo>
                <a:cubicBezTo>
                  <a:pt x="592" y="75"/>
                  <a:pt x="591" y="75"/>
                  <a:pt x="590" y="75"/>
                </a:cubicBezTo>
                <a:cubicBezTo>
                  <a:pt x="589" y="74"/>
                  <a:pt x="588" y="74"/>
                  <a:pt x="587" y="74"/>
                </a:cubicBezTo>
                <a:cubicBezTo>
                  <a:pt x="586" y="74"/>
                  <a:pt x="584" y="74"/>
                  <a:pt x="583" y="74"/>
                </a:cubicBezTo>
                <a:cubicBezTo>
                  <a:pt x="582" y="74"/>
                  <a:pt x="580" y="74"/>
                  <a:pt x="579" y="74"/>
                </a:cubicBezTo>
                <a:cubicBezTo>
                  <a:pt x="577" y="74"/>
                  <a:pt x="576" y="74"/>
                  <a:pt x="575" y="73"/>
                </a:cubicBezTo>
                <a:cubicBezTo>
                  <a:pt x="574" y="73"/>
                  <a:pt x="574" y="74"/>
                  <a:pt x="573" y="74"/>
                </a:cubicBezTo>
                <a:cubicBezTo>
                  <a:pt x="573" y="73"/>
                  <a:pt x="573" y="73"/>
                  <a:pt x="572" y="73"/>
                </a:cubicBezTo>
                <a:cubicBezTo>
                  <a:pt x="571" y="73"/>
                  <a:pt x="570" y="73"/>
                  <a:pt x="569" y="73"/>
                </a:cubicBezTo>
                <a:cubicBezTo>
                  <a:pt x="570" y="74"/>
                  <a:pt x="566" y="74"/>
                  <a:pt x="568" y="75"/>
                </a:cubicBezTo>
                <a:cubicBezTo>
                  <a:pt x="567" y="75"/>
                  <a:pt x="567" y="76"/>
                  <a:pt x="566" y="76"/>
                </a:cubicBezTo>
                <a:cubicBezTo>
                  <a:pt x="566" y="77"/>
                  <a:pt x="565" y="77"/>
                  <a:pt x="566" y="77"/>
                </a:cubicBezTo>
                <a:cubicBezTo>
                  <a:pt x="567" y="78"/>
                  <a:pt x="568" y="78"/>
                  <a:pt x="568" y="78"/>
                </a:cubicBezTo>
                <a:cubicBezTo>
                  <a:pt x="569" y="78"/>
                  <a:pt x="569" y="77"/>
                  <a:pt x="569" y="78"/>
                </a:cubicBezTo>
                <a:cubicBezTo>
                  <a:pt x="570" y="78"/>
                  <a:pt x="570" y="78"/>
                  <a:pt x="569" y="78"/>
                </a:cubicBezTo>
                <a:cubicBezTo>
                  <a:pt x="569" y="78"/>
                  <a:pt x="569" y="78"/>
                  <a:pt x="569" y="78"/>
                </a:cubicBezTo>
                <a:cubicBezTo>
                  <a:pt x="569" y="79"/>
                  <a:pt x="569" y="79"/>
                  <a:pt x="569" y="79"/>
                </a:cubicBezTo>
                <a:cubicBezTo>
                  <a:pt x="568" y="79"/>
                  <a:pt x="568" y="80"/>
                  <a:pt x="568" y="80"/>
                </a:cubicBezTo>
                <a:cubicBezTo>
                  <a:pt x="568" y="81"/>
                  <a:pt x="568" y="81"/>
                  <a:pt x="569" y="81"/>
                </a:cubicBezTo>
                <a:cubicBezTo>
                  <a:pt x="569" y="82"/>
                  <a:pt x="570" y="82"/>
                  <a:pt x="571" y="82"/>
                </a:cubicBezTo>
                <a:cubicBezTo>
                  <a:pt x="572" y="82"/>
                  <a:pt x="574" y="82"/>
                  <a:pt x="576" y="81"/>
                </a:cubicBezTo>
                <a:cubicBezTo>
                  <a:pt x="577" y="81"/>
                  <a:pt x="577" y="81"/>
                  <a:pt x="578" y="81"/>
                </a:cubicBezTo>
                <a:cubicBezTo>
                  <a:pt x="581" y="80"/>
                  <a:pt x="583" y="81"/>
                  <a:pt x="585" y="81"/>
                </a:cubicBezTo>
                <a:cubicBezTo>
                  <a:pt x="587" y="81"/>
                  <a:pt x="588" y="81"/>
                  <a:pt x="589" y="81"/>
                </a:cubicBezTo>
                <a:cubicBezTo>
                  <a:pt x="590" y="81"/>
                  <a:pt x="591" y="81"/>
                  <a:pt x="593" y="81"/>
                </a:cubicBezTo>
                <a:cubicBezTo>
                  <a:pt x="593" y="81"/>
                  <a:pt x="594" y="81"/>
                  <a:pt x="594" y="80"/>
                </a:cubicBezTo>
                <a:cubicBezTo>
                  <a:pt x="595" y="80"/>
                  <a:pt x="593" y="80"/>
                  <a:pt x="593" y="80"/>
                </a:cubicBezTo>
                <a:cubicBezTo>
                  <a:pt x="593" y="80"/>
                  <a:pt x="594" y="80"/>
                  <a:pt x="594" y="79"/>
                </a:cubicBezTo>
                <a:cubicBezTo>
                  <a:pt x="594" y="79"/>
                  <a:pt x="594" y="79"/>
                  <a:pt x="594" y="79"/>
                </a:cubicBezTo>
                <a:cubicBezTo>
                  <a:pt x="594" y="79"/>
                  <a:pt x="594" y="79"/>
                  <a:pt x="595" y="79"/>
                </a:cubicBezTo>
                <a:cubicBezTo>
                  <a:pt x="594" y="79"/>
                  <a:pt x="593" y="79"/>
                  <a:pt x="593" y="78"/>
                </a:cubicBezTo>
                <a:cubicBezTo>
                  <a:pt x="593" y="78"/>
                  <a:pt x="594" y="78"/>
                  <a:pt x="593" y="77"/>
                </a:cubicBezTo>
                <a:cubicBezTo>
                  <a:pt x="593" y="77"/>
                  <a:pt x="593" y="77"/>
                  <a:pt x="593" y="77"/>
                </a:cubicBezTo>
                <a:cubicBezTo>
                  <a:pt x="593" y="77"/>
                  <a:pt x="592" y="77"/>
                  <a:pt x="592" y="77"/>
                </a:cubicBezTo>
                <a:close/>
                <a:moveTo>
                  <a:pt x="564" y="113"/>
                </a:moveTo>
                <a:cubicBezTo>
                  <a:pt x="564" y="113"/>
                  <a:pt x="565" y="112"/>
                  <a:pt x="564" y="112"/>
                </a:cubicBezTo>
                <a:cubicBezTo>
                  <a:pt x="563" y="112"/>
                  <a:pt x="562" y="112"/>
                  <a:pt x="562" y="112"/>
                </a:cubicBezTo>
                <a:cubicBezTo>
                  <a:pt x="561" y="112"/>
                  <a:pt x="560" y="112"/>
                  <a:pt x="560" y="112"/>
                </a:cubicBezTo>
                <a:cubicBezTo>
                  <a:pt x="559" y="113"/>
                  <a:pt x="559" y="113"/>
                  <a:pt x="559" y="113"/>
                </a:cubicBezTo>
                <a:cubicBezTo>
                  <a:pt x="558" y="114"/>
                  <a:pt x="558" y="115"/>
                  <a:pt x="559" y="115"/>
                </a:cubicBezTo>
                <a:cubicBezTo>
                  <a:pt x="560" y="115"/>
                  <a:pt x="560" y="115"/>
                  <a:pt x="561" y="115"/>
                </a:cubicBezTo>
                <a:cubicBezTo>
                  <a:pt x="560" y="115"/>
                  <a:pt x="561" y="115"/>
                  <a:pt x="561" y="115"/>
                </a:cubicBezTo>
                <a:cubicBezTo>
                  <a:pt x="560" y="114"/>
                  <a:pt x="564" y="113"/>
                  <a:pt x="564" y="113"/>
                </a:cubicBezTo>
                <a:close/>
                <a:moveTo>
                  <a:pt x="340" y="58"/>
                </a:moveTo>
                <a:cubicBezTo>
                  <a:pt x="341" y="58"/>
                  <a:pt x="342" y="57"/>
                  <a:pt x="343" y="57"/>
                </a:cubicBezTo>
                <a:cubicBezTo>
                  <a:pt x="343" y="57"/>
                  <a:pt x="344" y="57"/>
                  <a:pt x="344" y="57"/>
                </a:cubicBezTo>
                <a:cubicBezTo>
                  <a:pt x="345" y="56"/>
                  <a:pt x="345" y="56"/>
                  <a:pt x="346" y="56"/>
                </a:cubicBezTo>
                <a:cubicBezTo>
                  <a:pt x="347" y="56"/>
                  <a:pt x="348" y="55"/>
                  <a:pt x="349" y="55"/>
                </a:cubicBezTo>
                <a:cubicBezTo>
                  <a:pt x="350" y="54"/>
                  <a:pt x="353" y="54"/>
                  <a:pt x="354" y="53"/>
                </a:cubicBezTo>
                <a:cubicBezTo>
                  <a:pt x="354" y="53"/>
                  <a:pt x="353" y="53"/>
                  <a:pt x="353" y="53"/>
                </a:cubicBezTo>
                <a:cubicBezTo>
                  <a:pt x="351" y="53"/>
                  <a:pt x="350" y="54"/>
                  <a:pt x="348" y="54"/>
                </a:cubicBezTo>
                <a:cubicBezTo>
                  <a:pt x="347" y="54"/>
                  <a:pt x="346" y="54"/>
                  <a:pt x="345" y="54"/>
                </a:cubicBezTo>
                <a:cubicBezTo>
                  <a:pt x="344" y="54"/>
                  <a:pt x="343" y="55"/>
                  <a:pt x="342" y="55"/>
                </a:cubicBezTo>
                <a:cubicBezTo>
                  <a:pt x="340" y="56"/>
                  <a:pt x="338" y="56"/>
                  <a:pt x="336" y="57"/>
                </a:cubicBezTo>
                <a:cubicBezTo>
                  <a:pt x="334" y="57"/>
                  <a:pt x="338" y="57"/>
                  <a:pt x="338" y="58"/>
                </a:cubicBezTo>
                <a:cubicBezTo>
                  <a:pt x="338" y="58"/>
                  <a:pt x="338" y="58"/>
                  <a:pt x="338" y="58"/>
                </a:cubicBezTo>
                <a:cubicBezTo>
                  <a:pt x="338" y="58"/>
                  <a:pt x="339" y="58"/>
                  <a:pt x="340" y="58"/>
                </a:cubicBezTo>
                <a:close/>
                <a:moveTo>
                  <a:pt x="498" y="61"/>
                </a:moveTo>
                <a:cubicBezTo>
                  <a:pt x="498" y="62"/>
                  <a:pt x="497" y="62"/>
                  <a:pt x="497" y="62"/>
                </a:cubicBezTo>
                <a:cubicBezTo>
                  <a:pt x="497" y="62"/>
                  <a:pt x="497" y="62"/>
                  <a:pt x="497" y="62"/>
                </a:cubicBezTo>
                <a:cubicBezTo>
                  <a:pt x="497" y="63"/>
                  <a:pt x="495" y="64"/>
                  <a:pt x="494" y="64"/>
                </a:cubicBezTo>
                <a:cubicBezTo>
                  <a:pt x="494" y="65"/>
                  <a:pt x="494" y="65"/>
                  <a:pt x="495" y="65"/>
                </a:cubicBezTo>
                <a:cubicBezTo>
                  <a:pt x="493" y="66"/>
                  <a:pt x="491" y="65"/>
                  <a:pt x="489" y="65"/>
                </a:cubicBezTo>
                <a:cubicBezTo>
                  <a:pt x="488" y="65"/>
                  <a:pt x="488" y="66"/>
                  <a:pt x="487" y="66"/>
                </a:cubicBezTo>
                <a:cubicBezTo>
                  <a:pt x="486" y="66"/>
                  <a:pt x="486" y="65"/>
                  <a:pt x="485" y="65"/>
                </a:cubicBezTo>
                <a:cubicBezTo>
                  <a:pt x="485" y="65"/>
                  <a:pt x="484" y="65"/>
                  <a:pt x="484" y="65"/>
                </a:cubicBezTo>
                <a:cubicBezTo>
                  <a:pt x="484" y="65"/>
                  <a:pt x="484" y="65"/>
                  <a:pt x="484" y="64"/>
                </a:cubicBezTo>
                <a:cubicBezTo>
                  <a:pt x="484" y="65"/>
                  <a:pt x="484" y="64"/>
                  <a:pt x="484" y="64"/>
                </a:cubicBezTo>
                <a:cubicBezTo>
                  <a:pt x="483" y="64"/>
                  <a:pt x="483" y="64"/>
                  <a:pt x="482" y="64"/>
                </a:cubicBezTo>
                <a:cubicBezTo>
                  <a:pt x="482" y="64"/>
                  <a:pt x="482" y="65"/>
                  <a:pt x="481" y="64"/>
                </a:cubicBezTo>
                <a:cubicBezTo>
                  <a:pt x="481" y="64"/>
                  <a:pt x="482" y="64"/>
                  <a:pt x="482" y="64"/>
                </a:cubicBezTo>
                <a:cubicBezTo>
                  <a:pt x="482" y="64"/>
                  <a:pt x="481" y="64"/>
                  <a:pt x="481" y="64"/>
                </a:cubicBezTo>
                <a:cubicBezTo>
                  <a:pt x="480" y="64"/>
                  <a:pt x="480" y="64"/>
                  <a:pt x="480" y="64"/>
                </a:cubicBezTo>
                <a:cubicBezTo>
                  <a:pt x="480" y="64"/>
                  <a:pt x="480" y="64"/>
                  <a:pt x="480" y="64"/>
                </a:cubicBezTo>
                <a:cubicBezTo>
                  <a:pt x="480" y="64"/>
                  <a:pt x="479" y="63"/>
                  <a:pt x="479" y="63"/>
                </a:cubicBezTo>
                <a:cubicBezTo>
                  <a:pt x="479" y="63"/>
                  <a:pt x="480" y="63"/>
                  <a:pt x="480" y="63"/>
                </a:cubicBezTo>
                <a:cubicBezTo>
                  <a:pt x="480" y="63"/>
                  <a:pt x="480" y="63"/>
                  <a:pt x="479" y="63"/>
                </a:cubicBezTo>
                <a:cubicBezTo>
                  <a:pt x="480" y="62"/>
                  <a:pt x="480" y="62"/>
                  <a:pt x="480" y="62"/>
                </a:cubicBezTo>
                <a:cubicBezTo>
                  <a:pt x="480" y="62"/>
                  <a:pt x="479" y="63"/>
                  <a:pt x="478" y="63"/>
                </a:cubicBezTo>
                <a:cubicBezTo>
                  <a:pt x="478" y="63"/>
                  <a:pt x="477" y="63"/>
                  <a:pt x="477" y="63"/>
                </a:cubicBezTo>
                <a:cubicBezTo>
                  <a:pt x="478" y="62"/>
                  <a:pt x="478" y="63"/>
                  <a:pt x="479" y="62"/>
                </a:cubicBezTo>
                <a:cubicBezTo>
                  <a:pt x="478" y="62"/>
                  <a:pt x="477" y="62"/>
                  <a:pt x="477" y="62"/>
                </a:cubicBezTo>
                <a:cubicBezTo>
                  <a:pt x="478" y="62"/>
                  <a:pt x="479" y="61"/>
                  <a:pt x="480" y="61"/>
                </a:cubicBezTo>
                <a:cubicBezTo>
                  <a:pt x="481" y="60"/>
                  <a:pt x="481" y="60"/>
                  <a:pt x="482" y="60"/>
                </a:cubicBezTo>
                <a:cubicBezTo>
                  <a:pt x="482" y="60"/>
                  <a:pt x="483" y="60"/>
                  <a:pt x="483" y="60"/>
                </a:cubicBezTo>
                <a:cubicBezTo>
                  <a:pt x="483" y="60"/>
                  <a:pt x="483" y="60"/>
                  <a:pt x="483" y="60"/>
                </a:cubicBezTo>
                <a:cubicBezTo>
                  <a:pt x="483" y="60"/>
                  <a:pt x="484" y="60"/>
                  <a:pt x="484" y="60"/>
                </a:cubicBezTo>
                <a:cubicBezTo>
                  <a:pt x="484" y="60"/>
                  <a:pt x="483" y="60"/>
                  <a:pt x="483" y="60"/>
                </a:cubicBezTo>
                <a:cubicBezTo>
                  <a:pt x="483" y="60"/>
                  <a:pt x="485" y="59"/>
                  <a:pt x="485" y="59"/>
                </a:cubicBezTo>
                <a:cubicBezTo>
                  <a:pt x="485" y="59"/>
                  <a:pt x="485" y="59"/>
                  <a:pt x="485" y="59"/>
                </a:cubicBezTo>
                <a:cubicBezTo>
                  <a:pt x="485" y="59"/>
                  <a:pt x="486" y="59"/>
                  <a:pt x="486" y="59"/>
                </a:cubicBezTo>
                <a:cubicBezTo>
                  <a:pt x="485" y="59"/>
                  <a:pt x="484" y="59"/>
                  <a:pt x="483" y="59"/>
                </a:cubicBezTo>
                <a:cubicBezTo>
                  <a:pt x="484" y="59"/>
                  <a:pt x="484" y="59"/>
                  <a:pt x="485" y="59"/>
                </a:cubicBezTo>
                <a:cubicBezTo>
                  <a:pt x="485" y="59"/>
                  <a:pt x="485" y="59"/>
                  <a:pt x="486" y="59"/>
                </a:cubicBezTo>
                <a:cubicBezTo>
                  <a:pt x="486" y="59"/>
                  <a:pt x="486" y="59"/>
                  <a:pt x="486" y="59"/>
                </a:cubicBezTo>
                <a:cubicBezTo>
                  <a:pt x="486" y="59"/>
                  <a:pt x="487" y="59"/>
                  <a:pt x="487" y="59"/>
                </a:cubicBezTo>
                <a:cubicBezTo>
                  <a:pt x="487" y="59"/>
                  <a:pt x="486" y="59"/>
                  <a:pt x="487" y="58"/>
                </a:cubicBezTo>
                <a:cubicBezTo>
                  <a:pt x="487" y="58"/>
                  <a:pt x="488" y="58"/>
                  <a:pt x="489" y="58"/>
                </a:cubicBezTo>
                <a:cubicBezTo>
                  <a:pt x="491" y="57"/>
                  <a:pt x="493" y="57"/>
                  <a:pt x="494" y="57"/>
                </a:cubicBezTo>
                <a:cubicBezTo>
                  <a:pt x="496" y="57"/>
                  <a:pt x="497" y="57"/>
                  <a:pt x="498" y="58"/>
                </a:cubicBezTo>
                <a:cubicBezTo>
                  <a:pt x="498" y="58"/>
                  <a:pt x="498" y="59"/>
                  <a:pt x="499" y="59"/>
                </a:cubicBezTo>
                <a:cubicBezTo>
                  <a:pt x="500" y="59"/>
                  <a:pt x="498" y="60"/>
                  <a:pt x="498" y="60"/>
                </a:cubicBezTo>
                <a:cubicBezTo>
                  <a:pt x="499" y="60"/>
                  <a:pt x="499" y="60"/>
                  <a:pt x="499" y="60"/>
                </a:cubicBezTo>
                <a:cubicBezTo>
                  <a:pt x="500" y="60"/>
                  <a:pt x="499" y="60"/>
                  <a:pt x="499" y="60"/>
                </a:cubicBezTo>
                <a:cubicBezTo>
                  <a:pt x="498" y="61"/>
                  <a:pt x="499" y="61"/>
                  <a:pt x="498" y="61"/>
                </a:cubicBezTo>
                <a:close/>
                <a:moveTo>
                  <a:pt x="483" y="64"/>
                </a:moveTo>
                <a:cubicBezTo>
                  <a:pt x="482" y="64"/>
                  <a:pt x="482" y="64"/>
                  <a:pt x="482" y="64"/>
                </a:cubicBezTo>
                <a:cubicBezTo>
                  <a:pt x="482" y="64"/>
                  <a:pt x="482" y="64"/>
                  <a:pt x="483" y="64"/>
                </a:cubicBezTo>
                <a:close/>
                <a:moveTo>
                  <a:pt x="547" y="115"/>
                </a:moveTo>
                <a:cubicBezTo>
                  <a:pt x="546" y="115"/>
                  <a:pt x="545" y="115"/>
                  <a:pt x="545" y="115"/>
                </a:cubicBezTo>
                <a:cubicBezTo>
                  <a:pt x="544" y="115"/>
                  <a:pt x="544" y="116"/>
                  <a:pt x="543" y="116"/>
                </a:cubicBezTo>
                <a:cubicBezTo>
                  <a:pt x="543" y="116"/>
                  <a:pt x="541" y="117"/>
                  <a:pt x="542" y="117"/>
                </a:cubicBezTo>
                <a:cubicBezTo>
                  <a:pt x="543" y="118"/>
                  <a:pt x="544" y="117"/>
                  <a:pt x="545" y="117"/>
                </a:cubicBezTo>
                <a:cubicBezTo>
                  <a:pt x="545" y="117"/>
                  <a:pt x="546" y="117"/>
                  <a:pt x="547" y="116"/>
                </a:cubicBezTo>
                <a:cubicBezTo>
                  <a:pt x="547" y="116"/>
                  <a:pt x="548" y="116"/>
                  <a:pt x="549" y="115"/>
                </a:cubicBezTo>
                <a:cubicBezTo>
                  <a:pt x="549" y="115"/>
                  <a:pt x="549" y="115"/>
                  <a:pt x="550" y="114"/>
                </a:cubicBezTo>
                <a:cubicBezTo>
                  <a:pt x="550" y="114"/>
                  <a:pt x="551" y="114"/>
                  <a:pt x="551" y="114"/>
                </a:cubicBezTo>
                <a:cubicBezTo>
                  <a:pt x="551" y="114"/>
                  <a:pt x="552" y="114"/>
                  <a:pt x="552" y="113"/>
                </a:cubicBezTo>
                <a:cubicBezTo>
                  <a:pt x="553" y="113"/>
                  <a:pt x="553" y="113"/>
                  <a:pt x="553" y="113"/>
                </a:cubicBezTo>
                <a:cubicBezTo>
                  <a:pt x="553" y="112"/>
                  <a:pt x="552" y="112"/>
                  <a:pt x="552" y="112"/>
                </a:cubicBezTo>
                <a:cubicBezTo>
                  <a:pt x="551" y="112"/>
                  <a:pt x="550" y="112"/>
                  <a:pt x="550" y="113"/>
                </a:cubicBezTo>
                <a:cubicBezTo>
                  <a:pt x="549" y="113"/>
                  <a:pt x="550" y="113"/>
                  <a:pt x="550" y="114"/>
                </a:cubicBezTo>
                <a:cubicBezTo>
                  <a:pt x="550" y="113"/>
                  <a:pt x="547" y="115"/>
                  <a:pt x="547" y="115"/>
                </a:cubicBezTo>
                <a:close/>
                <a:moveTo>
                  <a:pt x="380" y="118"/>
                </a:moveTo>
                <a:cubicBezTo>
                  <a:pt x="380" y="118"/>
                  <a:pt x="379" y="119"/>
                  <a:pt x="378" y="119"/>
                </a:cubicBezTo>
                <a:cubicBezTo>
                  <a:pt x="378" y="119"/>
                  <a:pt x="378" y="119"/>
                  <a:pt x="379" y="119"/>
                </a:cubicBezTo>
                <a:cubicBezTo>
                  <a:pt x="379" y="119"/>
                  <a:pt x="379" y="119"/>
                  <a:pt x="379" y="119"/>
                </a:cubicBezTo>
                <a:cubicBezTo>
                  <a:pt x="380" y="120"/>
                  <a:pt x="380" y="120"/>
                  <a:pt x="380" y="120"/>
                </a:cubicBezTo>
                <a:cubicBezTo>
                  <a:pt x="380" y="120"/>
                  <a:pt x="381" y="119"/>
                  <a:pt x="381" y="119"/>
                </a:cubicBezTo>
                <a:cubicBezTo>
                  <a:pt x="381" y="119"/>
                  <a:pt x="381" y="119"/>
                  <a:pt x="382" y="119"/>
                </a:cubicBezTo>
                <a:cubicBezTo>
                  <a:pt x="382" y="119"/>
                  <a:pt x="383" y="118"/>
                  <a:pt x="383" y="118"/>
                </a:cubicBezTo>
                <a:cubicBezTo>
                  <a:pt x="383" y="118"/>
                  <a:pt x="383" y="118"/>
                  <a:pt x="383" y="118"/>
                </a:cubicBezTo>
                <a:cubicBezTo>
                  <a:pt x="383" y="118"/>
                  <a:pt x="382" y="118"/>
                  <a:pt x="382" y="118"/>
                </a:cubicBezTo>
                <a:cubicBezTo>
                  <a:pt x="381" y="117"/>
                  <a:pt x="381" y="118"/>
                  <a:pt x="380" y="118"/>
                </a:cubicBezTo>
                <a:close/>
                <a:moveTo>
                  <a:pt x="399" y="107"/>
                </a:moveTo>
                <a:cubicBezTo>
                  <a:pt x="399" y="107"/>
                  <a:pt x="400" y="106"/>
                  <a:pt x="401" y="106"/>
                </a:cubicBezTo>
                <a:cubicBezTo>
                  <a:pt x="401" y="105"/>
                  <a:pt x="400" y="105"/>
                  <a:pt x="400" y="105"/>
                </a:cubicBezTo>
                <a:cubicBezTo>
                  <a:pt x="400" y="105"/>
                  <a:pt x="399" y="106"/>
                  <a:pt x="398" y="105"/>
                </a:cubicBezTo>
                <a:cubicBezTo>
                  <a:pt x="398" y="105"/>
                  <a:pt x="398" y="105"/>
                  <a:pt x="397" y="106"/>
                </a:cubicBezTo>
                <a:cubicBezTo>
                  <a:pt x="397" y="106"/>
                  <a:pt x="396" y="106"/>
                  <a:pt x="396" y="105"/>
                </a:cubicBezTo>
                <a:cubicBezTo>
                  <a:pt x="396" y="105"/>
                  <a:pt x="398" y="104"/>
                  <a:pt x="397" y="104"/>
                </a:cubicBezTo>
                <a:cubicBezTo>
                  <a:pt x="396" y="104"/>
                  <a:pt x="396" y="105"/>
                  <a:pt x="395" y="104"/>
                </a:cubicBezTo>
                <a:cubicBezTo>
                  <a:pt x="395" y="104"/>
                  <a:pt x="394" y="104"/>
                  <a:pt x="394" y="104"/>
                </a:cubicBezTo>
                <a:cubicBezTo>
                  <a:pt x="394" y="102"/>
                  <a:pt x="391" y="102"/>
                  <a:pt x="391" y="102"/>
                </a:cubicBezTo>
                <a:cubicBezTo>
                  <a:pt x="391" y="102"/>
                  <a:pt x="392" y="102"/>
                  <a:pt x="392" y="101"/>
                </a:cubicBezTo>
                <a:cubicBezTo>
                  <a:pt x="392" y="101"/>
                  <a:pt x="391" y="101"/>
                  <a:pt x="391" y="101"/>
                </a:cubicBezTo>
                <a:cubicBezTo>
                  <a:pt x="391" y="100"/>
                  <a:pt x="390" y="101"/>
                  <a:pt x="390" y="101"/>
                </a:cubicBezTo>
                <a:cubicBezTo>
                  <a:pt x="390" y="102"/>
                  <a:pt x="391" y="102"/>
                  <a:pt x="391" y="102"/>
                </a:cubicBezTo>
                <a:cubicBezTo>
                  <a:pt x="391" y="102"/>
                  <a:pt x="389" y="102"/>
                  <a:pt x="389" y="102"/>
                </a:cubicBezTo>
                <a:cubicBezTo>
                  <a:pt x="389" y="102"/>
                  <a:pt x="389" y="102"/>
                  <a:pt x="389" y="101"/>
                </a:cubicBezTo>
                <a:cubicBezTo>
                  <a:pt x="388" y="101"/>
                  <a:pt x="387" y="102"/>
                  <a:pt x="387" y="101"/>
                </a:cubicBezTo>
                <a:cubicBezTo>
                  <a:pt x="387" y="101"/>
                  <a:pt x="387" y="100"/>
                  <a:pt x="386" y="100"/>
                </a:cubicBezTo>
                <a:cubicBezTo>
                  <a:pt x="385" y="100"/>
                  <a:pt x="386" y="99"/>
                  <a:pt x="386" y="99"/>
                </a:cubicBezTo>
                <a:cubicBezTo>
                  <a:pt x="386" y="98"/>
                  <a:pt x="385" y="98"/>
                  <a:pt x="384" y="97"/>
                </a:cubicBezTo>
                <a:cubicBezTo>
                  <a:pt x="384" y="96"/>
                  <a:pt x="386" y="96"/>
                  <a:pt x="386" y="96"/>
                </a:cubicBezTo>
                <a:cubicBezTo>
                  <a:pt x="387" y="95"/>
                  <a:pt x="387" y="94"/>
                  <a:pt x="388" y="94"/>
                </a:cubicBezTo>
                <a:cubicBezTo>
                  <a:pt x="389" y="94"/>
                  <a:pt x="389" y="95"/>
                  <a:pt x="389" y="94"/>
                </a:cubicBezTo>
                <a:cubicBezTo>
                  <a:pt x="389" y="94"/>
                  <a:pt x="390" y="93"/>
                  <a:pt x="390" y="93"/>
                </a:cubicBezTo>
                <a:cubicBezTo>
                  <a:pt x="390" y="93"/>
                  <a:pt x="390" y="93"/>
                  <a:pt x="390" y="93"/>
                </a:cubicBezTo>
                <a:cubicBezTo>
                  <a:pt x="390" y="93"/>
                  <a:pt x="390" y="93"/>
                  <a:pt x="391" y="92"/>
                </a:cubicBezTo>
                <a:cubicBezTo>
                  <a:pt x="391" y="92"/>
                  <a:pt x="391" y="92"/>
                  <a:pt x="391" y="91"/>
                </a:cubicBezTo>
                <a:cubicBezTo>
                  <a:pt x="391" y="91"/>
                  <a:pt x="391" y="90"/>
                  <a:pt x="391" y="90"/>
                </a:cubicBezTo>
                <a:cubicBezTo>
                  <a:pt x="390" y="90"/>
                  <a:pt x="392" y="88"/>
                  <a:pt x="391" y="88"/>
                </a:cubicBezTo>
                <a:cubicBezTo>
                  <a:pt x="391" y="88"/>
                  <a:pt x="392" y="87"/>
                  <a:pt x="392" y="87"/>
                </a:cubicBezTo>
                <a:cubicBezTo>
                  <a:pt x="392" y="87"/>
                  <a:pt x="393" y="87"/>
                  <a:pt x="393" y="87"/>
                </a:cubicBezTo>
                <a:cubicBezTo>
                  <a:pt x="393" y="87"/>
                  <a:pt x="393" y="86"/>
                  <a:pt x="393" y="86"/>
                </a:cubicBezTo>
                <a:cubicBezTo>
                  <a:pt x="393" y="85"/>
                  <a:pt x="393" y="85"/>
                  <a:pt x="394" y="85"/>
                </a:cubicBezTo>
                <a:cubicBezTo>
                  <a:pt x="394" y="85"/>
                  <a:pt x="394" y="84"/>
                  <a:pt x="394" y="84"/>
                </a:cubicBezTo>
                <a:cubicBezTo>
                  <a:pt x="394" y="84"/>
                  <a:pt x="394" y="84"/>
                  <a:pt x="394" y="84"/>
                </a:cubicBezTo>
                <a:cubicBezTo>
                  <a:pt x="394" y="84"/>
                  <a:pt x="395" y="83"/>
                  <a:pt x="395" y="83"/>
                </a:cubicBezTo>
                <a:cubicBezTo>
                  <a:pt x="395" y="83"/>
                  <a:pt x="395" y="82"/>
                  <a:pt x="395" y="82"/>
                </a:cubicBezTo>
                <a:cubicBezTo>
                  <a:pt x="395" y="82"/>
                  <a:pt x="395" y="81"/>
                  <a:pt x="395" y="82"/>
                </a:cubicBezTo>
                <a:cubicBezTo>
                  <a:pt x="396" y="82"/>
                  <a:pt x="395" y="82"/>
                  <a:pt x="396" y="82"/>
                </a:cubicBezTo>
                <a:cubicBezTo>
                  <a:pt x="396" y="82"/>
                  <a:pt x="396" y="81"/>
                  <a:pt x="396" y="81"/>
                </a:cubicBezTo>
                <a:cubicBezTo>
                  <a:pt x="396" y="81"/>
                  <a:pt x="396" y="80"/>
                  <a:pt x="396" y="80"/>
                </a:cubicBezTo>
                <a:cubicBezTo>
                  <a:pt x="396" y="80"/>
                  <a:pt x="395" y="80"/>
                  <a:pt x="395" y="80"/>
                </a:cubicBezTo>
                <a:cubicBezTo>
                  <a:pt x="395" y="79"/>
                  <a:pt x="396" y="79"/>
                  <a:pt x="396" y="79"/>
                </a:cubicBezTo>
                <a:cubicBezTo>
                  <a:pt x="396" y="79"/>
                  <a:pt x="393" y="79"/>
                  <a:pt x="393" y="79"/>
                </a:cubicBezTo>
                <a:cubicBezTo>
                  <a:pt x="393" y="79"/>
                  <a:pt x="393" y="77"/>
                  <a:pt x="393" y="78"/>
                </a:cubicBezTo>
                <a:cubicBezTo>
                  <a:pt x="393" y="77"/>
                  <a:pt x="392" y="78"/>
                  <a:pt x="392" y="77"/>
                </a:cubicBezTo>
                <a:cubicBezTo>
                  <a:pt x="392" y="77"/>
                  <a:pt x="390" y="77"/>
                  <a:pt x="390" y="77"/>
                </a:cubicBezTo>
                <a:cubicBezTo>
                  <a:pt x="389" y="78"/>
                  <a:pt x="389" y="78"/>
                  <a:pt x="388" y="78"/>
                </a:cubicBezTo>
                <a:cubicBezTo>
                  <a:pt x="387" y="78"/>
                  <a:pt x="387" y="77"/>
                  <a:pt x="386" y="77"/>
                </a:cubicBezTo>
                <a:cubicBezTo>
                  <a:pt x="385" y="77"/>
                  <a:pt x="384" y="76"/>
                  <a:pt x="384" y="77"/>
                </a:cubicBezTo>
                <a:cubicBezTo>
                  <a:pt x="383" y="77"/>
                  <a:pt x="384" y="77"/>
                  <a:pt x="383" y="77"/>
                </a:cubicBezTo>
                <a:cubicBezTo>
                  <a:pt x="383" y="77"/>
                  <a:pt x="382" y="77"/>
                  <a:pt x="383" y="78"/>
                </a:cubicBezTo>
                <a:cubicBezTo>
                  <a:pt x="383" y="78"/>
                  <a:pt x="383" y="78"/>
                  <a:pt x="383" y="78"/>
                </a:cubicBezTo>
                <a:cubicBezTo>
                  <a:pt x="383" y="78"/>
                  <a:pt x="382" y="78"/>
                  <a:pt x="382" y="78"/>
                </a:cubicBezTo>
                <a:cubicBezTo>
                  <a:pt x="381" y="78"/>
                  <a:pt x="380" y="78"/>
                  <a:pt x="380" y="78"/>
                </a:cubicBezTo>
                <a:cubicBezTo>
                  <a:pt x="380" y="79"/>
                  <a:pt x="380" y="79"/>
                  <a:pt x="380" y="79"/>
                </a:cubicBezTo>
                <a:cubicBezTo>
                  <a:pt x="380" y="79"/>
                  <a:pt x="380" y="79"/>
                  <a:pt x="380" y="79"/>
                </a:cubicBezTo>
                <a:cubicBezTo>
                  <a:pt x="379" y="79"/>
                  <a:pt x="380" y="79"/>
                  <a:pt x="379" y="80"/>
                </a:cubicBezTo>
                <a:cubicBezTo>
                  <a:pt x="379" y="80"/>
                  <a:pt x="379" y="80"/>
                  <a:pt x="379" y="80"/>
                </a:cubicBezTo>
                <a:cubicBezTo>
                  <a:pt x="378" y="81"/>
                  <a:pt x="378" y="82"/>
                  <a:pt x="377" y="82"/>
                </a:cubicBezTo>
                <a:cubicBezTo>
                  <a:pt x="377" y="83"/>
                  <a:pt x="377" y="83"/>
                  <a:pt x="377" y="83"/>
                </a:cubicBezTo>
                <a:cubicBezTo>
                  <a:pt x="377" y="83"/>
                  <a:pt x="377" y="83"/>
                  <a:pt x="377" y="83"/>
                </a:cubicBezTo>
                <a:cubicBezTo>
                  <a:pt x="377" y="83"/>
                  <a:pt x="377" y="83"/>
                  <a:pt x="377" y="84"/>
                </a:cubicBezTo>
                <a:cubicBezTo>
                  <a:pt x="377" y="84"/>
                  <a:pt x="375" y="84"/>
                  <a:pt x="376" y="84"/>
                </a:cubicBezTo>
                <a:cubicBezTo>
                  <a:pt x="376" y="85"/>
                  <a:pt x="375" y="85"/>
                  <a:pt x="375" y="85"/>
                </a:cubicBezTo>
                <a:cubicBezTo>
                  <a:pt x="376" y="85"/>
                  <a:pt x="375" y="85"/>
                  <a:pt x="375" y="85"/>
                </a:cubicBezTo>
                <a:cubicBezTo>
                  <a:pt x="375" y="86"/>
                  <a:pt x="375" y="86"/>
                  <a:pt x="375" y="86"/>
                </a:cubicBezTo>
                <a:cubicBezTo>
                  <a:pt x="375" y="86"/>
                  <a:pt x="375" y="86"/>
                  <a:pt x="374" y="86"/>
                </a:cubicBezTo>
                <a:cubicBezTo>
                  <a:pt x="374" y="86"/>
                  <a:pt x="374" y="86"/>
                  <a:pt x="374" y="87"/>
                </a:cubicBezTo>
                <a:cubicBezTo>
                  <a:pt x="374" y="87"/>
                  <a:pt x="373" y="87"/>
                  <a:pt x="373" y="87"/>
                </a:cubicBezTo>
                <a:cubicBezTo>
                  <a:pt x="375" y="87"/>
                  <a:pt x="373" y="88"/>
                  <a:pt x="373" y="88"/>
                </a:cubicBezTo>
                <a:cubicBezTo>
                  <a:pt x="373" y="89"/>
                  <a:pt x="374" y="89"/>
                  <a:pt x="374" y="89"/>
                </a:cubicBezTo>
                <a:cubicBezTo>
                  <a:pt x="374" y="89"/>
                  <a:pt x="374" y="89"/>
                  <a:pt x="374" y="90"/>
                </a:cubicBezTo>
                <a:cubicBezTo>
                  <a:pt x="374" y="90"/>
                  <a:pt x="373" y="90"/>
                  <a:pt x="373" y="90"/>
                </a:cubicBezTo>
                <a:cubicBezTo>
                  <a:pt x="372" y="90"/>
                  <a:pt x="373" y="90"/>
                  <a:pt x="373" y="90"/>
                </a:cubicBezTo>
                <a:cubicBezTo>
                  <a:pt x="373" y="91"/>
                  <a:pt x="371" y="90"/>
                  <a:pt x="371" y="91"/>
                </a:cubicBezTo>
                <a:cubicBezTo>
                  <a:pt x="370" y="91"/>
                  <a:pt x="370" y="91"/>
                  <a:pt x="369" y="91"/>
                </a:cubicBezTo>
                <a:cubicBezTo>
                  <a:pt x="369" y="91"/>
                  <a:pt x="368" y="91"/>
                  <a:pt x="368" y="91"/>
                </a:cubicBezTo>
                <a:cubicBezTo>
                  <a:pt x="368" y="92"/>
                  <a:pt x="369" y="92"/>
                  <a:pt x="368" y="92"/>
                </a:cubicBezTo>
                <a:cubicBezTo>
                  <a:pt x="368" y="92"/>
                  <a:pt x="367" y="92"/>
                  <a:pt x="367" y="92"/>
                </a:cubicBezTo>
                <a:cubicBezTo>
                  <a:pt x="368" y="91"/>
                  <a:pt x="366" y="91"/>
                  <a:pt x="366" y="91"/>
                </a:cubicBezTo>
                <a:cubicBezTo>
                  <a:pt x="366" y="91"/>
                  <a:pt x="366" y="91"/>
                  <a:pt x="367" y="91"/>
                </a:cubicBezTo>
                <a:cubicBezTo>
                  <a:pt x="366" y="91"/>
                  <a:pt x="366" y="90"/>
                  <a:pt x="367" y="90"/>
                </a:cubicBezTo>
                <a:cubicBezTo>
                  <a:pt x="367" y="90"/>
                  <a:pt x="367" y="90"/>
                  <a:pt x="367" y="90"/>
                </a:cubicBezTo>
                <a:cubicBezTo>
                  <a:pt x="367" y="89"/>
                  <a:pt x="368" y="89"/>
                  <a:pt x="368" y="89"/>
                </a:cubicBezTo>
                <a:cubicBezTo>
                  <a:pt x="368" y="89"/>
                  <a:pt x="368" y="89"/>
                  <a:pt x="367" y="89"/>
                </a:cubicBezTo>
                <a:cubicBezTo>
                  <a:pt x="367" y="89"/>
                  <a:pt x="368" y="89"/>
                  <a:pt x="368" y="89"/>
                </a:cubicBezTo>
                <a:cubicBezTo>
                  <a:pt x="368" y="89"/>
                  <a:pt x="368" y="89"/>
                  <a:pt x="367" y="89"/>
                </a:cubicBezTo>
                <a:cubicBezTo>
                  <a:pt x="368" y="88"/>
                  <a:pt x="368" y="88"/>
                  <a:pt x="369" y="87"/>
                </a:cubicBezTo>
                <a:cubicBezTo>
                  <a:pt x="369" y="87"/>
                  <a:pt x="368" y="87"/>
                  <a:pt x="368" y="87"/>
                </a:cubicBezTo>
                <a:cubicBezTo>
                  <a:pt x="369" y="87"/>
                  <a:pt x="369" y="86"/>
                  <a:pt x="370" y="85"/>
                </a:cubicBezTo>
                <a:cubicBezTo>
                  <a:pt x="370" y="85"/>
                  <a:pt x="371" y="85"/>
                  <a:pt x="371" y="84"/>
                </a:cubicBezTo>
                <a:cubicBezTo>
                  <a:pt x="372" y="83"/>
                  <a:pt x="371" y="83"/>
                  <a:pt x="370" y="83"/>
                </a:cubicBezTo>
                <a:cubicBezTo>
                  <a:pt x="370" y="83"/>
                  <a:pt x="371" y="84"/>
                  <a:pt x="370" y="83"/>
                </a:cubicBezTo>
                <a:cubicBezTo>
                  <a:pt x="370" y="83"/>
                  <a:pt x="369" y="83"/>
                  <a:pt x="369" y="83"/>
                </a:cubicBezTo>
                <a:cubicBezTo>
                  <a:pt x="369" y="83"/>
                  <a:pt x="370" y="83"/>
                  <a:pt x="371" y="83"/>
                </a:cubicBezTo>
                <a:cubicBezTo>
                  <a:pt x="371" y="83"/>
                  <a:pt x="370" y="82"/>
                  <a:pt x="370" y="82"/>
                </a:cubicBezTo>
                <a:cubicBezTo>
                  <a:pt x="370" y="82"/>
                  <a:pt x="370" y="82"/>
                  <a:pt x="370" y="82"/>
                </a:cubicBezTo>
                <a:cubicBezTo>
                  <a:pt x="370" y="81"/>
                  <a:pt x="369" y="82"/>
                  <a:pt x="369" y="82"/>
                </a:cubicBezTo>
                <a:cubicBezTo>
                  <a:pt x="369" y="82"/>
                  <a:pt x="368" y="81"/>
                  <a:pt x="368" y="81"/>
                </a:cubicBezTo>
                <a:cubicBezTo>
                  <a:pt x="367" y="81"/>
                  <a:pt x="369" y="81"/>
                  <a:pt x="369" y="80"/>
                </a:cubicBezTo>
                <a:cubicBezTo>
                  <a:pt x="369" y="80"/>
                  <a:pt x="367" y="81"/>
                  <a:pt x="367" y="80"/>
                </a:cubicBezTo>
                <a:cubicBezTo>
                  <a:pt x="367" y="80"/>
                  <a:pt x="367" y="80"/>
                  <a:pt x="366" y="80"/>
                </a:cubicBezTo>
                <a:cubicBezTo>
                  <a:pt x="365" y="80"/>
                  <a:pt x="363" y="79"/>
                  <a:pt x="362" y="80"/>
                </a:cubicBezTo>
                <a:cubicBezTo>
                  <a:pt x="362" y="80"/>
                  <a:pt x="362" y="81"/>
                  <a:pt x="362" y="81"/>
                </a:cubicBezTo>
                <a:cubicBezTo>
                  <a:pt x="363" y="81"/>
                  <a:pt x="363" y="81"/>
                  <a:pt x="363" y="81"/>
                </a:cubicBezTo>
                <a:cubicBezTo>
                  <a:pt x="364" y="81"/>
                  <a:pt x="363" y="82"/>
                  <a:pt x="363" y="82"/>
                </a:cubicBezTo>
                <a:cubicBezTo>
                  <a:pt x="363" y="82"/>
                  <a:pt x="364" y="82"/>
                  <a:pt x="364" y="82"/>
                </a:cubicBezTo>
                <a:cubicBezTo>
                  <a:pt x="365" y="82"/>
                  <a:pt x="365" y="82"/>
                  <a:pt x="366" y="82"/>
                </a:cubicBezTo>
                <a:cubicBezTo>
                  <a:pt x="365" y="82"/>
                  <a:pt x="365" y="83"/>
                  <a:pt x="364" y="82"/>
                </a:cubicBezTo>
                <a:cubicBezTo>
                  <a:pt x="363" y="82"/>
                  <a:pt x="362" y="82"/>
                  <a:pt x="362" y="83"/>
                </a:cubicBezTo>
                <a:cubicBezTo>
                  <a:pt x="362" y="83"/>
                  <a:pt x="363" y="82"/>
                  <a:pt x="363" y="83"/>
                </a:cubicBezTo>
                <a:cubicBezTo>
                  <a:pt x="363" y="83"/>
                  <a:pt x="363" y="84"/>
                  <a:pt x="363" y="84"/>
                </a:cubicBezTo>
                <a:cubicBezTo>
                  <a:pt x="363" y="85"/>
                  <a:pt x="361" y="83"/>
                  <a:pt x="361" y="84"/>
                </a:cubicBezTo>
                <a:cubicBezTo>
                  <a:pt x="361" y="84"/>
                  <a:pt x="362" y="84"/>
                  <a:pt x="362" y="85"/>
                </a:cubicBezTo>
                <a:cubicBezTo>
                  <a:pt x="362" y="85"/>
                  <a:pt x="362" y="85"/>
                  <a:pt x="362" y="85"/>
                </a:cubicBezTo>
                <a:cubicBezTo>
                  <a:pt x="361" y="84"/>
                  <a:pt x="361" y="85"/>
                  <a:pt x="361" y="85"/>
                </a:cubicBezTo>
                <a:cubicBezTo>
                  <a:pt x="360" y="84"/>
                  <a:pt x="361" y="84"/>
                  <a:pt x="360" y="84"/>
                </a:cubicBezTo>
                <a:cubicBezTo>
                  <a:pt x="360" y="83"/>
                  <a:pt x="359" y="84"/>
                  <a:pt x="359" y="84"/>
                </a:cubicBezTo>
                <a:cubicBezTo>
                  <a:pt x="358" y="84"/>
                  <a:pt x="359" y="84"/>
                  <a:pt x="359" y="85"/>
                </a:cubicBezTo>
                <a:cubicBezTo>
                  <a:pt x="359" y="85"/>
                  <a:pt x="358" y="84"/>
                  <a:pt x="358" y="84"/>
                </a:cubicBezTo>
                <a:cubicBezTo>
                  <a:pt x="358" y="84"/>
                  <a:pt x="359" y="84"/>
                  <a:pt x="359" y="84"/>
                </a:cubicBezTo>
                <a:cubicBezTo>
                  <a:pt x="359" y="84"/>
                  <a:pt x="358" y="83"/>
                  <a:pt x="358" y="84"/>
                </a:cubicBezTo>
                <a:cubicBezTo>
                  <a:pt x="357" y="84"/>
                  <a:pt x="357" y="84"/>
                  <a:pt x="357" y="84"/>
                </a:cubicBezTo>
                <a:cubicBezTo>
                  <a:pt x="356" y="84"/>
                  <a:pt x="356" y="84"/>
                  <a:pt x="355" y="84"/>
                </a:cubicBezTo>
                <a:cubicBezTo>
                  <a:pt x="355" y="84"/>
                  <a:pt x="354" y="85"/>
                  <a:pt x="354" y="85"/>
                </a:cubicBezTo>
                <a:cubicBezTo>
                  <a:pt x="353" y="85"/>
                  <a:pt x="353" y="86"/>
                  <a:pt x="352" y="86"/>
                </a:cubicBezTo>
                <a:cubicBezTo>
                  <a:pt x="353" y="86"/>
                  <a:pt x="352" y="85"/>
                  <a:pt x="352" y="85"/>
                </a:cubicBezTo>
                <a:cubicBezTo>
                  <a:pt x="352" y="85"/>
                  <a:pt x="351" y="85"/>
                  <a:pt x="351" y="85"/>
                </a:cubicBezTo>
                <a:cubicBezTo>
                  <a:pt x="351" y="85"/>
                  <a:pt x="352" y="85"/>
                  <a:pt x="352" y="85"/>
                </a:cubicBezTo>
                <a:cubicBezTo>
                  <a:pt x="352" y="85"/>
                  <a:pt x="353" y="85"/>
                  <a:pt x="353" y="84"/>
                </a:cubicBezTo>
                <a:cubicBezTo>
                  <a:pt x="352" y="84"/>
                  <a:pt x="351" y="85"/>
                  <a:pt x="350" y="85"/>
                </a:cubicBezTo>
                <a:cubicBezTo>
                  <a:pt x="349" y="85"/>
                  <a:pt x="350" y="85"/>
                  <a:pt x="350" y="86"/>
                </a:cubicBezTo>
                <a:cubicBezTo>
                  <a:pt x="350" y="86"/>
                  <a:pt x="349" y="86"/>
                  <a:pt x="348" y="86"/>
                </a:cubicBezTo>
                <a:cubicBezTo>
                  <a:pt x="348" y="86"/>
                  <a:pt x="347" y="87"/>
                  <a:pt x="347" y="87"/>
                </a:cubicBezTo>
                <a:cubicBezTo>
                  <a:pt x="347" y="86"/>
                  <a:pt x="348" y="86"/>
                  <a:pt x="349" y="86"/>
                </a:cubicBezTo>
                <a:cubicBezTo>
                  <a:pt x="349" y="85"/>
                  <a:pt x="348" y="86"/>
                  <a:pt x="347" y="86"/>
                </a:cubicBezTo>
                <a:cubicBezTo>
                  <a:pt x="347" y="85"/>
                  <a:pt x="350" y="85"/>
                  <a:pt x="350" y="85"/>
                </a:cubicBezTo>
                <a:cubicBezTo>
                  <a:pt x="352" y="84"/>
                  <a:pt x="353" y="84"/>
                  <a:pt x="354" y="84"/>
                </a:cubicBezTo>
                <a:cubicBezTo>
                  <a:pt x="354" y="83"/>
                  <a:pt x="355" y="83"/>
                  <a:pt x="356" y="82"/>
                </a:cubicBezTo>
                <a:cubicBezTo>
                  <a:pt x="356" y="82"/>
                  <a:pt x="355" y="82"/>
                  <a:pt x="355" y="82"/>
                </a:cubicBezTo>
                <a:cubicBezTo>
                  <a:pt x="354" y="81"/>
                  <a:pt x="353" y="81"/>
                  <a:pt x="353" y="81"/>
                </a:cubicBezTo>
                <a:cubicBezTo>
                  <a:pt x="352" y="81"/>
                  <a:pt x="352" y="81"/>
                  <a:pt x="351" y="81"/>
                </a:cubicBezTo>
                <a:cubicBezTo>
                  <a:pt x="350" y="81"/>
                  <a:pt x="350" y="80"/>
                  <a:pt x="349" y="80"/>
                </a:cubicBezTo>
                <a:cubicBezTo>
                  <a:pt x="349" y="80"/>
                  <a:pt x="348" y="80"/>
                  <a:pt x="347" y="80"/>
                </a:cubicBezTo>
                <a:cubicBezTo>
                  <a:pt x="346" y="80"/>
                  <a:pt x="345" y="80"/>
                  <a:pt x="344" y="80"/>
                </a:cubicBezTo>
                <a:cubicBezTo>
                  <a:pt x="344" y="80"/>
                  <a:pt x="343" y="81"/>
                  <a:pt x="343" y="81"/>
                </a:cubicBezTo>
                <a:cubicBezTo>
                  <a:pt x="342" y="81"/>
                  <a:pt x="341" y="81"/>
                  <a:pt x="340" y="82"/>
                </a:cubicBezTo>
                <a:cubicBezTo>
                  <a:pt x="341" y="82"/>
                  <a:pt x="341" y="82"/>
                  <a:pt x="341" y="82"/>
                </a:cubicBezTo>
                <a:cubicBezTo>
                  <a:pt x="341" y="83"/>
                  <a:pt x="339" y="83"/>
                  <a:pt x="338" y="83"/>
                </a:cubicBezTo>
                <a:cubicBezTo>
                  <a:pt x="339" y="83"/>
                  <a:pt x="339" y="83"/>
                  <a:pt x="340" y="82"/>
                </a:cubicBezTo>
                <a:cubicBezTo>
                  <a:pt x="339" y="82"/>
                  <a:pt x="339" y="83"/>
                  <a:pt x="338" y="83"/>
                </a:cubicBezTo>
                <a:cubicBezTo>
                  <a:pt x="338" y="83"/>
                  <a:pt x="337" y="83"/>
                  <a:pt x="337" y="83"/>
                </a:cubicBezTo>
                <a:cubicBezTo>
                  <a:pt x="335" y="83"/>
                  <a:pt x="334" y="83"/>
                  <a:pt x="332" y="84"/>
                </a:cubicBezTo>
                <a:cubicBezTo>
                  <a:pt x="332" y="83"/>
                  <a:pt x="334" y="83"/>
                  <a:pt x="335" y="82"/>
                </a:cubicBezTo>
                <a:cubicBezTo>
                  <a:pt x="334" y="82"/>
                  <a:pt x="335" y="82"/>
                  <a:pt x="335" y="82"/>
                </a:cubicBezTo>
                <a:cubicBezTo>
                  <a:pt x="336" y="82"/>
                  <a:pt x="336" y="82"/>
                  <a:pt x="337" y="82"/>
                </a:cubicBezTo>
                <a:cubicBezTo>
                  <a:pt x="337" y="81"/>
                  <a:pt x="338" y="82"/>
                  <a:pt x="338" y="81"/>
                </a:cubicBezTo>
                <a:cubicBezTo>
                  <a:pt x="339" y="80"/>
                  <a:pt x="340" y="79"/>
                  <a:pt x="342" y="79"/>
                </a:cubicBezTo>
                <a:cubicBezTo>
                  <a:pt x="343" y="78"/>
                  <a:pt x="343" y="77"/>
                  <a:pt x="341" y="76"/>
                </a:cubicBezTo>
                <a:cubicBezTo>
                  <a:pt x="340" y="76"/>
                  <a:pt x="338" y="77"/>
                  <a:pt x="337" y="77"/>
                </a:cubicBezTo>
                <a:cubicBezTo>
                  <a:pt x="335" y="77"/>
                  <a:pt x="333" y="78"/>
                  <a:pt x="331" y="78"/>
                </a:cubicBezTo>
                <a:cubicBezTo>
                  <a:pt x="329" y="78"/>
                  <a:pt x="327" y="79"/>
                  <a:pt x="325" y="79"/>
                </a:cubicBezTo>
                <a:cubicBezTo>
                  <a:pt x="324" y="79"/>
                  <a:pt x="323" y="79"/>
                  <a:pt x="322" y="80"/>
                </a:cubicBezTo>
                <a:cubicBezTo>
                  <a:pt x="321" y="80"/>
                  <a:pt x="320" y="80"/>
                  <a:pt x="319" y="80"/>
                </a:cubicBezTo>
                <a:cubicBezTo>
                  <a:pt x="317" y="80"/>
                  <a:pt x="316" y="81"/>
                  <a:pt x="314" y="81"/>
                </a:cubicBezTo>
                <a:cubicBezTo>
                  <a:pt x="311" y="82"/>
                  <a:pt x="307" y="83"/>
                  <a:pt x="304" y="84"/>
                </a:cubicBezTo>
                <a:cubicBezTo>
                  <a:pt x="304" y="84"/>
                  <a:pt x="302" y="85"/>
                  <a:pt x="303" y="85"/>
                </a:cubicBezTo>
                <a:cubicBezTo>
                  <a:pt x="303" y="86"/>
                  <a:pt x="304" y="86"/>
                  <a:pt x="304" y="85"/>
                </a:cubicBezTo>
                <a:cubicBezTo>
                  <a:pt x="304" y="85"/>
                  <a:pt x="305" y="86"/>
                  <a:pt x="305" y="86"/>
                </a:cubicBezTo>
                <a:cubicBezTo>
                  <a:pt x="304" y="87"/>
                  <a:pt x="303" y="87"/>
                  <a:pt x="302" y="87"/>
                </a:cubicBezTo>
                <a:cubicBezTo>
                  <a:pt x="301" y="87"/>
                  <a:pt x="300" y="87"/>
                  <a:pt x="299" y="87"/>
                </a:cubicBezTo>
                <a:cubicBezTo>
                  <a:pt x="299" y="87"/>
                  <a:pt x="298" y="88"/>
                  <a:pt x="297" y="88"/>
                </a:cubicBezTo>
                <a:cubicBezTo>
                  <a:pt x="296" y="89"/>
                  <a:pt x="294" y="89"/>
                  <a:pt x="293" y="90"/>
                </a:cubicBezTo>
                <a:cubicBezTo>
                  <a:pt x="292" y="90"/>
                  <a:pt x="291" y="91"/>
                  <a:pt x="291" y="91"/>
                </a:cubicBezTo>
                <a:cubicBezTo>
                  <a:pt x="291" y="92"/>
                  <a:pt x="291" y="92"/>
                  <a:pt x="292" y="92"/>
                </a:cubicBezTo>
                <a:cubicBezTo>
                  <a:pt x="293" y="92"/>
                  <a:pt x="295" y="91"/>
                  <a:pt x="295" y="92"/>
                </a:cubicBezTo>
                <a:cubicBezTo>
                  <a:pt x="295" y="92"/>
                  <a:pt x="295" y="92"/>
                  <a:pt x="295" y="92"/>
                </a:cubicBezTo>
                <a:cubicBezTo>
                  <a:pt x="296" y="92"/>
                  <a:pt x="296" y="92"/>
                  <a:pt x="297" y="92"/>
                </a:cubicBezTo>
                <a:cubicBezTo>
                  <a:pt x="298" y="91"/>
                  <a:pt x="300" y="91"/>
                  <a:pt x="300" y="92"/>
                </a:cubicBezTo>
                <a:cubicBezTo>
                  <a:pt x="300" y="92"/>
                  <a:pt x="299" y="91"/>
                  <a:pt x="298" y="92"/>
                </a:cubicBezTo>
                <a:cubicBezTo>
                  <a:pt x="299" y="92"/>
                  <a:pt x="299" y="92"/>
                  <a:pt x="300" y="92"/>
                </a:cubicBezTo>
                <a:cubicBezTo>
                  <a:pt x="299" y="93"/>
                  <a:pt x="299" y="92"/>
                  <a:pt x="298" y="93"/>
                </a:cubicBezTo>
                <a:cubicBezTo>
                  <a:pt x="299" y="93"/>
                  <a:pt x="299" y="93"/>
                  <a:pt x="299" y="93"/>
                </a:cubicBezTo>
                <a:cubicBezTo>
                  <a:pt x="298" y="93"/>
                  <a:pt x="298" y="93"/>
                  <a:pt x="298" y="93"/>
                </a:cubicBezTo>
                <a:cubicBezTo>
                  <a:pt x="297" y="93"/>
                  <a:pt x="296" y="93"/>
                  <a:pt x="296" y="93"/>
                </a:cubicBezTo>
                <a:cubicBezTo>
                  <a:pt x="295" y="93"/>
                  <a:pt x="294" y="93"/>
                  <a:pt x="294" y="94"/>
                </a:cubicBezTo>
                <a:cubicBezTo>
                  <a:pt x="293" y="94"/>
                  <a:pt x="296" y="94"/>
                  <a:pt x="296" y="94"/>
                </a:cubicBezTo>
                <a:cubicBezTo>
                  <a:pt x="296" y="94"/>
                  <a:pt x="299" y="94"/>
                  <a:pt x="299" y="94"/>
                </a:cubicBezTo>
                <a:cubicBezTo>
                  <a:pt x="299" y="94"/>
                  <a:pt x="299" y="93"/>
                  <a:pt x="299" y="93"/>
                </a:cubicBezTo>
                <a:cubicBezTo>
                  <a:pt x="299" y="93"/>
                  <a:pt x="300" y="93"/>
                  <a:pt x="300" y="93"/>
                </a:cubicBezTo>
                <a:cubicBezTo>
                  <a:pt x="300" y="93"/>
                  <a:pt x="300" y="93"/>
                  <a:pt x="300" y="93"/>
                </a:cubicBezTo>
                <a:cubicBezTo>
                  <a:pt x="300" y="94"/>
                  <a:pt x="300" y="94"/>
                  <a:pt x="299" y="94"/>
                </a:cubicBezTo>
                <a:cubicBezTo>
                  <a:pt x="300" y="94"/>
                  <a:pt x="302" y="94"/>
                  <a:pt x="303" y="94"/>
                </a:cubicBezTo>
                <a:cubicBezTo>
                  <a:pt x="304" y="94"/>
                  <a:pt x="305" y="93"/>
                  <a:pt x="307" y="93"/>
                </a:cubicBezTo>
                <a:cubicBezTo>
                  <a:pt x="308" y="93"/>
                  <a:pt x="309" y="93"/>
                  <a:pt x="311" y="93"/>
                </a:cubicBezTo>
                <a:cubicBezTo>
                  <a:pt x="312" y="93"/>
                  <a:pt x="313" y="92"/>
                  <a:pt x="314" y="93"/>
                </a:cubicBezTo>
                <a:cubicBezTo>
                  <a:pt x="314" y="93"/>
                  <a:pt x="314" y="93"/>
                  <a:pt x="314" y="93"/>
                </a:cubicBezTo>
                <a:cubicBezTo>
                  <a:pt x="315" y="93"/>
                  <a:pt x="316" y="93"/>
                  <a:pt x="317" y="93"/>
                </a:cubicBezTo>
                <a:cubicBezTo>
                  <a:pt x="316" y="93"/>
                  <a:pt x="315" y="93"/>
                  <a:pt x="314" y="93"/>
                </a:cubicBezTo>
                <a:cubicBezTo>
                  <a:pt x="314" y="93"/>
                  <a:pt x="313" y="93"/>
                  <a:pt x="313" y="93"/>
                </a:cubicBezTo>
                <a:cubicBezTo>
                  <a:pt x="313" y="93"/>
                  <a:pt x="312" y="93"/>
                  <a:pt x="312" y="93"/>
                </a:cubicBezTo>
                <a:cubicBezTo>
                  <a:pt x="311" y="93"/>
                  <a:pt x="311" y="93"/>
                  <a:pt x="310" y="93"/>
                </a:cubicBezTo>
                <a:cubicBezTo>
                  <a:pt x="309" y="94"/>
                  <a:pt x="309" y="94"/>
                  <a:pt x="308" y="94"/>
                </a:cubicBezTo>
                <a:cubicBezTo>
                  <a:pt x="309" y="94"/>
                  <a:pt x="310" y="94"/>
                  <a:pt x="311" y="94"/>
                </a:cubicBezTo>
                <a:cubicBezTo>
                  <a:pt x="310" y="95"/>
                  <a:pt x="309" y="94"/>
                  <a:pt x="308" y="94"/>
                </a:cubicBezTo>
                <a:cubicBezTo>
                  <a:pt x="308" y="94"/>
                  <a:pt x="308" y="94"/>
                  <a:pt x="308" y="94"/>
                </a:cubicBezTo>
                <a:cubicBezTo>
                  <a:pt x="307" y="94"/>
                  <a:pt x="305" y="94"/>
                  <a:pt x="303" y="95"/>
                </a:cubicBezTo>
                <a:cubicBezTo>
                  <a:pt x="302" y="95"/>
                  <a:pt x="300" y="95"/>
                  <a:pt x="299" y="96"/>
                </a:cubicBezTo>
                <a:cubicBezTo>
                  <a:pt x="296" y="96"/>
                  <a:pt x="294" y="96"/>
                  <a:pt x="291" y="97"/>
                </a:cubicBezTo>
                <a:cubicBezTo>
                  <a:pt x="290" y="97"/>
                  <a:pt x="287" y="98"/>
                  <a:pt x="288" y="99"/>
                </a:cubicBezTo>
                <a:cubicBezTo>
                  <a:pt x="289" y="100"/>
                  <a:pt x="290" y="100"/>
                  <a:pt x="290" y="100"/>
                </a:cubicBezTo>
                <a:cubicBezTo>
                  <a:pt x="290" y="100"/>
                  <a:pt x="289" y="101"/>
                  <a:pt x="289" y="101"/>
                </a:cubicBezTo>
                <a:cubicBezTo>
                  <a:pt x="289" y="101"/>
                  <a:pt x="290" y="101"/>
                  <a:pt x="290" y="101"/>
                </a:cubicBezTo>
                <a:cubicBezTo>
                  <a:pt x="290" y="101"/>
                  <a:pt x="292" y="101"/>
                  <a:pt x="292" y="101"/>
                </a:cubicBezTo>
                <a:cubicBezTo>
                  <a:pt x="293" y="101"/>
                  <a:pt x="294" y="101"/>
                  <a:pt x="296" y="101"/>
                </a:cubicBezTo>
                <a:cubicBezTo>
                  <a:pt x="297" y="101"/>
                  <a:pt x="299" y="100"/>
                  <a:pt x="300" y="101"/>
                </a:cubicBezTo>
                <a:cubicBezTo>
                  <a:pt x="300" y="101"/>
                  <a:pt x="299" y="101"/>
                  <a:pt x="299" y="101"/>
                </a:cubicBezTo>
                <a:cubicBezTo>
                  <a:pt x="300" y="102"/>
                  <a:pt x="301" y="101"/>
                  <a:pt x="302" y="101"/>
                </a:cubicBezTo>
                <a:cubicBezTo>
                  <a:pt x="303" y="101"/>
                  <a:pt x="304" y="101"/>
                  <a:pt x="305" y="101"/>
                </a:cubicBezTo>
                <a:cubicBezTo>
                  <a:pt x="307" y="101"/>
                  <a:pt x="309" y="101"/>
                  <a:pt x="311" y="101"/>
                </a:cubicBezTo>
                <a:cubicBezTo>
                  <a:pt x="312" y="101"/>
                  <a:pt x="313" y="100"/>
                  <a:pt x="314" y="101"/>
                </a:cubicBezTo>
                <a:cubicBezTo>
                  <a:pt x="315" y="101"/>
                  <a:pt x="315" y="100"/>
                  <a:pt x="316" y="100"/>
                </a:cubicBezTo>
                <a:cubicBezTo>
                  <a:pt x="317" y="100"/>
                  <a:pt x="318" y="101"/>
                  <a:pt x="318" y="101"/>
                </a:cubicBezTo>
                <a:cubicBezTo>
                  <a:pt x="319" y="100"/>
                  <a:pt x="320" y="101"/>
                  <a:pt x="321" y="101"/>
                </a:cubicBezTo>
                <a:cubicBezTo>
                  <a:pt x="320" y="101"/>
                  <a:pt x="320" y="101"/>
                  <a:pt x="320" y="101"/>
                </a:cubicBezTo>
                <a:cubicBezTo>
                  <a:pt x="321" y="101"/>
                  <a:pt x="321" y="101"/>
                  <a:pt x="321" y="101"/>
                </a:cubicBezTo>
                <a:cubicBezTo>
                  <a:pt x="322" y="102"/>
                  <a:pt x="322" y="101"/>
                  <a:pt x="323" y="101"/>
                </a:cubicBezTo>
                <a:cubicBezTo>
                  <a:pt x="323" y="101"/>
                  <a:pt x="324" y="102"/>
                  <a:pt x="324" y="102"/>
                </a:cubicBezTo>
                <a:cubicBezTo>
                  <a:pt x="325" y="102"/>
                  <a:pt x="325" y="102"/>
                  <a:pt x="325" y="102"/>
                </a:cubicBezTo>
                <a:cubicBezTo>
                  <a:pt x="326" y="102"/>
                  <a:pt x="327" y="102"/>
                  <a:pt x="326" y="102"/>
                </a:cubicBezTo>
                <a:cubicBezTo>
                  <a:pt x="326" y="103"/>
                  <a:pt x="326" y="103"/>
                  <a:pt x="326" y="103"/>
                </a:cubicBezTo>
                <a:cubicBezTo>
                  <a:pt x="327" y="103"/>
                  <a:pt x="329" y="103"/>
                  <a:pt x="329" y="104"/>
                </a:cubicBezTo>
                <a:cubicBezTo>
                  <a:pt x="329" y="104"/>
                  <a:pt x="329" y="104"/>
                  <a:pt x="328" y="104"/>
                </a:cubicBezTo>
                <a:cubicBezTo>
                  <a:pt x="329" y="104"/>
                  <a:pt x="329" y="104"/>
                  <a:pt x="329" y="104"/>
                </a:cubicBezTo>
                <a:cubicBezTo>
                  <a:pt x="328" y="105"/>
                  <a:pt x="327" y="104"/>
                  <a:pt x="326" y="104"/>
                </a:cubicBezTo>
                <a:cubicBezTo>
                  <a:pt x="326" y="104"/>
                  <a:pt x="325" y="104"/>
                  <a:pt x="325" y="104"/>
                </a:cubicBezTo>
                <a:cubicBezTo>
                  <a:pt x="324" y="104"/>
                  <a:pt x="324" y="104"/>
                  <a:pt x="323" y="104"/>
                </a:cubicBezTo>
                <a:cubicBezTo>
                  <a:pt x="324" y="104"/>
                  <a:pt x="324" y="104"/>
                  <a:pt x="324" y="104"/>
                </a:cubicBezTo>
                <a:cubicBezTo>
                  <a:pt x="323" y="104"/>
                  <a:pt x="323" y="104"/>
                  <a:pt x="322" y="104"/>
                </a:cubicBezTo>
                <a:cubicBezTo>
                  <a:pt x="322" y="104"/>
                  <a:pt x="320" y="104"/>
                  <a:pt x="321" y="105"/>
                </a:cubicBezTo>
                <a:cubicBezTo>
                  <a:pt x="320" y="105"/>
                  <a:pt x="320" y="105"/>
                  <a:pt x="319" y="105"/>
                </a:cubicBezTo>
                <a:cubicBezTo>
                  <a:pt x="319" y="105"/>
                  <a:pt x="318" y="105"/>
                  <a:pt x="318" y="104"/>
                </a:cubicBezTo>
                <a:cubicBezTo>
                  <a:pt x="316" y="104"/>
                  <a:pt x="315" y="104"/>
                  <a:pt x="313" y="104"/>
                </a:cubicBezTo>
                <a:cubicBezTo>
                  <a:pt x="312" y="104"/>
                  <a:pt x="310" y="104"/>
                  <a:pt x="308" y="104"/>
                </a:cubicBezTo>
                <a:cubicBezTo>
                  <a:pt x="307" y="104"/>
                  <a:pt x="305" y="104"/>
                  <a:pt x="304" y="104"/>
                </a:cubicBezTo>
                <a:cubicBezTo>
                  <a:pt x="300" y="104"/>
                  <a:pt x="297" y="105"/>
                  <a:pt x="294" y="105"/>
                </a:cubicBezTo>
                <a:cubicBezTo>
                  <a:pt x="291" y="105"/>
                  <a:pt x="287" y="105"/>
                  <a:pt x="285" y="107"/>
                </a:cubicBezTo>
                <a:cubicBezTo>
                  <a:pt x="284" y="107"/>
                  <a:pt x="284" y="108"/>
                  <a:pt x="283" y="109"/>
                </a:cubicBezTo>
                <a:cubicBezTo>
                  <a:pt x="283" y="109"/>
                  <a:pt x="284" y="110"/>
                  <a:pt x="285" y="110"/>
                </a:cubicBezTo>
                <a:cubicBezTo>
                  <a:pt x="285" y="110"/>
                  <a:pt x="284" y="110"/>
                  <a:pt x="284" y="110"/>
                </a:cubicBezTo>
                <a:cubicBezTo>
                  <a:pt x="284" y="110"/>
                  <a:pt x="285" y="111"/>
                  <a:pt x="285" y="111"/>
                </a:cubicBezTo>
                <a:cubicBezTo>
                  <a:pt x="285" y="110"/>
                  <a:pt x="285" y="111"/>
                  <a:pt x="286" y="111"/>
                </a:cubicBezTo>
                <a:cubicBezTo>
                  <a:pt x="285" y="111"/>
                  <a:pt x="285" y="111"/>
                  <a:pt x="285" y="111"/>
                </a:cubicBezTo>
                <a:cubicBezTo>
                  <a:pt x="285" y="112"/>
                  <a:pt x="284" y="112"/>
                  <a:pt x="285" y="112"/>
                </a:cubicBezTo>
                <a:cubicBezTo>
                  <a:pt x="285" y="112"/>
                  <a:pt x="286" y="113"/>
                  <a:pt x="286" y="113"/>
                </a:cubicBezTo>
                <a:cubicBezTo>
                  <a:pt x="288" y="113"/>
                  <a:pt x="290" y="113"/>
                  <a:pt x="292" y="114"/>
                </a:cubicBezTo>
                <a:cubicBezTo>
                  <a:pt x="293" y="114"/>
                  <a:pt x="294" y="113"/>
                  <a:pt x="295" y="113"/>
                </a:cubicBezTo>
                <a:cubicBezTo>
                  <a:pt x="296" y="114"/>
                  <a:pt x="297" y="113"/>
                  <a:pt x="298" y="113"/>
                </a:cubicBezTo>
                <a:cubicBezTo>
                  <a:pt x="299" y="113"/>
                  <a:pt x="299" y="113"/>
                  <a:pt x="299" y="114"/>
                </a:cubicBezTo>
                <a:cubicBezTo>
                  <a:pt x="300" y="114"/>
                  <a:pt x="300" y="114"/>
                  <a:pt x="301" y="114"/>
                </a:cubicBezTo>
                <a:cubicBezTo>
                  <a:pt x="302" y="114"/>
                  <a:pt x="303" y="114"/>
                  <a:pt x="303" y="114"/>
                </a:cubicBezTo>
                <a:cubicBezTo>
                  <a:pt x="303" y="114"/>
                  <a:pt x="302" y="114"/>
                  <a:pt x="302" y="115"/>
                </a:cubicBezTo>
                <a:cubicBezTo>
                  <a:pt x="302" y="115"/>
                  <a:pt x="301" y="115"/>
                  <a:pt x="302" y="115"/>
                </a:cubicBezTo>
                <a:cubicBezTo>
                  <a:pt x="302" y="116"/>
                  <a:pt x="301" y="116"/>
                  <a:pt x="301" y="116"/>
                </a:cubicBezTo>
                <a:cubicBezTo>
                  <a:pt x="302" y="116"/>
                  <a:pt x="300" y="116"/>
                  <a:pt x="300" y="117"/>
                </a:cubicBezTo>
                <a:cubicBezTo>
                  <a:pt x="299" y="117"/>
                  <a:pt x="300" y="117"/>
                  <a:pt x="299" y="117"/>
                </a:cubicBezTo>
                <a:cubicBezTo>
                  <a:pt x="298" y="118"/>
                  <a:pt x="299" y="118"/>
                  <a:pt x="299" y="119"/>
                </a:cubicBezTo>
                <a:cubicBezTo>
                  <a:pt x="299" y="119"/>
                  <a:pt x="298" y="119"/>
                  <a:pt x="299" y="120"/>
                </a:cubicBezTo>
                <a:cubicBezTo>
                  <a:pt x="299" y="120"/>
                  <a:pt x="301" y="120"/>
                  <a:pt x="300" y="121"/>
                </a:cubicBezTo>
                <a:cubicBezTo>
                  <a:pt x="300" y="121"/>
                  <a:pt x="298" y="120"/>
                  <a:pt x="298" y="121"/>
                </a:cubicBezTo>
                <a:cubicBezTo>
                  <a:pt x="298" y="121"/>
                  <a:pt x="302" y="121"/>
                  <a:pt x="302" y="121"/>
                </a:cubicBezTo>
                <a:cubicBezTo>
                  <a:pt x="303" y="121"/>
                  <a:pt x="303" y="120"/>
                  <a:pt x="304" y="120"/>
                </a:cubicBezTo>
                <a:cubicBezTo>
                  <a:pt x="305" y="120"/>
                  <a:pt x="306" y="120"/>
                  <a:pt x="307" y="120"/>
                </a:cubicBezTo>
                <a:cubicBezTo>
                  <a:pt x="308" y="120"/>
                  <a:pt x="310" y="120"/>
                  <a:pt x="312" y="120"/>
                </a:cubicBezTo>
                <a:cubicBezTo>
                  <a:pt x="312" y="120"/>
                  <a:pt x="314" y="121"/>
                  <a:pt x="313" y="120"/>
                </a:cubicBezTo>
                <a:cubicBezTo>
                  <a:pt x="313" y="120"/>
                  <a:pt x="313" y="120"/>
                  <a:pt x="312" y="120"/>
                </a:cubicBezTo>
                <a:cubicBezTo>
                  <a:pt x="313" y="120"/>
                  <a:pt x="314" y="120"/>
                  <a:pt x="314" y="120"/>
                </a:cubicBezTo>
                <a:cubicBezTo>
                  <a:pt x="315" y="120"/>
                  <a:pt x="316" y="119"/>
                  <a:pt x="317" y="120"/>
                </a:cubicBezTo>
                <a:cubicBezTo>
                  <a:pt x="316" y="120"/>
                  <a:pt x="315" y="120"/>
                  <a:pt x="315" y="120"/>
                </a:cubicBezTo>
                <a:cubicBezTo>
                  <a:pt x="316" y="120"/>
                  <a:pt x="317" y="119"/>
                  <a:pt x="319" y="119"/>
                </a:cubicBezTo>
                <a:cubicBezTo>
                  <a:pt x="319" y="119"/>
                  <a:pt x="320" y="119"/>
                  <a:pt x="320" y="120"/>
                </a:cubicBezTo>
                <a:cubicBezTo>
                  <a:pt x="320" y="120"/>
                  <a:pt x="321" y="119"/>
                  <a:pt x="321" y="119"/>
                </a:cubicBezTo>
                <a:cubicBezTo>
                  <a:pt x="322" y="119"/>
                  <a:pt x="323" y="119"/>
                  <a:pt x="324" y="119"/>
                </a:cubicBezTo>
                <a:cubicBezTo>
                  <a:pt x="324" y="119"/>
                  <a:pt x="325" y="119"/>
                  <a:pt x="326" y="119"/>
                </a:cubicBezTo>
                <a:cubicBezTo>
                  <a:pt x="327" y="119"/>
                  <a:pt x="329" y="119"/>
                  <a:pt x="330" y="119"/>
                </a:cubicBezTo>
                <a:cubicBezTo>
                  <a:pt x="332" y="118"/>
                  <a:pt x="333" y="118"/>
                  <a:pt x="335" y="117"/>
                </a:cubicBezTo>
                <a:cubicBezTo>
                  <a:pt x="335" y="117"/>
                  <a:pt x="336" y="117"/>
                  <a:pt x="336" y="117"/>
                </a:cubicBezTo>
                <a:cubicBezTo>
                  <a:pt x="337" y="116"/>
                  <a:pt x="337" y="116"/>
                  <a:pt x="338" y="116"/>
                </a:cubicBezTo>
                <a:cubicBezTo>
                  <a:pt x="340" y="117"/>
                  <a:pt x="341" y="116"/>
                  <a:pt x="343" y="116"/>
                </a:cubicBezTo>
                <a:cubicBezTo>
                  <a:pt x="345" y="116"/>
                  <a:pt x="346" y="116"/>
                  <a:pt x="347" y="115"/>
                </a:cubicBezTo>
                <a:cubicBezTo>
                  <a:pt x="348" y="115"/>
                  <a:pt x="348" y="115"/>
                  <a:pt x="349" y="115"/>
                </a:cubicBezTo>
                <a:cubicBezTo>
                  <a:pt x="349" y="114"/>
                  <a:pt x="350" y="114"/>
                  <a:pt x="351" y="113"/>
                </a:cubicBezTo>
                <a:cubicBezTo>
                  <a:pt x="351" y="112"/>
                  <a:pt x="353" y="113"/>
                  <a:pt x="354" y="112"/>
                </a:cubicBezTo>
                <a:cubicBezTo>
                  <a:pt x="355" y="111"/>
                  <a:pt x="355" y="111"/>
                  <a:pt x="356" y="112"/>
                </a:cubicBezTo>
                <a:cubicBezTo>
                  <a:pt x="356" y="112"/>
                  <a:pt x="355" y="113"/>
                  <a:pt x="355" y="114"/>
                </a:cubicBezTo>
                <a:cubicBezTo>
                  <a:pt x="354" y="114"/>
                  <a:pt x="353" y="114"/>
                  <a:pt x="354" y="114"/>
                </a:cubicBezTo>
                <a:cubicBezTo>
                  <a:pt x="355" y="115"/>
                  <a:pt x="356" y="115"/>
                  <a:pt x="356" y="115"/>
                </a:cubicBezTo>
                <a:cubicBezTo>
                  <a:pt x="357" y="114"/>
                  <a:pt x="359" y="114"/>
                  <a:pt x="359" y="115"/>
                </a:cubicBezTo>
                <a:cubicBezTo>
                  <a:pt x="359" y="115"/>
                  <a:pt x="362" y="115"/>
                  <a:pt x="362" y="115"/>
                </a:cubicBezTo>
                <a:cubicBezTo>
                  <a:pt x="361" y="115"/>
                  <a:pt x="364" y="115"/>
                  <a:pt x="363" y="116"/>
                </a:cubicBezTo>
                <a:cubicBezTo>
                  <a:pt x="362" y="116"/>
                  <a:pt x="360" y="116"/>
                  <a:pt x="359" y="116"/>
                </a:cubicBezTo>
                <a:cubicBezTo>
                  <a:pt x="360" y="117"/>
                  <a:pt x="362" y="117"/>
                  <a:pt x="363" y="117"/>
                </a:cubicBezTo>
                <a:cubicBezTo>
                  <a:pt x="364" y="117"/>
                  <a:pt x="365" y="116"/>
                  <a:pt x="365" y="117"/>
                </a:cubicBezTo>
                <a:cubicBezTo>
                  <a:pt x="366" y="117"/>
                  <a:pt x="366" y="117"/>
                  <a:pt x="366" y="117"/>
                </a:cubicBezTo>
                <a:cubicBezTo>
                  <a:pt x="366" y="117"/>
                  <a:pt x="366" y="117"/>
                  <a:pt x="366" y="116"/>
                </a:cubicBezTo>
                <a:cubicBezTo>
                  <a:pt x="366" y="117"/>
                  <a:pt x="368" y="117"/>
                  <a:pt x="368" y="117"/>
                </a:cubicBezTo>
                <a:cubicBezTo>
                  <a:pt x="369" y="117"/>
                  <a:pt x="369" y="118"/>
                  <a:pt x="370" y="118"/>
                </a:cubicBezTo>
                <a:cubicBezTo>
                  <a:pt x="370" y="118"/>
                  <a:pt x="371" y="118"/>
                  <a:pt x="371" y="118"/>
                </a:cubicBezTo>
                <a:cubicBezTo>
                  <a:pt x="371" y="118"/>
                  <a:pt x="371" y="118"/>
                  <a:pt x="372" y="118"/>
                </a:cubicBezTo>
                <a:cubicBezTo>
                  <a:pt x="372" y="118"/>
                  <a:pt x="373" y="117"/>
                  <a:pt x="373" y="117"/>
                </a:cubicBezTo>
                <a:cubicBezTo>
                  <a:pt x="374" y="118"/>
                  <a:pt x="376" y="118"/>
                  <a:pt x="376" y="117"/>
                </a:cubicBezTo>
                <a:cubicBezTo>
                  <a:pt x="377" y="117"/>
                  <a:pt x="376" y="117"/>
                  <a:pt x="377" y="117"/>
                </a:cubicBezTo>
                <a:cubicBezTo>
                  <a:pt x="378" y="117"/>
                  <a:pt x="378" y="117"/>
                  <a:pt x="379" y="117"/>
                </a:cubicBezTo>
                <a:cubicBezTo>
                  <a:pt x="380" y="116"/>
                  <a:pt x="380" y="116"/>
                  <a:pt x="381" y="116"/>
                </a:cubicBezTo>
                <a:cubicBezTo>
                  <a:pt x="382" y="116"/>
                  <a:pt x="382" y="116"/>
                  <a:pt x="382" y="116"/>
                </a:cubicBezTo>
                <a:cubicBezTo>
                  <a:pt x="383" y="116"/>
                  <a:pt x="383" y="116"/>
                  <a:pt x="383" y="116"/>
                </a:cubicBezTo>
                <a:cubicBezTo>
                  <a:pt x="383" y="116"/>
                  <a:pt x="385" y="116"/>
                  <a:pt x="384" y="116"/>
                </a:cubicBezTo>
                <a:cubicBezTo>
                  <a:pt x="384" y="116"/>
                  <a:pt x="388" y="114"/>
                  <a:pt x="386" y="114"/>
                </a:cubicBezTo>
                <a:cubicBezTo>
                  <a:pt x="385" y="113"/>
                  <a:pt x="384" y="114"/>
                  <a:pt x="384" y="114"/>
                </a:cubicBezTo>
                <a:cubicBezTo>
                  <a:pt x="383" y="114"/>
                  <a:pt x="384" y="113"/>
                  <a:pt x="384" y="114"/>
                </a:cubicBezTo>
                <a:cubicBezTo>
                  <a:pt x="385" y="114"/>
                  <a:pt x="385" y="113"/>
                  <a:pt x="385" y="113"/>
                </a:cubicBezTo>
                <a:cubicBezTo>
                  <a:pt x="385" y="113"/>
                  <a:pt x="385" y="113"/>
                  <a:pt x="385" y="113"/>
                </a:cubicBezTo>
                <a:cubicBezTo>
                  <a:pt x="385" y="112"/>
                  <a:pt x="387" y="113"/>
                  <a:pt x="387" y="112"/>
                </a:cubicBezTo>
                <a:cubicBezTo>
                  <a:pt x="387" y="111"/>
                  <a:pt x="385" y="111"/>
                  <a:pt x="385" y="111"/>
                </a:cubicBezTo>
                <a:cubicBezTo>
                  <a:pt x="384" y="112"/>
                  <a:pt x="384" y="112"/>
                  <a:pt x="383" y="112"/>
                </a:cubicBezTo>
                <a:cubicBezTo>
                  <a:pt x="382" y="112"/>
                  <a:pt x="381" y="112"/>
                  <a:pt x="381" y="112"/>
                </a:cubicBezTo>
                <a:cubicBezTo>
                  <a:pt x="380" y="113"/>
                  <a:pt x="379" y="113"/>
                  <a:pt x="378" y="114"/>
                </a:cubicBezTo>
                <a:cubicBezTo>
                  <a:pt x="378" y="114"/>
                  <a:pt x="376" y="115"/>
                  <a:pt x="376" y="115"/>
                </a:cubicBezTo>
                <a:cubicBezTo>
                  <a:pt x="375" y="114"/>
                  <a:pt x="377" y="114"/>
                  <a:pt x="377" y="114"/>
                </a:cubicBezTo>
                <a:cubicBezTo>
                  <a:pt x="378" y="114"/>
                  <a:pt x="378" y="113"/>
                  <a:pt x="378" y="113"/>
                </a:cubicBezTo>
                <a:cubicBezTo>
                  <a:pt x="379" y="113"/>
                  <a:pt x="379" y="113"/>
                  <a:pt x="379" y="112"/>
                </a:cubicBezTo>
                <a:cubicBezTo>
                  <a:pt x="379" y="112"/>
                  <a:pt x="381" y="111"/>
                  <a:pt x="380" y="111"/>
                </a:cubicBezTo>
                <a:cubicBezTo>
                  <a:pt x="380" y="111"/>
                  <a:pt x="379" y="112"/>
                  <a:pt x="379" y="112"/>
                </a:cubicBezTo>
                <a:cubicBezTo>
                  <a:pt x="380" y="111"/>
                  <a:pt x="379" y="110"/>
                  <a:pt x="378" y="110"/>
                </a:cubicBezTo>
                <a:cubicBezTo>
                  <a:pt x="378" y="110"/>
                  <a:pt x="380" y="109"/>
                  <a:pt x="380" y="109"/>
                </a:cubicBezTo>
                <a:cubicBezTo>
                  <a:pt x="380" y="110"/>
                  <a:pt x="380" y="109"/>
                  <a:pt x="380" y="110"/>
                </a:cubicBezTo>
                <a:cubicBezTo>
                  <a:pt x="381" y="111"/>
                  <a:pt x="384" y="111"/>
                  <a:pt x="385" y="110"/>
                </a:cubicBezTo>
                <a:cubicBezTo>
                  <a:pt x="387" y="109"/>
                  <a:pt x="385" y="110"/>
                  <a:pt x="385" y="109"/>
                </a:cubicBezTo>
                <a:cubicBezTo>
                  <a:pt x="385" y="109"/>
                  <a:pt x="387" y="109"/>
                  <a:pt x="388" y="108"/>
                </a:cubicBezTo>
                <a:cubicBezTo>
                  <a:pt x="388" y="109"/>
                  <a:pt x="388" y="109"/>
                  <a:pt x="387" y="109"/>
                </a:cubicBezTo>
                <a:cubicBezTo>
                  <a:pt x="388" y="109"/>
                  <a:pt x="389" y="108"/>
                  <a:pt x="389" y="108"/>
                </a:cubicBezTo>
                <a:cubicBezTo>
                  <a:pt x="390" y="107"/>
                  <a:pt x="390" y="108"/>
                  <a:pt x="390" y="108"/>
                </a:cubicBezTo>
                <a:cubicBezTo>
                  <a:pt x="390" y="108"/>
                  <a:pt x="390" y="108"/>
                  <a:pt x="390" y="108"/>
                </a:cubicBezTo>
                <a:cubicBezTo>
                  <a:pt x="390" y="108"/>
                  <a:pt x="390" y="109"/>
                  <a:pt x="390" y="109"/>
                </a:cubicBezTo>
                <a:cubicBezTo>
                  <a:pt x="391" y="109"/>
                  <a:pt x="392" y="109"/>
                  <a:pt x="391" y="110"/>
                </a:cubicBezTo>
                <a:cubicBezTo>
                  <a:pt x="393" y="109"/>
                  <a:pt x="394" y="108"/>
                  <a:pt x="395" y="108"/>
                </a:cubicBezTo>
                <a:cubicBezTo>
                  <a:pt x="395" y="108"/>
                  <a:pt x="394" y="108"/>
                  <a:pt x="394" y="109"/>
                </a:cubicBezTo>
                <a:cubicBezTo>
                  <a:pt x="394" y="109"/>
                  <a:pt x="394" y="110"/>
                  <a:pt x="394" y="110"/>
                </a:cubicBezTo>
                <a:cubicBezTo>
                  <a:pt x="394" y="110"/>
                  <a:pt x="395" y="110"/>
                  <a:pt x="395" y="110"/>
                </a:cubicBezTo>
                <a:cubicBezTo>
                  <a:pt x="396" y="110"/>
                  <a:pt x="396" y="110"/>
                  <a:pt x="397" y="110"/>
                </a:cubicBezTo>
                <a:cubicBezTo>
                  <a:pt x="397" y="109"/>
                  <a:pt x="399" y="108"/>
                  <a:pt x="399" y="107"/>
                </a:cubicBezTo>
                <a:close/>
                <a:moveTo>
                  <a:pt x="430" y="117"/>
                </a:moveTo>
                <a:cubicBezTo>
                  <a:pt x="429" y="117"/>
                  <a:pt x="428" y="117"/>
                  <a:pt x="427" y="117"/>
                </a:cubicBezTo>
                <a:cubicBezTo>
                  <a:pt x="427" y="117"/>
                  <a:pt x="426" y="118"/>
                  <a:pt x="426" y="117"/>
                </a:cubicBezTo>
                <a:cubicBezTo>
                  <a:pt x="426" y="117"/>
                  <a:pt x="425" y="117"/>
                  <a:pt x="425" y="117"/>
                </a:cubicBezTo>
                <a:cubicBezTo>
                  <a:pt x="426" y="117"/>
                  <a:pt x="426" y="116"/>
                  <a:pt x="426" y="116"/>
                </a:cubicBezTo>
                <a:cubicBezTo>
                  <a:pt x="426" y="116"/>
                  <a:pt x="426" y="116"/>
                  <a:pt x="426" y="116"/>
                </a:cubicBezTo>
                <a:cubicBezTo>
                  <a:pt x="426" y="115"/>
                  <a:pt x="427" y="115"/>
                  <a:pt x="427" y="115"/>
                </a:cubicBezTo>
                <a:cubicBezTo>
                  <a:pt x="427" y="115"/>
                  <a:pt x="427" y="114"/>
                  <a:pt x="427" y="114"/>
                </a:cubicBezTo>
                <a:cubicBezTo>
                  <a:pt x="426" y="114"/>
                  <a:pt x="425" y="116"/>
                  <a:pt x="424" y="116"/>
                </a:cubicBezTo>
                <a:cubicBezTo>
                  <a:pt x="424" y="115"/>
                  <a:pt x="426" y="114"/>
                  <a:pt x="426" y="114"/>
                </a:cubicBezTo>
                <a:cubicBezTo>
                  <a:pt x="427" y="113"/>
                  <a:pt x="424" y="112"/>
                  <a:pt x="424" y="111"/>
                </a:cubicBezTo>
                <a:cubicBezTo>
                  <a:pt x="423" y="111"/>
                  <a:pt x="423" y="110"/>
                  <a:pt x="422" y="110"/>
                </a:cubicBezTo>
                <a:cubicBezTo>
                  <a:pt x="422" y="109"/>
                  <a:pt x="420" y="111"/>
                  <a:pt x="421" y="110"/>
                </a:cubicBezTo>
                <a:cubicBezTo>
                  <a:pt x="421" y="109"/>
                  <a:pt x="422" y="110"/>
                  <a:pt x="422" y="109"/>
                </a:cubicBezTo>
                <a:cubicBezTo>
                  <a:pt x="422" y="109"/>
                  <a:pt x="421" y="109"/>
                  <a:pt x="421" y="109"/>
                </a:cubicBezTo>
                <a:cubicBezTo>
                  <a:pt x="421" y="108"/>
                  <a:pt x="421" y="108"/>
                  <a:pt x="421" y="108"/>
                </a:cubicBezTo>
                <a:cubicBezTo>
                  <a:pt x="421" y="108"/>
                  <a:pt x="420" y="108"/>
                  <a:pt x="420" y="108"/>
                </a:cubicBezTo>
                <a:cubicBezTo>
                  <a:pt x="420" y="107"/>
                  <a:pt x="419" y="108"/>
                  <a:pt x="418" y="108"/>
                </a:cubicBezTo>
                <a:cubicBezTo>
                  <a:pt x="417" y="109"/>
                  <a:pt x="417" y="109"/>
                  <a:pt x="416" y="109"/>
                </a:cubicBezTo>
                <a:cubicBezTo>
                  <a:pt x="415" y="109"/>
                  <a:pt x="415" y="110"/>
                  <a:pt x="414" y="110"/>
                </a:cubicBezTo>
                <a:cubicBezTo>
                  <a:pt x="415" y="111"/>
                  <a:pt x="414" y="111"/>
                  <a:pt x="415" y="112"/>
                </a:cubicBezTo>
                <a:cubicBezTo>
                  <a:pt x="415" y="112"/>
                  <a:pt x="415" y="112"/>
                  <a:pt x="414" y="112"/>
                </a:cubicBezTo>
                <a:cubicBezTo>
                  <a:pt x="415" y="112"/>
                  <a:pt x="414" y="112"/>
                  <a:pt x="414" y="111"/>
                </a:cubicBezTo>
                <a:cubicBezTo>
                  <a:pt x="414" y="111"/>
                  <a:pt x="414" y="111"/>
                  <a:pt x="413" y="111"/>
                </a:cubicBezTo>
                <a:cubicBezTo>
                  <a:pt x="413" y="110"/>
                  <a:pt x="412" y="111"/>
                  <a:pt x="412" y="111"/>
                </a:cubicBezTo>
                <a:cubicBezTo>
                  <a:pt x="412" y="111"/>
                  <a:pt x="412" y="111"/>
                  <a:pt x="412" y="111"/>
                </a:cubicBezTo>
                <a:cubicBezTo>
                  <a:pt x="412" y="112"/>
                  <a:pt x="411" y="111"/>
                  <a:pt x="411" y="112"/>
                </a:cubicBezTo>
                <a:cubicBezTo>
                  <a:pt x="411" y="112"/>
                  <a:pt x="412" y="113"/>
                  <a:pt x="411" y="113"/>
                </a:cubicBezTo>
                <a:cubicBezTo>
                  <a:pt x="411" y="114"/>
                  <a:pt x="409" y="113"/>
                  <a:pt x="409" y="114"/>
                </a:cubicBezTo>
                <a:cubicBezTo>
                  <a:pt x="408" y="114"/>
                  <a:pt x="408" y="114"/>
                  <a:pt x="407" y="114"/>
                </a:cubicBezTo>
                <a:cubicBezTo>
                  <a:pt x="407" y="114"/>
                  <a:pt x="406" y="114"/>
                  <a:pt x="406" y="115"/>
                </a:cubicBezTo>
                <a:cubicBezTo>
                  <a:pt x="405" y="115"/>
                  <a:pt x="403" y="114"/>
                  <a:pt x="402" y="115"/>
                </a:cubicBezTo>
                <a:cubicBezTo>
                  <a:pt x="402" y="115"/>
                  <a:pt x="400" y="115"/>
                  <a:pt x="400" y="116"/>
                </a:cubicBezTo>
                <a:cubicBezTo>
                  <a:pt x="401" y="116"/>
                  <a:pt x="400" y="117"/>
                  <a:pt x="400" y="117"/>
                </a:cubicBezTo>
                <a:cubicBezTo>
                  <a:pt x="400" y="117"/>
                  <a:pt x="401" y="117"/>
                  <a:pt x="401" y="117"/>
                </a:cubicBezTo>
                <a:cubicBezTo>
                  <a:pt x="402" y="117"/>
                  <a:pt x="402" y="117"/>
                  <a:pt x="402" y="117"/>
                </a:cubicBezTo>
                <a:cubicBezTo>
                  <a:pt x="403" y="117"/>
                  <a:pt x="402" y="117"/>
                  <a:pt x="403" y="117"/>
                </a:cubicBezTo>
                <a:cubicBezTo>
                  <a:pt x="403" y="117"/>
                  <a:pt x="403" y="117"/>
                  <a:pt x="403" y="117"/>
                </a:cubicBezTo>
                <a:cubicBezTo>
                  <a:pt x="403" y="117"/>
                  <a:pt x="403" y="116"/>
                  <a:pt x="404" y="116"/>
                </a:cubicBezTo>
                <a:cubicBezTo>
                  <a:pt x="404" y="116"/>
                  <a:pt x="405" y="116"/>
                  <a:pt x="405" y="117"/>
                </a:cubicBezTo>
                <a:cubicBezTo>
                  <a:pt x="405" y="117"/>
                  <a:pt x="404" y="117"/>
                  <a:pt x="404" y="117"/>
                </a:cubicBezTo>
                <a:cubicBezTo>
                  <a:pt x="403" y="118"/>
                  <a:pt x="405" y="118"/>
                  <a:pt x="405" y="118"/>
                </a:cubicBezTo>
                <a:cubicBezTo>
                  <a:pt x="405" y="118"/>
                  <a:pt x="405" y="118"/>
                  <a:pt x="406" y="118"/>
                </a:cubicBezTo>
                <a:cubicBezTo>
                  <a:pt x="406" y="118"/>
                  <a:pt x="406" y="118"/>
                  <a:pt x="407" y="117"/>
                </a:cubicBezTo>
                <a:cubicBezTo>
                  <a:pt x="407" y="117"/>
                  <a:pt x="408" y="117"/>
                  <a:pt x="408" y="118"/>
                </a:cubicBezTo>
                <a:cubicBezTo>
                  <a:pt x="407" y="118"/>
                  <a:pt x="407" y="118"/>
                  <a:pt x="407" y="119"/>
                </a:cubicBezTo>
                <a:cubicBezTo>
                  <a:pt x="407" y="119"/>
                  <a:pt x="408" y="119"/>
                  <a:pt x="408" y="119"/>
                </a:cubicBezTo>
                <a:cubicBezTo>
                  <a:pt x="408" y="119"/>
                  <a:pt x="410" y="119"/>
                  <a:pt x="410" y="119"/>
                </a:cubicBezTo>
                <a:cubicBezTo>
                  <a:pt x="410" y="120"/>
                  <a:pt x="411" y="120"/>
                  <a:pt x="411" y="120"/>
                </a:cubicBezTo>
                <a:cubicBezTo>
                  <a:pt x="412" y="120"/>
                  <a:pt x="412" y="120"/>
                  <a:pt x="413" y="120"/>
                </a:cubicBezTo>
                <a:cubicBezTo>
                  <a:pt x="413" y="120"/>
                  <a:pt x="413" y="120"/>
                  <a:pt x="414" y="120"/>
                </a:cubicBezTo>
                <a:cubicBezTo>
                  <a:pt x="414" y="120"/>
                  <a:pt x="414" y="120"/>
                  <a:pt x="414" y="120"/>
                </a:cubicBezTo>
                <a:cubicBezTo>
                  <a:pt x="414" y="120"/>
                  <a:pt x="415" y="121"/>
                  <a:pt x="415" y="121"/>
                </a:cubicBezTo>
                <a:cubicBezTo>
                  <a:pt x="417" y="121"/>
                  <a:pt x="418" y="121"/>
                  <a:pt x="420" y="120"/>
                </a:cubicBezTo>
                <a:cubicBezTo>
                  <a:pt x="420" y="120"/>
                  <a:pt x="421" y="119"/>
                  <a:pt x="422" y="119"/>
                </a:cubicBezTo>
                <a:cubicBezTo>
                  <a:pt x="422" y="119"/>
                  <a:pt x="423" y="120"/>
                  <a:pt x="423" y="120"/>
                </a:cubicBezTo>
                <a:cubicBezTo>
                  <a:pt x="423" y="119"/>
                  <a:pt x="423" y="119"/>
                  <a:pt x="424" y="119"/>
                </a:cubicBezTo>
                <a:cubicBezTo>
                  <a:pt x="424" y="119"/>
                  <a:pt x="424" y="118"/>
                  <a:pt x="425" y="118"/>
                </a:cubicBezTo>
                <a:cubicBezTo>
                  <a:pt x="425" y="118"/>
                  <a:pt x="425" y="118"/>
                  <a:pt x="426" y="118"/>
                </a:cubicBezTo>
                <a:cubicBezTo>
                  <a:pt x="426" y="118"/>
                  <a:pt x="426" y="119"/>
                  <a:pt x="426" y="119"/>
                </a:cubicBezTo>
                <a:cubicBezTo>
                  <a:pt x="426" y="119"/>
                  <a:pt x="430" y="117"/>
                  <a:pt x="430" y="117"/>
                </a:cubicBezTo>
                <a:close/>
                <a:moveTo>
                  <a:pt x="357" y="120"/>
                </a:moveTo>
                <a:cubicBezTo>
                  <a:pt x="357" y="121"/>
                  <a:pt x="358" y="122"/>
                  <a:pt x="359" y="122"/>
                </a:cubicBezTo>
                <a:cubicBezTo>
                  <a:pt x="360" y="122"/>
                  <a:pt x="360" y="121"/>
                  <a:pt x="360" y="121"/>
                </a:cubicBezTo>
                <a:cubicBezTo>
                  <a:pt x="361" y="121"/>
                  <a:pt x="361" y="120"/>
                  <a:pt x="360" y="120"/>
                </a:cubicBezTo>
                <a:cubicBezTo>
                  <a:pt x="359" y="120"/>
                  <a:pt x="358" y="120"/>
                  <a:pt x="357" y="120"/>
                </a:cubicBezTo>
                <a:close/>
                <a:moveTo>
                  <a:pt x="573" y="124"/>
                </a:moveTo>
                <a:cubicBezTo>
                  <a:pt x="573" y="123"/>
                  <a:pt x="572" y="124"/>
                  <a:pt x="571" y="124"/>
                </a:cubicBezTo>
                <a:cubicBezTo>
                  <a:pt x="570" y="125"/>
                  <a:pt x="569" y="124"/>
                  <a:pt x="568" y="125"/>
                </a:cubicBezTo>
                <a:cubicBezTo>
                  <a:pt x="568" y="126"/>
                  <a:pt x="568" y="127"/>
                  <a:pt x="569" y="127"/>
                </a:cubicBezTo>
                <a:cubicBezTo>
                  <a:pt x="570" y="128"/>
                  <a:pt x="571" y="127"/>
                  <a:pt x="572" y="127"/>
                </a:cubicBezTo>
                <a:cubicBezTo>
                  <a:pt x="574" y="127"/>
                  <a:pt x="575" y="128"/>
                  <a:pt x="576" y="127"/>
                </a:cubicBezTo>
                <a:cubicBezTo>
                  <a:pt x="577" y="127"/>
                  <a:pt x="577" y="127"/>
                  <a:pt x="578" y="126"/>
                </a:cubicBezTo>
                <a:cubicBezTo>
                  <a:pt x="578" y="125"/>
                  <a:pt x="577" y="125"/>
                  <a:pt x="576" y="125"/>
                </a:cubicBezTo>
                <a:cubicBezTo>
                  <a:pt x="576" y="125"/>
                  <a:pt x="576" y="125"/>
                  <a:pt x="575" y="125"/>
                </a:cubicBezTo>
                <a:cubicBezTo>
                  <a:pt x="575" y="125"/>
                  <a:pt x="575" y="125"/>
                  <a:pt x="574" y="125"/>
                </a:cubicBezTo>
                <a:cubicBezTo>
                  <a:pt x="574" y="125"/>
                  <a:pt x="572" y="125"/>
                  <a:pt x="572" y="124"/>
                </a:cubicBezTo>
                <a:cubicBezTo>
                  <a:pt x="572" y="124"/>
                  <a:pt x="574" y="124"/>
                  <a:pt x="573" y="124"/>
                </a:cubicBezTo>
                <a:close/>
                <a:moveTo>
                  <a:pt x="450" y="54"/>
                </a:moveTo>
                <a:cubicBezTo>
                  <a:pt x="449" y="54"/>
                  <a:pt x="448" y="54"/>
                  <a:pt x="447" y="54"/>
                </a:cubicBezTo>
                <a:cubicBezTo>
                  <a:pt x="447" y="54"/>
                  <a:pt x="444" y="54"/>
                  <a:pt x="444" y="55"/>
                </a:cubicBezTo>
                <a:cubicBezTo>
                  <a:pt x="444" y="55"/>
                  <a:pt x="444" y="55"/>
                  <a:pt x="444" y="55"/>
                </a:cubicBezTo>
                <a:cubicBezTo>
                  <a:pt x="443" y="55"/>
                  <a:pt x="442" y="55"/>
                  <a:pt x="441" y="56"/>
                </a:cubicBezTo>
                <a:cubicBezTo>
                  <a:pt x="442" y="57"/>
                  <a:pt x="444" y="56"/>
                  <a:pt x="446" y="56"/>
                </a:cubicBezTo>
                <a:cubicBezTo>
                  <a:pt x="447" y="56"/>
                  <a:pt x="448" y="55"/>
                  <a:pt x="449" y="55"/>
                </a:cubicBezTo>
                <a:cubicBezTo>
                  <a:pt x="450" y="54"/>
                  <a:pt x="451" y="54"/>
                  <a:pt x="452" y="54"/>
                </a:cubicBezTo>
                <a:cubicBezTo>
                  <a:pt x="452" y="54"/>
                  <a:pt x="452" y="54"/>
                  <a:pt x="452" y="54"/>
                </a:cubicBezTo>
                <a:cubicBezTo>
                  <a:pt x="452" y="54"/>
                  <a:pt x="452" y="54"/>
                  <a:pt x="451" y="54"/>
                </a:cubicBezTo>
                <a:cubicBezTo>
                  <a:pt x="452" y="54"/>
                  <a:pt x="450" y="54"/>
                  <a:pt x="450" y="54"/>
                </a:cubicBezTo>
                <a:close/>
                <a:moveTo>
                  <a:pt x="424" y="62"/>
                </a:moveTo>
                <a:cubicBezTo>
                  <a:pt x="426" y="62"/>
                  <a:pt x="427" y="62"/>
                  <a:pt x="429" y="62"/>
                </a:cubicBezTo>
                <a:cubicBezTo>
                  <a:pt x="430" y="62"/>
                  <a:pt x="431" y="62"/>
                  <a:pt x="432" y="61"/>
                </a:cubicBezTo>
                <a:cubicBezTo>
                  <a:pt x="433" y="61"/>
                  <a:pt x="433" y="60"/>
                  <a:pt x="434" y="59"/>
                </a:cubicBezTo>
                <a:cubicBezTo>
                  <a:pt x="433" y="59"/>
                  <a:pt x="433" y="59"/>
                  <a:pt x="432" y="59"/>
                </a:cubicBezTo>
                <a:cubicBezTo>
                  <a:pt x="431" y="59"/>
                  <a:pt x="430" y="59"/>
                  <a:pt x="429" y="59"/>
                </a:cubicBezTo>
                <a:cubicBezTo>
                  <a:pt x="429" y="59"/>
                  <a:pt x="426" y="60"/>
                  <a:pt x="427" y="60"/>
                </a:cubicBezTo>
                <a:cubicBezTo>
                  <a:pt x="426" y="60"/>
                  <a:pt x="425" y="61"/>
                  <a:pt x="424" y="61"/>
                </a:cubicBezTo>
                <a:cubicBezTo>
                  <a:pt x="424" y="61"/>
                  <a:pt x="424" y="61"/>
                  <a:pt x="424" y="62"/>
                </a:cubicBezTo>
                <a:close/>
                <a:moveTo>
                  <a:pt x="450" y="72"/>
                </a:moveTo>
                <a:cubicBezTo>
                  <a:pt x="450" y="72"/>
                  <a:pt x="451" y="73"/>
                  <a:pt x="451" y="72"/>
                </a:cubicBezTo>
                <a:cubicBezTo>
                  <a:pt x="451" y="72"/>
                  <a:pt x="451" y="72"/>
                  <a:pt x="451" y="72"/>
                </a:cubicBezTo>
                <a:cubicBezTo>
                  <a:pt x="452" y="73"/>
                  <a:pt x="454" y="72"/>
                  <a:pt x="455" y="72"/>
                </a:cubicBezTo>
                <a:cubicBezTo>
                  <a:pt x="456" y="72"/>
                  <a:pt x="457" y="71"/>
                  <a:pt x="459" y="71"/>
                </a:cubicBezTo>
                <a:cubicBezTo>
                  <a:pt x="459" y="71"/>
                  <a:pt x="460" y="71"/>
                  <a:pt x="461" y="70"/>
                </a:cubicBezTo>
                <a:cubicBezTo>
                  <a:pt x="459" y="69"/>
                  <a:pt x="458" y="70"/>
                  <a:pt x="456" y="70"/>
                </a:cubicBezTo>
                <a:cubicBezTo>
                  <a:pt x="454" y="71"/>
                  <a:pt x="453" y="70"/>
                  <a:pt x="451" y="71"/>
                </a:cubicBezTo>
                <a:cubicBezTo>
                  <a:pt x="450" y="71"/>
                  <a:pt x="449" y="71"/>
                  <a:pt x="448" y="71"/>
                </a:cubicBezTo>
                <a:cubicBezTo>
                  <a:pt x="448" y="71"/>
                  <a:pt x="447" y="72"/>
                  <a:pt x="447" y="72"/>
                </a:cubicBezTo>
                <a:cubicBezTo>
                  <a:pt x="447" y="72"/>
                  <a:pt x="450" y="73"/>
                  <a:pt x="450" y="72"/>
                </a:cubicBezTo>
                <a:cubicBezTo>
                  <a:pt x="450" y="72"/>
                  <a:pt x="450" y="72"/>
                  <a:pt x="450" y="73"/>
                </a:cubicBezTo>
                <a:cubicBezTo>
                  <a:pt x="450" y="72"/>
                  <a:pt x="450" y="72"/>
                  <a:pt x="450" y="72"/>
                </a:cubicBezTo>
                <a:close/>
                <a:moveTo>
                  <a:pt x="450" y="73"/>
                </a:moveTo>
                <a:cubicBezTo>
                  <a:pt x="450" y="73"/>
                  <a:pt x="450" y="73"/>
                  <a:pt x="450" y="73"/>
                </a:cubicBezTo>
                <a:cubicBezTo>
                  <a:pt x="450" y="73"/>
                  <a:pt x="450" y="73"/>
                  <a:pt x="450" y="73"/>
                </a:cubicBezTo>
                <a:close/>
                <a:moveTo>
                  <a:pt x="448" y="72"/>
                </a:moveTo>
                <a:cubicBezTo>
                  <a:pt x="449" y="73"/>
                  <a:pt x="449" y="73"/>
                  <a:pt x="450" y="73"/>
                </a:cubicBezTo>
                <a:cubicBezTo>
                  <a:pt x="449" y="73"/>
                  <a:pt x="449" y="72"/>
                  <a:pt x="448" y="72"/>
                </a:cubicBezTo>
                <a:close/>
                <a:moveTo>
                  <a:pt x="554" y="124"/>
                </a:moveTo>
                <a:cubicBezTo>
                  <a:pt x="552" y="125"/>
                  <a:pt x="551" y="126"/>
                  <a:pt x="550" y="126"/>
                </a:cubicBezTo>
                <a:cubicBezTo>
                  <a:pt x="549" y="127"/>
                  <a:pt x="548" y="128"/>
                  <a:pt x="548" y="129"/>
                </a:cubicBezTo>
                <a:cubicBezTo>
                  <a:pt x="548" y="129"/>
                  <a:pt x="547" y="130"/>
                  <a:pt x="547" y="131"/>
                </a:cubicBezTo>
                <a:cubicBezTo>
                  <a:pt x="547" y="131"/>
                  <a:pt x="547" y="132"/>
                  <a:pt x="547" y="132"/>
                </a:cubicBezTo>
                <a:cubicBezTo>
                  <a:pt x="549" y="133"/>
                  <a:pt x="550" y="132"/>
                  <a:pt x="551" y="132"/>
                </a:cubicBezTo>
                <a:cubicBezTo>
                  <a:pt x="553" y="132"/>
                  <a:pt x="554" y="132"/>
                  <a:pt x="555" y="132"/>
                </a:cubicBezTo>
                <a:cubicBezTo>
                  <a:pt x="555" y="132"/>
                  <a:pt x="556" y="132"/>
                  <a:pt x="556" y="132"/>
                </a:cubicBezTo>
                <a:cubicBezTo>
                  <a:pt x="557" y="132"/>
                  <a:pt x="558" y="132"/>
                  <a:pt x="558" y="131"/>
                </a:cubicBezTo>
                <a:cubicBezTo>
                  <a:pt x="559" y="131"/>
                  <a:pt x="560" y="131"/>
                  <a:pt x="560" y="131"/>
                </a:cubicBezTo>
                <a:cubicBezTo>
                  <a:pt x="561" y="130"/>
                  <a:pt x="561" y="130"/>
                  <a:pt x="562" y="130"/>
                </a:cubicBezTo>
                <a:cubicBezTo>
                  <a:pt x="563" y="130"/>
                  <a:pt x="564" y="129"/>
                  <a:pt x="564" y="128"/>
                </a:cubicBezTo>
                <a:cubicBezTo>
                  <a:pt x="564" y="128"/>
                  <a:pt x="565" y="127"/>
                  <a:pt x="565" y="127"/>
                </a:cubicBezTo>
                <a:cubicBezTo>
                  <a:pt x="565" y="127"/>
                  <a:pt x="565" y="126"/>
                  <a:pt x="565" y="126"/>
                </a:cubicBezTo>
                <a:cubicBezTo>
                  <a:pt x="565" y="125"/>
                  <a:pt x="567" y="125"/>
                  <a:pt x="567" y="124"/>
                </a:cubicBezTo>
                <a:cubicBezTo>
                  <a:pt x="568" y="124"/>
                  <a:pt x="567" y="123"/>
                  <a:pt x="566" y="123"/>
                </a:cubicBezTo>
                <a:cubicBezTo>
                  <a:pt x="565" y="123"/>
                  <a:pt x="565" y="122"/>
                  <a:pt x="564" y="122"/>
                </a:cubicBezTo>
                <a:cubicBezTo>
                  <a:pt x="564" y="122"/>
                  <a:pt x="563" y="122"/>
                  <a:pt x="563" y="122"/>
                </a:cubicBezTo>
                <a:cubicBezTo>
                  <a:pt x="562" y="122"/>
                  <a:pt x="560" y="123"/>
                  <a:pt x="560" y="122"/>
                </a:cubicBezTo>
                <a:cubicBezTo>
                  <a:pt x="560" y="122"/>
                  <a:pt x="558" y="123"/>
                  <a:pt x="558" y="123"/>
                </a:cubicBezTo>
                <a:cubicBezTo>
                  <a:pt x="556" y="123"/>
                  <a:pt x="555" y="124"/>
                  <a:pt x="554" y="124"/>
                </a:cubicBezTo>
                <a:close/>
                <a:moveTo>
                  <a:pt x="481" y="144"/>
                </a:moveTo>
                <a:cubicBezTo>
                  <a:pt x="481" y="144"/>
                  <a:pt x="480" y="144"/>
                  <a:pt x="480" y="144"/>
                </a:cubicBezTo>
                <a:cubicBezTo>
                  <a:pt x="480" y="144"/>
                  <a:pt x="480" y="144"/>
                  <a:pt x="480" y="144"/>
                </a:cubicBezTo>
                <a:cubicBezTo>
                  <a:pt x="479" y="144"/>
                  <a:pt x="479" y="145"/>
                  <a:pt x="478" y="146"/>
                </a:cubicBezTo>
                <a:cubicBezTo>
                  <a:pt x="478" y="146"/>
                  <a:pt x="478" y="146"/>
                  <a:pt x="478" y="147"/>
                </a:cubicBezTo>
                <a:cubicBezTo>
                  <a:pt x="478" y="147"/>
                  <a:pt x="479" y="147"/>
                  <a:pt x="479" y="148"/>
                </a:cubicBezTo>
                <a:cubicBezTo>
                  <a:pt x="479" y="148"/>
                  <a:pt x="478" y="149"/>
                  <a:pt x="479" y="149"/>
                </a:cubicBezTo>
                <a:cubicBezTo>
                  <a:pt x="479" y="148"/>
                  <a:pt x="480" y="148"/>
                  <a:pt x="480" y="148"/>
                </a:cubicBezTo>
                <a:cubicBezTo>
                  <a:pt x="481" y="148"/>
                  <a:pt x="481" y="146"/>
                  <a:pt x="481" y="145"/>
                </a:cubicBezTo>
                <a:cubicBezTo>
                  <a:pt x="480" y="145"/>
                  <a:pt x="481" y="145"/>
                  <a:pt x="481" y="144"/>
                </a:cubicBezTo>
                <a:close/>
                <a:moveTo>
                  <a:pt x="540" y="109"/>
                </a:moveTo>
                <a:cubicBezTo>
                  <a:pt x="540" y="109"/>
                  <a:pt x="539" y="109"/>
                  <a:pt x="538" y="109"/>
                </a:cubicBezTo>
                <a:cubicBezTo>
                  <a:pt x="537" y="109"/>
                  <a:pt x="538" y="110"/>
                  <a:pt x="538" y="110"/>
                </a:cubicBezTo>
                <a:cubicBezTo>
                  <a:pt x="539" y="110"/>
                  <a:pt x="541" y="110"/>
                  <a:pt x="540" y="111"/>
                </a:cubicBezTo>
                <a:cubicBezTo>
                  <a:pt x="540" y="111"/>
                  <a:pt x="541" y="110"/>
                  <a:pt x="541" y="110"/>
                </a:cubicBezTo>
                <a:cubicBezTo>
                  <a:pt x="541" y="110"/>
                  <a:pt x="541" y="111"/>
                  <a:pt x="541" y="111"/>
                </a:cubicBezTo>
                <a:cubicBezTo>
                  <a:pt x="541" y="111"/>
                  <a:pt x="541" y="111"/>
                  <a:pt x="542" y="111"/>
                </a:cubicBezTo>
                <a:cubicBezTo>
                  <a:pt x="543" y="111"/>
                  <a:pt x="542" y="111"/>
                  <a:pt x="542" y="110"/>
                </a:cubicBezTo>
                <a:cubicBezTo>
                  <a:pt x="542" y="110"/>
                  <a:pt x="543" y="110"/>
                  <a:pt x="544" y="110"/>
                </a:cubicBezTo>
                <a:cubicBezTo>
                  <a:pt x="545" y="110"/>
                  <a:pt x="546" y="110"/>
                  <a:pt x="547" y="110"/>
                </a:cubicBezTo>
                <a:cubicBezTo>
                  <a:pt x="547" y="110"/>
                  <a:pt x="549" y="109"/>
                  <a:pt x="548" y="109"/>
                </a:cubicBezTo>
                <a:cubicBezTo>
                  <a:pt x="549" y="108"/>
                  <a:pt x="546" y="108"/>
                  <a:pt x="546" y="109"/>
                </a:cubicBezTo>
                <a:cubicBezTo>
                  <a:pt x="545" y="109"/>
                  <a:pt x="545" y="109"/>
                  <a:pt x="544" y="109"/>
                </a:cubicBezTo>
                <a:cubicBezTo>
                  <a:pt x="544" y="109"/>
                  <a:pt x="544" y="109"/>
                  <a:pt x="543" y="109"/>
                </a:cubicBezTo>
                <a:cubicBezTo>
                  <a:pt x="543" y="109"/>
                  <a:pt x="543" y="109"/>
                  <a:pt x="543" y="109"/>
                </a:cubicBezTo>
                <a:cubicBezTo>
                  <a:pt x="543" y="109"/>
                  <a:pt x="543" y="109"/>
                  <a:pt x="543" y="109"/>
                </a:cubicBezTo>
                <a:cubicBezTo>
                  <a:pt x="542" y="108"/>
                  <a:pt x="542" y="109"/>
                  <a:pt x="542" y="109"/>
                </a:cubicBezTo>
                <a:cubicBezTo>
                  <a:pt x="542" y="108"/>
                  <a:pt x="539" y="109"/>
                  <a:pt x="541" y="109"/>
                </a:cubicBezTo>
                <a:cubicBezTo>
                  <a:pt x="541" y="109"/>
                  <a:pt x="540" y="110"/>
                  <a:pt x="540" y="110"/>
                </a:cubicBezTo>
                <a:cubicBezTo>
                  <a:pt x="540" y="110"/>
                  <a:pt x="540" y="109"/>
                  <a:pt x="540" y="109"/>
                </a:cubicBezTo>
                <a:close/>
                <a:moveTo>
                  <a:pt x="554" y="110"/>
                </a:moveTo>
                <a:cubicBezTo>
                  <a:pt x="554" y="110"/>
                  <a:pt x="553" y="110"/>
                  <a:pt x="553" y="110"/>
                </a:cubicBezTo>
                <a:cubicBezTo>
                  <a:pt x="552" y="110"/>
                  <a:pt x="550" y="111"/>
                  <a:pt x="550" y="112"/>
                </a:cubicBezTo>
                <a:cubicBezTo>
                  <a:pt x="550" y="112"/>
                  <a:pt x="552" y="111"/>
                  <a:pt x="552" y="111"/>
                </a:cubicBezTo>
                <a:cubicBezTo>
                  <a:pt x="552" y="112"/>
                  <a:pt x="554" y="111"/>
                  <a:pt x="554" y="111"/>
                </a:cubicBezTo>
                <a:cubicBezTo>
                  <a:pt x="555" y="111"/>
                  <a:pt x="559" y="110"/>
                  <a:pt x="557" y="109"/>
                </a:cubicBezTo>
                <a:cubicBezTo>
                  <a:pt x="556" y="109"/>
                  <a:pt x="556" y="110"/>
                  <a:pt x="555" y="110"/>
                </a:cubicBezTo>
                <a:cubicBezTo>
                  <a:pt x="555" y="109"/>
                  <a:pt x="555" y="110"/>
                  <a:pt x="554" y="110"/>
                </a:cubicBezTo>
                <a:close/>
                <a:moveTo>
                  <a:pt x="657" y="137"/>
                </a:moveTo>
                <a:cubicBezTo>
                  <a:pt x="657" y="139"/>
                  <a:pt x="656" y="138"/>
                  <a:pt x="655" y="139"/>
                </a:cubicBezTo>
                <a:cubicBezTo>
                  <a:pt x="654" y="139"/>
                  <a:pt x="654" y="138"/>
                  <a:pt x="653" y="138"/>
                </a:cubicBezTo>
                <a:cubicBezTo>
                  <a:pt x="653" y="138"/>
                  <a:pt x="652" y="138"/>
                  <a:pt x="652" y="138"/>
                </a:cubicBezTo>
                <a:cubicBezTo>
                  <a:pt x="651" y="138"/>
                  <a:pt x="651" y="138"/>
                  <a:pt x="650" y="138"/>
                </a:cubicBezTo>
                <a:cubicBezTo>
                  <a:pt x="651" y="139"/>
                  <a:pt x="651" y="138"/>
                  <a:pt x="652" y="138"/>
                </a:cubicBezTo>
                <a:cubicBezTo>
                  <a:pt x="652" y="138"/>
                  <a:pt x="653" y="138"/>
                  <a:pt x="653" y="139"/>
                </a:cubicBezTo>
                <a:cubicBezTo>
                  <a:pt x="654" y="140"/>
                  <a:pt x="653" y="140"/>
                  <a:pt x="653" y="140"/>
                </a:cubicBezTo>
                <a:cubicBezTo>
                  <a:pt x="652" y="140"/>
                  <a:pt x="651" y="140"/>
                  <a:pt x="651" y="140"/>
                </a:cubicBezTo>
                <a:cubicBezTo>
                  <a:pt x="651" y="141"/>
                  <a:pt x="652" y="140"/>
                  <a:pt x="652" y="140"/>
                </a:cubicBezTo>
                <a:cubicBezTo>
                  <a:pt x="653" y="140"/>
                  <a:pt x="653" y="140"/>
                  <a:pt x="654" y="141"/>
                </a:cubicBezTo>
                <a:cubicBezTo>
                  <a:pt x="653" y="141"/>
                  <a:pt x="652" y="141"/>
                  <a:pt x="651" y="141"/>
                </a:cubicBezTo>
                <a:cubicBezTo>
                  <a:pt x="650" y="141"/>
                  <a:pt x="650" y="141"/>
                  <a:pt x="649" y="141"/>
                </a:cubicBezTo>
                <a:cubicBezTo>
                  <a:pt x="648" y="141"/>
                  <a:pt x="648" y="141"/>
                  <a:pt x="648" y="141"/>
                </a:cubicBezTo>
                <a:cubicBezTo>
                  <a:pt x="649" y="140"/>
                  <a:pt x="649" y="140"/>
                  <a:pt x="648" y="140"/>
                </a:cubicBezTo>
                <a:cubicBezTo>
                  <a:pt x="647" y="140"/>
                  <a:pt x="646" y="140"/>
                  <a:pt x="645" y="140"/>
                </a:cubicBezTo>
                <a:cubicBezTo>
                  <a:pt x="646" y="141"/>
                  <a:pt x="646" y="140"/>
                  <a:pt x="647" y="140"/>
                </a:cubicBezTo>
                <a:cubicBezTo>
                  <a:pt x="647" y="140"/>
                  <a:pt x="647" y="141"/>
                  <a:pt x="647" y="141"/>
                </a:cubicBezTo>
                <a:cubicBezTo>
                  <a:pt x="647" y="142"/>
                  <a:pt x="645" y="142"/>
                  <a:pt x="645" y="142"/>
                </a:cubicBezTo>
                <a:cubicBezTo>
                  <a:pt x="644" y="142"/>
                  <a:pt x="644" y="141"/>
                  <a:pt x="643" y="141"/>
                </a:cubicBezTo>
                <a:cubicBezTo>
                  <a:pt x="644" y="141"/>
                  <a:pt x="644" y="142"/>
                  <a:pt x="644" y="142"/>
                </a:cubicBezTo>
                <a:cubicBezTo>
                  <a:pt x="644" y="143"/>
                  <a:pt x="645" y="142"/>
                  <a:pt x="645" y="142"/>
                </a:cubicBezTo>
                <a:cubicBezTo>
                  <a:pt x="645" y="142"/>
                  <a:pt x="646" y="142"/>
                  <a:pt x="646" y="142"/>
                </a:cubicBezTo>
                <a:cubicBezTo>
                  <a:pt x="647" y="143"/>
                  <a:pt x="647" y="143"/>
                  <a:pt x="648" y="143"/>
                </a:cubicBezTo>
                <a:cubicBezTo>
                  <a:pt x="648" y="143"/>
                  <a:pt x="647" y="143"/>
                  <a:pt x="648" y="143"/>
                </a:cubicBezTo>
                <a:cubicBezTo>
                  <a:pt x="648" y="143"/>
                  <a:pt x="648" y="143"/>
                  <a:pt x="648" y="143"/>
                </a:cubicBezTo>
                <a:cubicBezTo>
                  <a:pt x="648" y="143"/>
                  <a:pt x="648" y="143"/>
                  <a:pt x="648" y="144"/>
                </a:cubicBezTo>
                <a:cubicBezTo>
                  <a:pt x="648" y="144"/>
                  <a:pt x="648" y="144"/>
                  <a:pt x="648" y="144"/>
                </a:cubicBezTo>
                <a:cubicBezTo>
                  <a:pt x="648" y="144"/>
                  <a:pt x="649" y="144"/>
                  <a:pt x="648" y="144"/>
                </a:cubicBezTo>
                <a:cubicBezTo>
                  <a:pt x="647" y="144"/>
                  <a:pt x="646" y="144"/>
                  <a:pt x="645" y="144"/>
                </a:cubicBezTo>
                <a:cubicBezTo>
                  <a:pt x="645" y="144"/>
                  <a:pt x="644" y="144"/>
                  <a:pt x="644" y="144"/>
                </a:cubicBezTo>
                <a:cubicBezTo>
                  <a:pt x="643" y="144"/>
                  <a:pt x="643" y="144"/>
                  <a:pt x="642" y="144"/>
                </a:cubicBezTo>
                <a:cubicBezTo>
                  <a:pt x="642" y="144"/>
                  <a:pt x="642" y="143"/>
                  <a:pt x="642" y="143"/>
                </a:cubicBezTo>
                <a:cubicBezTo>
                  <a:pt x="642" y="143"/>
                  <a:pt x="641" y="143"/>
                  <a:pt x="641" y="143"/>
                </a:cubicBezTo>
                <a:cubicBezTo>
                  <a:pt x="641" y="143"/>
                  <a:pt x="642" y="143"/>
                  <a:pt x="642" y="143"/>
                </a:cubicBezTo>
                <a:cubicBezTo>
                  <a:pt x="642" y="144"/>
                  <a:pt x="642" y="144"/>
                  <a:pt x="643" y="144"/>
                </a:cubicBezTo>
                <a:cubicBezTo>
                  <a:pt x="643" y="144"/>
                  <a:pt x="644" y="144"/>
                  <a:pt x="645" y="144"/>
                </a:cubicBezTo>
                <a:cubicBezTo>
                  <a:pt x="645" y="145"/>
                  <a:pt x="645" y="145"/>
                  <a:pt x="644" y="145"/>
                </a:cubicBezTo>
                <a:cubicBezTo>
                  <a:pt x="644" y="145"/>
                  <a:pt x="645" y="145"/>
                  <a:pt x="645" y="145"/>
                </a:cubicBezTo>
                <a:cubicBezTo>
                  <a:pt x="645" y="145"/>
                  <a:pt x="645" y="146"/>
                  <a:pt x="645" y="146"/>
                </a:cubicBezTo>
                <a:cubicBezTo>
                  <a:pt x="645" y="146"/>
                  <a:pt x="644" y="146"/>
                  <a:pt x="644" y="146"/>
                </a:cubicBezTo>
                <a:cubicBezTo>
                  <a:pt x="643" y="146"/>
                  <a:pt x="643" y="146"/>
                  <a:pt x="642" y="146"/>
                </a:cubicBezTo>
                <a:cubicBezTo>
                  <a:pt x="642" y="146"/>
                  <a:pt x="642" y="146"/>
                  <a:pt x="642" y="145"/>
                </a:cubicBezTo>
                <a:cubicBezTo>
                  <a:pt x="642" y="145"/>
                  <a:pt x="641" y="145"/>
                  <a:pt x="641" y="145"/>
                </a:cubicBezTo>
                <a:cubicBezTo>
                  <a:pt x="641" y="146"/>
                  <a:pt x="642" y="146"/>
                  <a:pt x="642" y="146"/>
                </a:cubicBezTo>
                <a:cubicBezTo>
                  <a:pt x="643" y="147"/>
                  <a:pt x="641" y="147"/>
                  <a:pt x="641" y="147"/>
                </a:cubicBezTo>
                <a:cubicBezTo>
                  <a:pt x="641" y="147"/>
                  <a:pt x="641" y="147"/>
                  <a:pt x="641" y="147"/>
                </a:cubicBezTo>
                <a:cubicBezTo>
                  <a:pt x="642" y="147"/>
                  <a:pt x="642" y="147"/>
                  <a:pt x="642" y="147"/>
                </a:cubicBezTo>
                <a:cubicBezTo>
                  <a:pt x="642" y="148"/>
                  <a:pt x="641" y="148"/>
                  <a:pt x="641" y="148"/>
                </a:cubicBezTo>
                <a:cubicBezTo>
                  <a:pt x="641" y="148"/>
                  <a:pt x="641" y="148"/>
                  <a:pt x="641" y="148"/>
                </a:cubicBezTo>
                <a:cubicBezTo>
                  <a:pt x="641" y="148"/>
                  <a:pt x="640" y="149"/>
                  <a:pt x="640" y="148"/>
                </a:cubicBezTo>
                <a:cubicBezTo>
                  <a:pt x="640" y="148"/>
                  <a:pt x="640" y="146"/>
                  <a:pt x="640" y="147"/>
                </a:cubicBezTo>
                <a:cubicBezTo>
                  <a:pt x="640" y="147"/>
                  <a:pt x="639" y="148"/>
                  <a:pt x="638" y="148"/>
                </a:cubicBezTo>
                <a:cubicBezTo>
                  <a:pt x="638" y="148"/>
                  <a:pt x="639" y="148"/>
                  <a:pt x="638" y="148"/>
                </a:cubicBezTo>
                <a:cubicBezTo>
                  <a:pt x="638" y="148"/>
                  <a:pt x="637" y="148"/>
                  <a:pt x="637" y="147"/>
                </a:cubicBezTo>
                <a:cubicBezTo>
                  <a:pt x="637" y="147"/>
                  <a:pt x="637" y="146"/>
                  <a:pt x="637" y="146"/>
                </a:cubicBezTo>
                <a:cubicBezTo>
                  <a:pt x="637" y="146"/>
                  <a:pt x="637" y="145"/>
                  <a:pt x="637" y="145"/>
                </a:cubicBezTo>
                <a:cubicBezTo>
                  <a:pt x="636" y="145"/>
                  <a:pt x="636" y="147"/>
                  <a:pt x="636" y="147"/>
                </a:cubicBezTo>
                <a:cubicBezTo>
                  <a:pt x="636" y="148"/>
                  <a:pt x="634" y="147"/>
                  <a:pt x="634" y="147"/>
                </a:cubicBezTo>
                <a:cubicBezTo>
                  <a:pt x="633" y="148"/>
                  <a:pt x="636" y="147"/>
                  <a:pt x="636" y="148"/>
                </a:cubicBezTo>
                <a:cubicBezTo>
                  <a:pt x="636" y="149"/>
                  <a:pt x="635" y="149"/>
                  <a:pt x="635" y="149"/>
                </a:cubicBezTo>
                <a:cubicBezTo>
                  <a:pt x="634" y="149"/>
                  <a:pt x="634" y="148"/>
                  <a:pt x="634" y="148"/>
                </a:cubicBezTo>
                <a:cubicBezTo>
                  <a:pt x="634" y="148"/>
                  <a:pt x="634" y="149"/>
                  <a:pt x="634" y="149"/>
                </a:cubicBezTo>
                <a:cubicBezTo>
                  <a:pt x="634" y="149"/>
                  <a:pt x="634" y="149"/>
                  <a:pt x="634" y="149"/>
                </a:cubicBezTo>
                <a:cubicBezTo>
                  <a:pt x="634" y="149"/>
                  <a:pt x="635" y="149"/>
                  <a:pt x="635" y="150"/>
                </a:cubicBezTo>
                <a:cubicBezTo>
                  <a:pt x="635" y="149"/>
                  <a:pt x="634" y="150"/>
                  <a:pt x="634" y="149"/>
                </a:cubicBezTo>
                <a:cubicBezTo>
                  <a:pt x="634" y="149"/>
                  <a:pt x="633" y="149"/>
                  <a:pt x="633" y="149"/>
                </a:cubicBezTo>
                <a:cubicBezTo>
                  <a:pt x="633" y="150"/>
                  <a:pt x="634" y="150"/>
                  <a:pt x="634" y="150"/>
                </a:cubicBezTo>
                <a:cubicBezTo>
                  <a:pt x="634" y="150"/>
                  <a:pt x="634" y="150"/>
                  <a:pt x="633" y="150"/>
                </a:cubicBezTo>
                <a:cubicBezTo>
                  <a:pt x="634" y="150"/>
                  <a:pt x="634" y="151"/>
                  <a:pt x="634" y="151"/>
                </a:cubicBezTo>
                <a:cubicBezTo>
                  <a:pt x="634" y="151"/>
                  <a:pt x="633" y="151"/>
                  <a:pt x="633" y="151"/>
                </a:cubicBezTo>
                <a:cubicBezTo>
                  <a:pt x="634" y="151"/>
                  <a:pt x="634" y="151"/>
                  <a:pt x="634" y="151"/>
                </a:cubicBezTo>
                <a:cubicBezTo>
                  <a:pt x="634" y="152"/>
                  <a:pt x="633" y="151"/>
                  <a:pt x="633" y="152"/>
                </a:cubicBezTo>
                <a:cubicBezTo>
                  <a:pt x="633" y="152"/>
                  <a:pt x="634" y="152"/>
                  <a:pt x="634" y="152"/>
                </a:cubicBezTo>
                <a:cubicBezTo>
                  <a:pt x="634" y="152"/>
                  <a:pt x="633" y="152"/>
                  <a:pt x="632" y="152"/>
                </a:cubicBezTo>
                <a:cubicBezTo>
                  <a:pt x="633" y="152"/>
                  <a:pt x="633" y="152"/>
                  <a:pt x="633" y="152"/>
                </a:cubicBezTo>
                <a:cubicBezTo>
                  <a:pt x="633" y="152"/>
                  <a:pt x="633" y="152"/>
                  <a:pt x="632" y="152"/>
                </a:cubicBezTo>
                <a:cubicBezTo>
                  <a:pt x="633" y="152"/>
                  <a:pt x="633" y="152"/>
                  <a:pt x="633" y="152"/>
                </a:cubicBezTo>
                <a:cubicBezTo>
                  <a:pt x="633" y="153"/>
                  <a:pt x="633" y="153"/>
                  <a:pt x="632" y="153"/>
                </a:cubicBezTo>
                <a:cubicBezTo>
                  <a:pt x="633" y="153"/>
                  <a:pt x="633" y="153"/>
                  <a:pt x="633" y="153"/>
                </a:cubicBezTo>
                <a:cubicBezTo>
                  <a:pt x="632" y="153"/>
                  <a:pt x="632" y="153"/>
                  <a:pt x="632" y="153"/>
                </a:cubicBezTo>
                <a:cubicBezTo>
                  <a:pt x="633" y="153"/>
                  <a:pt x="632" y="154"/>
                  <a:pt x="631" y="154"/>
                </a:cubicBezTo>
                <a:cubicBezTo>
                  <a:pt x="631" y="154"/>
                  <a:pt x="631" y="155"/>
                  <a:pt x="630" y="155"/>
                </a:cubicBezTo>
                <a:cubicBezTo>
                  <a:pt x="630" y="155"/>
                  <a:pt x="631" y="154"/>
                  <a:pt x="630" y="154"/>
                </a:cubicBezTo>
                <a:cubicBezTo>
                  <a:pt x="630" y="154"/>
                  <a:pt x="629" y="154"/>
                  <a:pt x="629" y="154"/>
                </a:cubicBezTo>
                <a:cubicBezTo>
                  <a:pt x="629" y="154"/>
                  <a:pt x="630" y="154"/>
                  <a:pt x="630" y="153"/>
                </a:cubicBezTo>
                <a:cubicBezTo>
                  <a:pt x="630" y="153"/>
                  <a:pt x="629" y="154"/>
                  <a:pt x="629" y="153"/>
                </a:cubicBezTo>
                <a:cubicBezTo>
                  <a:pt x="628" y="153"/>
                  <a:pt x="630" y="152"/>
                  <a:pt x="630" y="152"/>
                </a:cubicBezTo>
                <a:cubicBezTo>
                  <a:pt x="630" y="152"/>
                  <a:pt x="629" y="152"/>
                  <a:pt x="629" y="152"/>
                </a:cubicBezTo>
                <a:cubicBezTo>
                  <a:pt x="629" y="153"/>
                  <a:pt x="628" y="153"/>
                  <a:pt x="628" y="153"/>
                </a:cubicBezTo>
                <a:cubicBezTo>
                  <a:pt x="628" y="153"/>
                  <a:pt x="627" y="154"/>
                  <a:pt x="627" y="153"/>
                </a:cubicBezTo>
                <a:cubicBezTo>
                  <a:pt x="627" y="153"/>
                  <a:pt x="626" y="153"/>
                  <a:pt x="626" y="153"/>
                </a:cubicBezTo>
                <a:cubicBezTo>
                  <a:pt x="627" y="152"/>
                  <a:pt x="628" y="152"/>
                  <a:pt x="628" y="152"/>
                </a:cubicBezTo>
                <a:cubicBezTo>
                  <a:pt x="627" y="152"/>
                  <a:pt x="627" y="152"/>
                  <a:pt x="626" y="152"/>
                </a:cubicBezTo>
                <a:cubicBezTo>
                  <a:pt x="626" y="151"/>
                  <a:pt x="627" y="152"/>
                  <a:pt x="627" y="151"/>
                </a:cubicBezTo>
                <a:cubicBezTo>
                  <a:pt x="627" y="151"/>
                  <a:pt x="626" y="151"/>
                  <a:pt x="626" y="151"/>
                </a:cubicBezTo>
                <a:cubicBezTo>
                  <a:pt x="627" y="151"/>
                  <a:pt x="628" y="150"/>
                  <a:pt x="628" y="150"/>
                </a:cubicBezTo>
                <a:cubicBezTo>
                  <a:pt x="628" y="150"/>
                  <a:pt x="626" y="151"/>
                  <a:pt x="626" y="151"/>
                </a:cubicBezTo>
                <a:cubicBezTo>
                  <a:pt x="625" y="152"/>
                  <a:pt x="625" y="153"/>
                  <a:pt x="624" y="153"/>
                </a:cubicBezTo>
                <a:cubicBezTo>
                  <a:pt x="624" y="153"/>
                  <a:pt x="624" y="153"/>
                  <a:pt x="624" y="153"/>
                </a:cubicBezTo>
                <a:cubicBezTo>
                  <a:pt x="624" y="152"/>
                  <a:pt x="624" y="152"/>
                  <a:pt x="624" y="152"/>
                </a:cubicBezTo>
                <a:cubicBezTo>
                  <a:pt x="624" y="152"/>
                  <a:pt x="624" y="152"/>
                  <a:pt x="623" y="152"/>
                </a:cubicBezTo>
                <a:cubicBezTo>
                  <a:pt x="624" y="152"/>
                  <a:pt x="624" y="152"/>
                  <a:pt x="624" y="151"/>
                </a:cubicBezTo>
                <a:cubicBezTo>
                  <a:pt x="624" y="151"/>
                  <a:pt x="624" y="151"/>
                  <a:pt x="623" y="151"/>
                </a:cubicBezTo>
                <a:cubicBezTo>
                  <a:pt x="623" y="152"/>
                  <a:pt x="622" y="151"/>
                  <a:pt x="623" y="151"/>
                </a:cubicBezTo>
                <a:cubicBezTo>
                  <a:pt x="623" y="151"/>
                  <a:pt x="623" y="151"/>
                  <a:pt x="623" y="151"/>
                </a:cubicBezTo>
                <a:cubicBezTo>
                  <a:pt x="623" y="151"/>
                  <a:pt x="624" y="151"/>
                  <a:pt x="625" y="151"/>
                </a:cubicBezTo>
                <a:cubicBezTo>
                  <a:pt x="624" y="151"/>
                  <a:pt x="624" y="151"/>
                  <a:pt x="623" y="151"/>
                </a:cubicBezTo>
                <a:cubicBezTo>
                  <a:pt x="624" y="150"/>
                  <a:pt x="625" y="150"/>
                  <a:pt x="625" y="150"/>
                </a:cubicBezTo>
                <a:cubicBezTo>
                  <a:pt x="626" y="149"/>
                  <a:pt x="627" y="150"/>
                  <a:pt x="627" y="149"/>
                </a:cubicBezTo>
                <a:cubicBezTo>
                  <a:pt x="627" y="149"/>
                  <a:pt x="627" y="150"/>
                  <a:pt x="627" y="150"/>
                </a:cubicBezTo>
                <a:cubicBezTo>
                  <a:pt x="627" y="149"/>
                  <a:pt x="625" y="150"/>
                  <a:pt x="624" y="150"/>
                </a:cubicBezTo>
                <a:cubicBezTo>
                  <a:pt x="624" y="150"/>
                  <a:pt x="623" y="150"/>
                  <a:pt x="623" y="150"/>
                </a:cubicBezTo>
                <a:cubicBezTo>
                  <a:pt x="623" y="150"/>
                  <a:pt x="622" y="150"/>
                  <a:pt x="622" y="150"/>
                </a:cubicBezTo>
                <a:cubicBezTo>
                  <a:pt x="621" y="150"/>
                  <a:pt x="622" y="149"/>
                  <a:pt x="623" y="149"/>
                </a:cubicBezTo>
                <a:cubicBezTo>
                  <a:pt x="624" y="149"/>
                  <a:pt x="625" y="149"/>
                  <a:pt x="625" y="148"/>
                </a:cubicBezTo>
                <a:cubicBezTo>
                  <a:pt x="625" y="148"/>
                  <a:pt x="626" y="148"/>
                  <a:pt x="626" y="148"/>
                </a:cubicBezTo>
                <a:cubicBezTo>
                  <a:pt x="625" y="147"/>
                  <a:pt x="624" y="148"/>
                  <a:pt x="623" y="149"/>
                </a:cubicBezTo>
                <a:cubicBezTo>
                  <a:pt x="623" y="149"/>
                  <a:pt x="621" y="149"/>
                  <a:pt x="622" y="148"/>
                </a:cubicBezTo>
                <a:cubicBezTo>
                  <a:pt x="622" y="148"/>
                  <a:pt x="622" y="148"/>
                  <a:pt x="621" y="148"/>
                </a:cubicBezTo>
                <a:cubicBezTo>
                  <a:pt x="621" y="149"/>
                  <a:pt x="622" y="148"/>
                  <a:pt x="622" y="148"/>
                </a:cubicBezTo>
                <a:cubicBezTo>
                  <a:pt x="623" y="148"/>
                  <a:pt x="623" y="148"/>
                  <a:pt x="624" y="147"/>
                </a:cubicBezTo>
                <a:cubicBezTo>
                  <a:pt x="624" y="147"/>
                  <a:pt x="626" y="147"/>
                  <a:pt x="626" y="147"/>
                </a:cubicBezTo>
                <a:cubicBezTo>
                  <a:pt x="626" y="147"/>
                  <a:pt x="624" y="147"/>
                  <a:pt x="624" y="147"/>
                </a:cubicBezTo>
                <a:cubicBezTo>
                  <a:pt x="623" y="147"/>
                  <a:pt x="623" y="148"/>
                  <a:pt x="622" y="147"/>
                </a:cubicBezTo>
                <a:cubicBezTo>
                  <a:pt x="622" y="147"/>
                  <a:pt x="621" y="147"/>
                  <a:pt x="621" y="147"/>
                </a:cubicBezTo>
                <a:cubicBezTo>
                  <a:pt x="621" y="147"/>
                  <a:pt x="622" y="147"/>
                  <a:pt x="622" y="146"/>
                </a:cubicBezTo>
                <a:cubicBezTo>
                  <a:pt x="622" y="146"/>
                  <a:pt x="621" y="147"/>
                  <a:pt x="621" y="147"/>
                </a:cubicBezTo>
                <a:cubicBezTo>
                  <a:pt x="621" y="147"/>
                  <a:pt x="622" y="146"/>
                  <a:pt x="622" y="146"/>
                </a:cubicBezTo>
                <a:cubicBezTo>
                  <a:pt x="622" y="145"/>
                  <a:pt x="623" y="145"/>
                  <a:pt x="624" y="145"/>
                </a:cubicBezTo>
                <a:cubicBezTo>
                  <a:pt x="625" y="145"/>
                  <a:pt x="626" y="144"/>
                  <a:pt x="627" y="144"/>
                </a:cubicBezTo>
                <a:cubicBezTo>
                  <a:pt x="627" y="144"/>
                  <a:pt x="628" y="145"/>
                  <a:pt x="628" y="144"/>
                </a:cubicBezTo>
                <a:cubicBezTo>
                  <a:pt x="628" y="144"/>
                  <a:pt x="627" y="144"/>
                  <a:pt x="628" y="144"/>
                </a:cubicBezTo>
                <a:cubicBezTo>
                  <a:pt x="628" y="143"/>
                  <a:pt x="629" y="143"/>
                  <a:pt x="629" y="142"/>
                </a:cubicBezTo>
                <a:cubicBezTo>
                  <a:pt x="630" y="142"/>
                  <a:pt x="631" y="142"/>
                  <a:pt x="631" y="141"/>
                </a:cubicBezTo>
                <a:cubicBezTo>
                  <a:pt x="632" y="141"/>
                  <a:pt x="633" y="141"/>
                  <a:pt x="633" y="141"/>
                </a:cubicBezTo>
                <a:cubicBezTo>
                  <a:pt x="632" y="141"/>
                  <a:pt x="632" y="141"/>
                  <a:pt x="632" y="141"/>
                </a:cubicBezTo>
                <a:cubicBezTo>
                  <a:pt x="631" y="141"/>
                  <a:pt x="631" y="141"/>
                  <a:pt x="630" y="142"/>
                </a:cubicBezTo>
                <a:cubicBezTo>
                  <a:pt x="629" y="142"/>
                  <a:pt x="629" y="142"/>
                  <a:pt x="628" y="143"/>
                </a:cubicBezTo>
                <a:cubicBezTo>
                  <a:pt x="627" y="143"/>
                  <a:pt x="626" y="144"/>
                  <a:pt x="626" y="144"/>
                </a:cubicBezTo>
                <a:cubicBezTo>
                  <a:pt x="625" y="144"/>
                  <a:pt x="625" y="144"/>
                  <a:pt x="624" y="144"/>
                </a:cubicBezTo>
                <a:cubicBezTo>
                  <a:pt x="624" y="144"/>
                  <a:pt x="624" y="144"/>
                  <a:pt x="623" y="144"/>
                </a:cubicBezTo>
                <a:cubicBezTo>
                  <a:pt x="623" y="145"/>
                  <a:pt x="621" y="144"/>
                  <a:pt x="621" y="145"/>
                </a:cubicBezTo>
                <a:cubicBezTo>
                  <a:pt x="620" y="145"/>
                  <a:pt x="619" y="145"/>
                  <a:pt x="620" y="144"/>
                </a:cubicBezTo>
                <a:cubicBezTo>
                  <a:pt x="620" y="143"/>
                  <a:pt x="621" y="143"/>
                  <a:pt x="622" y="143"/>
                </a:cubicBezTo>
                <a:cubicBezTo>
                  <a:pt x="623" y="142"/>
                  <a:pt x="624" y="141"/>
                  <a:pt x="625" y="141"/>
                </a:cubicBezTo>
                <a:cubicBezTo>
                  <a:pt x="624" y="141"/>
                  <a:pt x="625" y="141"/>
                  <a:pt x="625" y="140"/>
                </a:cubicBezTo>
                <a:cubicBezTo>
                  <a:pt x="624" y="141"/>
                  <a:pt x="624" y="141"/>
                  <a:pt x="623" y="142"/>
                </a:cubicBezTo>
                <a:cubicBezTo>
                  <a:pt x="622" y="142"/>
                  <a:pt x="622" y="142"/>
                  <a:pt x="621" y="143"/>
                </a:cubicBezTo>
                <a:cubicBezTo>
                  <a:pt x="620" y="143"/>
                  <a:pt x="620" y="143"/>
                  <a:pt x="619" y="143"/>
                </a:cubicBezTo>
                <a:cubicBezTo>
                  <a:pt x="618" y="143"/>
                  <a:pt x="619" y="142"/>
                  <a:pt x="618" y="142"/>
                </a:cubicBezTo>
                <a:cubicBezTo>
                  <a:pt x="619" y="142"/>
                  <a:pt x="619" y="142"/>
                  <a:pt x="619" y="142"/>
                </a:cubicBezTo>
                <a:cubicBezTo>
                  <a:pt x="619" y="142"/>
                  <a:pt x="618" y="142"/>
                  <a:pt x="618" y="142"/>
                </a:cubicBezTo>
                <a:cubicBezTo>
                  <a:pt x="618" y="142"/>
                  <a:pt x="617" y="142"/>
                  <a:pt x="617" y="142"/>
                </a:cubicBezTo>
                <a:cubicBezTo>
                  <a:pt x="617" y="142"/>
                  <a:pt x="618" y="142"/>
                  <a:pt x="617" y="142"/>
                </a:cubicBezTo>
                <a:cubicBezTo>
                  <a:pt x="616" y="142"/>
                  <a:pt x="616" y="142"/>
                  <a:pt x="617" y="142"/>
                </a:cubicBezTo>
                <a:cubicBezTo>
                  <a:pt x="617" y="141"/>
                  <a:pt x="617" y="142"/>
                  <a:pt x="617" y="141"/>
                </a:cubicBezTo>
                <a:cubicBezTo>
                  <a:pt x="617" y="141"/>
                  <a:pt x="617" y="141"/>
                  <a:pt x="617" y="141"/>
                </a:cubicBezTo>
                <a:cubicBezTo>
                  <a:pt x="618" y="141"/>
                  <a:pt x="617" y="141"/>
                  <a:pt x="617" y="141"/>
                </a:cubicBezTo>
                <a:cubicBezTo>
                  <a:pt x="617" y="141"/>
                  <a:pt x="618" y="140"/>
                  <a:pt x="618" y="140"/>
                </a:cubicBezTo>
                <a:cubicBezTo>
                  <a:pt x="617" y="140"/>
                  <a:pt x="617" y="141"/>
                  <a:pt x="616" y="141"/>
                </a:cubicBezTo>
                <a:cubicBezTo>
                  <a:pt x="616" y="141"/>
                  <a:pt x="616" y="140"/>
                  <a:pt x="617" y="140"/>
                </a:cubicBezTo>
                <a:cubicBezTo>
                  <a:pt x="616" y="140"/>
                  <a:pt x="616" y="140"/>
                  <a:pt x="616" y="140"/>
                </a:cubicBezTo>
                <a:cubicBezTo>
                  <a:pt x="616" y="140"/>
                  <a:pt x="617" y="139"/>
                  <a:pt x="616" y="139"/>
                </a:cubicBezTo>
                <a:cubicBezTo>
                  <a:pt x="616" y="139"/>
                  <a:pt x="617" y="139"/>
                  <a:pt x="617" y="139"/>
                </a:cubicBezTo>
                <a:cubicBezTo>
                  <a:pt x="617" y="138"/>
                  <a:pt x="616" y="139"/>
                  <a:pt x="616" y="138"/>
                </a:cubicBezTo>
                <a:cubicBezTo>
                  <a:pt x="616" y="138"/>
                  <a:pt x="615" y="138"/>
                  <a:pt x="615" y="138"/>
                </a:cubicBezTo>
                <a:cubicBezTo>
                  <a:pt x="615" y="138"/>
                  <a:pt x="616" y="139"/>
                  <a:pt x="616" y="139"/>
                </a:cubicBezTo>
                <a:cubicBezTo>
                  <a:pt x="615" y="139"/>
                  <a:pt x="614" y="139"/>
                  <a:pt x="614" y="139"/>
                </a:cubicBezTo>
                <a:cubicBezTo>
                  <a:pt x="615" y="139"/>
                  <a:pt x="614" y="140"/>
                  <a:pt x="613" y="139"/>
                </a:cubicBezTo>
                <a:cubicBezTo>
                  <a:pt x="614" y="139"/>
                  <a:pt x="612" y="139"/>
                  <a:pt x="613" y="139"/>
                </a:cubicBezTo>
                <a:cubicBezTo>
                  <a:pt x="612" y="139"/>
                  <a:pt x="612" y="139"/>
                  <a:pt x="612" y="139"/>
                </a:cubicBezTo>
                <a:cubicBezTo>
                  <a:pt x="612" y="139"/>
                  <a:pt x="612" y="138"/>
                  <a:pt x="611" y="138"/>
                </a:cubicBezTo>
                <a:cubicBezTo>
                  <a:pt x="611" y="138"/>
                  <a:pt x="612" y="139"/>
                  <a:pt x="611" y="139"/>
                </a:cubicBezTo>
                <a:cubicBezTo>
                  <a:pt x="611" y="139"/>
                  <a:pt x="610" y="138"/>
                  <a:pt x="610" y="139"/>
                </a:cubicBezTo>
                <a:cubicBezTo>
                  <a:pt x="610" y="139"/>
                  <a:pt x="611" y="139"/>
                  <a:pt x="612" y="139"/>
                </a:cubicBezTo>
                <a:cubicBezTo>
                  <a:pt x="613" y="139"/>
                  <a:pt x="612" y="140"/>
                  <a:pt x="613" y="140"/>
                </a:cubicBezTo>
                <a:cubicBezTo>
                  <a:pt x="613" y="140"/>
                  <a:pt x="613" y="141"/>
                  <a:pt x="612" y="141"/>
                </a:cubicBezTo>
                <a:cubicBezTo>
                  <a:pt x="612" y="141"/>
                  <a:pt x="611" y="140"/>
                  <a:pt x="611" y="140"/>
                </a:cubicBezTo>
                <a:cubicBezTo>
                  <a:pt x="611" y="140"/>
                  <a:pt x="612" y="141"/>
                  <a:pt x="612" y="141"/>
                </a:cubicBezTo>
                <a:cubicBezTo>
                  <a:pt x="612" y="141"/>
                  <a:pt x="612" y="141"/>
                  <a:pt x="612" y="141"/>
                </a:cubicBezTo>
                <a:cubicBezTo>
                  <a:pt x="612" y="141"/>
                  <a:pt x="612" y="141"/>
                  <a:pt x="611" y="142"/>
                </a:cubicBezTo>
                <a:cubicBezTo>
                  <a:pt x="611" y="141"/>
                  <a:pt x="610" y="141"/>
                  <a:pt x="610" y="141"/>
                </a:cubicBezTo>
                <a:cubicBezTo>
                  <a:pt x="610" y="141"/>
                  <a:pt x="610" y="141"/>
                  <a:pt x="610" y="141"/>
                </a:cubicBezTo>
                <a:cubicBezTo>
                  <a:pt x="610" y="140"/>
                  <a:pt x="610" y="140"/>
                  <a:pt x="610" y="140"/>
                </a:cubicBezTo>
                <a:cubicBezTo>
                  <a:pt x="609" y="140"/>
                  <a:pt x="608" y="140"/>
                  <a:pt x="608" y="139"/>
                </a:cubicBezTo>
                <a:cubicBezTo>
                  <a:pt x="608" y="140"/>
                  <a:pt x="608" y="139"/>
                  <a:pt x="607" y="139"/>
                </a:cubicBezTo>
                <a:cubicBezTo>
                  <a:pt x="608" y="140"/>
                  <a:pt x="608" y="140"/>
                  <a:pt x="608" y="140"/>
                </a:cubicBezTo>
                <a:cubicBezTo>
                  <a:pt x="608" y="140"/>
                  <a:pt x="608" y="140"/>
                  <a:pt x="608" y="141"/>
                </a:cubicBezTo>
                <a:cubicBezTo>
                  <a:pt x="608" y="141"/>
                  <a:pt x="608" y="141"/>
                  <a:pt x="608" y="141"/>
                </a:cubicBezTo>
                <a:cubicBezTo>
                  <a:pt x="608" y="141"/>
                  <a:pt x="608" y="142"/>
                  <a:pt x="608" y="142"/>
                </a:cubicBezTo>
                <a:cubicBezTo>
                  <a:pt x="608" y="142"/>
                  <a:pt x="609" y="142"/>
                  <a:pt x="609" y="143"/>
                </a:cubicBezTo>
                <a:cubicBezTo>
                  <a:pt x="609" y="143"/>
                  <a:pt x="610" y="143"/>
                  <a:pt x="610" y="143"/>
                </a:cubicBezTo>
                <a:cubicBezTo>
                  <a:pt x="610" y="144"/>
                  <a:pt x="610" y="144"/>
                  <a:pt x="611" y="144"/>
                </a:cubicBezTo>
                <a:cubicBezTo>
                  <a:pt x="610" y="144"/>
                  <a:pt x="610" y="144"/>
                  <a:pt x="609" y="144"/>
                </a:cubicBezTo>
                <a:cubicBezTo>
                  <a:pt x="610" y="144"/>
                  <a:pt x="610" y="145"/>
                  <a:pt x="610" y="145"/>
                </a:cubicBezTo>
                <a:cubicBezTo>
                  <a:pt x="609" y="145"/>
                  <a:pt x="609" y="145"/>
                  <a:pt x="608" y="145"/>
                </a:cubicBezTo>
                <a:cubicBezTo>
                  <a:pt x="608" y="145"/>
                  <a:pt x="607" y="145"/>
                  <a:pt x="607" y="145"/>
                </a:cubicBezTo>
                <a:cubicBezTo>
                  <a:pt x="607" y="145"/>
                  <a:pt x="606" y="145"/>
                  <a:pt x="606" y="145"/>
                </a:cubicBezTo>
                <a:cubicBezTo>
                  <a:pt x="606" y="145"/>
                  <a:pt x="606" y="145"/>
                  <a:pt x="605" y="145"/>
                </a:cubicBezTo>
                <a:cubicBezTo>
                  <a:pt x="605" y="145"/>
                  <a:pt x="604" y="145"/>
                  <a:pt x="604" y="145"/>
                </a:cubicBezTo>
                <a:cubicBezTo>
                  <a:pt x="604" y="144"/>
                  <a:pt x="604" y="144"/>
                  <a:pt x="605" y="143"/>
                </a:cubicBezTo>
                <a:cubicBezTo>
                  <a:pt x="605" y="143"/>
                  <a:pt x="604" y="143"/>
                  <a:pt x="604" y="143"/>
                </a:cubicBezTo>
                <a:cubicBezTo>
                  <a:pt x="603" y="143"/>
                  <a:pt x="604" y="142"/>
                  <a:pt x="604" y="142"/>
                </a:cubicBezTo>
                <a:cubicBezTo>
                  <a:pt x="603" y="142"/>
                  <a:pt x="603" y="142"/>
                  <a:pt x="603" y="143"/>
                </a:cubicBezTo>
                <a:cubicBezTo>
                  <a:pt x="602" y="143"/>
                  <a:pt x="603" y="142"/>
                  <a:pt x="603" y="142"/>
                </a:cubicBezTo>
                <a:cubicBezTo>
                  <a:pt x="603" y="141"/>
                  <a:pt x="602" y="141"/>
                  <a:pt x="602" y="142"/>
                </a:cubicBezTo>
                <a:cubicBezTo>
                  <a:pt x="602" y="142"/>
                  <a:pt x="602" y="142"/>
                  <a:pt x="602" y="142"/>
                </a:cubicBezTo>
                <a:cubicBezTo>
                  <a:pt x="601" y="142"/>
                  <a:pt x="600" y="142"/>
                  <a:pt x="599" y="142"/>
                </a:cubicBezTo>
                <a:cubicBezTo>
                  <a:pt x="600" y="143"/>
                  <a:pt x="602" y="142"/>
                  <a:pt x="602" y="143"/>
                </a:cubicBezTo>
                <a:cubicBezTo>
                  <a:pt x="602" y="143"/>
                  <a:pt x="603" y="144"/>
                  <a:pt x="603" y="143"/>
                </a:cubicBezTo>
                <a:cubicBezTo>
                  <a:pt x="603" y="143"/>
                  <a:pt x="604" y="144"/>
                  <a:pt x="605" y="144"/>
                </a:cubicBezTo>
                <a:cubicBezTo>
                  <a:pt x="604" y="144"/>
                  <a:pt x="604" y="144"/>
                  <a:pt x="604" y="144"/>
                </a:cubicBezTo>
                <a:cubicBezTo>
                  <a:pt x="604" y="144"/>
                  <a:pt x="603" y="144"/>
                  <a:pt x="603" y="144"/>
                </a:cubicBezTo>
                <a:cubicBezTo>
                  <a:pt x="603" y="144"/>
                  <a:pt x="603" y="144"/>
                  <a:pt x="603" y="145"/>
                </a:cubicBezTo>
                <a:cubicBezTo>
                  <a:pt x="603" y="145"/>
                  <a:pt x="602" y="144"/>
                  <a:pt x="602" y="144"/>
                </a:cubicBezTo>
                <a:cubicBezTo>
                  <a:pt x="602" y="144"/>
                  <a:pt x="603" y="145"/>
                  <a:pt x="603" y="145"/>
                </a:cubicBezTo>
                <a:cubicBezTo>
                  <a:pt x="602" y="145"/>
                  <a:pt x="602" y="144"/>
                  <a:pt x="601" y="145"/>
                </a:cubicBezTo>
                <a:cubicBezTo>
                  <a:pt x="601" y="145"/>
                  <a:pt x="603" y="145"/>
                  <a:pt x="603" y="145"/>
                </a:cubicBezTo>
                <a:cubicBezTo>
                  <a:pt x="603" y="145"/>
                  <a:pt x="602" y="145"/>
                  <a:pt x="602" y="146"/>
                </a:cubicBezTo>
                <a:cubicBezTo>
                  <a:pt x="602" y="146"/>
                  <a:pt x="602" y="146"/>
                  <a:pt x="603" y="146"/>
                </a:cubicBezTo>
                <a:cubicBezTo>
                  <a:pt x="602" y="146"/>
                  <a:pt x="602" y="146"/>
                  <a:pt x="602" y="146"/>
                </a:cubicBezTo>
                <a:cubicBezTo>
                  <a:pt x="602" y="146"/>
                  <a:pt x="603" y="146"/>
                  <a:pt x="603" y="146"/>
                </a:cubicBezTo>
                <a:cubicBezTo>
                  <a:pt x="603" y="146"/>
                  <a:pt x="604" y="146"/>
                  <a:pt x="604" y="146"/>
                </a:cubicBezTo>
                <a:cubicBezTo>
                  <a:pt x="604" y="146"/>
                  <a:pt x="603" y="147"/>
                  <a:pt x="603" y="147"/>
                </a:cubicBezTo>
                <a:cubicBezTo>
                  <a:pt x="603" y="147"/>
                  <a:pt x="603" y="147"/>
                  <a:pt x="603" y="147"/>
                </a:cubicBezTo>
                <a:cubicBezTo>
                  <a:pt x="603" y="148"/>
                  <a:pt x="602" y="148"/>
                  <a:pt x="602" y="148"/>
                </a:cubicBezTo>
                <a:cubicBezTo>
                  <a:pt x="602" y="148"/>
                  <a:pt x="602" y="148"/>
                  <a:pt x="602" y="148"/>
                </a:cubicBezTo>
                <a:cubicBezTo>
                  <a:pt x="602" y="148"/>
                  <a:pt x="602" y="148"/>
                  <a:pt x="601" y="148"/>
                </a:cubicBezTo>
                <a:cubicBezTo>
                  <a:pt x="601" y="148"/>
                  <a:pt x="602" y="148"/>
                  <a:pt x="602" y="148"/>
                </a:cubicBezTo>
                <a:cubicBezTo>
                  <a:pt x="602" y="148"/>
                  <a:pt x="601" y="149"/>
                  <a:pt x="601" y="149"/>
                </a:cubicBezTo>
                <a:cubicBezTo>
                  <a:pt x="602" y="149"/>
                  <a:pt x="602" y="148"/>
                  <a:pt x="603" y="148"/>
                </a:cubicBezTo>
                <a:cubicBezTo>
                  <a:pt x="604" y="148"/>
                  <a:pt x="604" y="147"/>
                  <a:pt x="605" y="148"/>
                </a:cubicBezTo>
                <a:cubicBezTo>
                  <a:pt x="606" y="148"/>
                  <a:pt x="607" y="147"/>
                  <a:pt x="607" y="148"/>
                </a:cubicBezTo>
                <a:cubicBezTo>
                  <a:pt x="608" y="148"/>
                  <a:pt x="607" y="148"/>
                  <a:pt x="607" y="148"/>
                </a:cubicBezTo>
                <a:cubicBezTo>
                  <a:pt x="606" y="148"/>
                  <a:pt x="607" y="148"/>
                  <a:pt x="607" y="149"/>
                </a:cubicBezTo>
                <a:cubicBezTo>
                  <a:pt x="607" y="149"/>
                  <a:pt x="606" y="149"/>
                  <a:pt x="606" y="149"/>
                </a:cubicBezTo>
                <a:cubicBezTo>
                  <a:pt x="606" y="149"/>
                  <a:pt x="606" y="149"/>
                  <a:pt x="606" y="149"/>
                </a:cubicBezTo>
                <a:cubicBezTo>
                  <a:pt x="606" y="149"/>
                  <a:pt x="606" y="149"/>
                  <a:pt x="605" y="149"/>
                </a:cubicBezTo>
                <a:cubicBezTo>
                  <a:pt x="605" y="149"/>
                  <a:pt x="606" y="149"/>
                  <a:pt x="606" y="150"/>
                </a:cubicBezTo>
                <a:cubicBezTo>
                  <a:pt x="606" y="149"/>
                  <a:pt x="607" y="149"/>
                  <a:pt x="608" y="149"/>
                </a:cubicBezTo>
                <a:cubicBezTo>
                  <a:pt x="608" y="150"/>
                  <a:pt x="608" y="150"/>
                  <a:pt x="607" y="150"/>
                </a:cubicBezTo>
                <a:cubicBezTo>
                  <a:pt x="608" y="150"/>
                  <a:pt x="607" y="150"/>
                  <a:pt x="607" y="150"/>
                </a:cubicBezTo>
                <a:cubicBezTo>
                  <a:pt x="606" y="150"/>
                  <a:pt x="605" y="150"/>
                  <a:pt x="605" y="151"/>
                </a:cubicBezTo>
                <a:cubicBezTo>
                  <a:pt x="605" y="151"/>
                  <a:pt x="605" y="151"/>
                  <a:pt x="605" y="151"/>
                </a:cubicBezTo>
                <a:cubicBezTo>
                  <a:pt x="606" y="150"/>
                  <a:pt x="606" y="151"/>
                  <a:pt x="607" y="151"/>
                </a:cubicBezTo>
                <a:cubicBezTo>
                  <a:pt x="606" y="151"/>
                  <a:pt x="606" y="151"/>
                  <a:pt x="606" y="151"/>
                </a:cubicBezTo>
                <a:cubicBezTo>
                  <a:pt x="606" y="151"/>
                  <a:pt x="606" y="151"/>
                  <a:pt x="606" y="151"/>
                </a:cubicBezTo>
                <a:cubicBezTo>
                  <a:pt x="606" y="151"/>
                  <a:pt x="606" y="152"/>
                  <a:pt x="606" y="152"/>
                </a:cubicBezTo>
                <a:cubicBezTo>
                  <a:pt x="606" y="152"/>
                  <a:pt x="606" y="152"/>
                  <a:pt x="606" y="152"/>
                </a:cubicBezTo>
                <a:cubicBezTo>
                  <a:pt x="606" y="152"/>
                  <a:pt x="606" y="152"/>
                  <a:pt x="607" y="152"/>
                </a:cubicBezTo>
                <a:cubicBezTo>
                  <a:pt x="607" y="152"/>
                  <a:pt x="607" y="152"/>
                  <a:pt x="607" y="152"/>
                </a:cubicBezTo>
                <a:cubicBezTo>
                  <a:pt x="607" y="152"/>
                  <a:pt x="607" y="152"/>
                  <a:pt x="607" y="152"/>
                </a:cubicBezTo>
                <a:cubicBezTo>
                  <a:pt x="607" y="152"/>
                  <a:pt x="607" y="152"/>
                  <a:pt x="607" y="153"/>
                </a:cubicBezTo>
                <a:cubicBezTo>
                  <a:pt x="607" y="153"/>
                  <a:pt x="606" y="153"/>
                  <a:pt x="606" y="153"/>
                </a:cubicBezTo>
                <a:cubicBezTo>
                  <a:pt x="606" y="153"/>
                  <a:pt x="606" y="153"/>
                  <a:pt x="605" y="153"/>
                </a:cubicBezTo>
                <a:cubicBezTo>
                  <a:pt x="605" y="153"/>
                  <a:pt x="606" y="153"/>
                  <a:pt x="606" y="153"/>
                </a:cubicBezTo>
                <a:cubicBezTo>
                  <a:pt x="607" y="153"/>
                  <a:pt x="608" y="152"/>
                  <a:pt x="609" y="152"/>
                </a:cubicBezTo>
                <a:cubicBezTo>
                  <a:pt x="608" y="153"/>
                  <a:pt x="608" y="153"/>
                  <a:pt x="608" y="153"/>
                </a:cubicBezTo>
                <a:cubicBezTo>
                  <a:pt x="607" y="153"/>
                  <a:pt x="607" y="153"/>
                  <a:pt x="607" y="153"/>
                </a:cubicBezTo>
                <a:cubicBezTo>
                  <a:pt x="607" y="153"/>
                  <a:pt x="607" y="153"/>
                  <a:pt x="607" y="153"/>
                </a:cubicBezTo>
                <a:cubicBezTo>
                  <a:pt x="607" y="154"/>
                  <a:pt x="607" y="153"/>
                  <a:pt x="608" y="153"/>
                </a:cubicBezTo>
                <a:cubicBezTo>
                  <a:pt x="608" y="153"/>
                  <a:pt x="607" y="154"/>
                  <a:pt x="607" y="154"/>
                </a:cubicBezTo>
                <a:cubicBezTo>
                  <a:pt x="607" y="154"/>
                  <a:pt x="607" y="154"/>
                  <a:pt x="607" y="154"/>
                </a:cubicBezTo>
                <a:cubicBezTo>
                  <a:pt x="607" y="154"/>
                  <a:pt x="607" y="154"/>
                  <a:pt x="607" y="155"/>
                </a:cubicBezTo>
                <a:cubicBezTo>
                  <a:pt x="607" y="155"/>
                  <a:pt x="607" y="155"/>
                  <a:pt x="607" y="155"/>
                </a:cubicBezTo>
                <a:cubicBezTo>
                  <a:pt x="607" y="155"/>
                  <a:pt x="607" y="155"/>
                  <a:pt x="607" y="155"/>
                </a:cubicBezTo>
                <a:cubicBezTo>
                  <a:pt x="606" y="156"/>
                  <a:pt x="607" y="156"/>
                  <a:pt x="607" y="156"/>
                </a:cubicBezTo>
                <a:cubicBezTo>
                  <a:pt x="607" y="155"/>
                  <a:pt x="608" y="155"/>
                  <a:pt x="608" y="154"/>
                </a:cubicBezTo>
                <a:cubicBezTo>
                  <a:pt x="608" y="153"/>
                  <a:pt x="609" y="154"/>
                  <a:pt x="609" y="154"/>
                </a:cubicBezTo>
                <a:cubicBezTo>
                  <a:pt x="609" y="154"/>
                  <a:pt x="609" y="154"/>
                  <a:pt x="609" y="154"/>
                </a:cubicBezTo>
                <a:cubicBezTo>
                  <a:pt x="609" y="154"/>
                  <a:pt x="609" y="154"/>
                  <a:pt x="609" y="154"/>
                </a:cubicBezTo>
                <a:cubicBezTo>
                  <a:pt x="609" y="154"/>
                  <a:pt x="609" y="154"/>
                  <a:pt x="609" y="154"/>
                </a:cubicBezTo>
                <a:cubicBezTo>
                  <a:pt x="609" y="155"/>
                  <a:pt x="610" y="154"/>
                  <a:pt x="610" y="154"/>
                </a:cubicBezTo>
                <a:cubicBezTo>
                  <a:pt x="610" y="155"/>
                  <a:pt x="610" y="155"/>
                  <a:pt x="610" y="155"/>
                </a:cubicBezTo>
                <a:cubicBezTo>
                  <a:pt x="610" y="155"/>
                  <a:pt x="610" y="155"/>
                  <a:pt x="611" y="155"/>
                </a:cubicBezTo>
                <a:cubicBezTo>
                  <a:pt x="611" y="155"/>
                  <a:pt x="611" y="155"/>
                  <a:pt x="611" y="155"/>
                </a:cubicBezTo>
                <a:cubicBezTo>
                  <a:pt x="611" y="155"/>
                  <a:pt x="610" y="156"/>
                  <a:pt x="610" y="156"/>
                </a:cubicBezTo>
                <a:cubicBezTo>
                  <a:pt x="610" y="156"/>
                  <a:pt x="609" y="156"/>
                  <a:pt x="609" y="156"/>
                </a:cubicBezTo>
                <a:cubicBezTo>
                  <a:pt x="609" y="156"/>
                  <a:pt x="610" y="156"/>
                  <a:pt x="610" y="156"/>
                </a:cubicBezTo>
                <a:cubicBezTo>
                  <a:pt x="610" y="156"/>
                  <a:pt x="609" y="157"/>
                  <a:pt x="610" y="157"/>
                </a:cubicBezTo>
                <a:cubicBezTo>
                  <a:pt x="610" y="157"/>
                  <a:pt x="611" y="155"/>
                  <a:pt x="612" y="155"/>
                </a:cubicBezTo>
                <a:cubicBezTo>
                  <a:pt x="612" y="155"/>
                  <a:pt x="611" y="157"/>
                  <a:pt x="611" y="157"/>
                </a:cubicBezTo>
                <a:cubicBezTo>
                  <a:pt x="611" y="157"/>
                  <a:pt x="612" y="156"/>
                  <a:pt x="612" y="156"/>
                </a:cubicBezTo>
                <a:cubicBezTo>
                  <a:pt x="612" y="156"/>
                  <a:pt x="612" y="158"/>
                  <a:pt x="612" y="157"/>
                </a:cubicBezTo>
                <a:cubicBezTo>
                  <a:pt x="612" y="157"/>
                  <a:pt x="612" y="156"/>
                  <a:pt x="612" y="156"/>
                </a:cubicBezTo>
                <a:cubicBezTo>
                  <a:pt x="612" y="156"/>
                  <a:pt x="613" y="154"/>
                  <a:pt x="613" y="155"/>
                </a:cubicBezTo>
                <a:cubicBezTo>
                  <a:pt x="613" y="155"/>
                  <a:pt x="614" y="155"/>
                  <a:pt x="614" y="155"/>
                </a:cubicBezTo>
                <a:cubicBezTo>
                  <a:pt x="614" y="155"/>
                  <a:pt x="613" y="156"/>
                  <a:pt x="613" y="156"/>
                </a:cubicBezTo>
                <a:cubicBezTo>
                  <a:pt x="613" y="156"/>
                  <a:pt x="614" y="155"/>
                  <a:pt x="614" y="156"/>
                </a:cubicBezTo>
                <a:cubicBezTo>
                  <a:pt x="614" y="156"/>
                  <a:pt x="613" y="156"/>
                  <a:pt x="613" y="157"/>
                </a:cubicBezTo>
                <a:cubicBezTo>
                  <a:pt x="614" y="156"/>
                  <a:pt x="615" y="156"/>
                  <a:pt x="614" y="157"/>
                </a:cubicBezTo>
                <a:cubicBezTo>
                  <a:pt x="614" y="157"/>
                  <a:pt x="612" y="158"/>
                  <a:pt x="612" y="159"/>
                </a:cubicBezTo>
                <a:cubicBezTo>
                  <a:pt x="612" y="159"/>
                  <a:pt x="614" y="158"/>
                  <a:pt x="614" y="159"/>
                </a:cubicBezTo>
                <a:cubicBezTo>
                  <a:pt x="614" y="159"/>
                  <a:pt x="615" y="158"/>
                  <a:pt x="615" y="158"/>
                </a:cubicBezTo>
                <a:cubicBezTo>
                  <a:pt x="615" y="159"/>
                  <a:pt x="614" y="159"/>
                  <a:pt x="614" y="159"/>
                </a:cubicBezTo>
                <a:cubicBezTo>
                  <a:pt x="614" y="159"/>
                  <a:pt x="614" y="159"/>
                  <a:pt x="615" y="159"/>
                </a:cubicBezTo>
                <a:cubicBezTo>
                  <a:pt x="615" y="159"/>
                  <a:pt x="615" y="159"/>
                  <a:pt x="615" y="159"/>
                </a:cubicBezTo>
                <a:cubicBezTo>
                  <a:pt x="616" y="159"/>
                  <a:pt x="616" y="158"/>
                  <a:pt x="616" y="158"/>
                </a:cubicBezTo>
                <a:cubicBezTo>
                  <a:pt x="616" y="159"/>
                  <a:pt x="616" y="159"/>
                  <a:pt x="616" y="159"/>
                </a:cubicBezTo>
                <a:cubicBezTo>
                  <a:pt x="616" y="159"/>
                  <a:pt x="616" y="159"/>
                  <a:pt x="617" y="159"/>
                </a:cubicBezTo>
                <a:cubicBezTo>
                  <a:pt x="616" y="159"/>
                  <a:pt x="616" y="159"/>
                  <a:pt x="616" y="159"/>
                </a:cubicBezTo>
                <a:cubicBezTo>
                  <a:pt x="618" y="159"/>
                  <a:pt x="615" y="160"/>
                  <a:pt x="615" y="160"/>
                </a:cubicBezTo>
                <a:cubicBezTo>
                  <a:pt x="616" y="160"/>
                  <a:pt x="614" y="161"/>
                  <a:pt x="614" y="161"/>
                </a:cubicBezTo>
                <a:cubicBezTo>
                  <a:pt x="614" y="161"/>
                  <a:pt x="613" y="161"/>
                  <a:pt x="613" y="160"/>
                </a:cubicBezTo>
                <a:cubicBezTo>
                  <a:pt x="612" y="160"/>
                  <a:pt x="612" y="161"/>
                  <a:pt x="611" y="161"/>
                </a:cubicBezTo>
                <a:cubicBezTo>
                  <a:pt x="612" y="161"/>
                  <a:pt x="613" y="160"/>
                  <a:pt x="613" y="161"/>
                </a:cubicBezTo>
                <a:cubicBezTo>
                  <a:pt x="613" y="161"/>
                  <a:pt x="612" y="161"/>
                  <a:pt x="612" y="161"/>
                </a:cubicBezTo>
                <a:cubicBezTo>
                  <a:pt x="612" y="161"/>
                  <a:pt x="613" y="161"/>
                  <a:pt x="613" y="161"/>
                </a:cubicBezTo>
                <a:cubicBezTo>
                  <a:pt x="613" y="162"/>
                  <a:pt x="614" y="161"/>
                  <a:pt x="614" y="162"/>
                </a:cubicBezTo>
                <a:cubicBezTo>
                  <a:pt x="613" y="162"/>
                  <a:pt x="613" y="162"/>
                  <a:pt x="613" y="162"/>
                </a:cubicBezTo>
                <a:cubicBezTo>
                  <a:pt x="613" y="162"/>
                  <a:pt x="613" y="162"/>
                  <a:pt x="614" y="162"/>
                </a:cubicBezTo>
                <a:cubicBezTo>
                  <a:pt x="614" y="162"/>
                  <a:pt x="614" y="162"/>
                  <a:pt x="614" y="162"/>
                </a:cubicBezTo>
                <a:cubicBezTo>
                  <a:pt x="614" y="163"/>
                  <a:pt x="614" y="163"/>
                  <a:pt x="614" y="163"/>
                </a:cubicBezTo>
                <a:cubicBezTo>
                  <a:pt x="614" y="163"/>
                  <a:pt x="614" y="163"/>
                  <a:pt x="615" y="163"/>
                </a:cubicBezTo>
                <a:cubicBezTo>
                  <a:pt x="614" y="163"/>
                  <a:pt x="614" y="163"/>
                  <a:pt x="613" y="163"/>
                </a:cubicBezTo>
                <a:cubicBezTo>
                  <a:pt x="614" y="164"/>
                  <a:pt x="615" y="163"/>
                  <a:pt x="615" y="164"/>
                </a:cubicBezTo>
                <a:cubicBezTo>
                  <a:pt x="615" y="164"/>
                  <a:pt x="615" y="164"/>
                  <a:pt x="615" y="164"/>
                </a:cubicBezTo>
                <a:cubicBezTo>
                  <a:pt x="615" y="164"/>
                  <a:pt x="616" y="163"/>
                  <a:pt x="616" y="163"/>
                </a:cubicBezTo>
                <a:cubicBezTo>
                  <a:pt x="616" y="163"/>
                  <a:pt x="616" y="164"/>
                  <a:pt x="616" y="163"/>
                </a:cubicBezTo>
                <a:cubicBezTo>
                  <a:pt x="617" y="163"/>
                  <a:pt x="617" y="163"/>
                  <a:pt x="617" y="163"/>
                </a:cubicBezTo>
                <a:cubicBezTo>
                  <a:pt x="618" y="163"/>
                  <a:pt x="615" y="165"/>
                  <a:pt x="615" y="165"/>
                </a:cubicBezTo>
                <a:cubicBezTo>
                  <a:pt x="614" y="165"/>
                  <a:pt x="613" y="165"/>
                  <a:pt x="614" y="166"/>
                </a:cubicBezTo>
                <a:cubicBezTo>
                  <a:pt x="615" y="166"/>
                  <a:pt x="616" y="166"/>
                  <a:pt x="616" y="166"/>
                </a:cubicBezTo>
                <a:cubicBezTo>
                  <a:pt x="616" y="167"/>
                  <a:pt x="616" y="167"/>
                  <a:pt x="615" y="167"/>
                </a:cubicBezTo>
                <a:cubicBezTo>
                  <a:pt x="616" y="168"/>
                  <a:pt x="615" y="169"/>
                  <a:pt x="615" y="169"/>
                </a:cubicBezTo>
                <a:cubicBezTo>
                  <a:pt x="615" y="169"/>
                  <a:pt x="615" y="169"/>
                  <a:pt x="614" y="169"/>
                </a:cubicBezTo>
                <a:cubicBezTo>
                  <a:pt x="614" y="169"/>
                  <a:pt x="614" y="169"/>
                  <a:pt x="614" y="169"/>
                </a:cubicBezTo>
                <a:cubicBezTo>
                  <a:pt x="614" y="170"/>
                  <a:pt x="615" y="169"/>
                  <a:pt x="615" y="170"/>
                </a:cubicBezTo>
                <a:cubicBezTo>
                  <a:pt x="614" y="170"/>
                  <a:pt x="614" y="170"/>
                  <a:pt x="614" y="170"/>
                </a:cubicBezTo>
                <a:cubicBezTo>
                  <a:pt x="613" y="170"/>
                  <a:pt x="614" y="171"/>
                  <a:pt x="614" y="171"/>
                </a:cubicBezTo>
                <a:cubicBezTo>
                  <a:pt x="614" y="171"/>
                  <a:pt x="613" y="171"/>
                  <a:pt x="613" y="170"/>
                </a:cubicBezTo>
                <a:cubicBezTo>
                  <a:pt x="612" y="170"/>
                  <a:pt x="613" y="169"/>
                  <a:pt x="613" y="168"/>
                </a:cubicBezTo>
                <a:cubicBezTo>
                  <a:pt x="613" y="168"/>
                  <a:pt x="613" y="168"/>
                  <a:pt x="613" y="167"/>
                </a:cubicBezTo>
                <a:cubicBezTo>
                  <a:pt x="613" y="167"/>
                  <a:pt x="613" y="167"/>
                  <a:pt x="612" y="167"/>
                </a:cubicBezTo>
                <a:cubicBezTo>
                  <a:pt x="612" y="167"/>
                  <a:pt x="612" y="166"/>
                  <a:pt x="612" y="166"/>
                </a:cubicBezTo>
                <a:cubicBezTo>
                  <a:pt x="612" y="166"/>
                  <a:pt x="612" y="166"/>
                  <a:pt x="612" y="166"/>
                </a:cubicBezTo>
                <a:cubicBezTo>
                  <a:pt x="612" y="165"/>
                  <a:pt x="611" y="165"/>
                  <a:pt x="611" y="166"/>
                </a:cubicBezTo>
                <a:cubicBezTo>
                  <a:pt x="612" y="166"/>
                  <a:pt x="612" y="166"/>
                  <a:pt x="612" y="166"/>
                </a:cubicBezTo>
                <a:cubicBezTo>
                  <a:pt x="612" y="167"/>
                  <a:pt x="612" y="167"/>
                  <a:pt x="612" y="167"/>
                </a:cubicBezTo>
                <a:cubicBezTo>
                  <a:pt x="612" y="168"/>
                  <a:pt x="611" y="168"/>
                  <a:pt x="611" y="168"/>
                </a:cubicBezTo>
                <a:cubicBezTo>
                  <a:pt x="611" y="168"/>
                  <a:pt x="611" y="168"/>
                  <a:pt x="611" y="169"/>
                </a:cubicBezTo>
                <a:cubicBezTo>
                  <a:pt x="611" y="169"/>
                  <a:pt x="611" y="169"/>
                  <a:pt x="610" y="169"/>
                </a:cubicBezTo>
                <a:cubicBezTo>
                  <a:pt x="610" y="169"/>
                  <a:pt x="611" y="169"/>
                  <a:pt x="611" y="169"/>
                </a:cubicBezTo>
                <a:cubicBezTo>
                  <a:pt x="611" y="169"/>
                  <a:pt x="610" y="169"/>
                  <a:pt x="610" y="169"/>
                </a:cubicBezTo>
                <a:cubicBezTo>
                  <a:pt x="611" y="169"/>
                  <a:pt x="611" y="169"/>
                  <a:pt x="611" y="170"/>
                </a:cubicBezTo>
                <a:cubicBezTo>
                  <a:pt x="611" y="170"/>
                  <a:pt x="611" y="171"/>
                  <a:pt x="611" y="171"/>
                </a:cubicBezTo>
                <a:cubicBezTo>
                  <a:pt x="611" y="171"/>
                  <a:pt x="610" y="170"/>
                  <a:pt x="610" y="170"/>
                </a:cubicBezTo>
                <a:cubicBezTo>
                  <a:pt x="610" y="170"/>
                  <a:pt x="611" y="171"/>
                  <a:pt x="610" y="171"/>
                </a:cubicBezTo>
                <a:cubicBezTo>
                  <a:pt x="610" y="171"/>
                  <a:pt x="609" y="170"/>
                  <a:pt x="609" y="171"/>
                </a:cubicBezTo>
                <a:cubicBezTo>
                  <a:pt x="609" y="171"/>
                  <a:pt x="610" y="171"/>
                  <a:pt x="610" y="171"/>
                </a:cubicBezTo>
                <a:cubicBezTo>
                  <a:pt x="610" y="171"/>
                  <a:pt x="610" y="171"/>
                  <a:pt x="610" y="171"/>
                </a:cubicBezTo>
                <a:cubicBezTo>
                  <a:pt x="610" y="171"/>
                  <a:pt x="609" y="171"/>
                  <a:pt x="609" y="171"/>
                </a:cubicBezTo>
                <a:cubicBezTo>
                  <a:pt x="609" y="172"/>
                  <a:pt x="610" y="172"/>
                  <a:pt x="611" y="172"/>
                </a:cubicBezTo>
                <a:cubicBezTo>
                  <a:pt x="611" y="172"/>
                  <a:pt x="611" y="172"/>
                  <a:pt x="610" y="172"/>
                </a:cubicBezTo>
                <a:cubicBezTo>
                  <a:pt x="611" y="172"/>
                  <a:pt x="611" y="172"/>
                  <a:pt x="611" y="172"/>
                </a:cubicBezTo>
                <a:cubicBezTo>
                  <a:pt x="611" y="172"/>
                  <a:pt x="611" y="172"/>
                  <a:pt x="610" y="172"/>
                </a:cubicBezTo>
                <a:cubicBezTo>
                  <a:pt x="610" y="173"/>
                  <a:pt x="611" y="173"/>
                  <a:pt x="611" y="173"/>
                </a:cubicBezTo>
                <a:cubicBezTo>
                  <a:pt x="611" y="173"/>
                  <a:pt x="611" y="173"/>
                  <a:pt x="610" y="173"/>
                </a:cubicBezTo>
                <a:cubicBezTo>
                  <a:pt x="610" y="173"/>
                  <a:pt x="611" y="173"/>
                  <a:pt x="610" y="173"/>
                </a:cubicBezTo>
                <a:cubicBezTo>
                  <a:pt x="610" y="174"/>
                  <a:pt x="610" y="174"/>
                  <a:pt x="610" y="174"/>
                </a:cubicBezTo>
                <a:cubicBezTo>
                  <a:pt x="610" y="174"/>
                  <a:pt x="610" y="174"/>
                  <a:pt x="610" y="174"/>
                </a:cubicBezTo>
                <a:cubicBezTo>
                  <a:pt x="611" y="174"/>
                  <a:pt x="611" y="174"/>
                  <a:pt x="611" y="174"/>
                </a:cubicBezTo>
                <a:cubicBezTo>
                  <a:pt x="611" y="174"/>
                  <a:pt x="610" y="175"/>
                  <a:pt x="610" y="175"/>
                </a:cubicBezTo>
                <a:cubicBezTo>
                  <a:pt x="609" y="175"/>
                  <a:pt x="608" y="175"/>
                  <a:pt x="608" y="174"/>
                </a:cubicBezTo>
                <a:cubicBezTo>
                  <a:pt x="608" y="174"/>
                  <a:pt x="608" y="173"/>
                  <a:pt x="608" y="173"/>
                </a:cubicBezTo>
                <a:cubicBezTo>
                  <a:pt x="607" y="174"/>
                  <a:pt x="607" y="174"/>
                  <a:pt x="607" y="174"/>
                </a:cubicBezTo>
                <a:cubicBezTo>
                  <a:pt x="607" y="174"/>
                  <a:pt x="607" y="174"/>
                  <a:pt x="607" y="173"/>
                </a:cubicBezTo>
                <a:cubicBezTo>
                  <a:pt x="606" y="174"/>
                  <a:pt x="607" y="174"/>
                  <a:pt x="607" y="174"/>
                </a:cubicBezTo>
                <a:cubicBezTo>
                  <a:pt x="607" y="174"/>
                  <a:pt x="607" y="174"/>
                  <a:pt x="607" y="175"/>
                </a:cubicBezTo>
                <a:cubicBezTo>
                  <a:pt x="607" y="175"/>
                  <a:pt x="607" y="176"/>
                  <a:pt x="607" y="177"/>
                </a:cubicBezTo>
                <a:cubicBezTo>
                  <a:pt x="607" y="177"/>
                  <a:pt x="606" y="177"/>
                  <a:pt x="606" y="178"/>
                </a:cubicBezTo>
                <a:cubicBezTo>
                  <a:pt x="605" y="178"/>
                  <a:pt x="605" y="178"/>
                  <a:pt x="605" y="178"/>
                </a:cubicBezTo>
                <a:cubicBezTo>
                  <a:pt x="605" y="177"/>
                  <a:pt x="605" y="176"/>
                  <a:pt x="605" y="176"/>
                </a:cubicBezTo>
                <a:cubicBezTo>
                  <a:pt x="605" y="176"/>
                  <a:pt x="605" y="176"/>
                  <a:pt x="604" y="177"/>
                </a:cubicBezTo>
                <a:cubicBezTo>
                  <a:pt x="604" y="176"/>
                  <a:pt x="605" y="176"/>
                  <a:pt x="606" y="176"/>
                </a:cubicBezTo>
                <a:cubicBezTo>
                  <a:pt x="606" y="175"/>
                  <a:pt x="605" y="176"/>
                  <a:pt x="605" y="175"/>
                </a:cubicBezTo>
                <a:cubicBezTo>
                  <a:pt x="605" y="175"/>
                  <a:pt x="606" y="175"/>
                  <a:pt x="606" y="175"/>
                </a:cubicBezTo>
                <a:cubicBezTo>
                  <a:pt x="606" y="175"/>
                  <a:pt x="606" y="175"/>
                  <a:pt x="605" y="175"/>
                </a:cubicBezTo>
                <a:cubicBezTo>
                  <a:pt x="606" y="175"/>
                  <a:pt x="606" y="174"/>
                  <a:pt x="606" y="174"/>
                </a:cubicBezTo>
                <a:cubicBezTo>
                  <a:pt x="605" y="174"/>
                  <a:pt x="605" y="175"/>
                  <a:pt x="604" y="175"/>
                </a:cubicBezTo>
                <a:cubicBezTo>
                  <a:pt x="604" y="175"/>
                  <a:pt x="603" y="176"/>
                  <a:pt x="603" y="174"/>
                </a:cubicBezTo>
                <a:cubicBezTo>
                  <a:pt x="602" y="175"/>
                  <a:pt x="604" y="173"/>
                  <a:pt x="604" y="173"/>
                </a:cubicBezTo>
                <a:cubicBezTo>
                  <a:pt x="603" y="173"/>
                  <a:pt x="603" y="173"/>
                  <a:pt x="603" y="174"/>
                </a:cubicBezTo>
                <a:cubicBezTo>
                  <a:pt x="603" y="174"/>
                  <a:pt x="602" y="174"/>
                  <a:pt x="602" y="174"/>
                </a:cubicBezTo>
                <a:cubicBezTo>
                  <a:pt x="602" y="174"/>
                  <a:pt x="602" y="175"/>
                  <a:pt x="602" y="175"/>
                </a:cubicBezTo>
                <a:cubicBezTo>
                  <a:pt x="602" y="174"/>
                  <a:pt x="602" y="174"/>
                  <a:pt x="601" y="174"/>
                </a:cubicBezTo>
                <a:cubicBezTo>
                  <a:pt x="601" y="174"/>
                  <a:pt x="603" y="173"/>
                  <a:pt x="603" y="173"/>
                </a:cubicBezTo>
                <a:cubicBezTo>
                  <a:pt x="602" y="173"/>
                  <a:pt x="602" y="173"/>
                  <a:pt x="602" y="174"/>
                </a:cubicBezTo>
                <a:cubicBezTo>
                  <a:pt x="601" y="174"/>
                  <a:pt x="601" y="173"/>
                  <a:pt x="601" y="173"/>
                </a:cubicBezTo>
                <a:cubicBezTo>
                  <a:pt x="601" y="173"/>
                  <a:pt x="601" y="173"/>
                  <a:pt x="600" y="173"/>
                </a:cubicBezTo>
                <a:cubicBezTo>
                  <a:pt x="600" y="173"/>
                  <a:pt x="600" y="172"/>
                  <a:pt x="600" y="172"/>
                </a:cubicBezTo>
                <a:cubicBezTo>
                  <a:pt x="600" y="172"/>
                  <a:pt x="600" y="174"/>
                  <a:pt x="600" y="174"/>
                </a:cubicBezTo>
                <a:cubicBezTo>
                  <a:pt x="600" y="174"/>
                  <a:pt x="600" y="174"/>
                  <a:pt x="599" y="174"/>
                </a:cubicBezTo>
                <a:cubicBezTo>
                  <a:pt x="599" y="173"/>
                  <a:pt x="598" y="174"/>
                  <a:pt x="598" y="173"/>
                </a:cubicBezTo>
                <a:cubicBezTo>
                  <a:pt x="598" y="173"/>
                  <a:pt x="598" y="173"/>
                  <a:pt x="598" y="172"/>
                </a:cubicBezTo>
                <a:cubicBezTo>
                  <a:pt x="598" y="172"/>
                  <a:pt x="598" y="171"/>
                  <a:pt x="598" y="171"/>
                </a:cubicBezTo>
                <a:cubicBezTo>
                  <a:pt x="598" y="171"/>
                  <a:pt x="598" y="171"/>
                  <a:pt x="598" y="170"/>
                </a:cubicBezTo>
                <a:cubicBezTo>
                  <a:pt x="598" y="170"/>
                  <a:pt x="599" y="170"/>
                  <a:pt x="599" y="170"/>
                </a:cubicBezTo>
                <a:cubicBezTo>
                  <a:pt x="599" y="170"/>
                  <a:pt x="597" y="170"/>
                  <a:pt x="598" y="171"/>
                </a:cubicBezTo>
                <a:cubicBezTo>
                  <a:pt x="598" y="171"/>
                  <a:pt x="598" y="171"/>
                  <a:pt x="598" y="172"/>
                </a:cubicBezTo>
                <a:cubicBezTo>
                  <a:pt x="598" y="172"/>
                  <a:pt x="597" y="173"/>
                  <a:pt x="597" y="172"/>
                </a:cubicBezTo>
                <a:cubicBezTo>
                  <a:pt x="597" y="173"/>
                  <a:pt x="597" y="173"/>
                  <a:pt x="597" y="173"/>
                </a:cubicBezTo>
                <a:cubicBezTo>
                  <a:pt x="597" y="173"/>
                  <a:pt x="596" y="173"/>
                  <a:pt x="596" y="173"/>
                </a:cubicBezTo>
                <a:cubicBezTo>
                  <a:pt x="596" y="172"/>
                  <a:pt x="597" y="171"/>
                  <a:pt x="597" y="171"/>
                </a:cubicBezTo>
                <a:cubicBezTo>
                  <a:pt x="596" y="171"/>
                  <a:pt x="596" y="173"/>
                  <a:pt x="595" y="171"/>
                </a:cubicBezTo>
                <a:cubicBezTo>
                  <a:pt x="595" y="171"/>
                  <a:pt x="595" y="171"/>
                  <a:pt x="596" y="170"/>
                </a:cubicBezTo>
                <a:cubicBezTo>
                  <a:pt x="596" y="170"/>
                  <a:pt x="596" y="169"/>
                  <a:pt x="596" y="169"/>
                </a:cubicBezTo>
                <a:cubicBezTo>
                  <a:pt x="595" y="169"/>
                  <a:pt x="595" y="171"/>
                  <a:pt x="594" y="170"/>
                </a:cubicBezTo>
                <a:cubicBezTo>
                  <a:pt x="594" y="171"/>
                  <a:pt x="594" y="170"/>
                  <a:pt x="594" y="170"/>
                </a:cubicBezTo>
                <a:cubicBezTo>
                  <a:pt x="594" y="170"/>
                  <a:pt x="593" y="169"/>
                  <a:pt x="593" y="169"/>
                </a:cubicBezTo>
                <a:cubicBezTo>
                  <a:pt x="593" y="169"/>
                  <a:pt x="593" y="169"/>
                  <a:pt x="593" y="169"/>
                </a:cubicBezTo>
                <a:cubicBezTo>
                  <a:pt x="593" y="169"/>
                  <a:pt x="593" y="169"/>
                  <a:pt x="593" y="169"/>
                </a:cubicBezTo>
                <a:cubicBezTo>
                  <a:pt x="593" y="168"/>
                  <a:pt x="592" y="167"/>
                  <a:pt x="593" y="167"/>
                </a:cubicBezTo>
                <a:cubicBezTo>
                  <a:pt x="592" y="167"/>
                  <a:pt x="592" y="167"/>
                  <a:pt x="592" y="167"/>
                </a:cubicBezTo>
                <a:cubicBezTo>
                  <a:pt x="591" y="167"/>
                  <a:pt x="592" y="167"/>
                  <a:pt x="592" y="167"/>
                </a:cubicBezTo>
                <a:cubicBezTo>
                  <a:pt x="592" y="166"/>
                  <a:pt x="591" y="166"/>
                  <a:pt x="591" y="166"/>
                </a:cubicBezTo>
                <a:cubicBezTo>
                  <a:pt x="591" y="166"/>
                  <a:pt x="591" y="167"/>
                  <a:pt x="591" y="167"/>
                </a:cubicBezTo>
                <a:cubicBezTo>
                  <a:pt x="591" y="167"/>
                  <a:pt x="591" y="168"/>
                  <a:pt x="591" y="168"/>
                </a:cubicBezTo>
                <a:cubicBezTo>
                  <a:pt x="591" y="168"/>
                  <a:pt x="591" y="169"/>
                  <a:pt x="591" y="169"/>
                </a:cubicBezTo>
                <a:cubicBezTo>
                  <a:pt x="591" y="170"/>
                  <a:pt x="590" y="170"/>
                  <a:pt x="590" y="169"/>
                </a:cubicBezTo>
                <a:cubicBezTo>
                  <a:pt x="590" y="169"/>
                  <a:pt x="589" y="168"/>
                  <a:pt x="589" y="167"/>
                </a:cubicBezTo>
                <a:cubicBezTo>
                  <a:pt x="589" y="168"/>
                  <a:pt x="588" y="167"/>
                  <a:pt x="588" y="167"/>
                </a:cubicBezTo>
                <a:cubicBezTo>
                  <a:pt x="588" y="167"/>
                  <a:pt x="589" y="167"/>
                  <a:pt x="588" y="167"/>
                </a:cubicBezTo>
                <a:cubicBezTo>
                  <a:pt x="588" y="166"/>
                  <a:pt x="588" y="167"/>
                  <a:pt x="587" y="167"/>
                </a:cubicBezTo>
                <a:cubicBezTo>
                  <a:pt x="587" y="167"/>
                  <a:pt x="587" y="166"/>
                  <a:pt x="587" y="166"/>
                </a:cubicBezTo>
                <a:cubicBezTo>
                  <a:pt x="587" y="166"/>
                  <a:pt x="585" y="166"/>
                  <a:pt x="585" y="166"/>
                </a:cubicBezTo>
                <a:cubicBezTo>
                  <a:pt x="585" y="166"/>
                  <a:pt x="583" y="166"/>
                  <a:pt x="583" y="166"/>
                </a:cubicBezTo>
                <a:cubicBezTo>
                  <a:pt x="584" y="167"/>
                  <a:pt x="584" y="167"/>
                  <a:pt x="583" y="167"/>
                </a:cubicBezTo>
                <a:cubicBezTo>
                  <a:pt x="584" y="168"/>
                  <a:pt x="584" y="169"/>
                  <a:pt x="585" y="169"/>
                </a:cubicBezTo>
                <a:cubicBezTo>
                  <a:pt x="585" y="169"/>
                  <a:pt x="585" y="169"/>
                  <a:pt x="585" y="170"/>
                </a:cubicBezTo>
                <a:cubicBezTo>
                  <a:pt x="585" y="170"/>
                  <a:pt x="585" y="170"/>
                  <a:pt x="586" y="170"/>
                </a:cubicBezTo>
                <a:cubicBezTo>
                  <a:pt x="586" y="170"/>
                  <a:pt x="586" y="170"/>
                  <a:pt x="586" y="170"/>
                </a:cubicBezTo>
                <a:cubicBezTo>
                  <a:pt x="586" y="170"/>
                  <a:pt x="586" y="171"/>
                  <a:pt x="586" y="171"/>
                </a:cubicBezTo>
                <a:cubicBezTo>
                  <a:pt x="586" y="171"/>
                  <a:pt x="586" y="172"/>
                  <a:pt x="586" y="172"/>
                </a:cubicBezTo>
                <a:cubicBezTo>
                  <a:pt x="586" y="172"/>
                  <a:pt x="587" y="172"/>
                  <a:pt x="587" y="172"/>
                </a:cubicBezTo>
                <a:cubicBezTo>
                  <a:pt x="588" y="172"/>
                  <a:pt x="587" y="172"/>
                  <a:pt x="587" y="173"/>
                </a:cubicBezTo>
                <a:cubicBezTo>
                  <a:pt x="587" y="173"/>
                  <a:pt x="588" y="172"/>
                  <a:pt x="588" y="172"/>
                </a:cubicBezTo>
                <a:cubicBezTo>
                  <a:pt x="588" y="173"/>
                  <a:pt x="590" y="172"/>
                  <a:pt x="590" y="172"/>
                </a:cubicBezTo>
                <a:cubicBezTo>
                  <a:pt x="590" y="173"/>
                  <a:pt x="589" y="173"/>
                  <a:pt x="589" y="173"/>
                </a:cubicBezTo>
                <a:cubicBezTo>
                  <a:pt x="588" y="173"/>
                  <a:pt x="588" y="174"/>
                  <a:pt x="588" y="174"/>
                </a:cubicBezTo>
                <a:cubicBezTo>
                  <a:pt x="588" y="174"/>
                  <a:pt x="588" y="173"/>
                  <a:pt x="589" y="173"/>
                </a:cubicBezTo>
                <a:cubicBezTo>
                  <a:pt x="589" y="173"/>
                  <a:pt x="589" y="173"/>
                  <a:pt x="590" y="173"/>
                </a:cubicBezTo>
                <a:cubicBezTo>
                  <a:pt x="590" y="173"/>
                  <a:pt x="590" y="173"/>
                  <a:pt x="590" y="173"/>
                </a:cubicBezTo>
                <a:cubicBezTo>
                  <a:pt x="589" y="174"/>
                  <a:pt x="589" y="174"/>
                  <a:pt x="588" y="174"/>
                </a:cubicBezTo>
                <a:cubicBezTo>
                  <a:pt x="589" y="174"/>
                  <a:pt x="589" y="174"/>
                  <a:pt x="590" y="174"/>
                </a:cubicBezTo>
                <a:cubicBezTo>
                  <a:pt x="590" y="174"/>
                  <a:pt x="590" y="173"/>
                  <a:pt x="590" y="174"/>
                </a:cubicBezTo>
                <a:cubicBezTo>
                  <a:pt x="591" y="174"/>
                  <a:pt x="591" y="174"/>
                  <a:pt x="590" y="174"/>
                </a:cubicBezTo>
                <a:cubicBezTo>
                  <a:pt x="591" y="174"/>
                  <a:pt x="591" y="174"/>
                  <a:pt x="591" y="174"/>
                </a:cubicBezTo>
                <a:cubicBezTo>
                  <a:pt x="591" y="175"/>
                  <a:pt x="590" y="175"/>
                  <a:pt x="590" y="175"/>
                </a:cubicBezTo>
                <a:cubicBezTo>
                  <a:pt x="591" y="175"/>
                  <a:pt x="591" y="174"/>
                  <a:pt x="592" y="175"/>
                </a:cubicBezTo>
                <a:cubicBezTo>
                  <a:pt x="592" y="175"/>
                  <a:pt x="591" y="175"/>
                  <a:pt x="591" y="175"/>
                </a:cubicBezTo>
                <a:cubicBezTo>
                  <a:pt x="591" y="175"/>
                  <a:pt x="592" y="175"/>
                  <a:pt x="591" y="176"/>
                </a:cubicBezTo>
                <a:cubicBezTo>
                  <a:pt x="592" y="175"/>
                  <a:pt x="592" y="176"/>
                  <a:pt x="592" y="176"/>
                </a:cubicBezTo>
                <a:cubicBezTo>
                  <a:pt x="592" y="176"/>
                  <a:pt x="592" y="176"/>
                  <a:pt x="593" y="176"/>
                </a:cubicBezTo>
                <a:cubicBezTo>
                  <a:pt x="592" y="176"/>
                  <a:pt x="592" y="177"/>
                  <a:pt x="592" y="177"/>
                </a:cubicBezTo>
                <a:cubicBezTo>
                  <a:pt x="592" y="177"/>
                  <a:pt x="593" y="176"/>
                  <a:pt x="594" y="177"/>
                </a:cubicBezTo>
                <a:cubicBezTo>
                  <a:pt x="594" y="177"/>
                  <a:pt x="594" y="177"/>
                  <a:pt x="593" y="177"/>
                </a:cubicBezTo>
                <a:cubicBezTo>
                  <a:pt x="594" y="177"/>
                  <a:pt x="594" y="177"/>
                  <a:pt x="594" y="177"/>
                </a:cubicBezTo>
                <a:cubicBezTo>
                  <a:pt x="593" y="177"/>
                  <a:pt x="594" y="177"/>
                  <a:pt x="594" y="177"/>
                </a:cubicBezTo>
                <a:cubicBezTo>
                  <a:pt x="594" y="177"/>
                  <a:pt x="594" y="178"/>
                  <a:pt x="594" y="178"/>
                </a:cubicBezTo>
                <a:cubicBezTo>
                  <a:pt x="595" y="178"/>
                  <a:pt x="595" y="178"/>
                  <a:pt x="594" y="179"/>
                </a:cubicBezTo>
                <a:cubicBezTo>
                  <a:pt x="595" y="179"/>
                  <a:pt x="595" y="179"/>
                  <a:pt x="595" y="179"/>
                </a:cubicBezTo>
                <a:cubicBezTo>
                  <a:pt x="595" y="179"/>
                  <a:pt x="595" y="179"/>
                  <a:pt x="595" y="180"/>
                </a:cubicBezTo>
                <a:cubicBezTo>
                  <a:pt x="595" y="180"/>
                  <a:pt x="594" y="180"/>
                  <a:pt x="594" y="180"/>
                </a:cubicBezTo>
                <a:cubicBezTo>
                  <a:pt x="594" y="180"/>
                  <a:pt x="594" y="181"/>
                  <a:pt x="595" y="181"/>
                </a:cubicBezTo>
                <a:cubicBezTo>
                  <a:pt x="595" y="181"/>
                  <a:pt x="595" y="180"/>
                  <a:pt x="595" y="180"/>
                </a:cubicBezTo>
                <a:cubicBezTo>
                  <a:pt x="595" y="180"/>
                  <a:pt x="596" y="180"/>
                  <a:pt x="596" y="180"/>
                </a:cubicBezTo>
                <a:cubicBezTo>
                  <a:pt x="596" y="181"/>
                  <a:pt x="596" y="181"/>
                  <a:pt x="595" y="181"/>
                </a:cubicBezTo>
                <a:cubicBezTo>
                  <a:pt x="595" y="181"/>
                  <a:pt x="596" y="181"/>
                  <a:pt x="597" y="181"/>
                </a:cubicBezTo>
                <a:cubicBezTo>
                  <a:pt x="597" y="181"/>
                  <a:pt x="597" y="181"/>
                  <a:pt x="597" y="181"/>
                </a:cubicBezTo>
                <a:cubicBezTo>
                  <a:pt x="597" y="181"/>
                  <a:pt x="597" y="181"/>
                  <a:pt x="597" y="181"/>
                </a:cubicBezTo>
                <a:cubicBezTo>
                  <a:pt x="596" y="182"/>
                  <a:pt x="596" y="182"/>
                  <a:pt x="596" y="182"/>
                </a:cubicBezTo>
                <a:cubicBezTo>
                  <a:pt x="596" y="182"/>
                  <a:pt x="596" y="183"/>
                  <a:pt x="595" y="183"/>
                </a:cubicBezTo>
                <a:cubicBezTo>
                  <a:pt x="595" y="182"/>
                  <a:pt x="595" y="182"/>
                  <a:pt x="595" y="182"/>
                </a:cubicBezTo>
                <a:cubicBezTo>
                  <a:pt x="595" y="182"/>
                  <a:pt x="595" y="183"/>
                  <a:pt x="595" y="183"/>
                </a:cubicBezTo>
                <a:cubicBezTo>
                  <a:pt x="595" y="183"/>
                  <a:pt x="595" y="184"/>
                  <a:pt x="595" y="184"/>
                </a:cubicBezTo>
                <a:cubicBezTo>
                  <a:pt x="595" y="184"/>
                  <a:pt x="595" y="184"/>
                  <a:pt x="595" y="184"/>
                </a:cubicBezTo>
                <a:cubicBezTo>
                  <a:pt x="594" y="184"/>
                  <a:pt x="594" y="185"/>
                  <a:pt x="593" y="185"/>
                </a:cubicBezTo>
                <a:cubicBezTo>
                  <a:pt x="593" y="185"/>
                  <a:pt x="590" y="184"/>
                  <a:pt x="590" y="184"/>
                </a:cubicBezTo>
                <a:cubicBezTo>
                  <a:pt x="590" y="184"/>
                  <a:pt x="590" y="184"/>
                  <a:pt x="591" y="184"/>
                </a:cubicBezTo>
                <a:cubicBezTo>
                  <a:pt x="590" y="184"/>
                  <a:pt x="590" y="183"/>
                  <a:pt x="590" y="183"/>
                </a:cubicBezTo>
                <a:cubicBezTo>
                  <a:pt x="590" y="183"/>
                  <a:pt x="589" y="183"/>
                  <a:pt x="589" y="183"/>
                </a:cubicBezTo>
                <a:cubicBezTo>
                  <a:pt x="589" y="183"/>
                  <a:pt x="588" y="183"/>
                  <a:pt x="588" y="183"/>
                </a:cubicBezTo>
                <a:cubicBezTo>
                  <a:pt x="587" y="183"/>
                  <a:pt x="587" y="183"/>
                  <a:pt x="587" y="182"/>
                </a:cubicBezTo>
                <a:cubicBezTo>
                  <a:pt x="587" y="182"/>
                  <a:pt x="586" y="183"/>
                  <a:pt x="586" y="182"/>
                </a:cubicBezTo>
                <a:cubicBezTo>
                  <a:pt x="586" y="182"/>
                  <a:pt x="586" y="182"/>
                  <a:pt x="586" y="182"/>
                </a:cubicBezTo>
                <a:cubicBezTo>
                  <a:pt x="586" y="182"/>
                  <a:pt x="585" y="182"/>
                  <a:pt x="585" y="182"/>
                </a:cubicBezTo>
                <a:cubicBezTo>
                  <a:pt x="584" y="181"/>
                  <a:pt x="583" y="182"/>
                  <a:pt x="583" y="181"/>
                </a:cubicBezTo>
                <a:cubicBezTo>
                  <a:pt x="583" y="181"/>
                  <a:pt x="582" y="181"/>
                  <a:pt x="582" y="181"/>
                </a:cubicBezTo>
                <a:cubicBezTo>
                  <a:pt x="581" y="181"/>
                  <a:pt x="581" y="181"/>
                  <a:pt x="580" y="181"/>
                </a:cubicBezTo>
                <a:cubicBezTo>
                  <a:pt x="580" y="181"/>
                  <a:pt x="576" y="181"/>
                  <a:pt x="577" y="180"/>
                </a:cubicBezTo>
                <a:cubicBezTo>
                  <a:pt x="577" y="180"/>
                  <a:pt x="576" y="180"/>
                  <a:pt x="576" y="180"/>
                </a:cubicBezTo>
                <a:cubicBezTo>
                  <a:pt x="576" y="179"/>
                  <a:pt x="576" y="180"/>
                  <a:pt x="576" y="180"/>
                </a:cubicBezTo>
                <a:cubicBezTo>
                  <a:pt x="575" y="179"/>
                  <a:pt x="574" y="179"/>
                  <a:pt x="574" y="179"/>
                </a:cubicBezTo>
                <a:cubicBezTo>
                  <a:pt x="573" y="178"/>
                  <a:pt x="573" y="178"/>
                  <a:pt x="574" y="178"/>
                </a:cubicBezTo>
                <a:cubicBezTo>
                  <a:pt x="574" y="178"/>
                  <a:pt x="574" y="177"/>
                  <a:pt x="574" y="177"/>
                </a:cubicBezTo>
                <a:cubicBezTo>
                  <a:pt x="574" y="177"/>
                  <a:pt x="574" y="178"/>
                  <a:pt x="573" y="178"/>
                </a:cubicBezTo>
                <a:cubicBezTo>
                  <a:pt x="573" y="178"/>
                  <a:pt x="573" y="177"/>
                  <a:pt x="573" y="177"/>
                </a:cubicBezTo>
                <a:cubicBezTo>
                  <a:pt x="573" y="177"/>
                  <a:pt x="573" y="178"/>
                  <a:pt x="573" y="178"/>
                </a:cubicBezTo>
                <a:cubicBezTo>
                  <a:pt x="573" y="178"/>
                  <a:pt x="572" y="177"/>
                  <a:pt x="572" y="177"/>
                </a:cubicBezTo>
                <a:cubicBezTo>
                  <a:pt x="572" y="176"/>
                  <a:pt x="573" y="176"/>
                  <a:pt x="574" y="176"/>
                </a:cubicBezTo>
                <a:cubicBezTo>
                  <a:pt x="573" y="176"/>
                  <a:pt x="573" y="176"/>
                  <a:pt x="573" y="176"/>
                </a:cubicBezTo>
                <a:cubicBezTo>
                  <a:pt x="573" y="176"/>
                  <a:pt x="574" y="176"/>
                  <a:pt x="574" y="176"/>
                </a:cubicBezTo>
                <a:cubicBezTo>
                  <a:pt x="574" y="176"/>
                  <a:pt x="573" y="176"/>
                  <a:pt x="573" y="176"/>
                </a:cubicBezTo>
                <a:cubicBezTo>
                  <a:pt x="573" y="176"/>
                  <a:pt x="573" y="175"/>
                  <a:pt x="573" y="175"/>
                </a:cubicBezTo>
                <a:cubicBezTo>
                  <a:pt x="573" y="176"/>
                  <a:pt x="572" y="176"/>
                  <a:pt x="572" y="176"/>
                </a:cubicBezTo>
                <a:cubicBezTo>
                  <a:pt x="572" y="176"/>
                  <a:pt x="572" y="175"/>
                  <a:pt x="571" y="175"/>
                </a:cubicBezTo>
                <a:cubicBezTo>
                  <a:pt x="571" y="175"/>
                  <a:pt x="571" y="176"/>
                  <a:pt x="571" y="176"/>
                </a:cubicBezTo>
                <a:cubicBezTo>
                  <a:pt x="571" y="176"/>
                  <a:pt x="571" y="176"/>
                  <a:pt x="571" y="176"/>
                </a:cubicBezTo>
                <a:cubicBezTo>
                  <a:pt x="570" y="176"/>
                  <a:pt x="570" y="175"/>
                  <a:pt x="570" y="176"/>
                </a:cubicBezTo>
                <a:cubicBezTo>
                  <a:pt x="569" y="176"/>
                  <a:pt x="569" y="176"/>
                  <a:pt x="568" y="176"/>
                </a:cubicBezTo>
                <a:cubicBezTo>
                  <a:pt x="567" y="176"/>
                  <a:pt x="567" y="175"/>
                  <a:pt x="567" y="175"/>
                </a:cubicBezTo>
                <a:cubicBezTo>
                  <a:pt x="566" y="174"/>
                  <a:pt x="565" y="175"/>
                  <a:pt x="564" y="174"/>
                </a:cubicBezTo>
                <a:cubicBezTo>
                  <a:pt x="564" y="174"/>
                  <a:pt x="564" y="174"/>
                  <a:pt x="565" y="174"/>
                </a:cubicBezTo>
                <a:cubicBezTo>
                  <a:pt x="564" y="174"/>
                  <a:pt x="564" y="174"/>
                  <a:pt x="563" y="174"/>
                </a:cubicBezTo>
                <a:cubicBezTo>
                  <a:pt x="563" y="174"/>
                  <a:pt x="564" y="174"/>
                  <a:pt x="564" y="174"/>
                </a:cubicBezTo>
                <a:cubicBezTo>
                  <a:pt x="564" y="174"/>
                  <a:pt x="564" y="173"/>
                  <a:pt x="564" y="173"/>
                </a:cubicBezTo>
                <a:cubicBezTo>
                  <a:pt x="564" y="173"/>
                  <a:pt x="562" y="174"/>
                  <a:pt x="563" y="173"/>
                </a:cubicBezTo>
                <a:cubicBezTo>
                  <a:pt x="563" y="173"/>
                  <a:pt x="565" y="173"/>
                  <a:pt x="566" y="172"/>
                </a:cubicBezTo>
                <a:cubicBezTo>
                  <a:pt x="566" y="172"/>
                  <a:pt x="565" y="172"/>
                  <a:pt x="565" y="172"/>
                </a:cubicBezTo>
                <a:cubicBezTo>
                  <a:pt x="565" y="172"/>
                  <a:pt x="565" y="172"/>
                  <a:pt x="565" y="172"/>
                </a:cubicBezTo>
                <a:cubicBezTo>
                  <a:pt x="565" y="172"/>
                  <a:pt x="563" y="173"/>
                  <a:pt x="563" y="172"/>
                </a:cubicBezTo>
                <a:cubicBezTo>
                  <a:pt x="563" y="173"/>
                  <a:pt x="562" y="173"/>
                  <a:pt x="562" y="173"/>
                </a:cubicBezTo>
                <a:cubicBezTo>
                  <a:pt x="562" y="173"/>
                  <a:pt x="561" y="173"/>
                  <a:pt x="561" y="173"/>
                </a:cubicBezTo>
                <a:cubicBezTo>
                  <a:pt x="561" y="173"/>
                  <a:pt x="561" y="172"/>
                  <a:pt x="561" y="172"/>
                </a:cubicBezTo>
                <a:cubicBezTo>
                  <a:pt x="561" y="172"/>
                  <a:pt x="560" y="172"/>
                  <a:pt x="559" y="172"/>
                </a:cubicBezTo>
                <a:cubicBezTo>
                  <a:pt x="560" y="172"/>
                  <a:pt x="560" y="171"/>
                  <a:pt x="560" y="171"/>
                </a:cubicBezTo>
                <a:cubicBezTo>
                  <a:pt x="560" y="171"/>
                  <a:pt x="560" y="171"/>
                  <a:pt x="559" y="171"/>
                </a:cubicBezTo>
                <a:cubicBezTo>
                  <a:pt x="560" y="171"/>
                  <a:pt x="560" y="171"/>
                  <a:pt x="560" y="171"/>
                </a:cubicBezTo>
                <a:cubicBezTo>
                  <a:pt x="560" y="171"/>
                  <a:pt x="560" y="171"/>
                  <a:pt x="560" y="171"/>
                </a:cubicBezTo>
                <a:cubicBezTo>
                  <a:pt x="560" y="171"/>
                  <a:pt x="560" y="170"/>
                  <a:pt x="560" y="170"/>
                </a:cubicBezTo>
                <a:cubicBezTo>
                  <a:pt x="560" y="170"/>
                  <a:pt x="560" y="170"/>
                  <a:pt x="560" y="169"/>
                </a:cubicBezTo>
                <a:cubicBezTo>
                  <a:pt x="560" y="169"/>
                  <a:pt x="559" y="170"/>
                  <a:pt x="559" y="169"/>
                </a:cubicBezTo>
                <a:cubicBezTo>
                  <a:pt x="559" y="169"/>
                  <a:pt x="559" y="169"/>
                  <a:pt x="558" y="169"/>
                </a:cubicBezTo>
                <a:cubicBezTo>
                  <a:pt x="558" y="169"/>
                  <a:pt x="558" y="169"/>
                  <a:pt x="558" y="169"/>
                </a:cubicBezTo>
                <a:cubicBezTo>
                  <a:pt x="559" y="169"/>
                  <a:pt x="560" y="169"/>
                  <a:pt x="560" y="169"/>
                </a:cubicBezTo>
                <a:cubicBezTo>
                  <a:pt x="562" y="169"/>
                  <a:pt x="563" y="169"/>
                  <a:pt x="564" y="168"/>
                </a:cubicBezTo>
                <a:cubicBezTo>
                  <a:pt x="564" y="168"/>
                  <a:pt x="565" y="167"/>
                  <a:pt x="566" y="167"/>
                </a:cubicBezTo>
                <a:cubicBezTo>
                  <a:pt x="565" y="167"/>
                  <a:pt x="565" y="168"/>
                  <a:pt x="564" y="168"/>
                </a:cubicBezTo>
                <a:cubicBezTo>
                  <a:pt x="565" y="167"/>
                  <a:pt x="565" y="167"/>
                  <a:pt x="564" y="168"/>
                </a:cubicBezTo>
                <a:cubicBezTo>
                  <a:pt x="564" y="168"/>
                  <a:pt x="563" y="168"/>
                  <a:pt x="563" y="168"/>
                </a:cubicBezTo>
                <a:cubicBezTo>
                  <a:pt x="563" y="167"/>
                  <a:pt x="564" y="167"/>
                  <a:pt x="564" y="167"/>
                </a:cubicBezTo>
                <a:cubicBezTo>
                  <a:pt x="564" y="167"/>
                  <a:pt x="564" y="167"/>
                  <a:pt x="563" y="167"/>
                </a:cubicBezTo>
                <a:cubicBezTo>
                  <a:pt x="564" y="167"/>
                  <a:pt x="564" y="167"/>
                  <a:pt x="564" y="166"/>
                </a:cubicBezTo>
                <a:cubicBezTo>
                  <a:pt x="564" y="166"/>
                  <a:pt x="564" y="166"/>
                  <a:pt x="564" y="166"/>
                </a:cubicBezTo>
                <a:cubicBezTo>
                  <a:pt x="564" y="166"/>
                  <a:pt x="563" y="166"/>
                  <a:pt x="563" y="167"/>
                </a:cubicBezTo>
                <a:cubicBezTo>
                  <a:pt x="563" y="167"/>
                  <a:pt x="563" y="167"/>
                  <a:pt x="563" y="167"/>
                </a:cubicBezTo>
                <a:cubicBezTo>
                  <a:pt x="563" y="166"/>
                  <a:pt x="563" y="166"/>
                  <a:pt x="563" y="166"/>
                </a:cubicBezTo>
                <a:cubicBezTo>
                  <a:pt x="563" y="166"/>
                  <a:pt x="563" y="166"/>
                  <a:pt x="562" y="167"/>
                </a:cubicBezTo>
                <a:cubicBezTo>
                  <a:pt x="563" y="166"/>
                  <a:pt x="562" y="166"/>
                  <a:pt x="562" y="165"/>
                </a:cubicBezTo>
                <a:cubicBezTo>
                  <a:pt x="562" y="165"/>
                  <a:pt x="561" y="166"/>
                  <a:pt x="561" y="166"/>
                </a:cubicBezTo>
                <a:cubicBezTo>
                  <a:pt x="561" y="166"/>
                  <a:pt x="561" y="166"/>
                  <a:pt x="562" y="166"/>
                </a:cubicBezTo>
                <a:cubicBezTo>
                  <a:pt x="562" y="166"/>
                  <a:pt x="561" y="167"/>
                  <a:pt x="560" y="167"/>
                </a:cubicBezTo>
                <a:cubicBezTo>
                  <a:pt x="561" y="167"/>
                  <a:pt x="561" y="167"/>
                  <a:pt x="561" y="166"/>
                </a:cubicBezTo>
                <a:cubicBezTo>
                  <a:pt x="561" y="166"/>
                  <a:pt x="560" y="167"/>
                  <a:pt x="560" y="167"/>
                </a:cubicBezTo>
                <a:cubicBezTo>
                  <a:pt x="560" y="167"/>
                  <a:pt x="560" y="166"/>
                  <a:pt x="560" y="166"/>
                </a:cubicBezTo>
                <a:cubicBezTo>
                  <a:pt x="560" y="166"/>
                  <a:pt x="560" y="166"/>
                  <a:pt x="560" y="166"/>
                </a:cubicBezTo>
                <a:cubicBezTo>
                  <a:pt x="559" y="166"/>
                  <a:pt x="559" y="166"/>
                  <a:pt x="559" y="167"/>
                </a:cubicBezTo>
                <a:cubicBezTo>
                  <a:pt x="559" y="167"/>
                  <a:pt x="558" y="167"/>
                  <a:pt x="558" y="167"/>
                </a:cubicBezTo>
                <a:cubicBezTo>
                  <a:pt x="558" y="166"/>
                  <a:pt x="559" y="166"/>
                  <a:pt x="558" y="166"/>
                </a:cubicBezTo>
                <a:cubicBezTo>
                  <a:pt x="559" y="166"/>
                  <a:pt x="559" y="166"/>
                  <a:pt x="559" y="165"/>
                </a:cubicBezTo>
                <a:cubicBezTo>
                  <a:pt x="560" y="165"/>
                  <a:pt x="560" y="165"/>
                  <a:pt x="561" y="164"/>
                </a:cubicBezTo>
                <a:cubicBezTo>
                  <a:pt x="561" y="165"/>
                  <a:pt x="560" y="165"/>
                  <a:pt x="560" y="164"/>
                </a:cubicBezTo>
                <a:cubicBezTo>
                  <a:pt x="560" y="164"/>
                  <a:pt x="560" y="164"/>
                  <a:pt x="560" y="165"/>
                </a:cubicBezTo>
                <a:cubicBezTo>
                  <a:pt x="560" y="165"/>
                  <a:pt x="559" y="165"/>
                  <a:pt x="559" y="165"/>
                </a:cubicBezTo>
                <a:cubicBezTo>
                  <a:pt x="558" y="165"/>
                  <a:pt x="558" y="165"/>
                  <a:pt x="558" y="166"/>
                </a:cubicBezTo>
                <a:cubicBezTo>
                  <a:pt x="558" y="166"/>
                  <a:pt x="557" y="166"/>
                  <a:pt x="557" y="166"/>
                </a:cubicBezTo>
                <a:cubicBezTo>
                  <a:pt x="557" y="166"/>
                  <a:pt x="558" y="165"/>
                  <a:pt x="558" y="165"/>
                </a:cubicBezTo>
                <a:cubicBezTo>
                  <a:pt x="558" y="165"/>
                  <a:pt x="557" y="165"/>
                  <a:pt x="557" y="165"/>
                </a:cubicBezTo>
                <a:cubicBezTo>
                  <a:pt x="557" y="165"/>
                  <a:pt x="558" y="164"/>
                  <a:pt x="558" y="163"/>
                </a:cubicBezTo>
                <a:cubicBezTo>
                  <a:pt x="558" y="163"/>
                  <a:pt x="558" y="163"/>
                  <a:pt x="558" y="163"/>
                </a:cubicBezTo>
                <a:cubicBezTo>
                  <a:pt x="558" y="163"/>
                  <a:pt x="558" y="163"/>
                  <a:pt x="558" y="163"/>
                </a:cubicBezTo>
                <a:cubicBezTo>
                  <a:pt x="557" y="163"/>
                  <a:pt x="558" y="164"/>
                  <a:pt x="557" y="164"/>
                </a:cubicBezTo>
                <a:cubicBezTo>
                  <a:pt x="557" y="164"/>
                  <a:pt x="557" y="164"/>
                  <a:pt x="557" y="164"/>
                </a:cubicBezTo>
                <a:cubicBezTo>
                  <a:pt x="557" y="163"/>
                  <a:pt x="556" y="164"/>
                  <a:pt x="556" y="163"/>
                </a:cubicBezTo>
                <a:cubicBezTo>
                  <a:pt x="555" y="163"/>
                  <a:pt x="556" y="163"/>
                  <a:pt x="556" y="163"/>
                </a:cubicBezTo>
                <a:cubicBezTo>
                  <a:pt x="557" y="162"/>
                  <a:pt x="556" y="162"/>
                  <a:pt x="556" y="162"/>
                </a:cubicBezTo>
                <a:cubicBezTo>
                  <a:pt x="556" y="162"/>
                  <a:pt x="556" y="161"/>
                  <a:pt x="556" y="161"/>
                </a:cubicBezTo>
                <a:cubicBezTo>
                  <a:pt x="556" y="161"/>
                  <a:pt x="556" y="161"/>
                  <a:pt x="556" y="161"/>
                </a:cubicBezTo>
                <a:cubicBezTo>
                  <a:pt x="556" y="161"/>
                  <a:pt x="556" y="161"/>
                  <a:pt x="556" y="161"/>
                </a:cubicBezTo>
                <a:cubicBezTo>
                  <a:pt x="556" y="161"/>
                  <a:pt x="555" y="161"/>
                  <a:pt x="555" y="160"/>
                </a:cubicBezTo>
                <a:cubicBezTo>
                  <a:pt x="555" y="160"/>
                  <a:pt x="555" y="161"/>
                  <a:pt x="555" y="161"/>
                </a:cubicBezTo>
                <a:cubicBezTo>
                  <a:pt x="555" y="161"/>
                  <a:pt x="554" y="161"/>
                  <a:pt x="554" y="161"/>
                </a:cubicBezTo>
                <a:cubicBezTo>
                  <a:pt x="554" y="160"/>
                  <a:pt x="554" y="160"/>
                  <a:pt x="555" y="160"/>
                </a:cubicBezTo>
                <a:cubicBezTo>
                  <a:pt x="555" y="160"/>
                  <a:pt x="556" y="160"/>
                  <a:pt x="555" y="160"/>
                </a:cubicBezTo>
                <a:cubicBezTo>
                  <a:pt x="555" y="160"/>
                  <a:pt x="554" y="160"/>
                  <a:pt x="554" y="160"/>
                </a:cubicBezTo>
                <a:cubicBezTo>
                  <a:pt x="554" y="159"/>
                  <a:pt x="555" y="159"/>
                  <a:pt x="556" y="159"/>
                </a:cubicBezTo>
                <a:cubicBezTo>
                  <a:pt x="555" y="159"/>
                  <a:pt x="555" y="159"/>
                  <a:pt x="555" y="159"/>
                </a:cubicBezTo>
                <a:cubicBezTo>
                  <a:pt x="555" y="159"/>
                  <a:pt x="557" y="158"/>
                  <a:pt x="558" y="158"/>
                </a:cubicBezTo>
                <a:cubicBezTo>
                  <a:pt x="557" y="158"/>
                  <a:pt x="556" y="158"/>
                  <a:pt x="557" y="158"/>
                </a:cubicBezTo>
                <a:cubicBezTo>
                  <a:pt x="557" y="157"/>
                  <a:pt x="557" y="157"/>
                  <a:pt x="557" y="157"/>
                </a:cubicBezTo>
                <a:cubicBezTo>
                  <a:pt x="556" y="158"/>
                  <a:pt x="556" y="159"/>
                  <a:pt x="555" y="159"/>
                </a:cubicBezTo>
                <a:cubicBezTo>
                  <a:pt x="555" y="158"/>
                  <a:pt x="555" y="158"/>
                  <a:pt x="555" y="158"/>
                </a:cubicBezTo>
                <a:cubicBezTo>
                  <a:pt x="555" y="158"/>
                  <a:pt x="555" y="158"/>
                  <a:pt x="556" y="158"/>
                </a:cubicBezTo>
                <a:cubicBezTo>
                  <a:pt x="555" y="158"/>
                  <a:pt x="555" y="158"/>
                  <a:pt x="556" y="158"/>
                </a:cubicBezTo>
                <a:cubicBezTo>
                  <a:pt x="555" y="157"/>
                  <a:pt x="555" y="158"/>
                  <a:pt x="555" y="158"/>
                </a:cubicBezTo>
                <a:cubicBezTo>
                  <a:pt x="555" y="158"/>
                  <a:pt x="555" y="157"/>
                  <a:pt x="554" y="157"/>
                </a:cubicBezTo>
                <a:cubicBezTo>
                  <a:pt x="554" y="157"/>
                  <a:pt x="554" y="158"/>
                  <a:pt x="554" y="158"/>
                </a:cubicBezTo>
                <a:cubicBezTo>
                  <a:pt x="554" y="158"/>
                  <a:pt x="553" y="158"/>
                  <a:pt x="553" y="158"/>
                </a:cubicBezTo>
                <a:cubicBezTo>
                  <a:pt x="552" y="158"/>
                  <a:pt x="553" y="158"/>
                  <a:pt x="552" y="158"/>
                </a:cubicBezTo>
                <a:cubicBezTo>
                  <a:pt x="552" y="157"/>
                  <a:pt x="552" y="159"/>
                  <a:pt x="552" y="159"/>
                </a:cubicBezTo>
                <a:cubicBezTo>
                  <a:pt x="552" y="159"/>
                  <a:pt x="552" y="159"/>
                  <a:pt x="552" y="159"/>
                </a:cubicBezTo>
                <a:cubicBezTo>
                  <a:pt x="552" y="159"/>
                  <a:pt x="551" y="159"/>
                  <a:pt x="551" y="159"/>
                </a:cubicBezTo>
                <a:cubicBezTo>
                  <a:pt x="551" y="159"/>
                  <a:pt x="550" y="160"/>
                  <a:pt x="550" y="160"/>
                </a:cubicBezTo>
                <a:cubicBezTo>
                  <a:pt x="550" y="160"/>
                  <a:pt x="549" y="160"/>
                  <a:pt x="549" y="160"/>
                </a:cubicBezTo>
                <a:cubicBezTo>
                  <a:pt x="549" y="160"/>
                  <a:pt x="550" y="160"/>
                  <a:pt x="549" y="159"/>
                </a:cubicBezTo>
                <a:cubicBezTo>
                  <a:pt x="550" y="159"/>
                  <a:pt x="550" y="160"/>
                  <a:pt x="550" y="159"/>
                </a:cubicBezTo>
                <a:cubicBezTo>
                  <a:pt x="550" y="158"/>
                  <a:pt x="551" y="159"/>
                  <a:pt x="551" y="158"/>
                </a:cubicBezTo>
                <a:cubicBezTo>
                  <a:pt x="551" y="158"/>
                  <a:pt x="550" y="158"/>
                  <a:pt x="550" y="158"/>
                </a:cubicBezTo>
                <a:cubicBezTo>
                  <a:pt x="550" y="158"/>
                  <a:pt x="551" y="158"/>
                  <a:pt x="551" y="158"/>
                </a:cubicBezTo>
                <a:cubicBezTo>
                  <a:pt x="552" y="158"/>
                  <a:pt x="551" y="158"/>
                  <a:pt x="551" y="157"/>
                </a:cubicBezTo>
                <a:cubicBezTo>
                  <a:pt x="551" y="157"/>
                  <a:pt x="551" y="157"/>
                  <a:pt x="552" y="157"/>
                </a:cubicBezTo>
                <a:cubicBezTo>
                  <a:pt x="552" y="156"/>
                  <a:pt x="551" y="156"/>
                  <a:pt x="551" y="157"/>
                </a:cubicBezTo>
                <a:cubicBezTo>
                  <a:pt x="551" y="157"/>
                  <a:pt x="551" y="157"/>
                  <a:pt x="551" y="157"/>
                </a:cubicBezTo>
                <a:cubicBezTo>
                  <a:pt x="550" y="157"/>
                  <a:pt x="550" y="157"/>
                  <a:pt x="550" y="158"/>
                </a:cubicBezTo>
                <a:cubicBezTo>
                  <a:pt x="550" y="158"/>
                  <a:pt x="550" y="158"/>
                  <a:pt x="549" y="158"/>
                </a:cubicBezTo>
                <a:cubicBezTo>
                  <a:pt x="549" y="157"/>
                  <a:pt x="550" y="157"/>
                  <a:pt x="550" y="157"/>
                </a:cubicBezTo>
                <a:cubicBezTo>
                  <a:pt x="550" y="157"/>
                  <a:pt x="549" y="157"/>
                  <a:pt x="549" y="157"/>
                </a:cubicBezTo>
                <a:cubicBezTo>
                  <a:pt x="549" y="158"/>
                  <a:pt x="549" y="157"/>
                  <a:pt x="549" y="157"/>
                </a:cubicBezTo>
                <a:cubicBezTo>
                  <a:pt x="549" y="157"/>
                  <a:pt x="549" y="158"/>
                  <a:pt x="549" y="158"/>
                </a:cubicBezTo>
                <a:cubicBezTo>
                  <a:pt x="548" y="158"/>
                  <a:pt x="548" y="158"/>
                  <a:pt x="548" y="158"/>
                </a:cubicBezTo>
                <a:cubicBezTo>
                  <a:pt x="548" y="158"/>
                  <a:pt x="547" y="157"/>
                  <a:pt x="547" y="156"/>
                </a:cubicBezTo>
                <a:cubicBezTo>
                  <a:pt x="547" y="156"/>
                  <a:pt x="549" y="156"/>
                  <a:pt x="549" y="155"/>
                </a:cubicBezTo>
                <a:cubicBezTo>
                  <a:pt x="549" y="155"/>
                  <a:pt x="549" y="155"/>
                  <a:pt x="549" y="155"/>
                </a:cubicBezTo>
                <a:cubicBezTo>
                  <a:pt x="549" y="155"/>
                  <a:pt x="549" y="155"/>
                  <a:pt x="549" y="155"/>
                </a:cubicBezTo>
                <a:cubicBezTo>
                  <a:pt x="549" y="154"/>
                  <a:pt x="548" y="155"/>
                  <a:pt x="548" y="155"/>
                </a:cubicBezTo>
                <a:cubicBezTo>
                  <a:pt x="548" y="155"/>
                  <a:pt x="548" y="156"/>
                  <a:pt x="547" y="156"/>
                </a:cubicBezTo>
                <a:cubicBezTo>
                  <a:pt x="547" y="156"/>
                  <a:pt x="547" y="156"/>
                  <a:pt x="547" y="156"/>
                </a:cubicBezTo>
                <a:cubicBezTo>
                  <a:pt x="546" y="156"/>
                  <a:pt x="547" y="156"/>
                  <a:pt x="546" y="156"/>
                </a:cubicBezTo>
                <a:cubicBezTo>
                  <a:pt x="546" y="156"/>
                  <a:pt x="545" y="156"/>
                  <a:pt x="545" y="156"/>
                </a:cubicBezTo>
                <a:cubicBezTo>
                  <a:pt x="546" y="156"/>
                  <a:pt x="546" y="157"/>
                  <a:pt x="547" y="157"/>
                </a:cubicBezTo>
                <a:cubicBezTo>
                  <a:pt x="547" y="157"/>
                  <a:pt x="548" y="158"/>
                  <a:pt x="547" y="158"/>
                </a:cubicBezTo>
                <a:cubicBezTo>
                  <a:pt x="547" y="158"/>
                  <a:pt x="546" y="158"/>
                  <a:pt x="546" y="158"/>
                </a:cubicBezTo>
                <a:cubicBezTo>
                  <a:pt x="546" y="158"/>
                  <a:pt x="547" y="158"/>
                  <a:pt x="547" y="159"/>
                </a:cubicBezTo>
                <a:cubicBezTo>
                  <a:pt x="547" y="159"/>
                  <a:pt x="545" y="159"/>
                  <a:pt x="547" y="159"/>
                </a:cubicBezTo>
                <a:cubicBezTo>
                  <a:pt x="546" y="159"/>
                  <a:pt x="545" y="160"/>
                  <a:pt x="545" y="160"/>
                </a:cubicBezTo>
                <a:cubicBezTo>
                  <a:pt x="544" y="160"/>
                  <a:pt x="545" y="159"/>
                  <a:pt x="544" y="160"/>
                </a:cubicBezTo>
                <a:cubicBezTo>
                  <a:pt x="544" y="160"/>
                  <a:pt x="544" y="160"/>
                  <a:pt x="543" y="159"/>
                </a:cubicBezTo>
                <a:cubicBezTo>
                  <a:pt x="543" y="159"/>
                  <a:pt x="543" y="160"/>
                  <a:pt x="543" y="159"/>
                </a:cubicBezTo>
                <a:cubicBezTo>
                  <a:pt x="543" y="159"/>
                  <a:pt x="542" y="159"/>
                  <a:pt x="542" y="159"/>
                </a:cubicBezTo>
                <a:cubicBezTo>
                  <a:pt x="542" y="159"/>
                  <a:pt x="542" y="160"/>
                  <a:pt x="541" y="159"/>
                </a:cubicBezTo>
                <a:cubicBezTo>
                  <a:pt x="541" y="159"/>
                  <a:pt x="541" y="159"/>
                  <a:pt x="540" y="158"/>
                </a:cubicBezTo>
                <a:cubicBezTo>
                  <a:pt x="540" y="158"/>
                  <a:pt x="540" y="158"/>
                  <a:pt x="540" y="158"/>
                </a:cubicBezTo>
                <a:cubicBezTo>
                  <a:pt x="539" y="158"/>
                  <a:pt x="539" y="158"/>
                  <a:pt x="539" y="158"/>
                </a:cubicBezTo>
                <a:cubicBezTo>
                  <a:pt x="538" y="158"/>
                  <a:pt x="538" y="158"/>
                  <a:pt x="538" y="158"/>
                </a:cubicBezTo>
                <a:cubicBezTo>
                  <a:pt x="538" y="158"/>
                  <a:pt x="538" y="158"/>
                  <a:pt x="538" y="158"/>
                </a:cubicBezTo>
                <a:cubicBezTo>
                  <a:pt x="538" y="158"/>
                  <a:pt x="538" y="158"/>
                  <a:pt x="538" y="158"/>
                </a:cubicBezTo>
                <a:cubicBezTo>
                  <a:pt x="537" y="158"/>
                  <a:pt x="538" y="159"/>
                  <a:pt x="538" y="159"/>
                </a:cubicBezTo>
                <a:cubicBezTo>
                  <a:pt x="538" y="159"/>
                  <a:pt x="537" y="159"/>
                  <a:pt x="538" y="159"/>
                </a:cubicBezTo>
                <a:cubicBezTo>
                  <a:pt x="537" y="159"/>
                  <a:pt x="537" y="159"/>
                  <a:pt x="536" y="159"/>
                </a:cubicBezTo>
                <a:cubicBezTo>
                  <a:pt x="537" y="159"/>
                  <a:pt x="537" y="160"/>
                  <a:pt x="537" y="160"/>
                </a:cubicBezTo>
                <a:cubicBezTo>
                  <a:pt x="537" y="160"/>
                  <a:pt x="536" y="160"/>
                  <a:pt x="536" y="160"/>
                </a:cubicBezTo>
                <a:cubicBezTo>
                  <a:pt x="536" y="159"/>
                  <a:pt x="535" y="160"/>
                  <a:pt x="534" y="160"/>
                </a:cubicBezTo>
                <a:cubicBezTo>
                  <a:pt x="534" y="160"/>
                  <a:pt x="532" y="160"/>
                  <a:pt x="532" y="160"/>
                </a:cubicBezTo>
                <a:cubicBezTo>
                  <a:pt x="532" y="161"/>
                  <a:pt x="533" y="160"/>
                  <a:pt x="533" y="161"/>
                </a:cubicBezTo>
                <a:cubicBezTo>
                  <a:pt x="533" y="161"/>
                  <a:pt x="532" y="161"/>
                  <a:pt x="532" y="161"/>
                </a:cubicBezTo>
                <a:cubicBezTo>
                  <a:pt x="532" y="161"/>
                  <a:pt x="531" y="160"/>
                  <a:pt x="531" y="161"/>
                </a:cubicBezTo>
                <a:cubicBezTo>
                  <a:pt x="532" y="160"/>
                  <a:pt x="531" y="161"/>
                  <a:pt x="531" y="161"/>
                </a:cubicBezTo>
                <a:cubicBezTo>
                  <a:pt x="531" y="161"/>
                  <a:pt x="531" y="161"/>
                  <a:pt x="530" y="161"/>
                </a:cubicBezTo>
                <a:cubicBezTo>
                  <a:pt x="530" y="161"/>
                  <a:pt x="530" y="161"/>
                  <a:pt x="529" y="161"/>
                </a:cubicBezTo>
                <a:cubicBezTo>
                  <a:pt x="529" y="160"/>
                  <a:pt x="529" y="161"/>
                  <a:pt x="529" y="161"/>
                </a:cubicBezTo>
                <a:cubicBezTo>
                  <a:pt x="529" y="162"/>
                  <a:pt x="528" y="162"/>
                  <a:pt x="528" y="162"/>
                </a:cubicBezTo>
                <a:cubicBezTo>
                  <a:pt x="528" y="161"/>
                  <a:pt x="527" y="161"/>
                  <a:pt x="526" y="161"/>
                </a:cubicBezTo>
                <a:cubicBezTo>
                  <a:pt x="526" y="161"/>
                  <a:pt x="525" y="161"/>
                  <a:pt x="524" y="161"/>
                </a:cubicBezTo>
                <a:cubicBezTo>
                  <a:pt x="524" y="161"/>
                  <a:pt x="524" y="161"/>
                  <a:pt x="524" y="161"/>
                </a:cubicBezTo>
                <a:cubicBezTo>
                  <a:pt x="524" y="161"/>
                  <a:pt x="524" y="161"/>
                  <a:pt x="524" y="160"/>
                </a:cubicBezTo>
                <a:cubicBezTo>
                  <a:pt x="524" y="160"/>
                  <a:pt x="523" y="161"/>
                  <a:pt x="523" y="160"/>
                </a:cubicBezTo>
                <a:cubicBezTo>
                  <a:pt x="523" y="160"/>
                  <a:pt x="524" y="160"/>
                  <a:pt x="524" y="160"/>
                </a:cubicBezTo>
                <a:cubicBezTo>
                  <a:pt x="524" y="160"/>
                  <a:pt x="523" y="160"/>
                  <a:pt x="523" y="160"/>
                </a:cubicBezTo>
                <a:cubicBezTo>
                  <a:pt x="523" y="160"/>
                  <a:pt x="523" y="161"/>
                  <a:pt x="522" y="160"/>
                </a:cubicBezTo>
                <a:cubicBezTo>
                  <a:pt x="522" y="160"/>
                  <a:pt x="521" y="160"/>
                  <a:pt x="521" y="160"/>
                </a:cubicBezTo>
                <a:cubicBezTo>
                  <a:pt x="521" y="160"/>
                  <a:pt x="522" y="159"/>
                  <a:pt x="522" y="159"/>
                </a:cubicBezTo>
                <a:cubicBezTo>
                  <a:pt x="521" y="159"/>
                  <a:pt x="521" y="160"/>
                  <a:pt x="521" y="160"/>
                </a:cubicBezTo>
                <a:cubicBezTo>
                  <a:pt x="520" y="159"/>
                  <a:pt x="521" y="159"/>
                  <a:pt x="521" y="159"/>
                </a:cubicBezTo>
                <a:cubicBezTo>
                  <a:pt x="521" y="159"/>
                  <a:pt x="520" y="159"/>
                  <a:pt x="521" y="158"/>
                </a:cubicBezTo>
                <a:cubicBezTo>
                  <a:pt x="521" y="158"/>
                  <a:pt x="520" y="158"/>
                  <a:pt x="520" y="158"/>
                </a:cubicBezTo>
                <a:cubicBezTo>
                  <a:pt x="520" y="158"/>
                  <a:pt x="521" y="158"/>
                  <a:pt x="521" y="158"/>
                </a:cubicBezTo>
                <a:cubicBezTo>
                  <a:pt x="521" y="157"/>
                  <a:pt x="521" y="157"/>
                  <a:pt x="521" y="157"/>
                </a:cubicBezTo>
                <a:cubicBezTo>
                  <a:pt x="521" y="157"/>
                  <a:pt x="521" y="157"/>
                  <a:pt x="520" y="157"/>
                </a:cubicBezTo>
                <a:cubicBezTo>
                  <a:pt x="521" y="157"/>
                  <a:pt x="521" y="157"/>
                  <a:pt x="521" y="157"/>
                </a:cubicBezTo>
                <a:cubicBezTo>
                  <a:pt x="522" y="156"/>
                  <a:pt x="523" y="156"/>
                  <a:pt x="523" y="155"/>
                </a:cubicBezTo>
                <a:cubicBezTo>
                  <a:pt x="523" y="154"/>
                  <a:pt x="524" y="154"/>
                  <a:pt x="525" y="154"/>
                </a:cubicBezTo>
                <a:cubicBezTo>
                  <a:pt x="526" y="153"/>
                  <a:pt x="528" y="153"/>
                  <a:pt x="530" y="152"/>
                </a:cubicBezTo>
                <a:cubicBezTo>
                  <a:pt x="530" y="152"/>
                  <a:pt x="531" y="152"/>
                  <a:pt x="531" y="152"/>
                </a:cubicBezTo>
                <a:cubicBezTo>
                  <a:pt x="531" y="151"/>
                  <a:pt x="530" y="150"/>
                  <a:pt x="531" y="150"/>
                </a:cubicBezTo>
                <a:cubicBezTo>
                  <a:pt x="532" y="150"/>
                  <a:pt x="533" y="151"/>
                  <a:pt x="532" y="150"/>
                </a:cubicBezTo>
                <a:cubicBezTo>
                  <a:pt x="531" y="149"/>
                  <a:pt x="533" y="149"/>
                  <a:pt x="533" y="149"/>
                </a:cubicBezTo>
                <a:cubicBezTo>
                  <a:pt x="533" y="150"/>
                  <a:pt x="533" y="149"/>
                  <a:pt x="534" y="150"/>
                </a:cubicBezTo>
                <a:cubicBezTo>
                  <a:pt x="534" y="150"/>
                  <a:pt x="534" y="150"/>
                  <a:pt x="535" y="150"/>
                </a:cubicBezTo>
                <a:cubicBezTo>
                  <a:pt x="535" y="150"/>
                  <a:pt x="535" y="150"/>
                  <a:pt x="536" y="150"/>
                </a:cubicBezTo>
                <a:cubicBezTo>
                  <a:pt x="536" y="150"/>
                  <a:pt x="536" y="150"/>
                  <a:pt x="537" y="150"/>
                </a:cubicBezTo>
                <a:cubicBezTo>
                  <a:pt x="538" y="150"/>
                  <a:pt x="538" y="150"/>
                  <a:pt x="539" y="151"/>
                </a:cubicBezTo>
                <a:cubicBezTo>
                  <a:pt x="540" y="151"/>
                  <a:pt x="541" y="151"/>
                  <a:pt x="541" y="151"/>
                </a:cubicBezTo>
                <a:cubicBezTo>
                  <a:pt x="542" y="152"/>
                  <a:pt x="542" y="151"/>
                  <a:pt x="542" y="152"/>
                </a:cubicBezTo>
                <a:cubicBezTo>
                  <a:pt x="542" y="153"/>
                  <a:pt x="543" y="152"/>
                  <a:pt x="543" y="153"/>
                </a:cubicBezTo>
                <a:cubicBezTo>
                  <a:pt x="544" y="153"/>
                  <a:pt x="544" y="154"/>
                  <a:pt x="543" y="154"/>
                </a:cubicBezTo>
                <a:cubicBezTo>
                  <a:pt x="543" y="154"/>
                  <a:pt x="542" y="154"/>
                  <a:pt x="541" y="154"/>
                </a:cubicBezTo>
                <a:cubicBezTo>
                  <a:pt x="541" y="154"/>
                  <a:pt x="541" y="155"/>
                  <a:pt x="541" y="155"/>
                </a:cubicBezTo>
                <a:cubicBezTo>
                  <a:pt x="541" y="155"/>
                  <a:pt x="542" y="155"/>
                  <a:pt x="542" y="155"/>
                </a:cubicBezTo>
                <a:cubicBezTo>
                  <a:pt x="542" y="156"/>
                  <a:pt x="541" y="156"/>
                  <a:pt x="541" y="156"/>
                </a:cubicBezTo>
                <a:cubicBezTo>
                  <a:pt x="541" y="156"/>
                  <a:pt x="542" y="156"/>
                  <a:pt x="542" y="156"/>
                </a:cubicBezTo>
                <a:cubicBezTo>
                  <a:pt x="542" y="157"/>
                  <a:pt x="543" y="157"/>
                  <a:pt x="543" y="156"/>
                </a:cubicBezTo>
                <a:cubicBezTo>
                  <a:pt x="542" y="155"/>
                  <a:pt x="543" y="155"/>
                  <a:pt x="543" y="155"/>
                </a:cubicBezTo>
                <a:cubicBezTo>
                  <a:pt x="543" y="155"/>
                  <a:pt x="543" y="155"/>
                  <a:pt x="543" y="155"/>
                </a:cubicBezTo>
                <a:cubicBezTo>
                  <a:pt x="542" y="155"/>
                  <a:pt x="542" y="155"/>
                  <a:pt x="542" y="155"/>
                </a:cubicBezTo>
                <a:cubicBezTo>
                  <a:pt x="542" y="155"/>
                  <a:pt x="543" y="154"/>
                  <a:pt x="544" y="154"/>
                </a:cubicBezTo>
                <a:cubicBezTo>
                  <a:pt x="544" y="154"/>
                  <a:pt x="546" y="153"/>
                  <a:pt x="546" y="153"/>
                </a:cubicBezTo>
                <a:cubicBezTo>
                  <a:pt x="546" y="153"/>
                  <a:pt x="544" y="154"/>
                  <a:pt x="544" y="154"/>
                </a:cubicBezTo>
                <a:cubicBezTo>
                  <a:pt x="544" y="154"/>
                  <a:pt x="544" y="153"/>
                  <a:pt x="544" y="153"/>
                </a:cubicBezTo>
                <a:cubicBezTo>
                  <a:pt x="544" y="152"/>
                  <a:pt x="543" y="152"/>
                  <a:pt x="543" y="152"/>
                </a:cubicBezTo>
                <a:cubicBezTo>
                  <a:pt x="543" y="152"/>
                  <a:pt x="542" y="151"/>
                  <a:pt x="542" y="151"/>
                </a:cubicBezTo>
                <a:cubicBezTo>
                  <a:pt x="541" y="151"/>
                  <a:pt x="542" y="151"/>
                  <a:pt x="542" y="151"/>
                </a:cubicBezTo>
                <a:cubicBezTo>
                  <a:pt x="543" y="151"/>
                  <a:pt x="544" y="151"/>
                  <a:pt x="544" y="151"/>
                </a:cubicBezTo>
                <a:cubicBezTo>
                  <a:pt x="544" y="151"/>
                  <a:pt x="544" y="151"/>
                  <a:pt x="544" y="151"/>
                </a:cubicBezTo>
                <a:cubicBezTo>
                  <a:pt x="544" y="151"/>
                  <a:pt x="545" y="151"/>
                  <a:pt x="545" y="151"/>
                </a:cubicBezTo>
                <a:cubicBezTo>
                  <a:pt x="546" y="151"/>
                  <a:pt x="547" y="151"/>
                  <a:pt x="547" y="151"/>
                </a:cubicBezTo>
                <a:cubicBezTo>
                  <a:pt x="548" y="151"/>
                  <a:pt x="548" y="150"/>
                  <a:pt x="549" y="150"/>
                </a:cubicBezTo>
                <a:cubicBezTo>
                  <a:pt x="549" y="150"/>
                  <a:pt x="550" y="150"/>
                  <a:pt x="551" y="150"/>
                </a:cubicBezTo>
                <a:cubicBezTo>
                  <a:pt x="551" y="150"/>
                  <a:pt x="551" y="150"/>
                  <a:pt x="551" y="150"/>
                </a:cubicBezTo>
                <a:cubicBezTo>
                  <a:pt x="552" y="150"/>
                  <a:pt x="552" y="150"/>
                  <a:pt x="551" y="150"/>
                </a:cubicBezTo>
                <a:cubicBezTo>
                  <a:pt x="552" y="150"/>
                  <a:pt x="551" y="150"/>
                  <a:pt x="552" y="151"/>
                </a:cubicBezTo>
                <a:cubicBezTo>
                  <a:pt x="552" y="151"/>
                  <a:pt x="552" y="151"/>
                  <a:pt x="553" y="150"/>
                </a:cubicBezTo>
                <a:cubicBezTo>
                  <a:pt x="553" y="150"/>
                  <a:pt x="553" y="150"/>
                  <a:pt x="554" y="150"/>
                </a:cubicBezTo>
                <a:cubicBezTo>
                  <a:pt x="554" y="150"/>
                  <a:pt x="555" y="149"/>
                  <a:pt x="555" y="149"/>
                </a:cubicBezTo>
                <a:cubicBezTo>
                  <a:pt x="556" y="149"/>
                  <a:pt x="557" y="149"/>
                  <a:pt x="557" y="149"/>
                </a:cubicBezTo>
                <a:cubicBezTo>
                  <a:pt x="557" y="149"/>
                  <a:pt x="557" y="149"/>
                  <a:pt x="558" y="149"/>
                </a:cubicBezTo>
                <a:cubicBezTo>
                  <a:pt x="558" y="149"/>
                  <a:pt x="559" y="149"/>
                  <a:pt x="559" y="149"/>
                </a:cubicBezTo>
                <a:cubicBezTo>
                  <a:pt x="559" y="149"/>
                  <a:pt x="561" y="150"/>
                  <a:pt x="561" y="149"/>
                </a:cubicBezTo>
                <a:cubicBezTo>
                  <a:pt x="561" y="148"/>
                  <a:pt x="561" y="148"/>
                  <a:pt x="561" y="148"/>
                </a:cubicBezTo>
                <a:cubicBezTo>
                  <a:pt x="561" y="148"/>
                  <a:pt x="561" y="148"/>
                  <a:pt x="561" y="148"/>
                </a:cubicBezTo>
                <a:cubicBezTo>
                  <a:pt x="560" y="147"/>
                  <a:pt x="561" y="147"/>
                  <a:pt x="561" y="146"/>
                </a:cubicBezTo>
                <a:cubicBezTo>
                  <a:pt x="561" y="146"/>
                  <a:pt x="560" y="146"/>
                  <a:pt x="560" y="146"/>
                </a:cubicBezTo>
                <a:cubicBezTo>
                  <a:pt x="559" y="146"/>
                  <a:pt x="559" y="145"/>
                  <a:pt x="559" y="145"/>
                </a:cubicBezTo>
                <a:cubicBezTo>
                  <a:pt x="559" y="144"/>
                  <a:pt x="558" y="144"/>
                  <a:pt x="558" y="143"/>
                </a:cubicBezTo>
                <a:cubicBezTo>
                  <a:pt x="558" y="142"/>
                  <a:pt x="559" y="142"/>
                  <a:pt x="560" y="142"/>
                </a:cubicBezTo>
                <a:cubicBezTo>
                  <a:pt x="561" y="141"/>
                  <a:pt x="562" y="141"/>
                  <a:pt x="563" y="141"/>
                </a:cubicBezTo>
                <a:cubicBezTo>
                  <a:pt x="564" y="140"/>
                  <a:pt x="565" y="140"/>
                  <a:pt x="566" y="140"/>
                </a:cubicBezTo>
                <a:cubicBezTo>
                  <a:pt x="567" y="139"/>
                  <a:pt x="568" y="139"/>
                  <a:pt x="569" y="138"/>
                </a:cubicBezTo>
                <a:cubicBezTo>
                  <a:pt x="570" y="138"/>
                  <a:pt x="571" y="137"/>
                  <a:pt x="572" y="137"/>
                </a:cubicBezTo>
                <a:cubicBezTo>
                  <a:pt x="573" y="137"/>
                  <a:pt x="574" y="138"/>
                  <a:pt x="575" y="138"/>
                </a:cubicBezTo>
                <a:cubicBezTo>
                  <a:pt x="577" y="138"/>
                  <a:pt x="578" y="138"/>
                  <a:pt x="579" y="138"/>
                </a:cubicBezTo>
                <a:cubicBezTo>
                  <a:pt x="580" y="138"/>
                  <a:pt x="581" y="138"/>
                  <a:pt x="582" y="139"/>
                </a:cubicBezTo>
                <a:cubicBezTo>
                  <a:pt x="582" y="139"/>
                  <a:pt x="583" y="139"/>
                  <a:pt x="584" y="139"/>
                </a:cubicBezTo>
                <a:cubicBezTo>
                  <a:pt x="584" y="140"/>
                  <a:pt x="583" y="140"/>
                  <a:pt x="583" y="141"/>
                </a:cubicBezTo>
                <a:cubicBezTo>
                  <a:pt x="583" y="141"/>
                  <a:pt x="584" y="140"/>
                  <a:pt x="584" y="141"/>
                </a:cubicBezTo>
                <a:cubicBezTo>
                  <a:pt x="584" y="141"/>
                  <a:pt x="583" y="141"/>
                  <a:pt x="583" y="141"/>
                </a:cubicBezTo>
                <a:cubicBezTo>
                  <a:pt x="583" y="142"/>
                  <a:pt x="583" y="142"/>
                  <a:pt x="583" y="142"/>
                </a:cubicBezTo>
                <a:cubicBezTo>
                  <a:pt x="583" y="142"/>
                  <a:pt x="582" y="143"/>
                  <a:pt x="582" y="143"/>
                </a:cubicBezTo>
                <a:cubicBezTo>
                  <a:pt x="582" y="143"/>
                  <a:pt x="581" y="143"/>
                  <a:pt x="581" y="143"/>
                </a:cubicBezTo>
                <a:cubicBezTo>
                  <a:pt x="581" y="144"/>
                  <a:pt x="582" y="143"/>
                  <a:pt x="582" y="143"/>
                </a:cubicBezTo>
                <a:cubicBezTo>
                  <a:pt x="582" y="144"/>
                  <a:pt x="581" y="144"/>
                  <a:pt x="581" y="144"/>
                </a:cubicBezTo>
                <a:cubicBezTo>
                  <a:pt x="581" y="144"/>
                  <a:pt x="581" y="144"/>
                  <a:pt x="580" y="144"/>
                </a:cubicBezTo>
                <a:cubicBezTo>
                  <a:pt x="580" y="144"/>
                  <a:pt x="580" y="144"/>
                  <a:pt x="580" y="145"/>
                </a:cubicBezTo>
                <a:cubicBezTo>
                  <a:pt x="581" y="145"/>
                  <a:pt x="583" y="144"/>
                  <a:pt x="584" y="143"/>
                </a:cubicBezTo>
                <a:cubicBezTo>
                  <a:pt x="584" y="143"/>
                  <a:pt x="587" y="142"/>
                  <a:pt x="587" y="141"/>
                </a:cubicBezTo>
                <a:cubicBezTo>
                  <a:pt x="587" y="141"/>
                  <a:pt x="587" y="141"/>
                  <a:pt x="587" y="141"/>
                </a:cubicBezTo>
                <a:cubicBezTo>
                  <a:pt x="588" y="141"/>
                  <a:pt x="587" y="142"/>
                  <a:pt x="587" y="142"/>
                </a:cubicBezTo>
                <a:cubicBezTo>
                  <a:pt x="587" y="142"/>
                  <a:pt x="588" y="141"/>
                  <a:pt x="588" y="142"/>
                </a:cubicBezTo>
                <a:cubicBezTo>
                  <a:pt x="588" y="142"/>
                  <a:pt x="589" y="142"/>
                  <a:pt x="588" y="142"/>
                </a:cubicBezTo>
                <a:cubicBezTo>
                  <a:pt x="589" y="143"/>
                  <a:pt x="590" y="142"/>
                  <a:pt x="590" y="142"/>
                </a:cubicBezTo>
                <a:cubicBezTo>
                  <a:pt x="591" y="142"/>
                  <a:pt x="591" y="142"/>
                  <a:pt x="591" y="142"/>
                </a:cubicBezTo>
                <a:cubicBezTo>
                  <a:pt x="592" y="142"/>
                  <a:pt x="592" y="142"/>
                  <a:pt x="592" y="142"/>
                </a:cubicBezTo>
                <a:cubicBezTo>
                  <a:pt x="592" y="142"/>
                  <a:pt x="593" y="142"/>
                  <a:pt x="593" y="142"/>
                </a:cubicBezTo>
                <a:cubicBezTo>
                  <a:pt x="593" y="142"/>
                  <a:pt x="594" y="142"/>
                  <a:pt x="594" y="142"/>
                </a:cubicBezTo>
                <a:cubicBezTo>
                  <a:pt x="593" y="142"/>
                  <a:pt x="594" y="142"/>
                  <a:pt x="595" y="142"/>
                </a:cubicBezTo>
                <a:cubicBezTo>
                  <a:pt x="594" y="142"/>
                  <a:pt x="594" y="142"/>
                  <a:pt x="594" y="142"/>
                </a:cubicBezTo>
                <a:cubicBezTo>
                  <a:pt x="594" y="142"/>
                  <a:pt x="595" y="142"/>
                  <a:pt x="595" y="142"/>
                </a:cubicBezTo>
                <a:cubicBezTo>
                  <a:pt x="595" y="141"/>
                  <a:pt x="596" y="141"/>
                  <a:pt x="596" y="141"/>
                </a:cubicBezTo>
                <a:cubicBezTo>
                  <a:pt x="596" y="141"/>
                  <a:pt x="597" y="141"/>
                  <a:pt x="598" y="141"/>
                </a:cubicBezTo>
                <a:cubicBezTo>
                  <a:pt x="598" y="141"/>
                  <a:pt x="599" y="140"/>
                  <a:pt x="598" y="140"/>
                </a:cubicBezTo>
                <a:cubicBezTo>
                  <a:pt x="598" y="140"/>
                  <a:pt x="597" y="140"/>
                  <a:pt x="597" y="140"/>
                </a:cubicBezTo>
                <a:cubicBezTo>
                  <a:pt x="596" y="140"/>
                  <a:pt x="597" y="140"/>
                  <a:pt x="596" y="140"/>
                </a:cubicBezTo>
                <a:cubicBezTo>
                  <a:pt x="596" y="140"/>
                  <a:pt x="595" y="140"/>
                  <a:pt x="595" y="140"/>
                </a:cubicBezTo>
                <a:cubicBezTo>
                  <a:pt x="595" y="140"/>
                  <a:pt x="596" y="140"/>
                  <a:pt x="596" y="140"/>
                </a:cubicBezTo>
                <a:cubicBezTo>
                  <a:pt x="596" y="140"/>
                  <a:pt x="596" y="140"/>
                  <a:pt x="596" y="140"/>
                </a:cubicBezTo>
                <a:cubicBezTo>
                  <a:pt x="596" y="140"/>
                  <a:pt x="599" y="139"/>
                  <a:pt x="599" y="139"/>
                </a:cubicBezTo>
                <a:cubicBezTo>
                  <a:pt x="598" y="138"/>
                  <a:pt x="597" y="139"/>
                  <a:pt x="596" y="139"/>
                </a:cubicBezTo>
                <a:cubicBezTo>
                  <a:pt x="596" y="139"/>
                  <a:pt x="597" y="139"/>
                  <a:pt x="597" y="139"/>
                </a:cubicBezTo>
                <a:cubicBezTo>
                  <a:pt x="598" y="138"/>
                  <a:pt x="595" y="139"/>
                  <a:pt x="596" y="138"/>
                </a:cubicBezTo>
                <a:cubicBezTo>
                  <a:pt x="595" y="138"/>
                  <a:pt x="595" y="138"/>
                  <a:pt x="594" y="138"/>
                </a:cubicBezTo>
                <a:cubicBezTo>
                  <a:pt x="595" y="137"/>
                  <a:pt x="592" y="137"/>
                  <a:pt x="592" y="137"/>
                </a:cubicBezTo>
                <a:cubicBezTo>
                  <a:pt x="592" y="138"/>
                  <a:pt x="590" y="137"/>
                  <a:pt x="591" y="137"/>
                </a:cubicBezTo>
                <a:cubicBezTo>
                  <a:pt x="590" y="137"/>
                  <a:pt x="591" y="136"/>
                  <a:pt x="591" y="136"/>
                </a:cubicBezTo>
                <a:cubicBezTo>
                  <a:pt x="590" y="136"/>
                  <a:pt x="591" y="136"/>
                  <a:pt x="591" y="136"/>
                </a:cubicBezTo>
                <a:cubicBezTo>
                  <a:pt x="591" y="136"/>
                  <a:pt x="590" y="135"/>
                  <a:pt x="590" y="135"/>
                </a:cubicBezTo>
                <a:cubicBezTo>
                  <a:pt x="590" y="135"/>
                  <a:pt x="591" y="135"/>
                  <a:pt x="591" y="135"/>
                </a:cubicBezTo>
                <a:cubicBezTo>
                  <a:pt x="590" y="135"/>
                  <a:pt x="590" y="135"/>
                  <a:pt x="589" y="135"/>
                </a:cubicBezTo>
                <a:cubicBezTo>
                  <a:pt x="589" y="134"/>
                  <a:pt x="589" y="134"/>
                  <a:pt x="589" y="134"/>
                </a:cubicBezTo>
                <a:cubicBezTo>
                  <a:pt x="588" y="134"/>
                  <a:pt x="588" y="134"/>
                  <a:pt x="588" y="134"/>
                </a:cubicBezTo>
                <a:cubicBezTo>
                  <a:pt x="587" y="134"/>
                  <a:pt x="587" y="135"/>
                  <a:pt x="587" y="135"/>
                </a:cubicBezTo>
                <a:cubicBezTo>
                  <a:pt x="588" y="135"/>
                  <a:pt x="586" y="136"/>
                  <a:pt x="585" y="137"/>
                </a:cubicBezTo>
                <a:cubicBezTo>
                  <a:pt x="585" y="137"/>
                  <a:pt x="584" y="138"/>
                  <a:pt x="583" y="138"/>
                </a:cubicBezTo>
                <a:cubicBezTo>
                  <a:pt x="581" y="138"/>
                  <a:pt x="580" y="138"/>
                  <a:pt x="578" y="138"/>
                </a:cubicBezTo>
                <a:cubicBezTo>
                  <a:pt x="578" y="138"/>
                  <a:pt x="577" y="137"/>
                  <a:pt x="576" y="137"/>
                </a:cubicBezTo>
                <a:cubicBezTo>
                  <a:pt x="575" y="137"/>
                  <a:pt x="574" y="138"/>
                  <a:pt x="573" y="137"/>
                </a:cubicBezTo>
                <a:cubicBezTo>
                  <a:pt x="572" y="137"/>
                  <a:pt x="574" y="136"/>
                  <a:pt x="574" y="136"/>
                </a:cubicBezTo>
                <a:cubicBezTo>
                  <a:pt x="575" y="135"/>
                  <a:pt x="576" y="134"/>
                  <a:pt x="578" y="134"/>
                </a:cubicBezTo>
                <a:cubicBezTo>
                  <a:pt x="578" y="134"/>
                  <a:pt x="579" y="134"/>
                  <a:pt x="580" y="133"/>
                </a:cubicBezTo>
                <a:cubicBezTo>
                  <a:pt x="581" y="133"/>
                  <a:pt x="581" y="132"/>
                  <a:pt x="582" y="132"/>
                </a:cubicBezTo>
                <a:cubicBezTo>
                  <a:pt x="582" y="132"/>
                  <a:pt x="581" y="132"/>
                  <a:pt x="581" y="131"/>
                </a:cubicBezTo>
                <a:cubicBezTo>
                  <a:pt x="581" y="131"/>
                  <a:pt x="582" y="131"/>
                  <a:pt x="581" y="130"/>
                </a:cubicBezTo>
                <a:cubicBezTo>
                  <a:pt x="581" y="130"/>
                  <a:pt x="582" y="130"/>
                  <a:pt x="582" y="130"/>
                </a:cubicBezTo>
                <a:cubicBezTo>
                  <a:pt x="582" y="129"/>
                  <a:pt x="582" y="129"/>
                  <a:pt x="582" y="129"/>
                </a:cubicBezTo>
                <a:cubicBezTo>
                  <a:pt x="581" y="129"/>
                  <a:pt x="581" y="128"/>
                  <a:pt x="582" y="128"/>
                </a:cubicBezTo>
                <a:cubicBezTo>
                  <a:pt x="582" y="128"/>
                  <a:pt x="582" y="127"/>
                  <a:pt x="582" y="127"/>
                </a:cubicBezTo>
                <a:cubicBezTo>
                  <a:pt x="582" y="127"/>
                  <a:pt x="582" y="126"/>
                  <a:pt x="582" y="127"/>
                </a:cubicBezTo>
                <a:cubicBezTo>
                  <a:pt x="581" y="127"/>
                  <a:pt x="581" y="126"/>
                  <a:pt x="581" y="126"/>
                </a:cubicBezTo>
                <a:cubicBezTo>
                  <a:pt x="581" y="126"/>
                  <a:pt x="581" y="126"/>
                  <a:pt x="581" y="125"/>
                </a:cubicBezTo>
                <a:cubicBezTo>
                  <a:pt x="582" y="125"/>
                  <a:pt x="582" y="125"/>
                  <a:pt x="582" y="125"/>
                </a:cubicBezTo>
                <a:cubicBezTo>
                  <a:pt x="582" y="124"/>
                  <a:pt x="582" y="123"/>
                  <a:pt x="582" y="123"/>
                </a:cubicBezTo>
                <a:cubicBezTo>
                  <a:pt x="582" y="123"/>
                  <a:pt x="582" y="123"/>
                  <a:pt x="582" y="123"/>
                </a:cubicBezTo>
                <a:cubicBezTo>
                  <a:pt x="581" y="123"/>
                  <a:pt x="581" y="123"/>
                  <a:pt x="581" y="123"/>
                </a:cubicBezTo>
                <a:cubicBezTo>
                  <a:pt x="582" y="123"/>
                  <a:pt x="581" y="123"/>
                  <a:pt x="581" y="123"/>
                </a:cubicBezTo>
                <a:cubicBezTo>
                  <a:pt x="580" y="123"/>
                  <a:pt x="580" y="123"/>
                  <a:pt x="580" y="123"/>
                </a:cubicBezTo>
                <a:cubicBezTo>
                  <a:pt x="580" y="123"/>
                  <a:pt x="580" y="123"/>
                  <a:pt x="579" y="123"/>
                </a:cubicBezTo>
                <a:cubicBezTo>
                  <a:pt x="580" y="122"/>
                  <a:pt x="580" y="122"/>
                  <a:pt x="581" y="122"/>
                </a:cubicBezTo>
                <a:cubicBezTo>
                  <a:pt x="581" y="122"/>
                  <a:pt x="581" y="122"/>
                  <a:pt x="581" y="122"/>
                </a:cubicBezTo>
                <a:cubicBezTo>
                  <a:pt x="581" y="122"/>
                  <a:pt x="582" y="122"/>
                  <a:pt x="582" y="122"/>
                </a:cubicBezTo>
                <a:cubicBezTo>
                  <a:pt x="582" y="121"/>
                  <a:pt x="581" y="122"/>
                  <a:pt x="581" y="122"/>
                </a:cubicBezTo>
                <a:cubicBezTo>
                  <a:pt x="580" y="122"/>
                  <a:pt x="580" y="122"/>
                  <a:pt x="580" y="122"/>
                </a:cubicBezTo>
                <a:cubicBezTo>
                  <a:pt x="579" y="122"/>
                  <a:pt x="578" y="123"/>
                  <a:pt x="578" y="123"/>
                </a:cubicBezTo>
                <a:cubicBezTo>
                  <a:pt x="578" y="122"/>
                  <a:pt x="578" y="122"/>
                  <a:pt x="579" y="122"/>
                </a:cubicBezTo>
                <a:cubicBezTo>
                  <a:pt x="578" y="122"/>
                  <a:pt x="576" y="122"/>
                  <a:pt x="577" y="121"/>
                </a:cubicBezTo>
                <a:cubicBezTo>
                  <a:pt x="578" y="121"/>
                  <a:pt x="580" y="120"/>
                  <a:pt x="579" y="120"/>
                </a:cubicBezTo>
                <a:cubicBezTo>
                  <a:pt x="579" y="120"/>
                  <a:pt x="580" y="120"/>
                  <a:pt x="580" y="119"/>
                </a:cubicBezTo>
                <a:cubicBezTo>
                  <a:pt x="580" y="119"/>
                  <a:pt x="580" y="119"/>
                  <a:pt x="579" y="119"/>
                </a:cubicBezTo>
                <a:cubicBezTo>
                  <a:pt x="580" y="119"/>
                  <a:pt x="580" y="119"/>
                  <a:pt x="580" y="119"/>
                </a:cubicBezTo>
                <a:cubicBezTo>
                  <a:pt x="579" y="119"/>
                  <a:pt x="581" y="119"/>
                  <a:pt x="580" y="119"/>
                </a:cubicBezTo>
                <a:cubicBezTo>
                  <a:pt x="579" y="119"/>
                  <a:pt x="579" y="119"/>
                  <a:pt x="579" y="119"/>
                </a:cubicBezTo>
                <a:cubicBezTo>
                  <a:pt x="579" y="118"/>
                  <a:pt x="577" y="119"/>
                  <a:pt x="577" y="119"/>
                </a:cubicBezTo>
                <a:cubicBezTo>
                  <a:pt x="578" y="119"/>
                  <a:pt x="578" y="119"/>
                  <a:pt x="578" y="120"/>
                </a:cubicBezTo>
                <a:cubicBezTo>
                  <a:pt x="578" y="120"/>
                  <a:pt x="577" y="121"/>
                  <a:pt x="577" y="121"/>
                </a:cubicBezTo>
                <a:cubicBezTo>
                  <a:pt x="577" y="120"/>
                  <a:pt x="577" y="120"/>
                  <a:pt x="577" y="120"/>
                </a:cubicBezTo>
                <a:cubicBezTo>
                  <a:pt x="577" y="120"/>
                  <a:pt x="576" y="121"/>
                  <a:pt x="576" y="120"/>
                </a:cubicBezTo>
                <a:cubicBezTo>
                  <a:pt x="576" y="120"/>
                  <a:pt x="575" y="120"/>
                  <a:pt x="575" y="120"/>
                </a:cubicBezTo>
                <a:cubicBezTo>
                  <a:pt x="575" y="120"/>
                  <a:pt x="575" y="120"/>
                  <a:pt x="574" y="120"/>
                </a:cubicBezTo>
                <a:cubicBezTo>
                  <a:pt x="574" y="120"/>
                  <a:pt x="574" y="119"/>
                  <a:pt x="574" y="119"/>
                </a:cubicBezTo>
                <a:cubicBezTo>
                  <a:pt x="574" y="119"/>
                  <a:pt x="574" y="118"/>
                  <a:pt x="574" y="118"/>
                </a:cubicBezTo>
                <a:cubicBezTo>
                  <a:pt x="574" y="118"/>
                  <a:pt x="575" y="118"/>
                  <a:pt x="576" y="118"/>
                </a:cubicBezTo>
                <a:cubicBezTo>
                  <a:pt x="575" y="117"/>
                  <a:pt x="575" y="118"/>
                  <a:pt x="574" y="118"/>
                </a:cubicBezTo>
                <a:cubicBezTo>
                  <a:pt x="575" y="118"/>
                  <a:pt x="575" y="118"/>
                  <a:pt x="574" y="118"/>
                </a:cubicBezTo>
                <a:cubicBezTo>
                  <a:pt x="574" y="118"/>
                  <a:pt x="573" y="118"/>
                  <a:pt x="572" y="118"/>
                </a:cubicBezTo>
                <a:cubicBezTo>
                  <a:pt x="573" y="118"/>
                  <a:pt x="573" y="117"/>
                  <a:pt x="574" y="117"/>
                </a:cubicBezTo>
                <a:cubicBezTo>
                  <a:pt x="574" y="117"/>
                  <a:pt x="574" y="117"/>
                  <a:pt x="575" y="117"/>
                </a:cubicBezTo>
                <a:cubicBezTo>
                  <a:pt x="575" y="117"/>
                  <a:pt x="575" y="117"/>
                  <a:pt x="575" y="117"/>
                </a:cubicBezTo>
                <a:cubicBezTo>
                  <a:pt x="575" y="116"/>
                  <a:pt x="573" y="117"/>
                  <a:pt x="573" y="117"/>
                </a:cubicBezTo>
                <a:cubicBezTo>
                  <a:pt x="573" y="116"/>
                  <a:pt x="574" y="117"/>
                  <a:pt x="574" y="117"/>
                </a:cubicBezTo>
                <a:cubicBezTo>
                  <a:pt x="574" y="116"/>
                  <a:pt x="573" y="117"/>
                  <a:pt x="573" y="117"/>
                </a:cubicBezTo>
                <a:cubicBezTo>
                  <a:pt x="573" y="116"/>
                  <a:pt x="574" y="116"/>
                  <a:pt x="574" y="116"/>
                </a:cubicBezTo>
                <a:cubicBezTo>
                  <a:pt x="574" y="116"/>
                  <a:pt x="573" y="116"/>
                  <a:pt x="573" y="116"/>
                </a:cubicBezTo>
                <a:cubicBezTo>
                  <a:pt x="573" y="116"/>
                  <a:pt x="575" y="116"/>
                  <a:pt x="576" y="116"/>
                </a:cubicBezTo>
                <a:cubicBezTo>
                  <a:pt x="575" y="116"/>
                  <a:pt x="575" y="116"/>
                  <a:pt x="575" y="116"/>
                </a:cubicBezTo>
                <a:cubicBezTo>
                  <a:pt x="575" y="116"/>
                  <a:pt x="577" y="116"/>
                  <a:pt x="576" y="115"/>
                </a:cubicBezTo>
                <a:cubicBezTo>
                  <a:pt x="575" y="115"/>
                  <a:pt x="574" y="116"/>
                  <a:pt x="573" y="116"/>
                </a:cubicBezTo>
                <a:cubicBezTo>
                  <a:pt x="572" y="117"/>
                  <a:pt x="571" y="117"/>
                  <a:pt x="571" y="116"/>
                </a:cubicBezTo>
                <a:cubicBezTo>
                  <a:pt x="570" y="115"/>
                  <a:pt x="569" y="117"/>
                  <a:pt x="569" y="117"/>
                </a:cubicBezTo>
                <a:cubicBezTo>
                  <a:pt x="568" y="117"/>
                  <a:pt x="567" y="117"/>
                  <a:pt x="565" y="118"/>
                </a:cubicBezTo>
                <a:cubicBezTo>
                  <a:pt x="564" y="118"/>
                  <a:pt x="563" y="118"/>
                  <a:pt x="562" y="119"/>
                </a:cubicBezTo>
                <a:cubicBezTo>
                  <a:pt x="561" y="119"/>
                  <a:pt x="561" y="119"/>
                  <a:pt x="560" y="119"/>
                </a:cubicBezTo>
                <a:cubicBezTo>
                  <a:pt x="559" y="118"/>
                  <a:pt x="561" y="118"/>
                  <a:pt x="561" y="118"/>
                </a:cubicBezTo>
                <a:cubicBezTo>
                  <a:pt x="561" y="118"/>
                  <a:pt x="562" y="117"/>
                  <a:pt x="562" y="117"/>
                </a:cubicBezTo>
                <a:cubicBezTo>
                  <a:pt x="562" y="117"/>
                  <a:pt x="561" y="117"/>
                  <a:pt x="561" y="117"/>
                </a:cubicBezTo>
                <a:cubicBezTo>
                  <a:pt x="562" y="116"/>
                  <a:pt x="563" y="115"/>
                  <a:pt x="564" y="115"/>
                </a:cubicBezTo>
                <a:cubicBezTo>
                  <a:pt x="565" y="115"/>
                  <a:pt x="566" y="116"/>
                  <a:pt x="568" y="116"/>
                </a:cubicBezTo>
                <a:cubicBezTo>
                  <a:pt x="568" y="115"/>
                  <a:pt x="569" y="115"/>
                  <a:pt x="569" y="115"/>
                </a:cubicBezTo>
                <a:cubicBezTo>
                  <a:pt x="570" y="115"/>
                  <a:pt x="570" y="115"/>
                  <a:pt x="571" y="114"/>
                </a:cubicBezTo>
                <a:cubicBezTo>
                  <a:pt x="571" y="113"/>
                  <a:pt x="570" y="113"/>
                  <a:pt x="569" y="113"/>
                </a:cubicBezTo>
                <a:cubicBezTo>
                  <a:pt x="569" y="112"/>
                  <a:pt x="569" y="112"/>
                  <a:pt x="568" y="112"/>
                </a:cubicBezTo>
                <a:cubicBezTo>
                  <a:pt x="568" y="112"/>
                  <a:pt x="567" y="112"/>
                  <a:pt x="567" y="112"/>
                </a:cubicBezTo>
                <a:cubicBezTo>
                  <a:pt x="567" y="112"/>
                  <a:pt x="567" y="112"/>
                  <a:pt x="566" y="111"/>
                </a:cubicBezTo>
                <a:cubicBezTo>
                  <a:pt x="566" y="111"/>
                  <a:pt x="566" y="111"/>
                  <a:pt x="567" y="110"/>
                </a:cubicBezTo>
                <a:cubicBezTo>
                  <a:pt x="567" y="110"/>
                  <a:pt x="568" y="110"/>
                  <a:pt x="569" y="110"/>
                </a:cubicBezTo>
                <a:cubicBezTo>
                  <a:pt x="569" y="110"/>
                  <a:pt x="569" y="110"/>
                  <a:pt x="569" y="110"/>
                </a:cubicBezTo>
                <a:cubicBezTo>
                  <a:pt x="569" y="110"/>
                  <a:pt x="570" y="110"/>
                  <a:pt x="570" y="110"/>
                </a:cubicBezTo>
                <a:cubicBezTo>
                  <a:pt x="570" y="110"/>
                  <a:pt x="569" y="110"/>
                  <a:pt x="569" y="110"/>
                </a:cubicBezTo>
                <a:cubicBezTo>
                  <a:pt x="569" y="110"/>
                  <a:pt x="569" y="109"/>
                  <a:pt x="568" y="109"/>
                </a:cubicBezTo>
                <a:cubicBezTo>
                  <a:pt x="568" y="109"/>
                  <a:pt x="567" y="109"/>
                  <a:pt x="567" y="110"/>
                </a:cubicBezTo>
                <a:cubicBezTo>
                  <a:pt x="567" y="110"/>
                  <a:pt x="567" y="110"/>
                  <a:pt x="567" y="110"/>
                </a:cubicBezTo>
                <a:cubicBezTo>
                  <a:pt x="567" y="110"/>
                  <a:pt x="566" y="111"/>
                  <a:pt x="566" y="111"/>
                </a:cubicBezTo>
                <a:cubicBezTo>
                  <a:pt x="565" y="111"/>
                  <a:pt x="564" y="110"/>
                  <a:pt x="565" y="110"/>
                </a:cubicBezTo>
                <a:cubicBezTo>
                  <a:pt x="565" y="110"/>
                  <a:pt x="564" y="111"/>
                  <a:pt x="563" y="110"/>
                </a:cubicBezTo>
                <a:cubicBezTo>
                  <a:pt x="563" y="110"/>
                  <a:pt x="562" y="110"/>
                  <a:pt x="563" y="110"/>
                </a:cubicBezTo>
                <a:cubicBezTo>
                  <a:pt x="563" y="109"/>
                  <a:pt x="564" y="110"/>
                  <a:pt x="565" y="109"/>
                </a:cubicBezTo>
                <a:cubicBezTo>
                  <a:pt x="565" y="109"/>
                  <a:pt x="565" y="110"/>
                  <a:pt x="565" y="110"/>
                </a:cubicBezTo>
                <a:cubicBezTo>
                  <a:pt x="565" y="110"/>
                  <a:pt x="566" y="109"/>
                  <a:pt x="566" y="109"/>
                </a:cubicBezTo>
                <a:cubicBezTo>
                  <a:pt x="566" y="109"/>
                  <a:pt x="566" y="109"/>
                  <a:pt x="566" y="109"/>
                </a:cubicBezTo>
                <a:cubicBezTo>
                  <a:pt x="566" y="109"/>
                  <a:pt x="567" y="108"/>
                  <a:pt x="567" y="108"/>
                </a:cubicBezTo>
                <a:cubicBezTo>
                  <a:pt x="567" y="108"/>
                  <a:pt x="565" y="108"/>
                  <a:pt x="565" y="108"/>
                </a:cubicBezTo>
                <a:cubicBezTo>
                  <a:pt x="565" y="108"/>
                  <a:pt x="565" y="108"/>
                  <a:pt x="565" y="108"/>
                </a:cubicBezTo>
                <a:cubicBezTo>
                  <a:pt x="565" y="108"/>
                  <a:pt x="565" y="108"/>
                  <a:pt x="564" y="108"/>
                </a:cubicBezTo>
                <a:cubicBezTo>
                  <a:pt x="564" y="108"/>
                  <a:pt x="564" y="108"/>
                  <a:pt x="563" y="108"/>
                </a:cubicBezTo>
                <a:cubicBezTo>
                  <a:pt x="564" y="107"/>
                  <a:pt x="565" y="108"/>
                  <a:pt x="566" y="107"/>
                </a:cubicBezTo>
                <a:cubicBezTo>
                  <a:pt x="565" y="107"/>
                  <a:pt x="565" y="107"/>
                  <a:pt x="564" y="108"/>
                </a:cubicBezTo>
                <a:cubicBezTo>
                  <a:pt x="563" y="108"/>
                  <a:pt x="562" y="108"/>
                  <a:pt x="561" y="108"/>
                </a:cubicBezTo>
                <a:cubicBezTo>
                  <a:pt x="561" y="108"/>
                  <a:pt x="562" y="108"/>
                  <a:pt x="562" y="108"/>
                </a:cubicBezTo>
                <a:cubicBezTo>
                  <a:pt x="562" y="108"/>
                  <a:pt x="559" y="110"/>
                  <a:pt x="561" y="108"/>
                </a:cubicBezTo>
                <a:cubicBezTo>
                  <a:pt x="561" y="107"/>
                  <a:pt x="562" y="107"/>
                  <a:pt x="562" y="106"/>
                </a:cubicBezTo>
                <a:cubicBezTo>
                  <a:pt x="563" y="106"/>
                  <a:pt x="563" y="105"/>
                  <a:pt x="563" y="105"/>
                </a:cubicBezTo>
                <a:cubicBezTo>
                  <a:pt x="563" y="105"/>
                  <a:pt x="563" y="105"/>
                  <a:pt x="563" y="104"/>
                </a:cubicBezTo>
                <a:cubicBezTo>
                  <a:pt x="562" y="105"/>
                  <a:pt x="562" y="104"/>
                  <a:pt x="561" y="105"/>
                </a:cubicBezTo>
                <a:cubicBezTo>
                  <a:pt x="561" y="105"/>
                  <a:pt x="561" y="104"/>
                  <a:pt x="560" y="104"/>
                </a:cubicBezTo>
                <a:cubicBezTo>
                  <a:pt x="561" y="105"/>
                  <a:pt x="559" y="105"/>
                  <a:pt x="560" y="105"/>
                </a:cubicBezTo>
                <a:cubicBezTo>
                  <a:pt x="559" y="105"/>
                  <a:pt x="559" y="105"/>
                  <a:pt x="559" y="105"/>
                </a:cubicBezTo>
                <a:cubicBezTo>
                  <a:pt x="558" y="105"/>
                  <a:pt x="559" y="104"/>
                  <a:pt x="558" y="104"/>
                </a:cubicBezTo>
                <a:cubicBezTo>
                  <a:pt x="558" y="104"/>
                  <a:pt x="559" y="104"/>
                  <a:pt x="559" y="104"/>
                </a:cubicBezTo>
                <a:cubicBezTo>
                  <a:pt x="559" y="103"/>
                  <a:pt x="558" y="103"/>
                  <a:pt x="558" y="104"/>
                </a:cubicBezTo>
                <a:cubicBezTo>
                  <a:pt x="558" y="104"/>
                  <a:pt x="557" y="103"/>
                  <a:pt x="558" y="103"/>
                </a:cubicBezTo>
                <a:cubicBezTo>
                  <a:pt x="557" y="103"/>
                  <a:pt x="558" y="103"/>
                  <a:pt x="558" y="103"/>
                </a:cubicBezTo>
                <a:cubicBezTo>
                  <a:pt x="557" y="103"/>
                  <a:pt x="557" y="103"/>
                  <a:pt x="557" y="102"/>
                </a:cubicBezTo>
                <a:cubicBezTo>
                  <a:pt x="557" y="102"/>
                  <a:pt x="557" y="103"/>
                  <a:pt x="556" y="103"/>
                </a:cubicBezTo>
                <a:cubicBezTo>
                  <a:pt x="557" y="103"/>
                  <a:pt x="556" y="102"/>
                  <a:pt x="556" y="102"/>
                </a:cubicBezTo>
                <a:cubicBezTo>
                  <a:pt x="556" y="102"/>
                  <a:pt x="556" y="102"/>
                  <a:pt x="556" y="102"/>
                </a:cubicBezTo>
                <a:cubicBezTo>
                  <a:pt x="556" y="102"/>
                  <a:pt x="556" y="102"/>
                  <a:pt x="556" y="102"/>
                </a:cubicBezTo>
                <a:cubicBezTo>
                  <a:pt x="556" y="102"/>
                  <a:pt x="556" y="102"/>
                  <a:pt x="556" y="102"/>
                </a:cubicBezTo>
                <a:cubicBezTo>
                  <a:pt x="556" y="102"/>
                  <a:pt x="557" y="102"/>
                  <a:pt x="557" y="102"/>
                </a:cubicBezTo>
                <a:cubicBezTo>
                  <a:pt x="557" y="102"/>
                  <a:pt x="557" y="102"/>
                  <a:pt x="557" y="102"/>
                </a:cubicBezTo>
                <a:cubicBezTo>
                  <a:pt x="557" y="101"/>
                  <a:pt x="558" y="101"/>
                  <a:pt x="558" y="101"/>
                </a:cubicBezTo>
                <a:cubicBezTo>
                  <a:pt x="558" y="101"/>
                  <a:pt x="558" y="102"/>
                  <a:pt x="559" y="102"/>
                </a:cubicBezTo>
                <a:cubicBezTo>
                  <a:pt x="558" y="101"/>
                  <a:pt x="559" y="101"/>
                  <a:pt x="558" y="101"/>
                </a:cubicBezTo>
                <a:cubicBezTo>
                  <a:pt x="558" y="101"/>
                  <a:pt x="558" y="101"/>
                  <a:pt x="557" y="101"/>
                </a:cubicBezTo>
                <a:cubicBezTo>
                  <a:pt x="557" y="101"/>
                  <a:pt x="558" y="101"/>
                  <a:pt x="558" y="100"/>
                </a:cubicBezTo>
                <a:cubicBezTo>
                  <a:pt x="557" y="100"/>
                  <a:pt x="556" y="101"/>
                  <a:pt x="556" y="101"/>
                </a:cubicBezTo>
                <a:cubicBezTo>
                  <a:pt x="556" y="101"/>
                  <a:pt x="557" y="101"/>
                  <a:pt x="557" y="101"/>
                </a:cubicBezTo>
                <a:cubicBezTo>
                  <a:pt x="557" y="102"/>
                  <a:pt x="556" y="101"/>
                  <a:pt x="555" y="102"/>
                </a:cubicBezTo>
                <a:cubicBezTo>
                  <a:pt x="555" y="103"/>
                  <a:pt x="555" y="103"/>
                  <a:pt x="554" y="103"/>
                </a:cubicBezTo>
                <a:cubicBezTo>
                  <a:pt x="554" y="103"/>
                  <a:pt x="554" y="102"/>
                  <a:pt x="554" y="102"/>
                </a:cubicBezTo>
                <a:cubicBezTo>
                  <a:pt x="554" y="102"/>
                  <a:pt x="553" y="102"/>
                  <a:pt x="553" y="102"/>
                </a:cubicBezTo>
                <a:cubicBezTo>
                  <a:pt x="553" y="103"/>
                  <a:pt x="553" y="103"/>
                  <a:pt x="552" y="103"/>
                </a:cubicBezTo>
                <a:cubicBezTo>
                  <a:pt x="552" y="103"/>
                  <a:pt x="551" y="103"/>
                  <a:pt x="552" y="103"/>
                </a:cubicBezTo>
                <a:cubicBezTo>
                  <a:pt x="552" y="103"/>
                  <a:pt x="553" y="103"/>
                  <a:pt x="553" y="103"/>
                </a:cubicBezTo>
                <a:cubicBezTo>
                  <a:pt x="553" y="104"/>
                  <a:pt x="554" y="104"/>
                  <a:pt x="554" y="104"/>
                </a:cubicBezTo>
                <a:cubicBezTo>
                  <a:pt x="555" y="104"/>
                  <a:pt x="555" y="103"/>
                  <a:pt x="555" y="104"/>
                </a:cubicBezTo>
                <a:cubicBezTo>
                  <a:pt x="556" y="104"/>
                  <a:pt x="556" y="105"/>
                  <a:pt x="555" y="105"/>
                </a:cubicBezTo>
                <a:cubicBezTo>
                  <a:pt x="555" y="106"/>
                  <a:pt x="555" y="106"/>
                  <a:pt x="555" y="106"/>
                </a:cubicBezTo>
                <a:cubicBezTo>
                  <a:pt x="555" y="106"/>
                  <a:pt x="555" y="106"/>
                  <a:pt x="555" y="106"/>
                </a:cubicBezTo>
                <a:cubicBezTo>
                  <a:pt x="554" y="109"/>
                  <a:pt x="550" y="107"/>
                  <a:pt x="549" y="108"/>
                </a:cubicBezTo>
                <a:cubicBezTo>
                  <a:pt x="548" y="108"/>
                  <a:pt x="547" y="108"/>
                  <a:pt x="546" y="108"/>
                </a:cubicBezTo>
                <a:cubicBezTo>
                  <a:pt x="546" y="107"/>
                  <a:pt x="546" y="107"/>
                  <a:pt x="546" y="107"/>
                </a:cubicBezTo>
                <a:cubicBezTo>
                  <a:pt x="546" y="107"/>
                  <a:pt x="545" y="107"/>
                  <a:pt x="545" y="107"/>
                </a:cubicBezTo>
                <a:cubicBezTo>
                  <a:pt x="545" y="107"/>
                  <a:pt x="545" y="107"/>
                  <a:pt x="545" y="107"/>
                </a:cubicBezTo>
                <a:cubicBezTo>
                  <a:pt x="545" y="107"/>
                  <a:pt x="544" y="107"/>
                  <a:pt x="544" y="107"/>
                </a:cubicBezTo>
                <a:cubicBezTo>
                  <a:pt x="543" y="107"/>
                  <a:pt x="543" y="107"/>
                  <a:pt x="542" y="106"/>
                </a:cubicBezTo>
                <a:cubicBezTo>
                  <a:pt x="541" y="106"/>
                  <a:pt x="540" y="106"/>
                  <a:pt x="539" y="106"/>
                </a:cubicBezTo>
                <a:cubicBezTo>
                  <a:pt x="538" y="106"/>
                  <a:pt x="537" y="106"/>
                  <a:pt x="536" y="106"/>
                </a:cubicBezTo>
                <a:cubicBezTo>
                  <a:pt x="536" y="106"/>
                  <a:pt x="534" y="105"/>
                  <a:pt x="534" y="106"/>
                </a:cubicBezTo>
                <a:cubicBezTo>
                  <a:pt x="534" y="106"/>
                  <a:pt x="535" y="106"/>
                  <a:pt x="536" y="106"/>
                </a:cubicBezTo>
                <a:cubicBezTo>
                  <a:pt x="536" y="107"/>
                  <a:pt x="537" y="106"/>
                  <a:pt x="537" y="107"/>
                </a:cubicBezTo>
                <a:cubicBezTo>
                  <a:pt x="537" y="107"/>
                  <a:pt x="537" y="107"/>
                  <a:pt x="537" y="107"/>
                </a:cubicBezTo>
                <a:cubicBezTo>
                  <a:pt x="538" y="108"/>
                  <a:pt x="538" y="108"/>
                  <a:pt x="538" y="108"/>
                </a:cubicBezTo>
                <a:cubicBezTo>
                  <a:pt x="539" y="109"/>
                  <a:pt x="537" y="109"/>
                  <a:pt x="537" y="109"/>
                </a:cubicBezTo>
                <a:cubicBezTo>
                  <a:pt x="537" y="109"/>
                  <a:pt x="537" y="109"/>
                  <a:pt x="536" y="109"/>
                </a:cubicBezTo>
                <a:cubicBezTo>
                  <a:pt x="536" y="109"/>
                  <a:pt x="536" y="108"/>
                  <a:pt x="536" y="108"/>
                </a:cubicBezTo>
                <a:cubicBezTo>
                  <a:pt x="535" y="108"/>
                  <a:pt x="535" y="108"/>
                  <a:pt x="535" y="107"/>
                </a:cubicBezTo>
                <a:cubicBezTo>
                  <a:pt x="534" y="107"/>
                  <a:pt x="534" y="107"/>
                  <a:pt x="534" y="107"/>
                </a:cubicBezTo>
                <a:cubicBezTo>
                  <a:pt x="534" y="107"/>
                  <a:pt x="534" y="107"/>
                  <a:pt x="534" y="107"/>
                </a:cubicBezTo>
                <a:cubicBezTo>
                  <a:pt x="534" y="107"/>
                  <a:pt x="533" y="107"/>
                  <a:pt x="533" y="107"/>
                </a:cubicBezTo>
                <a:cubicBezTo>
                  <a:pt x="532" y="106"/>
                  <a:pt x="532" y="106"/>
                  <a:pt x="531" y="105"/>
                </a:cubicBezTo>
                <a:cubicBezTo>
                  <a:pt x="530" y="105"/>
                  <a:pt x="529" y="105"/>
                  <a:pt x="529" y="105"/>
                </a:cubicBezTo>
                <a:cubicBezTo>
                  <a:pt x="528" y="105"/>
                  <a:pt x="528" y="104"/>
                  <a:pt x="528" y="104"/>
                </a:cubicBezTo>
                <a:cubicBezTo>
                  <a:pt x="527" y="104"/>
                  <a:pt x="527" y="104"/>
                  <a:pt x="527" y="104"/>
                </a:cubicBezTo>
                <a:cubicBezTo>
                  <a:pt x="527" y="104"/>
                  <a:pt x="527" y="105"/>
                  <a:pt x="528" y="105"/>
                </a:cubicBezTo>
                <a:cubicBezTo>
                  <a:pt x="528" y="105"/>
                  <a:pt x="529" y="105"/>
                  <a:pt x="530" y="105"/>
                </a:cubicBezTo>
                <a:cubicBezTo>
                  <a:pt x="531" y="106"/>
                  <a:pt x="531" y="106"/>
                  <a:pt x="532" y="106"/>
                </a:cubicBezTo>
                <a:cubicBezTo>
                  <a:pt x="532" y="107"/>
                  <a:pt x="533" y="107"/>
                  <a:pt x="533" y="107"/>
                </a:cubicBezTo>
                <a:cubicBezTo>
                  <a:pt x="533" y="107"/>
                  <a:pt x="533" y="108"/>
                  <a:pt x="532" y="108"/>
                </a:cubicBezTo>
                <a:cubicBezTo>
                  <a:pt x="532" y="108"/>
                  <a:pt x="531" y="108"/>
                  <a:pt x="531" y="108"/>
                </a:cubicBezTo>
                <a:cubicBezTo>
                  <a:pt x="531" y="108"/>
                  <a:pt x="530" y="108"/>
                  <a:pt x="529" y="108"/>
                </a:cubicBezTo>
                <a:cubicBezTo>
                  <a:pt x="529" y="109"/>
                  <a:pt x="529" y="109"/>
                  <a:pt x="529" y="109"/>
                </a:cubicBezTo>
                <a:cubicBezTo>
                  <a:pt x="529" y="109"/>
                  <a:pt x="528" y="109"/>
                  <a:pt x="528" y="108"/>
                </a:cubicBezTo>
                <a:cubicBezTo>
                  <a:pt x="529" y="108"/>
                  <a:pt x="529" y="108"/>
                  <a:pt x="528" y="108"/>
                </a:cubicBezTo>
                <a:cubicBezTo>
                  <a:pt x="528" y="108"/>
                  <a:pt x="529" y="108"/>
                  <a:pt x="529" y="108"/>
                </a:cubicBezTo>
                <a:cubicBezTo>
                  <a:pt x="528" y="108"/>
                  <a:pt x="528" y="108"/>
                  <a:pt x="527" y="108"/>
                </a:cubicBezTo>
                <a:cubicBezTo>
                  <a:pt x="527" y="108"/>
                  <a:pt x="527" y="108"/>
                  <a:pt x="526" y="108"/>
                </a:cubicBezTo>
                <a:cubicBezTo>
                  <a:pt x="526" y="107"/>
                  <a:pt x="526" y="108"/>
                  <a:pt x="525" y="107"/>
                </a:cubicBezTo>
                <a:cubicBezTo>
                  <a:pt x="525" y="107"/>
                  <a:pt x="524" y="107"/>
                  <a:pt x="524" y="107"/>
                </a:cubicBezTo>
                <a:cubicBezTo>
                  <a:pt x="523" y="107"/>
                  <a:pt x="522" y="107"/>
                  <a:pt x="521" y="107"/>
                </a:cubicBezTo>
                <a:cubicBezTo>
                  <a:pt x="519" y="107"/>
                  <a:pt x="517" y="107"/>
                  <a:pt x="515" y="107"/>
                </a:cubicBezTo>
                <a:cubicBezTo>
                  <a:pt x="514" y="107"/>
                  <a:pt x="513" y="107"/>
                  <a:pt x="513" y="107"/>
                </a:cubicBezTo>
                <a:cubicBezTo>
                  <a:pt x="512" y="106"/>
                  <a:pt x="513" y="106"/>
                  <a:pt x="513" y="106"/>
                </a:cubicBezTo>
                <a:cubicBezTo>
                  <a:pt x="513" y="106"/>
                  <a:pt x="512" y="106"/>
                  <a:pt x="512" y="106"/>
                </a:cubicBezTo>
                <a:cubicBezTo>
                  <a:pt x="511" y="106"/>
                  <a:pt x="511" y="106"/>
                  <a:pt x="510" y="106"/>
                </a:cubicBezTo>
                <a:cubicBezTo>
                  <a:pt x="509" y="106"/>
                  <a:pt x="509" y="106"/>
                  <a:pt x="508" y="106"/>
                </a:cubicBezTo>
                <a:cubicBezTo>
                  <a:pt x="508" y="106"/>
                  <a:pt x="505" y="105"/>
                  <a:pt x="505" y="106"/>
                </a:cubicBezTo>
                <a:cubicBezTo>
                  <a:pt x="506" y="106"/>
                  <a:pt x="508" y="106"/>
                  <a:pt x="509" y="107"/>
                </a:cubicBezTo>
                <a:cubicBezTo>
                  <a:pt x="508" y="107"/>
                  <a:pt x="507" y="107"/>
                  <a:pt x="506" y="107"/>
                </a:cubicBezTo>
                <a:cubicBezTo>
                  <a:pt x="505" y="107"/>
                  <a:pt x="504" y="106"/>
                  <a:pt x="503" y="106"/>
                </a:cubicBezTo>
                <a:cubicBezTo>
                  <a:pt x="500" y="103"/>
                  <a:pt x="506" y="103"/>
                  <a:pt x="506" y="102"/>
                </a:cubicBezTo>
                <a:cubicBezTo>
                  <a:pt x="506" y="102"/>
                  <a:pt x="505" y="102"/>
                  <a:pt x="505" y="102"/>
                </a:cubicBezTo>
                <a:cubicBezTo>
                  <a:pt x="505" y="102"/>
                  <a:pt x="504" y="103"/>
                  <a:pt x="503" y="103"/>
                </a:cubicBezTo>
                <a:cubicBezTo>
                  <a:pt x="502" y="103"/>
                  <a:pt x="502" y="104"/>
                  <a:pt x="502" y="104"/>
                </a:cubicBezTo>
                <a:cubicBezTo>
                  <a:pt x="501" y="104"/>
                  <a:pt x="500" y="104"/>
                  <a:pt x="500" y="104"/>
                </a:cubicBezTo>
                <a:cubicBezTo>
                  <a:pt x="500" y="103"/>
                  <a:pt x="501" y="103"/>
                  <a:pt x="502" y="103"/>
                </a:cubicBezTo>
                <a:cubicBezTo>
                  <a:pt x="501" y="103"/>
                  <a:pt x="501" y="103"/>
                  <a:pt x="500" y="103"/>
                </a:cubicBezTo>
                <a:cubicBezTo>
                  <a:pt x="501" y="103"/>
                  <a:pt x="501" y="103"/>
                  <a:pt x="501" y="103"/>
                </a:cubicBezTo>
                <a:cubicBezTo>
                  <a:pt x="501" y="103"/>
                  <a:pt x="500" y="103"/>
                  <a:pt x="500" y="103"/>
                </a:cubicBezTo>
                <a:cubicBezTo>
                  <a:pt x="500" y="103"/>
                  <a:pt x="501" y="103"/>
                  <a:pt x="501" y="102"/>
                </a:cubicBezTo>
                <a:cubicBezTo>
                  <a:pt x="501" y="102"/>
                  <a:pt x="498" y="103"/>
                  <a:pt x="498" y="103"/>
                </a:cubicBezTo>
                <a:cubicBezTo>
                  <a:pt x="499" y="103"/>
                  <a:pt x="499" y="103"/>
                  <a:pt x="500" y="103"/>
                </a:cubicBezTo>
                <a:cubicBezTo>
                  <a:pt x="500" y="104"/>
                  <a:pt x="499" y="104"/>
                  <a:pt x="498" y="104"/>
                </a:cubicBezTo>
                <a:cubicBezTo>
                  <a:pt x="498" y="104"/>
                  <a:pt x="494" y="103"/>
                  <a:pt x="494" y="104"/>
                </a:cubicBezTo>
                <a:cubicBezTo>
                  <a:pt x="494" y="104"/>
                  <a:pt x="494" y="104"/>
                  <a:pt x="495" y="104"/>
                </a:cubicBezTo>
                <a:cubicBezTo>
                  <a:pt x="493" y="105"/>
                  <a:pt x="492" y="104"/>
                  <a:pt x="491" y="104"/>
                </a:cubicBezTo>
                <a:cubicBezTo>
                  <a:pt x="491" y="103"/>
                  <a:pt x="493" y="104"/>
                  <a:pt x="493" y="104"/>
                </a:cubicBezTo>
                <a:cubicBezTo>
                  <a:pt x="493" y="103"/>
                  <a:pt x="491" y="103"/>
                  <a:pt x="490" y="103"/>
                </a:cubicBezTo>
                <a:cubicBezTo>
                  <a:pt x="489" y="103"/>
                  <a:pt x="488" y="102"/>
                  <a:pt x="488" y="101"/>
                </a:cubicBezTo>
                <a:cubicBezTo>
                  <a:pt x="488" y="101"/>
                  <a:pt x="488" y="100"/>
                  <a:pt x="488" y="100"/>
                </a:cubicBezTo>
                <a:cubicBezTo>
                  <a:pt x="487" y="100"/>
                  <a:pt x="487" y="99"/>
                  <a:pt x="487" y="99"/>
                </a:cubicBezTo>
                <a:cubicBezTo>
                  <a:pt x="487" y="98"/>
                  <a:pt x="489" y="98"/>
                  <a:pt x="489" y="98"/>
                </a:cubicBezTo>
                <a:cubicBezTo>
                  <a:pt x="489" y="98"/>
                  <a:pt x="489" y="98"/>
                  <a:pt x="489" y="98"/>
                </a:cubicBezTo>
                <a:cubicBezTo>
                  <a:pt x="489" y="97"/>
                  <a:pt x="488" y="97"/>
                  <a:pt x="488" y="97"/>
                </a:cubicBezTo>
                <a:cubicBezTo>
                  <a:pt x="488" y="97"/>
                  <a:pt x="490" y="97"/>
                  <a:pt x="490" y="97"/>
                </a:cubicBezTo>
                <a:cubicBezTo>
                  <a:pt x="490" y="98"/>
                  <a:pt x="491" y="97"/>
                  <a:pt x="492" y="97"/>
                </a:cubicBezTo>
                <a:cubicBezTo>
                  <a:pt x="493" y="97"/>
                  <a:pt x="495" y="97"/>
                  <a:pt x="495" y="98"/>
                </a:cubicBezTo>
                <a:cubicBezTo>
                  <a:pt x="495" y="98"/>
                  <a:pt x="499" y="98"/>
                  <a:pt x="499" y="98"/>
                </a:cubicBezTo>
                <a:cubicBezTo>
                  <a:pt x="500" y="98"/>
                  <a:pt x="501" y="98"/>
                  <a:pt x="502" y="98"/>
                </a:cubicBezTo>
                <a:cubicBezTo>
                  <a:pt x="503" y="98"/>
                  <a:pt x="503" y="98"/>
                  <a:pt x="503" y="97"/>
                </a:cubicBezTo>
                <a:cubicBezTo>
                  <a:pt x="504" y="97"/>
                  <a:pt x="504" y="98"/>
                  <a:pt x="505" y="98"/>
                </a:cubicBezTo>
                <a:cubicBezTo>
                  <a:pt x="504" y="97"/>
                  <a:pt x="504" y="97"/>
                  <a:pt x="503" y="97"/>
                </a:cubicBezTo>
                <a:cubicBezTo>
                  <a:pt x="503" y="97"/>
                  <a:pt x="503" y="97"/>
                  <a:pt x="502" y="97"/>
                </a:cubicBezTo>
                <a:cubicBezTo>
                  <a:pt x="502" y="97"/>
                  <a:pt x="501" y="97"/>
                  <a:pt x="501" y="96"/>
                </a:cubicBezTo>
                <a:cubicBezTo>
                  <a:pt x="500" y="96"/>
                  <a:pt x="501" y="95"/>
                  <a:pt x="501" y="95"/>
                </a:cubicBezTo>
                <a:cubicBezTo>
                  <a:pt x="501" y="95"/>
                  <a:pt x="500" y="95"/>
                  <a:pt x="499" y="96"/>
                </a:cubicBezTo>
                <a:cubicBezTo>
                  <a:pt x="498" y="96"/>
                  <a:pt x="497" y="95"/>
                  <a:pt x="496" y="95"/>
                </a:cubicBezTo>
                <a:cubicBezTo>
                  <a:pt x="494" y="95"/>
                  <a:pt x="492" y="95"/>
                  <a:pt x="490" y="95"/>
                </a:cubicBezTo>
                <a:cubicBezTo>
                  <a:pt x="489" y="95"/>
                  <a:pt x="487" y="95"/>
                  <a:pt x="488" y="93"/>
                </a:cubicBezTo>
                <a:cubicBezTo>
                  <a:pt x="489" y="93"/>
                  <a:pt x="489" y="92"/>
                  <a:pt x="490" y="92"/>
                </a:cubicBezTo>
                <a:cubicBezTo>
                  <a:pt x="490" y="91"/>
                  <a:pt x="491" y="91"/>
                  <a:pt x="492" y="91"/>
                </a:cubicBezTo>
                <a:cubicBezTo>
                  <a:pt x="492" y="91"/>
                  <a:pt x="491" y="90"/>
                  <a:pt x="492" y="90"/>
                </a:cubicBezTo>
                <a:cubicBezTo>
                  <a:pt x="491" y="90"/>
                  <a:pt x="492" y="90"/>
                  <a:pt x="491" y="89"/>
                </a:cubicBezTo>
                <a:cubicBezTo>
                  <a:pt x="491" y="89"/>
                  <a:pt x="493" y="88"/>
                  <a:pt x="493" y="88"/>
                </a:cubicBezTo>
                <a:cubicBezTo>
                  <a:pt x="494" y="88"/>
                  <a:pt x="494" y="88"/>
                  <a:pt x="495" y="88"/>
                </a:cubicBezTo>
                <a:cubicBezTo>
                  <a:pt x="495" y="87"/>
                  <a:pt x="496" y="88"/>
                  <a:pt x="497" y="87"/>
                </a:cubicBezTo>
                <a:cubicBezTo>
                  <a:pt x="497" y="87"/>
                  <a:pt x="496" y="87"/>
                  <a:pt x="495" y="87"/>
                </a:cubicBezTo>
                <a:cubicBezTo>
                  <a:pt x="494" y="86"/>
                  <a:pt x="497" y="85"/>
                  <a:pt x="497" y="85"/>
                </a:cubicBezTo>
                <a:cubicBezTo>
                  <a:pt x="497" y="85"/>
                  <a:pt x="497" y="85"/>
                  <a:pt x="497" y="85"/>
                </a:cubicBezTo>
                <a:cubicBezTo>
                  <a:pt x="497" y="85"/>
                  <a:pt x="498" y="85"/>
                  <a:pt x="498" y="84"/>
                </a:cubicBezTo>
                <a:cubicBezTo>
                  <a:pt x="499" y="84"/>
                  <a:pt x="499" y="84"/>
                  <a:pt x="499" y="83"/>
                </a:cubicBezTo>
                <a:cubicBezTo>
                  <a:pt x="500" y="83"/>
                  <a:pt x="502" y="83"/>
                  <a:pt x="502" y="82"/>
                </a:cubicBezTo>
                <a:cubicBezTo>
                  <a:pt x="502" y="82"/>
                  <a:pt x="502" y="82"/>
                  <a:pt x="502" y="82"/>
                </a:cubicBezTo>
                <a:cubicBezTo>
                  <a:pt x="502" y="82"/>
                  <a:pt x="502" y="82"/>
                  <a:pt x="502" y="82"/>
                </a:cubicBezTo>
                <a:cubicBezTo>
                  <a:pt x="503" y="82"/>
                  <a:pt x="503" y="82"/>
                  <a:pt x="504" y="82"/>
                </a:cubicBezTo>
                <a:cubicBezTo>
                  <a:pt x="504" y="82"/>
                  <a:pt x="504" y="82"/>
                  <a:pt x="505" y="82"/>
                </a:cubicBezTo>
                <a:cubicBezTo>
                  <a:pt x="504" y="81"/>
                  <a:pt x="504" y="81"/>
                  <a:pt x="505" y="81"/>
                </a:cubicBezTo>
                <a:cubicBezTo>
                  <a:pt x="505" y="81"/>
                  <a:pt x="505" y="80"/>
                  <a:pt x="506" y="80"/>
                </a:cubicBezTo>
                <a:cubicBezTo>
                  <a:pt x="506" y="80"/>
                  <a:pt x="506" y="80"/>
                  <a:pt x="507" y="80"/>
                </a:cubicBezTo>
                <a:cubicBezTo>
                  <a:pt x="506" y="79"/>
                  <a:pt x="508" y="78"/>
                  <a:pt x="509" y="78"/>
                </a:cubicBezTo>
                <a:cubicBezTo>
                  <a:pt x="508" y="78"/>
                  <a:pt x="509" y="78"/>
                  <a:pt x="509" y="78"/>
                </a:cubicBezTo>
                <a:cubicBezTo>
                  <a:pt x="510" y="78"/>
                  <a:pt x="510" y="78"/>
                  <a:pt x="511" y="78"/>
                </a:cubicBezTo>
                <a:cubicBezTo>
                  <a:pt x="511" y="78"/>
                  <a:pt x="510" y="78"/>
                  <a:pt x="510" y="78"/>
                </a:cubicBezTo>
                <a:cubicBezTo>
                  <a:pt x="510" y="77"/>
                  <a:pt x="513" y="77"/>
                  <a:pt x="513" y="77"/>
                </a:cubicBezTo>
                <a:cubicBezTo>
                  <a:pt x="513" y="77"/>
                  <a:pt x="512" y="77"/>
                  <a:pt x="513" y="76"/>
                </a:cubicBezTo>
                <a:cubicBezTo>
                  <a:pt x="514" y="76"/>
                  <a:pt x="515" y="76"/>
                  <a:pt x="516" y="75"/>
                </a:cubicBezTo>
                <a:cubicBezTo>
                  <a:pt x="517" y="75"/>
                  <a:pt x="517" y="75"/>
                  <a:pt x="518" y="75"/>
                </a:cubicBezTo>
                <a:cubicBezTo>
                  <a:pt x="519" y="74"/>
                  <a:pt x="520" y="74"/>
                  <a:pt x="520" y="74"/>
                </a:cubicBezTo>
                <a:cubicBezTo>
                  <a:pt x="522" y="74"/>
                  <a:pt x="524" y="73"/>
                  <a:pt x="525" y="73"/>
                </a:cubicBezTo>
                <a:cubicBezTo>
                  <a:pt x="527" y="73"/>
                  <a:pt x="528" y="73"/>
                  <a:pt x="529" y="72"/>
                </a:cubicBezTo>
                <a:cubicBezTo>
                  <a:pt x="531" y="72"/>
                  <a:pt x="532" y="72"/>
                  <a:pt x="534" y="72"/>
                </a:cubicBezTo>
                <a:cubicBezTo>
                  <a:pt x="535" y="72"/>
                  <a:pt x="537" y="72"/>
                  <a:pt x="538" y="72"/>
                </a:cubicBezTo>
                <a:cubicBezTo>
                  <a:pt x="539" y="72"/>
                  <a:pt x="540" y="72"/>
                  <a:pt x="541" y="73"/>
                </a:cubicBezTo>
                <a:cubicBezTo>
                  <a:pt x="541" y="73"/>
                  <a:pt x="542" y="73"/>
                  <a:pt x="542" y="73"/>
                </a:cubicBezTo>
                <a:cubicBezTo>
                  <a:pt x="542" y="74"/>
                  <a:pt x="541" y="74"/>
                  <a:pt x="540" y="74"/>
                </a:cubicBezTo>
                <a:cubicBezTo>
                  <a:pt x="538" y="75"/>
                  <a:pt x="537" y="75"/>
                  <a:pt x="536" y="75"/>
                </a:cubicBezTo>
                <a:cubicBezTo>
                  <a:pt x="534" y="76"/>
                  <a:pt x="531" y="77"/>
                  <a:pt x="529" y="78"/>
                </a:cubicBezTo>
                <a:cubicBezTo>
                  <a:pt x="528" y="78"/>
                  <a:pt x="527" y="79"/>
                  <a:pt x="526" y="79"/>
                </a:cubicBezTo>
                <a:cubicBezTo>
                  <a:pt x="525" y="80"/>
                  <a:pt x="524" y="80"/>
                  <a:pt x="523" y="81"/>
                </a:cubicBezTo>
                <a:cubicBezTo>
                  <a:pt x="522" y="81"/>
                  <a:pt x="521" y="82"/>
                  <a:pt x="521" y="82"/>
                </a:cubicBezTo>
                <a:cubicBezTo>
                  <a:pt x="521" y="83"/>
                  <a:pt x="521" y="83"/>
                  <a:pt x="521" y="83"/>
                </a:cubicBezTo>
                <a:cubicBezTo>
                  <a:pt x="521" y="83"/>
                  <a:pt x="521" y="83"/>
                  <a:pt x="521" y="84"/>
                </a:cubicBezTo>
                <a:cubicBezTo>
                  <a:pt x="523" y="85"/>
                  <a:pt x="520" y="86"/>
                  <a:pt x="519" y="86"/>
                </a:cubicBezTo>
                <a:cubicBezTo>
                  <a:pt x="518" y="87"/>
                  <a:pt x="518" y="88"/>
                  <a:pt x="517" y="88"/>
                </a:cubicBezTo>
                <a:cubicBezTo>
                  <a:pt x="517" y="89"/>
                  <a:pt x="518" y="89"/>
                  <a:pt x="517" y="89"/>
                </a:cubicBezTo>
                <a:cubicBezTo>
                  <a:pt x="517" y="89"/>
                  <a:pt x="517" y="90"/>
                  <a:pt x="518" y="90"/>
                </a:cubicBezTo>
                <a:cubicBezTo>
                  <a:pt x="518" y="91"/>
                  <a:pt x="518" y="91"/>
                  <a:pt x="519" y="92"/>
                </a:cubicBezTo>
                <a:cubicBezTo>
                  <a:pt x="519" y="92"/>
                  <a:pt x="519" y="92"/>
                  <a:pt x="519" y="93"/>
                </a:cubicBezTo>
                <a:cubicBezTo>
                  <a:pt x="519" y="93"/>
                  <a:pt x="519" y="93"/>
                  <a:pt x="520" y="93"/>
                </a:cubicBezTo>
                <a:cubicBezTo>
                  <a:pt x="520" y="93"/>
                  <a:pt x="521" y="93"/>
                  <a:pt x="521" y="94"/>
                </a:cubicBezTo>
                <a:cubicBezTo>
                  <a:pt x="522" y="94"/>
                  <a:pt x="523" y="94"/>
                  <a:pt x="522" y="94"/>
                </a:cubicBezTo>
                <a:cubicBezTo>
                  <a:pt x="522" y="94"/>
                  <a:pt x="522" y="95"/>
                  <a:pt x="522" y="95"/>
                </a:cubicBezTo>
                <a:cubicBezTo>
                  <a:pt x="522" y="95"/>
                  <a:pt x="521" y="95"/>
                  <a:pt x="521" y="95"/>
                </a:cubicBezTo>
                <a:cubicBezTo>
                  <a:pt x="521" y="95"/>
                  <a:pt x="519" y="95"/>
                  <a:pt x="519" y="95"/>
                </a:cubicBezTo>
                <a:cubicBezTo>
                  <a:pt x="519" y="95"/>
                  <a:pt x="519" y="95"/>
                  <a:pt x="520" y="95"/>
                </a:cubicBezTo>
                <a:cubicBezTo>
                  <a:pt x="519" y="96"/>
                  <a:pt x="518" y="95"/>
                  <a:pt x="517" y="96"/>
                </a:cubicBezTo>
                <a:cubicBezTo>
                  <a:pt x="517" y="96"/>
                  <a:pt x="518" y="96"/>
                  <a:pt x="518" y="96"/>
                </a:cubicBezTo>
                <a:cubicBezTo>
                  <a:pt x="518" y="96"/>
                  <a:pt x="517" y="96"/>
                  <a:pt x="517" y="96"/>
                </a:cubicBezTo>
                <a:cubicBezTo>
                  <a:pt x="516" y="96"/>
                  <a:pt x="516" y="96"/>
                  <a:pt x="516" y="96"/>
                </a:cubicBezTo>
                <a:cubicBezTo>
                  <a:pt x="514" y="96"/>
                  <a:pt x="513" y="96"/>
                  <a:pt x="512" y="96"/>
                </a:cubicBezTo>
                <a:cubicBezTo>
                  <a:pt x="511" y="97"/>
                  <a:pt x="510" y="97"/>
                  <a:pt x="509" y="97"/>
                </a:cubicBezTo>
                <a:cubicBezTo>
                  <a:pt x="508" y="97"/>
                  <a:pt x="507" y="97"/>
                  <a:pt x="506" y="98"/>
                </a:cubicBezTo>
                <a:cubicBezTo>
                  <a:pt x="508" y="99"/>
                  <a:pt x="511" y="97"/>
                  <a:pt x="513" y="97"/>
                </a:cubicBezTo>
                <a:cubicBezTo>
                  <a:pt x="514" y="96"/>
                  <a:pt x="516" y="96"/>
                  <a:pt x="517" y="96"/>
                </a:cubicBezTo>
                <a:cubicBezTo>
                  <a:pt x="518" y="96"/>
                  <a:pt x="518" y="96"/>
                  <a:pt x="519" y="96"/>
                </a:cubicBezTo>
                <a:cubicBezTo>
                  <a:pt x="519" y="96"/>
                  <a:pt x="519" y="96"/>
                  <a:pt x="519" y="96"/>
                </a:cubicBezTo>
                <a:cubicBezTo>
                  <a:pt x="519" y="96"/>
                  <a:pt x="520" y="96"/>
                  <a:pt x="520" y="96"/>
                </a:cubicBezTo>
                <a:cubicBezTo>
                  <a:pt x="520" y="96"/>
                  <a:pt x="521" y="96"/>
                  <a:pt x="521" y="96"/>
                </a:cubicBezTo>
                <a:cubicBezTo>
                  <a:pt x="520" y="97"/>
                  <a:pt x="519" y="97"/>
                  <a:pt x="518" y="97"/>
                </a:cubicBezTo>
                <a:cubicBezTo>
                  <a:pt x="519" y="97"/>
                  <a:pt x="519" y="97"/>
                  <a:pt x="519" y="97"/>
                </a:cubicBezTo>
                <a:cubicBezTo>
                  <a:pt x="519" y="97"/>
                  <a:pt x="519" y="97"/>
                  <a:pt x="519" y="97"/>
                </a:cubicBezTo>
                <a:cubicBezTo>
                  <a:pt x="520" y="97"/>
                  <a:pt x="518" y="98"/>
                  <a:pt x="518" y="98"/>
                </a:cubicBezTo>
                <a:cubicBezTo>
                  <a:pt x="520" y="98"/>
                  <a:pt x="520" y="98"/>
                  <a:pt x="521" y="97"/>
                </a:cubicBezTo>
                <a:cubicBezTo>
                  <a:pt x="521" y="96"/>
                  <a:pt x="521" y="96"/>
                  <a:pt x="522" y="96"/>
                </a:cubicBezTo>
                <a:cubicBezTo>
                  <a:pt x="522" y="96"/>
                  <a:pt x="522" y="96"/>
                  <a:pt x="523" y="96"/>
                </a:cubicBezTo>
                <a:cubicBezTo>
                  <a:pt x="523" y="95"/>
                  <a:pt x="522" y="95"/>
                  <a:pt x="522" y="95"/>
                </a:cubicBezTo>
                <a:cubicBezTo>
                  <a:pt x="522" y="95"/>
                  <a:pt x="523" y="94"/>
                  <a:pt x="524" y="94"/>
                </a:cubicBezTo>
                <a:cubicBezTo>
                  <a:pt x="524" y="93"/>
                  <a:pt x="525" y="94"/>
                  <a:pt x="526" y="93"/>
                </a:cubicBezTo>
                <a:cubicBezTo>
                  <a:pt x="526" y="93"/>
                  <a:pt x="526" y="93"/>
                  <a:pt x="526" y="92"/>
                </a:cubicBezTo>
                <a:cubicBezTo>
                  <a:pt x="526" y="92"/>
                  <a:pt x="526" y="92"/>
                  <a:pt x="527" y="92"/>
                </a:cubicBezTo>
                <a:cubicBezTo>
                  <a:pt x="527" y="91"/>
                  <a:pt x="525" y="92"/>
                  <a:pt x="525" y="92"/>
                </a:cubicBezTo>
                <a:cubicBezTo>
                  <a:pt x="525" y="92"/>
                  <a:pt x="524" y="92"/>
                  <a:pt x="524" y="92"/>
                </a:cubicBezTo>
                <a:cubicBezTo>
                  <a:pt x="523" y="92"/>
                  <a:pt x="522" y="92"/>
                  <a:pt x="522" y="91"/>
                </a:cubicBezTo>
                <a:cubicBezTo>
                  <a:pt x="522" y="91"/>
                  <a:pt x="522" y="91"/>
                  <a:pt x="521" y="90"/>
                </a:cubicBezTo>
                <a:cubicBezTo>
                  <a:pt x="522" y="90"/>
                  <a:pt x="523" y="91"/>
                  <a:pt x="522" y="90"/>
                </a:cubicBezTo>
                <a:cubicBezTo>
                  <a:pt x="522" y="89"/>
                  <a:pt x="520" y="89"/>
                  <a:pt x="520" y="89"/>
                </a:cubicBezTo>
                <a:cubicBezTo>
                  <a:pt x="520" y="89"/>
                  <a:pt x="520" y="88"/>
                  <a:pt x="520" y="88"/>
                </a:cubicBezTo>
                <a:cubicBezTo>
                  <a:pt x="520" y="89"/>
                  <a:pt x="520" y="89"/>
                  <a:pt x="520" y="89"/>
                </a:cubicBezTo>
                <a:cubicBezTo>
                  <a:pt x="520" y="89"/>
                  <a:pt x="520" y="88"/>
                  <a:pt x="520" y="88"/>
                </a:cubicBezTo>
                <a:cubicBezTo>
                  <a:pt x="521" y="88"/>
                  <a:pt x="521" y="89"/>
                  <a:pt x="522" y="88"/>
                </a:cubicBezTo>
                <a:cubicBezTo>
                  <a:pt x="521" y="88"/>
                  <a:pt x="523" y="88"/>
                  <a:pt x="524" y="88"/>
                </a:cubicBezTo>
                <a:cubicBezTo>
                  <a:pt x="524" y="88"/>
                  <a:pt x="524" y="88"/>
                  <a:pt x="524" y="87"/>
                </a:cubicBezTo>
                <a:cubicBezTo>
                  <a:pt x="524" y="87"/>
                  <a:pt x="525" y="87"/>
                  <a:pt x="525" y="87"/>
                </a:cubicBezTo>
                <a:cubicBezTo>
                  <a:pt x="525" y="87"/>
                  <a:pt x="525" y="87"/>
                  <a:pt x="525" y="87"/>
                </a:cubicBezTo>
                <a:cubicBezTo>
                  <a:pt x="525" y="86"/>
                  <a:pt x="526" y="87"/>
                  <a:pt x="526" y="86"/>
                </a:cubicBezTo>
                <a:cubicBezTo>
                  <a:pt x="526" y="86"/>
                  <a:pt x="526" y="86"/>
                  <a:pt x="525" y="86"/>
                </a:cubicBezTo>
                <a:cubicBezTo>
                  <a:pt x="526" y="86"/>
                  <a:pt x="526" y="86"/>
                  <a:pt x="526" y="86"/>
                </a:cubicBezTo>
                <a:cubicBezTo>
                  <a:pt x="527" y="86"/>
                  <a:pt x="527" y="86"/>
                  <a:pt x="527" y="86"/>
                </a:cubicBezTo>
                <a:cubicBezTo>
                  <a:pt x="527" y="86"/>
                  <a:pt x="529" y="86"/>
                  <a:pt x="528" y="87"/>
                </a:cubicBezTo>
                <a:cubicBezTo>
                  <a:pt x="528" y="87"/>
                  <a:pt x="529" y="86"/>
                  <a:pt x="529" y="87"/>
                </a:cubicBezTo>
                <a:cubicBezTo>
                  <a:pt x="530" y="87"/>
                  <a:pt x="530" y="87"/>
                  <a:pt x="531" y="87"/>
                </a:cubicBezTo>
                <a:cubicBezTo>
                  <a:pt x="531" y="88"/>
                  <a:pt x="531" y="88"/>
                  <a:pt x="532" y="88"/>
                </a:cubicBezTo>
                <a:cubicBezTo>
                  <a:pt x="532" y="88"/>
                  <a:pt x="531" y="89"/>
                  <a:pt x="532" y="89"/>
                </a:cubicBezTo>
                <a:cubicBezTo>
                  <a:pt x="532" y="89"/>
                  <a:pt x="532" y="89"/>
                  <a:pt x="532" y="88"/>
                </a:cubicBezTo>
                <a:cubicBezTo>
                  <a:pt x="533" y="88"/>
                  <a:pt x="531" y="88"/>
                  <a:pt x="532" y="87"/>
                </a:cubicBezTo>
                <a:cubicBezTo>
                  <a:pt x="531" y="87"/>
                  <a:pt x="531" y="87"/>
                  <a:pt x="530" y="87"/>
                </a:cubicBezTo>
                <a:cubicBezTo>
                  <a:pt x="531" y="87"/>
                  <a:pt x="531" y="86"/>
                  <a:pt x="531" y="86"/>
                </a:cubicBezTo>
                <a:cubicBezTo>
                  <a:pt x="530" y="86"/>
                  <a:pt x="530" y="86"/>
                  <a:pt x="530" y="86"/>
                </a:cubicBezTo>
                <a:cubicBezTo>
                  <a:pt x="530" y="86"/>
                  <a:pt x="531" y="85"/>
                  <a:pt x="531" y="85"/>
                </a:cubicBezTo>
                <a:cubicBezTo>
                  <a:pt x="532" y="85"/>
                  <a:pt x="533" y="86"/>
                  <a:pt x="534" y="85"/>
                </a:cubicBezTo>
                <a:cubicBezTo>
                  <a:pt x="533" y="85"/>
                  <a:pt x="532" y="85"/>
                  <a:pt x="531" y="85"/>
                </a:cubicBezTo>
                <a:cubicBezTo>
                  <a:pt x="531" y="85"/>
                  <a:pt x="532" y="85"/>
                  <a:pt x="532" y="85"/>
                </a:cubicBezTo>
                <a:cubicBezTo>
                  <a:pt x="531" y="85"/>
                  <a:pt x="530" y="85"/>
                  <a:pt x="529" y="85"/>
                </a:cubicBezTo>
                <a:cubicBezTo>
                  <a:pt x="530" y="85"/>
                  <a:pt x="528" y="85"/>
                  <a:pt x="528" y="85"/>
                </a:cubicBezTo>
                <a:cubicBezTo>
                  <a:pt x="528" y="85"/>
                  <a:pt x="527" y="85"/>
                  <a:pt x="527" y="84"/>
                </a:cubicBezTo>
                <a:cubicBezTo>
                  <a:pt x="527" y="84"/>
                  <a:pt x="528" y="84"/>
                  <a:pt x="528" y="83"/>
                </a:cubicBezTo>
                <a:cubicBezTo>
                  <a:pt x="528" y="83"/>
                  <a:pt x="528" y="83"/>
                  <a:pt x="527" y="83"/>
                </a:cubicBezTo>
                <a:cubicBezTo>
                  <a:pt x="527" y="83"/>
                  <a:pt x="528" y="82"/>
                  <a:pt x="528" y="82"/>
                </a:cubicBezTo>
                <a:cubicBezTo>
                  <a:pt x="529" y="81"/>
                  <a:pt x="530" y="80"/>
                  <a:pt x="532" y="80"/>
                </a:cubicBezTo>
                <a:cubicBezTo>
                  <a:pt x="534" y="80"/>
                  <a:pt x="535" y="81"/>
                  <a:pt x="537" y="81"/>
                </a:cubicBezTo>
                <a:cubicBezTo>
                  <a:pt x="537" y="81"/>
                  <a:pt x="538" y="82"/>
                  <a:pt x="539" y="82"/>
                </a:cubicBezTo>
                <a:cubicBezTo>
                  <a:pt x="539" y="82"/>
                  <a:pt x="540" y="82"/>
                  <a:pt x="540" y="82"/>
                </a:cubicBezTo>
                <a:cubicBezTo>
                  <a:pt x="540" y="82"/>
                  <a:pt x="540" y="82"/>
                  <a:pt x="539" y="82"/>
                </a:cubicBezTo>
                <a:cubicBezTo>
                  <a:pt x="539" y="81"/>
                  <a:pt x="538" y="81"/>
                  <a:pt x="538" y="81"/>
                </a:cubicBezTo>
                <a:cubicBezTo>
                  <a:pt x="537" y="81"/>
                  <a:pt x="537" y="81"/>
                  <a:pt x="536" y="80"/>
                </a:cubicBezTo>
                <a:cubicBezTo>
                  <a:pt x="536" y="80"/>
                  <a:pt x="535" y="80"/>
                  <a:pt x="534" y="80"/>
                </a:cubicBezTo>
                <a:cubicBezTo>
                  <a:pt x="535" y="80"/>
                  <a:pt x="534" y="79"/>
                  <a:pt x="534" y="80"/>
                </a:cubicBezTo>
                <a:cubicBezTo>
                  <a:pt x="533" y="80"/>
                  <a:pt x="532" y="80"/>
                  <a:pt x="532" y="79"/>
                </a:cubicBezTo>
                <a:cubicBezTo>
                  <a:pt x="532" y="79"/>
                  <a:pt x="533" y="79"/>
                  <a:pt x="533" y="79"/>
                </a:cubicBezTo>
                <a:cubicBezTo>
                  <a:pt x="534" y="78"/>
                  <a:pt x="534" y="79"/>
                  <a:pt x="534" y="79"/>
                </a:cubicBezTo>
                <a:cubicBezTo>
                  <a:pt x="534" y="79"/>
                  <a:pt x="535" y="79"/>
                  <a:pt x="535" y="79"/>
                </a:cubicBezTo>
                <a:cubicBezTo>
                  <a:pt x="535" y="78"/>
                  <a:pt x="535" y="78"/>
                  <a:pt x="535" y="78"/>
                </a:cubicBezTo>
                <a:cubicBezTo>
                  <a:pt x="537" y="79"/>
                  <a:pt x="538" y="79"/>
                  <a:pt x="540" y="79"/>
                </a:cubicBezTo>
                <a:cubicBezTo>
                  <a:pt x="541" y="79"/>
                  <a:pt x="541" y="79"/>
                  <a:pt x="542" y="79"/>
                </a:cubicBezTo>
                <a:cubicBezTo>
                  <a:pt x="543" y="79"/>
                  <a:pt x="544" y="80"/>
                  <a:pt x="544" y="80"/>
                </a:cubicBezTo>
                <a:cubicBezTo>
                  <a:pt x="543" y="79"/>
                  <a:pt x="541" y="79"/>
                  <a:pt x="540" y="79"/>
                </a:cubicBezTo>
                <a:cubicBezTo>
                  <a:pt x="539" y="79"/>
                  <a:pt x="538" y="78"/>
                  <a:pt x="537" y="78"/>
                </a:cubicBezTo>
                <a:cubicBezTo>
                  <a:pt x="537" y="78"/>
                  <a:pt x="535" y="78"/>
                  <a:pt x="536" y="77"/>
                </a:cubicBezTo>
                <a:cubicBezTo>
                  <a:pt x="537" y="77"/>
                  <a:pt x="539" y="76"/>
                  <a:pt x="540" y="76"/>
                </a:cubicBezTo>
                <a:cubicBezTo>
                  <a:pt x="540" y="76"/>
                  <a:pt x="540" y="77"/>
                  <a:pt x="540" y="77"/>
                </a:cubicBezTo>
                <a:cubicBezTo>
                  <a:pt x="540" y="77"/>
                  <a:pt x="540" y="77"/>
                  <a:pt x="541" y="77"/>
                </a:cubicBezTo>
                <a:cubicBezTo>
                  <a:pt x="541" y="77"/>
                  <a:pt x="542" y="78"/>
                  <a:pt x="541" y="78"/>
                </a:cubicBezTo>
                <a:cubicBezTo>
                  <a:pt x="541" y="77"/>
                  <a:pt x="541" y="77"/>
                  <a:pt x="541" y="77"/>
                </a:cubicBezTo>
                <a:cubicBezTo>
                  <a:pt x="541" y="76"/>
                  <a:pt x="541" y="76"/>
                  <a:pt x="542" y="76"/>
                </a:cubicBezTo>
                <a:cubicBezTo>
                  <a:pt x="542" y="76"/>
                  <a:pt x="543" y="76"/>
                  <a:pt x="544" y="76"/>
                </a:cubicBezTo>
                <a:cubicBezTo>
                  <a:pt x="545" y="75"/>
                  <a:pt x="545" y="76"/>
                  <a:pt x="546" y="76"/>
                </a:cubicBezTo>
                <a:cubicBezTo>
                  <a:pt x="547" y="76"/>
                  <a:pt x="547" y="76"/>
                  <a:pt x="547" y="76"/>
                </a:cubicBezTo>
                <a:cubicBezTo>
                  <a:pt x="546" y="77"/>
                  <a:pt x="547" y="77"/>
                  <a:pt x="547" y="77"/>
                </a:cubicBezTo>
                <a:cubicBezTo>
                  <a:pt x="547" y="77"/>
                  <a:pt x="547" y="77"/>
                  <a:pt x="547" y="76"/>
                </a:cubicBezTo>
                <a:cubicBezTo>
                  <a:pt x="548" y="76"/>
                  <a:pt x="548" y="76"/>
                  <a:pt x="548" y="76"/>
                </a:cubicBezTo>
                <a:cubicBezTo>
                  <a:pt x="547" y="75"/>
                  <a:pt x="547" y="75"/>
                  <a:pt x="546" y="75"/>
                </a:cubicBezTo>
                <a:cubicBezTo>
                  <a:pt x="547" y="75"/>
                  <a:pt x="548" y="75"/>
                  <a:pt x="549" y="75"/>
                </a:cubicBezTo>
                <a:cubicBezTo>
                  <a:pt x="549" y="74"/>
                  <a:pt x="550" y="74"/>
                  <a:pt x="550" y="74"/>
                </a:cubicBezTo>
                <a:cubicBezTo>
                  <a:pt x="551" y="74"/>
                  <a:pt x="552" y="74"/>
                  <a:pt x="553" y="74"/>
                </a:cubicBezTo>
                <a:cubicBezTo>
                  <a:pt x="554" y="74"/>
                  <a:pt x="555" y="73"/>
                  <a:pt x="556" y="73"/>
                </a:cubicBezTo>
                <a:cubicBezTo>
                  <a:pt x="557" y="73"/>
                  <a:pt x="559" y="73"/>
                  <a:pt x="560" y="73"/>
                </a:cubicBezTo>
                <a:cubicBezTo>
                  <a:pt x="561" y="73"/>
                  <a:pt x="562" y="73"/>
                  <a:pt x="564" y="73"/>
                </a:cubicBezTo>
                <a:cubicBezTo>
                  <a:pt x="564" y="73"/>
                  <a:pt x="564" y="73"/>
                  <a:pt x="565" y="74"/>
                </a:cubicBezTo>
                <a:cubicBezTo>
                  <a:pt x="565" y="74"/>
                  <a:pt x="564" y="74"/>
                  <a:pt x="565" y="74"/>
                </a:cubicBezTo>
                <a:cubicBezTo>
                  <a:pt x="566" y="76"/>
                  <a:pt x="562" y="77"/>
                  <a:pt x="564" y="78"/>
                </a:cubicBezTo>
                <a:cubicBezTo>
                  <a:pt x="564" y="78"/>
                  <a:pt x="565" y="78"/>
                  <a:pt x="565" y="78"/>
                </a:cubicBezTo>
                <a:cubicBezTo>
                  <a:pt x="566" y="79"/>
                  <a:pt x="565" y="79"/>
                  <a:pt x="565" y="79"/>
                </a:cubicBezTo>
                <a:cubicBezTo>
                  <a:pt x="564" y="80"/>
                  <a:pt x="564" y="80"/>
                  <a:pt x="564" y="81"/>
                </a:cubicBezTo>
                <a:cubicBezTo>
                  <a:pt x="564" y="81"/>
                  <a:pt x="564" y="81"/>
                  <a:pt x="564" y="81"/>
                </a:cubicBezTo>
                <a:cubicBezTo>
                  <a:pt x="565" y="81"/>
                  <a:pt x="565" y="81"/>
                  <a:pt x="565" y="82"/>
                </a:cubicBezTo>
                <a:cubicBezTo>
                  <a:pt x="565" y="82"/>
                  <a:pt x="564" y="82"/>
                  <a:pt x="563" y="83"/>
                </a:cubicBezTo>
                <a:cubicBezTo>
                  <a:pt x="562" y="83"/>
                  <a:pt x="562" y="83"/>
                  <a:pt x="561" y="84"/>
                </a:cubicBezTo>
                <a:cubicBezTo>
                  <a:pt x="558" y="84"/>
                  <a:pt x="556" y="86"/>
                  <a:pt x="553" y="86"/>
                </a:cubicBezTo>
                <a:cubicBezTo>
                  <a:pt x="555" y="86"/>
                  <a:pt x="556" y="86"/>
                  <a:pt x="557" y="85"/>
                </a:cubicBezTo>
                <a:cubicBezTo>
                  <a:pt x="558" y="85"/>
                  <a:pt x="559" y="84"/>
                  <a:pt x="560" y="84"/>
                </a:cubicBezTo>
                <a:cubicBezTo>
                  <a:pt x="562" y="84"/>
                  <a:pt x="560" y="85"/>
                  <a:pt x="560" y="85"/>
                </a:cubicBezTo>
                <a:cubicBezTo>
                  <a:pt x="559" y="86"/>
                  <a:pt x="558" y="86"/>
                  <a:pt x="558" y="86"/>
                </a:cubicBezTo>
                <a:cubicBezTo>
                  <a:pt x="557" y="86"/>
                  <a:pt x="557" y="87"/>
                  <a:pt x="556" y="87"/>
                </a:cubicBezTo>
                <a:cubicBezTo>
                  <a:pt x="556" y="87"/>
                  <a:pt x="557" y="87"/>
                  <a:pt x="557" y="88"/>
                </a:cubicBezTo>
                <a:cubicBezTo>
                  <a:pt x="558" y="88"/>
                  <a:pt x="557" y="88"/>
                  <a:pt x="557" y="88"/>
                </a:cubicBezTo>
                <a:cubicBezTo>
                  <a:pt x="556" y="88"/>
                  <a:pt x="556" y="88"/>
                  <a:pt x="556" y="88"/>
                </a:cubicBezTo>
                <a:cubicBezTo>
                  <a:pt x="555" y="88"/>
                  <a:pt x="554" y="88"/>
                  <a:pt x="554" y="88"/>
                </a:cubicBezTo>
                <a:cubicBezTo>
                  <a:pt x="554" y="88"/>
                  <a:pt x="555" y="88"/>
                  <a:pt x="556" y="88"/>
                </a:cubicBezTo>
                <a:cubicBezTo>
                  <a:pt x="556" y="88"/>
                  <a:pt x="555" y="89"/>
                  <a:pt x="555" y="89"/>
                </a:cubicBezTo>
                <a:cubicBezTo>
                  <a:pt x="554" y="89"/>
                  <a:pt x="554" y="89"/>
                  <a:pt x="553" y="90"/>
                </a:cubicBezTo>
                <a:cubicBezTo>
                  <a:pt x="554" y="90"/>
                  <a:pt x="556" y="89"/>
                  <a:pt x="557" y="88"/>
                </a:cubicBezTo>
                <a:cubicBezTo>
                  <a:pt x="557" y="88"/>
                  <a:pt x="558" y="88"/>
                  <a:pt x="559" y="88"/>
                </a:cubicBezTo>
                <a:cubicBezTo>
                  <a:pt x="560" y="88"/>
                  <a:pt x="559" y="88"/>
                  <a:pt x="559" y="87"/>
                </a:cubicBezTo>
                <a:cubicBezTo>
                  <a:pt x="559" y="87"/>
                  <a:pt x="560" y="87"/>
                  <a:pt x="560" y="87"/>
                </a:cubicBezTo>
                <a:cubicBezTo>
                  <a:pt x="561" y="87"/>
                  <a:pt x="561" y="87"/>
                  <a:pt x="561" y="86"/>
                </a:cubicBezTo>
                <a:cubicBezTo>
                  <a:pt x="561" y="86"/>
                  <a:pt x="561" y="86"/>
                  <a:pt x="562" y="86"/>
                </a:cubicBezTo>
                <a:cubicBezTo>
                  <a:pt x="562" y="86"/>
                  <a:pt x="562" y="87"/>
                  <a:pt x="562" y="87"/>
                </a:cubicBezTo>
                <a:cubicBezTo>
                  <a:pt x="563" y="87"/>
                  <a:pt x="563" y="87"/>
                  <a:pt x="564" y="87"/>
                </a:cubicBezTo>
                <a:cubicBezTo>
                  <a:pt x="564" y="87"/>
                  <a:pt x="562" y="86"/>
                  <a:pt x="562" y="86"/>
                </a:cubicBezTo>
                <a:cubicBezTo>
                  <a:pt x="563" y="85"/>
                  <a:pt x="564" y="85"/>
                  <a:pt x="565" y="85"/>
                </a:cubicBezTo>
                <a:cubicBezTo>
                  <a:pt x="565" y="85"/>
                  <a:pt x="565" y="85"/>
                  <a:pt x="565" y="84"/>
                </a:cubicBezTo>
                <a:cubicBezTo>
                  <a:pt x="566" y="84"/>
                  <a:pt x="566" y="84"/>
                  <a:pt x="566" y="84"/>
                </a:cubicBezTo>
                <a:cubicBezTo>
                  <a:pt x="566" y="84"/>
                  <a:pt x="566" y="84"/>
                  <a:pt x="566" y="84"/>
                </a:cubicBezTo>
                <a:cubicBezTo>
                  <a:pt x="566" y="85"/>
                  <a:pt x="565" y="85"/>
                  <a:pt x="566" y="85"/>
                </a:cubicBezTo>
                <a:cubicBezTo>
                  <a:pt x="566" y="86"/>
                  <a:pt x="566" y="86"/>
                  <a:pt x="565" y="86"/>
                </a:cubicBezTo>
                <a:cubicBezTo>
                  <a:pt x="565" y="86"/>
                  <a:pt x="564" y="86"/>
                  <a:pt x="564" y="87"/>
                </a:cubicBezTo>
                <a:cubicBezTo>
                  <a:pt x="564" y="87"/>
                  <a:pt x="567" y="85"/>
                  <a:pt x="566" y="87"/>
                </a:cubicBezTo>
                <a:cubicBezTo>
                  <a:pt x="566" y="87"/>
                  <a:pt x="566" y="86"/>
                  <a:pt x="566" y="86"/>
                </a:cubicBezTo>
                <a:cubicBezTo>
                  <a:pt x="567" y="86"/>
                  <a:pt x="567" y="86"/>
                  <a:pt x="568" y="85"/>
                </a:cubicBezTo>
                <a:cubicBezTo>
                  <a:pt x="568" y="85"/>
                  <a:pt x="569" y="85"/>
                  <a:pt x="569" y="85"/>
                </a:cubicBezTo>
                <a:cubicBezTo>
                  <a:pt x="569" y="86"/>
                  <a:pt x="570" y="86"/>
                  <a:pt x="570" y="86"/>
                </a:cubicBezTo>
                <a:cubicBezTo>
                  <a:pt x="570" y="87"/>
                  <a:pt x="569" y="87"/>
                  <a:pt x="568" y="88"/>
                </a:cubicBezTo>
                <a:cubicBezTo>
                  <a:pt x="568" y="88"/>
                  <a:pt x="566" y="89"/>
                  <a:pt x="566" y="89"/>
                </a:cubicBezTo>
                <a:cubicBezTo>
                  <a:pt x="566" y="89"/>
                  <a:pt x="567" y="89"/>
                  <a:pt x="567" y="89"/>
                </a:cubicBezTo>
                <a:cubicBezTo>
                  <a:pt x="567" y="89"/>
                  <a:pt x="568" y="89"/>
                  <a:pt x="568" y="89"/>
                </a:cubicBezTo>
                <a:cubicBezTo>
                  <a:pt x="569" y="89"/>
                  <a:pt x="570" y="90"/>
                  <a:pt x="570" y="90"/>
                </a:cubicBezTo>
                <a:cubicBezTo>
                  <a:pt x="569" y="89"/>
                  <a:pt x="570" y="89"/>
                  <a:pt x="570" y="89"/>
                </a:cubicBezTo>
                <a:cubicBezTo>
                  <a:pt x="569" y="89"/>
                  <a:pt x="569" y="89"/>
                  <a:pt x="568" y="89"/>
                </a:cubicBezTo>
                <a:cubicBezTo>
                  <a:pt x="568" y="88"/>
                  <a:pt x="570" y="87"/>
                  <a:pt x="570" y="87"/>
                </a:cubicBezTo>
                <a:cubicBezTo>
                  <a:pt x="571" y="87"/>
                  <a:pt x="571" y="87"/>
                  <a:pt x="572" y="88"/>
                </a:cubicBezTo>
                <a:cubicBezTo>
                  <a:pt x="572" y="88"/>
                  <a:pt x="572" y="89"/>
                  <a:pt x="571" y="89"/>
                </a:cubicBezTo>
                <a:cubicBezTo>
                  <a:pt x="571" y="90"/>
                  <a:pt x="573" y="91"/>
                  <a:pt x="573" y="91"/>
                </a:cubicBezTo>
                <a:cubicBezTo>
                  <a:pt x="573" y="90"/>
                  <a:pt x="572" y="90"/>
                  <a:pt x="572" y="89"/>
                </a:cubicBezTo>
                <a:cubicBezTo>
                  <a:pt x="572" y="89"/>
                  <a:pt x="573" y="89"/>
                  <a:pt x="573" y="89"/>
                </a:cubicBezTo>
                <a:cubicBezTo>
                  <a:pt x="573" y="89"/>
                  <a:pt x="573" y="90"/>
                  <a:pt x="573" y="90"/>
                </a:cubicBezTo>
                <a:cubicBezTo>
                  <a:pt x="574" y="90"/>
                  <a:pt x="574" y="90"/>
                  <a:pt x="574" y="91"/>
                </a:cubicBezTo>
                <a:cubicBezTo>
                  <a:pt x="574" y="91"/>
                  <a:pt x="575" y="90"/>
                  <a:pt x="575" y="90"/>
                </a:cubicBezTo>
                <a:cubicBezTo>
                  <a:pt x="574" y="90"/>
                  <a:pt x="573" y="90"/>
                  <a:pt x="573" y="89"/>
                </a:cubicBezTo>
                <a:cubicBezTo>
                  <a:pt x="573" y="89"/>
                  <a:pt x="573" y="89"/>
                  <a:pt x="573" y="89"/>
                </a:cubicBezTo>
                <a:cubicBezTo>
                  <a:pt x="572" y="89"/>
                  <a:pt x="572" y="89"/>
                  <a:pt x="572" y="88"/>
                </a:cubicBezTo>
                <a:cubicBezTo>
                  <a:pt x="573" y="87"/>
                  <a:pt x="572" y="87"/>
                  <a:pt x="571" y="87"/>
                </a:cubicBezTo>
                <a:cubicBezTo>
                  <a:pt x="569" y="86"/>
                  <a:pt x="571" y="86"/>
                  <a:pt x="571" y="86"/>
                </a:cubicBezTo>
                <a:cubicBezTo>
                  <a:pt x="571" y="85"/>
                  <a:pt x="572" y="86"/>
                  <a:pt x="572" y="86"/>
                </a:cubicBezTo>
                <a:cubicBezTo>
                  <a:pt x="572" y="86"/>
                  <a:pt x="573" y="85"/>
                  <a:pt x="573" y="85"/>
                </a:cubicBezTo>
                <a:cubicBezTo>
                  <a:pt x="574" y="86"/>
                  <a:pt x="572" y="87"/>
                  <a:pt x="573" y="87"/>
                </a:cubicBezTo>
                <a:cubicBezTo>
                  <a:pt x="573" y="87"/>
                  <a:pt x="573" y="87"/>
                  <a:pt x="573" y="86"/>
                </a:cubicBezTo>
                <a:cubicBezTo>
                  <a:pt x="573" y="86"/>
                  <a:pt x="574" y="86"/>
                  <a:pt x="574" y="86"/>
                </a:cubicBezTo>
                <a:cubicBezTo>
                  <a:pt x="575" y="86"/>
                  <a:pt x="575" y="86"/>
                  <a:pt x="576" y="86"/>
                </a:cubicBezTo>
                <a:cubicBezTo>
                  <a:pt x="576" y="86"/>
                  <a:pt x="577" y="86"/>
                  <a:pt x="576" y="86"/>
                </a:cubicBezTo>
                <a:cubicBezTo>
                  <a:pt x="577" y="86"/>
                  <a:pt x="578" y="86"/>
                  <a:pt x="578" y="87"/>
                </a:cubicBezTo>
                <a:cubicBezTo>
                  <a:pt x="578" y="87"/>
                  <a:pt x="578" y="88"/>
                  <a:pt x="578" y="88"/>
                </a:cubicBezTo>
                <a:cubicBezTo>
                  <a:pt x="578" y="88"/>
                  <a:pt x="578" y="87"/>
                  <a:pt x="578" y="87"/>
                </a:cubicBezTo>
                <a:cubicBezTo>
                  <a:pt x="579" y="87"/>
                  <a:pt x="579" y="87"/>
                  <a:pt x="579" y="87"/>
                </a:cubicBezTo>
                <a:cubicBezTo>
                  <a:pt x="580" y="87"/>
                  <a:pt x="581" y="87"/>
                  <a:pt x="582" y="87"/>
                </a:cubicBezTo>
                <a:cubicBezTo>
                  <a:pt x="581" y="87"/>
                  <a:pt x="580" y="87"/>
                  <a:pt x="579" y="87"/>
                </a:cubicBezTo>
                <a:cubicBezTo>
                  <a:pt x="578" y="86"/>
                  <a:pt x="577" y="86"/>
                  <a:pt x="576" y="86"/>
                </a:cubicBezTo>
                <a:cubicBezTo>
                  <a:pt x="575" y="86"/>
                  <a:pt x="574" y="85"/>
                  <a:pt x="574" y="85"/>
                </a:cubicBezTo>
                <a:cubicBezTo>
                  <a:pt x="574" y="84"/>
                  <a:pt x="575" y="84"/>
                  <a:pt x="576" y="83"/>
                </a:cubicBezTo>
                <a:cubicBezTo>
                  <a:pt x="577" y="83"/>
                  <a:pt x="579" y="83"/>
                  <a:pt x="581" y="82"/>
                </a:cubicBezTo>
                <a:cubicBezTo>
                  <a:pt x="581" y="82"/>
                  <a:pt x="582" y="82"/>
                  <a:pt x="583" y="82"/>
                </a:cubicBezTo>
                <a:cubicBezTo>
                  <a:pt x="584" y="82"/>
                  <a:pt x="585" y="82"/>
                  <a:pt x="587" y="82"/>
                </a:cubicBezTo>
                <a:cubicBezTo>
                  <a:pt x="587" y="82"/>
                  <a:pt x="589" y="82"/>
                  <a:pt x="588" y="83"/>
                </a:cubicBezTo>
                <a:cubicBezTo>
                  <a:pt x="589" y="83"/>
                  <a:pt x="592" y="83"/>
                  <a:pt x="591" y="84"/>
                </a:cubicBezTo>
                <a:cubicBezTo>
                  <a:pt x="590" y="84"/>
                  <a:pt x="591" y="85"/>
                  <a:pt x="592" y="84"/>
                </a:cubicBezTo>
                <a:cubicBezTo>
                  <a:pt x="592" y="83"/>
                  <a:pt x="594" y="83"/>
                  <a:pt x="595" y="84"/>
                </a:cubicBezTo>
                <a:cubicBezTo>
                  <a:pt x="595" y="84"/>
                  <a:pt x="596" y="84"/>
                  <a:pt x="596" y="84"/>
                </a:cubicBezTo>
                <a:cubicBezTo>
                  <a:pt x="596" y="84"/>
                  <a:pt x="597" y="84"/>
                  <a:pt x="597" y="84"/>
                </a:cubicBezTo>
                <a:cubicBezTo>
                  <a:pt x="597" y="85"/>
                  <a:pt x="597" y="85"/>
                  <a:pt x="597" y="86"/>
                </a:cubicBezTo>
                <a:cubicBezTo>
                  <a:pt x="597" y="86"/>
                  <a:pt x="597" y="87"/>
                  <a:pt x="596" y="87"/>
                </a:cubicBezTo>
                <a:cubicBezTo>
                  <a:pt x="595" y="87"/>
                  <a:pt x="594" y="87"/>
                  <a:pt x="592" y="87"/>
                </a:cubicBezTo>
                <a:cubicBezTo>
                  <a:pt x="591" y="87"/>
                  <a:pt x="589" y="88"/>
                  <a:pt x="588" y="88"/>
                </a:cubicBezTo>
                <a:cubicBezTo>
                  <a:pt x="588" y="88"/>
                  <a:pt x="587" y="89"/>
                  <a:pt x="586" y="89"/>
                </a:cubicBezTo>
                <a:cubicBezTo>
                  <a:pt x="586" y="89"/>
                  <a:pt x="585" y="90"/>
                  <a:pt x="584" y="90"/>
                </a:cubicBezTo>
                <a:cubicBezTo>
                  <a:pt x="585" y="90"/>
                  <a:pt x="586" y="89"/>
                  <a:pt x="586" y="89"/>
                </a:cubicBezTo>
                <a:cubicBezTo>
                  <a:pt x="587" y="89"/>
                  <a:pt x="588" y="88"/>
                  <a:pt x="589" y="88"/>
                </a:cubicBezTo>
                <a:cubicBezTo>
                  <a:pt x="590" y="87"/>
                  <a:pt x="592" y="87"/>
                  <a:pt x="593" y="88"/>
                </a:cubicBezTo>
                <a:cubicBezTo>
                  <a:pt x="594" y="88"/>
                  <a:pt x="593" y="88"/>
                  <a:pt x="593" y="88"/>
                </a:cubicBezTo>
                <a:cubicBezTo>
                  <a:pt x="592" y="88"/>
                  <a:pt x="591" y="88"/>
                  <a:pt x="590" y="89"/>
                </a:cubicBezTo>
                <a:cubicBezTo>
                  <a:pt x="590" y="90"/>
                  <a:pt x="589" y="90"/>
                  <a:pt x="588" y="90"/>
                </a:cubicBezTo>
                <a:cubicBezTo>
                  <a:pt x="587" y="91"/>
                  <a:pt x="586" y="91"/>
                  <a:pt x="585" y="91"/>
                </a:cubicBezTo>
                <a:cubicBezTo>
                  <a:pt x="587" y="91"/>
                  <a:pt x="588" y="91"/>
                  <a:pt x="589" y="90"/>
                </a:cubicBezTo>
                <a:cubicBezTo>
                  <a:pt x="590" y="90"/>
                  <a:pt x="591" y="89"/>
                  <a:pt x="592" y="89"/>
                </a:cubicBezTo>
                <a:cubicBezTo>
                  <a:pt x="593" y="88"/>
                  <a:pt x="593" y="88"/>
                  <a:pt x="594" y="88"/>
                </a:cubicBezTo>
                <a:cubicBezTo>
                  <a:pt x="594" y="88"/>
                  <a:pt x="595" y="88"/>
                  <a:pt x="596" y="87"/>
                </a:cubicBezTo>
                <a:cubicBezTo>
                  <a:pt x="596" y="87"/>
                  <a:pt x="597" y="88"/>
                  <a:pt x="598" y="88"/>
                </a:cubicBezTo>
                <a:cubicBezTo>
                  <a:pt x="599" y="88"/>
                  <a:pt x="599" y="88"/>
                  <a:pt x="600" y="88"/>
                </a:cubicBezTo>
                <a:cubicBezTo>
                  <a:pt x="600" y="88"/>
                  <a:pt x="601" y="88"/>
                  <a:pt x="601" y="89"/>
                </a:cubicBezTo>
                <a:cubicBezTo>
                  <a:pt x="601" y="89"/>
                  <a:pt x="600" y="89"/>
                  <a:pt x="600" y="89"/>
                </a:cubicBezTo>
                <a:cubicBezTo>
                  <a:pt x="599" y="90"/>
                  <a:pt x="597" y="91"/>
                  <a:pt x="597" y="90"/>
                </a:cubicBezTo>
                <a:cubicBezTo>
                  <a:pt x="597" y="90"/>
                  <a:pt x="596" y="91"/>
                  <a:pt x="596" y="91"/>
                </a:cubicBezTo>
                <a:cubicBezTo>
                  <a:pt x="595" y="91"/>
                  <a:pt x="594" y="91"/>
                  <a:pt x="593" y="91"/>
                </a:cubicBezTo>
                <a:cubicBezTo>
                  <a:pt x="592" y="91"/>
                  <a:pt x="591" y="91"/>
                  <a:pt x="590" y="91"/>
                </a:cubicBezTo>
                <a:cubicBezTo>
                  <a:pt x="591" y="91"/>
                  <a:pt x="591" y="91"/>
                  <a:pt x="592" y="91"/>
                </a:cubicBezTo>
                <a:cubicBezTo>
                  <a:pt x="593" y="91"/>
                  <a:pt x="593" y="92"/>
                  <a:pt x="592" y="92"/>
                </a:cubicBezTo>
                <a:cubicBezTo>
                  <a:pt x="591" y="92"/>
                  <a:pt x="590" y="92"/>
                  <a:pt x="589" y="93"/>
                </a:cubicBezTo>
                <a:cubicBezTo>
                  <a:pt x="590" y="93"/>
                  <a:pt x="591" y="92"/>
                  <a:pt x="593" y="92"/>
                </a:cubicBezTo>
                <a:cubicBezTo>
                  <a:pt x="593" y="92"/>
                  <a:pt x="595" y="91"/>
                  <a:pt x="595" y="91"/>
                </a:cubicBezTo>
                <a:cubicBezTo>
                  <a:pt x="595" y="92"/>
                  <a:pt x="594" y="92"/>
                  <a:pt x="593" y="92"/>
                </a:cubicBezTo>
                <a:cubicBezTo>
                  <a:pt x="592" y="93"/>
                  <a:pt x="591" y="93"/>
                  <a:pt x="590" y="93"/>
                </a:cubicBezTo>
                <a:cubicBezTo>
                  <a:pt x="591" y="93"/>
                  <a:pt x="591" y="93"/>
                  <a:pt x="592" y="93"/>
                </a:cubicBezTo>
                <a:cubicBezTo>
                  <a:pt x="593" y="93"/>
                  <a:pt x="592" y="93"/>
                  <a:pt x="591" y="93"/>
                </a:cubicBezTo>
                <a:cubicBezTo>
                  <a:pt x="592" y="93"/>
                  <a:pt x="592" y="93"/>
                  <a:pt x="592" y="94"/>
                </a:cubicBezTo>
                <a:cubicBezTo>
                  <a:pt x="593" y="94"/>
                  <a:pt x="592" y="94"/>
                  <a:pt x="591" y="94"/>
                </a:cubicBezTo>
                <a:cubicBezTo>
                  <a:pt x="591" y="95"/>
                  <a:pt x="589" y="95"/>
                  <a:pt x="588" y="96"/>
                </a:cubicBezTo>
                <a:cubicBezTo>
                  <a:pt x="589" y="96"/>
                  <a:pt x="591" y="95"/>
                  <a:pt x="592" y="95"/>
                </a:cubicBezTo>
                <a:cubicBezTo>
                  <a:pt x="592" y="95"/>
                  <a:pt x="593" y="94"/>
                  <a:pt x="593" y="94"/>
                </a:cubicBezTo>
                <a:cubicBezTo>
                  <a:pt x="593" y="94"/>
                  <a:pt x="593" y="93"/>
                  <a:pt x="593" y="93"/>
                </a:cubicBezTo>
                <a:cubicBezTo>
                  <a:pt x="593" y="92"/>
                  <a:pt x="594" y="93"/>
                  <a:pt x="595" y="92"/>
                </a:cubicBezTo>
                <a:cubicBezTo>
                  <a:pt x="595" y="92"/>
                  <a:pt x="596" y="92"/>
                  <a:pt x="596" y="91"/>
                </a:cubicBezTo>
                <a:cubicBezTo>
                  <a:pt x="597" y="91"/>
                  <a:pt x="597" y="91"/>
                  <a:pt x="598" y="91"/>
                </a:cubicBezTo>
                <a:cubicBezTo>
                  <a:pt x="598" y="91"/>
                  <a:pt x="599" y="91"/>
                  <a:pt x="599" y="91"/>
                </a:cubicBezTo>
                <a:cubicBezTo>
                  <a:pt x="598" y="92"/>
                  <a:pt x="598" y="92"/>
                  <a:pt x="597" y="92"/>
                </a:cubicBezTo>
                <a:cubicBezTo>
                  <a:pt x="597" y="92"/>
                  <a:pt x="597" y="93"/>
                  <a:pt x="597" y="93"/>
                </a:cubicBezTo>
                <a:cubicBezTo>
                  <a:pt x="597" y="93"/>
                  <a:pt x="597" y="92"/>
                  <a:pt x="597" y="92"/>
                </a:cubicBezTo>
                <a:cubicBezTo>
                  <a:pt x="597" y="92"/>
                  <a:pt x="598" y="92"/>
                  <a:pt x="598" y="92"/>
                </a:cubicBezTo>
                <a:cubicBezTo>
                  <a:pt x="599" y="91"/>
                  <a:pt x="600" y="91"/>
                  <a:pt x="600" y="91"/>
                </a:cubicBezTo>
                <a:cubicBezTo>
                  <a:pt x="601" y="91"/>
                  <a:pt x="603" y="90"/>
                  <a:pt x="602" y="91"/>
                </a:cubicBezTo>
                <a:cubicBezTo>
                  <a:pt x="602" y="91"/>
                  <a:pt x="602" y="91"/>
                  <a:pt x="603" y="91"/>
                </a:cubicBezTo>
                <a:cubicBezTo>
                  <a:pt x="602" y="91"/>
                  <a:pt x="602" y="91"/>
                  <a:pt x="601" y="91"/>
                </a:cubicBezTo>
                <a:cubicBezTo>
                  <a:pt x="600" y="92"/>
                  <a:pt x="600" y="92"/>
                  <a:pt x="599" y="92"/>
                </a:cubicBezTo>
                <a:cubicBezTo>
                  <a:pt x="599" y="93"/>
                  <a:pt x="598" y="93"/>
                  <a:pt x="598" y="93"/>
                </a:cubicBezTo>
                <a:cubicBezTo>
                  <a:pt x="597" y="94"/>
                  <a:pt x="596" y="94"/>
                  <a:pt x="595" y="94"/>
                </a:cubicBezTo>
                <a:cubicBezTo>
                  <a:pt x="596" y="94"/>
                  <a:pt x="597" y="93"/>
                  <a:pt x="597" y="94"/>
                </a:cubicBezTo>
                <a:cubicBezTo>
                  <a:pt x="597" y="94"/>
                  <a:pt x="597" y="94"/>
                  <a:pt x="597" y="94"/>
                </a:cubicBezTo>
                <a:cubicBezTo>
                  <a:pt x="596" y="95"/>
                  <a:pt x="596" y="95"/>
                  <a:pt x="596" y="95"/>
                </a:cubicBezTo>
                <a:cubicBezTo>
                  <a:pt x="596" y="95"/>
                  <a:pt x="596" y="95"/>
                  <a:pt x="596" y="95"/>
                </a:cubicBezTo>
                <a:cubicBezTo>
                  <a:pt x="596" y="95"/>
                  <a:pt x="595" y="95"/>
                  <a:pt x="594" y="96"/>
                </a:cubicBezTo>
                <a:cubicBezTo>
                  <a:pt x="595" y="96"/>
                  <a:pt x="597" y="95"/>
                  <a:pt x="598" y="94"/>
                </a:cubicBezTo>
                <a:cubicBezTo>
                  <a:pt x="599" y="93"/>
                  <a:pt x="599" y="93"/>
                  <a:pt x="600" y="93"/>
                </a:cubicBezTo>
                <a:cubicBezTo>
                  <a:pt x="600" y="92"/>
                  <a:pt x="602" y="92"/>
                  <a:pt x="601" y="93"/>
                </a:cubicBezTo>
                <a:cubicBezTo>
                  <a:pt x="601" y="93"/>
                  <a:pt x="601" y="93"/>
                  <a:pt x="600" y="93"/>
                </a:cubicBezTo>
                <a:cubicBezTo>
                  <a:pt x="600" y="94"/>
                  <a:pt x="600" y="94"/>
                  <a:pt x="600" y="94"/>
                </a:cubicBezTo>
                <a:cubicBezTo>
                  <a:pt x="600" y="94"/>
                  <a:pt x="601" y="94"/>
                  <a:pt x="601" y="94"/>
                </a:cubicBezTo>
                <a:cubicBezTo>
                  <a:pt x="601" y="94"/>
                  <a:pt x="602" y="94"/>
                  <a:pt x="602" y="94"/>
                </a:cubicBezTo>
                <a:cubicBezTo>
                  <a:pt x="601" y="94"/>
                  <a:pt x="601" y="94"/>
                  <a:pt x="601" y="94"/>
                </a:cubicBezTo>
                <a:cubicBezTo>
                  <a:pt x="600" y="95"/>
                  <a:pt x="599" y="95"/>
                  <a:pt x="598" y="96"/>
                </a:cubicBezTo>
                <a:cubicBezTo>
                  <a:pt x="598" y="96"/>
                  <a:pt x="597" y="97"/>
                  <a:pt x="597" y="97"/>
                </a:cubicBezTo>
                <a:cubicBezTo>
                  <a:pt x="597" y="97"/>
                  <a:pt x="596" y="97"/>
                  <a:pt x="596" y="97"/>
                </a:cubicBezTo>
                <a:cubicBezTo>
                  <a:pt x="596" y="97"/>
                  <a:pt x="597" y="97"/>
                  <a:pt x="598" y="96"/>
                </a:cubicBezTo>
                <a:cubicBezTo>
                  <a:pt x="598" y="96"/>
                  <a:pt x="599" y="96"/>
                  <a:pt x="599" y="95"/>
                </a:cubicBezTo>
                <a:cubicBezTo>
                  <a:pt x="600" y="95"/>
                  <a:pt x="601" y="94"/>
                  <a:pt x="602" y="95"/>
                </a:cubicBezTo>
                <a:cubicBezTo>
                  <a:pt x="602" y="95"/>
                  <a:pt x="603" y="95"/>
                  <a:pt x="602" y="95"/>
                </a:cubicBezTo>
                <a:cubicBezTo>
                  <a:pt x="602" y="95"/>
                  <a:pt x="601" y="95"/>
                  <a:pt x="601" y="96"/>
                </a:cubicBezTo>
                <a:cubicBezTo>
                  <a:pt x="601" y="96"/>
                  <a:pt x="600" y="97"/>
                  <a:pt x="599" y="97"/>
                </a:cubicBezTo>
                <a:cubicBezTo>
                  <a:pt x="599" y="97"/>
                  <a:pt x="598" y="97"/>
                  <a:pt x="599" y="98"/>
                </a:cubicBezTo>
                <a:cubicBezTo>
                  <a:pt x="598" y="97"/>
                  <a:pt x="600" y="97"/>
                  <a:pt x="600" y="97"/>
                </a:cubicBezTo>
                <a:cubicBezTo>
                  <a:pt x="601" y="97"/>
                  <a:pt x="601" y="96"/>
                  <a:pt x="602" y="96"/>
                </a:cubicBezTo>
                <a:cubicBezTo>
                  <a:pt x="602" y="95"/>
                  <a:pt x="602" y="96"/>
                  <a:pt x="603" y="95"/>
                </a:cubicBezTo>
                <a:cubicBezTo>
                  <a:pt x="603" y="95"/>
                  <a:pt x="604" y="95"/>
                  <a:pt x="604" y="95"/>
                </a:cubicBezTo>
                <a:cubicBezTo>
                  <a:pt x="604" y="94"/>
                  <a:pt x="604" y="94"/>
                  <a:pt x="604" y="94"/>
                </a:cubicBezTo>
                <a:cubicBezTo>
                  <a:pt x="605" y="94"/>
                  <a:pt x="605" y="94"/>
                  <a:pt x="606" y="94"/>
                </a:cubicBezTo>
                <a:cubicBezTo>
                  <a:pt x="607" y="94"/>
                  <a:pt x="606" y="93"/>
                  <a:pt x="607" y="93"/>
                </a:cubicBezTo>
                <a:cubicBezTo>
                  <a:pt x="607" y="93"/>
                  <a:pt x="608" y="93"/>
                  <a:pt x="608" y="92"/>
                </a:cubicBezTo>
                <a:cubicBezTo>
                  <a:pt x="609" y="91"/>
                  <a:pt x="610" y="92"/>
                  <a:pt x="611" y="92"/>
                </a:cubicBezTo>
                <a:cubicBezTo>
                  <a:pt x="612" y="92"/>
                  <a:pt x="613" y="92"/>
                  <a:pt x="614" y="93"/>
                </a:cubicBezTo>
                <a:cubicBezTo>
                  <a:pt x="614" y="93"/>
                  <a:pt x="615" y="93"/>
                  <a:pt x="615" y="93"/>
                </a:cubicBezTo>
                <a:cubicBezTo>
                  <a:pt x="615" y="94"/>
                  <a:pt x="616" y="94"/>
                  <a:pt x="616" y="95"/>
                </a:cubicBezTo>
                <a:cubicBezTo>
                  <a:pt x="616" y="95"/>
                  <a:pt x="615" y="96"/>
                  <a:pt x="615" y="96"/>
                </a:cubicBezTo>
                <a:cubicBezTo>
                  <a:pt x="614" y="96"/>
                  <a:pt x="613" y="97"/>
                  <a:pt x="612" y="97"/>
                </a:cubicBezTo>
                <a:cubicBezTo>
                  <a:pt x="611" y="97"/>
                  <a:pt x="610" y="97"/>
                  <a:pt x="609" y="97"/>
                </a:cubicBezTo>
                <a:cubicBezTo>
                  <a:pt x="609" y="97"/>
                  <a:pt x="608" y="97"/>
                  <a:pt x="607" y="98"/>
                </a:cubicBezTo>
                <a:cubicBezTo>
                  <a:pt x="606" y="98"/>
                  <a:pt x="606" y="98"/>
                  <a:pt x="605" y="99"/>
                </a:cubicBezTo>
                <a:cubicBezTo>
                  <a:pt x="604" y="99"/>
                  <a:pt x="603" y="99"/>
                  <a:pt x="602" y="99"/>
                </a:cubicBezTo>
                <a:cubicBezTo>
                  <a:pt x="603" y="99"/>
                  <a:pt x="603" y="99"/>
                  <a:pt x="604" y="99"/>
                </a:cubicBezTo>
                <a:cubicBezTo>
                  <a:pt x="605" y="99"/>
                  <a:pt x="606" y="99"/>
                  <a:pt x="606" y="99"/>
                </a:cubicBezTo>
                <a:cubicBezTo>
                  <a:pt x="606" y="99"/>
                  <a:pt x="605" y="100"/>
                  <a:pt x="604" y="100"/>
                </a:cubicBezTo>
                <a:cubicBezTo>
                  <a:pt x="604" y="100"/>
                  <a:pt x="604" y="100"/>
                  <a:pt x="603" y="100"/>
                </a:cubicBezTo>
                <a:cubicBezTo>
                  <a:pt x="603" y="101"/>
                  <a:pt x="602" y="101"/>
                  <a:pt x="601" y="101"/>
                </a:cubicBezTo>
                <a:cubicBezTo>
                  <a:pt x="603" y="101"/>
                  <a:pt x="605" y="100"/>
                  <a:pt x="606" y="99"/>
                </a:cubicBezTo>
                <a:cubicBezTo>
                  <a:pt x="607" y="99"/>
                  <a:pt x="609" y="99"/>
                  <a:pt x="610" y="99"/>
                </a:cubicBezTo>
                <a:cubicBezTo>
                  <a:pt x="610" y="99"/>
                  <a:pt x="611" y="99"/>
                  <a:pt x="611" y="99"/>
                </a:cubicBezTo>
                <a:cubicBezTo>
                  <a:pt x="612" y="99"/>
                  <a:pt x="613" y="99"/>
                  <a:pt x="613" y="99"/>
                </a:cubicBezTo>
                <a:cubicBezTo>
                  <a:pt x="613" y="99"/>
                  <a:pt x="613" y="98"/>
                  <a:pt x="613" y="98"/>
                </a:cubicBezTo>
                <a:cubicBezTo>
                  <a:pt x="613" y="98"/>
                  <a:pt x="613" y="98"/>
                  <a:pt x="614" y="98"/>
                </a:cubicBezTo>
                <a:cubicBezTo>
                  <a:pt x="614" y="97"/>
                  <a:pt x="616" y="97"/>
                  <a:pt x="616" y="97"/>
                </a:cubicBezTo>
                <a:cubicBezTo>
                  <a:pt x="617" y="97"/>
                  <a:pt x="618" y="96"/>
                  <a:pt x="618" y="97"/>
                </a:cubicBezTo>
                <a:cubicBezTo>
                  <a:pt x="618" y="98"/>
                  <a:pt x="618" y="99"/>
                  <a:pt x="617" y="99"/>
                </a:cubicBezTo>
                <a:cubicBezTo>
                  <a:pt x="616" y="99"/>
                  <a:pt x="615" y="100"/>
                  <a:pt x="614" y="100"/>
                </a:cubicBezTo>
                <a:cubicBezTo>
                  <a:pt x="614" y="100"/>
                  <a:pt x="613" y="100"/>
                  <a:pt x="613" y="101"/>
                </a:cubicBezTo>
                <a:cubicBezTo>
                  <a:pt x="612" y="101"/>
                  <a:pt x="612" y="101"/>
                  <a:pt x="611" y="101"/>
                </a:cubicBezTo>
                <a:cubicBezTo>
                  <a:pt x="610" y="101"/>
                  <a:pt x="610" y="101"/>
                  <a:pt x="609" y="101"/>
                </a:cubicBezTo>
                <a:cubicBezTo>
                  <a:pt x="609" y="101"/>
                  <a:pt x="608" y="101"/>
                  <a:pt x="608" y="102"/>
                </a:cubicBezTo>
                <a:cubicBezTo>
                  <a:pt x="607" y="102"/>
                  <a:pt x="607" y="102"/>
                  <a:pt x="606" y="102"/>
                </a:cubicBezTo>
                <a:cubicBezTo>
                  <a:pt x="606" y="103"/>
                  <a:pt x="605" y="103"/>
                  <a:pt x="605" y="103"/>
                </a:cubicBezTo>
                <a:cubicBezTo>
                  <a:pt x="605" y="103"/>
                  <a:pt x="606" y="103"/>
                  <a:pt x="606" y="103"/>
                </a:cubicBezTo>
                <a:cubicBezTo>
                  <a:pt x="606" y="103"/>
                  <a:pt x="605" y="104"/>
                  <a:pt x="605" y="104"/>
                </a:cubicBezTo>
                <a:cubicBezTo>
                  <a:pt x="606" y="104"/>
                  <a:pt x="606" y="103"/>
                  <a:pt x="607" y="102"/>
                </a:cubicBezTo>
                <a:cubicBezTo>
                  <a:pt x="607" y="102"/>
                  <a:pt x="608" y="102"/>
                  <a:pt x="608" y="102"/>
                </a:cubicBezTo>
                <a:cubicBezTo>
                  <a:pt x="609" y="102"/>
                  <a:pt x="609" y="101"/>
                  <a:pt x="609" y="101"/>
                </a:cubicBezTo>
                <a:cubicBezTo>
                  <a:pt x="609" y="102"/>
                  <a:pt x="609" y="102"/>
                  <a:pt x="609" y="102"/>
                </a:cubicBezTo>
                <a:cubicBezTo>
                  <a:pt x="610" y="102"/>
                  <a:pt x="610" y="101"/>
                  <a:pt x="611" y="102"/>
                </a:cubicBezTo>
                <a:cubicBezTo>
                  <a:pt x="611" y="102"/>
                  <a:pt x="610" y="103"/>
                  <a:pt x="610" y="103"/>
                </a:cubicBezTo>
                <a:cubicBezTo>
                  <a:pt x="609" y="103"/>
                  <a:pt x="608" y="104"/>
                  <a:pt x="608" y="104"/>
                </a:cubicBezTo>
                <a:cubicBezTo>
                  <a:pt x="608" y="105"/>
                  <a:pt x="607" y="105"/>
                  <a:pt x="606" y="106"/>
                </a:cubicBezTo>
                <a:cubicBezTo>
                  <a:pt x="607" y="105"/>
                  <a:pt x="606" y="106"/>
                  <a:pt x="606" y="106"/>
                </a:cubicBezTo>
                <a:cubicBezTo>
                  <a:pt x="605" y="106"/>
                  <a:pt x="605" y="106"/>
                  <a:pt x="605" y="106"/>
                </a:cubicBezTo>
                <a:cubicBezTo>
                  <a:pt x="606" y="106"/>
                  <a:pt x="608" y="105"/>
                  <a:pt x="609" y="104"/>
                </a:cubicBezTo>
                <a:cubicBezTo>
                  <a:pt x="610" y="103"/>
                  <a:pt x="611" y="102"/>
                  <a:pt x="612" y="102"/>
                </a:cubicBezTo>
                <a:cubicBezTo>
                  <a:pt x="611" y="101"/>
                  <a:pt x="614" y="101"/>
                  <a:pt x="614" y="101"/>
                </a:cubicBezTo>
                <a:cubicBezTo>
                  <a:pt x="615" y="100"/>
                  <a:pt x="616" y="100"/>
                  <a:pt x="617" y="100"/>
                </a:cubicBezTo>
                <a:cubicBezTo>
                  <a:pt x="618" y="99"/>
                  <a:pt x="619" y="99"/>
                  <a:pt x="621" y="99"/>
                </a:cubicBezTo>
                <a:cubicBezTo>
                  <a:pt x="621" y="99"/>
                  <a:pt x="623" y="98"/>
                  <a:pt x="623" y="99"/>
                </a:cubicBezTo>
                <a:cubicBezTo>
                  <a:pt x="622" y="100"/>
                  <a:pt x="620" y="100"/>
                  <a:pt x="619" y="101"/>
                </a:cubicBezTo>
                <a:cubicBezTo>
                  <a:pt x="618" y="101"/>
                  <a:pt x="617" y="101"/>
                  <a:pt x="616" y="101"/>
                </a:cubicBezTo>
                <a:cubicBezTo>
                  <a:pt x="616" y="101"/>
                  <a:pt x="616" y="101"/>
                  <a:pt x="616" y="102"/>
                </a:cubicBezTo>
                <a:cubicBezTo>
                  <a:pt x="616" y="102"/>
                  <a:pt x="615" y="102"/>
                  <a:pt x="615" y="102"/>
                </a:cubicBezTo>
                <a:cubicBezTo>
                  <a:pt x="615" y="102"/>
                  <a:pt x="616" y="102"/>
                  <a:pt x="617" y="102"/>
                </a:cubicBezTo>
                <a:cubicBezTo>
                  <a:pt x="617" y="102"/>
                  <a:pt x="616" y="101"/>
                  <a:pt x="617" y="101"/>
                </a:cubicBezTo>
                <a:cubicBezTo>
                  <a:pt x="617" y="101"/>
                  <a:pt x="618" y="101"/>
                  <a:pt x="619" y="101"/>
                </a:cubicBezTo>
                <a:cubicBezTo>
                  <a:pt x="619" y="102"/>
                  <a:pt x="619" y="101"/>
                  <a:pt x="620" y="101"/>
                </a:cubicBezTo>
                <a:cubicBezTo>
                  <a:pt x="620" y="101"/>
                  <a:pt x="620" y="101"/>
                  <a:pt x="621" y="100"/>
                </a:cubicBezTo>
                <a:cubicBezTo>
                  <a:pt x="621" y="100"/>
                  <a:pt x="621" y="100"/>
                  <a:pt x="622" y="100"/>
                </a:cubicBezTo>
                <a:cubicBezTo>
                  <a:pt x="622" y="100"/>
                  <a:pt x="622" y="101"/>
                  <a:pt x="622" y="100"/>
                </a:cubicBezTo>
                <a:cubicBezTo>
                  <a:pt x="623" y="100"/>
                  <a:pt x="624" y="99"/>
                  <a:pt x="625" y="99"/>
                </a:cubicBezTo>
                <a:cubicBezTo>
                  <a:pt x="625" y="99"/>
                  <a:pt x="626" y="99"/>
                  <a:pt x="626" y="100"/>
                </a:cubicBezTo>
                <a:cubicBezTo>
                  <a:pt x="626" y="100"/>
                  <a:pt x="626" y="100"/>
                  <a:pt x="627" y="100"/>
                </a:cubicBezTo>
                <a:cubicBezTo>
                  <a:pt x="628" y="101"/>
                  <a:pt x="628" y="101"/>
                  <a:pt x="629" y="101"/>
                </a:cubicBezTo>
                <a:cubicBezTo>
                  <a:pt x="630" y="101"/>
                  <a:pt x="631" y="101"/>
                  <a:pt x="630" y="102"/>
                </a:cubicBezTo>
                <a:cubicBezTo>
                  <a:pt x="630" y="103"/>
                  <a:pt x="629" y="103"/>
                  <a:pt x="628" y="103"/>
                </a:cubicBezTo>
                <a:cubicBezTo>
                  <a:pt x="628" y="103"/>
                  <a:pt x="628" y="102"/>
                  <a:pt x="628" y="102"/>
                </a:cubicBezTo>
                <a:cubicBezTo>
                  <a:pt x="628" y="102"/>
                  <a:pt x="627" y="103"/>
                  <a:pt x="627" y="103"/>
                </a:cubicBezTo>
                <a:cubicBezTo>
                  <a:pt x="627" y="104"/>
                  <a:pt x="627" y="104"/>
                  <a:pt x="626" y="104"/>
                </a:cubicBezTo>
                <a:cubicBezTo>
                  <a:pt x="625" y="104"/>
                  <a:pt x="623" y="104"/>
                  <a:pt x="622" y="104"/>
                </a:cubicBezTo>
                <a:cubicBezTo>
                  <a:pt x="620" y="105"/>
                  <a:pt x="619" y="105"/>
                  <a:pt x="617" y="105"/>
                </a:cubicBezTo>
                <a:cubicBezTo>
                  <a:pt x="617" y="106"/>
                  <a:pt x="616" y="106"/>
                  <a:pt x="616" y="106"/>
                </a:cubicBezTo>
                <a:cubicBezTo>
                  <a:pt x="615" y="106"/>
                  <a:pt x="615" y="106"/>
                  <a:pt x="614" y="107"/>
                </a:cubicBezTo>
                <a:cubicBezTo>
                  <a:pt x="615" y="107"/>
                  <a:pt x="615" y="106"/>
                  <a:pt x="616" y="106"/>
                </a:cubicBezTo>
                <a:cubicBezTo>
                  <a:pt x="617" y="106"/>
                  <a:pt x="617" y="107"/>
                  <a:pt x="616" y="107"/>
                </a:cubicBezTo>
                <a:cubicBezTo>
                  <a:pt x="615" y="107"/>
                  <a:pt x="615" y="107"/>
                  <a:pt x="614" y="107"/>
                </a:cubicBezTo>
                <a:cubicBezTo>
                  <a:pt x="613" y="107"/>
                  <a:pt x="612" y="108"/>
                  <a:pt x="611" y="108"/>
                </a:cubicBezTo>
                <a:cubicBezTo>
                  <a:pt x="612" y="108"/>
                  <a:pt x="613" y="107"/>
                  <a:pt x="614" y="107"/>
                </a:cubicBezTo>
                <a:cubicBezTo>
                  <a:pt x="615" y="107"/>
                  <a:pt x="617" y="107"/>
                  <a:pt x="617" y="106"/>
                </a:cubicBezTo>
                <a:cubicBezTo>
                  <a:pt x="617" y="106"/>
                  <a:pt x="619" y="105"/>
                  <a:pt x="620" y="105"/>
                </a:cubicBezTo>
                <a:cubicBezTo>
                  <a:pt x="620" y="105"/>
                  <a:pt x="621" y="105"/>
                  <a:pt x="622" y="105"/>
                </a:cubicBezTo>
                <a:cubicBezTo>
                  <a:pt x="622" y="105"/>
                  <a:pt x="623" y="105"/>
                  <a:pt x="623" y="105"/>
                </a:cubicBezTo>
                <a:cubicBezTo>
                  <a:pt x="623" y="105"/>
                  <a:pt x="623" y="105"/>
                  <a:pt x="623" y="105"/>
                </a:cubicBezTo>
                <a:cubicBezTo>
                  <a:pt x="623" y="104"/>
                  <a:pt x="625" y="105"/>
                  <a:pt x="626" y="105"/>
                </a:cubicBezTo>
                <a:cubicBezTo>
                  <a:pt x="626" y="105"/>
                  <a:pt x="625" y="106"/>
                  <a:pt x="625" y="106"/>
                </a:cubicBezTo>
                <a:cubicBezTo>
                  <a:pt x="625" y="106"/>
                  <a:pt x="625" y="106"/>
                  <a:pt x="625" y="106"/>
                </a:cubicBezTo>
                <a:cubicBezTo>
                  <a:pt x="624" y="106"/>
                  <a:pt x="624" y="106"/>
                  <a:pt x="624" y="106"/>
                </a:cubicBezTo>
                <a:cubicBezTo>
                  <a:pt x="623" y="107"/>
                  <a:pt x="622" y="107"/>
                  <a:pt x="621" y="107"/>
                </a:cubicBezTo>
                <a:cubicBezTo>
                  <a:pt x="620" y="108"/>
                  <a:pt x="619" y="108"/>
                  <a:pt x="618" y="108"/>
                </a:cubicBezTo>
                <a:cubicBezTo>
                  <a:pt x="617" y="108"/>
                  <a:pt x="616" y="108"/>
                  <a:pt x="615" y="109"/>
                </a:cubicBezTo>
                <a:cubicBezTo>
                  <a:pt x="614" y="109"/>
                  <a:pt x="613" y="109"/>
                  <a:pt x="613" y="110"/>
                </a:cubicBezTo>
                <a:cubicBezTo>
                  <a:pt x="614" y="110"/>
                  <a:pt x="615" y="108"/>
                  <a:pt x="617" y="108"/>
                </a:cubicBezTo>
                <a:cubicBezTo>
                  <a:pt x="618" y="108"/>
                  <a:pt x="618" y="109"/>
                  <a:pt x="619" y="108"/>
                </a:cubicBezTo>
                <a:cubicBezTo>
                  <a:pt x="620" y="108"/>
                  <a:pt x="621" y="107"/>
                  <a:pt x="622" y="107"/>
                </a:cubicBezTo>
                <a:cubicBezTo>
                  <a:pt x="623" y="107"/>
                  <a:pt x="624" y="107"/>
                  <a:pt x="624" y="107"/>
                </a:cubicBezTo>
                <a:cubicBezTo>
                  <a:pt x="625" y="107"/>
                  <a:pt x="625" y="107"/>
                  <a:pt x="625" y="107"/>
                </a:cubicBezTo>
                <a:cubicBezTo>
                  <a:pt x="625" y="107"/>
                  <a:pt x="625" y="107"/>
                  <a:pt x="626" y="106"/>
                </a:cubicBezTo>
                <a:cubicBezTo>
                  <a:pt x="627" y="106"/>
                  <a:pt x="628" y="106"/>
                  <a:pt x="629" y="106"/>
                </a:cubicBezTo>
                <a:cubicBezTo>
                  <a:pt x="629" y="105"/>
                  <a:pt x="628" y="105"/>
                  <a:pt x="628" y="105"/>
                </a:cubicBezTo>
                <a:cubicBezTo>
                  <a:pt x="628" y="105"/>
                  <a:pt x="628" y="105"/>
                  <a:pt x="628" y="105"/>
                </a:cubicBezTo>
                <a:cubicBezTo>
                  <a:pt x="629" y="105"/>
                  <a:pt x="630" y="104"/>
                  <a:pt x="631" y="104"/>
                </a:cubicBezTo>
                <a:cubicBezTo>
                  <a:pt x="632" y="104"/>
                  <a:pt x="633" y="105"/>
                  <a:pt x="634" y="106"/>
                </a:cubicBezTo>
                <a:cubicBezTo>
                  <a:pt x="634" y="107"/>
                  <a:pt x="634" y="107"/>
                  <a:pt x="634" y="107"/>
                </a:cubicBezTo>
                <a:cubicBezTo>
                  <a:pt x="634" y="107"/>
                  <a:pt x="634" y="107"/>
                  <a:pt x="634" y="107"/>
                </a:cubicBezTo>
                <a:cubicBezTo>
                  <a:pt x="634" y="108"/>
                  <a:pt x="634" y="108"/>
                  <a:pt x="634" y="108"/>
                </a:cubicBezTo>
                <a:cubicBezTo>
                  <a:pt x="634" y="108"/>
                  <a:pt x="634" y="108"/>
                  <a:pt x="634" y="108"/>
                </a:cubicBezTo>
                <a:cubicBezTo>
                  <a:pt x="634" y="109"/>
                  <a:pt x="634" y="109"/>
                  <a:pt x="633" y="109"/>
                </a:cubicBezTo>
                <a:cubicBezTo>
                  <a:pt x="632" y="109"/>
                  <a:pt x="632" y="109"/>
                  <a:pt x="631" y="109"/>
                </a:cubicBezTo>
                <a:cubicBezTo>
                  <a:pt x="629" y="109"/>
                  <a:pt x="628" y="109"/>
                  <a:pt x="626" y="109"/>
                </a:cubicBezTo>
                <a:cubicBezTo>
                  <a:pt x="626" y="109"/>
                  <a:pt x="625" y="110"/>
                  <a:pt x="624" y="110"/>
                </a:cubicBezTo>
                <a:cubicBezTo>
                  <a:pt x="624" y="110"/>
                  <a:pt x="623" y="110"/>
                  <a:pt x="622" y="110"/>
                </a:cubicBezTo>
                <a:cubicBezTo>
                  <a:pt x="621" y="110"/>
                  <a:pt x="619" y="111"/>
                  <a:pt x="617" y="111"/>
                </a:cubicBezTo>
                <a:cubicBezTo>
                  <a:pt x="616" y="111"/>
                  <a:pt x="616" y="111"/>
                  <a:pt x="615" y="111"/>
                </a:cubicBezTo>
                <a:cubicBezTo>
                  <a:pt x="614" y="111"/>
                  <a:pt x="613" y="111"/>
                  <a:pt x="612" y="111"/>
                </a:cubicBezTo>
                <a:cubicBezTo>
                  <a:pt x="613" y="112"/>
                  <a:pt x="614" y="111"/>
                  <a:pt x="614" y="111"/>
                </a:cubicBezTo>
                <a:cubicBezTo>
                  <a:pt x="615" y="111"/>
                  <a:pt x="616" y="111"/>
                  <a:pt x="617" y="111"/>
                </a:cubicBezTo>
                <a:cubicBezTo>
                  <a:pt x="619" y="111"/>
                  <a:pt x="621" y="110"/>
                  <a:pt x="623" y="111"/>
                </a:cubicBezTo>
                <a:cubicBezTo>
                  <a:pt x="624" y="111"/>
                  <a:pt x="625" y="111"/>
                  <a:pt x="626" y="112"/>
                </a:cubicBezTo>
                <a:cubicBezTo>
                  <a:pt x="627" y="112"/>
                  <a:pt x="628" y="111"/>
                  <a:pt x="629" y="112"/>
                </a:cubicBezTo>
                <a:cubicBezTo>
                  <a:pt x="630" y="112"/>
                  <a:pt x="631" y="111"/>
                  <a:pt x="632" y="112"/>
                </a:cubicBezTo>
                <a:cubicBezTo>
                  <a:pt x="632" y="112"/>
                  <a:pt x="633" y="112"/>
                  <a:pt x="634" y="113"/>
                </a:cubicBezTo>
                <a:cubicBezTo>
                  <a:pt x="634" y="114"/>
                  <a:pt x="634" y="114"/>
                  <a:pt x="633" y="115"/>
                </a:cubicBezTo>
                <a:cubicBezTo>
                  <a:pt x="632" y="115"/>
                  <a:pt x="631" y="114"/>
                  <a:pt x="631" y="114"/>
                </a:cubicBezTo>
                <a:cubicBezTo>
                  <a:pt x="630" y="114"/>
                  <a:pt x="630" y="115"/>
                  <a:pt x="629" y="114"/>
                </a:cubicBezTo>
                <a:cubicBezTo>
                  <a:pt x="628" y="114"/>
                  <a:pt x="627" y="114"/>
                  <a:pt x="627" y="114"/>
                </a:cubicBezTo>
                <a:cubicBezTo>
                  <a:pt x="626" y="114"/>
                  <a:pt x="625" y="114"/>
                  <a:pt x="624" y="113"/>
                </a:cubicBezTo>
                <a:cubicBezTo>
                  <a:pt x="623" y="113"/>
                  <a:pt x="622" y="113"/>
                  <a:pt x="622" y="113"/>
                </a:cubicBezTo>
                <a:cubicBezTo>
                  <a:pt x="620" y="113"/>
                  <a:pt x="617" y="112"/>
                  <a:pt x="616" y="113"/>
                </a:cubicBezTo>
                <a:cubicBezTo>
                  <a:pt x="616" y="113"/>
                  <a:pt x="617" y="113"/>
                  <a:pt x="618" y="113"/>
                </a:cubicBezTo>
                <a:cubicBezTo>
                  <a:pt x="618" y="113"/>
                  <a:pt x="619" y="113"/>
                  <a:pt x="620" y="113"/>
                </a:cubicBezTo>
                <a:cubicBezTo>
                  <a:pt x="621" y="113"/>
                  <a:pt x="622" y="113"/>
                  <a:pt x="622" y="113"/>
                </a:cubicBezTo>
                <a:cubicBezTo>
                  <a:pt x="623" y="113"/>
                  <a:pt x="623" y="113"/>
                  <a:pt x="623" y="113"/>
                </a:cubicBezTo>
                <a:cubicBezTo>
                  <a:pt x="624" y="114"/>
                  <a:pt x="624" y="114"/>
                  <a:pt x="623" y="114"/>
                </a:cubicBezTo>
                <a:cubicBezTo>
                  <a:pt x="623" y="114"/>
                  <a:pt x="622" y="114"/>
                  <a:pt x="622" y="114"/>
                </a:cubicBezTo>
                <a:cubicBezTo>
                  <a:pt x="620" y="114"/>
                  <a:pt x="619" y="114"/>
                  <a:pt x="618" y="114"/>
                </a:cubicBezTo>
                <a:cubicBezTo>
                  <a:pt x="618" y="114"/>
                  <a:pt x="620" y="114"/>
                  <a:pt x="621" y="114"/>
                </a:cubicBezTo>
                <a:cubicBezTo>
                  <a:pt x="619" y="115"/>
                  <a:pt x="617" y="114"/>
                  <a:pt x="616" y="115"/>
                </a:cubicBezTo>
                <a:cubicBezTo>
                  <a:pt x="616" y="115"/>
                  <a:pt x="617" y="115"/>
                  <a:pt x="617" y="115"/>
                </a:cubicBezTo>
                <a:cubicBezTo>
                  <a:pt x="617" y="116"/>
                  <a:pt x="616" y="116"/>
                  <a:pt x="616" y="116"/>
                </a:cubicBezTo>
                <a:cubicBezTo>
                  <a:pt x="616" y="116"/>
                  <a:pt x="617" y="115"/>
                  <a:pt x="617" y="115"/>
                </a:cubicBezTo>
                <a:cubicBezTo>
                  <a:pt x="618" y="115"/>
                  <a:pt x="619" y="115"/>
                  <a:pt x="620" y="114"/>
                </a:cubicBezTo>
                <a:cubicBezTo>
                  <a:pt x="621" y="114"/>
                  <a:pt x="622" y="114"/>
                  <a:pt x="623" y="115"/>
                </a:cubicBezTo>
                <a:cubicBezTo>
                  <a:pt x="623" y="115"/>
                  <a:pt x="625" y="116"/>
                  <a:pt x="625" y="116"/>
                </a:cubicBezTo>
                <a:cubicBezTo>
                  <a:pt x="625" y="116"/>
                  <a:pt x="622" y="116"/>
                  <a:pt x="622" y="116"/>
                </a:cubicBezTo>
                <a:cubicBezTo>
                  <a:pt x="621" y="116"/>
                  <a:pt x="620" y="115"/>
                  <a:pt x="619" y="116"/>
                </a:cubicBezTo>
                <a:cubicBezTo>
                  <a:pt x="619" y="116"/>
                  <a:pt x="620" y="116"/>
                  <a:pt x="621" y="116"/>
                </a:cubicBezTo>
                <a:cubicBezTo>
                  <a:pt x="621" y="116"/>
                  <a:pt x="623" y="117"/>
                  <a:pt x="622" y="117"/>
                </a:cubicBezTo>
                <a:cubicBezTo>
                  <a:pt x="623" y="117"/>
                  <a:pt x="622" y="117"/>
                  <a:pt x="621" y="117"/>
                </a:cubicBezTo>
                <a:cubicBezTo>
                  <a:pt x="621" y="117"/>
                  <a:pt x="620" y="117"/>
                  <a:pt x="619" y="117"/>
                </a:cubicBezTo>
                <a:cubicBezTo>
                  <a:pt x="619" y="117"/>
                  <a:pt x="621" y="117"/>
                  <a:pt x="621" y="117"/>
                </a:cubicBezTo>
                <a:cubicBezTo>
                  <a:pt x="622" y="118"/>
                  <a:pt x="623" y="118"/>
                  <a:pt x="623" y="118"/>
                </a:cubicBezTo>
                <a:cubicBezTo>
                  <a:pt x="621" y="119"/>
                  <a:pt x="619" y="117"/>
                  <a:pt x="618" y="117"/>
                </a:cubicBezTo>
                <a:cubicBezTo>
                  <a:pt x="618" y="117"/>
                  <a:pt x="618" y="118"/>
                  <a:pt x="618" y="118"/>
                </a:cubicBezTo>
                <a:cubicBezTo>
                  <a:pt x="618" y="118"/>
                  <a:pt x="616" y="118"/>
                  <a:pt x="616" y="118"/>
                </a:cubicBezTo>
                <a:cubicBezTo>
                  <a:pt x="615" y="118"/>
                  <a:pt x="613" y="117"/>
                  <a:pt x="612" y="117"/>
                </a:cubicBezTo>
                <a:cubicBezTo>
                  <a:pt x="613" y="117"/>
                  <a:pt x="613" y="117"/>
                  <a:pt x="614" y="117"/>
                </a:cubicBezTo>
                <a:cubicBezTo>
                  <a:pt x="613" y="118"/>
                  <a:pt x="613" y="117"/>
                  <a:pt x="612" y="118"/>
                </a:cubicBezTo>
                <a:cubicBezTo>
                  <a:pt x="613" y="118"/>
                  <a:pt x="614" y="118"/>
                  <a:pt x="615" y="118"/>
                </a:cubicBezTo>
                <a:cubicBezTo>
                  <a:pt x="615" y="118"/>
                  <a:pt x="615" y="118"/>
                  <a:pt x="614" y="118"/>
                </a:cubicBezTo>
                <a:cubicBezTo>
                  <a:pt x="615" y="118"/>
                  <a:pt x="615" y="118"/>
                  <a:pt x="615" y="118"/>
                </a:cubicBezTo>
                <a:cubicBezTo>
                  <a:pt x="616" y="118"/>
                  <a:pt x="616" y="118"/>
                  <a:pt x="617" y="118"/>
                </a:cubicBezTo>
                <a:cubicBezTo>
                  <a:pt x="617" y="118"/>
                  <a:pt x="618" y="118"/>
                  <a:pt x="619" y="118"/>
                </a:cubicBezTo>
                <a:cubicBezTo>
                  <a:pt x="619" y="118"/>
                  <a:pt x="620" y="119"/>
                  <a:pt x="621" y="119"/>
                </a:cubicBezTo>
                <a:cubicBezTo>
                  <a:pt x="620" y="119"/>
                  <a:pt x="620" y="119"/>
                  <a:pt x="620" y="119"/>
                </a:cubicBezTo>
                <a:cubicBezTo>
                  <a:pt x="620" y="119"/>
                  <a:pt x="620" y="119"/>
                  <a:pt x="620" y="119"/>
                </a:cubicBezTo>
                <a:cubicBezTo>
                  <a:pt x="620" y="119"/>
                  <a:pt x="618" y="119"/>
                  <a:pt x="618" y="119"/>
                </a:cubicBezTo>
                <a:cubicBezTo>
                  <a:pt x="617" y="119"/>
                  <a:pt x="617" y="119"/>
                  <a:pt x="617" y="119"/>
                </a:cubicBezTo>
                <a:cubicBezTo>
                  <a:pt x="617" y="119"/>
                  <a:pt x="617" y="119"/>
                  <a:pt x="617" y="119"/>
                </a:cubicBezTo>
                <a:cubicBezTo>
                  <a:pt x="617" y="120"/>
                  <a:pt x="615" y="120"/>
                  <a:pt x="615" y="120"/>
                </a:cubicBezTo>
                <a:cubicBezTo>
                  <a:pt x="615" y="120"/>
                  <a:pt x="617" y="120"/>
                  <a:pt x="617" y="120"/>
                </a:cubicBezTo>
                <a:cubicBezTo>
                  <a:pt x="618" y="120"/>
                  <a:pt x="620" y="120"/>
                  <a:pt x="619" y="120"/>
                </a:cubicBezTo>
                <a:cubicBezTo>
                  <a:pt x="620" y="120"/>
                  <a:pt x="620" y="120"/>
                  <a:pt x="621" y="120"/>
                </a:cubicBezTo>
                <a:cubicBezTo>
                  <a:pt x="620" y="120"/>
                  <a:pt x="620" y="121"/>
                  <a:pt x="620" y="121"/>
                </a:cubicBezTo>
                <a:cubicBezTo>
                  <a:pt x="620" y="121"/>
                  <a:pt x="620" y="121"/>
                  <a:pt x="619" y="121"/>
                </a:cubicBezTo>
                <a:cubicBezTo>
                  <a:pt x="620" y="121"/>
                  <a:pt x="620" y="121"/>
                  <a:pt x="621" y="120"/>
                </a:cubicBezTo>
                <a:cubicBezTo>
                  <a:pt x="621" y="120"/>
                  <a:pt x="622" y="120"/>
                  <a:pt x="623" y="120"/>
                </a:cubicBezTo>
                <a:cubicBezTo>
                  <a:pt x="623" y="120"/>
                  <a:pt x="624" y="120"/>
                  <a:pt x="623" y="120"/>
                </a:cubicBezTo>
                <a:cubicBezTo>
                  <a:pt x="623" y="121"/>
                  <a:pt x="622" y="121"/>
                  <a:pt x="622" y="122"/>
                </a:cubicBezTo>
                <a:cubicBezTo>
                  <a:pt x="622" y="122"/>
                  <a:pt x="623" y="121"/>
                  <a:pt x="623" y="121"/>
                </a:cubicBezTo>
                <a:cubicBezTo>
                  <a:pt x="624" y="121"/>
                  <a:pt x="624" y="121"/>
                  <a:pt x="625" y="121"/>
                </a:cubicBezTo>
                <a:cubicBezTo>
                  <a:pt x="625" y="121"/>
                  <a:pt x="625" y="121"/>
                  <a:pt x="625" y="121"/>
                </a:cubicBezTo>
                <a:cubicBezTo>
                  <a:pt x="625" y="121"/>
                  <a:pt x="625" y="121"/>
                  <a:pt x="625" y="121"/>
                </a:cubicBezTo>
                <a:cubicBezTo>
                  <a:pt x="625" y="121"/>
                  <a:pt x="624" y="121"/>
                  <a:pt x="624" y="121"/>
                </a:cubicBezTo>
                <a:cubicBezTo>
                  <a:pt x="624" y="121"/>
                  <a:pt x="625" y="122"/>
                  <a:pt x="626" y="121"/>
                </a:cubicBezTo>
                <a:cubicBezTo>
                  <a:pt x="626" y="121"/>
                  <a:pt x="626" y="121"/>
                  <a:pt x="626" y="121"/>
                </a:cubicBezTo>
                <a:cubicBezTo>
                  <a:pt x="627" y="121"/>
                  <a:pt x="628" y="121"/>
                  <a:pt x="629" y="121"/>
                </a:cubicBezTo>
                <a:cubicBezTo>
                  <a:pt x="628" y="121"/>
                  <a:pt x="628" y="121"/>
                  <a:pt x="627" y="121"/>
                </a:cubicBezTo>
                <a:cubicBezTo>
                  <a:pt x="627" y="121"/>
                  <a:pt x="626" y="122"/>
                  <a:pt x="626" y="122"/>
                </a:cubicBezTo>
                <a:cubicBezTo>
                  <a:pt x="625" y="122"/>
                  <a:pt x="625" y="122"/>
                  <a:pt x="624" y="122"/>
                </a:cubicBezTo>
                <a:cubicBezTo>
                  <a:pt x="623" y="122"/>
                  <a:pt x="623" y="122"/>
                  <a:pt x="622" y="122"/>
                </a:cubicBezTo>
                <a:cubicBezTo>
                  <a:pt x="622" y="122"/>
                  <a:pt x="619" y="122"/>
                  <a:pt x="619" y="123"/>
                </a:cubicBezTo>
                <a:cubicBezTo>
                  <a:pt x="619" y="123"/>
                  <a:pt x="620" y="122"/>
                  <a:pt x="620" y="122"/>
                </a:cubicBezTo>
                <a:cubicBezTo>
                  <a:pt x="621" y="122"/>
                  <a:pt x="621" y="122"/>
                  <a:pt x="622" y="122"/>
                </a:cubicBezTo>
                <a:cubicBezTo>
                  <a:pt x="622" y="122"/>
                  <a:pt x="622" y="122"/>
                  <a:pt x="621" y="123"/>
                </a:cubicBezTo>
                <a:cubicBezTo>
                  <a:pt x="622" y="122"/>
                  <a:pt x="624" y="122"/>
                  <a:pt x="623" y="122"/>
                </a:cubicBezTo>
                <a:cubicBezTo>
                  <a:pt x="624" y="122"/>
                  <a:pt x="624" y="122"/>
                  <a:pt x="624" y="122"/>
                </a:cubicBezTo>
                <a:cubicBezTo>
                  <a:pt x="625" y="122"/>
                  <a:pt x="625" y="122"/>
                  <a:pt x="626" y="122"/>
                </a:cubicBezTo>
                <a:cubicBezTo>
                  <a:pt x="625" y="122"/>
                  <a:pt x="624" y="122"/>
                  <a:pt x="623" y="123"/>
                </a:cubicBezTo>
                <a:cubicBezTo>
                  <a:pt x="623" y="123"/>
                  <a:pt x="622" y="124"/>
                  <a:pt x="622" y="124"/>
                </a:cubicBezTo>
                <a:cubicBezTo>
                  <a:pt x="622" y="124"/>
                  <a:pt x="621" y="124"/>
                  <a:pt x="621" y="124"/>
                </a:cubicBezTo>
                <a:cubicBezTo>
                  <a:pt x="622" y="125"/>
                  <a:pt x="623" y="124"/>
                  <a:pt x="623" y="123"/>
                </a:cubicBezTo>
                <a:cubicBezTo>
                  <a:pt x="625" y="122"/>
                  <a:pt x="626" y="123"/>
                  <a:pt x="627" y="123"/>
                </a:cubicBezTo>
                <a:cubicBezTo>
                  <a:pt x="627" y="123"/>
                  <a:pt x="626" y="124"/>
                  <a:pt x="626" y="124"/>
                </a:cubicBezTo>
                <a:cubicBezTo>
                  <a:pt x="625" y="124"/>
                  <a:pt x="624" y="125"/>
                  <a:pt x="624" y="125"/>
                </a:cubicBezTo>
                <a:cubicBezTo>
                  <a:pt x="624" y="125"/>
                  <a:pt x="627" y="124"/>
                  <a:pt x="627" y="124"/>
                </a:cubicBezTo>
                <a:cubicBezTo>
                  <a:pt x="627" y="124"/>
                  <a:pt x="626" y="125"/>
                  <a:pt x="626" y="125"/>
                </a:cubicBezTo>
                <a:cubicBezTo>
                  <a:pt x="626" y="125"/>
                  <a:pt x="627" y="125"/>
                  <a:pt x="627" y="124"/>
                </a:cubicBezTo>
                <a:cubicBezTo>
                  <a:pt x="628" y="124"/>
                  <a:pt x="629" y="124"/>
                  <a:pt x="629" y="124"/>
                </a:cubicBezTo>
                <a:cubicBezTo>
                  <a:pt x="629" y="124"/>
                  <a:pt x="629" y="124"/>
                  <a:pt x="628" y="124"/>
                </a:cubicBezTo>
                <a:cubicBezTo>
                  <a:pt x="629" y="125"/>
                  <a:pt x="629" y="124"/>
                  <a:pt x="629" y="124"/>
                </a:cubicBezTo>
                <a:cubicBezTo>
                  <a:pt x="630" y="125"/>
                  <a:pt x="629" y="125"/>
                  <a:pt x="629" y="125"/>
                </a:cubicBezTo>
                <a:cubicBezTo>
                  <a:pt x="628" y="126"/>
                  <a:pt x="628" y="126"/>
                  <a:pt x="627" y="126"/>
                </a:cubicBezTo>
                <a:cubicBezTo>
                  <a:pt x="626" y="127"/>
                  <a:pt x="626" y="126"/>
                  <a:pt x="625" y="126"/>
                </a:cubicBezTo>
                <a:cubicBezTo>
                  <a:pt x="625" y="127"/>
                  <a:pt x="627" y="127"/>
                  <a:pt x="627" y="127"/>
                </a:cubicBezTo>
                <a:cubicBezTo>
                  <a:pt x="627" y="127"/>
                  <a:pt x="627" y="127"/>
                  <a:pt x="627" y="127"/>
                </a:cubicBezTo>
                <a:cubicBezTo>
                  <a:pt x="628" y="126"/>
                  <a:pt x="628" y="126"/>
                  <a:pt x="629" y="126"/>
                </a:cubicBezTo>
                <a:cubicBezTo>
                  <a:pt x="629" y="125"/>
                  <a:pt x="631" y="125"/>
                  <a:pt x="632" y="125"/>
                </a:cubicBezTo>
                <a:cubicBezTo>
                  <a:pt x="632" y="124"/>
                  <a:pt x="632" y="124"/>
                  <a:pt x="632" y="124"/>
                </a:cubicBezTo>
                <a:cubicBezTo>
                  <a:pt x="633" y="124"/>
                  <a:pt x="632" y="124"/>
                  <a:pt x="632" y="124"/>
                </a:cubicBezTo>
                <a:cubicBezTo>
                  <a:pt x="633" y="125"/>
                  <a:pt x="631" y="125"/>
                  <a:pt x="631" y="125"/>
                </a:cubicBezTo>
                <a:cubicBezTo>
                  <a:pt x="631" y="125"/>
                  <a:pt x="631" y="125"/>
                  <a:pt x="630" y="126"/>
                </a:cubicBezTo>
                <a:cubicBezTo>
                  <a:pt x="630" y="126"/>
                  <a:pt x="631" y="126"/>
                  <a:pt x="631" y="126"/>
                </a:cubicBezTo>
                <a:cubicBezTo>
                  <a:pt x="631" y="127"/>
                  <a:pt x="630" y="127"/>
                  <a:pt x="630" y="127"/>
                </a:cubicBezTo>
                <a:cubicBezTo>
                  <a:pt x="629" y="128"/>
                  <a:pt x="629" y="128"/>
                  <a:pt x="629" y="129"/>
                </a:cubicBezTo>
                <a:cubicBezTo>
                  <a:pt x="629" y="129"/>
                  <a:pt x="630" y="128"/>
                  <a:pt x="630" y="127"/>
                </a:cubicBezTo>
                <a:cubicBezTo>
                  <a:pt x="630" y="127"/>
                  <a:pt x="631" y="127"/>
                  <a:pt x="631" y="127"/>
                </a:cubicBezTo>
                <a:cubicBezTo>
                  <a:pt x="632" y="127"/>
                  <a:pt x="632" y="126"/>
                  <a:pt x="632" y="126"/>
                </a:cubicBezTo>
                <a:cubicBezTo>
                  <a:pt x="632" y="126"/>
                  <a:pt x="632" y="126"/>
                  <a:pt x="632" y="126"/>
                </a:cubicBezTo>
                <a:cubicBezTo>
                  <a:pt x="633" y="125"/>
                  <a:pt x="634" y="125"/>
                  <a:pt x="635" y="125"/>
                </a:cubicBezTo>
                <a:cubicBezTo>
                  <a:pt x="634" y="126"/>
                  <a:pt x="633" y="127"/>
                  <a:pt x="632" y="127"/>
                </a:cubicBezTo>
                <a:cubicBezTo>
                  <a:pt x="632" y="127"/>
                  <a:pt x="633" y="128"/>
                  <a:pt x="633" y="128"/>
                </a:cubicBezTo>
                <a:cubicBezTo>
                  <a:pt x="633" y="130"/>
                  <a:pt x="634" y="128"/>
                  <a:pt x="633" y="128"/>
                </a:cubicBezTo>
                <a:cubicBezTo>
                  <a:pt x="632" y="127"/>
                  <a:pt x="633" y="127"/>
                  <a:pt x="634" y="127"/>
                </a:cubicBezTo>
                <a:cubicBezTo>
                  <a:pt x="634" y="126"/>
                  <a:pt x="634" y="126"/>
                  <a:pt x="635" y="126"/>
                </a:cubicBezTo>
                <a:cubicBezTo>
                  <a:pt x="635" y="126"/>
                  <a:pt x="636" y="126"/>
                  <a:pt x="636" y="126"/>
                </a:cubicBezTo>
                <a:cubicBezTo>
                  <a:pt x="637" y="126"/>
                  <a:pt x="637" y="125"/>
                  <a:pt x="637" y="125"/>
                </a:cubicBezTo>
                <a:cubicBezTo>
                  <a:pt x="637" y="125"/>
                  <a:pt x="638" y="125"/>
                  <a:pt x="638" y="125"/>
                </a:cubicBezTo>
                <a:cubicBezTo>
                  <a:pt x="639" y="125"/>
                  <a:pt x="640" y="125"/>
                  <a:pt x="640" y="125"/>
                </a:cubicBezTo>
                <a:cubicBezTo>
                  <a:pt x="640" y="126"/>
                  <a:pt x="637" y="126"/>
                  <a:pt x="637" y="126"/>
                </a:cubicBezTo>
                <a:cubicBezTo>
                  <a:pt x="637" y="126"/>
                  <a:pt x="638" y="126"/>
                  <a:pt x="638" y="126"/>
                </a:cubicBezTo>
                <a:cubicBezTo>
                  <a:pt x="637" y="127"/>
                  <a:pt x="636" y="126"/>
                  <a:pt x="636" y="127"/>
                </a:cubicBezTo>
                <a:cubicBezTo>
                  <a:pt x="636" y="127"/>
                  <a:pt x="636" y="127"/>
                  <a:pt x="637" y="127"/>
                </a:cubicBezTo>
                <a:cubicBezTo>
                  <a:pt x="637" y="127"/>
                  <a:pt x="636" y="127"/>
                  <a:pt x="636" y="127"/>
                </a:cubicBezTo>
                <a:cubicBezTo>
                  <a:pt x="636" y="128"/>
                  <a:pt x="634" y="128"/>
                  <a:pt x="635" y="129"/>
                </a:cubicBezTo>
                <a:cubicBezTo>
                  <a:pt x="634" y="128"/>
                  <a:pt x="637" y="127"/>
                  <a:pt x="637" y="127"/>
                </a:cubicBezTo>
                <a:cubicBezTo>
                  <a:pt x="638" y="127"/>
                  <a:pt x="638" y="128"/>
                  <a:pt x="637" y="128"/>
                </a:cubicBezTo>
                <a:cubicBezTo>
                  <a:pt x="638" y="128"/>
                  <a:pt x="638" y="127"/>
                  <a:pt x="639" y="127"/>
                </a:cubicBezTo>
                <a:cubicBezTo>
                  <a:pt x="639" y="127"/>
                  <a:pt x="641" y="127"/>
                  <a:pt x="641" y="127"/>
                </a:cubicBezTo>
                <a:cubicBezTo>
                  <a:pt x="641" y="127"/>
                  <a:pt x="641" y="127"/>
                  <a:pt x="641" y="127"/>
                </a:cubicBezTo>
                <a:cubicBezTo>
                  <a:pt x="641" y="128"/>
                  <a:pt x="639" y="128"/>
                  <a:pt x="639" y="128"/>
                </a:cubicBezTo>
                <a:cubicBezTo>
                  <a:pt x="639" y="128"/>
                  <a:pt x="640" y="128"/>
                  <a:pt x="641" y="128"/>
                </a:cubicBezTo>
                <a:cubicBezTo>
                  <a:pt x="642" y="128"/>
                  <a:pt x="642" y="129"/>
                  <a:pt x="641" y="129"/>
                </a:cubicBezTo>
                <a:cubicBezTo>
                  <a:pt x="641" y="129"/>
                  <a:pt x="642" y="129"/>
                  <a:pt x="642" y="129"/>
                </a:cubicBezTo>
                <a:cubicBezTo>
                  <a:pt x="643" y="129"/>
                  <a:pt x="642" y="129"/>
                  <a:pt x="642" y="130"/>
                </a:cubicBezTo>
                <a:cubicBezTo>
                  <a:pt x="642" y="130"/>
                  <a:pt x="639" y="130"/>
                  <a:pt x="639" y="130"/>
                </a:cubicBezTo>
                <a:cubicBezTo>
                  <a:pt x="639" y="131"/>
                  <a:pt x="641" y="130"/>
                  <a:pt x="641" y="130"/>
                </a:cubicBezTo>
                <a:cubicBezTo>
                  <a:pt x="642" y="130"/>
                  <a:pt x="642" y="131"/>
                  <a:pt x="641" y="132"/>
                </a:cubicBezTo>
                <a:cubicBezTo>
                  <a:pt x="641" y="132"/>
                  <a:pt x="642" y="132"/>
                  <a:pt x="642" y="132"/>
                </a:cubicBezTo>
                <a:cubicBezTo>
                  <a:pt x="641" y="132"/>
                  <a:pt x="640" y="132"/>
                  <a:pt x="639" y="132"/>
                </a:cubicBezTo>
                <a:cubicBezTo>
                  <a:pt x="638" y="132"/>
                  <a:pt x="637" y="131"/>
                  <a:pt x="636" y="131"/>
                </a:cubicBezTo>
                <a:cubicBezTo>
                  <a:pt x="637" y="132"/>
                  <a:pt x="638" y="132"/>
                  <a:pt x="639" y="132"/>
                </a:cubicBezTo>
                <a:cubicBezTo>
                  <a:pt x="638" y="133"/>
                  <a:pt x="637" y="132"/>
                  <a:pt x="637" y="132"/>
                </a:cubicBezTo>
                <a:cubicBezTo>
                  <a:pt x="636" y="132"/>
                  <a:pt x="635" y="133"/>
                  <a:pt x="635" y="133"/>
                </a:cubicBezTo>
                <a:cubicBezTo>
                  <a:pt x="635" y="133"/>
                  <a:pt x="637" y="133"/>
                  <a:pt x="637" y="133"/>
                </a:cubicBezTo>
                <a:cubicBezTo>
                  <a:pt x="637" y="132"/>
                  <a:pt x="638" y="132"/>
                  <a:pt x="638" y="132"/>
                </a:cubicBezTo>
                <a:cubicBezTo>
                  <a:pt x="639" y="132"/>
                  <a:pt x="640" y="132"/>
                  <a:pt x="641" y="132"/>
                </a:cubicBezTo>
                <a:cubicBezTo>
                  <a:pt x="641" y="133"/>
                  <a:pt x="640" y="133"/>
                  <a:pt x="640" y="133"/>
                </a:cubicBezTo>
                <a:cubicBezTo>
                  <a:pt x="639" y="133"/>
                  <a:pt x="638" y="133"/>
                  <a:pt x="638" y="133"/>
                </a:cubicBezTo>
                <a:cubicBezTo>
                  <a:pt x="636" y="133"/>
                  <a:pt x="635" y="133"/>
                  <a:pt x="634" y="135"/>
                </a:cubicBezTo>
                <a:cubicBezTo>
                  <a:pt x="635" y="135"/>
                  <a:pt x="635" y="134"/>
                  <a:pt x="635" y="134"/>
                </a:cubicBezTo>
                <a:cubicBezTo>
                  <a:pt x="636" y="133"/>
                  <a:pt x="638" y="133"/>
                  <a:pt x="638" y="133"/>
                </a:cubicBezTo>
                <a:cubicBezTo>
                  <a:pt x="639" y="133"/>
                  <a:pt x="640" y="133"/>
                  <a:pt x="641" y="133"/>
                </a:cubicBezTo>
                <a:cubicBezTo>
                  <a:pt x="642" y="132"/>
                  <a:pt x="643" y="133"/>
                  <a:pt x="643" y="132"/>
                </a:cubicBezTo>
                <a:cubicBezTo>
                  <a:pt x="645" y="132"/>
                  <a:pt x="644" y="133"/>
                  <a:pt x="643" y="134"/>
                </a:cubicBezTo>
                <a:cubicBezTo>
                  <a:pt x="643" y="134"/>
                  <a:pt x="640" y="134"/>
                  <a:pt x="641" y="135"/>
                </a:cubicBezTo>
                <a:cubicBezTo>
                  <a:pt x="642" y="134"/>
                  <a:pt x="643" y="134"/>
                  <a:pt x="644" y="133"/>
                </a:cubicBezTo>
                <a:cubicBezTo>
                  <a:pt x="644" y="133"/>
                  <a:pt x="646" y="131"/>
                  <a:pt x="647" y="132"/>
                </a:cubicBezTo>
                <a:cubicBezTo>
                  <a:pt x="647" y="132"/>
                  <a:pt x="646" y="132"/>
                  <a:pt x="646" y="132"/>
                </a:cubicBezTo>
                <a:cubicBezTo>
                  <a:pt x="647" y="132"/>
                  <a:pt x="647" y="132"/>
                  <a:pt x="648" y="132"/>
                </a:cubicBezTo>
                <a:cubicBezTo>
                  <a:pt x="648" y="132"/>
                  <a:pt x="648" y="132"/>
                  <a:pt x="648" y="133"/>
                </a:cubicBezTo>
                <a:cubicBezTo>
                  <a:pt x="648" y="133"/>
                  <a:pt x="647" y="133"/>
                  <a:pt x="647" y="133"/>
                </a:cubicBezTo>
                <a:cubicBezTo>
                  <a:pt x="646" y="133"/>
                  <a:pt x="645" y="133"/>
                  <a:pt x="645" y="134"/>
                </a:cubicBezTo>
                <a:cubicBezTo>
                  <a:pt x="645" y="135"/>
                  <a:pt x="645" y="135"/>
                  <a:pt x="644" y="135"/>
                </a:cubicBezTo>
                <a:cubicBezTo>
                  <a:pt x="643" y="135"/>
                  <a:pt x="642" y="135"/>
                  <a:pt x="642" y="136"/>
                </a:cubicBezTo>
                <a:cubicBezTo>
                  <a:pt x="641" y="137"/>
                  <a:pt x="640" y="136"/>
                  <a:pt x="640" y="136"/>
                </a:cubicBezTo>
                <a:cubicBezTo>
                  <a:pt x="640" y="137"/>
                  <a:pt x="642" y="137"/>
                  <a:pt x="642" y="136"/>
                </a:cubicBezTo>
                <a:cubicBezTo>
                  <a:pt x="642" y="136"/>
                  <a:pt x="643" y="135"/>
                  <a:pt x="643" y="136"/>
                </a:cubicBezTo>
                <a:cubicBezTo>
                  <a:pt x="643" y="136"/>
                  <a:pt x="642" y="137"/>
                  <a:pt x="642" y="137"/>
                </a:cubicBezTo>
                <a:cubicBezTo>
                  <a:pt x="642" y="138"/>
                  <a:pt x="643" y="136"/>
                  <a:pt x="643" y="136"/>
                </a:cubicBezTo>
                <a:cubicBezTo>
                  <a:pt x="643" y="136"/>
                  <a:pt x="647" y="135"/>
                  <a:pt x="647" y="135"/>
                </a:cubicBezTo>
                <a:cubicBezTo>
                  <a:pt x="647" y="136"/>
                  <a:pt x="647" y="136"/>
                  <a:pt x="647" y="137"/>
                </a:cubicBezTo>
                <a:cubicBezTo>
                  <a:pt x="646" y="137"/>
                  <a:pt x="645" y="137"/>
                  <a:pt x="645" y="138"/>
                </a:cubicBezTo>
                <a:cubicBezTo>
                  <a:pt x="646" y="138"/>
                  <a:pt x="646" y="137"/>
                  <a:pt x="647" y="137"/>
                </a:cubicBezTo>
                <a:cubicBezTo>
                  <a:pt x="647" y="137"/>
                  <a:pt x="647" y="136"/>
                  <a:pt x="648" y="135"/>
                </a:cubicBezTo>
                <a:cubicBezTo>
                  <a:pt x="648" y="135"/>
                  <a:pt x="649" y="135"/>
                  <a:pt x="649" y="135"/>
                </a:cubicBezTo>
                <a:cubicBezTo>
                  <a:pt x="649" y="136"/>
                  <a:pt x="649" y="136"/>
                  <a:pt x="649" y="136"/>
                </a:cubicBezTo>
                <a:cubicBezTo>
                  <a:pt x="649" y="136"/>
                  <a:pt x="650" y="136"/>
                  <a:pt x="650" y="137"/>
                </a:cubicBezTo>
                <a:cubicBezTo>
                  <a:pt x="650" y="137"/>
                  <a:pt x="650" y="138"/>
                  <a:pt x="650" y="137"/>
                </a:cubicBezTo>
                <a:cubicBezTo>
                  <a:pt x="650" y="137"/>
                  <a:pt x="649" y="136"/>
                  <a:pt x="650" y="136"/>
                </a:cubicBezTo>
                <a:cubicBezTo>
                  <a:pt x="651" y="135"/>
                  <a:pt x="651" y="135"/>
                  <a:pt x="652" y="135"/>
                </a:cubicBezTo>
                <a:cubicBezTo>
                  <a:pt x="652" y="134"/>
                  <a:pt x="653" y="134"/>
                  <a:pt x="654" y="134"/>
                </a:cubicBezTo>
                <a:cubicBezTo>
                  <a:pt x="653" y="135"/>
                  <a:pt x="653" y="135"/>
                  <a:pt x="653" y="135"/>
                </a:cubicBezTo>
                <a:cubicBezTo>
                  <a:pt x="653" y="136"/>
                  <a:pt x="653" y="135"/>
                  <a:pt x="654" y="135"/>
                </a:cubicBezTo>
                <a:cubicBezTo>
                  <a:pt x="654" y="135"/>
                  <a:pt x="655" y="135"/>
                  <a:pt x="654" y="135"/>
                </a:cubicBezTo>
                <a:cubicBezTo>
                  <a:pt x="655" y="135"/>
                  <a:pt x="655" y="135"/>
                  <a:pt x="655" y="135"/>
                </a:cubicBezTo>
                <a:cubicBezTo>
                  <a:pt x="655" y="135"/>
                  <a:pt x="655" y="136"/>
                  <a:pt x="655" y="136"/>
                </a:cubicBezTo>
                <a:cubicBezTo>
                  <a:pt x="654" y="136"/>
                  <a:pt x="653" y="135"/>
                  <a:pt x="653" y="136"/>
                </a:cubicBezTo>
                <a:cubicBezTo>
                  <a:pt x="654" y="136"/>
                  <a:pt x="654" y="136"/>
                  <a:pt x="655" y="136"/>
                </a:cubicBezTo>
                <a:cubicBezTo>
                  <a:pt x="656" y="136"/>
                  <a:pt x="655" y="136"/>
                  <a:pt x="655" y="136"/>
                </a:cubicBezTo>
                <a:cubicBezTo>
                  <a:pt x="656" y="137"/>
                  <a:pt x="656" y="136"/>
                  <a:pt x="657" y="137"/>
                </a:cubicBezTo>
                <a:close/>
                <a:moveTo>
                  <a:pt x="616" y="119"/>
                </a:moveTo>
                <a:cubicBezTo>
                  <a:pt x="615" y="119"/>
                  <a:pt x="615" y="119"/>
                  <a:pt x="614" y="120"/>
                </a:cubicBezTo>
                <a:cubicBezTo>
                  <a:pt x="615" y="120"/>
                  <a:pt x="615" y="119"/>
                  <a:pt x="616" y="119"/>
                </a:cubicBezTo>
                <a:close/>
                <a:moveTo>
                  <a:pt x="620" y="123"/>
                </a:moveTo>
                <a:cubicBezTo>
                  <a:pt x="620" y="123"/>
                  <a:pt x="621" y="123"/>
                  <a:pt x="621" y="123"/>
                </a:cubicBezTo>
                <a:cubicBezTo>
                  <a:pt x="621" y="123"/>
                  <a:pt x="620" y="123"/>
                  <a:pt x="620" y="123"/>
                </a:cubicBezTo>
                <a:close/>
                <a:moveTo>
                  <a:pt x="487" y="144"/>
                </a:moveTo>
                <a:cubicBezTo>
                  <a:pt x="487" y="144"/>
                  <a:pt x="487" y="143"/>
                  <a:pt x="487" y="143"/>
                </a:cubicBezTo>
                <a:cubicBezTo>
                  <a:pt x="486" y="143"/>
                  <a:pt x="485" y="142"/>
                  <a:pt x="485" y="143"/>
                </a:cubicBezTo>
                <a:cubicBezTo>
                  <a:pt x="485" y="144"/>
                  <a:pt x="485" y="144"/>
                  <a:pt x="485" y="144"/>
                </a:cubicBezTo>
                <a:cubicBezTo>
                  <a:pt x="485" y="144"/>
                  <a:pt x="486" y="144"/>
                  <a:pt x="486" y="144"/>
                </a:cubicBezTo>
                <a:cubicBezTo>
                  <a:pt x="486" y="145"/>
                  <a:pt x="486" y="145"/>
                  <a:pt x="486" y="145"/>
                </a:cubicBezTo>
                <a:cubicBezTo>
                  <a:pt x="486" y="145"/>
                  <a:pt x="486" y="145"/>
                  <a:pt x="486" y="145"/>
                </a:cubicBezTo>
                <a:cubicBezTo>
                  <a:pt x="486" y="145"/>
                  <a:pt x="486" y="146"/>
                  <a:pt x="486" y="146"/>
                </a:cubicBezTo>
                <a:cubicBezTo>
                  <a:pt x="485" y="146"/>
                  <a:pt x="485" y="146"/>
                  <a:pt x="485" y="146"/>
                </a:cubicBezTo>
                <a:cubicBezTo>
                  <a:pt x="485" y="147"/>
                  <a:pt x="486" y="147"/>
                  <a:pt x="486" y="147"/>
                </a:cubicBezTo>
                <a:cubicBezTo>
                  <a:pt x="487" y="147"/>
                  <a:pt x="487" y="146"/>
                  <a:pt x="488" y="146"/>
                </a:cubicBezTo>
                <a:cubicBezTo>
                  <a:pt x="487" y="146"/>
                  <a:pt x="487" y="146"/>
                  <a:pt x="487" y="147"/>
                </a:cubicBezTo>
                <a:cubicBezTo>
                  <a:pt x="487" y="147"/>
                  <a:pt x="488" y="146"/>
                  <a:pt x="488" y="147"/>
                </a:cubicBezTo>
                <a:cubicBezTo>
                  <a:pt x="488" y="147"/>
                  <a:pt x="486" y="147"/>
                  <a:pt x="486" y="148"/>
                </a:cubicBezTo>
                <a:cubicBezTo>
                  <a:pt x="486" y="148"/>
                  <a:pt x="487" y="147"/>
                  <a:pt x="487" y="147"/>
                </a:cubicBezTo>
                <a:cubicBezTo>
                  <a:pt x="487" y="147"/>
                  <a:pt x="487" y="148"/>
                  <a:pt x="487" y="148"/>
                </a:cubicBezTo>
                <a:cubicBezTo>
                  <a:pt x="488" y="148"/>
                  <a:pt x="488" y="147"/>
                  <a:pt x="488" y="147"/>
                </a:cubicBezTo>
                <a:cubicBezTo>
                  <a:pt x="488" y="147"/>
                  <a:pt x="488" y="147"/>
                  <a:pt x="488" y="147"/>
                </a:cubicBezTo>
                <a:cubicBezTo>
                  <a:pt x="488" y="148"/>
                  <a:pt x="488" y="147"/>
                  <a:pt x="489" y="147"/>
                </a:cubicBezTo>
                <a:cubicBezTo>
                  <a:pt x="489" y="148"/>
                  <a:pt x="489" y="148"/>
                  <a:pt x="489" y="148"/>
                </a:cubicBezTo>
                <a:cubicBezTo>
                  <a:pt x="490" y="148"/>
                  <a:pt x="490" y="147"/>
                  <a:pt x="491" y="147"/>
                </a:cubicBezTo>
                <a:cubicBezTo>
                  <a:pt x="490" y="147"/>
                  <a:pt x="489" y="147"/>
                  <a:pt x="489" y="147"/>
                </a:cubicBezTo>
                <a:cubicBezTo>
                  <a:pt x="489" y="147"/>
                  <a:pt x="488" y="146"/>
                  <a:pt x="488" y="146"/>
                </a:cubicBezTo>
                <a:cubicBezTo>
                  <a:pt x="488" y="146"/>
                  <a:pt x="489" y="146"/>
                  <a:pt x="489" y="145"/>
                </a:cubicBezTo>
                <a:cubicBezTo>
                  <a:pt x="490" y="145"/>
                  <a:pt x="489" y="145"/>
                  <a:pt x="488" y="144"/>
                </a:cubicBezTo>
                <a:cubicBezTo>
                  <a:pt x="487" y="144"/>
                  <a:pt x="488" y="144"/>
                  <a:pt x="488" y="143"/>
                </a:cubicBezTo>
                <a:cubicBezTo>
                  <a:pt x="488" y="143"/>
                  <a:pt x="488" y="144"/>
                  <a:pt x="487" y="144"/>
                </a:cubicBezTo>
                <a:close/>
                <a:moveTo>
                  <a:pt x="606" y="179"/>
                </a:moveTo>
                <a:cubicBezTo>
                  <a:pt x="606" y="179"/>
                  <a:pt x="607" y="179"/>
                  <a:pt x="608" y="179"/>
                </a:cubicBezTo>
                <a:cubicBezTo>
                  <a:pt x="608" y="180"/>
                  <a:pt x="609" y="180"/>
                  <a:pt x="609" y="179"/>
                </a:cubicBezTo>
                <a:cubicBezTo>
                  <a:pt x="609" y="179"/>
                  <a:pt x="610" y="179"/>
                  <a:pt x="610" y="179"/>
                </a:cubicBezTo>
                <a:cubicBezTo>
                  <a:pt x="610" y="179"/>
                  <a:pt x="610" y="179"/>
                  <a:pt x="610" y="179"/>
                </a:cubicBezTo>
                <a:cubicBezTo>
                  <a:pt x="610" y="179"/>
                  <a:pt x="610" y="179"/>
                  <a:pt x="610" y="179"/>
                </a:cubicBezTo>
                <a:cubicBezTo>
                  <a:pt x="610" y="178"/>
                  <a:pt x="611" y="178"/>
                  <a:pt x="611" y="178"/>
                </a:cubicBezTo>
                <a:cubicBezTo>
                  <a:pt x="611" y="178"/>
                  <a:pt x="610" y="178"/>
                  <a:pt x="610" y="178"/>
                </a:cubicBezTo>
                <a:cubicBezTo>
                  <a:pt x="611" y="177"/>
                  <a:pt x="609" y="178"/>
                  <a:pt x="609" y="178"/>
                </a:cubicBezTo>
                <a:cubicBezTo>
                  <a:pt x="608" y="178"/>
                  <a:pt x="608" y="178"/>
                  <a:pt x="608" y="178"/>
                </a:cubicBezTo>
                <a:cubicBezTo>
                  <a:pt x="607" y="178"/>
                  <a:pt x="607" y="178"/>
                  <a:pt x="608" y="178"/>
                </a:cubicBezTo>
                <a:cubicBezTo>
                  <a:pt x="607" y="178"/>
                  <a:pt x="606" y="178"/>
                  <a:pt x="606" y="179"/>
                </a:cubicBezTo>
                <a:close/>
                <a:moveTo>
                  <a:pt x="500" y="166"/>
                </a:moveTo>
                <a:cubicBezTo>
                  <a:pt x="501" y="165"/>
                  <a:pt x="497" y="165"/>
                  <a:pt x="497" y="165"/>
                </a:cubicBezTo>
                <a:cubicBezTo>
                  <a:pt x="497" y="165"/>
                  <a:pt x="498" y="164"/>
                  <a:pt x="498" y="164"/>
                </a:cubicBezTo>
                <a:cubicBezTo>
                  <a:pt x="498" y="164"/>
                  <a:pt x="499" y="163"/>
                  <a:pt x="498" y="163"/>
                </a:cubicBezTo>
                <a:cubicBezTo>
                  <a:pt x="498" y="163"/>
                  <a:pt x="497" y="163"/>
                  <a:pt x="497" y="162"/>
                </a:cubicBezTo>
                <a:cubicBezTo>
                  <a:pt x="497" y="162"/>
                  <a:pt x="497" y="162"/>
                  <a:pt x="496" y="163"/>
                </a:cubicBezTo>
                <a:cubicBezTo>
                  <a:pt x="496" y="163"/>
                  <a:pt x="496" y="163"/>
                  <a:pt x="496" y="163"/>
                </a:cubicBezTo>
                <a:cubicBezTo>
                  <a:pt x="496" y="164"/>
                  <a:pt x="495" y="164"/>
                  <a:pt x="495" y="163"/>
                </a:cubicBezTo>
                <a:cubicBezTo>
                  <a:pt x="495" y="163"/>
                  <a:pt x="494" y="163"/>
                  <a:pt x="494" y="163"/>
                </a:cubicBezTo>
                <a:cubicBezTo>
                  <a:pt x="494" y="163"/>
                  <a:pt x="493" y="163"/>
                  <a:pt x="493" y="163"/>
                </a:cubicBezTo>
                <a:cubicBezTo>
                  <a:pt x="493" y="163"/>
                  <a:pt x="492" y="163"/>
                  <a:pt x="492" y="163"/>
                </a:cubicBezTo>
                <a:cubicBezTo>
                  <a:pt x="491" y="163"/>
                  <a:pt x="491" y="163"/>
                  <a:pt x="490" y="163"/>
                </a:cubicBezTo>
                <a:cubicBezTo>
                  <a:pt x="490" y="163"/>
                  <a:pt x="488" y="164"/>
                  <a:pt x="488" y="164"/>
                </a:cubicBezTo>
                <a:cubicBezTo>
                  <a:pt x="488" y="163"/>
                  <a:pt x="490" y="163"/>
                  <a:pt x="491" y="163"/>
                </a:cubicBezTo>
                <a:cubicBezTo>
                  <a:pt x="491" y="162"/>
                  <a:pt x="492" y="162"/>
                  <a:pt x="492" y="162"/>
                </a:cubicBezTo>
                <a:cubicBezTo>
                  <a:pt x="492" y="161"/>
                  <a:pt x="492" y="161"/>
                  <a:pt x="492" y="161"/>
                </a:cubicBezTo>
                <a:cubicBezTo>
                  <a:pt x="492" y="160"/>
                  <a:pt x="492" y="160"/>
                  <a:pt x="492" y="160"/>
                </a:cubicBezTo>
                <a:cubicBezTo>
                  <a:pt x="493" y="159"/>
                  <a:pt x="493" y="159"/>
                  <a:pt x="493" y="159"/>
                </a:cubicBezTo>
                <a:cubicBezTo>
                  <a:pt x="493" y="158"/>
                  <a:pt x="493" y="158"/>
                  <a:pt x="492" y="158"/>
                </a:cubicBezTo>
                <a:cubicBezTo>
                  <a:pt x="492" y="157"/>
                  <a:pt x="492" y="157"/>
                  <a:pt x="492" y="157"/>
                </a:cubicBezTo>
                <a:cubicBezTo>
                  <a:pt x="492" y="157"/>
                  <a:pt x="491" y="157"/>
                  <a:pt x="491" y="157"/>
                </a:cubicBezTo>
                <a:cubicBezTo>
                  <a:pt x="492" y="156"/>
                  <a:pt x="490" y="156"/>
                  <a:pt x="490" y="156"/>
                </a:cubicBezTo>
                <a:cubicBezTo>
                  <a:pt x="490" y="156"/>
                  <a:pt x="489" y="156"/>
                  <a:pt x="489" y="156"/>
                </a:cubicBezTo>
                <a:cubicBezTo>
                  <a:pt x="489" y="156"/>
                  <a:pt x="489" y="156"/>
                  <a:pt x="489" y="156"/>
                </a:cubicBezTo>
                <a:cubicBezTo>
                  <a:pt x="488" y="156"/>
                  <a:pt x="488" y="156"/>
                  <a:pt x="488" y="156"/>
                </a:cubicBezTo>
                <a:cubicBezTo>
                  <a:pt x="488" y="156"/>
                  <a:pt x="488" y="155"/>
                  <a:pt x="488" y="155"/>
                </a:cubicBezTo>
                <a:cubicBezTo>
                  <a:pt x="488" y="155"/>
                  <a:pt x="487" y="155"/>
                  <a:pt x="486" y="155"/>
                </a:cubicBezTo>
                <a:cubicBezTo>
                  <a:pt x="486" y="154"/>
                  <a:pt x="485" y="154"/>
                  <a:pt x="485" y="154"/>
                </a:cubicBezTo>
                <a:cubicBezTo>
                  <a:pt x="485" y="153"/>
                  <a:pt x="486" y="153"/>
                  <a:pt x="485" y="153"/>
                </a:cubicBezTo>
                <a:cubicBezTo>
                  <a:pt x="485" y="152"/>
                  <a:pt x="484" y="152"/>
                  <a:pt x="484" y="152"/>
                </a:cubicBezTo>
                <a:cubicBezTo>
                  <a:pt x="484" y="152"/>
                  <a:pt x="482" y="152"/>
                  <a:pt x="482" y="152"/>
                </a:cubicBezTo>
                <a:cubicBezTo>
                  <a:pt x="482" y="152"/>
                  <a:pt x="481" y="152"/>
                  <a:pt x="481" y="152"/>
                </a:cubicBezTo>
                <a:cubicBezTo>
                  <a:pt x="480" y="151"/>
                  <a:pt x="481" y="151"/>
                  <a:pt x="482" y="151"/>
                </a:cubicBezTo>
                <a:cubicBezTo>
                  <a:pt x="481" y="150"/>
                  <a:pt x="480" y="150"/>
                  <a:pt x="480" y="150"/>
                </a:cubicBezTo>
                <a:cubicBezTo>
                  <a:pt x="481" y="149"/>
                  <a:pt x="480" y="149"/>
                  <a:pt x="479" y="149"/>
                </a:cubicBezTo>
                <a:cubicBezTo>
                  <a:pt x="479" y="149"/>
                  <a:pt x="478" y="150"/>
                  <a:pt x="478" y="150"/>
                </a:cubicBezTo>
                <a:cubicBezTo>
                  <a:pt x="477" y="150"/>
                  <a:pt x="476" y="152"/>
                  <a:pt x="475" y="152"/>
                </a:cubicBezTo>
                <a:cubicBezTo>
                  <a:pt x="475" y="152"/>
                  <a:pt x="475" y="151"/>
                  <a:pt x="475" y="151"/>
                </a:cubicBezTo>
                <a:cubicBezTo>
                  <a:pt x="475" y="150"/>
                  <a:pt x="476" y="150"/>
                  <a:pt x="476" y="150"/>
                </a:cubicBezTo>
                <a:cubicBezTo>
                  <a:pt x="475" y="149"/>
                  <a:pt x="474" y="149"/>
                  <a:pt x="475" y="148"/>
                </a:cubicBezTo>
                <a:cubicBezTo>
                  <a:pt x="476" y="148"/>
                  <a:pt x="477" y="148"/>
                  <a:pt x="477" y="147"/>
                </a:cubicBezTo>
                <a:cubicBezTo>
                  <a:pt x="477" y="147"/>
                  <a:pt x="477" y="147"/>
                  <a:pt x="477" y="147"/>
                </a:cubicBezTo>
                <a:cubicBezTo>
                  <a:pt x="477" y="147"/>
                  <a:pt x="477" y="147"/>
                  <a:pt x="477" y="146"/>
                </a:cubicBezTo>
                <a:cubicBezTo>
                  <a:pt x="477" y="146"/>
                  <a:pt x="477" y="146"/>
                  <a:pt x="476" y="146"/>
                </a:cubicBezTo>
                <a:cubicBezTo>
                  <a:pt x="476" y="146"/>
                  <a:pt x="475" y="146"/>
                  <a:pt x="475" y="146"/>
                </a:cubicBezTo>
                <a:cubicBezTo>
                  <a:pt x="475" y="146"/>
                  <a:pt x="476" y="145"/>
                  <a:pt x="476" y="145"/>
                </a:cubicBezTo>
                <a:cubicBezTo>
                  <a:pt x="476" y="145"/>
                  <a:pt x="476" y="145"/>
                  <a:pt x="475" y="145"/>
                </a:cubicBezTo>
                <a:cubicBezTo>
                  <a:pt x="475" y="145"/>
                  <a:pt x="474" y="145"/>
                  <a:pt x="474" y="145"/>
                </a:cubicBezTo>
                <a:cubicBezTo>
                  <a:pt x="472" y="146"/>
                  <a:pt x="471" y="147"/>
                  <a:pt x="470" y="148"/>
                </a:cubicBezTo>
                <a:cubicBezTo>
                  <a:pt x="469" y="148"/>
                  <a:pt x="468" y="149"/>
                  <a:pt x="468" y="150"/>
                </a:cubicBezTo>
                <a:cubicBezTo>
                  <a:pt x="468" y="150"/>
                  <a:pt x="467" y="150"/>
                  <a:pt x="467" y="151"/>
                </a:cubicBezTo>
                <a:cubicBezTo>
                  <a:pt x="467" y="151"/>
                  <a:pt x="466" y="152"/>
                  <a:pt x="466" y="152"/>
                </a:cubicBezTo>
                <a:cubicBezTo>
                  <a:pt x="465" y="153"/>
                  <a:pt x="465" y="153"/>
                  <a:pt x="464" y="153"/>
                </a:cubicBezTo>
                <a:cubicBezTo>
                  <a:pt x="464" y="154"/>
                  <a:pt x="464" y="155"/>
                  <a:pt x="463" y="155"/>
                </a:cubicBezTo>
                <a:cubicBezTo>
                  <a:pt x="463" y="155"/>
                  <a:pt x="463" y="155"/>
                  <a:pt x="463" y="155"/>
                </a:cubicBezTo>
                <a:cubicBezTo>
                  <a:pt x="462" y="156"/>
                  <a:pt x="462" y="156"/>
                  <a:pt x="461" y="156"/>
                </a:cubicBezTo>
                <a:cubicBezTo>
                  <a:pt x="461" y="157"/>
                  <a:pt x="460" y="157"/>
                  <a:pt x="460" y="158"/>
                </a:cubicBezTo>
                <a:cubicBezTo>
                  <a:pt x="459" y="158"/>
                  <a:pt x="459" y="158"/>
                  <a:pt x="459" y="158"/>
                </a:cubicBezTo>
                <a:cubicBezTo>
                  <a:pt x="459" y="159"/>
                  <a:pt x="459" y="159"/>
                  <a:pt x="458" y="159"/>
                </a:cubicBezTo>
                <a:cubicBezTo>
                  <a:pt x="458" y="160"/>
                  <a:pt x="459" y="159"/>
                  <a:pt x="458" y="160"/>
                </a:cubicBezTo>
                <a:cubicBezTo>
                  <a:pt x="458" y="160"/>
                  <a:pt x="458" y="160"/>
                  <a:pt x="458" y="160"/>
                </a:cubicBezTo>
                <a:cubicBezTo>
                  <a:pt x="458" y="160"/>
                  <a:pt x="457" y="161"/>
                  <a:pt x="458" y="162"/>
                </a:cubicBezTo>
                <a:cubicBezTo>
                  <a:pt x="458" y="162"/>
                  <a:pt x="458" y="162"/>
                  <a:pt x="457" y="163"/>
                </a:cubicBezTo>
                <a:cubicBezTo>
                  <a:pt x="456" y="163"/>
                  <a:pt x="455" y="163"/>
                  <a:pt x="454" y="163"/>
                </a:cubicBezTo>
                <a:cubicBezTo>
                  <a:pt x="452" y="164"/>
                  <a:pt x="451" y="164"/>
                  <a:pt x="449" y="165"/>
                </a:cubicBezTo>
                <a:cubicBezTo>
                  <a:pt x="448" y="166"/>
                  <a:pt x="447" y="166"/>
                  <a:pt x="446" y="167"/>
                </a:cubicBezTo>
                <a:cubicBezTo>
                  <a:pt x="446" y="169"/>
                  <a:pt x="450" y="167"/>
                  <a:pt x="450" y="167"/>
                </a:cubicBezTo>
                <a:cubicBezTo>
                  <a:pt x="451" y="167"/>
                  <a:pt x="451" y="167"/>
                  <a:pt x="451" y="167"/>
                </a:cubicBezTo>
                <a:cubicBezTo>
                  <a:pt x="452" y="167"/>
                  <a:pt x="453" y="167"/>
                  <a:pt x="454" y="167"/>
                </a:cubicBezTo>
                <a:cubicBezTo>
                  <a:pt x="455" y="167"/>
                  <a:pt x="455" y="167"/>
                  <a:pt x="456" y="167"/>
                </a:cubicBezTo>
                <a:cubicBezTo>
                  <a:pt x="457" y="166"/>
                  <a:pt x="458" y="166"/>
                  <a:pt x="459" y="166"/>
                </a:cubicBezTo>
                <a:cubicBezTo>
                  <a:pt x="458" y="166"/>
                  <a:pt x="458" y="166"/>
                  <a:pt x="458" y="167"/>
                </a:cubicBezTo>
                <a:cubicBezTo>
                  <a:pt x="458" y="167"/>
                  <a:pt x="458" y="167"/>
                  <a:pt x="458" y="167"/>
                </a:cubicBezTo>
                <a:cubicBezTo>
                  <a:pt x="458" y="167"/>
                  <a:pt x="458" y="168"/>
                  <a:pt x="457" y="168"/>
                </a:cubicBezTo>
                <a:cubicBezTo>
                  <a:pt x="457" y="169"/>
                  <a:pt x="454" y="171"/>
                  <a:pt x="455" y="172"/>
                </a:cubicBezTo>
                <a:cubicBezTo>
                  <a:pt x="456" y="172"/>
                  <a:pt x="457" y="172"/>
                  <a:pt x="458" y="172"/>
                </a:cubicBezTo>
                <a:cubicBezTo>
                  <a:pt x="459" y="172"/>
                  <a:pt x="460" y="172"/>
                  <a:pt x="461" y="171"/>
                </a:cubicBezTo>
                <a:cubicBezTo>
                  <a:pt x="462" y="171"/>
                  <a:pt x="463" y="170"/>
                  <a:pt x="465" y="170"/>
                </a:cubicBezTo>
                <a:cubicBezTo>
                  <a:pt x="465" y="169"/>
                  <a:pt x="465" y="169"/>
                  <a:pt x="466" y="169"/>
                </a:cubicBezTo>
                <a:cubicBezTo>
                  <a:pt x="467" y="168"/>
                  <a:pt x="467" y="167"/>
                  <a:pt x="468" y="167"/>
                </a:cubicBezTo>
                <a:cubicBezTo>
                  <a:pt x="469" y="167"/>
                  <a:pt x="470" y="167"/>
                  <a:pt x="470" y="167"/>
                </a:cubicBezTo>
                <a:cubicBezTo>
                  <a:pt x="471" y="167"/>
                  <a:pt x="472" y="166"/>
                  <a:pt x="473" y="166"/>
                </a:cubicBezTo>
                <a:cubicBezTo>
                  <a:pt x="473" y="166"/>
                  <a:pt x="474" y="166"/>
                  <a:pt x="474" y="166"/>
                </a:cubicBezTo>
                <a:cubicBezTo>
                  <a:pt x="475" y="165"/>
                  <a:pt x="475" y="165"/>
                  <a:pt x="475" y="165"/>
                </a:cubicBezTo>
                <a:cubicBezTo>
                  <a:pt x="475" y="165"/>
                  <a:pt x="476" y="164"/>
                  <a:pt x="475" y="164"/>
                </a:cubicBezTo>
                <a:cubicBezTo>
                  <a:pt x="475" y="164"/>
                  <a:pt x="475" y="163"/>
                  <a:pt x="476" y="163"/>
                </a:cubicBezTo>
                <a:cubicBezTo>
                  <a:pt x="476" y="163"/>
                  <a:pt x="477" y="162"/>
                  <a:pt x="478" y="162"/>
                </a:cubicBezTo>
                <a:cubicBezTo>
                  <a:pt x="478" y="162"/>
                  <a:pt x="479" y="162"/>
                  <a:pt x="480" y="162"/>
                </a:cubicBezTo>
                <a:cubicBezTo>
                  <a:pt x="480" y="162"/>
                  <a:pt x="481" y="162"/>
                  <a:pt x="482" y="162"/>
                </a:cubicBezTo>
                <a:cubicBezTo>
                  <a:pt x="482" y="163"/>
                  <a:pt x="480" y="163"/>
                  <a:pt x="480" y="163"/>
                </a:cubicBezTo>
                <a:cubicBezTo>
                  <a:pt x="479" y="163"/>
                  <a:pt x="479" y="164"/>
                  <a:pt x="480" y="164"/>
                </a:cubicBezTo>
                <a:cubicBezTo>
                  <a:pt x="481" y="164"/>
                  <a:pt x="482" y="164"/>
                  <a:pt x="484" y="164"/>
                </a:cubicBezTo>
                <a:cubicBezTo>
                  <a:pt x="486" y="164"/>
                  <a:pt x="483" y="165"/>
                  <a:pt x="482" y="166"/>
                </a:cubicBezTo>
                <a:cubicBezTo>
                  <a:pt x="481" y="166"/>
                  <a:pt x="482" y="167"/>
                  <a:pt x="483" y="167"/>
                </a:cubicBezTo>
                <a:cubicBezTo>
                  <a:pt x="484" y="167"/>
                  <a:pt x="484" y="166"/>
                  <a:pt x="485" y="167"/>
                </a:cubicBezTo>
                <a:cubicBezTo>
                  <a:pt x="486" y="167"/>
                  <a:pt x="487" y="167"/>
                  <a:pt x="487" y="167"/>
                </a:cubicBezTo>
                <a:cubicBezTo>
                  <a:pt x="487" y="168"/>
                  <a:pt x="488" y="168"/>
                  <a:pt x="488" y="168"/>
                </a:cubicBezTo>
                <a:cubicBezTo>
                  <a:pt x="488" y="168"/>
                  <a:pt x="489" y="168"/>
                  <a:pt x="489" y="168"/>
                </a:cubicBezTo>
                <a:cubicBezTo>
                  <a:pt x="490" y="168"/>
                  <a:pt x="491" y="169"/>
                  <a:pt x="492" y="169"/>
                </a:cubicBezTo>
                <a:cubicBezTo>
                  <a:pt x="492" y="169"/>
                  <a:pt x="492" y="168"/>
                  <a:pt x="492" y="168"/>
                </a:cubicBezTo>
                <a:cubicBezTo>
                  <a:pt x="493" y="168"/>
                  <a:pt x="493" y="168"/>
                  <a:pt x="494" y="168"/>
                </a:cubicBezTo>
                <a:cubicBezTo>
                  <a:pt x="495" y="167"/>
                  <a:pt x="496" y="167"/>
                  <a:pt x="497" y="166"/>
                </a:cubicBezTo>
                <a:cubicBezTo>
                  <a:pt x="498" y="166"/>
                  <a:pt x="499" y="166"/>
                  <a:pt x="500" y="166"/>
                </a:cubicBezTo>
                <a:close/>
                <a:moveTo>
                  <a:pt x="513" y="168"/>
                </a:moveTo>
                <a:cubicBezTo>
                  <a:pt x="512" y="169"/>
                  <a:pt x="511" y="169"/>
                  <a:pt x="510" y="169"/>
                </a:cubicBezTo>
                <a:cubicBezTo>
                  <a:pt x="510" y="169"/>
                  <a:pt x="509" y="169"/>
                  <a:pt x="510" y="170"/>
                </a:cubicBezTo>
                <a:cubicBezTo>
                  <a:pt x="510" y="170"/>
                  <a:pt x="511" y="171"/>
                  <a:pt x="511" y="171"/>
                </a:cubicBezTo>
                <a:cubicBezTo>
                  <a:pt x="512" y="173"/>
                  <a:pt x="514" y="172"/>
                  <a:pt x="515" y="171"/>
                </a:cubicBezTo>
                <a:cubicBezTo>
                  <a:pt x="516" y="171"/>
                  <a:pt x="517" y="171"/>
                  <a:pt x="516" y="170"/>
                </a:cubicBezTo>
                <a:cubicBezTo>
                  <a:pt x="516" y="170"/>
                  <a:pt x="516" y="170"/>
                  <a:pt x="516" y="169"/>
                </a:cubicBezTo>
                <a:cubicBezTo>
                  <a:pt x="516" y="169"/>
                  <a:pt x="516" y="169"/>
                  <a:pt x="516" y="169"/>
                </a:cubicBezTo>
                <a:cubicBezTo>
                  <a:pt x="516" y="169"/>
                  <a:pt x="515" y="169"/>
                  <a:pt x="515" y="169"/>
                </a:cubicBezTo>
                <a:cubicBezTo>
                  <a:pt x="515" y="169"/>
                  <a:pt x="513" y="169"/>
                  <a:pt x="513" y="168"/>
                </a:cubicBezTo>
                <a:close/>
                <a:moveTo>
                  <a:pt x="571" y="200"/>
                </a:moveTo>
                <a:cubicBezTo>
                  <a:pt x="572" y="200"/>
                  <a:pt x="573" y="199"/>
                  <a:pt x="573" y="199"/>
                </a:cubicBezTo>
                <a:cubicBezTo>
                  <a:pt x="573" y="198"/>
                  <a:pt x="572" y="198"/>
                  <a:pt x="572" y="198"/>
                </a:cubicBezTo>
                <a:cubicBezTo>
                  <a:pt x="571" y="197"/>
                  <a:pt x="570" y="199"/>
                  <a:pt x="569" y="199"/>
                </a:cubicBezTo>
                <a:cubicBezTo>
                  <a:pt x="569" y="199"/>
                  <a:pt x="567" y="201"/>
                  <a:pt x="567" y="201"/>
                </a:cubicBezTo>
                <a:cubicBezTo>
                  <a:pt x="568" y="201"/>
                  <a:pt x="570" y="200"/>
                  <a:pt x="571" y="200"/>
                </a:cubicBezTo>
                <a:close/>
                <a:moveTo>
                  <a:pt x="565" y="176"/>
                </a:moveTo>
                <a:cubicBezTo>
                  <a:pt x="565" y="175"/>
                  <a:pt x="565" y="175"/>
                  <a:pt x="564" y="175"/>
                </a:cubicBezTo>
                <a:cubicBezTo>
                  <a:pt x="564" y="175"/>
                  <a:pt x="563" y="175"/>
                  <a:pt x="563" y="175"/>
                </a:cubicBezTo>
                <a:cubicBezTo>
                  <a:pt x="563" y="175"/>
                  <a:pt x="561" y="174"/>
                  <a:pt x="561" y="174"/>
                </a:cubicBezTo>
                <a:cubicBezTo>
                  <a:pt x="561" y="175"/>
                  <a:pt x="562" y="175"/>
                  <a:pt x="562" y="175"/>
                </a:cubicBezTo>
                <a:cubicBezTo>
                  <a:pt x="562" y="175"/>
                  <a:pt x="561" y="175"/>
                  <a:pt x="561" y="175"/>
                </a:cubicBezTo>
                <a:cubicBezTo>
                  <a:pt x="561" y="175"/>
                  <a:pt x="564" y="175"/>
                  <a:pt x="564" y="176"/>
                </a:cubicBezTo>
                <a:cubicBezTo>
                  <a:pt x="564" y="176"/>
                  <a:pt x="563" y="176"/>
                  <a:pt x="563" y="176"/>
                </a:cubicBezTo>
                <a:cubicBezTo>
                  <a:pt x="563" y="176"/>
                  <a:pt x="562" y="177"/>
                  <a:pt x="563" y="177"/>
                </a:cubicBezTo>
                <a:cubicBezTo>
                  <a:pt x="562" y="178"/>
                  <a:pt x="564" y="178"/>
                  <a:pt x="564" y="178"/>
                </a:cubicBezTo>
                <a:cubicBezTo>
                  <a:pt x="564" y="178"/>
                  <a:pt x="565" y="178"/>
                  <a:pt x="566" y="178"/>
                </a:cubicBezTo>
                <a:cubicBezTo>
                  <a:pt x="566" y="178"/>
                  <a:pt x="567" y="178"/>
                  <a:pt x="567" y="177"/>
                </a:cubicBezTo>
                <a:cubicBezTo>
                  <a:pt x="567" y="177"/>
                  <a:pt x="566" y="177"/>
                  <a:pt x="566" y="177"/>
                </a:cubicBezTo>
                <a:cubicBezTo>
                  <a:pt x="567" y="176"/>
                  <a:pt x="566" y="176"/>
                  <a:pt x="565" y="176"/>
                </a:cubicBezTo>
                <a:close/>
                <a:moveTo>
                  <a:pt x="466" y="181"/>
                </a:moveTo>
                <a:cubicBezTo>
                  <a:pt x="466" y="181"/>
                  <a:pt x="467" y="182"/>
                  <a:pt x="467" y="181"/>
                </a:cubicBezTo>
                <a:cubicBezTo>
                  <a:pt x="468" y="181"/>
                  <a:pt x="470" y="180"/>
                  <a:pt x="471" y="180"/>
                </a:cubicBezTo>
                <a:cubicBezTo>
                  <a:pt x="472" y="179"/>
                  <a:pt x="473" y="179"/>
                  <a:pt x="474" y="179"/>
                </a:cubicBezTo>
                <a:cubicBezTo>
                  <a:pt x="475" y="178"/>
                  <a:pt x="475" y="178"/>
                  <a:pt x="477" y="177"/>
                </a:cubicBezTo>
                <a:cubicBezTo>
                  <a:pt x="477" y="177"/>
                  <a:pt x="478" y="177"/>
                  <a:pt x="478" y="177"/>
                </a:cubicBezTo>
                <a:cubicBezTo>
                  <a:pt x="479" y="177"/>
                  <a:pt x="479" y="176"/>
                  <a:pt x="479" y="176"/>
                </a:cubicBezTo>
                <a:cubicBezTo>
                  <a:pt x="480" y="176"/>
                  <a:pt x="480" y="175"/>
                  <a:pt x="480" y="175"/>
                </a:cubicBezTo>
                <a:cubicBezTo>
                  <a:pt x="481" y="175"/>
                  <a:pt x="481" y="174"/>
                  <a:pt x="481" y="174"/>
                </a:cubicBezTo>
                <a:cubicBezTo>
                  <a:pt x="481" y="174"/>
                  <a:pt x="479" y="173"/>
                  <a:pt x="479" y="174"/>
                </a:cubicBezTo>
                <a:cubicBezTo>
                  <a:pt x="478" y="174"/>
                  <a:pt x="478" y="174"/>
                  <a:pt x="477" y="174"/>
                </a:cubicBezTo>
                <a:cubicBezTo>
                  <a:pt x="477" y="174"/>
                  <a:pt x="476" y="174"/>
                  <a:pt x="476" y="174"/>
                </a:cubicBezTo>
                <a:cubicBezTo>
                  <a:pt x="474" y="174"/>
                  <a:pt x="473" y="175"/>
                  <a:pt x="472" y="175"/>
                </a:cubicBezTo>
                <a:cubicBezTo>
                  <a:pt x="471" y="175"/>
                  <a:pt x="472" y="174"/>
                  <a:pt x="471" y="174"/>
                </a:cubicBezTo>
                <a:cubicBezTo>
                  <a:pt x="470" y="174"/>
                  <a:pt x="469" y="175"/>
                  <a:pt x="468" y="175"/>
                </a:cubicBezTo>
                <a:cubicBezTo>
                  <a:pt x="467" y="176"/>
                  <a:pt x="466" y="177"/>
                  <a:pt x="465" y="177"/>
                </a:cubicBezTo>
                <a:cubicBezTo>
                  <a:pt x="464" y="178"/>
                  <a:pt x="463" y="178"/>
                  <a:pt x="463" y="179"/>
                </a:cubicBezTo>
                <a:cubicBezTo>
                  <a:pt x="462" y="179"/>
                  <a:pt x="463" y="180"/>
                  <a:pt x="463" y="181"/>
                </a:cubicBezTo>
                <a:cubicBezTo>
                  <a:pt x="463" y="181"/>
                  <a:pt x="461" y="182"/>
                  <a:pt x="462" y="182"/>
                </a:cubicBezTo>
                <a:cubicBezTo>
                  <a:pt x="463" y="182"/>
                  <a:pt x="464" y="181"/>
                  <a:pt x="465" y="181"/>
                </a:cubicBezTo>
                <a:cubicBezTo>
                  <a:pt x="465" y="181"/>
                  <a:pt x="466" y="181"/>
                  <a:pt x="466" y="181"/>
                </a:cubicBezTo>
                <a:close/>
                <a:moveTo>
                  <a:pt x="496" y="182"/>
                </a:moveTo>
                <a:cubicBezTo>
                  <a:pt x="496" y="181"/>
                  <a:pt x="496" y="181"/>
                  <a:pt x="496" y="180"/>
                </a:cubicBezTo>
                <a:cubicBezTo>
                  <a:pt x="496" y="180"/>
                  <a:pt x="496" y="179"/>
                  <a:pt x="495" y="179"/>
                </a:cubicBezTo>
                <a:cubicBezTo>
                  <a:pt x="495" y="179"/>
                  <a:pt x="494" y="180"/>
                  <a:pt x="494" y="179"/>
                </a:cubicBezTo>
                <a:cubicBezTo>
                  <a:pt x="493" y="179"/>
                  <a:pt x="492" y="179"/>
                  <a:pt x="491" y="180"/>
                </a:cubicBezTo>
                <a:cubicBezTo>
                  <a:pt x="490" y="180"/>
                  <a:pt x="490" y="181"/>
                  <a:pt x="489" y="181"/>
                </a:cubicBezTo>
                <a:cubicBezTo>
                  <a:pt x="489" y="181"/>
                  <a:pt x="488" y="182"/>
                  <a:pt x="488" y="182"/>
                </a:cubicBezTo>
                <a:cubicBezTo>
                  <a:pt x="487" y="183"/>
                  <a:pt x="485" y="185"/>
                  <a:pt x="486" y="185"/>
                </a:cubicBezTo>
                <a:cubicBezTo>
                  <a:pt x="486" y="186"/>
                  <a:pt x="487" y="186"/>
                  <a:pt x="487" y="186"/>
                </a:cubicBezTo>
                <a:cubicBezTo>
                  <a:pt x="487" y="186"/>
                  <a:pt x="487" y="186"/>
                  <a:pt x="487" y="186"/>
                </a:cubicBezTo>
                <a:cubicBezTo>
                  <a:pt x="487" y="187"/>
                  <a:pt x="487" y="187"/>
                  <a:pt x="487" y="188"/>
                </a:cubicBezTo>
                <a:cubicBezTo>
                  <a:pt x="488" y="187"/>
                  <a:pt x="489" y="187"/>
                  <a:pt x="490" y="186"/>
                </a:cubicBezTo>
                <a:cubicBezTo>
                  <a:pt x="490" y="186"/>
                  <a:pt x="491" y="186"/>
                  <a:pt x="491" y="185"/>
                </a:cubicBezTo>
                <a:cubicBezTo>
                  <a:pt x="492" y="185"/>
                  <a:pt x="492" y="185"/>
                  <a:pt x="492" y="184"/>
                </a:cubicBezTo>
                <a:cubicBezTo>
                  <a:pt x="493" y="184"/>
                  <a:pt x="493" y="184"/>
                  <a:pt x="493" y="184"/>
                </a:cubicBezTo>
                <a:cubicBezTo>
                  <a:pt x="493" y="184"/>
                  <a:pt x="494" y="183"/>
                  <a:pt x="494" y="183"/>
                </a:cubicBezTo>
                <a:cubicBezTo>
                  <a:pt x="494" y="183"/>
                  <a:pt x="494" y="183"/>
                  <a:pt x="494" y="183"/>
                </a:cubicBezTo>
                <a:cubicBezTo>
                  <a:pt x="494" y="183"/>
                  <a:pt x="495" y="183"/>
                  <a:pt x="495" y="182"/>
                </a:cubicBezTo>
                <a:cubicBezTo>
                  <a:pt x="495" y="182"/>
                  <a:pt x="496" y="182"/>
                  <a:pt x="496" y="182"/>
                </a:cubicBezTo>
                <a:close/>
                <a:moveTo>
                  <a:pt x="598" y="187"/>
                </a:moveTo>
                <a:cubicBezTo>
                  <a:pt x="597" y="187"/>
                  <a:pt x="598" y="188"/>
                  <a:pt x="598" y="188"/>
                </a:cubicBezTo>
                <a:cubicBezTo>
                  <a:pt x="599" y="188"/>
                  <a:pt x="599" y="189"/>
                  <a:pt x="599" y="189"/>
                </a:cubicBezTo>
                <a:cubicBezTo>
                  <a:pt x="599" y="189"/>
                  <a:pt x="600" y="189"/>
                  <a:pt x="600" y="189"/>
                </a:cubicBezTo>
                <a:cubicBezTo>
                  <a:pt x="600" y="189"/>
                  <a:pt x="600" y="190"/>
                  <a:pt x="600" y="190"/>
                </a:cubicBezTo>
                <a:cubicBezTo>
                  <a:pt x="600" y="190"/>
                  <a:pt x="601" y="190"/>
                  <a:pt x="601" y="189"/>
                </a:cubicBezTo>
                <a:cubicBezTo>
                  <a:pt x="601" y="189"/>
                  <a:pt x="603" y="188"/>
                  <a:pt x="603" y="188"/>
                </a:cubicBezTo>
                <a:cubicBezTo>
                  <a:pt x="603" y="188"/>
                  <a:pt x="602" y="188"/>
                  <a:pt x="603" y="188"/>
                </a:cubicBezTo>
                <a:cubicBezTo>
                  <a:pt x="603" y="187"/>
                  <a:pt x="603" y="187"/>
                  <a:pt x="603" y="187"/>
                </a:cubicBezTo>
                <a:cubicBezTo>
                  <a:pt x="603" y="187"/>
                  <a:pt x="604" y="187"/>
                  <a:pt x="604" y="187"/>
                </a:cubicBezTo>
                <a:cubicBezTo>
                  <a:pt x="603" y="187"/>
                  <a:pt x="603" y="187"/>
                  <a:pt x="603" y="187"/>
                </a:cubicBezTo>
                <a:cubicBezTo>
                  <a:pt x="603" y="187"/>
                  <a:pt x="603" y="187"/>
                  <a:pt x="603" y="187"/>
                </a:cubicBezTo>
                <a:cubicBezTo>
                  <a:pt x="603" y="187"/>
                  <a:pt x="603" y="187"/>
                  <a:pt x="603" y="187"/>
                </a:cubicBezTo>
                <a:cubicBezTo>
                  <a:pt x="601" y="186"/>
                  <a:pt x="599" y="186"/>
                  <a:pt x="598" y="187"/>
                </a:cubicBezTo>
                <a:close/>
                <a:moveTo>
                  <a:pt x="392" y="119"/>
                </a:moveTo>
                <a:cubicBezTo>
                  <a:pt x="392" y="119"/>
                  <a:pt x="392" y="118"/>
                  <a:pt x="393" y="118"/>
                </a:cubicBezTo>
                <a:cubicBezTo>
                  <a:pt x="393" y="118"/>
                  <a:pt x="394" y="118"/>
                  <a:pt x="394" y="118"/>
                </a:cubicBezTo>
                <a:cubicBezTo>
                  <a:pt x="394" y="117"/>
                  <a:pt x="395" y="117"/>
                  <a:pt x="395" y="117"/>
                </a:cubicBezTo>
                <a:cubicBezTo>
                  <a:pt x="395" y="117"/>
                  <a:pt x="394" y="116"/>
                  <a:pt x="395" y="116"/>
                </a:cubicBezTo>
                <a:cubicBezTo>
                  <a:pt x="395" y="115"/>
                  <a:pt x="393" y="116"/>
                  <a:pt x="393" y="116"/>
                </a:cubicBezTo>
                <a:cubicBezTo>
                  <a:pt x="393" y="116"/>
                  <a:pt x="393" y="116"/>
                  <a:pt x="392" y="117"/>
                </a:cubicBezTo>
                <a:cubicBezTo>
                  <a:pt x="392" y="117"/>
                  <a:pt x="392" y="117"/>
                  <a:pt x="392" y="117"/>
                </a:cubicBezTo>
                <a:cubicBezTo>
                  <a:pt x="391" y="117"/>
                  <a:pt x="390" y="118"/>
                  <a:pt x="391" y="118"/>
                </a:cubicBezTo>
                <a:cubicBezTo>
                  <a:pt x="391" y="118"/>
                  <a:pt x="392" y="118"/>
                  <a:pt x="392" y="118"/>
                </a:cubicBezTo>
                <a:cubicBezTo>
                  <a:pt x="392" y="118"/>
                  <a:pt x="391" y="118"/>
                  <a:pt x="392" y="119"/>
                </a:cubicBezTo>
                <a:close/>
                <a:moveTo>
                  <a:pt x="570" y="119"/>
                </a:moveTo>
                <a:cubicBezTo>
                  <a:pt x="570" y="119"/>
                  <a:pt x="570" y="118"/>
                  <a:pt x="569" y="119"/>
                </a:cubicBezTo>
                <a:cubicBezTo>
                  <a:pt x="569" y="119"/>
                  <a:pt x="568" y="120"/>
                  <a:pt x="567" y="120"/>
                </a:cubicBezTo>
                <a:cubicBezTo>
                  <a:pt x="567" y="121"/>
                  <a:pt x="570" y="121"/>
                  <a:pt x="569" y="122"/>
                </a:cubicBezTo>
                <a:cubicBezTo>
                  <a:pt x="569" y="122"/>
                  <a:pt x="570" y="122"/>
                  <a:pt x="570" y="122"/>
                </a:cubicBezTo>
                <a:cubicBezTo>
                  <a:pt x="570" y="122"/>
                  <a:pt x="571" y="122"/>
                  <a:pt x="570" y="122"/>
                </a:cubicBezTo>
                <a:cubicBezTo>
                  <a:pt x="570" y="122"/>
                  <a:pt x="571" y="122"/>
                  <a:pt x="571" y="121"/>
                </a:cubicBezTo>
                <a:cubicBezTo>
                  <a:pt x="571" y="121"/>
                  <a:pt x="571" y="121"/>
                  <a:pt x="570" y="121"/>
                </a:cubicBezTo>
                <a:cubicBezTo>
                  <a:pt x="571" y="121"/>
                  <a:pt x="571" y="121"/>
                  <a:pt x="572" y="121"/>
                </a:cubicBezTo>
                <a:cubicBezTo>
                  <a:pt x="572" y="120"/>
                  <a:pt x="571" y="120"/>
                  <a:pt x="571" y="119"/>
                </a:cubicBezTo>
                <a:cubicBezTo>
                  <a:pt x="571" y="119"/>
                  <a:pt x="571" y="119"/>
                  <a:pt x="570" y="119"/>
                </a:cubicBezTo>
                <a:close/>
                <a:moveTo>
                  <a:pt x="252" y="89"/>
                </a:moveTo>
                <a:cubicBezTo>
                  <a:pt x="253" y="89"/>
                  <a:pt x="254" y="89"/>
                  <a:pt x="254" y="89"/>
                </a:cubicBezTo>
                <a:cubicBezTo>
                  <a:pt x="254" y="89"/>
                  <a:pt x="252" y="89"/>
                  <a:pt x="252" y="89"/>
                </a:cubicBezTo>
                <a:cubicBezTo>
                  <a:pt x="253" y="89"/>
                  <a:pt x="253" y="89"/>
                  <a:pt x="253" y="89"/>
                </a:cubicBezTo>
                <a:cubicBezTo>
                  <a:pt x="254" y="90"/>
                  <a:pt x="254" y="90"/>
                  <a:pt x="254" y="90"/>
                </a:cubicBezTo>
                <a:cubicBezTo>
                  <a:pt x="255" y="90"/>
                  <a:pt x="255" y="91"/>
                  <a:pt x="256" y="91"/>
                </a:cubicBezTo>
                <a:cubicBezTo>
                  <a:pt x="256" y="91"/>
                  <a:pt x="258" y="91"/>
                  <a:pt x="258" y="92"/>
                </a:cubicBezTo>
                <a:cubicBezTo>
                  <a:pt x="257" y="93"/>
                  <a:pt x="258" y="93"/>
                  <a:pt x="258" y="94"/>
                </a:cubicBezTo>
                <a:cubicBezTo>
                  <a:pt x="257" y="94"/>
                  <a:pt x="257" y="94"/>
                  <a:pt x="257" y="95"/>
                </a:cubicBezTo>
                <a:cubicBezTo>
                  <a:pt x="257" y="95"/>
                  <a:pt x="256" y="97"/>
                  <a:pt x="257" y="97"/>
                </a:cubicBezTo>
                <a:cubicBezTo>
                  <a:pt x="258" y="97"/>
                  <a:pt x="259" y="97"/>
                  <a:pt x="259" y="97"/>
                </a:cubicBezTo>
                <a:cubicBezTo>
                  <a:pt x="260" y="97"/>
                  <a:pt x="261" y="96"/>
                  <a:pt x="261" y="96"/>
                </a:cubicBezTo>
                <a:cubicBezTo>
                  <a:pt x="263" y="96"/>
                  <a:pt x="264" y="95"/>
                  <a:pt x="266" y="95"/>
                </a:cubicBezTo>
                <a:cubicBezTo>
                  <a:pt x="267" y="95"/>
                  <a:pt x="269" y="94"/>
                  <a:pt x="270" y="94"/>
                </a:cubicBezTo>
                <a:cubicBezTo>
                  <a:pt x="270" y="93"/>
                  <a:pt x="271" y="93"/>
                  <a:pt x="272" y="93"/>
                </a:cubicBezTo>
                <a:cubicBezTo>
                  <a:pt x="272" y="94"/>
                  <a:pt x="271" y="94"/>
                  <a:pt x="271" y="94"/>
                </a:cubicBezTo>
                <a:cubicBezTo>
                  <a:pt x="273" y="94"/>
                  <a:pt x="275" y="94"/>
                  <a:pt x="277" y="93"/>
                </a:cubicBezTo>
                <a:cubicBezTo>
                  <a:pt x="279" y="93"/>
                  <a:pt x="281" y="92"/>
                  <a:pt x="283" y="91"/>
                </a:cubicBezTo>
                <a:cubicBezTo>
                  <a:pt x="283" y="91"/>
                  <a:pt x="285" y="90"/>
                  <a:pt x="285" y="89"/>
                </a:cubicBezTo>
                <a:cubicBezTo>
                  <a:pt x="285" y="89"/>
                  <a:pt x="287" y="88"/>
                  <a:pt x="287" y="88"/>
                </a:cubicBezTo>
                <a:cubicBezTo>
                  <a:pt x="288" y="88"/>
                  <a:pt x="289" y="88"/>
                  <a:pt x="289" y="87"/>
                </a:cubicBezTo>
                <a:cubicBezTo>
                  <a:pt x="290" y="86"/>
                  <a:pt x="290" y="86"/>
                  <a:pt x="291" y="86"/>
                </a:cubicBezTo>
                <a:cubicBezTo>
                  <a:pt x="290" y="86"/>
                  <a:pt x="290" y="86"/>
                  <a:pt x="290" y="86"/>
                </a:cubicBezTo>
                <a:cubicBezTo>
                  <a:pt x="292" y="87"/>
                  <a:pt x="293" y="86"/>
                  <a:pt x="295" y="86"/>
                </a:cubicBezTo>
                <a:cubicBezTo>
                  <a:pt x="297" y="86"/>
                  <a:pt x="298" y="85"/>
                  <a:pt x="299" y="84"/>
                </a:cubicBezTo>
                <a:cubicBezTo>
                  <a:pt x="301" y="83"/>
                  <a:pt x="302" y="83"/>
                  <a:pt x="303" y="82"/>
                </a:cubicBezTo>
                <a:cubicBezTo>
                  <a:pt x="305" y="82"/>
                  <a:pt x="307" y="82"/>
                  <a:pt x="308" y="81"/>
                </a:cubicBezTo>
                <a:cubicBezTo>
                  <a:pt x="310" y="81"/>
                  <a:pt x="313" y="80"/>
                  <a:pt x="315" y="80"/>
                </a:cubicBezTo>
                <a:cubicBezTo>
                  <a:pt x="316" y="80"/>
                  <a:pt x="318" y="79"/>
                  <a:pt x="319" y="79"/>
                </a:cubicBezTo>
                <a:cubicBezTo>
                  <a:pt x="323" y="78"/>
                  <a:pt x="326" y="78"/>
                  <a:pt x="330" y="77"/>
                </a:cubicBezTo>
                <a:cubicBezTo>
                  <a:pt x="332" y="77"/>
                  <a:pt x="333" y="76"/>
                  <a:pt x="335" y="76"/>
                </a:cubicBezTo>
                <a:cubicBezTo>
                  <a:pt x="336" y="76"/>
                  <a:pt x="338" y="76"/>
                  <a:pt x="337" y="74"/>
                </a:cubicBezTo>
                <a:cubicBezTo>
                  <a:pt x="337" y="74"/>
                  <a:pt x="337" y="74"/>
                  <a:pt x="337" y="74"/>
                </a:cubicBezTo>
                <a:cubicBezTo>
                  <a:pt x="336" y="74"/>
                  <a:pt x="336" y="74"/>
                  <a:pt x="336" y="73"/>
                </a:cubicBezTo>
                <a:cubicBezTo>
                  <a:pt x="336" y="73"/>
                  <a:pt x="335" y="73"/>
                  <a:pt x="335" y="72"/>
                </a:cubicBezTo>
                <a:cubicBezTo>
                  <a:pt x="334" y="72"/>
                  <a:pt x="334" y="72"/>
                  <a:pt x="334" y="71"/>
                </a:cubicBezTo>
                <a:cubicBezTo>
                  <a:pt x="334" y="71"/>
                  <a:pt x="334" y="70"/>
                  <a:pt x="333" y="70"/>
                </a:cubicBezTo>
                <a:cubicBezTo>
                  <a:pt x="332" y="69"/>
                  <a:pt x="331" y="69"/>
                  <a:pt x="329" y="69"/>
                </a:cubicBezTo>
                <a:cubicBezTo>
                  <a:pt x="328" y="69"/>
                  <a:pt x="326" y="69"/>
                  <a:pt x="324" y="69"/>
                </a:cubicBezTo>
                <a:cubicBezTo>
                  <a:pt x="323" y="69"/>
                  <a:pt x="323" y="69"/>
                  <a:pt x="322" y="69"/>
                </a:cubicBezTo>
                <a:cubicBezTo>
                  <a:pt x="322" y="69"/>
                  <a:pt x="321" y="69"/>
                  <a:pt x="321" y="70"/>
                </a:cubicBezTo>
                <a:cubicBezTo>
                  <a:pt x="321" y="70"/>
                  <a:pt x="321" y="70"/>
                  <a:pt x="321" y="70"/>
                </a:cubicBezTo>
                <a:cubicBezTo>
                  <a:pt x="320" y="70"/>
                  <a:pt x="319" y="70"/>
                  <a:pt x="319" y="71"/>
                </a:cubicBezTo>
                <a:cubicBezTo>
                  <a:pt x="318" y="71"/>
                  <a:pt x="318" y="71"/>
                  <a:pt x="317" y="71"/>
                </a:cubicBezTo>
                <a:cubicBezTo>
                  <a:pt x="317" y="71"/>
                  <a:pt x="319" y="70"/>
                  <a:pt x="319" y="70"/>
                </a:cubicBezTo>
                <a:cubicBezTo>
                  <a:pt x="319" y="70"/>
                  <a:pt x="320" y="69"/>
                  <a:pt x="320" y="69"/>
                </a:cubicBezTo>
                <a:cubicBezTo>
                  <a:pt x="320" y="69"/>
                  <a:pt x="318" y="69"/>
                  <a:pt x="318" y="69"/>
                </a:cubicBezTo>
                <a:cubicBezTo>
                  <a:pt x="317" y="69"/>
                  <a:pt x="317" y="69"/>
                  <a:pt x="316" y="70"/>
                </a:cubicBezTo>
                <a:cubicBezTo>
                  <a:pt x="315" y="70"/>
                  <a:pt x="315" y="70"/>
                  <a:pt x="314" y="70"/>
                </a:cubicBezTo>
                <a:cubicBezTo>
                  <a:pt x="313" y="71"/>
                  <a:pt x="313" y="70"/>
                  <a:pt x="314" y="70"/>
                </a:cubicBezTo>
                <a:cubicBezTo>
                  <a:pt x="315" y="70"/>
                  <a:pt x="315" y="70"/>
                  <a:pt x="316" y="69"/>
                </a:cubicBezTo>
                <a:cubicBezTo>
                  <a:pt x="316" y="69"/>
                  <a:pt x="317" y="69"/>
                  <a:pt x="317" y="69"/>
                </a:cubicBezTo>
                <a:cubicBezTo>
                  <a:pt x="317" y="69"/>
                  <a:pt x="317" y="69"/>
                  <a:pt x="318" y="69"/>
                </a:cubicBezTo>
                <a:cubicBezTo>
                  <a:pt x="316" y="69"/>
                  <a:pt x="315" y="69"/>
                  <a:pt x="314" y="68"/>
                </a:cubicBezTo>
                <a:cubicBezTo>
                  <a:pt x="312" y="68"/>
                  <a:pt x="312" y="67"/>
                  <a:pt x="310" y="67"/>
                </a:cubicBezTo>
                <a:cubicBezTo>
                  <a:pt x="312" y="66"/>
                  <a:pt x="308" y="66"/>
                  <a:pt x="307" y="66"/>
                </a:cubicBezTo>
                <a:cubicBezTo>
                  <a:pt x="306" y="66"/>
                  <a:pt x="304" y="67"/>
                  <a:pt x="303" y="67"/>
                </a:cubicBezTo>
                <a:cubicBezTo>
                  <a:pt x="301" y="67"/>
                  <a:pt x="300" y="67"/>
                  <a:pt x="298" y="67"/>
                </a:cubicBezTo>
                <a:cubicBezTo>
                  <a:pt x="296" y="67"/>
                  <a:pt x="293" y="67"/>
                  <a:pt x="291" y="67"/>
                </a:cubicBezTo>
                <a:cubicBezTo>
                  <a:pt x="290" y="68"/>
                  <a:pt x="290" y="68"/>
                  <a:pt x="289" y="68"/>
                </a:cubicBezTo>
                <a:cubicBezTo>
                  <a:pt x="289" y="68"/>
                  <a:pt x="287" y="68"/>
                  <a:pt x="286" y="68"/>
                </a:cubicBezTo>
                <a:cubicBezTo>
                  <a:pt x="285" y="68"/>
                  <a:pt x="284" y="68"/>
                  <a:pt x="284" y="68"/>
                </a:cubicBezTo>
                <a:cubicBezTo>
                  <a:pt x="284" y="68"/>
                  <a:pt x="285" y="68"/>
                  <a:pt x="285" y="68"/>
                </a:cubicBezTo>
                <a:cubicBezTo>
                  <a:pt x="285" y="68"/>
                  <a:pt x="284" y="68"/>
                  <a:pt x="284" y="69"/>
                </a:cubicBezTo>
                <a:cubicBezTo>
                  <a:pt x="285" y="69"/>
                  <a:pt x="285" y="68"/>
                  <a:pt x="284" y="69"/>
                </a:cubicBezTo>
                <a:cubicBezTo>
                  <a:pt x="284" y="70"/>
                  <a:pt x="284" y="70"/>
                  <a:pt x="283" y="70"/>
                </a:cubicBezTo>
                <a:cubicBezTo>
                  <a:pt x="283" y="70"/>
                  <a:pt x="283" y="71"/>
                  <a:pt x="283" y="71"/>
                </a:cubicBezTo>
                <a:cubicBezTo>
                  <a:pt x="283" y="71"/>
                  <a:pt x="282" y="72"/>
                  <a:pt x="282" y="72"/>
                </a:cubicBezTo>
                <a:cubicBezTo>
                  <a:pt x="282" y="73"/>
                  <a:pt x="284" y="72"/>
                  <a:pt x="284" y="73"/>
                </a:cubicBezTo>
                <a:cubicBezTo>
                  <a:pt x="283" y="73"/>
                  <a:pt x="282" y="74"/>
                  <a:pt x="281" y="74"/>
                </a:cubicBezTo>
                <a:cubicBezTo>
                  <a:pt x="280" y="74"/>
                  <a:pt x="279" y="75"/>
                  <a:pt x="278" y="75"/>
                </a:cubicBezTo>
                <a:cubicBezTo>
                  <a:pt x="277" y="76"/>
                  <a:pt x="276" y="76"/>
                  <a:pt x="275" y="76"/>
                </a:cubicBezTo>
                <a:cubicBezTo>
                  <a:pt x="275" y="76"/>
                  <a:pt x="274" y="77"/>
                  <a:pt x="274" y="77"/>
                </a:cubicBezTo>
                <a:cubicBezTo>
                  <a:pt x="273" y="77"/>
                  <a:pt x="272" y="77"/>
                  <a:pt x="271" y="78"/>
                </a:cubicBezTo>
                <a:cubicBezTo>
                  <a:pt x="270" y="78"/>
                  <a:pt x="269" y="78"/>
                  <a:pt x="269" y="79"/>
                </a:cubicBezTo>
                <a:cubicBezTo>
                  <a:pt x="268" y="79"/>
                  <a:pt x="268" y="79"/>
                  <a:pt x="268" y="79"/>
                </a:cubicBezTo>
                <a:cubicBezTo>
                  <a:pt x="268" y="80"/>
                  <a:pt x="269" y="79"/>
                  <a:pt x="269" y="80"/>
                </a:cubicBezTo>
                <a:cubicBezTo>
                  <a:pt x="269" y="80"/>
                  <a:pt x="269" y="80"/>
                  <a:pt x="269" y="80"/>
                </a:cubicBezTo>
                <a:cubicBezTo>
                  <a:pt x="269" y="80"/>
                  <a:pt x="269" y="80"/>
                  <a:pt x="268" y="80"/>
                </a:cubicBezTo>
                <a:cubicBezTo>
                  <a:pt x="268" y="81"/>
                  <a:pt x="268" y="81"/>
                  <a:pt x="267" y="81"/>
                </a:cubicBezTo>
                <a:cubicBezTo>
                  <a:pt x="266" y="81"/>
                  <a:pt x="266" y="81"/>
                  <a:pt x="265" y="81"/>
                </a:cubicBezTo>
                <a:cubicBezTo>
                  <a:pt x="264" y="81"/>
                  <a:pt x="264" y="81"/>
                  <a:pt x="264" y="81"/>
                </a:cubicBezTo>
                <a:cubicBezTo>
                  <a:pt x="264" y="82"/>
                  <a:pt x="263" y="82"/>
                  <a:pt x="263" y="82"/>
                </a:cubicBezTo>
                <a:cubicBezTo>
                  <a:pt x="263" y="82"/>
                  <a:pt x="263" y="82"/>
                  <a:pt x="263" y="82"/>
                </a:cubicBezTo>
                <a:cubicBezTo>
                  <a:pt x="263" y="82"/>
                  <a:pt x="261" y="83"/>
                  <a:pt x="261" y="83"/>
                </a:cubicBezTo>
                <a:cubicBezTo>
                  <a:pt x="261" y="83"/>
                  <a:pt x="262" y="83"/>
                  <a:pt x="262" y="83"/>
                </a:cubicBezTo>
                <a:cubicBezTo>
                  <a:pt x="261" y="84"/>
                  <a:pt x="259" y="84"/>
                  <a:pt x="258" y="84"/>
                </a:cubicBezTo>
                <a:cubicBezTo>
                  <a:pt x="258" y="84"/>
                  <a:pt x="257" y="85"/>
                  <a:pt x="256" y="85"/>
                </a:cubicBezTo>
                <a:cubicBezTo>
                  <a:pt x="256" y="85"/>
                  <a:pt x="255" y="86"/>
                  <a:pt x="254" y="86"/>
                </a:cubicBezTo>
                <a:cubicBezTo>
                  <a:pt x="255" y="86"/>
                  <a:pt x="254" y="86"/>
                  <a:pt x="254" y="86"/>
                </a:cubicBezTo>
                <a:cubicBezTo>
                  <a:pt x="254" y="86"/>
                  <a:pt x="253" y="86"/>
                  <a:pt x="253" y="86"/>
                </a:cubicBezTo>
                <a:cubicBezTo>
                  <a:pt x="253" y="86"/>
                  <a:pt x="252" y="87"/>
                  <a:pt x="253" y="87"/>
                </a:cubicBezTo>
                <a:cubicBezTo>
                  <a:pt x="252" y="87"/>
                  <a:pt x="251" y="87"/>
                  <a:pt x="251" y="88"/>
                </a:cubicBezTo>
                <a:cubicBezTo>
                  <a:pt x="251" y="88"/>
                  <a:pt x="250" y="88"/>
                  <a:pt x="250" y="88"/>
                </a:cubicBezTo>
                <a:cubicBezTo>
                  <a:pt x="249" y="89"/>
                  <a:pt x="249" y="89"/>
                  <a:pt x="249" y="89"/>
                </a:cubicBezTo>
                <a:cubicBezTo>
                  <a:pt x="248" y="89"/>
                  <a:pt x="248" y="89"/>
                  <a:pt x="247" y="89"/>
                </a:cubicBezTo>
                <a:cubicBezTo>
                  <a:pt x="249" y="89"/>
                  <a:pt x="251" y="89"/>
                  <a:pt x="252" y="89"/>
                </a:cubicBezTo>
                <a:close/>
                <a:moveTo>
                  <a:pt x="127" y="111"/>
                </a:moveTo>
                <a:cubicBezTo>
                  <a:pt x="128" y="111"/>
                  <a:pt x="128" y="111"/>
                  <a:pt x="129" y="110"/>
                </a:cubicBezTo>
                <a:cubicBezTo>
                  <a:pt x="129" y="110"/>
                  <a:pt x="130" y="111"/>
                  <a:pt x="130" y="110"/>
                </a:cubicBezTo>
                <a:cubicBezTo>
                  <a:pt x="129" y="110"/>
                  <a:pt x="127" y="110"/>
                  <a:pt x="126" y="111"/>
                </a:cubicBezTo>
                <a:cubicBezTo>
                  <a:pt x="127" y="110"/>
                  <a:pt x="127" y="111"/>
                  <a:pt x="127" y="111"/>
                </a:cubicBezTo>
                <a:close/>
                <a:moveTo>
                  <a:pt x="396" y="116"/>
                </a:moveTo>
                <a:cubicBezTo>
                  <a:pt x="397" y="116"/>
                  <a:pt x="398" y="116"/>
                  <a:pt x="397" y="115"/>
                </a:cubicBezTo>
                <a:cubicBezTo>
                  <a:pt x="397" y="115"/>
                  <a:pt x="394" y="116"/>
                  <a:pt x="396" y="116"/>
                </a:cubicBezTo>
                <a:close/>
                <a:moveTo>
                  <a:pt x="314" y="121"/>
                </a:moveTo>
                <a:cubicBezTo>
                  <a:pt x="315" y="121"/>
                  <a:pt x="315" y="121"/>
                  <a:pt x="316" y="121"/>
                </a:cubicBezTo>
                <a:cubicBezTo>
                  <a:pt x="317" y="121"/>
                  <a:pt x="317" y="120"/>
                  <a:pt x="316" y="120"/>
                </a:cubicBezTo>
                <a:cubicBezTo>
                  <a:pt x="316" y="120"/>
                  <a:pt x="316" y="120"/>
                  <a:pt x="315" y="120"/>
                </a:cubicBezTo>
                <a:cubicBezTo>
                  <a:pt x="315" y="120"/>
                  <a:pt x="314" y="120"/>
                  <a:pt x="314" y="121"/>
                </a:cubicBezTo>
                <a:close/>
                <a:moveTo>
                  <a:pt x="596" y="198"/>
                </a:moveTo>
                <a:cubicBezTo>
                  <a:pt x="595" y="199"/>
                  <a:pt x="597" y="200"/>
                  <a:pt x="597" y="200"/>
                </a:cubicBezTo>
                <a:cubicBezTo>
                  <a:pt x="598" y="201"/>
                  <a:pt x="598" y="200"/>
                  <a:pt x="598" y="200"/>
                </a:cubicBezTo>
                <a:cubicBezTo>
                  <a:pt x="598" y="200"/>
                  <a:pt x="599" y="199"/>
                  <a:pt x="599" y="199"/>
                </a:cubicBezTo>
                <a:cubicBezTo>
                  <a:pt x="598" y="199"/>
                  <a:pt x="598" y="199"/>
                  <a:pt x="598" y="199"/>
                </a:cubicBezTo>
                <a:cubicBezTo>
                  <a:pt x="598" y="199"/>
                  <a:pt x="598" y="198"/>
                  <a:pt x="597" y="198"/>
                </a:cubicBezTo>
                <a:cubicBezTo>
                  <a:pt x="597" y="198"/>
                  <a:pt x="596" y="198"/>
                  <a:pt x="596" y="198"/>
                </a:cubicBezTo>
                <a:close/>
                <a:moveTo>
                  <a:pt x="430" y="113"/>
                </a:moveTo>
                <a:cubicBezTo>
                  <a:pt x="431" y="113"/>
                  <a:pt x="435" y="112"/>
                  <a:pt x="434" y="111"/>
                </a:cubicBezTo>
                <a:cubicBezTo>
                  <a:pt x="433" y="111"/>
                  <a:pt x="433" y="110"/>
                  <a:pt x="433" y="110"/>
                </a:cubicBezTo>
                <a:cubicBezTo>
                  <a:pt x="433" y="110"/>
                  <a:pt x="432" y="110"/>
                  <a:pt x="431" y="110"/>
                </a:cubicBezTo>
                <a:cubicBezTo>
                  <a:pt x="431" y="111"/>
                  <a:pt x="430" y="111"/>
                  <a:pt x="430" y="111"/>
                </a:cubicBezTo>
                <a:cubicBezTo>
                  <a:pt x="430" y="111"/>
                  <a:pt x="429" y="112"/>
                  <a:pt x="429" y="112"/>
                </a:cubicBezTo>
                <a:cubicBezTo>
                  <a:pt x="429" y="112"/>
                  <a:pt x="429" y="112"/>
                  <a:pt x="428" y="113"/>
                </a:cubicBezTo>
                <a:cubicBezTo>
                  <a:pt x="429" y="113"/>
                  <a:pt x="430" y="112"/>
                  <a:pt x="431" y="112"/>
                </a:cubicBezTo>
                <a:cubicBezTo>
                  <a:pt x="431" y="111"/>
                  <a:pt x="431" y="110"/>
                  <a:pt x="432" y="111"/>
                </a:cubicBezTo>
                <a:cubicBezTo>
                  <a:pt x="433" y="111"/>
                  <a:pt x="430" y="113"/>
                  <a:pt x="430" y="113"/>
                </a:cubicBezTo>
                <a:close/>
                <a:moveTo>
                  <a:pt x="538" y="177"/>
                </a:moveTo>
                <a:cubicBezTo>
                  <a:pt x="538" y="177"/>
                  <a:pt x="539" y="177"/>
                  <a:pt x="539" y="177"/>
                </a:cubicBezTo>
                <a:cubicBezTo>
                  <a:pt x="539" y="177"/>
                  <a:pt x="539" y="177"/>
                  <a:pt x="538" y="177"/>
                </a:cubicBezTo>
                <a:cubicBezTo>
                  <a:pt x="538" y="176"/>
                  <a:pt x="537" y="176"/>
                  <a:pt x="537" y="176"/>
                </a:cubicBezTo>
                <a:cubicBezTo>
                  <a:pt x="536" y="177"/>
                  <a:pt x="536" y="176"/>
                  <a:pt x="536" y="176"/>
                </a:cubicBezTo>
                <a:cubicBezTo>
                  <a:pt x="536" y="176"/>
                  <a:pt x="535" y="176"/>
                  <a:pt x="534" y="176"/>
                </a:cubicBezTo>
                <a:cubicBezTo>
                  <a:pt x="534" y="176"/>
                  <a:pt x="535" y="177"/>
                  <a:pt x="535" y="177"/>
                </a:cubicBezTo>
                <a:cubicBezTo>
                  <a:pt x="536" y="177"/>
                  <a:pt x="537" y="177"/>
                  <a:pt x="538" y="177"/>
                </a:cubicBezTo>
                <a:close/>
                <a:moveTo>
                  <a:pt x="603" y="184"/>
                </a:moveTo>
                <a:cubicBezTo>
                  <a:pt x="602" y="184"/>
                  <a:pt x="602" y="185"/>
                  <a:pt x="602" y="185"/>
                </a:cubicBezTo>
                <a:cubicBezTo>
                  <a:pt x="602" y="184"/>
                  <a:pt x="602" y="184"/>
                  <a:pt x="602" y="184"/>
                </a:cubicBezTo>
                <a:cubicBezTo>
                  <a:pt x="601" y="184"/>
                  <a:pt x="600" y="185"/>
                  <a:pt x="601" y="185"/>
                </a:cubicBezTo>
                <a:cubicBezTo>
                  <a:pt x="602" y="186"/>
                  <a:pt x="602" y="186"/>
                  <a:pt x="603" y="186"/>
                </a:cubicBezTo>
                <a:cubicBezTo>
                  <a:pt x="603" y="185"/>
                  <a:pt x="603" y="185"/>
                  <a:pt x="603" y="185"/>
                </a:cubicBezTo>
                <a:cubicBezTo>
                  <a:pt x="603" y="185"/>
                  <a:pt x="603" y="184"/>
                  <a:pt x="603" y="184"/>
                </a:cubicBezTo>
                <a:close/>
                <a:moveTo>
                  <a:pt x="408" y="102"/>
                </a:moveTo>
                <a:cubicBezTo>
                  <a:pt x="408" y="102"/>
                  <a:pt x="409" y="103"/>
                  <a:pt x="409" y="102"/>
                </a:cubicBezTo>
                <a:cubicBezTo>
                  <a:pt x="409" y="101"/>
                  <a:pt x="409" y="102"/>
                  <a:pt x="410" y="102"/>
                </a:cubicBezTo>
                <a:cubicBezTo>
                  <a:pt x="410" y="101"/>
                  <a:pt x="409" y="101"/>
                  <a:pt x="409" y="101"/>
                </a:cubicBezTo>
                <a:cubicBezTo>
                  <a:pt x="409" y="100"/>
                  <a:pt x="405" y="101"/>
                  <a:pt x="408" y="102"/>
                </a:cubicBezTo>
                <a:close/>
                <a:moveTo>
                  <a:pt x="524" y="167"/>
                </a:moveTo>
                <a:cubicBezTo>
                  <a:pt x="523" y="167"/>
                  <a:pt x="523" y="167"/>
                  <a:pt x="522" y="167"/>
                </a:cubicBezTo>
                <a:cubicBezTo>
                  <a:pt x="521" y="167"/>
                  <a:pt x="520" y="166"/>
                  <a:pt x="520" y="167"/>
                </a:cubicBezTo>
                <a:cubicBezTo>
                  <a:pt x="519" y="167"/>
                  <a:pt x="520" y="167"/>
                  <a:pt x="520" y="167"/>
                </a:cubicBezTo>
                <a:cubicBezTo>
                  <a:pt x="520" y="167"/>
                  <a:pt x="519" y="167"/>
                  <a:pt x="519" y="168"/>
                </a:cubicBezTo>
                <a:cubicBezTo>
                  <a:pt x="520" y="168"/>
                  <a:pt x="520" y="168"/>
                  <a:pt x="521" y="169"/>
                </a:cubicBezTo>
                <a:cubicBezTo>
                  <a:pt x="521" y="169"/>
                  <a:pt x="521" y="169"/>
                  <a:pt x="521" y="169"/>
                </a:cubicBezTo>
                <a:cubicBezTo>
                  <a:pt x="522" y="169"/>
                  <a:pt x="522" y="169"/>
                  <a:pt x="522" y="169"/>
                </a:cubicBezTo>
                <a:cubicBezTo>
                  <a:pt x="522" y="170"/>
                  <a:pt x="523" y="170"/>
                  <a:pt x="523" y="170"/>
                </a:cubicBezTo>
                <a:cubicBezTo>
                  <a:pt x="524" y="169"/>
                  <a:pt x="524" y="169"/>
                  <a:pt x="525" y="169"/>
                </a:cubicBezTo>
                <a:cubicBezTo>
                  <a:pt x="525" y="169"/>
                  <a:pt x="524" y="169"/>
                  <a:pt x="524" y="169"/>
                </a:cubicBezTo>
                <a:cubicBezTo>
                  <a:pt x="524" y="169"/>
                  <a:pt x="525" y="168"/>
                  <a:pt x="525" y="168"/>
                </a:cubicBezTo>
                <a:cubicBezTo>
                  <a:pt x="525" y="168"/>
                  <a:pt x="524" y="168"/>
                  <a:pt x="524" y="167"/>
                </a:cubicBezTo>
                <a:close/>
                <a:moveTo>
                  <a:pt x="441" y="53"/>
                </a:moveTo>
                <a:cubicBezTo>
                  <a:pt x="441" y="53"/>
                  <a:pt x="440" y="53"/>
                  <a:pt x="440" y="53"/>
                </a:cubicBezTo>
                <a:cubicBezTo>
                  <a:pt x="442" y="54"/>
                  <a:pt x="445" y="53"/>
                  <a:pt x="447" y="53"/>
                </a:cubicBezTo>
                <a:cubicBezTo>
                  <a:pt x="448" y="53"/>
                  <a:pt x="448" y="53"/>
                  <a:pt x="449" y="53"/>
                </a:cubicBezTo>
                <a:cubicBezTo>
                  <a:pt x="449" y="53"/>
                  <a:pt x="450" y="52"/>
                  <a:pt x="450" y="52"/>
                </a:cubicBezTo>
                <a:cubicBezTo>
                  <a:pt x="451" y="52"/>
                  <a:pt x="451" y="52"/>
                  <a:pt x="451" y="52"/>
                </a:cubicBezTo>
                <a:cubicBezTo>
                  <a:pt x="452" y="52"/>
                  <a:pt x="451" y="52"/>
                  <a:pt x="451" y="51"/>
                </a:cubicBezTo>
                <a:cubicBezTo>
                  <a:pt x="451" y="51"/>
                  <a:pt x="450" y="51"/>
                  <a:pt x="449" y="51"/>
                </a:cubicBezTo>
                <a:cubicBezTo>
                  <a:pt x="448" y="51"/>
                  <a:pt x="447" y="51"/>
                  <a:pt x="446" y="51"/>
                </a:cubicBezTo>
                <a:cubicBezTo>
                  <a:pt x="444" y="52"/>
                  <a:pt x="442" y="52"/>
                  <a:pt x="440" y="52"/>
                </a:cubicBezTo>
                <a:cubicBezTo>
                  <a:pt x="440" y="52"/>
                  <a:pt x="438" y="52"/>
                  <a:pt x="438" y="53"/>
                </a:cubicBezTo>
                <a:cubicBezTo>
                  <a:pt x="438" y="54"/>
                  <a:pt x="440" y="53"/>
                  <a:pt x="441" y="53"/>
                </a:cubicBezTo>
                <a:close/>
                <a:moveTo>
                  <a:pt x="326" y="129"/>
                </a:moveTo>
                <a:cubicBezTo>
                  <a:pt x="326" y="129"/>
                  <a:pt x="326" y="129"/>
                  <a:pt x="326" y="130"/>
                </a:cubicBezTo>
                <a:cubicBezTo>
                  <a:pt x="326" y="130"/>
                  <a:pt x="325" y="130"/>
                  <a:pt x="326" y="130"/>
                </a:cubicBezTo>
                <a:cubicBezTo>
                  <a:pt x="326" y="130"/>
                  <a:pt x="326" y="130"/>
                  <a:pt x="326" y="130"/>
                </a:cubicBezTo>
                <a:cubicBezTo>
                  <a:pt x="326" y="130"/>
                  <a:pt x="327" y="130"/>
                  <a:pt x="327" y="129"/>
                </a:cubicBezTo>
                <a:cubicBezTo>
                  <a:pt x="327" y="130"/>
                  <a:pt x="328" y="129"/>
                  <a:pt x="328" y="129"/>
                </a:cubicBezTo>
                <a:cubicBezTo>
                  <a:pt x="328" y="128"/>
                  <a:pt x="326" y="129"/>
                  <a:pt x="326" y="129"/>
                </a:cubicBezTo>
                <a:close/>
                <a:moveTo>
                  <a:pt x="481" y="126"/>
                </a:moveTo>
                <a:cubicBezTo>
                  <a:pt x="480" y="126"/>
                  <a:pt x="480" y="127"/>
                  <a:pt x="481" y="127"/>
                </a:cubicBezTo>
                <a:cubicBezTo>
                  <a:pt x="481" y="127"/>
                  <a:pt x="481" y="128"/>
                  <a:pt x="481" y="128"/>
                </a:cubicBezTo>
                <a:cubicBezTo>
                  <a:pt x="481" y="128"/>
                  <a:pt x="481" y="128"/>
                  <a:pt x="482" y="128"/>
                </a:cubicBezTo>
                <a:cubicBezTo>
                  <a:pt x="482" y="128"/>
                  <a:pt x="483" y="127"/>
                  <a:pt x="484" y="127"/>
                </a:cubicBezTo>
                <a:cubicBezTo>
                  <a:pt x="485" y="126"/>
                  <a:pt x="486" y="125"/>
                  <a:pt x="486" y="124"/>
                </a:cubicBezTo>
                <a:cubicBezTo>
                  <a:pt x="487" y="123"/>
                  <a:pt x="487" y="123"/>
                  <a:pt x="486" y="123"/>
                </a:cubicBezTo>
                <a:cubicBezTo>
                  <a:pt x="485" y="122"/>
                  <a:pt x="485" y="123"/>
                  <a:pt x="484" y="123"/>
                </a:cubicBezTo>
                <a:cubicBezTo>
                  <a:pt x="484" y="123"/>
                  <a:pt x="483" y="123"/>
                  <a:pt x="483" y="124"/>
                </a:cubicBezTo>
                <a:cubicBezTo>
                  <a:pt x="482" y="124"/>
                  <a:pt x="482" y="124"/>
                  <a:pt x="482" y="125"/>
                </a:cubicBezTo>
                <a:cubicBezTo>
                  <a:pt x="482" y="125"/>
                  <a:pt x="483" y="125"/>
                  <a:pt x="482" y="125"/>
                </a:cubicBezTo>
                <a:cubicBezTo>
                  <a:pt x="482" y="126"/>
                  <a:pt x="481" y="126"/>
                  <a:pt x="481" y="126"/>
                </a:cubicBezTo>
                <a:close/>
                <a:moveTo>
                  <a:pt x="518" y="164"/>
                </a:moveTo>
                <a:cubicBezTo>
                  <a:pt x="517" y="164"/>
                  <a:pt x="519" y="164"/>
                  <a:pt x="519" y="164"/>
                </a:cubicBezTo>
                <a:cubicBezTo>
                  <a:pt x="519" y="164"/>
                  <a:pt x="520" y="164"/>
                  <a:pt x="520" y="164"/>
                </a:cubicBezTo>
                <a:cubicBezTo>
                  <a:pt x="521" y="163"/>
                  <a:pt x="521" y="163"/>
                  <a:pt x="521" y="163"/>
                </a:cubicBezTo>
                <a:cubicBezTo>
                  <a:pt x="521" y="163"/>
                  <a:pt x="518" y="163"/>
                  <a:pt x="518" y="164"/>
                </a:cubicBezTo>
                <a:close/>
                <a:moveTo>
                  <a:pt x="495" y="195"/>
                </a:moveTo>
                <a:cubicBezTo>
                  <a:pt x="494" y="195"/>
                  <a:pt x="493" y="195"/>
                  <a:pt x="493" y="195"/>
                </a:cubicBezTo>
                <a:cubicBezTo>
                  <a:pt x="492" y="195"/>
                  <a:pt x="490" y="196"/>
                  <a:pt x="491" y="196"/>
                </a:cubicBezTo>
                <a:cubicBezTo>
                  <a:pt x="491" y="196"/>
                  <a:pt x="492" y="196"/>
                  <a:pt x="492" y="196"/>
                </a:cubicBezTo>
                <a:cubicBezTo>
                  <a:pt x="493" y="196"/>
                  <a:pt x="494" y="196"/>
                  <a:pt x="494" y="195"/>
                </a:cubicBezTo>
                <a:cubicBezTo>
                  <a:pt x="494" y="195"/>
                  <a:pt x="494" y="195"/>
                  <a:pt x="494" y="195"/>
                </a:cubicBezTo>
                <a:cubicBezTo>
                  <a:pt x="494" y="195"/>
                  <a:pt x="494" y="195"/>
                  <a:pt x="495" y="195"/>
                </a:cubicBezTo>
                <a:cubicBezTo>
                  <a:pt x="495" y="195"/>
                  <a:pt x="495" y="195"/>
                  <a:pt x="495" y="195"/>
                </a:cubicBezTo>
                <a:close/>
                <a:moveTo>
                  <a:pt x="455" y="240"/>
                </a:moveTo>
                <a:cubicBezTo>
                  <a:pt x="454" y="240"/>
                  <a:pt x="454" y="240"/>
                  <a:pt x="454" y="240"/>
                </a:cubicBezTo>
                <a:cubicBezTo>
                  <a:pt x="453" y="240"/>
                  <a:pt x="453" y="240"/>
                  <a:pt x="453" y="240"/>
                </a:cubicBezTo>
                <a:cubicBezTo>
                  <a:pt x="453" y="241"/>
                  <a:pt x="452" y="241"/>
                  <a:pt x="451" y="241"/>
                </a:cubicBezTo>
                <a:cubicBezTo>
                  <a:pt x="451" y="241"/>
                  <a:pt x="450" y="242"/>
                  <a:pt x="451" y="242"/>
                </a:cubicBezTo>
                <a:cubicBezTo>
                  <a:pt x="453" y="241"/>
                  <a:pt x="455" y="240"/>
                  <a:pt x="457" y="239"/>
                </a:cubicBezTo>
                <a:cubicBezTo>
                  <a:pt x="456" y="239"/>
                  <a:pt x="456" y="240"/>
                  <a:pt x="455" y="240"/>
                </a:cubicBezTo>
                <a:close/>
                <a:moveTo>
                  <a:pt x="604" y="234"/>
                </a:moveTo>
                <a:cubicBezTo>
                  <a:pt x="604" y="234"/>
                  <a:pt x="604" y="234"/>
                  <a:pt x="604" y="234"/>
                </a:cubicBezTo>
                <a:cubicBezTo>
                  <a:pt x="603" y="234"/>
                  <a:pt x="603" y="235"/>
                  <a:pt x="603" y="235"/>
                </a:cubicBezTo>
                <a:cubicBezTo>
                  <a:pt x="602" y="235"/>
                  <a:pt x="601" y="236"/>
                  <a:pt x="601" y="236"/>
                </a:cubicBezTo>
                <a:cubicBezTo>
                  <a:pt x="601" y="237"/>
                  <a:pt x="601" y="237"/>
                  <a:pt x="601" y="237"/>
                </a:cubicBezTo>
                <a:cubicBezTo>
                  <a:pt x="601" y="237"/>
                  <a:pt x="601" y="237"/>
                  <a:pt x="601" y="237"/>
                </a:cubicBezTo>
                <a:cubicBezTo>
                  <a:pt x="602" y="237"/>
                  <a:pt x="602" y="237"/>
                  <a:pt x="602" y="237"/>
                </a:cubicBezTo>
                <a:cubicBezTo>
                  <a:pt x="602" y="238"/>
                  <a:pt x="602" y="238"/>
                  <a:pt x="603" y="237"/>
                </a:cubicBezTo>
                <a:cubicBezTo>
                  <a:pt x="603" y="237"/>
                  <a:pt x="603" y="237"/>
                  <a:pt x="603" y="237"/>
                </a:cubicBezTo>
                <a:cubicBezTo>
                  <a:pt x="603" y="237"/>
                  <a:pt x="603" y="237"/>
                  <a:pt x="603" y="237"/>
                </a:cubicBezTo>
                <a:cubicBezTo>
                  <a:pt x="603" y="237"/>
                  <a:pt x="604" y="236"/>
                  <a:pt x="603" y="236"/>
                </a:cubicBezTo>
                <a:cubicBezTo>
                  <a:pt x="603" y="236"/>
                  <a:pt x="602" y="236"/>
                  <a:pt x="602" y="236"/>
                </a:cubicBezTo>
                <a:cubicBezTo>
                  <a:pt x="601" y="236"/>
                  <a:pt x="603" y="236"/>
                  <a:pt x="603" y="236"/>
                </a:cubicBezTo>
                <a:cubicBezTo>
                  <a:pt x="603" y="236"/>
                  <a:pt x="604" y="235"/>
                  <a:pt x="603" y="236"/>
                </a:cubicBezTo>
                <a:cubicBezTo>
                  <a:pt x="604" y="235"/>
                  <a:pt x="604" y="235"/>
                  <a:pt x="604" y="235"/>
                </a:cubicBezTo>
                <a:cubicBezTo>
                  <a:pt x="604" y="235"/>
                  <a:pt x="604" y="235"/>
                  <a:pt x="604" y="235"/>
                </a:cubicBezTo>
                <a:cubicBezTo>
                  <a:pt x="604" y="235"/>
                  <a:pt x="604" y="235"/>
                  <a:pt x="604" y="235"/>
                </a:cubicBezTo>
                <a:cubicBezTo>
                  <a:pt x="605" y="234"/>
                  <a:pt x="604" y="235"/>
                  <a:pt x="604" y="234"/>
                </a:cubicBezTo>
                <a:close/>
                <a:moveTo>
                  <a:pt x="456" y="245"/>
                </a:moveTo>
                <a:cubicBezTo>
                  <a:pt x="456" y="245"/>
                  <a:pt x="456" y="245"/>
                  <a:pt x="456" y="245"/>
                </a:cubicBezTo>
                <a:cubicBezTo>
                  <a:pt x="456" y="245"/>
                  <a:pt x="455" y="245"/>
                  <a:pt x="455" y="245"/>
                </a:cubicBezTo>
                <a:cubicBezTo>
                  <a:pt x="456" y="244"/>
                  <a:pt x="458" y="243"/>
                  <a:pt x="458" y="242"/>
                </a:cubicBezTo>
                <a:cubicBezTo>
                  <a:pt x="457" y="242"/>
                  <a:pt x="455" y="244"/>
                  <a:pt x="454" y="245"/>
                </a:cubicBezTo>
                <a:cubicBezTo>
                  <a:pt x="454" y="245"/>
                  <a:pt x="454" y="245"/>
                  <a:pt x="453" y="245"/>
                </a:cubicBezTo>
                <a:cubicBezTo>
                  <a:pt x="453" y="245"/>
                  <a:pt x="453" y="245"/>
                  <a:pt x="453" y="245"/>
                </a:cubicBezTo>
                <a:cubicBezTo>
                  <a:pt x="452" y="245"/>
                  <a:pt x="451" y="246"/>
                  <a:pt x="451" y="246"/>
                </a:cubicBezTo>
                <a:cubicBezTo>
                  <a:pt x="451" y="245"/>
                  <a:pt x="452" y="245"/>
                  <a:pt x="453" y="244"/>
                </a:cubicBezTo>
                <a:cubicBezTo>
                  <a:pt x="453" y="244"/>
                  <a:pt x="455" y="243"/>
                  <a:pt x="455" y="243"/>
                </a:cubicBezTo>
                <a:cubicBezTo>
                  <a:pt x="454" y="243"/>
                  <a:pt x="453" y="244"/>
                  <a:pt x="452" y="244"/>
                </a:cubicBezTo>
                <a:cubicBezTo>
                  <a:pt x="452" y="245"/>
                  <a:pt x="451" y="246"/>
                  <a:pt x="450" y="246"/>
                </a:cubicBezTo>
                <a:cubicBezTo>
                  <a:pt x="450" y="245"/>
                  <a:pt x="450" y="245"/>
                  <a:pt x="449" y="245"/>
                </a:cubicBezTo>
                <a:cubicBezTo>
                  <a:pt x="449" y="245"/>
                  <a:pt x="450" y="245"/>
                  <a:pt x="450" y="245"/>
                </a:cubicBezTo>
                <a:cubicBezTo>
                  <a:pt x="451" y="244"/>
                  <a:pt x="453" y="243"/>
                  <a:pt x="455" y="242"/>
                </a:cubicBezTo>
                <a:cubicBezTo>
                  <a:pt x="456" y="241"/>
                  <a:pt x="456" y="240"/>
                  <a:pt x="457" y="240"/>
                </a:cubicBezTo>
                <a:cubicBezTo>
                  <a:pt x="457" y="239"/>
                  <a:pt x="457" y="238"/>
                  <a:pt x="458" y="238"/>
                </a:cubicBezTo>
                <a:cubicBezTo>
                  <a:pt x="457" y="239"/>
                  <a:pt x="457" y="240"/>
                  <a:pt x="456" y="241"/>
                </a:cubicBezTo>
                <a:cubicBezTo>
                  <a:pt x="456" y="242"/>
                  <a:pt x="454" y="242"/>
                  <a:pt x="454" y="243"/>
                </a:cubicBezTo>
                <a:cubicBezTo>
                  <a:pt x="454" y="243"/>
                  <a:pt x="455" y="242"/>
                  <a:pt x="455" y="242"/>
                </a:cubicBezTo>
                <a:cubicBezTo>
                  <a:pt x="455" y="242"/>
                  <a:pt x="455" y="242"/>
                  <a:pt x="456" y="242"/>
                </a:cubicBezTo>
                <a:cubicBezTo>
                  <a:pt x="456" y="242"/>
                  <a:pt x="457" y="241"/>
                  <a:pt x="457" y="240"/>
                </a:cubicBezTo>
                <a:cubicBezTo>
                  <a:pt x="458" y="240"/>
                  <a:pt x="458" y="239"/>
                  <a:pt x="459" y="239"/>
                </a:cubicBezTo>
                <a:cubicBezTo>
                  <a:pt x="459" y="239"/>
                  <a:pt x="460" y="237"/>
                  <a:pt x="460" y="238"/>
                </a:cubicBezTo>
                <a:cubicBezTo>
                  <a:pt x="460" y="238"/>
                  <a:pt x="460" y="238"/>
                  <a:pt x="460" y="238"/>
                </a:cubicBezTo>
                <a:cubicBezTo>
                  <a:pt x="461" y="238"/>
                  <a:pt x="460" y="239"/>
                  <a:pt x="461" y="240"/>
                </a:cubicBezTo>
                <a:cubicBezTo>
                  <a:pt x="461" y="240"/>
                  <a:pt x="461" y="239"/>
                  <a:pt x="461" y="240"/>
                </a:cubicBezTo>
                <a:cubicBezTo>
                  <a:pt x="461" y="240"/>
                  <a:pt x="461" y="240"/>
                  <a:pt x="460" y="241"/>
                </a:cubicBezTo>
                <a:cubicBezTo>
                  <a:pt x="461" y="241"/>
                  <a:pt x="461" y="241"/>
                  <a:pt x="461" y="241"/>
                </a:cubicBezTo>
                <a:cubicBezTo>
                  <a:pt x="459" y="242"/>
                  <a:pt x="457" y="244"/>
                  <a:pt x="456" y="245"/>
                </a:cubicBezTo>
                <a:close/>
                <a:moveTo>
                  <a:pt x="458" y="243"/>
                </a:moveTo>
                <a:cubicBezTo>
                  <a:pt x="458" y="243"/>
                  <a:pt x="458" y="243"/>
                  <a:pt x="459" y="242"/>
                </a:cubicBezTo>
                <a:cubicBezTo>
                  <a:pt x="459" y="242"/>
                  <a:pt x="460" y="242"/>
                  <a:pt x="460" y="241"/>
                </a:cubicBezTo>
                <a:cubicBezTo>
                  <a:pt x="460" y="241"/>
                  <a:pt x="460" y="240"/>
                  <a:pt x="461" y="240"/>
                </a:cubicBezTo>
                <a:cubicBezTo>
                  <a:pt x="460" y="240"/>
                  <a:pt x="459" y="241"/>
                  <a:pt x="459" y="242"/>
                </a:cubicBezTo>
                <a:cubicBezTo>
                  <a:pt x="459" y="242"/>
                  <a:pt x="459" y="242"/>
                  <a:pt x="459" y="242"/>
                </a:cubicBezTo>
                <a:cubicBezTo>
                  <a:pt x="459" y="242"/>
                  <a:pt x="458" y="243"/>
                  <a:pt x="458" y="243"/>
                </a:cubicBezTo>
                <a:close/>
                <a:moveTo>
                  <a:pt x="462" y="242"/>
                </a:moveTo>
                <a:cubicBezTo>
                  <a:pt x="463" y="242"/>
                  <a:pt x="463" y="240"/>
                  <a:pt x="463" y="240"/>
                </a:cubicBezTo>
                <a:cubicBezTo>
                  <a:pt x="464" y="239"/>
                  <a:pt x="462" y="240"/>
                  <a:pt x="462" y="240"/>
                </a:cubicBezTo>
                <a:cubicBezTo>
                  <a:pt x="461" y="241"/>
                  <a:pt x="460" y="242"/>
                  <a:pt x="459" y="243"/>
                </a:cubicBezTo>
                <a:cubicBezTo>
                  <a:pt x="460" y="243"/>
                  <a:pt x="460" y="242"/>
                  <a:pt x="461" y="242"/>
                </a:cubicBezTo>
                <a:cubicBezTo>
                  <a:pt x="461" y="242"/>
                  <a:pt x="462" y="242"/>
                  <a:pt x="462" y="242"/>
                </a:cubicBezTo>
                <a:close/>
                <a:moveTo>
                  <a:pt x="424" y="273"/>
                </a:moveTo>
                <a:cubicBezTo>
                  <a:pt x="424" y="272"/>
                  <a:pt x="420" y="273"/>
                  <a:pt x="419" y="273"/>
                </a:cubicBezTo>
                <a:cubicBezTo>
                  <a:pt x="419" y="273"/>
                  <a:pt x="418" y="273"/>
                  <a:pt x="417" y="273"/>
                </a:cubicBezTo>
                <a:cubicBezTo>
                  <a:pt x="417" y="274"/>
                  <a:pt x="416" y="274"/>
                  <a:pt x="416" y="274"/>
                </a:cubicBezTo>
                <a:cubicBezTo>
                  <a:pt x="415" y="275"/>
                  <a:pt x="416" y="276"/>
                  <a:pt x="417" y="276"/>
                </a:cubicBezTo>
                <a:cubicBezTo>
                  <a:pt x="418" y="276"/>
                  <a:pt x="419" y="277"/>
                  <a:pt x="420" y="277"/>
                </a:cubicBezTo>
                <a:cubicBezTo>
                  <a:pt x="420" y="277"/>
                  <a:pt x="421" y="277"/>
                  <a:pt x="421" y="277"/>
                </a:cubicBezTo>
                <a:cubicBezTo>
                  <a:pt x="421" y="277"/>
                  <a:pt x="421" y="277"/>
                  <a:pt x="422" y="278"/>
                </a:cubicBezTo>
                <a:cubicBezTo>
                  <a:pt x="422" y="278"/>
                  <a:pt x="423" y="278"/>
                  <a:pt x="423" y="278"/>
                </a:cubicBezTo>
                <a:cubicBezTo>
                  <a:pt x="424" y="278"/>
                  <a:pt x="424" y="279"/>
                  <a:pt x="425" y="278"/>
                </a:cubicBezTo>
                <a:cubicBezTo>
                  <a:pt x="425" y="278"/>
                  <a:pt x="425" y="278"/>
                  <a:pt x="425" y="277"/>
                </a:cubicBezTo>
                <a:cubicBezTo>
                  <a:pt x="425" y="276"/>
                  <a:pt x="425" y="276"/>
                  <a:pt x="425" y="275"/>
                </a:cubicBezTo>
                <a:cubicBezTo>
                  <a:pt x="425" y="275"/>
                  <a:pt x="424" y="274"/>
                  <a:pt x="424" y="273"/>
                </a:cubicBezTo>
                <a:close/>
                <a:moveTo>
                  <a:pt x="557" y="316"/>
                </a:moveTo>
                <a:cubicBezTo>
                  <a:pt x="558" y="316"/>
                  <a:pt x="559" y="316"/>
                  <a:pt x="561" y="317"/>
                </a:cubicBezTo>
                <a:cubicBezTo>
                  <a:pt x="562" y="317"/>
                  <a:pt x="563" y="317"/>
                  <a:pt x="564" y="317"/>
                </a:cubicBezTo>
                <a:cubicBezTo>
                  <a:pt x="565" y="317"/>
                  <a:pt x="567" y="316"/>
                  <a:pt x="566" y="315"/>
                </a:cubicBezTo>
                <a:cubicBezTo>
                  <a:pt x="565" y="314"/>
                  <a:pt x="565" y="314"/>
                  <a:pt x="564" y="314"/>
                </a:cubicBezTo>
                <a:cubicBezTo>
                  <a:pt x="564" y="313"/>
                  <a:pt x="563" y="313"/>
                  <a:pt x="563" y="313"/>
                </a:cubicBezTo>
                <a:cubicBezTo>
                  <a:pt x="562" y="313"/>
                  <a:pt x="563" y="313"/>
                  <a:pt x="562" y="313"/>
                </a:cubicBezTo>
                <a:cubicBezTo>
                  <a:pt x="562" y="312"/>
                  <a:pt x="562" y="312"/>
                  <a:pt x="562" y="312"/>
                </a:cubicBezTo>
                <a:cubicBezTo>
                  <a:pt x="561" y="312"/>
                  <a:pt x="561" y="312"/>
                  <a:pt x="561" y="311"/>
                </a:cubicBezTo>
                <a:cubicBezTo>
                  <a:pt x="560" y="311"/>
                  <a:pt x="560" y="311"/>
                  <a:pt x="559" y="310"/>
                </a:cubicBezTo>
                <a:cubicBezTo>
                  <a:pt x="559" y="310"/>
                  <a:pt x="558" y="310"/>
                  <a:pt x="558" y="310"/>
                </a:cubicBezTo>
                <a:cubicBezTo>
                  <a:pt x="558" y="310"/>
                  <a:pt x="557" y="310"/>
                  <a:pt x="557" y="310"/>
                </a:cubicBezTo>
                <a:cubicBezTo>
                  <a:pt x="556" y="309"/>
                  <a:pt x="555" y="309"/>
                  <a:pt x="554" y="309"/>
                </a:cubicBezTo>
                <a:cubicBezTo>
                  <a:pt x="551" y="308"/>
                  <a:pt x="549" y="307"/>
                  <a:pt x="547" y="308"/>
                </a:cubicBezTo>
                <a:cubicBezTo>
                  <a:pt x="546" y="308"/>
                  <a:pt x="545" y="308"/>
                  <a:pt x="546" y="309"/>
                </a:cubicBezTo>
                <a:cubicBezTo>
                  <a:pt x="546" y="309"/>
                  <a:pt x="546" y="309"/>
                  <a:pt x="546" y="309"/>
                </a:cubicBezTo>
                <a:cubicBezTo>
                  <a:pt x="546" y="309"/>
                  <a:pt x="547" y="309"/>
                  <a:pt x="547" y="309"/>
                </a:cubicBezTo>
                <a:cubicBezTo>
                  <a:pt x="548" y="310"/>
                  <a:pt x="549" y="310"/>
                  <a:pt x="550" y="311"/>
                </a:cubicBezTo>
                <a:cubicBezTo>
                  <a:pt x="550" y="311"/>
                  <a:pt x="551" y="312"/>
                  <a:pt x="551" y="312"/>
                </a:cubicBezTo>
                <a:cubicBezTo>
                  <a:pt x="551" y="312"/>
                  <a:pt x="551" y="313"/>
                  <a:pt x="551" y="313"/>
                </a:cubicBezTo>
                <a:cubicBezTo>
                  <a:pt x="551" y="314"/>
                  <a:pt x="553" y="314"/>
                  <a:pt x="553" y="314"/>
                </a:cubicBezTo>
                <a:cubicBezTo>
                  <a:pt x="554" y="315"/>
                  <a:pt x="555" y="315"/>
                  <a:pt x="557" y="316"/>
                </a:cubicBezTo>
                <a:close/>
                <a:moveTo>
                  <a:pt x="341" y="319"/>
                </a:moveTo>
                <a:cubicBezTo>
                  <a:pt x="341" y="319"/>
                  <a:pt x="340" y="320"/>
                  <a:pt x="340" y="320"/>
                </a:cubicBezTo>
                <a:cubicBezTo>
                  <a:pt x="340" y="321"/>
                  <a:pt x="340" y="321"/>
                  <a:pt x="340" y="320"/>
                </a:cubicBezTo>
                <a:cubicBezTo>
                  <a:pt x="341" y="320"/>
                  <a:pt x="341" y="320"/>
                  <a:pt x="342" y="320"/>
                </a:cubicBezTo>
                <a:cubicBezTo>
                  <a:pt x="342" y="320"/>
                  <a:pt x="342" y="320"/>
                  <a:pt x="342" y="320"/>
                </a:cubicBezTo>
                <a:cubicBezTo>
                  <a:pt x="343" y="320"/>
                  <a:pt x="343" y="320"/>
                  <a:pt x="343" y="319"/>
                </a:cubicBezTo>
                <a:cubicBezTo>
                  <a:pt x="343" y="319"/>
                  <a:pt x="342" y="319"/>
                  <a:pt x="341" y="319"/>
                </a:cubicBezTo>
                <a:close/>
                <a:moveTo>
                  <a:pt x="629" y="326"/>
                </a:moveTo>
                <a:cubicBezTo>
                  <a:pt x="629" y="326"/>
                  <a:pt x="630" y="326"/>
                  <a:pt x="630" y="326"/>
                </a:cubicBezTo>
                <a:cubicBezTo>
                  <a:pt x="631" y="326"/>
                  <a:pt x="631" y="326"/>
                  <a:pt x="632" y="326"/>
                </a:cubicBezTo>
                <a:cubicBezTo>
                  <a:pt x="632" y="325"/>
                  <a:pt x="633" y="325"/>
                  <a:pt x="633" y="325"/>
                </a:cubicBezTo>
                <a:cubicBezTo>
                  <a:pt x="634" y="325"/>
                  <a:pt x="634" y="324"/>
                  <a:pt x="634" y="324"/>
                </a:cubicBezTo>
                <a:cubicBezTo>
                  <a:pt x="635" y="324"/>
                  <a:pt x="635" y="325"/>
                  <a:pt x="636" y="324"/>
                </a:cubicBezTo>
                <a:cubicBezTo>
                  <a:pt x="636" y="324"/>
                  <a:pt x="636" y="324"/>
                  <a:pt x="637" y="323"/>
                </a:cubicBezTo>
                <a:cubicBezTo>
                  <a:pt x="637" y="323"/>
                  <a:pt x="638" y="322"/>
                  <a:pt x="638" y="321"/>
                </a:cubicBezTo>
                <a:cubicBezTo>
                  <a:pt x="637" y="321"/>
                  <a:pt x="637" y="321"/>
                  <a:pt x="637" y="321"/>
                </a:cubicBezTo>
                <a:cubicBezTo>
                  <a:pt x="636" y="322"/>
                  <a:pt x="636" y="322"/>
                  <a:pt x="635" y="322"/>
                </a:cubicBezTo>
                <a:cubicBezTo>
                  <a:pt x="635" y="323"/>
                  <a:pt x="635" y="322"/>
                  <a:pt x="635" y="322"/>
                </a:cubicBezTo>
                <a:cubicBezTo>
                  <a:pt x="635" y="322"/>
                  <a:pt x="635" y="322"/>
                  <a:pt x="634" y="322"/>
                </a:cubicBezTo>
                <a:cubicBezTo>
                  <a:pt x="634" y="322"/>
                  <a:pt x="634" y="322"/>
                  <a:pt x="633" y="322"/>
                </a:cubicBezTo>
                <a:cubicBezTo>
                  <a:pt x="633" y="323"/>
                  <a:pt x="632" y="323"/>
                  <a:pt x="632" y="324"/>
                </a:cubicBezTo>
                <a:cubicBezTo>
                  <a:pt x="632" y="324"/>
                  <a:pt x="632" y="323"/>
                  <a:pt x="632" y="323"/>
                </a:cubicBezTo>
                <a:cubicBezTo>
                  <a:pt x="632" y="323"/>
                  <a:pt x="632" y="323"/>
                  <a:pt x="632" y="323"/>
                </a:cubicBezTo>
                <a:cubicBezTo>
                  <a:pt x="632" y="323"/>
                  <a:pt x="632" y="323"/>
                  <a:pt x="632" y="323"/>
                </a:cubicBezTo>
                <a:cubicBezTo>
                  <a:pt x="631" y="324"/>
                  <a:pt x="631" y="324"/>
                  <a:pt x="631" y="324"/>
                </a:cubicBezTo>
                <a:cubicBezTo>
                  <a:pt x="631" y="324"/>
                  <a:pt x="632" y="323"/>
                  <a:pt x="632" y="323"/>
                </a:cubicBezTo>
                <a:cubicBezTo>
                  <a:pt x="632" y="323"/>
                  <a:pt x="632" y="323"/>
                  <a:pt x="632" y="323"/>
                </a:cubicBezTo>
                <a:cubicBezTo>
                  <a:pt x="631" y="322"/>
                  <a:pt x="630" y="324"/>
                  <a:pt x="630" y="324"/>
                </a:cubicBezTo>
                <a:cubicBezTo>
                  <a:pt x="630" y="324"/>
                  <a:pt x="629" y="324"/>
                  <a:pt x="629" y="324"/>
                </a:cubicBezTo>
                <a:cubicBezTo>
                  <a:pt x="630" y="324"/>
                  <a:pt x="630" y="323"/>
                  <a:pt x="630" y="323"/>
                </a:cubicBezTo>
                <a:cubicBezTo>
                  <a:pt x="630" y="323"/>
                  <a:pt x="627" y="324"/>
                  <a:pt x="627" y="324"/>
                </a:cubicBezTo>
                <a:cubicBezTo>
                  <a:pt x="627" y="324"/>
                  <a:pt x="628" y="324"/>
                  <a:pt x="628" y="324"/>
                </a:cubicBezTo>
                <a:cubicBezTo>
                  <a:pt x="628" y="324"/>
                  <a:pt x="629" y="324"/>
                  <a:pt x="629" y="323"/>
                </a:cubicBezTo>
                <a:cubicBezTo>
                  <a:pt x="630" y="323"/>
                  <a:pt x="630" y="323"/>
                  <a:pt x="630" y="323"/>
                </a:cubicBezTo>
                <a:cubicBezTo>
                  <a:pt x="631" y="323"/>
                  <a:pt x="631" y="322"/>
                  <a:pt x="631" y="323"/>
                </a:cubicBezTo>
                <a:cubicBezTo>
                  <a:pt x="631" y="322"/>
                  <a:pt x="631" y="322"/>
                  <a:pt x="631" y="322"/>
                </a:cubicBezTo>
                <a:cubicBezTo>
                  <a:pt x="631" y="322"/>
                  <a:pt x="630" y="322"/>
                  <a:pt x="629" y="322"/>
                </a:cubicBezTo>
                <a:cubicBezTo>
                  <a:pt x="630" y="322"/>
                  <a:pt x="633" y="321"/>
                  <a:pt x="633" y="321"/>
                </a:cubicBezTo>
                <a:cubicBezTo>
                  <a:pt x="633" y="321"/>
                  <a:pt x="632" y="321"/>
                  <a:pt x="632" y="321"/>
                </a:cubicBezTo>
                <a:cubicBezTo>
                  <a:pt x="632" y="321"/>
                  <a:pt x="632" y="321"/>
                  <a:pt x="632" y="321"/>
                </a:cubicBezTo>
                <a:cubicBezTo>
                  <a:pt x="632" y="321"/>
                  <a:pt x="630" y="321"/>
                  <a:pt x="631" y="320"/>
                </a:cubicBezTo>
                <a:cubicBezTo>
                  <a:pt x="630" y="321"/>
                  <a:pt x="630" y="321"/>
                  <a:pt x="631" y="321"/>
                </a:cubicBezTo>
                <a:cubicBezTo>
                  <a:pt x="631" y="321"/>
                  <a:pt x="630" y="322"/>
                  <a:pt x="630" y="322"/>
                </a:cubicBezTo>
                <a:cubicBezTo>
                  <a:pt x="630" y="321"/>
                  <a:pt x="630" y="321"/>
                  <a:pt x="630" y="321"/>
                </a:cubicBezTo>
                <a:cubicBezTo>
                  <a:pt x="630" y="320"/>
                  <a:pt x="630" y="320"/>
                  <a:pt x="629" y="320"/>
                </a:cubicBezTo>
                <a:cubicBezTo>
                  <a:pt x="630" y="320"/>
                  <a:pt x="631" y="321"/>
                  <a:pt x="631" y="320"/>
                </a:cubicBezTo>
                <a:cubicBezTo>
                  <a:pt x="631" y="320"/>
                  <a:pt x="630" y="320"/>
                  <a:pt x="631" y="320"/>
                </a:cubicBezTo>
                <a:cubicBezTo>
                  <a:pt x="631" y="320"/>
                  <a:pt x="632" y="319"/>
                  <a:pt x="631" y="319"/>
                </a:cubicBezTo>
                <a:cubicBezTo>
                  <a:pt x="630" y="319"/>
                  <a:pt x="630" y="320"/>
                  <a:pt x="630" y="320"/>
                </a:cubicBezTo>
                <a:cubicBezTo>
                  <a:pt x="630" y="320"/>
                  <a:pt x="630" y="320"/>
                  <a:pt x="630" y="320"/>
                </a:cubicBezTo>
                <a:cubicBezTo>
                  <a:pt x="629" y="320"/>
                  <a:pt x="629" y="320"/>
                  <a:pt x="628" y="320"/>
                </a:cubicBezTo>
                <a:cubicBezTo>
                  <a:pt x="628" y="320"/>
                  <a:pt x="629" y="319"/>
                  <a:pt x="630" y="319"/>
                </a:cubicBezTo>
                <a:cubicBezTo>
                  <a:pt x="630" y="319"/>
                  <a:pt x="631" y="319"/>
                  <a:pt x="631" y="319"/>
                </a:cubicBezTo>
                <a:cubicBezTo>
                  <a:pt x="631" y="319"/>
                  <a:pt x="631" y="319"/>
                  <a:pt x="630" y="319"/>
                </a:cubicBezTo>
                <a:cubicBezTo>
                  <a:pt x="631" y="319"/>
                  <a:pt x="632" y="319"/>
                  <a:pt x="632" y="318"/>
                </a:cubicBezTo>
                <a:cubicBezTo>
                  <a:pt x="632" y="318"/>
                  <a:pt x="631" y="318"/>
                  <a:pt x="631" y="318"/>
                </a:cubicBezTo>
                <a:cubicBezTo>
                  <a:pt x="631" y="318"/>
                  <a:pt x="633" y="318"/>
                  <a:pt x="633" y="317"/>
                </a:cubicBezTo>
                <a:cubicBezTo>
                  <a:pt x="633" y="317"/>
                  <a:pt x="632" y="317"/>
                  <a:pt x="632" y="317"/>
                </a:cubicBezTo>
                <a:cubicBezTo>
                  <a:pt x="633" y="317"/>
                  <a:pt x="634" y="318"/>
                  <a:pt x="634" y="317"/>
                </a:cubicBezTo>
                <a:cubicBezTo>
                  <a:pt x="634" y="316"/>
                  <a:pt x="634" y="316"/>
                  <a:pt x="635" y="316"/>
                </a:cubicBezTo>
                <a:cubicBezTo>
                  <a:pt x="635" y="316"/>
                  <a:pt x="635" y="315"/>
                  <a:pt x="636" y="315"/>
                </a:cubicBezTo>
                <a:cubicBezTo>
                  <a:pt x="636" y="315"/>
                  <a:pt x="635" y="314"/>
                  <a:pt x="635" y="314"/>
                </a:cubicBezTo>
                <a:cubicBezTo>
                  <a:pt x="634" y="313"/>
                  <a:pt x="634" y="313"/>
                  <a:pt x="633" y="313"/>
                </a:cubicBezTo>
                <a:cubicBezTo>
                  <a:pt x="633" y="313"/>
                  <a:pt x="632" y="313"/>
                  <a:pt x="632" y="313"/>
                </a:cubicBezTo>
                <a:cubicBezTo>
                  <a:pt x="632" y="313"/>
                  <a:pt x="632" y="313"/>
                  <a:pt x="632" y="313"/>
                </a:cubicBezTo>
                <a:cubicBezTo>
                  <a:pt x="631" y="312"/>
                  <a:pt x="631" y="313"/>
                  <a:pt x="630" y="314"/>
                </a:cubicBezTo>
                <a:cubicBezTo>
                  <a:pt x="630" y="313"/>
                  <a:pt x="630" y="314"/>
                  <a:pt x="630" y="314"/>
                </a:cubicBezTo>
                <a:cubicBezTo>
                  <a:pt x="630" y="313"/>
                  <a:pt x="630" y="313"/>
                  <a:pt x="630" y="313"/>
                </a:cubicBezTo>
                <a:cubicBezTo>
                  <a:pt x="630" y="314"/>
                  <a:pt x="629" y="313"/>
                  <a:pt x="629" y="313"/>
                </a:cubicBezTo>
                <a:cubicBezTo>
                  <a:pt x="628" y="314"/>
                  <a:pt x="628" y="314"/>
                  <a:pt x="627" y="315"/>
                </a:cubicBezTo>
                <a:cubicBezTo>
                  <a:pt x="627" y="314"/>
                  <a:pt x="628" y="314"/>
                  <a:pt x="628" y="314"/>
                </a:cubicBezTo>
                <a:cubicBezTo>
                  <a:pt x="628" y="314"/>
                  <a:pt x="628" y="314"/>
                  <a:pt x="628" y="314"/>
                </a:cubicBezTo>
                <a:cubicBezTo>
                  <a:pt x="628" y="313"/>
                  <a:pt x="628" y="313"/>
                  <a:pt x="629" y="313"/>
                </a:cubicBezTo>
                <a:cubicBezTo>
                  <a:pt x="628" y="313"/>
                  <a:pt x="628" y="313"/>
                  <a:pt x="628" y="313"/>
                </a:cubicBezTo>
                <a:cubicBezTo>
                  <a:pt x="628" y="312"/>
                  <a:pt x="628" y="312"/>
                  <a:pt x="629" y="312"/>
                </a:cubicBezTo>
                <a:cubicBezTo>
                  <a:pt x="627" y="312"/>
                  <a:pt x="626" y="313"/>
                  <a:pt x="625" y="314"/>
                </a:cubicBezTo>
                <a:cubicBezTo>
                  <a:pt x="625" y="314"/>
                  <a:pt x="625" y="314"/>
                  <a:pt x="625" y="314"/>
                </a:cubicBezTo>
                <a:cubicBezTo>
                  <a:pt x="625" y="314"/>
                  <a:pt x="625" y="314"/>
                  <a:pt x="625" y="315"/>
                </a:cubicBezTo>
                <a:cubicBezTo>
                  <a:pt x="625" y="314"/>
                  <a:pt x="625" y="314"/>
                  <a:pt x="625" y="313"/>
                </a:cubicBezTo>
                <a:cubicBezTo>
                  <a:pt x="625" y="313"/>
                  <a:pt x="624" y="314"/>
                  <a:pt x="624" y="314"/>
                </a:cubicBezTo>
                <a:cubicBezTo>
                  <a:pt x="625" y="315"/>
                  <a:pt x="624" y="314"/>
                  <a:pt x="624" y="314"/>
                </a:cubicBezTo>
                <a:cubicBezTo>
                  <a:pt x="623" y="314"/>
                  <a:pt x="623" y="315"/>
                  <a:pt x="623" y="315"/>
                </a:cubicBezTo>
                <a:cubicBezTo>
                  <a:pt x="623" y="315"/>
                  <a:pt x="623" y="315"/>
                  <a:pt x="623" y="314"/>
                </a:cubicBezTo>
                <a:cubicBezTo>
                  <a:pt x="623" y="314"/>
                  <a:pt x="623" y="314"/>
                  <a:pt x="623" y="314"/>
                </a:cubicBezTo>
                <a:cubicBezTo>
                  <a:pt x="622" y="314"/>
                  <a:pt x="623" y="314"/>
                  <a:pt x="622" y="315"/>
                </a:cubicBezTo>
                <a:cubicBezTo>
                  <a:pt x="622" y="315"/>
                  <a:pt x="621" y="315"/>
                  <a:pt x="621" y="315"/>
                </a:cubicBezTo>
                <a:cubicBezTo>
                  <a:pt x="621" y="315"/>
                  <a:pt x="620" y="316"/>
                  <a:pt x="621" y="316"/>
                </a:cubicBezTo>
                <a:cubicBezTo>
                  <a:pt x="620" y="316"/>
                  <a:pt x="620" y="316"/>
                  <a:pt x="620" y="316"/>
                </a:cubicBezTo>
                <a:cubicBezTo>
                  <a:pt x="620" y="317"/>
                  <a:pt x="621" y="316"/>
                  <a:pt x="621" y="316"/>
                </a:cubicBezTo>
                <a:cubicBezTo>
                  <a:pt x="620" y="317"/>
                  <a:pt x="620" y="317"/>
                  <a:pt x="619" y="317"/>
                </a:cubicBezTo>
                <a:cubicBezTo>
                  <a:pt x="619" y="317"/>
                  <a:pt x="620" y="316"/>
                  <a:pt x="620" y="316"/>
                </a:cubicBezTo>
                <a:cubicBezTo>
                  <a:pt x="620" y="315"/>
                  <a:pt x="621" y="315"/>
                  <a:pt x="621" y="315"/>
                </a:cubicBezTo>
                <a:cubicBezTo>
                  <a:pt x="621" y="314"/>
                  <a:pt x="621" y="314"/>
                  <a:pt x="622" y="314"/>
                </a:cubicBezTo>
                <a:cubicBezTo>
                  <a:pt x="622" y="313"/>
                  <a:pt x="623" y="313"/>
                  <a:pt x="623" y="312"/>
                </a:cubicBezTo>
                <a:cubicBezTo>
                  <a:pt x="622" y="312"/>
                  <a:pt x="622" y="312"/>
                  <a:pt x="622" y="312"/>
                </a:cubicBezTo>
                <a:cubicBezTo>
                  <a:pt x="622" y="312"/>
                  <a:pt x="622" y="312"/>
                  <a:pt x="622" y="312"/>
                </a:cubicBezTo>
                <a:cubicBezTo>
                  <a:pt x="621" y="312"/>
                  <a:pt x="621" y="312"/>
                  <a:pt x="621" y="312"/>
                </a:cubicBezTo>
                <a:cubicBezTo>
                  <a:pt x="621" y="313"/>
                  <a:pt x="622" y="313"/>
                  <a:pt x="621" y="314"/>
                </a:cubicBezTo>
                <a:cubicBezTo>
                  <a:pt x="621" y="314"/>
                  <a:pt x="621" y="314"/>
                  <a:pt x="621" y="314"/>
                </a:cubicBezTo>
                <a:cubicBezTo>
                  <a:pt x="620" y="314"/>
                  <a:pt x="621" y="314"/>
                  <a:pt x="621" y="313"/>
                </a:cubicBezTo>
                <a:cubicBezTo>
                  <a:pt x="621" y="314"/>
                  <a:pt x="621" y="314"/>
                  <a:pt x="621" y="313"/>
                </a:cubicBezTo>
                <a:cubicBezTo>
                  <a:pt x="621" y="313"/>
                  <a:pt x="620" y="314"/>
                  <a:pt x="620" y="314"/>
                </a:cubicBezTo>
                <a:cubicBezTo>
                  <a:pt x="620" y="314"/>
                  <a:pt x="620" y="314"/>
                  <a:pt x="620" y="314"/>
                </a:cubicBezTo>
                <a:cubicBezTo>
                  <a:pt x="620" y="313"/>
                  <a:pt x="621" y="313"/>
                  <a:pt x="621" y="313"/>
                </a:cubicBezTo>
                <a:cubicBezTo>
                  <a:pt x="621" y="313"/>
                  <a:pt x="620" y="313"/>
                  <a:pt x="620" y="313"/>
                </a:cubicBezTo>
                <a:cubicBezTo>
                  <a:pt x="620" y="313"/>
                  <a:pt x="621" y="313"/>
                  <a:pt x="621" y="312"/>
                </a:cubicBezTo>
                <a:cubicBezTo>
                  <a:pt x="620" y="312"/>
                  <a:pt x="619" y="313"/>
                  <a:pt x="619" y="314"/>
                </a:cubicBezTo>
                <a:cubicBezTo>
                  <a:pt x="619" y="313"/>
                  <a:pt x="619" y="312"/>
                  <a:pt x="619" y="312"/>
                </a:cubicBezTo>
                <a:cubicBezTo>
                  <a:pt x="619" y="312"/>
                  <a:pt x="618" y="313"/>
                  <a:pt x="618" y="313"/>
                </a:cubicBezTo>
                <a:cubicBezTo>
                  <a:pt x="618" y="314"/>
                  <a:pt x="618" y="313"/>
                  <a:pt x="618" y="313"/>
                </a:cubicBezTo>
                <a:cubicBezTo>
                  <a:pt x="618" y="313"/>
                  <a:pt x="617" y="313"/>
                  <a:pt x="617" y="313"/>
                </a:cubicBezTo>
                <a:cubicBezTo>
                  <a:pt x="617" y="313"/>
                  <a:pt x="617" y="312"/>
                  <a:pt x="618" y="312"/>
                </a:cubicBezTo>
                <a:cubicBezTo>
                  <a:pt x="617" y="312"/>
                  <a:pt x="617" y="312"/>
                  <a:pt x="616" y="312"/>
                </a:cubicBezTo>
                <a:cubicBezTo>
                  <a:pt x="615" y="312"/>
                  <a:pt x="615" y="313"/>
                  <a:pt x="614" y="313"/>
                </a:cubicBezTo>
                <a:cubicBezTo>
                  <a:pt x="615" y="312"/>
                  <a:pt x="616" y="312"/>
                  <a:pt x="617" y="311"/>
                </a:cubicBezTo>
                <a:cubicBezTo>
                  <a:pt x="617" y="311"/>
                  <a:pt x="616" y="311"/>
                  <a:pt x="617" y="311"/>
                </a:cubicBezTo>
                <a:cubicBezTo>
                  <a:pt x="617" y="311"/>
                  <a:pt x="617" y="310"/>
                  <a:pt x="618" y="310"/>
                </a:cubicBezTo>
                <a:cubicBezTo>
                  <a:pt x="617" y="310"/>
                  <a:pt x="617" y="310"/>
                  <a:pt x="617" y="310"/>
                </a:cubicBezTo>
                <a:cubicBezTo>
                  <a:pt x="617" y="310"/>
                  <a:pt x="617" y="310"/>
                  <a:pt x="617" y="310"/>
                </a:cubicBezTo>
                <a:cubicBezTo>
                  <a:pt x="616" y="310"/>
                  <a:pt x="616" y="310"/>
                  <a:pt x="615" y="311"/>
                </a:cubicBezTo>
                <a:cubicBezTo>
                  <a:pt x="615" y="311"/>
                  <a:pt x="615" y="311"/>
                  <a:pt x="614" y="311"/>
                </a:cubicBezTo>
                <a:cubicBezTo>
                  <a:pt x="614" y="311"/>
                  <a:pt x="615" y="310"/>
                  <a:pt x="616" y="310"/>
                </a:cubicBezTo>
                <a:cubicBezTo>
                  <a:pt x="616" y="310"/>
                  <a:pt x="617" y="310"/>
                  <a:pt x="617" y="309"/>
                </a:cubicBezTo>
                <a:cubicBezTo>
                  <a:pt x="618" y="309"/>
                  <a:pt x="619" y="309"/>
                  <a:pt x="620" y="308"/>
                </a:cubicBezTo>
                <a:cubicBezTo>
                  <a:pt x="620" y="308"/>
                  <a:pt x="621" y="308"/>
                  <a:pt x="621" y="308"/>
                </a:cubicBezTo>
                <a:cubicBezTo>
                  <a:pt x="622" y="307"/>
                  <a:pt x="622" y="307"/>
                  <a:pt x="621" y="307"/>
                </a:cubicBezTo>
                <a:cubicBezTo>
                  <a:pt x="621" y="307"/>
                  <a:pt x="620" y="307"/>
                  <a:pt x="620" y="307"/>
                </a:cubicBezTo>
                <a:cubicBezTo>
                  <a:pt x="620" y="307"/>
                  <a:pt x="620" y="308"/>
                  <a:pt x="619" y="308"/>
                </a:cubicBezTo>
                <a:cubicBezTo>
                  <a:pt x="619" y="308"/>
                  <a:pt x="619" y="307"/>
                  <a:pt x="618" y="307"/>
                </a:cubicBezTo>
                <a:cubicBezTo>
                  <a:pt x="618" y="306"/>
                  <a:pt x="618" y="307"/>
                  <a:pt x="617" y="307"/>
                </a:cubicBezTo>
                <a:cubicBezTo>
                  <a:pt x="617" y="307"/>
                  <a:pt x="617" y="307"/>
                  <a:pt x="617" y="307"/>
                </a:cubicBezTo>
                <a:cubicBezTo>
                  <a:pt x="617" y="306"/>
                  <a:pt x="616" y="308"/>
                  <a:pt x="616" y="308"/>
                </a:cubicBezTo>
                <a:cubicBezTo>
                  <a:pt x="616" y="307"/>
                  <a:pt x="617" y="306"/>
                  <a:pt x="617" y="306"/>
                </a:cubicBezTo>
                <a:cubicBezTo>
                  <a:pt x="617" y="305"/>
                  <a:pt x="616" y="305"/>
                  <a:pt x="616" y="306"/>
                </a:cubicBezTo>
                <a:cubicBezTo>
                  <a:pt x="615" y="306"/>
                  <a:pt x="614" y="307"/>
                  <a:pt x="614" y="308"/>
                </a:cubicBezTo>
                <a:cubicBezTo>
                  <a:pt x="614" y="308"/>
                  <a:pt x="614" y="308"/>
                  <a:pt x="613" y="308"/>
                </a:cubicBezTo>
                <a:cubicBezTo>
                  <a:pt x="613" y="308"/>
                  <a:pt x="613" y="308"/>
                  <a:pt x="613" y="308"/>
                </a:cubicBezTo>
                <a:cubicBezTo>
                  <a:pt x="613" y="308"/>
                  <a:pt x="613" y="308"/>
                  <a:pt x="613" y="308"/>
                </a:cubicBezTo>
                <a:cubicBezTo>
                  <a:pt x="613" y="308"/>
                  <a:pt x="612" y="309"/>
                  <a:pt x="612" y="309"/>
                </a:cubicBezTo>
                <a:cubicBezTo>
                  <a:pt x="610" y="310"/>
                  <a:pt x="610" y="311"/>
                  <a:pt x="608" y="312"/>
                </a:cubicBezTo>
                <a:cubicBezTo>
                  <a:pt x="609" y="311"/>
                  <a:pt x="610" y="311"/>
                  <a:pt x="610" y="310"/>
                </a:cubicBezTo>
                <a:cubicBezTo>
                  <a:pt x="610" y="310"/>
                  <a:pt x="609" y="310"/>
                  <a:pt x="609" y="310"/>
                </a:cubicBezTo>
                <a:cubicBezTo>
                  <a:pt x="609" y="309"/>
                  <a:pt x="610" y="309"/>
                  <a:pt x="610" y="309"/>
                </a:cubicBezTo>
                <a:cubicBezTo>
                  <a:pt x="610" y="309"/>
                  <a:pt x="611" y="308"/>
                  <a:pt x="611" y="307"/>
                </a:cubicBezTo>
                <a:cubicBezTo>
                  <a:pt x="611" y="307"/>
                  <a:pt x="611" y="308"/>
                  <a:pt x="611" y="308"/>
                </a:cubicBezTo>
                <a:cubicBezTo>
                  <a:pt x="611" y="307"/>
                  <a:pt x="611" y="307"/>
                  <a:pt x="612" y="306"/>
                </a:cubicBezTo>
                <a:cubicBezTo>
                  <a:pt x="612" y="306"/>
                  <a:pt x="613" y="306"/>
                  <a:pt x="612" y="306"/>
                </a:cubicBezTo>
                <a:cubicBezTo>
                  <a:pt x="613" y="305"/>
                  <a:pt x="614" y="305"/>
                  <a:pt x="614" y="304"/>
                </a:cubicBezTo>
                <a:cubicBezTo>
                  <a:pt x="615" y="304"/>
                  <a:pt x="616" y="303"/>
                  <a:pt x="615" y="303"/>
                </a:cubicBezTo>
                <a:cubicBezTo>
                  <a:pt x="615" y="303"/>
                  <a:pt x="615" y="303"/>
                  <a:pt x="615" y="303"/>
                </a:cubicBezTo>
                <a:cubicBezTo>
                  <a:pt x="616" y="303"/>
                  <a:pt x="616" y="302"/>
                  <a:pt x="616" y="302"/>
                </a:cubicBezTo>
                <a:cubicBezTo>
                  <a:pt x="617" y="302"/>
                  <a:pt x="618" y="301"/>
                  <a:pt x="617" y="301"/>
                </a:cubicBezTo>
                <a:cubicBezTo>
                  <a:pt x="617" y="301"/>
                  <a:pt x="618" y="301"/>
                  <a:pt x="618" y="301"/>
                </a:cubicBezTo>
                <a:cubicBezTo>
                  <a:pt x="618" y="300"/>
                  <a:pt x="619" y="300"/>
                  <a:pt x="619" y="300"/>
                </a:cubicBezTo>
                <a:cubicBezTo>
                  <a:pt x="619" y="300"/>
                  <a:pt x="619" y="297"/>
                  <a:pt x="620" y="297"/>
                </a:cubicBezTo>
                <a:cubicBezTo>
                  <a:pt x="620" y="298"/>
                  <a:pt x="620" y="298"/>
                  <a:pt x="619" y="298"/>
                </a:cubicBezTo>
                <a:cubicBezTo>
                  <a:pt x="619" y="299"/>
                  <a:pt x="620" y="299"/>
                  <a:pt x="619" y="299"/>
                </a:cubicBezTo>
                <a:cubicBezTo>
                  <a:pt x="620" y="299"/>
                  <a:pt x="621" y="298"/>
                  <a:pt x="621" y="298"/>
                </a:cubicBezTo>
                <a:cubicBezTo>
                  <a:pt x="621" y="298"/>
                  <a:pt x="622" y="297"/>
                  <a:pt x="622" y="298"/>
                </a:cubicBezTo>
                <a:cubicBezTo>
                  <a:pt x="622" y="297"/>
                  <a:pt x="622" y="297"/>
                  <a:pt x="622" y="297"/>
                </a:cubicBezTo>
                <a:cubicBezTo>
                  <a:pt x="622" y="297"/>
                  <a:pt x="623" y="297"/>
                  <a:pt x="623" y="296"/>
                </a:cubicBezTo>
                <a:cubicBezTo>
                  <a:pt x="623" y="296"/>
                  <a:pt x="623" y="296"/>
                  <a:pt x="623" y="296"/>
                </a:cubicBezTo>
                <a:cubicBezTo>
                  <a:pt x="623" y="296"/>
                  <a:pt x="623" y="296"/>
                  <a:pt x="623" y="296"/>
                </a:cubicBezTo>
                <a:cubicBezTo>
                  <a:pt x="623" y="295"/>
                  <a:pt x="624" y="296"/>
                  <a:pt x="624" y="295"/>
                </a:cubicBezTo>
                <a:cubicBezTo>
                  <a:pt x="624" y="295"/>
                  <a:pt x="624" y="295"/>
                  <a:pt x="624" y="295"/>
                </a:cubicBezTo>
                <a:cubicBezTo>
                  <a:pt x="624" y="294"/>
                  <a:pt x="625" y="294"/>
                  <a:pt x="624" y="294"/>
                </a:cubicBezTo>
                <a:cubicBezTo>
                  <a:pt x="624" y="294"/>
                  <a:pt x="623" y="294"/>
                  <a:pt x="622" y="294"/>
                </a:cubicBezTo>
                <a:cubicBezTo>
                  <a:pt x="622" y="295"/>
                  <a:pt x="622" y="294"/>
                  <a:pt x="622" y="294"/>
                </a:cubicBezTo>
                <a:cubicBezTo>
                  <a:pt x="622" y="294"/>
                  <a:pt x="623" y="293"/>
                  <a:pt x="622" y="293"/>
                </a:cubicBezTo>
                <a:cubicBezTo>
                  <a:pt x="622" y="293"/>
                  <a:pt x="622" y="292"/>
                  <a:pt x="622" y="292"/>
                </a:cubicBezTo>
                <a:cubicBezTo>
                  <a:pt x="622" y="292"/>
                  <a:pt x="623" y="292"/>
                  <a:pt x="623" y="292"/>
                </a:cubicBezTo>
                <a:cubicBezTo>
                  <a:pt x="623" y="292"/>
                  <a:pt x="623" y="292"/>
                  <a:pt x="623" y="293"/>
                </a:cubicBezTo>
                <a:cubicBezTo>
                  <a:pt x="623" y="293"/>
                  <a:pt x="624" y="293"/>
                  <a:pt x="624" y="293"/>
                </a:cubicBezTo>
                <a:cubicBezTo>
                  <a:pt x="625" y="293"/>
                  <a:pt x="626" y="293"/>
                  <a:pt x="626" y="293"/>
                </a:cubicBezTo>
                <a:cubicBezTo>
                  <a:pt x="627" y="292"/>
                  <a:pt x="626" y="292"/>
                  <a:pt x="627" y="292"/>
                </a:cubicBezTo>
                <a:cubicBezTo>
                  <a:pt x="627" y="292"/>
                  <a:pt x="628" y="291"/>
                  <a:pt x="628" y="291"/>
                </a:cubicBezTo>
                <a:cubicBezTo>
                  <a:pt x="628" y="291"/>
                  <a:pt x="627" y="291"/>
                  <a:pt x="627" y="291"/>
                </a:cubicBezTo>
                <a:cubicBezTo>
                  <a:pt x="628" y="291"/>
                  <a:pt x="628" y="291"/>
                  <a:pt x="628" y="290"/>
                </a:cubicBezTo>
                <a:cubicBezTo>
                  <a:pt x="628" y="291"/>
                  <a:pt x="629" y="290"/>
                  <a:pt x="629" y="290"/>
                </a:cubicBezTo>
                <a:cubicBezTo>
                  <a:pt x="628" y="290"/>
                  <a:pt x="628" y="290"/>
                  <a:pt x="628" y="290"/>
                </a:cubicBezTo>
                <a:cubicBezTo>
                  <a:pt x="628" y="290"/>
                  <a:pt x="628" y="290"/>
                  <a:pt x="628" y="290"/>
                </a:cubicBezTo>
                <a:cubicBezTo>
                  <a:pt x="628" y="290"/>
                  <a:pt x="627" y="290"/>
                  <a:pt x="627" y="290"/>
                </a:cubicBezTo>
                <a:cubicBezTo>
                  <a:pt x="627" y="290"/>
                  <a:pt x="626" y="290"/>
                  <a:pt x="627" y="290"/>
                </a:cubicBezTo>
                <a:cubicBezTo>
                  <a:pt x="627" y="290"/>
                  <a:pt x="626" y="290"/>
                  <a:pt x="626" y="290"/>
                </a:cubicBezTo>
                <a:cubicBezTo>
                  <a:pt x="626" y="290"/>
                  <a:pt x="626" y="290"/>
                  <a:pt x="626" y="290"/>
                </a:cubicBezTo>
                <a:cubicBezTo>
                  <a:pt x="626" y="290"/>
                  <a:pt x="626" y="291"/>
                  <a:pt x="627" y="291"/>
                </a:cubicBezTo>
                <a:cubicBezTo>
                  <a:pt x="626" y="291"/>
                  <a:pt x="625" y="291"/>
                  <a:pt x="625" y="291"/>
                </a:cubicBezTo>
                <a:cubicBezTo>
                  <a:pt x="624" y="291"/>
                  <a:pt x="625" y="291"/>
                  <a:pt x="625" y="291"/>
                </a:cubicBezTo>
                <a:cubicBezTo>
                  <a:pt x="624" y="291"/>
                  <a:pt x="625" y="290"/>
                  <a:pt x="625" y="290"/>
                </a:cubicBezTo>
                <a:cubicBezTo>
                  <a:pt x="625" y="290"/>
                  <a:pt x="625" y="290"/>
                  <a:pt x="625" y="290"/>
                </a:cubicBezTo>
                <a:cubicBezTo>
                  <a:pt x="624" y="290"/>
                  <a:pt x="624" y="290"/>
                  <a:pt x="624" y="290"/>
                </a:cubicBezTo>
                <a:cubicBezTo>
                  <a:pt x="623" y="291"/>
                  <a:pt x="622" y="291"/>
                  <a:pt x="622" y="291"/>
                </a:cubicBezTo>
                <a:cubicBezTo>
                  <a:pt x="620" y="292"/>
                  <a:pt x="619" y="292"/>
                  <a:pt x="617" y="293"/>
                </a:cubicBezTo>
                <a:cubicBezTo>
                  <a:pt x="617" y="293"/>
                  <a:pt x="616" y="293"/>
                  <a:pt x="616" y="294"/>
                </a:cubicBezTo>
                <a:cubicBezTo>
                  <a:pt x="616" y="294"/>
                  <a:pt x="616" y="294"/>
                  <a:pt x="616" y="294"/>
                </a:cubicBezTo>
                <a:cubicBezTo>
                  <a:pt x="616" y="294"/>
                  <a:pt x="615" y="295"/>
                  <a:pt x="615" y="295"/>
                </a:cubicBezTo>
                <a:cubicBezTo>
                  <a:pt x="614" y="295"/>
                  <a:pt x="614" y="296"/>
                  <a:pt x="613" y="296"/>
                </a:cubicBezTo>
                <a:cubicBezTo>
                  <a:pt x="614" y="296"/>
                  <a:pt x="614" y="296"/>
                  <a:pt x="613" y="296"/>
                </a:cubicBezTo>
                <a:cubicBezTo>
                  <a:pt x="613" y="296"/>
                  <a:pt x="613" y="296"/>
                  <a:pt x="612" y="296"/>
                </a:cubicBezTo>
                <a:cubicBezTo>
                  <a:pt x="613" y="296"/>
                  <a:pt x="613" y="297"/>
                  <a:pt x="613" y="297"/>
                </a:cubicBezTo>
                <a:cubicBezTo>
                  <a:pt x="612" y="297"/>
                  <a:pt x="613" y="297"/>
                  <a:pt x="613" y="297"/>
                </a:cubicBezTo>
                <a:cubicBezTo>
                  <a:pt x="613" y="298"/>
                  <a:pt x="612" y="298"/>
                  <a:pt x="611" y="299"/>
                </a:cubicBezTo>
                <a:cubicBezTo>
                  <a:pt x="611" y="299"/>
                  <a:pt x="610" y="299"/>
                  <a:pt x="609" y="299"/>
                </a:cubicBezTo>
                <a:cubicBezTo>
                  <a:pt x="609" y="299"/>
                  <a:pt x="608" y="299"/>
                  <a:pt x="609" y="299"/>
                </a:cubicBezTo>
                <a:cubicBezTo>
                  <a:pt x="609" y="300"/>
                  <a:pt x="609" y="300"/>
                  <a:pt x="609" y="300"/>
                </a:cubicBezTo>
                <a:cubicBezTo>
                  <a:pt x="609" y="300"/>
                  <a:pt x="609" y="300"/>
                  <a:pt x="609" y="300"/>
                </a:cubicBezTo>
                <a:cubicBezTo>
                  <a:pt x="609" y="300"/>
                  <a:pt x="610" y="300"/>
                  <a:pt x="610" y="300"/>
                </a:cubicBezTo>
                <a:cubicBezTo>
                  <a:pt x="610" y="301"/>
                  <a:pt x="609" y="300"/>
                  <a:pt x="609" y="300"/>
                </a:cubicBezTo>
                <a:cubicBezTo>
                  <a:pt x="608" y="301"/>
                  <a:pt x="608" y="301"/>
                  <a:pt x="607" y="302"/>
                </a:cubicBezTo>
                <a:cubicBezTo>
                  <a:pt x="606" y="303"/>
                  <a:pt x="605" y="304"/>
                  <a:pt x="604" y="306"/>
                </a:cubicBezTo>
                <a:cubicBezTo>
                  <a:pt x="603" y="307"/>
                  <a:pt x="601" y="308"/>
                  <a:pt x="600" y="310"/>
                </a:cubicBezTo>
                <a:cubicBezTo>
                  <a:pt x="600" y="310"/>
                  <a:pt x="599" y="311"/>
                  <a:pt x="599" y="311"/>
                </a:cubicBezTo>
                <a:cubicBezTo>
                  <a:pt x="600" y="312"/>
                  <a:pt x="600" y="312"/>
                  <a:pt x="600" y="312"/>
                </a:cubicBezTo>
                <a:cubicBezTo>
                  <a:pt x="600" y="312"/>
                  <a:pt x="601" y="313"/>
                  <a:pt x="601" y="313"/>
                </a:cubicBezTo>
                <a:cubicBezTo>
                  <a:pt x="601" y="313"/>
                  <a:pt x="600" y="312"/>
                  <a:pt x="600" y="312"/>
                </a:cubicBezTo>
                <a:cubicBezTo>
                  <a:pt x="599" y="312"/>
                  <a:pt x="599" y="313"/>
                  <a:pt x="599" y="313"/>
                </a:cubicBezTo>
                <a:cubicBezTo>
                  <a:pt x="599" y="313"/>
                  <a:pt x="599" y="312"/>
                  <a:pt x="599" y="312"/>
                </a:cubicBezTo>
                <a:cubicBezTo>
                  <a:pt x="599" y="311"/>
                  <a:pt x="597" y="312"/>
                  <a:pt x="597" y="313"/>
                </a:cubicBezTo>
                <a:cubicBezTo>
                  <a:pt x="596" y="313"/>
                  <a:pt x="596" y="314"/>
                  <a:pt x="596" y="315"/>
                </a:cubicBezTo>
                <a:cubicBezTo>
                  <a:pt x="596" y="316"/>
                  <a:pt x="597" y="315"/>
                  <a:pt x="598" y="315"/>
                </a:cubicBezTo>
                <a:cubicBezTo>
                  <a:pt x="598" y="315"/>
                  <a:pt x="597" y="316"/>
                  <a:pt x="597" y="316"/>
                </a:cubicBezTo>
                <a:cubicBezTo>
                  <a:pt x="596" y="316"/>
                  <a:pt x="596" y="316"/>
                  <a:pt x="596" y="316"/>
                </a:cubicBezTo>
                <a:cubicBezTo>
                  <a:pt x="597" y="316"/>
                  <a:pt x="597" y="316"/>
                  <a:pt x="598" y="316"/>
                </a:cubicBezTo>
                <a:cubicBezTo>
                  <a:pt x="598" y="316"/>
                  <a:pt x="597" y="316"/>
                  <a:pt x="598" y="316"/>
                </a:cubicBezTo>
                <a:cubicBezTo>
                  <a:pt x="598" y="316"/>
                  <a:pt x="598" y="316"/>
                  <a:pt x="599" y="316"/>
                </a:cubicBezTo>
                <a:cubicBezTo>
                  <a:pt x="598" y="316"/>
                  <a:pt x="598" y="316"/>
                  <a:pt x="597" y="316"/>
                </a:cubicBezTo>
                <a:cubicBezTo>
                  <a:pt x="597" y="316"/>
                  <a:pt x="596" y="316"/>
                  <a:pt x="596" y="316"/>
                </a:cubicBezTo>
                <a:cubicBezTo>
                  <a:pt x="596" y="317"/>
                  <a:pt x="596" y="318"/>
                  <a:pt x="596" y="318"/>
                </a:cubicBezTo>
                <a:cubicBezTo>
                  <a:pt x="596" y="318"/>
                  <a:pt x="597" y="318"/>
                  <a:pt x="597" y="318"/>
                </a:cubicBezTo>
                <a:cubicBezTo>
                  <a:pt x="597" y="318"/>
                  <a:pt x="596" y="318"/>
                  <a:pt x="596" y="317"/>
                </a:cubicBezTo>
                <a:cubicBezTo>
                  <a:pt x="595" y="316"/>
                  <a:pt x="594" y="317"/>
                  <a:pt x="594" y="317"/>
                </a:cubicBezTo>
                <a:cubicBezTo>
                  <a:pt x="594" y="317"/>
                  <a:pt x="594" y="316"/>
                  <a:pt x="594" y="316"/>
                </a:cubicBezTo>
                <a:cubicBezTo>
                  <a:pt x="594" y="316"/>
                  <a:pt x="592" y="317"/>
                  <a:pt x="592" y="318"/>
                </a:cubicBezTo>
                <a:cubicBezTo>
                  <a:pt x="592" y="319"/>
                  <a:pt x="591" y="319"/>
                  <a:pt x="590" y="320"/>
                </a:cubicBezTo>
                <a:cubicBezTo>
                  <a:pt x="590" y="321"/>
                  <a:pt x="590" y="322"/>
                  <a:pt x="589" y="322"/>
                </a:cubicBezTo>
                <a:cubicBezTo>
                  <a:pt x="588" y="322"/>
                  <a:pt x="588" y="322"/>
                  <a:pt x="588" y="321"/>
                </a:cubicBezTo>
                <a:cubicBezTo>
                  <a:pt x="588" y="322"/>
                  <a:pt x="588" y="322"/>
                  <a:pt x="587" y="322"/>
                </a:cubicBezTo>
                <a:cubicBezTo>
                  <a:pt x="587" y="322"/>
                  <a:pt x="587" y="321"/>
                  <a:pt x="587" y="321"/>
                </a:cubicBezTo>
                <a:cubicBezTo>
                  <a:pt x="588" y="321"/>
                  <a:pt x="589" y="320"/>
                  <a:pt x="589" y="320"/>
                </a:cubicBezTo>
                <a:cubicBezTo>
                  <a:pt x="588" y="320"/>
                  <a:pt x="587" y="321"/>
                  <a:pt x="586" y="322"/>
                </a:cubicBezTo>
                <a:cubicBezTo>
                  <a:pt x="586" y="322"/>
                  <a:pt x="585" y="322"/>
                  <a:pt x="585" y="322"/>
                </a:cubicBezTo>
                <a:cubicBezTo>
                  <a:pt x="585" y="322"/>
                  <a:pt x="584" y="323"/>
                  <a:pt x="584" y="323"/>
                </a:cubicBezTo>
                <a:cubicBezTo>
                  <a:pt x="584" y="323"/>
                  <a:pt x="585" y="323"/>
                  <a:pt x="585" y="323"/>
                </a:cubicBezTo>
                <a:cubicBezTo>
                  <a:pt x="586" y="323"/>
                  <a:pt x="586" y="323"/>
                  <a:pt x="587" y="323"/>
                </a:cubicBezTo>
                <a:cubicBezTo>
                  <a:pt x="588" y="323"/>
                  <a:pt x="588" y="322"/>
                  <a:pt x="589" y="322"/>
                </a:cubicBezTo>
                <a:cubicBezTo>
                  <a:pt x="590" y="322"/>
                  <a:pt x="590" y="323"/>
                  <a:pt x="591" y="323"/>
                </a:cubicBezTo>
                <a:cubicBezTo>
                  <a:pt x="591" y="323"/>
                  <a:pt x="592" y="322"/>
                  <a:pt x="592" y="323"/>
                </a:cubicBezTo>
                <a:cubicBezTo>
                  <a:pt x="592" y="323"/>
                  <a:pt x="590" y="324"/>
                  <a:pt x="589" y="324"/>
                </a:cubicBezTo>
                <a:cubicBezTo>
                  <a:pt x="590" y="324"/>
                  <a:pt x="590" y="324"/>
                  <a:pt x="590" y="323"/>
                </a:cubicBezTo>
                <a:cubicBezTo>
                  <a:pt x="589" y="323"/>
                  <a:pt x="588" y="325"/>
                  <a:pt x="587" y="325"/>
                </a:cubicBezTo>
                <a:cubicBezTo>
                  <a:pt x="586" y="326"/>
                  <a:pt x="585" y="327"/>
                  <a:pt x="584" y="327"/>
                </a:cubicBezTo>
                <a:cubicBezTo>
                  <a:pt x="583" y="328"/>
                  <a:pt x="582" y="329"/>
                  <a:pt x="581" y="329"/>
                </a:cubicBezTo>
                <a:cubicBezTo>
                  <a:pt x="580" y="329"/>
                  <a:pt x="581" y="331"/>
                  <a:pt x="581" y="331"/>
                </a:cubicBezTo>
                <a:cubicBezTo>
                  <a:pt x="580" y="332"/>
                  <a:pt x="580" y="333"/>
                  <a:pt x="581" y="333"/>
                </a:cubicBezTo>
                <a:cubicBezTo>
                  <a:pt x="582" y="333"/>
                  <a:pt x="584" y="333"/>
                  <a:pt x="585" y="333"/>
                </a:cubicBezTo>
                <a:cubicBezTo>
                  <a:pt x="585" y="333"/>
                  <a:pt x="586" y="332"/>
                  <a:pt x="586" y="332"/>
                </a:cubicBezTo>
                <a:cubicBezTo>
                  <a:pt x="587" y="332"/>
                  <a:pt x="587" y="332"/>
                  <a:pt x="587" y="332"/>
                </a:cubicBezTo>
                <a:cubicBezTo>
                  <a:pt x="588" y="332"/>
                  <a:pt x="589" y="331"/>
                  <a:pt x="590" y="331"/>
                </a:cubicBezTo>
                <a:cubicBezTo>
                  <a:pt x="589" y="331"/>
                  <a:pt x="589" y="332"/>
                  <a:pt x="588" y="332"/>
                </a:cubicBezTo>
                <a:cubicBezTo>
                  <a:pt x="589" y="332"/>
                  <a:pt x="589" y="332"/>
                  <a:pt x="589" y="332"/>
                </a:cubicBezTo>
                <a:cubicBezTo>
                  <a:pt x="589" y="332"/>
                  <a:pt x="589" y="332"/>
                  <a:pt x="590" y="332"/>
                </a:cubicBezTo>
                <a:cubicBezTo>
                  <a:pt x="590" y="332"/>
                  <a:pt x="591" y="331"/>
                  <a:pt x="591" y="332"/>
                </a:cubicBezTo>
                <a:cubicBezTo>
                  <a:pt x="591" y="332"/>
                  <a:pt x="591" y="332"/>
                  <a:pt x="592" y="332"/>
                </a:cubicBezTo>
                <a:cubicBezTo>
                  <a:pt x="592" y="332"/>
                  <a:pt x="592" y="331"/>
                  <a:pt x="593" y="332"/>
                </a:cubicBezTo>
                <a:cubicBezTo>
                  <a:pt x="592" y="332"/>
                  <a:pt x="592" y="332"/>
                  <a:pt x="592" y="332"/>
                </a:cubicBezTo>
                <a:cubicBezTo>
                  <a:pt x="593" y="332"/>
                  <a:pt x="593" y="332"/>
                  <a:pt x="593" y="332"/>
                </a:cubicBezTo>
                <a:cubicBezTo>
                  <a:pt x="594" y="332"/>
                  <a:pt x="594" y="332"/>
                  <a:pt x="595" y="332"/>
                </a:cubicBezTo>
                <a:cubicBezTo>
                  <a:pt x="595" y="333"/>
                  <a:pt x="595" y="332"/>
                  <a:pt x="596" y="332"/>
                </a:cubicBezTo>
                <a:cubicBezTo>
                  <a:pt x="596" y="332"/>
                  <a:pt x="597" y="332"/>
                  <a:pt x="597" y="332"/>
                </a:cubicBezTo>
                <a:cubicBezTo>
                  <a:pt x="596" y="333"/>
                  <a:pt x="599" y="332"/>
                  <a:pt x="598" y="332"/>
                </a:cubicBezTo>
                <a:cubicBezTo>
                  <a:pt x="599" y="332"/>
                  <a:pt x="598" y="333"/>
                  <a:pt x="598" y="333"/>
                </a:cubicBezTo>
                <a:cubicBezTo>
                  <a:pt x="599" y="333"/>
                  <a:pt x="599" y="333"/>
                  <a:pt x="600" y="333"/>
                </a:cubicBezTo>
                <a:cubicBezTo>
                  <a:pt x="600" y="333"/>
                  <a:pt x="601" y="333"/>
                  <a:pt x="601" y="333"/>
                </a:cubicBezTo>
                <a:cubicBezTo>
                  <a:pt x="601" y="333"/>
                  <a:pt x="602" y="333"/>
                  <a:pt x="602" y="333"/>
                </a:cubicBezTo>
                <a:cubicBezTo>
                  <a:pt x="602" y="333"/>
                  <a:pt x="602" y="332"/>
                  <a:pt x="602" y="332"/>
                </a:cubicBezTo>
                <a:cubicBezTo>
                  <a:pt x="602" y="332"/>
                  <a:pt x="603" y="333"/>
                  <a:pt x="603" y="333"/>
                </a:cubicBezTo>
                <a:cubicBezTo>
                  <a:pt x="603" y="333"/>
                  <a:pt x="603" y="332"/>
                  <a:pt x="603" y="332"/>
                </a:cubicBezTo>
                <a:cubicBezTo>
                  <a:pt x="603" y="332"/>
                  <a:pt x="605" y="332"/>
                  <a:pt x="605" y="332"/>
                </a:cubicBezTo>
                <a:cubicBezTo>
                  <a:pt x="606" y="333"/>
                  <a:pt x="606" y="332"/>
                  <a:pt x="606" y="331"/>
                </a:cubicBezTo>
                <a:cubicBezTo>
                  <a:pt x="606" y="331"/>
                  <a:pt x="606" y="332"/>
                  <a:pt x="606" y="332"/>
                </a:cubicBezTo>
                <a:cubicBezTo>
                  <a:pt x="606" y="332"/>
                  <a:pt x="606" y="332"/>
                  <a:pt x="607" y="332"/>
                </a:cubicBezTo>
                <a:cubicBezTo>
                  <a:pt x="607" y="332"/>
                  <a:pt x="607" y="332"/>
                  <a:pt x="607" y="332"/>
                </a:cubicBezTo>
                <a:cubicBezTo>
                  <a:pt x="607" y="332"/>
                  <a:pt x="607" y="331"/>
                  <a:pt x="607" y="331"/>
                </a:cubicBezTo>
                <a:cubicBezTo>
                  <a:pt x="608" y="331"/>
                  <a:pt x="608" y="331"/>
                  <a:pt x="608" y="331"/>
                </a:cubicBezTo>
                <a:cubicBezTo>
                  <a:pt x="608" y="330"/>
                  <a:pt x="608" y="330"/>
                  <a:pt x="608" y="330"/>
                </a:cubicBezTo>
                <a:cubicBezTo>
                  <a:pt x="608" y="330"/>
                  <a:pt x="608" y="331"/>
                  <a:pt x="609" y="331"/>
                </a:cubicBezTo>
                <a:cubicBezTo>
                  <a:pt x="608" y="331"/>
                  <a:pt x="608" y="331"/>
                  <a:pt x="608" y="331"/>
                </a:cubicBezTo>
                <a:cubicBezTo>
                  <a:pt x="608" y="332"/>
                  <a:pt x="609" y="331"/>
                  <a:pt x="609" y="331"/>
                </a:cubicBezTo>
                <a:cubicBezTo>
                  <a:pt x="610" y="331"/>
                  <a:pt x="610" y="331"/>
                  <a:pt x="611" y="330"/>
                </a:cubicBezTo>
                <a:cubicBezTo>
                  <a:pt x="611" y="330"/>
                  <a:pt x="612" y="329"/>
                  <a:pt x="612" y="329"/>
                </a:cubicBezTo>
                <a:cubicBezTo>
                  <a:pt x="612" y="329"/>
                  <a:pt x="610" y="331"/>
                  <a:pt x="610" y="331"/>
                </a:cubicBezTo>
                <a:cubicBezTo>
                  <a:pt x="609" y="332"/>
                  <a:pt x="609" y="332"/>
                  <a:pt x="610" y="332"/>
                </a:cubicBezTo>
                <a:cubicBezTo>
                  <a:pt x="611" y="332"/>
                  <a:pt x="611" y="332"/>
                  <a:pt x="612" y="332"/>
                </a:cubicBezTo>
                <a:cubicBezTo>
                  <a:pt x="611" y="332"/>
                  <a:pt x="610" y="332"/>
                  <a:pt x="609" y="333"/>
                </a:cubicBezTo>
                <a:cubicBezTo>
                  <a:pt x="609" y="333"/>
                  <a:pt x="607" y="333"/>
                  <a:pt x="607" y="334"/>
                </a:cubicBezTo>
                <a:cubicBezTo>
                  <a:pt x="606" y="334"/>
                  <a:pt x="608" y="334"/>
                  <a:pt x="608" y="334"/>
                </a:cubicBezTo>
                <a:cubicBezTo>
                  <a:pt x="609" y="333"/>
                  <a:pt x="610" y="333"/>
                  <a:pt x="610" y="333"/>
                </a:cubicBezTo>
                <a:cubicBezTo>
                  <a:pt x="610" y="333"/>
                  <a:pt x="609" y="334"/>
                  <a:pt x="608" y="334"/>
                </a:cubicBezTo>
                <a:cubicBezTo>
                  <a:pt x="609" y="334"/>
                  <a:pt x="609" y="334"/>
                  <a:pt x="609" y="334"/>
                </a:cubicBezTo>
                <a:cubicBezTo>
                  <a:pt x="609" y="334"/>
                  <a:pt x="609" y="334"/>
                  <a:pt x="609" y="334"/>
                </a:cubicBezTo>
                <a:cubicBezTo>
                  <a:pt x="610" y="334"/>
                  <a:pt x="610" y="333"/>
                  <a:pt x="610" y="333"/>
                </a:cubicBezTo>
                <a:cubicBezTo>
                  <a:pt x="610" y="333"/>
                  <a:pt x="610" y="334"/>
                  <a:pt x="610" y="334"/>
                </a:cubicBezTo>
                <a:cubicBezTo>
                  <a:pt x="610" y="334"/>
                  <a:pt x="610" y="334"/>
                  <a:pt x="611" y="334"/>
                </a:cubicBezTo>
                <a:cubicBezTo>
                  <a:pt x="611" y="334"/>
                  <a:pt x="611" y="333"/>
                  <a:pt x="611" y="333"/>
                </a:cubicBezTo>
                <a:cubicBezTo>
                  <a:pt x="612" y="333"/>
                  <a:pt x="611" y="334"/>
                  <a:pt x="611" y="334"/>
                </a:cubicBezTo>
                <a:cubicBezTo>
                  <a:pt x="611" y="334"/>
                  <a:pt x="611" y="334"/>
                  <a:pt x="611" y="334"/>
                </a:cubicBezTo>
                <a:cubicBezTo>
                  <a:pt x="611" y="334"/>
                  <a:pt x="611" y="334"/>
                  <a:pt x="611" y="335"/>
                </a:cubicBezTo>
                <a:cubicBezTo>
                  <a:pt x="611" y="335"/>
                  <a:pt x="612" y="334"/>
                  <a:pt x="612" y="334"/>
                </a:cubicBezTo>
                <a:cubicBezTo>
                  <a:pt x="612" y="334"/>
                  <a:pt x="613" y="334"/>
                  <a:pt x="613" y="334"/>
                </a:cubicBezTo>
                <a:cubicBezTo>
                  <a:pt x="613" y="334"/>
                  <a:pt x="614" y="333"/>
                  <a:pt x="613" y="333"/>
                </a:cubicBezTo>
                <a:cubicBezTo>
                  <a:pt x="614" y="332"/>
                  <a:pt x="613" y="332"/>
                  <a:pt x="613" y="332"/>
                </a:cubicBezTo>
                <a:cubicBezTo>
                  <a:pt x="613" y="332"/>
                  <a:pt x="614" y="332"/>
                  <a:pt x="614" y="331"/>
                </a:cubicBezTo>
                <a:cubicBezTo>
                  <a:pt x="614" y="331"/>
                  <a:pt x="614" y="331"/>
                  <a:pt x="614" y="331"/>
                </a:cubicBezTo>
                <a:cubicBezTo>
                  <a:pt x="614" y="332"/>
                  <a:pt x="614" y="332"/>
                  <a:pt x="614" y="332"/>
                </a:cubicBezTo>
                <a:cubicBezTo>
                  <a:pt x="615" y="332"/>
                  <a:pt x="616" y="332"/>
                  <a:pt x="616" y="332"/>
                </a:cubicBezTo>
                <a:cubicBezTo>
                  <a:pt x="616" y="332"/>
                  <a:pt x="616" y="333"/>
                  <a:pt x="616" y="332"/>
                </a:cubicBezTo>
                <a:cubicBezTo>
                  <a:pt x="617" y="332"/>
                  <a:pt x="617" y="331"/>
                  <a:pt x="618" y="331"/>
                </a:cubicBezTo>
                <a:cubicBezTo>
                  <a:pt x="618" y="331"/>
                  <a:pt x="616" y="333"/>
                  <a:pt x="617" y="333"/>
                </a:cubicBezTo>
                <a:cubicBezTo>
                  <a:pt x="618" y="333"/>
                  <a:pt x="619" y="332"/>
                  <a:pt x="620" y="332"/>
                </a:cubicBezTo>
                <a:cubicBezTo>
                  <a:pt x="619" y="332"/>
                  <a:pt x="618" y="332"/>
                  <a:pt x="618" y="333"/>
                </a:cubicBezTo>
                <a:cubicBezTo>
                  <a:pt x="619" y="333"/>
                  <a:pt x="617" y="333"/>
                  <a:pt x="617" y="334"/>
                </a:cubicBezTo>
                <a:cubicBezTo>
                  <a:pt x="616" y="334"/>
                  <a:pt x="615" y="334"/>
                  <a:pt x="615" y="334"/>
                </a:cubicBezTo>
                <a:cubicBezTo>
                  <a:pt x="614" y="334"/>
                  <a:pt x="614" y="335"/>
                  <a:pt x="613" y="336"/>
                </a:cubicBezTo>
                <a:cubicBezTo>
                  <a:pt x="613" y="336"/>
                  <a:pt x="612" y="336"/>
                  <a:pt x="612" y="337"/>
                </a:cubicBezTo>
                <a:cubicBezTo>
                  <a:pt x="611" y="338"/>
                  <a:pt x="610" y="338"/>
                  <a:pt x="609" y="338"/>
                </a:cubicBezTo>
                <a:cubicBezTo>
                  <a:pt x="609" y="338"/>
                  <a:pt x="608" y="338"/>
                  <a:pt x="607" y="338"/>
                </a:cubicBezTo>
                <a:cubicBezTo>
                  <a:pt x="607" y="339"/>
                  <a:pt x="605" y="340"/>
                  <a:pt x="607" y="340"/>
                </a:cubicBezTo>
                <a:cubicBezTo>
                  <a:pt x="607" y="340"/>
                  <a:pt x="608" y="341"/>
                  <a:pt x="609" y="340"/>
                </a:cubicBezTo>
                <a:cubicBezTo>
                  <a:pt x="609" y="340"/>
                  <a:pt x="610" y="340"/>
                  <a:pt x="610" y="340"/>
                </a:cubicBezTo>
                <a:cubicBezTo>
                  <a:pt x="610" y="340"/>
                  <a:pt x="610" y="340"/>
                  <a:pt x="610" y="340"/>
                </a:cubicBezTo>
                <a:cubicBezTo>
                  <a:pt x="610" y="341"/>
                  <a:pt x="612" y="340"/>
                  <a:pt x="612" y="340"/>
                </a:cubicBezTo>
                <a:cubicBezTo>
                  <a:pt x="613" y="340"/>
                  <a:pt x="613" y="339"/>
                  <a:pt x="613" y="339"/>
                </a:cubicBezTo>
                <a:cubicBezTo>
                  <a:pt x="613" y="339"/>
                  <a:pt x="613" y="338"/>
                  <a:pt x="614" y="338"/>
                </a:cubicBezTo>
                <a:cubicBezTo>
                  <a:pt x="614" y="338"/>
                  <a:pt x="613" y="339"/>
                  <a:pt x="613" y="339"/>
                </a:cubicBezTo>
                <a:cubicBezTo>
                  <a:pt x="613" y="339"/>
                  <a:pt x="616" y="337"/>
                  <a:pt x="614" y="337"/>
                </a:cubicBezTo>
                <a:cubicBezTo>
                  <a:pt x="615" y="336"/>
                  <a:pt x="615" y="337"/>
                  <a:pt x="615" y="337"/>
                </a:cubicBezTo>
                <a:cubicBezTo>
                  <a:pt x="615" y="337"/>
                  <a:pt x="616" y="336"/>
                  <a:pt x="616" y="336"/>
                </a:cubicBezTo>
                <a:cubicBezTo>
                  <a:pt x="617" y="335"/>
                  <a:pt x="617" y="335"/>
                  <a:pt x="618" y="334"/>
                </a:cubicBezTo>
                <a:cubicBezTo>
                  <a:pt x="618" y="335"/>
                  <a:pt x="618" y="335"/>
                  <a:pt x="618" y="335"/>
                </a:cubicBezTo>
                <a:cubicBezTo>
                  <a:pt x="618" y="335"/>
                  <a:pt x="618" y="335"/>
                  <a:pt x="618" y="334"/>
                </a:cubicBezTo>
                <a:cubicBezTo>
                  <a:pt x="618" y="335"/>
                  <a:pt x="618" y="335"/>
                  <a:pt x="618" y="335"/>
                </a:cubicBezTo>
                <a:cubicBezTo>
                  <a:pt x="618" y="335"/>
                  <a:pt x="618" y="335"/>
                  <a:pt x="619" y="335"/>
                </a:cubicBezTo>
                <a:cubicBezTo>
                  <a:pt x="619" y="335"/>
                  <a:pt x="619" y="335"/>
                  <a:pt x="619" y="335"/>
                </a:cubicBezTo>
                <a:cubicBezTo>
                  <a:pt x="619" y="335"/>
                  <a:pt x="620" y="334"/>
                  <a:pt x="620" y="334"/>
                </a:cubicBezTo>
                <a:cubicBezTo>
                  <a:pt x="621" y="333"/>
                  <a:pt x="621" y="333"/>
                  <a:pt x="622" y="332"/>
                </a:cubicBezTo>
                <a:cubicBezTo>
                  <a:pt x="622" y="333"/>
                  <a:pt x="620" y="334"/>
                  <a:pt x="620" y="335"/>
                </a:cubicBezTo>
                <a:cubicBezTo>
                  <a:pt x="619" y="336"/>
                  <a:pt x="620" y="335"/>
                  <a:pt x="621" y="335"/>
                </a:cubicBezTo>
                <a:cubicBezTo>
                  <a:pt x="620" y="335"/>
                  <a:pt x="621" y="334"/>
                  <a:pt x="621" y="334"/>
                </a:cubicBezTo>
                <a:cubicBezTo>
                  <a:pt x="621" y="335"/>
                  <a:pt x="622" y="334"/>
                  <a:pt x="621" y="334"/>
                </a:cubicBezTo>
                <a:cubicBezTo>
                  <a:pt x="622" y="333"/>
                  <a:pt x="622" y="333"/>
                  <a:pt x="623" y="332"/>
                </a:cubicBezTo>
                <a:cubicBezTo>
                  <a:pt x="623" y="332"/>
                  <a:pt x="623" y="332"/>
                  <a:pt x="623" y="332"/>
                </a:cubicBezTo>
                <a:cubicBezTo>
                  <a:pt x="624" y="331"/>
                  <a:pt x="625" y="330"/>
                  <a:pt x="624" y="329"/>
                </a:cubicBezTo>
                <a:cubicBezTo>
                  <a:pt x="625" y="330"/>
                  <a:pt x="625" y="330"/>
                  <a:pt x="626" y="330"/>
                </a:cubicBezTo>
                <a:cubicBezTo>
                  <a:pt x="626" y="330"/>
                  <a:pt x="626" y="331"/>
                  <a:pt x="626" y="330"/>
                </a:cubicBezTo>
                <a:cubicBezTo>
                  <a:pt x="626" y="331"/>
                  <a:pt x="626" y="331"/>
                  <a:pt x="626" y="331"/>
                </a:cubicBezTo>
                <a:cubicBezTo>
                  <a:pt x="626" y="332"/>
                  <a:pt x="626" y="332"/>
                  <a:pt x="626" y="332"/>
                </a:cubicBezTo>
                <a:cubicBezTo>
                  <a:pt x="626" y="332"/>
                  <a:pt x="626" y="332"/>
                  <a:pt x="626" y="332"/>
                </a:cubicBezTo>
                <a:cubicBezTo>
                  <a:pt x="626" y="333"/>
                  <a:pt x="626" y="334"/>
                  <a:pt x="626" y="334"/>
                </a:cubicBezTo>
                <a:cubicBezTo>
                  <a:pt x="626" y="334"/>
                  <a:pt x="626" y="334"/>
                  <a:pt x="627" y="334"/>
                </a:cubicBezTo>
                <a:cubicBezTo>
                  <a:pt x="626" y="334"/>
                  <a:pt x="625" y="335"/>
                  <a:pt x="626" y="335"/>
                </a:cubicBezTo>
                <a:cubicBezTo>
                  <a:pt x="625" y="335"/>
                  <a:pt x="625" y="336"/>
                  <a:pt x="625" y="336"/>
                </a:cubicBezTo>
                <a:cubicBezTo>
                  <a:pt x="624" y="335"/>
                  <a:pt x="625" y="337"/>
                  <a:pt x="625" y="337"/>
                </a:cubicBezTo>
                <a:cubicBezTo>
                  <a:pt x="625" y="337"/>
                  <a:pt x="624" y="336"/>
                  <a:pt x="624" y="336"/>
                </a:cubicBezTo>
                <a:cubicBezTo>
                  <a:pt x="624" y="337"/>
                  <a:pt x="624" y="337"/>
                  <a:pt x="624" y="337"/>
                </a:cubicBezTo>
                <a:cubicBezTo>
                  <a:pt x="623" y="338"/>
                  <a:pt x="623" y="338"/>
                  <a:pt x="622" y="339"/>
                </a:cubicBezTo>
                <a:cubicBezTo>
                  <a:pt x="622" y="339"/>
                  <a:pt x="621" y="340"/>
                  <a:pt x="621" y="341"/>
                </a:cubicBezTo>
                <a:cubicBezTo>
                  <a:pt x="623" y="342"/>
                  <a:pt x="626" y="338"/>
                  <a:pt x="627" y="337"/>
                </a:cubicBezTo>
                <a:cubicBezTo>
                  <a:pt x="627" y="337"/>
                  <a:pt x="627" y="338"/>
                  <a:pt x="627" y="338"/>
                </a:cubicBezTo>
                <a:cubicBezTo>
                  <a:pt x="627" y="338"/>
                  <a:pt x="628" y="337"/>
                  <a:pt x="628" y="337"/>
                </a:cubicBezTo>
                <a:cubicBezTo>
                  <a:pt x="628" y="337"/>
                  <a:pt x="628" y="337"/>
                  <a:pt x="628" y="337"/>
                </a:cubicBezTo>
                <a:cubicBezTo>
                  <a:pt x="628" y="337"/>
                  <a:pt x="628" y="337"/>
                  <a:pt x="628" y="337"/>
                </a:cubicBezTo>
                <a:cubicBezTo>
                  <a:pt x="628" y="338"/>
                  <a:pt x="628" y="338"/>
                  <a:pt x="627" y="338"/>
                </a:cubicBezTo>
                <a:cubicBezTo>
                  <a:pt x="627" y="338"/>
                  <a:pt x="627" y="339"/>
                  <a:pt x="626" y="339"/>
                </a:cubicBezTo>
                <a:cubicBezTo>
                  <a:pt x="627" y="339"/>
                  <a:pt x="626" y="339"/>
                  <a:pt x="627" y="339"/>
                </a:cubicBezTo>
                <a:cubicBezTo>
                  <a:pt x="627" y="339"/>
                  <a:pt x="627" y="339"/>
                  <a:pt x="627" y="339"/>
                </a:cubicBezTo>
                <a:cubicBezTo>
                  <a:pt x="627" y="340"/>
                  <a:pt x="627" y="340"/>
                  <a:pt x="627" y="339"/>
                </a:cubicBezTo>
                <a:cubicBezTo>
                  <a:pt x="627" y="340"/>
                  <a:pt x="626" y="340"/>
                  <a:pt x="626" y="341"/>
                </a:cubicBezTo>
                <a:cubicBezTo>
                  <a:pt x="626" y="341"/>
                  <a:pt x="627" y="340"/>
                  <a:pt x="627" y="340"/>
                </a:cubicBezTo>
                <a:cubicBezTo>
                  <a:pt x="627" y="340"/>
                  <a:pt x="625" y="342"/>
                  <a:pt x="626" y="343"/>
                </a:cubicBezTo>
                <a:cubicBezTo>
                  <a:pt x="626" y="343"/>
                  <a:pt x="627" y="342"/>
                  <a:pt x="628" y="342"/>
                </a:cubicBezTo>
                <a:cubicBezTo>
                  <a:pt x="628" y="342"/>
                  <a:pt x="628" y="342"/>
                  <a:pt x="628" y="342"/>
                </a:cubicBezTo>
                <a:cubicBezTo>
                  <a:pt x="628" y="342"/>
                  <a:pt x="628" y="342"/>
                  <a:pt x="628" y="342"/>
                </a:cubicBezTo>
                <a:cubicBezTo>
                  <a:pt x="628" y="342"/>
                  <a:pt x="629" y="342"/>
                  <a:pt x="629" y="342"/>
                </a:cubicBezTo>
                <a:cubicBezTo>
                  <a:pt x="629" y="343"/>
                  <a:pt x="629" y="343"/>
                  <a:pt x="630" y="343"/>
                </a:cubicBezTo>
                <a:cubicBezTo>
                  <a:pt x="631" y="342"/>
                  <a:pt x="631" y="342"/>
                  <a:pt x="632" y="341"/>
                </a:cubicBezTo>
                <a:cubicBezTo>
                  <a:pt x="632" y="341"/>
                  <a:pt x="633" y="340"/>
                  <a:pt x="633" y="339"/>
                </a:cubicBezTo>
                <a:cubicBezTo>
                  <a:pt x="633" y="339"/>
                  <a:pt x="633" y="339"/>
                  <a:pt x="633" y="339"/>
                </a:cubicBezTo>
                <a:cubicBezTo>
                  <a:pt x="634" y="338"/>
                  <a:pt x="633" y="338"/>
                  <a:pt x="633" y="338"/>
                </a:cubicBezTo>
                <a:cubicBezTo>
                  <a:pt x="634" y="338"/>
                  <a:pt x="634" y="337"/>
                  <a:pt x="634" y="337"/>
                </a:cubicBezTo>
                <a:cubicBezTo>
                  <a:pt x="634" y="337"/>
                  <a:pt x="634" y="336"/>
                  <a:pt x="635" y="336"/>
                </a:cubicBezTo>
                <a:cubicBezTo>
                  <a:pt x="635" y="336"/>
                  <a:pt x="635" y="336"/>
                  <a:pt x="635" y="336"/>
                </a:cubicBezTo>
                <a:cubicBezTo>
                  <a:pt x="636" y="336"/>
                  <a:pt x="636" y="335"/>
                  <a:pt x="636" y="334"/>
                </a:cubicBezTo>
                <a:cubicBezTo>
                  <a:pt x="637" y="334"/>
                  <a:pt x="636" y="334"/>
                  <a:pt x="636" y="334"/>
                </a:cubicBezTo>
                <a:cubicBezTo>
                  <a:pt x="636" y="334"/>
                  <a:pt x="637" y="334"/>
                  <a:pt x="637" y="334"/>
                </a:cubicBezTo>
                <a:cubicBezTo>
                  <a:pt x="637" y="333"/>
                  <a:pt x="637" y="333"/>
                  <a:pt x="637" y="333"/>
                </a:cubicBezTo>
                <a:cubicBezTo>
                  <a:pt x="636" y="333"/>
                  <a:pt x="637" y="333"/>
                  <a:pt x="637" y="333"/>
                </a:cubicBezTo>
                <a:cubicBezTo>
                  <a:pt x="637" y="332"/>
                  <a:pt x="637" y="332"/>
                  <a:pt x="637" y="332"/>
                </a:cubicBezTo>
                <a:cubicBezTo>
                  <a:pt x="637" y="331"/>
                  <a:pt x="637" y="331"/>
                  <a:pt x="637" y="331"/>
                </a:cubicBezTo>
                <a:cubicBezTo>
                  <a:pt x="636" y="330"/>
                  <a:pt x="636" y="331"/>
                  <a:pt x="636" y="331"/>
                </a:cubicBezTo>
                <a:cubicBezTo>
                  <a:pt x="635" y="332"/>
                  <a:pt x="635" y="333"/>
                  <a:pt x="634" y="333"/>
                </a:cubicBezTo>
                <a:cubicBezTo>
                  <a:pt x="634" y="334"/>
                  <a:pt x="633" y="334"/>
                  <a:pt x="632" y="334"/>
                </a:cubicBezTo>
                <a:cubicBezTo>
                  <a:pt x="632" y="334"/>
                  <a:pt x="632" y="334"/>
                  <a:pt x="632" y="334"/>
                </a:cubicBezTo>
                <a:cubicBezTo>
                  <a:pt x="632" y="334"/>
                  <a:pt x="632" y="334"/>
                  <a:pt x="632" y="334"/>
                </a:cubicBezTo>
                <a:cubicBezTo>
                  <a:pt x="632" y="334"/>
                  <a:pt x="632" y="334"/>
                  <a:pt x="632" y="334"/>
                </a:cubicBezTo>
                <a:cubicBezTo>
                  <a:pt x="632" y="334"/>
                  <a:pt x="632" y="333"/>
                  <a:pt x="632" y="333"/>
                </a:cubicBezTo>
                <a:cubicBezTo>
                  <a:pt x="632" y="333"/>
                  <a:pt x="632" y="333"/>
                  <a:pt x="632" y="333"/>
                </a:cubicBezTo>
                <a:cubicBezTo>
                  <a:pt x="632" y="333"/>
                  <a:pt x="633" y="333"/>
                  <a:pt x="633" y="333"/>
                </a:cubicBezTo>
                <a:cubicBezTo>
                  <a:pt x="632" y="333"/>
                  <a:pt x="632" y="333"/>
                  <a:pt x="632" y="333"/>
                </a:cubicBezTo>
                <a:cubicBezTo>
                  <a:pt x="632" y="333"/>
                  <a:pt x="632" y="333"/>
                  <a:pt x="632" y="332"/>
                </a:cubicBezTo>
                <a:cubicBezTo>
                  <a:pt x="632" y="332"/>
                  <a:pt x="632" y="332"/>
                  <a:pt x="632" y="332"/>
                </a:cubicBezTo>
                <a:cubicBezTo>
                  <a:pt x="632" y="332"/>
                  <a:pt x="633" y="332"/>
                  <a:pt x="633" y="332"/>
                </a:cubicBezTo>
                <a:cubicBezTo>
                  <a:pt x="633" y="332"/>
                  <a:pt x="633" y="331"/>
                  <a:pt x="633" y="331"/>
                </a:cubicBezTo>
                <a:cubicBezTo>
                  <a:pt x="633" y="331"/>
                  <a:pt x="634" y="330"/>
                  <a:pt x="634" y="330"/>
                </a:cubicBezTo>
                <a:cubicBezTo>
                  <a:pt x="634" y="330"/>
                  <a:pt x="635" y="329"/>
                  <a:pt x="635" y="329"/>
                </a:cubicBezTo>
                <a:cubicBezTo>
                  <a:pt x="635" y="329"/>
                  <a:pt x="636" y="328"/>
                  <a:pt x="636" y="328"/>
                </a:cubicBezTo>
                <a:cubicBezTo>
                  <a:pt x="636" y="327"/>
                  <a:pt x="637" y="328"/>
                  <a:pt x="637" y="327"/>
                </a:cubicBezTo>
                <a:cubicBezTo>
                  <a:pt x="637" y="327"/>
                  <a:pt x="637" y="326"/>
                  <a:pt x="637" y="326"/>
                </a:cubicBezTo>
                <a:cubicBezTo>
                  <a:pt x="636" y="327"/>
                  <a:pt x="636" y="327"/>
                  <a:pt x="636" y="327"/>
                </a:cubicBezTo>
                <a:cubicBezTo>
                  <a:pt x="635" y="328"/>
                  <a:pt x="635" y="327"/>
                  <a:pt x="634" y="328"/>
                </a:cubicBezTo>
                <a:cubicBezTo>
                  <a:pt x="634" y="328"/>
                  <a:pt x="634" y="328"/>
                  <a:pt x="633" y="328"/>
                </a:cubicBezTo>
                <a:cubicBezTo>
                  <a:pt x="633" y="329"/>
                  <a:pt x="632" y="329"/>
                  <a:pt x="632" y="330"/>
                </a:cubicBezTo>
                <a:cubicBezTo>
                  <a:pt x="631" y="330"/>
                  <a:pt x="630" y="331"/>
                  <a:pt x="630" y="332"/>
                </a:cubicBezTo>
                <a:cubicBezTo>
                  <a:pt x="630" y="332"/>
                  <a:pt x="629" y="332"/>
                  <a:pt x="629" y="333"/>
                </a:cubicBezTo>
                <a:cubicBezTo>
                  <a:pt x="629" y="333"/>
                  <a:pt x="629" y="333"/>
                  <a:pt x="628" y="333"/>
                </a:cubicBezTo>
                <a:cubicBezTo>
                  <a:pt x="628" y="333"/>
                  <a:pt x="628" y="333"/>
                  <a:pt x="628" y="333"/>
                </a:cubicBezTo>
                <a:cubicBezTo>
                  <a:pt x="628" y="333"/>
                  <a:pt x="628" y="333"/>
                  <a:pt x="628" y="332"/>
                </a:cubicBezTo>
                <a:cubicBezTo>
                  <a:pt x="628" y="332"/>
                  <a:pt x="629" y="332"/>
                  <a:pt x="629" y="332"/>
                </a:cubicBezTo>
                <a:cubicBezTo>
                  <a:pt x="628" y="332"/>
                  <a:pt x="628" y="333"/>
                  <a:pt x="627" y="332"/>
                </a:cubicBezTo>
                <a:cubicBezTo>
                  <a:pt x="627" y="331"/>
                  <a:pt x="627" y="330"/>
                  <a:pt x="627" y="330"/>
                </a:cubicBezTo>
                <a:cubicBezTo>
                  <a:pt x="628" y="330"/>
                  <a:pt x="628" y="331"/>
                  <a:pt x="628" y="330"/>
                </a:cubicBezTo>
                <a:cubicBezTo>
                  <a:pt x="628" y="330"/>
                  <a:pt x="629" y="329"/>
                  <a:pt x="628" y="329"/>
                </a:cubicBezTo>
                <a:cubicBezTo>
                  <a:pt x="629" y="329"/>
                  <a:pt x="629" y="330"/>
                  <a:pt x="629" y="329"/>
                </a:cubicBezTo>
                <a:cubicBezTo>
                  <a:pt x="630" y="329"/>
                  <a:pt x="630" y="328"/>
                  <a:pt x="630" y="328"/>
                </a:cubicBezTo>
                <a:cubicBezTo>
                  <a:pt x="630" y="328"/>
                  <a:pt x="628" y="329"/>
                  <a:pt x="628" y="328"/>
                </a:cubicBezTo>
                <a:cubicBezTo>
                  <a:pt x="628" y="328"/>
                  <a:pt x="630" y="328"/>
                  <a:pt x="630" y="328"/>
                </a:cubicBezTo>
                <a:cubicBezTo>
                  <a:pt x="631" y="327"/>
                  <a:pt x="628" y="327"/>
                  <a:pt x="628" y="327"/>
                </a:cubicBezTo>
                <a:cubicBezTo>
                  <a:pt x="628" y="327"/>
                  <a:pt x="628" y="326"/>
                  <a:pt x="628" y="326"/>
                </a:cubicBezTo>
                <a:cubicBezTo>
                  <a:pt x="628" y="326"/>
                  <a:pt x="628" y="327"/>
                  <a:pt x="628" y="327"/>
                </a:cubicBezTo>
                <a:cubicBezTo>
                  <a:pt x="629" y="327"/>
                  <a:pt x="629" y="327"/>
                  <a:pt x="629" y="327"/>
                </a:cubicBezTo>
                <a:cubicBezTo>
                  <a:pt x="630" y="327"/>
                  <a:pt x="630" y="327"/>
                  <a:pt x="631" y="327"/>
                </a:cubicBezTo>
                <a:cubicBezTo>
                  <a:pt x="631" y="327"/>
                  <a:pt x="631" y="327"/>
                  <a:pt x="631" y="327"/>
                </a:cubicBezTo>
                <a:cubicBezTo>
                  <a:pt x="631" y="327"/>
                  <a:pt x="632" y="326"/>
                  <a:pt x="631" y="326"/>
                </a:cubicBezTo>
                <a:cubicBezTo>
                  <a:pt x="631" y="326"/>
                  <a:pt x="630" y="327"/>
                  <a:pt x="630" y="327"/>
                </a:cubicBezTo>
                <a:cubicBezTo>
                  <a:pt x="630" y="327"/>
                  <a:pt x="630" y="326"/>
                  <a:pt x="630" y="326"/>
                </a:cubicBezTo>
                <a:cubicBezTo>
                  <a:pt x="629" y="326"/>
                  <a:pt x="629" y="326"/>
                  <a:pt x="629" y="326"/>
                </a:cubicBezTo>
                <a:cubicBezTo>
                  <a:pt x="629" y="326"/>
                  <a:pt x="629" y="326"/>
                  <a:pt x="629" y="326"/>
                </a:cubicBezTo>
                <a:cubicBezTo>
                  <a:pt x="629" y="326"/>
                  <a:pt x="629" y="326"/>
                  <a:pt x="629" y="326"/>
                </a:cubicBezTo>
                <a:cubicBezTo>
                  <a:pt x="628" y="326"/>
                  <a:pt x="629" y="326"/>
                  <a:pt x="628" y="326"/>
                </a:cubicBezTo>
                <a:cubicBezTo>
                  <a:pt x="629" y="326"/>
                  <a:pt x="629" y="326"/>
                  <a:pt x="629" y="326"/>
                </a:cubicBezTo>
                <a:close/>
                <a:moveTo>
                  <a:pt x="628" y="311"/>
                </a:moveTo>
                <a:cubicBezTo>
                  <a:pt x="628" y="311"/>
                  <a:pt x="628" y="311"/>
                  <a:pt x="628" y="311"/>
                </a:cubicBezTo>
                <a:cubicBezTo>
                  <a:pt x="627" y="311"/>
                  <a:pt x="627" y="312"/>
                  <a:pt x="627" y="312"/>
                </a:cubicBezTo>
                <a:cubicBezTo>
                  <a:pt x="626" y="312"/>
                  <a:pt x="626" y="312"/>
                  <a:pt x="626" y="312"/>
                </a:cubicBezTo>
                <a:cubicBezTo>
                  <a:pt x="626" y="311"/>
                  <a:pt x="626" y="311"/>
                  <a:pt x="626" y="311"/>
                </a:cubicBezTo>
                <a:cubicBezTo>
                  <a:pt x="626" y="311"/>
                  <a:pt x="626" y="311"/>
                  <a:pt x="626" y="311"/>
                </a:cubicBezTo>
                <a:cubicBezTo>
                  <a:pt x="625" y="311"/>
                  <a:pt x="625" y="311"/>
                  <a:pt x="625" y="312"/>
                </a:cubicBezTo>
                <a:cubicBezTo>
                  <a:pt x="625" y="312"/>
                  <a:pt x="626" y="312"/>
                  <a:pt x="625" y="312"/>
                </a:cubicBezTo>
                <a:cubicBezTo>
                  <a:pt x="625" y="312"/>
                  <a:pt x="625" y="312"/>
                  <a:pt x="625" y="312"/>
                </a:cubicBezTo>
                <a:cubicBezTo>
                  <a:pt x="626" y="313"/>
                  <a:pt x="626" y="312"/>
                  <a:pt x="627" y="312"/>
                </a:cubicBezTo>
                <a:cubicBezTo>
                  <a:pt x="628" y="312"/>
                  <a:pt x="628" y="312"/>
                  <a:pt x="628" y="311"/>
                </a:cubicBezTo>
                <a:cubicBezTo>
                  <a:pt x="628" y="311"/>
                  <a:pt x="628" y="311"/>
                  <a:pt x="628" y="311"/>
                </a:cubicBezTo>
                <a:cubicBezTo>
                  <a:pt x="628" y="311"/>
                  <a:pt x="628" y="310"/>
                  <a:pt x="628" y="310"/>
                </a:cubicBezTo>
                <a:cubicBezTo>
                  <a:pt x="628" y="311"/>
                  <a:pt x="628" y="311"/>
                  <a:pt x="628" y="311"/>
                </a:cubicBezTo>
                <a:close/>
                <a:moveTo>
                  <a:pt x="622" y="255"/>
                </a:moveTo>
                <a:cubicBezTo>
                  <a:pt x="622" y="255"/>
                  <a:pt x="622" y="255"/>
                  <a:pt x="621" y="255"/>
                </a:cubicBezTo>
                <a:cubicBezTo>
                  <a:pt x="621" y="256"/>
                  <a:pt x="621" y="256"/>
                  <a:pt x="620" y="256"/>
                </a:cubicBezTo>
                <a:cubicBezTo>
                  <a:pt x="620" y="256"/>
                  <a:pt x="620" y="255"/>
                  <a:pt x="620" y="256"/>
                </a:cubicBezTo>
                <a:cubicBezTo>
                  <a:pt x="620" y="256"/>
                  <a:pt x="620" y="256"/>
                  <a:pt x="620" y="256"/>
                </a:cubicBezTo>
                <a:cubicBezTo>
                  <a:pt x="620" y="256"/>
                  <a:pt x="620" y="257"/>
                  <a:pt x="620" y="257"/>
                </a:cubicBezTo>
                <a:cubicBezTo>
                  <a:pt x="620" y="257"/>
                  <a:pt x="620" y="257"/>
                  <a:pt x="620" y="257"/>
                </a:cubicBezTo>
                <a:cubicBezTo>
                  <a:pt x="621" y="257"/>
                  <a:pt x="621" y="257"/>
                  <a:pt x="622" y="257"/>
                </a:cubicBezTo>
                <a:cubicBezTo>
                  <a:pt x="622" y="256"/>
                  <a:pt x="622" y="257"/>
                  <a:pt x="622" y="256"/>
                </a:cubicBezTo>
                <a:cubicBezTo>
                  <a:pt x="623" y="256"/>
                  <a:pt x="622" y="256"/>
                  <a:pt x="622" y="256"/>
                </a:cubicBezTo>
                <a:cubicBezTo>
                  <a:pt x="623" y="256"/>
                  <a:pt x="621" y="256"/>
                  <a:pt x="622" y="256"/>
                </a:cubicBezTo>
                <a:cubicBezTo>
                  <a:pt x="621" y="256"/>
                  <a:pt x="622" y="255"/>
                  <a:pt x="622" y="255"/>
                </a:cubicBezTo>
                <a:close/>
                <a:moveTo>
                  <a:pt x="430" y="285"/>
                </a:moveTo>
                <a:cubicBezTo>
                  <a:pt x="430" y="285"/>
                  <a:pt x="430" y="285"/>
                  <a:pt x="429" y="286"/>
                </a:cubicBezTo>
                <a:cubicBezTo>
                  <a:pt x="429" y="286"/>
                  <a:pt x="429" y="286"/>
                  <a:pt x="429" y="287"/>
                </a:cubicBezTo>
                <a:cubicBezTo>
                  <a:pt x="429" y="287"/>
                  <a:pt x="430" y="286"/>
                  <a:pt x="431" y="286"/>
                </a:cubicBezTo>
                <a:cubicBezTo>
                  <a:pt x="431" y="286"/>
                  <a:pt x="431" y="286"/>
                  <a:pt x="432" y="286"/>
                </a:cubicBezTo>
                <a:cubicBezTo>
                  <a:pt x="432" y="286"/>
                  <a:pt x="433" y="285"/>
                  <a:pt x="433" y="285"/>
                </a:cubicBezTo>
                <a:cubicBezTo>
                  <a:pt x="432" y="284"/>
                  <a:pt x="431" y="285"/>
                  <a:pt x="430" y="285"/>
                </a:cubicBezTo>
                <a:close/>
                <a:moveTo>
                  <a:pt x="630" y="311"/>
                </a:moveTo>
                <a:cubicBezTo>
                  <a:pt x="630" y="312"/>
                  <a:pt x="631" y="311"/>
                  <a:pt x="631" y="311"/>
                </a:cubicBezTo>
                <a:cubicBezTo>
                  <a:pt x="632" y="311"/>
                  <a:pt x="632" y="311"/>
                  <a:pt x="633" y="311"/>
                </a:cubicBezTo>
                <a:cubicBezTo>
                  <a:pt x="633" y="310"/>
                  <a:pt x="633" y="310"/>
                  <a:pt x="633" y="310"/>
                </a:cubicBezTo>
                <a:cubicBezTo>
                  <a:pt x="632" y="309"/>
                  <a:pt x="632" y="310"/>
                  <a:pt x="631" y="310"/>
                </a:cubicBezTo>
                <a:cubicBezTo>
                  <a:pt x="632" y="310"/>
                  <a:pt x="630" y="310"/>
                  <a:pt x="631" y="310"/>
                </a:cubicBezTo>
                <a:cubicBezTo>
                  <a:pt x="630" y="310"/>
                  <a:pt x="630" y="311"/>
                  <a:pt x="630" y="311"/>
                </a:cubicBezTo>
                <a:close/>
                <a:moveTo>
                  <a:pt x="623" y="299"/>
                </a:moveTo>
                <a:cubicBezTo>
                  <a:pt x="623" y="300"/>
                  <a:pt x="625" y="299"/>
                  <a:pt x="625" y="299"/>
                </a:cubicBezTo>
                <a:cubicBezTo>
                  <a:pt x="626" y="298"/>
                  <a:pt x="624" y="299"/>
                  <a:pt x="624" y="299"/>
                </a:cubicBezTo>
                <a:cubicBezTo>
                  <a:pt x="624" y="299"/>
                  <a:pt x="623" y="298"/>
                  <a:pt x="623" y="299"/>
                </a:cubicBezTo>
                <a:close/>
                <a:moveTo>
                  <a:pt x="366" y="350"/>
                </a:moveTo>
                <a:cubicBezTo>
                  <a:pt x="366" y="349"/>
                  <a:pt x="365" y="350"/>
                  <a:pt x="364" y="351"/>
                </a:cubicBezTo>
                <a:cubicBezTo>
                  <a:pt x="365" y="351"/>
                  <a:pt x="365" y="351"/>
                  <a:pt x="366" y="351"/>
                </a:cubicBezTo>
                <a:cubicBezTo>
                  <a:pt x="367" y="351"/>
                  <a:pt x="367" y="350"/>
                  <a:pt x="366" y="350"/>
                </a:cubicBezTo>
                <a:close/>
                <a:moveTo>
                  <a:pt x="369" y="350"/>
                </a:moveTo>
                <a:cubicBezTo>
                  <a:pt x="369" y="351"/>
                  <a:pt x="369" y="350"/>
                  <a:pt x="368" y="350"/>
                </a:cubicBezTo>
                <a:cubicBezTo>
                  <a:pt x="368" y="351"/>
                  <a:pt x="368" y="350"/>
                  <a:pt x="367" y="350"/>
                </a:cubicBezTo>
                <a:cubicBezTo>
                  <a:pt x="366" y="351"/>
                  <a:pt x="368" y="351"/>
                  <a:pt x="368" y="351"/>
                </a:cubicBezTo>
                <a:cubicBezTo>
                  <a:pt x="368" y="351"/>
                  <a:pt x="369" y="351"/>
                  <a:pt x="369" y="352"/>
                </a:cubicBezTo>
                <a:cubicBezTo>
                  <a:pt x="369" y="352"/>
                  <a:pt x="370" y="352"/>
                  <a:pt x="371" y="352"/>
                </a:cubicBezTo>
                <a:cubicBezTo>
                  <a:pt x="371" y="352"/>
                  <a:pt x="372" y="352"/>
                  <a:pt x="372" y="353"/>
                </a:cubicBezTo>
                <a:cubicBezTo>
                  <a:pt x="372" y="353"/>
                  <a:pt x="373" y="353"/>
                  <a:pt x="373" y="353"/>
                </a:cubicBezTo>
                <a:cubicBezTo>
                  <a:pt x="373" y="353"/>
                  <a:pt x="373" y="353"/>
                  <a:pt x="374" y="353"/>
                </a:cubicBezTo>
                <a:cubicBezTo>
                  <a:pt x="374" y="353"/>
                  <a:pt x="374" y="354"/>
                  <a:pt x="375" y="354"/>
                </a:cubicBezTo>
                <a:cubicBezTo>
                  <a:pt x="375" y="354"/>
                  <a:pt x="375" y="354"/>
                  <a:pt x="375" y="354"/>
                </a:cubicBezTo>
                <a:cubicBezTo>
                  <a:pt x="375" y="354"/>
                  <a:pt x="375" y="354"/>
                  <a:pt x="376" y="354"/>
                </a:cubicBezTo>
                <a:cubicBezTo>
                  <a:pt x="376" y="354"/>
                  <a:pt x="378" y="353"/>
                  <a:pt x="378" y="353"/>
                </a:cubicBezTo>
                <a:cubicBezTo>
                  <a:pt x="379" y="353"/>
                  <a:pt x="377" y="354"/>
                  <a:pt x="377" y="354"/>
                </a:cubicBezTo>
                <a:cubicBezTo>
                  <a:pt x="377" y="354"/>
                  <a:pt x="376" y="354"/>
                  <a:pt x="376" y="354"/>
                </a:cubicBezTo>
                <a:cubicBezTo>
                  <a:pt x="376" y="354"/>
                  <a:pt x="376" y="354"/>
                  <a:pt x="376" y="354"/>
                </a:cubicBezTo>
                <a:cubicBezTo>
                  <a:pt x="376" y="354"/>
                  <a:pt x="376" y="355"/>
                  <a:pt x="377" y="355"/>
                </a:cubicBezTo>
                <a:cubicBezTo>
                  <a:pt x="378" y="354"/>
                  <a:pt x="379" y="353"/>
                  <a:pt x="380" y="353"/>
                </a:cubicBezTo>
                <a:cubicBezTo>
                  <a:pt x="381" y="351"/>
                  <a:pt x="380" y="352"/>
                  <a:pt x="380" y="352"/>
                </a:cubicBezTo>
                <a:cubicBezTo>
                  <a:pt x="380" y="352"/>
                  <a:pt x="380" y="351"/>
                  <a:pt x="380" y="351"/>
                </a:cubicBezTo>
                <a:cubicBezTo>
                  <a:pt x="380" y="351"/>
                  <a:pt x="379" y="351"/>
                  <a:pt x="379" y="351"/>
                </a:cubicBezTo>
                <a:cubicBezTo>
                  <a:pt x="379" y="351"/>
                  <a:pt x="378" y="353"/>
                  <a:pt x="378" y="353"/>
                </a:cubicBezTo>
                <a:cubicBezTo>
                  <a:pt x="378" y="353"/>
                  <a:pt x="379" y="351"/>
                  <a:pt x="379" y="351"/>
                </a:cubicBezTo>
                <a:cubicBezTo>
                  <a:pt x="379" y="351"/>
                  <a:pt x="378" y="351"/>
                  <a:pt x="378" y="351"/>
                </a:cubicBezTo>
                <a:cubicBezTo>
                  <a:pt x="378" y="351"/>
                  <a:pt x="379" y="350"/>
                  <a:pt x="378" y="350"/>
                </a:cubicBezTo>
                <a:cubicBezTo>
                  <a:pt x="378" y="349"/>
                  <a:pt x="377" y="351"/>
                  <a:pt x="376" y="351"/>
                </a:cubicBezTo>
                <a:cubicBezTo>
                  <a:pt x="376" y="352"/>
                  <a:pt x="375" y="351"/>
                  <a:pt x="376" y="350"/>
                </a:cubicBezTo>
                <a:cubicBezTo>
                  <a:pt x="375" y="351"/>
                  <a:pt x="375" y="350"/>
                  <a:pt x="375" y="350"/>
                </a:cubicBezTo>
                <a:cubicBezTo>
                  <a:pt x="375" y="350"/>
                  <a:pt x="374" y="350"/>
                  <a:pt x="374" y="350"/>
                </a:cubicBezTo>
                <a:cubicBezTo>
                  <a:pt x="373" y="350"/>
                  <a:pt x="372" y="351"/>
                  <a:pt x="372" y="351"/>
                </a:cubicBezTo>
                <a:cubicBezTo>
                  <a:pt x="373" y="351"/>
                  <a:pt x="373" y="352"/>
                  <a:pt x="372" y="352"/>
                </a:cubicBezTo>
                <a:cubicBezTo>
                  <a:pt x="372" y="351"/>
                  <a:pt x="372" y="352"/>
                  <a:pt x="371" y="351"/>
                </a:cubicBezTo>
                <a:cubicBezTo>
                  <a:pt x="371" y="351"/>
                  <a:pt x="372" y="351"/>
                  <a:pt x="371" y="351"/>
                </a:cubicBezTo>
                <a:cubicBezTo>
                  <a:pt x="371" y="351"/>
                  <a:pt x="371" y="351"/>
                  <a:pt x="371" y="351"/>
                </a:cubicBezTo>
                <a:cubicBezTo>
                  <a:pt x="371" y="351"/>
                  <a:pt x="371" y="351"/>
                  <a:pt x="370" y="351"/>
                </a:cubicBezTo>
                <a:cubicBezTo>
                  <a:pt x="370" y="351"/>
                  <a:pt x="370" y="350"/>
                  <a:pt x="371" y="350"/>
                </a:cubicBezTo>
                <a:cubicBezTo>
                  <a:pt x="371" y="349"/>
                  <a:pt x="370" y="350"/>
                  <a:pt x="369" y="350"/>
                </a:cubicBezTo>
                <a:close/>
                <a:moveTo>
                  <a:pt x="362" y="349"/>
                </a:moveTo>
                <a:cubicBezTo>
                  <a:pt x="362" y="348"/>
                  <a:pt x="362" y="348"/>
                  <a:pt x="363" y="348"/>
                </a:cubicBezTo>
                <a:cubicBezTo>
                  <a:pt x="363" y="348"/>
                  <a:pt x="363" y="347"/>
                  <a:pt x="363" y="347"/>
                </a:cubicBezTo>
                <a:cubicBezTo>
                  <a:pt x="364" y="347"/>
                  <a:pt x="363" y="347"/>
                  <a:pt x="362" y="347"/>
                </a:cubicBezTo>
                <a:cubicBezTo>
                  <a:pt x="362" y="346"/>
                  <a:pt x="361" y="346"/>
                  <a:pt x="361" y="347"/>
                </a:cubicBezTo>
                <a:cubicBezTo>
                  <a:pt x="361" y="348"/>
                  <a:pt x="361" y="349"/>
                  <a:pt x="362" y="349"/>
                </a:cubicBezTo>
                <a:close/>
                <a:moveTo>
                  <a:pt x="556" y="335"/>
                </a:moveTo>
                <a:cubicBezTo>
                  <a:pt x="556" y="336"/>
                  <a:pt x="555" y="337"/>
                  <a:pt x="556" y="337"/>
                </a:cubicBezTo>
                <a:cubicBezTo>
                  <a:pt x="556" y="337"/>
                  <a:pt x="557" y="337"/>
                  <a:pt x="557" y="336"/>
                </a:cubicBezTo>
                <a:cubicBezTo>
                  <a:pt x="557" y="336"/>
                  <a:pt x="556" y="336"/>
                  <a:pt x="556" y="336"/>
                </a:cubicBezTo>
                <a:cubicBezTo>
                  <a:pt x="556" y="336"/>
                  <a:pt x="557" y="335"/>
                  <a:pt x="558" y="335"/>
                </a:cubicBezTo>
                <a:cubicBezTo>
                  <a:pt x="558" y="334"/>
                  <a:pt x="558" y="335"/>
                  <a:pt x="558" y="335"/>
                </a:cubicBezTo>
                <a:cubicBezTo>
                  <a:pt x="558" y="335"/>
                  <a:pt x="559" y="334"/>
                  <a:pt x="559" y="334"/>
                </a:cubicBezTo>
                <a:cubicBezTo>
                  <a:pt x="559" y="334"/>
                  <a:pt x="560" y="333"/>
                  <a:pt x="560" y="333"/>
                </a:cubicBezTo>
                <a:cubicBezTo>
                  <a:pt x="559" y="333"/>
                  <a:pt x="559" y="335"/>
                  <a:pt x="558" y="334"/>
                </a:cubicBezTo>
                <a:cubicBezTo>
                  <a:pt x="558" y="334"/>
                  <a:pt x="558" y="334"/>
                  <a:pt x="558" y="334"/>
                </a:cubicBezTo>
                <a:cubicBezTo>
                  <a:pt x="558" y="334"/>
                  <a:pt x="558" y="334"/>
                  <a:pt x="558" y="334"/>
                </a:cubicBezTo>
                <a:cubicBezTo>
                  <a:pt x="557" y="335"/>
                  <a:pt x="557" y="335"/>
                  <a:pt x="556" y="335"/>
                </a:cubicBezTo>
                <a:close/>
                <a:moveTo>
                  <a:pt x="560" y="333"/>
                </a:moveTo>
                <a:cubicBezTo>
                  <a:pt x="560" y="333"/>
                  <a:pt x="560" y="333"/>
                  <a:pt x="561" y="332"/>
                </a:cubicBezTo>
                <a:cubicBezTo>
                  <a:pt x="560" y="333"/>
                  <a:pt x="559" y="333"/>
                  <a:pt x="558" y="334"/>
                </a:cubicBezTo>
                <a:cubicBezTo>
                  <a:pt x="559" y="334"/>
                  <a:pt x="559" y="333"/>
                  <a:pt x="560" y="333"/>
                </a:cubicBezTo>
                <a:close/>
                <a:moveTo>
                  <a:pt x="561" y="333"/>
                </a:moveTo>
                <a:cubicBezTo>
                  <a:pt x="561" y="333"/>
                  <a:pt x="562" y="333"/>
                  <a:pt x="562" y="332"/>
                </a:cubicBezTo>
                <a:cubicBezTo>
                  <a:pt x="562" y="332"/>
                  <a:pt x="562" y="332"/>
                  <a:pt x="561" y="332"/>
                </a:cubicBezTo>
                <a:cubicBezTo>
                  <a:pt x="561" y="332"/>
                  <a:pt x="561" y="332"/>
                  <a:pt x="562" y="332"/>
                </a:cubicBezTo>
                <a:cubicBezTo>
                  <a:pt x="561" y="333"/>
                  <a:pt x="561" y="333"/>
                  <a:pt x="561" y="333"/>
                </a:cubicBezTo>
                <a:close/>
                <a:moveTo>
                  <a:pt x="560" y="372"/>
                </a:moveTo>
                <a:cubicBezTo>
                  <a:pt x="560" y="372"/>
                  <a:pt x="560" y="372"/>
                  <a:pt x="560" y="372"/>
                </a:cubicBezTo>
                <a:cubicBezTo>
                  <a:pt x="561" y="373"/>
                  <a:pt x="562" y="372"/>
                  <a:pt x="563" y="371"/>
                </a:cubicBezTo>
                <a:cubicBezTo>
                  <a:pt x="562" y="372"/>
                  <a:pt x="562" y="372"/>
                  <a:pt x="561" y="372"/>
                </a:cubicBezTo>
                <a:cubicBezTo>
                  <a:pt x="561" y="372"/>
                  <a:pt x="560" y="372"/>
                  <a:pt x="560" y="372"/>
                </a:cubicBezTo>
                <a:close/>
                <a:moveTo>
                  <a:pt x="549" y="346"/>
                </a:moveTo>
                <a:cubicBezTo>
                  <a:pt x="549" y="346"/>
                  <a:pt x="550" y="346"/>
                  <a:pt x="550" y="346"/>
                </a:cubicBezTo>
                <a:cubicBezTo>
                  <a:pt x="550" y="346"/>
                  <a:pt x="551" y="346"/>
                  <a:pt x="552" y="345"/>
                </a:cubicBezTo>
                <a:cubicBezTo>
                  <a:pt x="552" y="345"/>
                  <a:pt x="553" y="345"/>
                  <a:pt x="553" y="345"/>
                </a:cubicBezTo>
                <a:cubicBezTo>
                  <a:pt x="552" y="344"/>
                  <a:pt x="550" y="345"/>
                  <a:pt x="550" y="345"/>
                </a:cubicBezTo>
                <a:cubicBezTo>
                  <a:pt x="549" y="345"/>
                  <a:pt x="548" y="345"/>
                  <a:pt x="547" y="345"/>
                </a:cubicBezTo>
                <a:cubicBezTo>
                  <a:pt x="547" y="345"/>
                  <a:pt x="547" y="345"/>
                  <a:pt x="547" y="345"/>
                </a:cubicBezTo>
                <a:cubicBezTo>
                  <a:pt x="547" y="345"/>
                  <a:pt x="546" y="345"/>
                  <a:pt x="546" y="345"/>
                </a:cubicBezTo>
                <a:cubicBezTo>
                  <a:pt x="546" y="345"/>
                  <a:pt x="545" y="345"/>
                  <a:pt x="545" y="345"/>
                </a:cubicBezTo>
                <a:cubicBezTo>
                  <a:pt x="544" y="345"/>
                  <a:pt x="543" y="345"/>
                  <a:pt x="543" y="345"/>
                </a:cubicBezTo>
                <a:cubicBezTo>
                  <a:pt x="542" y="345"/>
                  <a:pt x="541" y="346"/>
                  <a:pt x="541" y="345"/>
                </a:cubicBezTo>
                <a:cubicBezTo>
                  <a:pt x="541" y="344"/>
                  <a:pt x="540" y="344"/>
                  <a:pt x="540" y="344"/>
                </a:cubicBezTo>
                <a:cubicBezTo>
                  <a:pt x="541" y="344"/>
                  <a:pt x="540" y="345"/>
                  <a:pt x="540" y="345"/>
                </a:cubicBezTo>
                <a:cubicBezTo>
                  <a:pt x="540" y="344"/>
                  <a:pt x="540" y="344"/>
                  <a:pt x="540" y="344"/>
                </a:cubicBezTo>
                <a:cubicBezTo>
                  <a:pt x="540" y="344"/>
                  <a:pt x="538" y="343"/>
                  <a:pt x="538" y="344"/>
                </a:cubicBezTo>
                <a:cubicBezTo>
                  <a:pt x="538" y="344"/>
                  <a:pt x="538" y="344"/>
                  <a:pt x="538" y="344"/>
                </a:cubicBezTo>
                <a:cubicBezTo>
                  <a:pt x="538" y="345"/>
                  <a:pt x="538" y="345"/>
                  <a:pt x="537" y="345"/>
                </a:cubicBezTo>
                <a:cubicBezTo>
                  <a:pt x="536" y="345"/>
                  <a:pt x="537" y="345"/>
                  <a:pt x="537" y="344"/>
                </a:cubicBezTo>
                <a:cubicBezTo>
                  <a:pt x="537" y="344"/>
                  <a:pt x="536" y="345"/>
                  <a:pt x="536" y="345"/>
                </a:cubicBezTo>
                <a:cubicBezTo>
                  <a:pt x="536" y="344"/>
                  <a:pt x="537" y="344"/>
                  <a:pt x="537" y="343"/>
                </a:cubicBezTo>
                <a:cubicBezTo>
                  <a:pt x="537" y="343"/>
                  <a:pt x="537" y="343"/>
                  <a:pt x="537" y="343"/>
                </a:cubicBezTo>
                <a:cubicBezTo>
                  <a:pt x="537" y="343"/>
                  <a:pt x="537" y="342"/>
                  <a:pt x="537" y="342"/>
                </a:cubicBezTo>
                <a:cubicBezTo>
                  <a:pt x="537" y="342"/>
                  <a:pt x="537" y="342"/>
                  <a:pt x="537" y="342"/>
                </a:cubicBezTo>
                <a:cubicBezTo>
                  <a:pt x="536" y="342"/>
                  <a:pt x="536" y="342"/>
                  <a:pt x="536" y="342"/>
                </a:cubicBezTo>
                <a:cubicBezTo>
                  <a:pt x="536" y="341"/>
                  <a:pt x="537" y="340"/>
                  <a:pt x="537" y="340"/>
                </a:cubicBezTo>
                <a:cubicBezTo>
                  <a:pt x="537" y="340"/>
                  <a:pt x="538" y="339"/>
                  <a:pt x="538" y="338"/>
                </a:cubicBezTo>
                <a:cubicBezTo>
                  <a:pt x="537" y="339"/>
                  <a:pt x="536" y="339"/>
                  <a:pt x="535" y="340"/>
                </a:cubicBezTo>
                <a:cubicBezTo>
                  <a:pt x="534" y="341"/>
                  <a:pt x="534" y="341"/>
                  <a:pt x="533" y="342"/>
                </a:cubicBezTo>
                <a:cubicBezTo>
                  <a:pt x="532" y="343"/>
                  <a:pt x="533" y="343"/>
                  <a:pt x="534" y="343"/>
                </a:cubicBezTo>
                <a:cubicBezTo>
                  <a:pt x="534" y="343"/>
                  <a:pt x="534" y="343"/>
                  <a:pt x="535" y="343"/>
                </a:cubicBezTo>
                <a:cubicBezTo>
                  <a:pt x="535" y="343"/>
                  <a:pt x="535" y="343"/>
                  <a:pt x="535" y="343"/>
                </a:cubicBezTo>
                <a:cubicBezTo>
                  <a:pt x="535" y="343"/>
                  <a:pt x="535" y="343"/>
                  <a:pt x="535" y="344"/>
                </a:cubicBezTo>
                <a:cubicBezTo>
                  <a:pt x="535" y="344"/>
                  <a:pt x="535" y="344"/>
                  <a:pt x="535" y="344"/>
                </a:cubicBezTo>
                <a:cubicBezTo>
                  <a:pt x="534" y="344"/>
                  <a:pt x="534" y="345"/>
                  <a:pt x="534" y="345"/>
                </a:cubicBezTo>
                <a:cubicBezTo>
                  <a:pt x="534" y="346"/>
                  <a:pt x="535" y="345"/>
                  <a:pt x="536" y="345"/>
                </a:cubicBezTo>
                <a:cubicBezTo>
                  <a:pt x="536" y="345"/>
                  <a:pt x="537" y="345"/>
                  <a:pt x="537" y="346"/>
                </a:cubicBezTo>
                <a:cubicBezTo>
                  <a:pt x="537" y="346"/>
                  <a:pt x="537" y="346"/>
                  <a:pt x="537" y="346"/>
                </a:cubicBezTo>
                <a:cubicBezTo>
                  <a:pt x="537" y="346"/>
                  <a:pt x="537" y="346"/>
                  <a:pt x="537" y="346"/>
                </a:cubicBezTo>
                <a:cubicBezTo>
                  <a:pt x="537" y="346"/>
                  <a:pt x="536" y="346"/>
                  <a:pt x="537" y="346"/>
                </a:cubicBezTo>
                <a:cubicBezTo>
                  <a:pt x="537" y="346"/>
                  <a:pt x="537" y="347"/>
                  <a:pt x="537" y="347"/>
                </a:cubicBezTo>
                <a:cubicBezTo>
                  <a:pt x="537" y="347"/>
                  <a:pt x="538" y="347"/>
                  <a:pt x="538" y="347"/>
                </a:cubicBezTo>
                <a:cubicBezTo>
                  <a:pt x="539" y="347"/>
                  <a:pt x="540" y="348"/>
                  <a:pt x="540" y="348"/>
                </a:cubicBezTo>
                <a:cubicBezTo>
                  <a:pt x="540" y="348"/>
                  <a:pt x="542" y="348"/>
                  <a:pt x="542" y="348"/>
                </a:cubicBezTo>
                <a:cubicBezTo>
                  <a:pt x="541" y="347"/>
                  <a:pt x="541" y="348"/>
                  <a:pt x="541" y="348"/>
                </a:cubicBezTo>
                <a:cubicBezTo>
                  <a:pt x="541" y="348"/>
                  <a:pt x="541" y="347"/>
                  <a:pt x="542" y="347"/>
                </a:cubicBezTo>
                <a:cubicBezTo>
                  <a:pt x="542" y="347"/>
                  <a:pt x="541" y="347"/>
                  <a:pt x="542" y="347"/>
                </a:cubicBezTo>
                <a:cubicBezTo>
                  <a:pt x="542" y="347"/>
                  <a:pt x="542" y="347"/>
                  <a:pt x="542" y="347"/>
                </a:cubicBezTo>
                <a:cubicBezTo>
                  <a:pt x="542" y="347"/>
                  <a:pt x="542" y="347"/>
                  <a:pt x="542" y="347"/>
                </a:cubicBezTo>
                <a:cubicBezTo>
                  <a:pt x="543" y="347"/>
                  <a:pt x="543" y="346"/>
                  <a:pt x="544" y="346"/>
                </a:cubicBezTo>
                <a:cubicBezTo>
                  <a:pt x="544" y="346"/>
                  <a:pt x="542" y="347"/>
                  <a:pt x="542" y="348"/>
                </a:cubicBezTo>
                <a:cubicBezTo>
                  <a:pt x="542" y="348"/>
                  <a:pt x="543" y="348"/>
                  <a:pt x="543" y="348"/>
                </a:cubicBezTo>
                <a:cubicBezTo>
                  <a:pt x="544" y="348"/>
                  <a:pt x="543" y="348"/>
                  <a:pt x="543" y="348"/>
                </a:cubicBezTo>
                <a:cubicBezTo>
                  <a:pt x="543" y="348"/>
                  <a:pt x="544" y="348"/>
                  <a:pt x="544" y="348"/>
                </a:cubicBezTo>
                <a:cubicBezTo>
                  <a:pt x="544" y="349"/>
                  <a:pt x="543" y="349"/>
                  <a:pt x="542" y="349"/>
                </a:cubicBezTo>
                <a:cubicBezTo>
                  <a:pt x="543" y="349"/>
                  <a:pt x="543" y="349"/>
                  <a:pt x="543" y="349"/>
                </a:cubicBezTo>
                <a:cubicBezTo>
                  <a:pt x="543" y="349"/>
                  <a:pt x="543" y="349"/>
                  <a:pt x="543" y="349"/>
                </a:cubicBezTo>
                <a:cubicBezTo>
                  <a:pt x="543" y="349"/>
                  <a:pt x="543" y="350"/>
                  <a:pt x="543" y="350"/>
                </a:cubicBezTo>
                <a:cubicBezTo>
                  <a:pt x="544" y="350"/>
                  <a:pt x="546" y="350"/>
                  <a:pt x="547" y="350"/>
                </a:cubicBezTo>
                <a:cubicBezTo>
                  <a:pt x="547" y="350"/>
                  <a:pt x="546" y="349"/>
                  <a:pt x="546" y="349"/>
                </a:cubicBezTo>
                <a:cubicBezTo>
                  <a:pt x="546" y="349"/>
                  <a:pt x="547" y="349"/>
                  <a:pt x="547" y="349"/>
                </a:cubicBezTo>
                <a:cubicBezTo>
                  <a:pt x="547" y="348"/>
                  <a:pt x="547" y="348"/>
                  <a:pt x="547" y="348"/>
                </a:cubicBezTo>
                <a:cubicBezTo>
                  <a:pt x="547" y="348"/>
                  <a:pt x="547" y="348"/>
                  <a:pt x="547" y="348"/>
                </a:cubicBezTo>
                <a:cubicBezTo>
                  <a:pt x="546" y="348"/>
                  <a:pt x="547" y="348"/>
                  <a:pt x="546" y="348"/>
                </a:cubicBezTo>
                <a:cubicBezTo>
                  <a:pt x="546" y="348"/>
                  <a:pt x="547" y="348"/>
                  <a:pt x="547" y="348"/>
                </a:cubicBezTo>
                <a:cubicBezTo>
                  <a:pt x="547" y="348"/>
                  <a:pt x="546" y="348"/>
                  <a:pt x="547" y="348"/>
                </a:cubicBezTo>
                <a:cubicBezTo>
                  <a:pt x="547" y="348"/>
                  <a:pt x="547" y="348"/>
                  <a:pt x="547" y="348"/>
                </a:cubicBezTo>
                <a:cubicBezTo>
                  <a:pt x="547" y="348"/>
                  <a:pt x="547" y="347"/>
                  <a:pt x="547" y="347"/>
                </a:cubicBezTo>
                <a:cubicBezTo>
                  <a:pt x="547" y="347"/>
                  <a:pt x="548" y="347"/>
                  <a:pt x="548" y="347"/>
                </a:cubicBezTo>
                <a:cubicBezTo>
                  <a:pt x="548" y="347"/>
                  <a:pt x="548" y="347"/>
                  <a:pt x="548" y="347"/>
                </a:cubicBezTo>
                <a:cubicBezTo>
                  <a:pt x="548" y="347"/>
                  <a:pt x="549" y="347"/>
                  <a:pt x="549" y="346"/>
                </a:cubicBezTo>
                <a:cubicBezTo>
                  <a:pt x="549" y="347"/>
                  <a:pt x="549" y="346"/>
                  <a:pt x="549" y="346"/>
                </a:cubicBezTo>
                <a:close/>
                <a:moveTo>
                  <a:pt x="547" y="348"/>
                </a:moveTo>
                <a:cubicBezTo>
                  <a:pt x="547" y="348"/>
                  <a:pt x="547" y="348"/>
                  <a:pt x="547" y="348"/>
                </a:cubicBezTo>
                <a:close/>
                <a:moveTo>
                  <a:pt x="570" y="348"/>
                </a:moveTo>
                <a:cubicBezTo>
                  <a:pt x="570" y="348"/>
                  <a:pt x="570" y="348"/>
                  <a:pt x="569" y="348"/>
                </a:cubicBezTo>
                <a:cubicBezTo>
                  <a:pt x="570" y="347"/>
                  <a:pt x="569" y="348"/>
                  <a:pt x="568" y="347"/>
                </a:cubicBezTo>
                <a:cubicBezTo>
                  <a:pt x="569" y="347"/>
                  <a:pt x="568" y="347"/>
                  <a:pt x="567" y="347"/>
                </a:cubicBezTo>
                <a:cubicBezTo>
                  <a:pt x="567" y="348"/>
                  <a:pt x="567" y="348"/>
                  <a:pt x="567" y="348"/>
                </a:cubicBezTo>
                <a:cubicBezTo>
                  <a:pt x="567" y="348"/>
                  <a:pt x="567" y="348"/>
                  <a:pt x="566" y="348"/>
                </a:cubicBezTo>
                <a:cubicBezTo>
                  <a:pt x="567" y="347"/>
                  <a:pt x="567" y="348"/>
                  <a:pt x="567" y="347"/>
                </a:cubicBezTo>
                <a:cubicBezTo>
                  <a:pt x="567" y="346"/>
                  <a:pt x="566" y="346"/>
                  <a:pt x="566" y="346"/>
                </a:cubicBezTo>
                <a:cubicBezTo>
                  <a:pt x="565" y="347"/>
                  <a:pt x="565" y="347"/>
                  <a:pt x="564" y="348"/>
                </a:cubicBezTo>
                <a:cubicBezTo>
                  <a:pt x="564" y="348"/>
                  <a:pt x="563" y="348"/>
                  <a:pt x="563" y="349"/>
                </a:cubicBezTo>
                <a:cubicBezTo>
                  <a:pt x="563" y="349"/>
                  <a:pt x="564" y="349"/>
                  <a:pt x="564" y="349"/>
                </a:cubicBezTo>
                <a:cubicBezTo>
                  <a:pt x="564" y="348"/>
                  <a:pt x="565" y="348"/>
                  <a:pt x="565" y="348"/>
                </a:cubicBezTo>
                <a:cubicBezTo>
                  <a:pt x="566" y="347"/>
                  <a:pt x="566" y="347"/>
                  <a:pt x="566" y="347"/>
                </a:cubicBezTo>
                <a:cubicBezTo>
                  <a:pt x="566" y="348"/>
                  <a:pt x="566" y="348"/>
                  <a:pt x="565" y="348"/>
                </a:cubicBezTo>
                <a:cubicBezTo>
                  <a:pt x="565" y="348"/>
                  <a:pt x="564" y="349"/>
                  <a:pt x="564" y="349"/>
                </a:cubicBezTo>
                <a:cubicBezTo>
                  <a:pt x="563" y="349"/>
                  <a:pt x="563" y="350"/>
                  <a:pt x="562" y="350"/>
                </a:cubicBezTo>
                <a:cubicBezTo>
                  <a:pt x="562" y="350"/>
                  <a:pt x="561" y="350"/>
                  <a:pt x="561" y="350"/>
                </a:cubicBezTo>
                <a:cubicBezTo>
                  <a:pt x="562" y="350"/>
                  <a:pt x="561" y="351"/>
                  <a:pt x="562" y="351"/>
                </a:cubicBezTo>
                <a:cubicBezTo>
                  <a:pt x="563" y="350"/>
                  <a:pt x="564" y="350"/>
                  <a:pt x="565" y="350"/>
                </a:cubicBezTo>
                <a:cubicBezTo>
                  <a:pt x="564" y="351"/>
                  <a:pt x="561" y="351"/>
                  <a:pt x="561" y="352"/>
                </a:cubicBezTo>
                <a:cubicBezTo>
                  <a:pt x="561" y="353"/>
                  <a:pt x="561" y="353"/>
                  <a:pt x="560" y="353"/>
                </a:cubicBezTo>
                <a:cubicBezTo>
                  <a:pt x="560" y="353"/>
                  <a:pt x="559" y="354"/>
                  <a:pt x="560" y="354"/>
                </a:cubicBezTo>
                <a:cubicBezTo>
                  <a:pt x="560" y="353"/>
                  <a:pt x="561" y="352"/>
                  <a:pt x="559" y="352"/>
                </a:cubicBezTo>
                <a:cubicBezTo>
                  <a:pt x="559" y="352"/>
                  <a:pt x="558" y="353"/>
                  <a:pt x="557" y="353"/>
                </a:cubicBezTo>
                <a:cubicBezTo>
                  <a:pt x="557" y="352"/>
                  <a:pt x="560" y="352"/>
                  <a:pt x="559" y="351"/>
                </a:cubicBezTo>
                <a:cubicBezTo>
                  <a:pt x="559" y="351"/>
                  <a:pt x="559" y="351"/>
                  <a:pt x="560" y="351"/>
                </a:cubicBezTo>
                <a:cubicBezTo>
                  <a:pt x="560" y="351"/>
                  <a:pt x="558" y="351"/>
                  <a:pt x="558" y="351"/>
                </a:cubicBezTo>
                <a:cubicBezTo>
                  <a:pt x="558" y="351"/>
                  <a:pt x="559" y="351"/>
                  <a:pt x="559" y="351"/>
                </a:cubicBezTo>
                <a:cubicBezTo>
                  <a:pt x="559" y="351"/>
                  <a:pt x="560" y="351"/>
                  <a:pt x="560" y="351"/>
                </a:cubicBezTo>
                <a:cubicBezTo>
                  <a:pt x="561" y="351"/>
                  <a:pt x="562" y="349"/>
                  <a:pt x="562" y="349"/>
                </a:cubicBezTo>
                <a:cubicBezTo>
                  <a:pt x="561" y="349"/>
                  <a:pt x="559" y="351"/>
                  <a:pt x="558" y="350"/>
                </a:cubicBezTo>
                <a:cubicBezTo>
                  <a:pt x="558" y="351"/>
                  <a:pt x="561" y="349"/>
                  <a:pt x="561" y="349"/>
                </a:cubicBezTo>
                <a:cubicBezTo>
                  <a:pt x="560" y="349"/>
                  <a:pt x="562" y="349"/>
                  <a:pt x="562" y="349"/>
                </a:cubicBezTo>
                <a:cubicBezTo>
                  <a:pt x="562" y="349"/>
                  <a:pt x="563" y="349"/>
                  <a:pt x="563" y="349"/>
                </a:cubicBezTo>
                <a:cubicBezTo>
                  <a:pt x="564" y="348"/>
                  <a:pt x="564" y="348"/>
                  <a:pt x="565" y="347"/>
                </a:cubicBezTo>
                <a:cubicBezTo>
                  <a:pt x="565" y="347"/>
                  <a:pt x="566" y="346"/>
                  <a:pt x="565" y="346"/>
                </a:cubicBezTo>
                <a:cubicBezTo>
                  <a:pt x="565" y="346"/>
                  <a:pt x="564" y="347"/>
                  <a:pt x="564" y="348"/>
                </a:cubicBezTo>
                <a:cubicBezTo>
                  <a:pt x="564" y="347"/>
                  <a:pt x="565" y="346"/>
                  <a:pt x="566" y="345"/>
                </a:cubicBezTo>
                <a:cubicBezTo>
                  <a:pt x="566" y="344"/>
                  <a:pt x="567" y="344"/>
                  <a:pt x="567" y="343"/>
                </a:cubicBezTo>
                <a:cubicBezTo>
                  <a:pt x="568" y="343"/>
                  <a:pt x="567" y="343"/>
                  <a:pt x="567" y="343"/>
                </a:cubicBezTo>
                <a:cubicBezTo>
                  <a:pt x="567" y="343"/>
                  <a:pt x="569" y="341"/>
                  <a:pt x="569" y="341"/>
                </a:cubicBezTo>
                <a:cubicBezTo>
                  <a:pt x="569" y="341"/>
                  <a:pt x="567" y="340"/>
                  <a:pt x="567" y="340"/>
                </a:cubicBezTo>
                <a:cubicBezTo>
                  <a:pt x="567" y="340"/>
                  <a:pt x="569" y="339"/>
                  <a:pt x="569" y="339"/>
                </a:cubicBezTo>
                <a:cubicBezTo>
                  <a:pt x="568" y="339"/>
                  <a:pt x="568" y="339"/>
                  <a:pt x="568" y="339"/>
                </a:cubicBezTo>
                <a:cubicBezTo>
                  <a:pt x="567" y="339"/>
                  <a:pt x="567" y="339"/>
                  <a:pt x="567" y="339"/>
                </a:cubicBezTo>
                <a:cubicBezTo>
                  <a:pt x="566" y="339"/>
                  <a:pt x="566" y="340"/>
                  <a:pt x="565" y="340"/>
                </a:cubicBezTo>
                <a:cubicBezTo>
                  <a:pt x="565" y="341"/>
                  <a:pt x="564" y="341"/>
                  <a:pt x="563" y="342"/>
                </a:cubicBezTo>
                <a:cubicBezTo>
                  <a:pt x="563" y="342"/>
                  <a:pt x="562" y="343"/>
                  <a:pt x="562" y="343"/>
                </a:cubicBezTo>
                <a:cubicBezTo>
                  <a:pt x="562" y="343"/>
                  <a:pt x="562" y="343"/>
                  <a:pt x="562" y="343"/>
                </a:cubicBezTo>
                <a:cubicBezTo>
                  <a:pt x="561" y="343"/>
                  <a:pt x="561" y="344"/>
                  <a:pt x="561" y="344"/>
                </a:cubicBezTo>
                <a:cubicBezTo>
                  <a:pt x="560" y="345"/>
                  <a:pt x="560" y="346"/>
                  <a:pt x="559" y="346"/>
                </a:cubicBezTo>
                <a:cubicBezTo>
                  <a:pt x="558" y="347"/>
                  <a:pt x="558" y="347"/>
                  <a:pt x="557" y="348"/>
                </a:cubicBezTo>
                <a:cubicBezTo>
                  <a:pt x="556" y="348"/>
                  <a:pt x="556" y="349"/>
                  <a:pt x="555" y="349"/>
                </a:cubicBezTo>
                <a:cubicBezTo>
                  <a:pt x="555" y="350"/>
                  <a:pt x="555" y="350"/>
                  <a:pt x="555" y="351"/>
                </a:cubicBezTo>
                <a:cubicBezTo>
                  <a:pt x="555" y="352"/>
                  <a:pt x="554" y="352"/>
                  <a:pt x="555" y="353"/>
                </a:cubicBezTo>
                <a:cubicBezTo>
                  <a:pt x="555" y="354"/>
                  <a:pt x="555" y="355"/>
                  <a:pt x="556" y="354"/>
                </a:cubicBezTo>
                <a:cubicBezTo>
                  <a:pt x="556" y="354"/>
                  <a:pt x="557" y="354"/>
                  <a:pt x="556" y="355"/>
                </a:cubicBezTo>
                <a:cubicBezTo>
                  <a:pt x="557" y="354"/>
                  <a:pt x="558" y="354"/>
                  <a:pt x="558" y="354"/>
                </a:cubicBezTo>
                <a:cubicBezTo>
                  <a:pt x="558" y="354"/>
                  <a:pt x="559" y="354"/>
                  <a:pt x="559" y="354"/>
                </a:cubicBezTo>
                <a:cubicBezTo>
                  <a:pt x="559" y="354"/>
                  <a:pt x="559" y="354"/>
                  <a:pt x="559" y="354"/>
                </a:cubicBezTo>
                <a:cubicBezTo>
                  <a:pt x="560" y="354"/>
                  <a:pt x="560" y="354"/>
                  <a:pt x="560" y="354"/>
                </a:cubicBezTo>
                <a:cubicBezTo>
                  <a:pt x="560" y="355"/>
                  <a:pt x="561" y="354"/>
                  <a:pt x="561" y="354"/>
                </a:cubicBezTo>
                <a:cubicBezTo>
                  <a:pt x="563" y="353"/>
                  <a:pt x="564" y="354"/>
                  <a:pt x="565" y="353"/>
                </a:cubicBezTo>
                <a:cubicBezTo>
                  <a:pt x="566" y="353"/>
                  <a:pt x="566" y="352"/>
                  <a:pt x="567" y="352"/>
                </a:cubicBezTo>
                <a:cubicBezTo>
                  <a:pt x="567" y="352"/>
                  <a:pt x="566" y="352"/>
                  <a:pt x="566" y="352"/>
                </a:cubicBezTo>
                <a:cubicBezTo>
                  <a:pt x="566" y="351"/>
                  <a:pt x="568" y="351"/>
                  <a:pt x="568" y="351"/>
                </a:cubicBezTo>
                <a:cubicBezTo>
                  <a:pt x="568" y="351"/>
                  <a:pt x="570" y="350"/>
                  <a:pt x="570" y="350"/>
                </a:cubicBezTo>
                <a:cubicBezTo>
                  <a:pt x="570" y="349"/>
                  <a:pt x="569" y="350"/>
                  <a:pt x="569" y="350"/>
                </a:cubicBezTo>
                <a:cubicBezTo>
                  <a:pt x="568" y="350"/>
                  <a:pt x="570" y="349"/>
                  <a:pt x="570" y="349"/>
                </a:cubicBezTo>
                <a:cubicBezTo>
                  <a:pt x="570" y="349"/>
                  <a:pt x="570" y="349"/>
                  <a:pt x="569" y="349"/>
                </a:cubicBezTo>
                <a:cubicBezTo>
                  <a:pt x="570" y="348"/>
                  <a:pt x="570" y="348"/>
                  <a:pt x="570" y="348"/>
                </a:cubicBezTo>
                <a:close/>
                <a:moveTo>
                  <a:pt x="504" y="363"/>
                </a:moveTo>
                <a:cubicBezTo>
                  <a:pt x="504" y="364"/>
                  <a:pt x="503" y="365"/>
                  <a:pt x="503" y="365"/>
                </a:cubicBezTo>
                <a:cubicBezTo>
                  <a:pt x="503" y="365"/>
                  <a:pt x="504" y="364"/>
                  <a:pt x="504" y="364"/>
                </a:cubicBezTo>
                <a:cubicBezTo>
                  <a:pt x="505" y="364"/>
                  <a:pt x="505" y="363"/>
                  <a:pt x="505" y="363"/>
                </a:cubicBezTo>
                <a:cubicBezTo>
                  <a:pt x="504" y="362"/>
                  <a:pt x="504" y="363"/>
                  <a:pt x="504" y="363"/>
                </a:cubicBezTo>
                <a:close/>
                <a:moveTo>
                  <a:pt x="623" y="334"/>
                </a:moveTo>
                <a:cubicBezTo>
                  <a:pt x="622" y="334"/>
                  <a:pt x="621" y="335"/>
                  <a:pt x="622" y="335"/>
                </a:cubicBezTo>
                <a:cubicBezTo>
                  <a:pt x="623" y="335"/>
                  <a:pt x="624" y="333"/>
                  <a:pt x="625" y="332"/>
                </a:cubicBezTo>
                <a:cubicBezTo>
                  <a:pt x="625" y="332"/>
                  <a:pt x="625" y="332"/>
                  <a:pt x="625" y="332"/>
                </a:cubicBezTo>
                <a:cubicBezTo>
                  <a:pt x="624" y="332"/>
                  <a:pt x="624" y="332"/>
                  <a:pt x="624" y="333"/>
                </a:cubicBezTo>
                <a:cubicBezTo>
                  <a:pt x="624" y="333"/>
                  <a:pt x="624" y="332"/>
                  <a:pt x="624" y="332"/>
                </a:cubicBezTo>
                <a:cubicBezTo>
                  <a:pt x="624" y="333"/>
                  <a:pt x="624" y="333"/>
                  <a:pt x="623" y="333"/>
                </a:cubicBezTo>
                <a:cubicBezTo>
                  <a:pt x="623" y="333"/>
                  <a:pt x="624" y="333"/>
                  <a:pt x="624" y="333"/>
                </a:cubicBezTo>
                <a:cubicBezTo>
                  <a:pt x="623" y="333"/>
                  <a:pt x="623" y="334"/>
                  <a:pt x="623" y="334"/>
                </a:cubicBezTo>
                <a:close/>
                <a:moveTo>
                  <a:pt x="535" y="331"/>
                </a:moveTo>
                <a:cubicBezTo>
                  <a:pt x="536" y="331"/>
                  <a:pt x="536" y="330"/>
                  <a:pt x="537" y="329"/>
                </a:cubicBezTo>
                <a:cubicBezTo>
                  <a:pt x="537" y="329"/>
                  <a:pt x="537" y="329"/>
                  <a:pt x="537" y="329"/>
                </a:cubicBezTo>
                <a:cubicBezTo>
                  <a:pt x="537" y="329"/>
                  <a:pt x="537" y="330"/>
                  <a:pt x="536" y="330"/>
                </a:cubicBezTo>
                <a:cubicBezTo>
                  <a:pt x="536" y="329"/>
                  <a:pt x="534" y="330"/>
                  <a:pt x="535" y="330"/>
                </a:cubicBezTo>
                <a:cubicBezTo>
                  <a:pt x="535" y="330"/>
                  <a:pt x="535" y="330"/>
                  <a:pt x="535" y="330"/>
                </a:cubicBezTo>
                <a:cubicBezTo>
                  <a:pt x="535" y="330"/>
                  <a:pt x="534" y="331"/>
                  <a:pt x="535" y="331"/>
                </a:cubicBezTo>
                <a:close/>
                <a:moveTo>
                  <a:pt x="23" y="265"/>
                </a:moveTo>
                <a:cubicBezTo>
                  <a:pt x="23" y="265"/>
                  <a:pt x="22" y="267"/>
                  <a:pt x="23" y="266"/>
                </a:cubicBezTo>
                <a:cubicBezTo>
                  <a:pt x="23" y="266"/>
                  <a:pt x="23" y="266"/>
                  <a:pt x="23" y="266"/>
                </a:cubicBezTo>
                <a:cubicBezTo>
                  <a:pt x="23" y="265"/>
                  <a:pt x="23" y="265"/>
                  <a:pt x="23" y="265"/>
                </a:cubicBezTo>
                <a:cubicBezTo>
                  <a:pt x="23" y="265"/>
                  <a:pt x="24" y="265"/>
                  <a:pt x="24" y="265"/>
                </a:cubicBezTo>
                <a:cubicBezTo>
                  <a:pt x="24" y="265"/>
                  <a:pt x="24" y="266"/>
                  <a:pt x="24" y="266"/>
                </a:cubicBezTo>
                <a:cubicBezTo>
                  <a:pt x="25" y="266"/>
                  <a:pt x="26" y="265"/>
                  <a:pt x="26" y="265"/>
                </a:cubicBezTo>
                <a:cubicBezTo>
                  <a:pt x="26" y="266"/>
                  <a:pt x="24" y="265"/>
                  <a:pt x="24" y="266"/>
                </a:cubicBezTo>
                <a:cubicBezTo>
                  <a:pt x="24" y="266"/>
                  <a:pt x="24" y="266"/>
                  <a:pt x="25" y="266"/>
                </a:cubicBezTo>
                <a:cubicBezTo>
                  <a:pt x="24" y="267"/>
                  <a:pt x="26" y="266"/>
                  <a:pt x="26" y="266"/>
                </a:cubicBezTo>
                <a:cubicBezTo>
                  <a:pt x="27" y="265"/>
                  <a:pt x="27" y="265"/>
                  <a:pt x="27" y="264"/>
                </a:cubicBezTo>
                <a:cubicBezTo>
                  <a:pt x="27" y="263"/>
                  <a:pt x="23" y="265"/>
                  <a:pt x="23" y="265"/>
                </a:cubicBezTo>
                <a:close/>
                <a:moveTo>
                  <a:pt x="21" y="269"/>
                </a:moveTo>
                <a:cubicBezTo>
                  <a:pt x="20" y="270"/>
                  <a:pt x="22" y="270"/>
                  <a:pt x="22" y="270"/>
                </a:cubicBezTo>
                <a:cubicBezTo>
                  <a:pt x="22" y="270"/>
                  <a:pt x="21" y="270"/>
                  <a:pt x="21" y="270"/>
                </a:cubicBezTo>
                <a:cubicBezTo>
                  <a:pt x="21" y="270"/>
                  <a:pt x="21" y="271"/>
                  <a:pt x="21" y="271"/>
                </a:cubicBezTo>
                <a:cubicBezTo>
                  <a:pt x="21" y="271"/>
                  <a:pt x="22" y="271"/>
                  <a:pt x="22" y="271"/>
                </a:cubicBezTo>
                <a:cubicBezTo>
                  <a:pt x="22" y="271"/>
                  <a:pt x="22" y="272"/>
                  <a:pt x="22" y="272"/>
                </a:cubicBezTo>
                <a:cubicBezTo>
                  <a:pt x="22" y="272"/>
                  <a:pt x="22" y="274"/>
                  <a:pt x="23" y="274"/>
                </a:cubicBezTo>
                <a:cubicBezTo>
                  <a:pt x="23" y="273"/>
                  <a:pt x="23" y="274"/>
                  <a:pt x="24" y="273"/>
                </a:cubicBezTo>
                <a:cubicBezTo>
                  <a:pt x="24" y="273"/>
                  <a:pt x="24" y="273"/>
                  <a:pt x="24" y="272"/>
                </a:cubicBezTo>
                <a:cubicBezTo>
                  <a:pt x="25" y="271"/>
                  <a:pt x="24" y="270"/>
                  <a:pt x="24" y="270"/>
                </a:cubicBezTo>
                <a:cubicBezTo>
                  <a:pt x="23" y="269"/>
                  <a:pt x="22" y="268"/>
                  <a:pt x="21" y="269"/>
                </a:cubicBezTo>
                <a:close/>
                <a:moveTo>
                  <a:pt x="28" y="270"/>
                </a:moveTo>
                <a:cubicBezTo>
                  <a:pt x="29" y="269"/>
                  <a:pt x="28" y="269"/>
                  <a:pt x="28" y="268"/>
                </a:cubicBezTo>
                <a:cubicBezTo>
                  <a:pt x="28" y="268"/>
                  <a:pt x="27" y="266"/>
                  <a:pt x="27" y="266"/>
                </a:cubicBezTo>
                <a:cubicBezTo>
                  <a:pt x="27" y="266"/>
                  <a:pt x="25" y="266"/>
                  <a:pt x="25" y="267"/>
                </a:cubicBezTo>
                <a:cubicBezTo>
                  <a:pt x="26" y="267"/>
                  <a:pt x="25" y="267"/>
                  <a:pt x="25" y="267"/>
                </a:cubicBezTo>
                <a:cubicBezTo>
                  <a:pt x="25" y="267"/>
                  <a:pt x="25" y="267"/>
                  <a:pt x="25" y="267"/>
                </a:cubicBezTo>
                <a:cubicBezTo>
                  <a:pt x="25" y="267"/>
                  <a:pt x="25" y="267"/>
                  <a:pt x="25" y="267"/>
                </a:cubicBezTo>
                <a:cubicBezTo>
                  <a:pt x="25" y="267"/>
                  <a:pt x="25" y="267"/>
                  <a:pt x="24" y="267"/>
                </a:cubicBezTo>
                <a:cubicBezTo>
                  <a:pt x="24" y="268"/>
                  <a:pt x="23" y="268"/>
                  <a:pt x="23" y="268"/>
                </a:cubicBezTo>
                <a:cubicBezTo>
                  <a:pt x="23" y="269"/>
                  <a:pt x="24" y="269"/>
                  <a:pt x="24" y="269"/>
                </a:cubicBezTo>
                <a:cubicBezTo>
                  <a:pt x="25" y="269"/>
                  <a:pt x="25" y="268"/>
                  <a:pt x="25" y="268"/>
                </a:cubicBezTo>
                <a:cubicBezTo>
                  <a:pt x="25" y="268"/>
                  <a:pt x="25" y="268"/>
                  <a:pt x="25" y="267"/>
                </a:cubicBezTo>
                <a:cubicBezTo>
                  <a:pt x="25" y="268"/>
                  <a:pt x="25" y="268"/>
                  <a:pt x="25" y="268"/>
                </a:cubicBezTo>
                <a:cubicBezTo>
                  <a:pt x="26" y="268"/>
                  <a:pt x="25" y="268"/>
                  <a:pt x="25" y="268"/>
                </a:cubicBezTo>
                <a:cubicBezTo>
                  <a:pt x="25" y="269"/>
                  <a:pt x="27" y="268"/>
                  <a:pt x="27" y="268"/>
                </a:cubicBezTo>
                <a:cubicBezTo>
                  <a:pt x="27" y="268"/>
                  <a:pt x="26" y="269"/>
                  <a:pt x="25" y="269"/>
                </a:cubicBezTo>
                <a:cubicBezTo>
                  <a:pt x="25" y="269"/>
                  <a:pt x="25" y="269"/>
                  <a:pt x="25" y="269"/>
                </a:cubicBezTo>
                <a:cubicBezTo>
                  <a:pt x="26" y="269"/>
                  <a:pt x="26" y="269"/>
                  <a:pt x="26" y="269"/>
                </a:cubicBezTo>
                <a:cubicBezTo>
                  <a:pt x="26" y="269"/>
                  <a:pt x="26" y="269"/>
                  <a:pt x="26" y="269"/>
                </a:cubicBezTo>
                <a:cubicBezTo>
                  <a:pt x="26" y="269"/>
                  <a:pt x="26" y="269"/>
                  <a:pt x="26" y="269"/>
                </a:cubicBezTo>
                <a:cubicBezTo>
                  <a:pt x="26" y="269"/>
                  <a:pt x="25" y="271"/>
                  <a:pt x="26" y="270"/>
                </a:cubicBezTo>
                <a:cubicBezTo>
                  <a:pt x="26" y="270"/>
                  <a:pt x="25" y="271"/>
                  <a:pt x="25" y="271"/>
                </a:cubicBezTo>
                <a:cubicBezTo>
                  <a:pt x="25" y="272"/>
                  <a:pt x="26" y="272"/>
                  <a:pt x="26" y="272"/>
                </a:cubicBezTo>
                <a:cubicBezTo>
                  <a:pt x="26" y="272"/>
                  <a:pt x="26" y="272"/>
                  <a:pt x="26" y="273"/>
                </a:cubicBezTo>
                <a:cubicBezTo>
                  <a:pt x="26" y="273"/>
                  <a:pt x="26" y="273"/>
                  <a:pt x="27" y="273"/>
                </a:cubicBezTo>
                <a:cubicBezTo>
                  <a:pt x="27" y="272"/>
                  <a:pt x="27" y="272"/>
                  <a:pt x="27" y="272"/>
                </a:cubicBezTo>
                <a:cubicBezTo>
                  <a:pt x="27" y="272"/>
                  <a:pt x="28" y="272"/>
                  <a:pt x="28" y="272"/>
                </a:cubicBezTo>
                <a:cubicBezTo>
                  <a:pt x="28" y="271"/>
                  <a:pt x="28" y="271"/>
                  <a:pt x="29" y="271"/>
                </a:cubicBezTo>
                <a:cubicBezTo>
                  <a:pt x="29" y="270"/>
                  <a:pt x="28" y="270"/>
                  <a:pt x="28" y="270"/>
                </a:cubicBezTo>
                <a:cubicBezTo>
                  <a:pt x="28" y="270"/>
                  <a:pt x="28" y="270"/>
                  <a:pt x="28" y="270"/>
                </a:cubicBezTo>
                <a:close/>
                <a:moveTo>
                  <a:pt x="14" y="264"/>
                </a:moveTo>
                <a:cubicBezTo>
                  <a:pt x="13" y="264"/>
                  <a:pt x="13" y="265"/>
                  <a:pt x="12" y="264"/>
                </a:cubicBezTo>
                <a:cubicBezTo>
                  <a:pt x="12" y="264"/>
                  <a:pt x="12" y="264"/>
                  <a:pt x="12" y="264"/>
                </a:cubicBezTo>
                <a:cubicBezTo>
                  <a:pt x="12" y="264"/>
                  <a:pt x="11" y="265"/>
                  <a:pt x="11" y="265"/>
                </a:cubicBezTo>
                <a:cubicBezTo>
                  <a:pt x="11" y="266"/>
                  <a:pt x="10" y="266"/>
                  <a:pt x="10" y="267"/>
                </a:cubicBezTo>
                <a:cubicBezTo>
                  <a:pt x="9" y="267"/>
                  <a:pt x="9" y="268"/>
                  <a:pt x="8" y="268"/>
                </a:cubicBezTo>
                <a:cubicBezTo>
                  <a:pt x="8" y="268"/>
                  <a:pt x="6" y="268"/>
                  <a:pt x="7" y="269"/>
                </a:cubicBezTo>
                <a:cubicBezTo>
                  <a:pt x="7" y="269"/>
                  <a:pt x="6" y="269"/>
                  <a:pt x="6" y="269"/>
                </a:cubicBezTo>
                <a:cubicBezTo>
                  <a:pt x="6" y="269"/>
                  <a:pt x="5" y="269"/>
                  <a:pt x="5" y="269"/>
                </a:cubicBezTo>
                <a:cubicBezTo>
                  <a:pt x="5" y="269"/>
                  <a:pt x="6" y="269"/>
                  <a:pt x="7" y="268"/>
                </a:cubicBezTo>
                <a:cubicBezTo>
                  <a:pt x="6" y="268"/>
                  <a:pt x="5" y="268"/>
                  <a:pt x="4" y="269"/>
                </a:cubicBezTo>
                <a:cubicBezTo>
                  <a:pt x="5" y="269"/>
                  <a:pt x="5" y="268"/>
                  <a:pt x="5" y="268"/>
                </a:cubicBezTo>
                <a:cubicBezTo>
                  <a:pt x="5" y="268"/>
                  <a:pt x="5" y="268"/>
                  <a:pt x="4" y="268"/>
                </a:cubicBezTo>
                <a:cubicBezTo>
                  <a:pt x="5" y="268"/>
                  <a:pt x="6" y="268"/>
                  <a:pt x="7" y="268"/>
                </a:cubicBezTo>
                <a:cubicBezTo>
                  <a:pt x="7" y="268"/>
                  <a:pt x="8" y="267"/>
                  <a:pt x="9" y="267"/>
                </a:cubicBezTo>
                <a:cubicBezTo>
                  <a:pt x="9" y="267"/>
                  <a:pt x="10" y="267"/>
                  <a:pt x="11" y="266"/>
                </a:cubicBezTo>
                <a:cubicBezTo>
                  <a:pt x="11" y="266"/>
                  <a:pt x="12" y="265"/>
                  <a:pt x="12" y="265"/>
                </a:cubicBezTo>
                <a:cubicBezTo>
                  <a:pt x="11" y="264"/>
                  <a:pt x="12" y="264"/>
                  <a:pt x="11" y="264"/>
                </a:cubicBezTo>
                <a:cubicBezTo>
                  <a:pt x="11" y="263"/>
                  <a:pt x="10" y="264"/>
                  <a:pt x="10" y="264"/>
                </a:cubicBezTo>
                <a:cubicBezTo>
                  <a:pt x="9" y="264"/>
                  <a:pt x="8" y="265"/>
                  <a:pt x="7" y="265"/>
                </a:cubicBezTo>
                <a:cubicBezTo>
                  <a:pt x="7" y="265"/>
                  <a:pt x="9" y="265"/>
                  <a:pt x="9" y="264"/>
                </a:cubicBezTo>
                <a:cubicBezTo>
                  <a:pt x="9" y="263"/>
                  <a:pt x="8" y="263"/>
                  <a:pt x="8" y="263"/>
                </a:cubicBezTo>
                <a:cubicBezTo>
                  <a:pt x="7" y="263"/>
                  <a:pt x="6" y="263"/>
                  <a:pt x="6" y="263"/>
                </a:cubicBezTo>
                <a:cubicBezTo>
                  <a:pt x="6" y="263"/>
                  <a:pt x="5" y="263"/>
                  <a:pt x="5" y="264"/>
                </a:cubicBezTo>
                <a:cubicBezTo>
                  <a:pt x="5" y="264"/>
                  <a:pt x="5" y="264"/>
                  <a:pt x="5" y="264"/>
                </a:cubicBezTo>
                <a:cubicBezTo>
                  <a:pt x="4" y="265"/>
                  <a:pt x="4" y="265"/>
                  <a:pt x="3" y="266"/>
                </a:cubicBezTo>
                <a:cubicBezTo>
                  <a:pt x="3" y="266"/>
                  <a:pt x="2" y="266"/>
                  <a:pt x="2" y="266"/>
                </a:cubicBezTo>
                <a:cubicBezTo>
                  <a:pt x="2" y="266"/>
                  <a:pt x="2" y="267"/>
                  <a:pt x="2" y="267"/>
                </a:cubicBezTo>
                <a:cubicBezTo>
                  <a:pt x="1" y="267"/>
                  <a:pt x="2" y="267"/>
                  <a:pt x="3" y="267"/>
                </a:cubicBezTo>
                <a:cubicBezTo>
                  <a:pt x="2" y="268"/>
                  <a:pt x="3" y="268"/>
                  <a:pt x="2" y="268"/>
                </a:cubicBezTo>
                <a:cubicBezTo>
                  <a:pt x="1" y="268"/>
                  <a:pt x="2" y="269"/>
                  <a:pt x="2" y="269"/>
                </a:cubicBezTo>
                <a:cubicBezTo>
                  <a:pt x="2" y="269"/>
                  <a:pt x="1" y="269"/>
                  <a:pt x="1" y="269"/>
                </a:cubicBezTo>
                <a:cubicBezTo>
                  <a:pt x="1" y="269"/>
                  <a:pt x="1" y="269"/>
                  <a:pt x="1" y="269"/>
                </a:cubicBezTo>
                <a:cubicBezTo>
                  <a:pt x="1" y="269"/>
                  <a:pt x="1" y="270"/>
                  <a:pt x="1" y="270"/>
                </a:cubicBezTo>
                <a:cubicBezTo>
                  <a:pt x="1" y="270"/>
                  <a:pt x="1" y="270"/>
                  <a:pt x="2" y="270"/>
                </a:cubicBezTo>
                <a:cubicBezTo>
                  <a:pt x="1" y="270"/>
                  <a:pt x="1" y="270"/>
                  <a:pt x="1" y="270"/>
                </a:cubicBezTo>
                <a:cubicBezTo>
                  <a:pt x="1" y="270"/>
                  <a:pt x="2" y="270"/>
                  <a:pt x="2" y="270"/>
                </a:cubicBezTo>
                <a:cubicBezTo>
                  <a:pt x="2" y="270"/>
                  <a:pt x="2" y="270"/>
                  <a:pt x="2" y="270"/>
                </a:cubicBezTo>
                <a:cubicBezTo>
                  <a:pt x="2" y="271"/>
                  <a:pt x="2" y="270"/>
                  <a:pt x="3" y="270"/>
                </a:cubicBezTo>
                <a:cubicBezTo>
                  <a:pt x="3" y="270"/>
                  <a:pt x="2" y="271"/>
                  <a:pt x="2" y="271"/>
                </a:cubicBezTo>
                <a:cubicBezTo>
                  <a:pt x="3" y="271"/>
                  <a:pt x="3" y="271"/>
                  <a:pt x="3" y="271"/>
                </a:cubicBezTo>
                <a:cubicBezTo>
                  <a:pt x="3" y="271"/>
                  <a:pt x="4" y="272"/>
                  <a:pt x="3" y="272"/>
                </a:cubicBezTo>
                <a:cubicBezTo>
                  <a:pt x="3" y="271"/>
                  <a:pt x="1" y="271"/>
                  <a:pt x="0" y="272"/>
                </a:cubicBezTo>
                <a:cubicBezTo>
                  <a:pt x="1" y="272"/>
                  <a:pt x="2" y="271"/>
                  <a:pt x="2" y="272"/>
                </a:cubicBezTo>
                <a:cubicBezTo>
                  <a:pt x="2" y="272"/>
                  <a:pt x="0" y="272"/>
                  <a:pt x="0" y="272"/>
                </a:cubicBezTo>
                <a:cubicBezTo>
                  <a:pt x="0" y="272"/>
                  <a:pt x="1" y="273"/>
                  <a:pt x="1" y="273"/>
                </a:cubicBezTo>
                <a:cubicBezTo>
                  <a:pt x="1" y="273"/>
                  <a:pt x="1" y="273"/>
                  <a:pt x="1" y="273"/>
                </a:cubicBezTo>
                <a:cubicBezTo>
                  <a:pt x="1" y="273"/>
                  <a:pt x="1" y="273"/>
                  <a:pt x="1" y="273"/>
                </a:cubicBezTo>
                <a:cubicBezTo>
                  <a:pt x="1" y="274"/>
                  <a:pt x="1" y="273"/>
                  <a:pt x="1" y="273"/>
                </a:cubicBezTo>
                <a:cubicBezTo>
                  <a:pt x="1" y="273"/>
                  <a:pt x="1" y="274"/>
                  <a:pt x="1" y="274"/>
                </a:cubicBezTo>
                <a:cubicBezTo>
                  <a:pt x="2" y="274"/>
                  <a:pt x="2" y="274"/>
                  <a:pt x="2" y="273"/>
                </a:cubicBezTo>
                <a:cubicBezTo>
                  <a:pt x="3" y="273"/>
                  <a:pt x="3" y="273"/>
                  <a:pt x="3" y="274"/>
                </a:cubicBezTo>
                <a:cubicBezTo>
                  <a:pt x="3" y="274"/>
                  <a:pt x="4" y="273"/>
                  <a:pt x="4" y="273"/>
                </a:cubicBezTo>
                <a:cubicBezTo>
                  <a:pt x="4" y="273"/>
                  <a:pt x="3" y="273"/>
                  <a:pt x="3" y="273"/>
                </a:cubicBezTo>
                <a:cubicBezTo>
                  <a:pt x="3" y="273"/>
                  <a:pt x="6" y="273"/>
                  <a:pt x="6" y="272"/>
                </a:cubicBezTo>
                <a:cubicBezTo>
                  <a:pt x="8" y="272"/>
                  <a:pt x="8" y="270"/>
                  <a:pt x="10" y="269"/>
                </a:cubicBezTo>
                <a:cubicBezTo>
                  <a:pt x="12" y="267"/>
                  <a:pt x="15" y="265"/>
                  <a:pt x="17" y="263"/>
                </a:cubicBezTo>
                <a:cubicBezTo>
                  <a:pt x="16" y="264"/>
                  <a:pt x="15" y="264"/>
                  <a:pt x="14" y="264"/>
                </a:cubicBezTo>
                <a:close/>
                <a:moveTo>
                  <a:pt x="24" y="279"/>
                </a:moveTo>
                <a:cubicBezTo>
                  <a:pt x="23" y="280"/>
                  <a:pt x="23" y="280"/>
                  <a:pt x="24" y="280"/>
                </a:cubicBezTo>
                <a:cubicBezTo>
                  <a:pt x="24" y="280"/>
                  <a:pt x="24" y="281"/>
                  <a:pt x="24" y="281"/>
                </a:cubicBezTo>
                <a:cubicBezTo>
                  <a:pt x="24" y="281"/>
                  <a:pt x="25" y="280"/>
                  <a:pt x="25" y="279"/>
                </a:cubicBezTo>
                <a:cubicBezTo>
                  <a:pt x="25" y="279"/>
                  <a:pt x="25" y="278"/>
                  <a:pt x="25" y="277"/>
                </a:cubicBezTo>
                <a:cubicBezTo>
                  <a:pt x="24" y="277"/>
                  <a:pt x="24" y="277"/>
                  <a:pt x="24" y="278"/>
                </a:cubicBezTo>
                <a:cubicBezTo>
                  <a:pt x="24" y="278"/>
                  <a:pt x="24" y="278"/>
                  <a:pt x="24" y="278"/>
                </a:cubicBezTo>
                <a:cubicBezTo>
                  <a:pt x="24" y="278"/>
                  <a:pt x="24" y="278"/>
                  <a:pt x="24" y="279"/>
                </a:cubicBezTo>
                <a:cubicBezTo>
                  <a:pt x="24" y="279"/>
                  <a:pt x="23" y="279"/>
                  <a:pt x="24" y="279"/>
                </a:cubicBezTo>
                <a:close/>
                <a:moveTo>
                  <a:pt x="29" y="274"/>
                </a:moveTo>
                <a:cubicBezTo>
                  <a:pt x="28" y="274"/>
                  <a:pt x="27" y="274"/>
                  <a:pt x="27" y="275"/>
                </a:cubicBezTo>
                <a:cubicBezTo>
                  <a:pt x="27" y="275"/>
                  <a:pt x="26" y="276"/>
                  <a:pt x="27" y="276"/>
                </a:cubicBezTo>
                <a:cubicBezTo>
                  <a:pt x="26" y="276"/>
                  <a:pt x="28" y="275"/>
                  <a:pt x="28" y="275"/>
                </a:cubicBezTo>
                <a:cubicBezTo>
                  <a:pt x="29" y="275"/>
                  <a:pt x="30" y="275"/>
                  <a:pt x="29" y="274"/>
                </a:cubicBezTo>
                <a:cubicBezTo>
                  <a:pt x="29" y="274"/>
                  <a:pt x="30" y="274"/>
                  <a:pt x="30" y="274"/>
                </a:cubicBezTo>
                <a:cubicBezTo>
                  <a:pt x="30" y="275"/>
                  <a:pt x="29" y="275"/>
                  <a:pt x="29" y="275"/>
                </a:cubicBezTo>
                <a:cubicBezTo>
                  <a:pt x="28" y="275"/>
                  <a:pt x="28" y="276"/>
                  <a:pt x="27" y="276"/>
                </a:cubicBezTo>
                <a:cubicBezTo>
                  <a:pt x="27" y="276"/>
                  <a:pt x="27" y="277"/>
                  <a:pt x="27" y="277"/>
                </a:cubicBezTo>
                <a:cubicBezTo>
                  <a:pt x="27" y="277"/>
                  <a:pt x="26" y="276"/>
                  <a:pt x="26" y="277"/>
                </a:cubicBezTo>
                <a:cubicBezTo>
                  <a:pt x="26" y="277"/>
                  <a:pt x="25" y="278"/>
                  <a:pt x="26" y="278"/>
                </a:cubicBezTo>
                <a:cubicBezTo>
                  <a:pt x="25" y="278"/>
                  <a:pt x="26" y="278"/>
                  <a:pt x="26" y="279"/>
                </a:cubicBezTo>
                <a:cubicBezTo>
                  <a:pt x="26" y="279"/>
                  <a:pt x="27" y="279"/>
                  <a:pt x="27" y="278"/>
                </a:cubicBezTo>
                <a:cubicBezTo>
                  <a:pt x="27" y="279"/>
                  <a:pt x="28" y="278"/>
                  <a:pt x="28" y="278"/>
                </a:cubicBezTo>
                <a:cubicBezTo>
                  <a:pt x="29" y="277"/>
                  <a:pt x="29" y="276"/>
                  <a:pt x="30" y="276"/>
                </a:cubicBezTo>
                <a:cubicBezTo>
                  <a:pt x="30" y="277"/>
                  <a:pt x="31" y="276"/>
                  <a:pt x="31" y="276"/>
                </a:cubicBezTo>
                <a:cubicBezTo>
                  <a:pt x="31" y="276"/>
                  <a:pt x="30" y="277"/>
                  <a:pt x="29" y="277"/>
                </a:cubicBezTo>
                <a:cubicBezTo>
                  <a:pt x="28" y="278"/>
                  <a:pt x="28" y="278"/>
                  <a:pt x="27" y="279"/>
                </a:cubicBezTo>
                <a:cubicBezTo>
                  <a:pt x="27" y="279"/>
                  <a:pt x="28" y="279"/>
                  <a:pt x="28" y="279"/>
                </a:cubicBezTo>
                <a:cubicBezTo>
                  <a:pt x="29" y="279"/>
                  <a:pt x="29" y="279"/>
                  <a:pt x="29" y="278"/>
                </a:cubicBezTo>
                <a:cubicBezTo>
                  <a:pt x="30" y="278"/>
                  <a:pt x="30" y="278"/>
                  <a:pt x="30" y="277"/>
                </a:cubicBezTo>
                <a:cubicBezTo>
                  <a:pt x="31" y="276"/>
                  <a:pt x="32" y="276"/>
                  <a:pt x="32" y="275"/>
                </a:cubicBezTo>
                <a:cubicBezTo>
                  <a:pt x="33" y="274"/>
                  <a:pt x="33" y="274"/>
                  <a:pt x="32" y="273"/>
                </a:cubicBezTo>
                <a:cubicBezTo>
                  <a:pt x="32" y="272"/>
                  <a:pt x="32" y="272"/>
                  <a:pt x="31" y="272"/>
                </a:cubicBezTo>
                <a:cubicBezTo>
                  <a:pt x="30" y="272"/>
                  <a:pt x="30" y="273"/>
                  <a:pt x="29" y="274"/>
                </a:cubicBezTo>
                <a:close/>
                <a:moveTo>
                  <a:pt x="3" y="282"/>
                </a:moveTo>
                <a:cubicBezTo>
                  <a:pt x="3" y="282"/>
                  <a:pt x="3" y="282"/>
                  <a:pt x="3" y="282"/>
                </a:cubicBezTo>
                <a:cubicBezTo>
                  <a:pt x="3" y="282"/>
                  <a:pt x="5" y="282"/>
                  <a:pt x="3" y="282"/>
                </a:cubicBezTo>
                <a:cubicBezTo>
                  <a:pt x="4" y="282"/>
                  <a:pt x="4" y="281"/>
                  <a:pt x="5" y="281"/>
                </a:cubicBezTo>
                <a:cubicBezTo>
                  <a:pt x="4" y="281"/>
                  <a:pt x="3" y="281"/>
                  <a:pt x="3" y="282"/>
                </a:cubicBezTo>
                <a:close/>
                <a:moveTo>
                  <a:pt x="7" y="273"/>
                </a:moveTo>
                <a:cubicBezTo>
                  <a:pt x="6" y="273"/>
                  <a:pt x="5" y="274"/>
                  <a:pt x="3" y="274"/>
                </a:cubicBezTo>
                <a:cubicBezTo>
                  <a:pt x="2" y="274"/>
                  <a:pt x="1" y="274"/>
                  <a:pt x="0" y="274"/>
                </a:cubicBezTo>
                <a:cubicBezTo>
                  <a:pt x="0" y="274"/>
                  <a:pt x="0" y="274"/>
                  <a:pt x="0" y="274"/>
                </a:cubicBezTo>
                <a:cubicBezTo>
                  <a:pt x="0" y="274"/>
                  <a:pt x="0" y="275"/>
                  <a:pt x="0" y="275"/>
                </a:cubicBezTo>
                <a:cubicBezTo>
                  <a:pt x="0" y="275"/>
                  <a:pt x="1" y="275"/>
                  <a:pt x="1" y="275"/>
                </a:cubicBezTo>
                <a:cubicBezTo>
                  <a:pt x="2" y="275"/>
                  <a:pt x="2" y="275"/>
                  <a:pt x="3" y="275"/>
                </a:cubicBezTo>
                <a:cubicBezTo>
                  <a:pt x="2" y="275"/>
                  <a:pt x="2" y="276"/>
                  <a:pt x="2" y="276"/>
                </a:cubicBezTo>
                <a:cubicBezTo>
                  <a:pt x="2" y="276"/>
                  <a:pt x="2" y="276"/>
                  <a:pt x="1" y="276"/>
                </a:cubicBezTo>
                <a:cubicBezTo>
                  <a:pt x="2" y="276"/>
                  <a:pt x="1" y="276"/>
                  <a:pt x="1" y="276"/>
                </a:cubicBezTo>
                <a:cubicBezTo>
                  <a:pt x="1" y="276"/>
                  <a:pt x="1" y="276"/>
                  <a:pt x="1" y="276"/>
                </a:cubicBezTo>
                <a:cubicBezTo>
                  <a:pt x="0" y="276"/>
                  <a:pt x="0" y="277"/>
                  <a:pt x="0" y="277"/>
                </a:cubicBezTo>
                <a:cubicBezTo>
                  <a:pt x="0" y="277"/>
                  <a:pt x="0" y="278"/>
                  <a:pt x="1" y="278"/>
                </a:cubicBezTo>
                <a:cubicBezTo>
                  <a:pt x="1" y="277"/>
                  <a:pt x="1" y="277"/>
                  <a:pt x="2" y="277"/>
                </a:cubicBezTo>
                <a:cubicBezTo>
                  <a:pt x="2" y="277"/>
                  <a:pt x="2" y="278"/>
                  <a:pt x="2" y="278"/>
                </a:cubicBezTo>
                <a:cubicBezTo>
                  <a:pt x="2" y="278"/>
                  <a:pt x="2" y="278"/>
                  <a:pt x="1" y="278"/>
                </a:cubicBezTo>
                <a:cubicBezTo>
                  <a:pt x="1" y="278"/>
                  <a:pt x="1" y="278"/>
                  <a:pt x="1" y="278"/>
                </a:cubicBezTo>
                <a:cubicBezTo>
                  <a:pt x="1" y="277"/>
                  <a:pt x="0" y="279"/>
                  <a:pt x="1" y="279"/>
                </a:cubicBezTo>
                <a:cubicBezTo>
                  <a:pt x="0" y="280"/>
                  <a:pt x="1" y="280"/>
                  <a:pt x="2" y="281"/>
                </a:cubicBezTo>
                <a:cubicBezTo>
                  <a:pt x="2" y="281"/>
                  <a:pt x="1" y="281"/>
                  <a:pt x="2" y="281"/>
                </a:cubicBezTo>
                <a:cubicBezTo>
                  <a:pt x="2" y="281"/>
                  <a:pt x="2" y="281"/>
                  <a:pt x="2" y="281"/>
                </a:cubicBezTo>
                <a:cubicBezTo>
                  <a:pt x="2" y="281"/>
                  <a:pt x="1" y="282"/>
                  <a:pt x="1" y="282"/>
                </a:cubicBezTo>
                <a:cubicBezTo>
                  <a:pt x="1" y="282"/>
                  <a:pt x="1" y="282"/>
                  <a:pt x="1" y="282"/>
                </a:cubicBezTo>
                <a:cubicBezTo>
                  <a:pt x="2" y="282"/>
                  <a:pt x="1" y="284"/>
                  <a:pt x="2" y="283"/>
                </a:cubicBezTo>
                <a:cubicBezTo>
                  <a:pt x="2" y="284"/>
                  <a:pt x="2" y="284"/>
                  <a:pt x="2" y="284"/>
                </a:cubicBezTo>
                <a:cubicBezTo>
                  <a:pt x="2" y="284"/>
                  <a:pt x="2" y="284"/>
                  <a:pt x="3" y="283"/>
                </a:cubicBezTo>
                <a:cubicBezTo>
                  <a:pt x="3" y="283"/>
                  <a:pt x="2" y="285"/>
                  <a:pt x="3" y="284"/>
                </a:cubicBezTo>
                <a:cubicBezTo>
                  <a:pt x="3" y="284"/>
                  <a:pt x="3" y="284"/>
                  <a:pt x="4" y="284"/>
                </a:cubicBezTo>
                <a:cubicBezTo>
                  <a:pt x="3" y="284"/>
                  <a:pt x="3" y="284"/>
                  <a:pt x="3" y="284"/>
                </a:cubicBezTo>
                <a:cubicBezTo>
                  <a:pt x="4" y="284"/>
                  <a:pt x="5" y="284"/>
                  <a:pt x="5" y="283"/>
                </a:cubicBezTo>
                <a:cubicBezTo>
                  <a:pt x="4" y="283"/>
                  <a:pt x="4" y="283"/>
                  <a:pt x="4" y="283"/>
                </a:cubicBezTo>
                <a:cubicBezTo>
                  <a:pt x="4" y="283"/>
                  <a:pt x="4" y="283"/>
                  <a:pt x="3" y="283"/>
                </a:cubicBezTo>
                <a:cubicBezTo>
                  <a:pt x="4" y="283"/>
                  <a:pt x="4" y="283"/>
                  <a:pt x="4" y="283"/>
                </a:cubicBezTo>
                <a:cubicBezTo>
                  <a:pt x="5" y="282"/>
                  <a:pt x="4" y="282"/>
                  <a:pt x="4" y="283"/>
                </a:cubicBezTo>
                <a:cubicBezTo>
                  <a:pt x="4" y="283"/>
                  <a:pt x="3" y="283"/>
                  <a:pt x="3" y="283"/>
                </a:cubicBezTo>
                <a:cubicBezTo>
                  <a:pt x="3" y="283"/>
                  <a:pt x="3" y="283"/>
                  <a:pt x="3" y="283"/>
                </a:cubicBezTo>
                <a:cubicBezTo>
                  <a:pt x="3" y="283"/>
                  <a:pt x="3" y="283"/>
                  <a:pt x="3" y="283"/>
                </a:cubicBezTo>
                <a:cubicBezTo>
                  <a:pt x="3" y="282"/>
                  <a:pt x="3" y="281"/>
                  <a:pt x="3" y="282"/>
                </a:cubicBezTo>
                <a:cubicBezTo>
                  <a:pt x="3" y="281"/>
                  <a:pt x="3" y="281"/>
                  <a:pt x="3" y="281"/>
                </a:cubicBezTo>
                <a:cubicBezTo>
                  <a:pt x="3" y="281"/>
                  <a:pt x="3" y="280"/>
                  <a:pt x="3" y="280"/>
                </a:cubicBezTo>
                <a:cubicBezTo>
                  <a:pt x="3" y="280"/>
                  <a:pt x="3" y="281"/>
                  <a:pt x="3" y="280"/>
                </a:cubicBezTo>
                <a:cubicBezTo>
                  <a:pt x="3" y="280"/>
                  <a:pt x="2" y="280"/>
                  <a:pt x="2" y="280"/>
                </a:cubicBezTo>
                <a:cubicBezTo>
                  <a:pt x="3" y="280"/>
                  <a:pt x="2" y="279"/>
                  <a:pt x="3" y="279"/>
                </a:cubicBezTo>
                <a:cubicBezTo>
                  <a:pt x="3" y="279"/>
                  <a:pt x="3" y="278"/>
                  <a:pt x="2" y="278"/>
                </a:cubicBezTo>
                <a:cubicBezTo>
                  <a:pt x="2" y="278"/>
                  <a:pt x="3" y="278"/>
                  <a:pt x="3" y="278"/>
                </a:cubicBezTo>
                <a:cubicBezTo>
                  <a:pt x="3" y="278"/>
                  <a:pt x="4" y="278"/>
                  <a:pt x="5" y="277"/>
                </a:cubicBezTo>
                <a:cubicBezTo>
                  <a:pt x="4" y="277"/>
                  <a:pt x="3" y="278"/>
                  <a:pt x="3" y="277"/>
                </a:cubicBezTo>
                <a:cubicBezTo>
                  <a:pt x="3" y="277"/>
                  <a:pt x="4" y="277"/>
                  <a:pt x="3" y="276"/>
                </a:cubicBezTo>
                <a:cubicBezTo>
                  <a:pt x="3" y="276"/>
                  <a:pt x="3" y="276"/>
                  <a:pt x="3" y="276"/>
                </a:cubicBezTo>
                <a:cubicBezTo>
                  <a:pt x="3" y="276"/>
                  <a:pt x="3" y="276"/>
                  <a:pt x="4" y="276"/>
                </a:cubicBezTo>
                <a:cubicBezTo>
                  <a:pt x="3" y="276"/>
                  <a:pt x="5" y="274"/>
                  <a:pt x="4" y="275"/>
                </a:cubicBezTo>
                <a:cubicBezTo>
                  <a:pt x="5" y="274"/>
                  <a:pt x="6" y="274"/>
                  <a:pt x="6" y="275"/>
                </a:cubicBezTo>
                <a:cubicBezTo>
                  <a:pt x="7" y="275"/>
                  <a:pt x="7" y="275"/>
                  <a:pt x="7" y="274"/>
                </a:cubicBezTo>
                <a:cubicBezTo>
                  <a:pt x="7" y="274"/>
                  <a:pt x="7" y="274"/>
                  <a:pt x="7" y="274"/>
                </a:cubicBezTo>
                <a:cubicBezTo>
                  <a:pt x="7" y="274"/>
                  <a:pt x="8" y="273"/>
                  <a:pt x="7" y="273"/>
                </a:cubicBezTo>
                <a:close/>
                <a:moveTo>
                  <a:pt x="29" y="286"/>
                </a:moveTo>
                <a:cubicBezTo>
                  <a:pt x="29" y="286"/>
                  <a:pt x="30" y="286"/>
                  <a:pt x="30" y="286"/>
                </a:cubicBezTo>
                <a:cubicBezTo>
                  <a:pt x="31" y="285"/>
                  <a:pt x="31" y="284"/>
                  <a:pt x="32" y="284"/>
                </a:cubicBezTo>
                <a:cubicBezTo>
                  <a:pt x="33" y="284"/>
                  <a:pt x="34" y="284"/>
                  <a:pt x="34" y="283"/>
                </a:cubicBezTo>
                <a:cubicBezTo>
                  <a:pt x="35" y="283"/>
                  <a:pt x="35" y="283"/>
                  <a:pt x="36" y="283"/>
                </a:cubicBezTo>
                <a:cubicBezTo>
                  <a:pt x="36" y="283"/>
                  <a:pt x="37" y="283"/>
                  <a:pt x="37" y="282"/>
                </a:cubicBezTo>
                <a:cubicBezTo>
                  <a:pt x="37" y="282"/>
                  <a:pt x="38" y="281"/>
                  <a:pt x="38" y="281"/>
                </a:cubicBezTo>
                <a:cubicBezTo>
                  <a:pt x="38" y="281"/>
                  <a:pt x="36" y="282"/>
                  <a:pt x="35" y="282"/>
                </a:cubicBezTo>
                <a:cubicBezTo>
                  <a:pt x="34" y="282"/>
                  <a:pt x="34" y="283"/>
                  <a:pt x="33" y="283"/>
                </a:cubicBezTo>
                <a:cubicBezTo>
                  <a:pt x="31" y="283"/>
                  <a:pt x="30" y="284"/>
                  <a:pt x="29" y="286"/>
                </a:cubicBezTo>
                <a:cubicBezTo>
                  <a:pt x="28" y="286"/>
                  <a:pt x="28" y="286"/>
                  <a:pt x="29" y="286"/>
                </a:cubicBezTo>
                <a:close/>
                <a:moveTo>
                  <a:pt x="37" y="309"/>
                </a:moveTo>
                <a:cubicBezTo>
                  <a:pt x="37" y="310"/>
                  <a:pt x="37" y="310"/>
                  <a:pt x="37" y="310"/>
                </a:cubicBezTo>
                <a:cubicBezTo>
                  <a:pt x="38" y="310"/>
                  <a:pt x="38" y="310"/>
                  <a:pt x="38" y="311"/>
                </a:cubicBezTo>
                <a:cubicBezTo>
                  <a:pt x="38" y="311"/>
                  <a:pt x="38" y="311"/>
                  <a:pt x="39" y="312"/>
                </a:cubicBezTo>
                <a:cubicBezTo>
                  <a:pt x="39" y="312"/>
                  <a:pt x="39" y="312"/>
                  <a:pt x="39" y="312"/>
                </a:cubicBezTo>
                <a:cubicBezTo>
                  <a:pt x="40" y="312"/>
                  <a:pt x="39" y="311"/>
                  <a:pt x="39" y="311"/>
                </a:cubicBezTo>
                <a:cubicBezTo>
                  <a:pt x="39" y="311"/>
                  <a:pt x="39" y="310"/>
                  <a:pt x="39" y="310"/>
                </a:cubicBezTo>
                <a:cubicBezTo>
                  <a:pt x="39" y="310"/>
                  <a:pt x="38" y="310"/>
                  <a:pt x="38" y="310"/>
                </a:cubicBezTo>
                <a:cubicBezTo>
                  <a:pt x="38" y="309"/>
                  <a:pt x="37" y="309"/>
                  <a:pt x="37" y="309"/>
                </a:cubicBezTo>
                <a:close/>
                <a:moveTo>
                  <a:pt x="26" y="286"/>
                </a:moveTo>
                <a:cubicBezTo>
                  <a:pt x="26" y="286"/>
                  <a:pt x="24" y="288"/>
                  <a:pt x="25" y="287"/>
                </a:cubicBezTo>
                <a:cubicBezTo>
                  <a:pt x="25" y="287"/>
                  <a:pt x="24" y="288"/>
                  <a:pt x="24" y="288"/>
                </a:cubicBezTo>
                <a:cubicBezTo>
                  <a:pt x="24" y="289"/>
                  <a:pt x="26" y="288"/>
                  <a:pt x="26" y="288"/>
                </a:cubicBezTo>
                <a:cubicBezTo>
                  <a:pt x="27" y="287"/>
                  <a:pt x="28" y="286"/>
                  <a:pt x="28" y="285"/>
                </a:cubicBezTo>
                <a:cubicBezTo>
                  <a:pt x="28" y="285"/>
                  <a:pt x="26" y="285"/>
                  <a:pt x="26" y="286"/>
                </a:cubicBezTo>
                <a:close/>
                <a:moveTo>
                  <a:pt x="39" y="321"/>
                </a:moveTo>
                <a:cubicBezTo>
                  <a:pt x="39" y="321"/>
                  <a:pt x="38" y="321"/>
                  <a:pt x="38" y="322"/>
                </a:cubicBezTo>
                <a:cubicBezTo>
                  <a:pt x="38" y="322"/>
                  <a:pt x="37" y="322"/>
                  <a:pt x="37" y="323"/>
                </a:cubicBezTo>
                <a:cubicBezTo>
                  <a:pt x="37" y="322"/>
                  <a:pt x="38" y="322"/>
                  <a:pt x="38" y="321"/>
                </a:cubicBezTo>
                <a:cubicBezTo>
                  <a:pt x="38" y="321"/>
                  <a:pt x="38" y="320"/>
                  <a:pt x="38" y="320"/>
                </a:cubicBezTo>
                <a:cubicBezTo>
                  <a:pt x="38" y="320"/>
                  <a:pt x="39" y="320"/>
                  <a:pt x="39" y="320"/>
                </a:cubicBezTo>
                <a:cubicBezTo>
                  <a:pt x="39" y="319"/>
                  <a:pt x="38" y="318"/>
                  <a:pt x="38" y="317"/>
                </a:cubicBezTo>
                <a:cubicBezTo>
                  <a:pt x="38" y="317"/>
                  <a:pt x="38" y="318"/>
                  <a:pt x="39" y="318"/>
                </a:cubicBezTo>
                <a:cubicBezTo>
                  <a:pt x="39" y="318"/>
                  <a:pt x="39" y="316"/>
                  <a:pt x="39" y="316"/>
                </a:cubicBezTo>
                <a:cubicBezTo>
                  <a:pt x="38" y="316"/>
                  <a:pt x="39" y="315"/>
                  <a:pt x="39" y="315"/>
                </a:cubicBezTo>
                <a:cubicBezTo>
                  <a:pt x="39" y="315"/>
                  <a:pt x="37" y="315"/>
                  <a:pt x="37" y="315"/>
                </a:cubicBezTo>
                <a:cubicBezTo>
                  <a:pt x="37" y="315"/>
                  <a:pt x="38" y="315"/>
                  <a:pt x="38" y="314"/>
                </a:cubicBezTo>
                <a:cubicBezTo>
                  <a:pt x="37" y="314"/>
                  <a:pt x="36" y="314"/>
                  <a:pt x="36" y="314"/>
                </a:cubicBezTo>
                <a:cubicBezTo>
                  <a:pt x="36" y="314"/>
                  <a:pt x="35" y="314"/>
                  <a:pt x="35" y="313"/>
                </a:cubicBezTo>
                <a:cubicBezTo>
                  <a:pt x="34" y="313"/>
                  <a:pt x="34" y="313"/>
                  <a:pt x="34" y="313"/>
                </a:cubicBezTo>
                <a:cubicBezTo>
                  <a:pt x="34" y="313"/>
                  <a:pt x="34" y="313"/>
                  <a:pt x="34" y="313"/>
                </a:cubicBezTo>
                <a:cubicBezTo>
                  <a:pt x="33" y="312"/>
                  <a:pt x="34" y="310"/>
                  <a:pt x="34" y="310"/>
                </a:cubicBezTo>
                <a:cubicBezTo>
                  <a:pt x="34" y="310"/>
                  <a:pt x="35" y="310"/>
                  <a:pt x="35" y="309"/>
                </a:cubicBezTo>
                <a:cubicBezTo>
                  <a:pt x="34" y="309"/>
                  <a:pt x="34" y="308"/>
                  <a:pt x="34" y="308"/>
                </a:cubicBezTo>
                <a:cubicBezTo>
                  <a:pt x="34" y="307"/>
                  <a:pt x="34" y="307"/>
                  <a:pt x="34" y="306"/>
                </a:cubicBezTo>
                <a:cubicBezTo>
                  <a:pt x="34" y="306"/>
                  <a:pt x="34" y="306"/>
                  <a:pt x="34" y="305"/>
                </a:cubicBezTo>
                <a:cubicBezTo>
                  <a:pt x="34" y="305"/>
                  <a:pt x="34" y="305"/>
                  <a:pt x="35" y="305"/>
                </a:cubicBezTo>
                <a:cubicBezTo>
                  <a:pt x="35" y="303"/>
                  <a:pt x="35" y="303"/>
                  <a:pt x="33" y="303"/>
                </a:cubicBezTo>
                <a:cubicBezTo>
                  <a:pt x="33" y="303"/>
                  <a:pt x="33" y="303"/>
                  <a:pt x="32" y="303"/>
                </a:cubicBezTo>
                <a:cubicBezTo>
                  <a:pt x="32" y="303"/>
                  <a:pt x="31" y="303"/>
                  <a:pt x="31" y="303"/>
                </a:cubicBezTo>
                <a:cubicBezTo>
                  <a:pt x="31" y="302"/>
                  <a:pt x="28" y="302"/>
                  <a:pt x="28" y="302"/>
                </a:cubicBezTo>
                <a:cubicBezTo>
                  <a:pt x="27" y="302"/>
                  <a:pt x="27" y="302"/>
                  <a:pt x="26" y="302"/>
                </a:cubicBezTo>
                <a:cubicBezTo>
                  <a:pt x="26" y="301"/>
                  <a:pt x="25" y="301"/>
                  <a:pt x="25" y="301"/>
                </a:cubicBezTo>
                <a:cubicBezTo>
                  <a:pt x="25" y="301"/>
                  <a:pt x="24" y="301"/>
                  <a:pt x="24" y="301"/>
                </a:cubicBezTo>
                <a:cubicBezTo>
                  <a:pt x="24" y="301"/>
                  <a:pt x="23" y="301"/>
                  <a:pt x="23" y="301"/>
                </a:cubicBezTo>
                <a:cubicBezTo>
                  <a:pt x="23" y="300"/>
                  <a:pt x="21" y="300"/>
                  <a:pt x="22" y="299"/>
                </a:cubicBezTo>
                <a:cubicBezTo>
                  <a:pt x="22" y="299"/>
                  <a:pt x="21" y="299"/>
                  <a:pt x="21" y="299"/>
                </a:cubicBezTo>
                <a:cubicBezTo>
                  <a:pt x="21" y="299"/>
                  <a:pt x="21" y="299"/>
                  <a:pt x="21" y="299"/>
                </a:cubicBezTo>
                <a:cubicBezTo>
                  <a:pt x="21" y="298"/>
                  <a:pt x="20" y="298"/>
                  <a:pt x="20" y="298"/>
                </a:cubicBezTo>
                <a:cubicBezTo>
                  <a:pt x="19" y="298"/>
                  <a:pt x="18" y="298"/>
                  <a:pt x="17" y="298"/>
                </a:cubicBezTo>
                <a:cubicBezTo>
                  <a:pt x="16" y="298"/>
                  <a:pt x="15" y="298"/>
                  <a:pt x="14" y="299"/>
                </a:cubicBezTo>
                <a:cubicBezTo>
                  <a:pt x="13" y="299"/>
                  <a:pt x="13" y="300"/>
                  <a:pt x="14" y="300"/>
                </a:cubicBezTo>
                <a:cubicBezTo>
                  <a:pt x="14" y="300"/>
                  <a:pt x="13" y="300"/>
                  <a:pt x="13" y="301"/>
                </a:cubicBezTo>
                <a:cubicBezTo>
                  <a:pt x="14" y="301"/>
                  <a:pt x="13" y="301"/>
                  <a:pt x="14" y="302"/>
                </a:cubicBezTo>
                <a:cubicBezTo>
                  <a:pt x="14" y="302"/>
                  <a:pt x="15" y="302"/>
                  <a:pt x="16" y="302"/>
                </a:cubicBezTo>
                <a:cubicBezTo>
                  <a:pt x="17" y="302"/>
                  <a:pt x="19" y="301"/>
                  <a:pt x="19" y="301"/>
                </a:cubicBezTo>
                <a:cubicBezTo>
                  <a:pt x="19" y="300"/>
                  <a:pt x="17" y="301"/>
                  <a:pt x="17" y="300"/>
                </a:cubicBezTo>
                <a:cubicBezTo>
                  <a:pt x="17" y="300"/>
                  <a:pt x="19" y="301"/>
                  <a:pt x="19" y="301"/>
                </a:cubicBezTo>
                <a:cubicBezTo>
                  <a:pt x="19" y="301"/>
                  <a:pt x="19" y="301"/>
                  <a:pt x="19" y="301"/>
                </a:cubicBezTo>
                <a:cubicBezTo>
                  <a:pt x="20" y="301"/>
                  <a:pt x="20" y="301"/>
                  <a:pt x="21" y="301"/>
                </a:cubicBezTo>
                <a:cubicBezTo>
                  <a:pt x="20" y="301"/>
                  <a:pt x="19" y="301"/>
                  <a:pt x="19" y="301"/>
                </a:cubicBezTo>
                <a:cubicBezTo>
                  <a:pt x="19" y="302"/>
                  <a:pt x="19" y="303"/>
                  <a:pt x="18" y="303"/>
                </a:cubicBezTo>
                <a:cubicBezTo>
                  <a:pt x="18" y="303"/>
                  <a:pt x="18" y="302"/>
                  <a:pt x="18" y="302"/>
                </a:cubicBezTo>
                <a:cubicBezTo>
                  <a:pt x="18" y="302"/>
                  <a:pt x="18" y="302"/>
                  <a:pt x="18" y="302"/>
                </a:cubicBezTo>
                <a:cubicBezTo>
                  <a:pt x="17" y="302"/>
                  <a:pt x="17" y="302"/>
                  <a:pt x="16" y="302"/>
                </a:cubicBezTo>
                <a:cubicBezTo>
                  <a:pt x="16" y="302"/>
                  <a:pt x="16" y="302"/>
                  <a:pt x="15" y="302"/>
                </a:cubicBezTo>
                <a:cubicBezTo>
                  <a:pt x="15" y="302"/>
                  <a:pt x="14" y="303"/>
                  <a:pt x="14" y="303"/>
                </a:cubicBezTo>
                <a:cubicBezTo>
                  <a:pt x="14" y="303"/>
                  <a:pt x="14" y="304"/>
                  <a:pt x="14" y="303"/>
                </a:cubicBezTo>
                <a:cubicBezTo>
                  <a:pt x="15" y="303"/>
                  <a:pt x="15" y="303"/>
                  <a:pt x="15" y="304"/>
                </a:cubicBezTo>
                <a:cubicBezTo>
                  <a:pt x="15" y="304"/>
                  <a:pt x="14" y="304"/>
                  <a:pt x="14" y="304"/>
                </a:cubicBezTo>
                <a:cubicBezTo>
                  <a:pt x="14" y="304"/>
                  <a:pt x="15" y="304"/>
                  <a:pt x="15" y="304"/>
                </a:cubicBezTo>
                <a:cubicBezTo>
                  <a:pt x="15" y="305"/>
                  <a:pt x="12" y="305"/>
                  <a:pt x="13" y="306"/>
                </a:cubicBezTo>
                <a:cubicBezTo>
                  <a:pt x="14" y="306"/>
                  <a:pt x="15" y="305"/>
                  <a:pt x="15" y="305"/>
                </a:cubicBezTo>
                <a:cubicBezTo>
                  <a:pt x="15" y="305"/>
                  <a:pt x="15" y="305"/>
                  <a:pt x="15" y="306"/>
                </a:cubicBezTo>
                <a:cubicBezTo>
                  <a:pt x="15" y="306"/>
                  <a:pt x="17" y="305"/>
                  <a:pt x="17" y="305"/>
                </a:cubicBezTo>
                <a:cubicBezTo>
                  <a:pt x="17" y="305"/>
                  <a:pt x="16" y="306"/>
                  <a:pt x="17" y="306"/>
                </a:cubicBezTo>
                <a:cubicBezTo>
                  <a:pt x="15" y="306"/>
                  <a:pt x="17" y="307"/>
                  <a:pt x="18" y="306"/>
                </a:cubicBezTo>
                <a:cubicBezTo>
                  <a:pt x="18" y="306"/>
                  <a:pt x="18" y="305"/>
                  <a:pt x="18" y="306"/>
                </a:cubicBezTo>
                <a:cubicBezTo>
                  <a:pt x="18" y="306"/>
                  <a:pt x="19" y="305"/>
                  <a:pt x="20" y="305"/>
                </a:cubicBezTo>
                <a:cubicBezTo>
                  <a:pt x="20" y="306"/>
                  <a:pt x="18" y="306"/>
                  <a:pt x="18" y="307"/>
                </a:cubicBezTo>
                <a:cubicBezTo>
                  <a:pt x="18" y="307"/>
                  <a:pt x="17" y="307"/>
                  <a:pt x="17" y="308"/>
                </a:cubicBezTo>
                <a:cubicBezTo>
                  <a:pt x="17" y="309"/>
                  <a:pt x="18" y="308"/>
                  <a:pt x="18" y="308"/>
                </a:cubicBezTo>
                <a:cubicBezTo>
                  <a:pt x="19" y="308"/>
                  <a:pt x="19" y="308"/>
                  <a:pt x="20" y="307"/>
                </a:cubicBezTo>
                <a:cubicBezTo>
                  <a:pt x="20" y="307"/>
                  <a:pt x="19" y="308"/>
                  <a:pt x="19" y="308"/>
                </a:cubicBezTo>
                <a:cubicBezTo>
                  <a:pt x="19" y="308"/>
                  <a:pt x="18" y="309"/>
                  <a:pt x="18" y="309"/>
                </a:cubicBezTo>
                <a:cubicBezTo>
                  <a:pt x="18" y="309"/>
                  <a:pt x="18" y="309"/>
                  <a:pt x="19" y="309"/>
                </a:cubicBezTo>
                <a:cubicBezTo>
                  <a:pt x="18" y="310"/>
                  <a:pt x="17" y="309"/>
                  <a:pt x="17" y="310"/>
                </a:cubicBezTo>
                <a:cubicBezTo>
                  <a:pt x="18" y="311"/>
                  <a:pt x="18" y="311"/>
                  <a:pt x="19" y="311"/>
                </a:cubicBezTo>
                <a:cubicBezTo>
                  <a:pt x="20" y="311"/>
                  <a:pt x="20" y="310"/>
                  <a:pt x="20" y="309"/>
                </a:cubicBezTo>
                <a:cubicBezTo>
                  <a:pt x="20" y="309"/>
                  <a:pt x="21" y="308"/>
                  <a:pt x="21" y="308"/>
                </a:cubicBezTo>
                <a:cubicBezTo>
                  <a:pt x="20" y="308"/>
                  <a:pt x="20" y="308"/>
                  <a:pt x="20" y="308"/>
                </a:cubicBezTo>
                <a:cubicBezTo>
                  <a:pt x="20" y="308"/>
                  <a:pt x="20" y="308"/>
                  <a:pt x="19" y="308"/>
                </a:cubicBezTo>
                <a:cubicBezTo>
                  <a:pt x="20" y="308"/>
                  <a:pt x="20" y="308"/>
                  <a:pt x="20" y="308"/>
                </a:cubicBezTo>
                <a:cubicBezTo>
                  <a:pt x="20" y="308"/>
                  <a:pt x="20" y="307"/>
                  <a:pt x="20" y="307"/>
                </a:cubicBezTo>
                <a:cubicBezTo>
                  <a:pt x="21" y="307"/>
                  <a:pt x="20" y="309"/>
                  <a:pt x="21" y="308"/>
                </a:cubicBezTo>
                <a:cubicBezTo>
                  <a:pt x="21" y="309"/>
                  <a:pt x="20" y="309"/>
                  <a:pt x="20" y="310"/>
                </a:cubicBezTo>
                <a:cubicBezTo>
                  <a:pt x="21" y="311"/>
                  <a:pt x="22" y="309"/>
                  <a:pt x="22" y="309"/>
                </a:cubicBezTo>
                <a:cubicBezTo>
                  <a:pt x="22" y="309"/>
                  <a:pt x="21" y="310"/>
                  <a:pt x="21" y="310"/>
                </a:cubicBezTo>
                <a:cubicBezTo>
                  <a:pt x="21" y="311"/>
                  <a:pt x="24" y="310"/>
                  <a:pt x="24" y="310"/>
                </a:cubicBezTo>
                <a:cubicBezTo>
                  <a:pt x="24" y="311"/>
                  <a:pt x="21" y="311"/>
                  <a:pt x="21" y="311"/>
                </a:cubicBezTo>
                <a:cubicBezTo>
                  <a:pt x="20" y="311"/>
                  <a:pt x="20" y="311"/>
                  <a:pt x="19" y="312"/>
                </a:cubicBezTo>
                <a:cubicBezTo>
                  <a:pt x="19" y="312"/>
                  <a:pt x="18" y="314"/>
                  <a:pt x="18" y="314"/>
                </a:cubicBezTo>
                <a:cubicBezTo>
                  <a:pt x="19" y="313"/>
                  <a:pt x="19" y="313"/>
                  <a:pt x="20" y="313"/>
                </a:cubicBezTo>
                <a:cubicBezTo>
                  <a:pt x="20" y="313"/>
                  <a:pt x="20" y="314"/>
                  <a:pt x="20" y="314"/>
                </a:cubicBezTo>
                <a:cubicBezTo>
                  <a:pt x="20" y="314"/>
                  <a:pt x="21" y="313"/>
                  <a:pt x="21" y="313"/>
                </a:cubicBezTo>
                <a:cubicBezTo>
                  <a:pt x="22" y="313"/>
                  <a:pt x="22" y="313"/>
                  <a:pt x="23" y="313"/>
                </a:cubicBezTo>
                <a:cubicBezTo>
                  <a:pt x="23" y="313"/>
                  <a:pt x="21" y="314"/>
                  <a:pt x="22" y="314"/>
                </a:cubicBezTo>
                <a:cubicBezTo>
                  <a:pt x="23" y="314"/>
                  <a:pt x="23" y="313"/>
                  <a:pt x="24" y="313"/>
                </a:cubicBezTo>
                <a:cubicBezTo>
                  <a:pt x="24" y="314"/>
                  <a:pt x="22" y="314"/>
                  <a:pt x="22" y="315"/>
                </a:cubicBezTo>
                <a:cubicBezTo>
                  <a:pt x="22" y="315"/>
                  <a:pt x="23" y="314"/>
                  <a:pt x="23" y="315"/>
                </a:cubicBezTo>
                <a:cubicBezTo>
                  <a:pt x="23" y="315"/>
                  <a:pt x="24" y="314"/>
                  <a:pt x="24" y="314"/>
                </a:cubicBezTo>
                <a:cubicBezTo>
                  <a:pt x="24" y="314"/>
                  <a:pt x="23" y="315"/>
                  <a:pt x="23" y="315"/>
                </a:cubicBezTo>
                <a:cubicBezTo>
                  <a:pt x="24" y="315"/>
                  <a:pt x="24" y="315"/>
                  <a:pt x="24" y="315"/>
                </a:cubicBezTo>
                <a:cubicBezTo>
                  <a:pt x="24" y="315"/>
                  <a:pt x="23" y="315"/>
                  <a:pt x="23" y="316"/>
                </a:cubicBezTo>
                <a:cubicBezTo>
                  <a:pt x="24" y="316"/>
                  <a:pt x="24" y="315"/>
                  <a:pt x="25" y="315"/>
                </a:cubicBezTo>
                <a:cubicBezTo>
                  <a:pt x="24" y="316"/>
                  <a:pt x="23" y="316"/>
                  <a:pt x="22" y="316"/>
                </a:cubicBezTo>
                <a:cubicBezTo>
                  <a:pt x="22" y="316"/>
                  <a:pt x="21" y="317"/>
                  <a:pt x="22" y="317"/>
                </a:cubicBezTo>
                <a:cubicBezTo>
                  <a:pt x="22" y="317"/>
                  <a:pt x="22" y="317"/>
                  <a:pt x="22" y="317"/>
                </a:cubicBezTo>
                <a:cubicBezTo>
                  <a:pt x="23" y="318"/>
                  <a:pt x="23" y="319"/>
                  <a:pt x="24" y="318"/>
                </a:cubicBezTo>
                <a:cubicBezTo>
                  <a:pt x="25" y="318"/>
                  <a:pt x="25" y="317"/>
                  <a:pt x="26" y="317"/>
                </a:cubicBezTo>
                <a:cubicBezTo>
                  <a:pt x="26" y="317"/>
                  <a:pt x="25" y="318"/>
                  <a:pt x="25" y="318"/>
                </a:cubicBezTo>
                <a:cubicBezTo>
                  <a:pt x="26" y="318"/>
                  <a:pt x="26" y="318"/>
                  <a:pt x="26" y="318"/>
                </a:cubicBezTo>
                <a:cubicBezTo>
                  <a:pt x="27" y="318"/>
                  <a:pt x="27" y="318"/>
                  <a:pt x="27" y="318"/>
                </a:cubicBezTo>
                <a:cubicBezTo>
                  <a:pt x="28" y="318"/>
                  <a:pt x="28" y="318"/>
                  <a:pt x="29" y="318"/>
                </a:cubicBezTo>
                <a:cubicBezTo>
                  <a:pt x="30" y="317"/>
                  <a:pt x="30" y="316"/>
                  <a:pt x="32" y="315"/>
                </a:cubicBezTo>
                <a:cubicBezTo>
                  <a:pt x="31" y="316"/>
                  <a:pt x="30" y="317"/>
                  <a:pt x="29" y="318"/>
                </a:cubicBezTo>
                <a:cubicBezTo>
                  <a:pt x="28" y="318"/>
                  <a:pt x="28" y="319"/>
                  <a:pt x="27" y="319"/>
                </a:cubicBezTo>
                <a:cubicBezTo>
                  <a:pt x="26" y="319"/>
                  <a:pt x="26" y="319"/>
                  <a:pt x="25" y="319"/>
                </a:cubicBezTo>
                <a:cubicBezTo>
                  <a:pt x="24" y="320"/>
                  <a:pt x="26" y="321"/>
                  <a:pt x="27" y="321"/>
                </a:cubicBezTo>
                <a:cubicBezTo>
                  <a:pt x="27" y="321"/>
                  <a:pt x="27" y="322"/>
                  <a:pt x="27" y="322"/>
                </a:cubicBezTo>
                <a:cubicBezTo>
                  <a:pt x="28" y="322"/>
                  <a:pt x="28" y="322"/>
                  <a:pt x="28" y="322"/>
                </a:cubicBezTo>
                <a:cubicBezTo>
                  <a:pt x="29" y="322"/>
                  <a:pt x="29" y="322"/>
                  <a:pt x="30" y="322"/>
                </a:cubicBezTo>
                <a:cubicBezTo>
                  <a:pt x="29" y="323"/>
                  <a:pt x="29" y="323"/>
                  <a:pt x="30" y="323"/>
                </a:cubicBezTo>
                <a:cubicBezTo>
                  <a:pt x="31" y="323"/>
                  <a:pt x="31" y="324"/>
                  <a:pt x="32" y="324"/>
                </a:cubicBezTo>
                <a:cubicBezTo>
                  <a:pt x="32" y="324"/>
                  <a:pt x="32" y="324"/>
                  <a:pt x="33" y="324"/>
                </a:cubicBezTo>
                <a:cubicBezTo>
                  <a:pt x="33" y="324"/>
                  <a:pt x="34" y="324"/>
                  <a:pt x="34" y="324"/>
                </a:cubicBezTo>
                <a:cubicBezTo>
                  <a:pt x="34" y="325"/>
                  <a:pt x="34" y="325"/>
                  <a:pt x="35" y="325"/>
                </a:cubicBezTo>
                <a:cubicBezTo>
                  <a:pt x="35" y="325"/>
                  <a:pt x="35" y="325"/>
                  <a:pt x="35" y="325"/>
                </a:cubicBezTo>
                <a:cubicBezTo>
                  <a:pt x="36" y="325"/>
                  <a:pt x="36" y="323"/>
                  <a:pt x="37" y="324"/>
                </a:cubicBezTo>
                <a:cubicBezTo>
                  <a:pt x="38" y="324"/>
                  <a:pt x="38" y="324"/>
                  <a:pt x="38" y="324"/>
                </a:cubicBezTo>
                <a:cubicBezTo>
                  <a:pt x="39" y="323"/>
                  <a:pt x="39" y="323"/>
                  <a:pt x="39" y="323"/>
                </a:cubicBezTo>
                <a:cubicBezTo>
                  <a:pt x="39" y="322"/>
                  <a:pt x="40" y="321"/>
                  <a:pt x="39" y="321"/>
                </a:cubicBezTo>
                <a:close/>
                <a:moveTo>
                  <a:pt x="35" y="304"/>
                </a:moveTo>
                <a:cubicBezTo>
                  <a:pt x="36" y="304"/>
                  <a:pt x="36" y="303"/>
                  <a:pt x="37" y="304"/>
                </a:cubicBezTo>
                <a:cubicBezTo>
                  <a:pt x="37" y="305"/>
                  <a:pt x="36" y="305"/>
                  <a:pt x="36" y="306"/>
                </a:cubicBezTo>
                <a:cubicBezTo>
                  <a:pt x="37" y="305"/>
                  <a:pt x="38" y="303"/>
                  <a:pt x="37" y="302"/>
                </a:cubicBezTo>
                <a:cubicBezTo>
                  <a:pt x="37" y="302"/>
                  <a:pt x="35" y="304"/>
                  <a:pt x="35" y="304"/>
                </a:cubicBezTo>
                <a:close/>
                <a:moveTo>
                  <a:pt x="38" y="304"/>
                </a:moveTo>
                <a:cubicBezTo>
                  <a:pt x="38" y="305"/>
                  <a:pt x="38" y="305"/>
                  <a:pt x="38" y="305"/>
                </a:cubicBezTo>
                <a:cubicBezTo>
                  <a:pt x="37" y="305"/>
                  <a:pt x="37" y="305"/>
                  <a:pt x="37" y="305"/>
                </a:cubicBezTo>
                <a:cubicBezTo>
                  <a:pt x="37" y="306"/>
                  <a:pt x="36" y="306"/>
                  <a:pt x="37" y="306"/>
                </a:cubicBezTo>
                <a:cubicBezTo>
                  <a:pt x="36" y="306"/>
                  <a:pt x="36" y="307"/>
                  <a:pt x="36" y="307"/>
                </a:cubicBezTo>
                <a:cubicBezTo>
                  <a:pt x="36" y="307"/>
                  <a:pt x="38" y="306"/>
                  <a:pt x="38" y="306"/>
                </a:cubicBezTo>
                <a:cubicBezTo>
                  <a:pt x="38" y="306"/>
                  <a:pt x="38" y="304"/>
                  <a:pt x="38" y="304"/>
                </a:cubicBezTo>
                <a:close/>
                <a:moveTo>
                  <a:pt x="40" y="316"/>
                </a:moveTo>
                <a:cubicBezTo>
                  <a:pt x="40" y="316"/>
                  <a:pt x="40" y="317"/>
                  <a:pt x="40" y="318"/>
                </a:cubicBezTo>
                <a:cubicBezTo>
                  <a:pt x="40" y="317"/>
                  <a:pt x="40" y="316"/>
                  <a:pt x="40" y="316"/>
                </a:cubicBezTo>
                <a:close/>
                <a:moveTo>
                  <a:pt x="40" y="319"/>
                </a:moveTo>
                <a:cubicBezTo>
                  <a:pt x="40" y="319"/>
                  <a:pt x="40" y="318"/>
                  <a:pt x="40" y="318"/>
                </a:cubicBezTo>
                <a:cubicBezTo>
                  <a:pt x="40" y="318"/>
                  <a:pt x="40" y="318"/>
                  <a:pt x="40" y="318"/>
                </a:cubicBezTo>
                <a:cubicBezTo>
                  <a:pt x="39" y="318"/>
                  <a:pt x="40" y="319"/>
                  <a:pt x="39" y="319"/>
                </a:cubicBezTo>
                <a:cubicBezTo>
                  <a:pt x="39" y="319"/>
                  <a:pt x="39" y="319"/>
                  <a:pt x="39" y="319"/>
                </a:cubicBezTo>
                <a:cubicBezTo>
                  <a:pt x="39" y="319"/>
                  <a:pt x="39" y="320"/>
                  <a:pt x="39" y="320"/>
                </a:cubicBezTo>
                <a:cubicBezTo>
                  <a:pt x="39" y="320"/>
                  <a:pt x="39" y="320"/>
                  <a:pt x="39" y="320"/>
                </a:cubicBezTo>
                <a:cubicBezTo>
                  <a:pt x="39" y="321"/>
                  <a:pt x="39" y="321"/>
                  <a:pt x="39" y="321"/>
                </a:cubicBezTo>
                <a:cubicBezTo>
                  <a:pt x="39" y="321"/>
                  <a:pt x="40" y="320"/>
                  <a:pt x="40" y="320"/>
                </a:cubicBezTo>
                <a:cubicBezTo>
                  <a:pt x="40" y="320"/>
                  <a:pt x="40" y="319"/>
                  <a:pt x="40" y="319"/>
                </a:cubicBezTo>
                <a:cubicBezTo>
                  <a:pt x="40" y="319"/>
                  <a:pt x="40" y="319"/>
                  <a:pt x="40" y="319"/>
                </a:cubicBezTo>
                <a:close/>
                <a:moveTo>
                  <a:pt x="23" y="291"/>
                </a:moveTo>
                <a:cubicBezTo>
                  <a:pt x="23" y="293"/>
                  <a:pt x="24" y="291"/>
                  <a:pt x="24" y="291"/>
                </a:cubicBezTo>
                <a:cubicBezTo>
                  <a:pt x="25" y="290"/>
                  <a:pt x="25" y="290"/>
                  <a:pt x="25" y="290"/>
                </a:cubicBezTo>
                <a:cubicBezTo>
                  <a:pt x="25" y="289"/>
                  <a:pt x="25" y="289"/>
                  <a:pt x="25" y="289"/>
                </a:cubicBezTo>
                <a:cubicBezTo>
                  <a:pt x="25" y="289"/>
                  <a:pt x="23" y="290"/>
                  <a:pt x="23" y="290"/>
                </a:cubicBezTo>
                <a:cubicBezTo>
                  <a:pt x="23" y="290"/>
                  <a:pt x="22" y="292"/>
                  <a:pt x="23" y="291"/>
                </a:cubicBezTo>
                <a:close/>
                <a:moveTo>
                  <a:pt x="40" y="318"/>
                </a:moveTo>
                <a:cubicBezTo>
                  <a:pt x="40" y="318"/>
                  <a:pt x="41" y="319"/>
                  <a:pt x="41" y="319"/>
                </a:cubicBezTo>
                <a:cubicBezTo>
                  <a:pt x="42" y="319"/>
                  <a:pt x="40" y="318"/>
                  <a:pt x="40" y="318"/>
                </a:cubicBezTo>
                <a:close/>
                <a:moveTo>
                  <a:pt x="34" y="256"/>
                </a:moveTo>
                <a:cubicBezTo>
                  <a:pt x="35" y="256"/>
                  <a:pt x="36" y="255"/>
                  <a:pt x="37" y="255"/>
                </a:cubicBezTo>
                <a:cubicBezTo>
                  <a:pt x="37" y="255"/>
                  <a:pt x="37" y="255"/>
                  <a:pt x="37" y="254"/>
                </a:cubicBezTo>
                <a:cubicBezTo>
                  <a:pt x="37" y="254"/>
                  <a:pt x="36" y="255"/>
                  <a:pt x="35" y="255"/>
                </a:cubicBezTo>
                <a:cubicBezTo>
                  <a:pt x="35" y="255"/>
                  <a:pt x="34" y="256"/>
                  <a:pt x="33" y="256"/>
                </a:cubicBezTo>
                <a:cubicBezTo>
                  <a:pt x="33" y="256"/>
                  <a:pt x="33" y="257"/>
                  <a:pt x="34" y="257"/>
                </a:cubicBezTo>
                <a:cubicBezTo>
                  <a:pt x="34" y="256"/>
                  <a:pt x="34" y="256"/>
                  <a:pt x="34" y="256"/>
                </a:cubicBezTo>
                <a:close/>
                <a:moveTo>
                  <a:pt x="35" y="306"/>
                </a:moveTo>
                <a:cubicBezTo>
                  <a:pt x="35" y="306"/>
                  <a:pt x="35" y="307"/>
                  <a:pt x="35" y="307"/>
                </a:cubicBezTo>
                <a:cubicBezTo>
                  <a:pt x="35" y="307"/>
                  <a:pt x="35" y="307"/>
                  <a:pt x="35" y="307"/>
                </a:cubicBezTo>
                <a:cubicBezTo>
                  <a:pt x="35" y="306"/>
                  <a:pt x="35" y="306"/>
                  <a:pt x="35" y="306"/>
                </a:cubicBezTo>
                <a:cubicBezTo>
                  <a:pt x="35" y="306"/>
                  <a:pt x="36" y="305"/>
                  <a:pt x="36" y="305"/>
                </a:cubicBezTo>
                <a:cubicBezTo>
                  <a:pt x="36" y="305"/>
                  <a:pt x="37" y="304"/>
                  <a:pt x="36" y="304"/>
                </a:cubicBezTo>
                <a:cubicBezTo>
                  <a:pt x="36" y="304"/>
                  <a:pt x="35" y="304"/>
                  <a:pt x="35" y="305"/>
                </a:cubicBezTo>
                <a:cubicBezTo>
                  <a:pt x="34" y="305"/>
                  <a:pt x="35" y="305"/>
                  <a:pt x="35" y="306"/>
                </a:cubicBezTo>
                <a:close/>
                <a:moveTo>
                  <a:pt x="29" y="281"/>
                </a:moveTo>
                <a:cubicBezTo>
                  <a:pt x="30" y="280"/>
                  <a:pt x="31" y="279"/>
                  <a:pt x="32" y="277"/>
                </a:cubicBezTo>
                <a:cubicBezTo>
                  <a:pt x="31" y="277"/>
                  <a:pt x="29" y="279"/>
                  <a:pt x="29" y="280"/>
                </a:cubicBezTo>
                <a:cubicBezTo>
                  <a:pt x="29" y="280"/>
                  <a:pt x="29" y="281"/>
                  <a:pt x="28" y="281"/>
                </a:cubicBezTo>
                <a:cubicBezTo>
                  <a:pt x="28" y="281"/>
                  <a:pt x="27" y="282"/>
                  <a:pt x="27" y="282"/>
                </a:cubicBezTo>
                <a:cubicBezTo>
                  <a:pt x="28" y="282"/>
                  <a:pt x="29" y="281"/>
                  <a:pt x="29" y="281"/>
                </a:cubicBezTo>
                <a:close/>
                <a:moveTo>
                  <a:pt x="33" y="270"/>
                </a:moveTo>
                <a:cubicBezTo>
                  <a:pt x="33" y="269"/>
                  <a:pt x="34" y="269"/>
                  <a:pt x="34" y="269"/>
                </a:cubicBezTo>
                <a:cubicBezTo>
                  <a:pt x="34" y="269"/>
                  <a:pt x="34" y="269"/>
                  <a:pt x="35" y="269"/>
                </a:cubicBezTo>
                <a:cubicBezTo>
                  <a:pt x="35" y="269"/>
                  <a:pt x="35" y="269"/>
                  <a:pt x="35" y="269"/>
                </a:cubicBezTo>
                <a:cubicBezTo>
                  <a:pt x="35" y="268"/>
                  <a:pt x="36" y="268"/>
                  <a:pt x="36" y="268"/>
                </a:cubicBezTo>
                <a:cubicBezTo>
                  <a:pt x="36" y="268"/>
                  <a:pt x="36" y="268"/>
                  <a:pt x="35" y="268"/>
                </a:cubicBezTo>
                <a:cubicBezTo>
                  <a:pt x="35" y="268"/>
                  <a:pt x="35" y="268"/>
                  <a:pt x="34" y="268"/>
                </a:cubicBezTo>
                <a:cubicBezTo>
                  <a:pt x="34" y="268"/>
                  <a:pt x="33" y="268"/>
                  <a:pt x="33" y="268"/>
                </a:cubicBezTo>
                <a:cubicBezTo>
                  <a:pt x="32" y="269"/>
                  <a:pt x="32" y="269"/>
                  <a:pt x="32" y="270"/>
                </a:cubicBezTo>
                <a:cubicBezTo>
                  <a:pt x="31" y="270"/>
                  <a:pt x="31" y="271"/>
                  <a:pt x="30" y="271"/>
                </a:cubicBezTo>
                <a:cubicBezTo>
                  <a:pt x="31" y="271"/>
                  <a:pt x="31" y="271"/>
                  <a:pt x="32" y="271"/>
                </a:cubicBezTo>
                <a:cubicBezTo>
                  <a:pt x="32" y="270"/>
                  <a:pt x="32" y="270"/>
                  <a:pt x="33" y="270"/>
                </a:cubicBezTo>
                <a:close/>
                <a:moveTo>
                  <a:pt x="26" y="285"/>
                </a:moveTo>
                <a:cubicBezTo>
                  <a:pt x="26" y="286"/>
                  <a:pt x="28" y="284"/>
                  <a:pt x="28" y="284"/>
                </a:cubicBezTo>
                <a:cubicBezTo>
                  <a:pt x="28" y="283"/>
                  <a:pt x="25" y="285"/>
                  <a:pt x="26" y="285"/>
                </a:cubicBezTo>
                <a:close/>
                <a:moveTo>
                  <a:pt x="31" y="300"/>
                </a:moveTo>
                <a:cubicBezTo>
                  <a:pt x="31" y="299"/>
                  <a:pt x="32" y="299"/>
                  <a:pt x="32" y="298"/>
                </a:cubicBezTo>
                <a:cubicBezTo>
                  <a:pt x="32" y="298"/>
                  <a:pt x="31" y="298"/>
                  <a:pt x="30" y="299"/>
                </a:cubicBezTo>
                <a:cubicBezTo>
                  <a:pt x="30" y="299"/>
                  <a:pt x="28" y="300"/>
                  <a:pt x="28" y="300"/>
                </a:cubicBezTo>
                <a:cubicBezTo>
                  <a:pt x="29" y="300"/>
                  <a:pt x="29" y="300"/>
                  <a:pt x="30" y="300"/>
                </a:cubicBezTo>
                <a:cubicBezTo>
                  <a:pt x="30" y="300"/>
                  <a:pt x="30" y="300"/>
                  <a:pt x="31" y="300"/>
                </a:cubicBezTo>
                <a:close/>
                <a:moveTo>
                  <a:pt x="22" y="313"/>
                </a:moveTo>
                <a:cubicBezTo>
                  <a:pt x="21" y="313"/>
                  <a:pt x="19" y="314"/>
                  <a:pt x="20" y="315"/>
                </a:cubicBezTo>
                <a:cubicBezTo>
                  <a:pt x="21" y="315"/>
                  <a:pt x="22" y="314"/>
                  <a:pt x="22" y="313"/>
                </a:cubicBezTo>
                <a:close/>
                <a:moveTo>
                  <a:pt x="28" y="281"/>
                </a:moveTo>
                <a:cubicBezTo>
                  <a:pt x="28" y="280"/>
                  <a:pt x="29" y="279"/>
                  <a:pt x="29" y="279"/>
                </a:cubicBezTo>
                <a:cubicBezTo>
                  <a:pt x="29" y="279"/>
                  <a:pt x="29" y="279"/>
                  <a:pt x="29" y="279"/>
                </a:cubicBezTo>
                <a:cubicBezTo>
                  <a:pt x="28" y="279"/>
                  <a:pt x="28" y="279"/>
                  <a:pt x="27" y="279"/>
                </a:cubicBezTo>
                <a:cubicBezTo>
                  <a:pt x="27" y="279"/>
                  <a:pt x="27" y="279"/>
                  <a:pt x="27" y="280"/>
                </a:cubicBezTo>
                <a:cubicBezTo>
                  <a:pt x="27" y="280"/>
                  <a:pt x="27" y="280"/>
                  <a:pt x="26" y="280"/>
                </a:cubicBezTo>
                <a:cubicBezTo>
                  <a:pt x="26" y="280"/>
                  <a:pt x="26" y="280"/>
                  <a:pt x="26" y="280"/>
                </a:cubicBezTo>
                <a:cubicBezTo>
                  <a:pt x="26" y="280"/>
                  <a:pt x="25" y="280"/>
                  <a:pt x="26" y="280"/>
                </a:cubicBezTo>
                <a:cubicBezTo>
                  <a:pt x="26" y="281"/>
                  <a:pt x="26" y="280"/>
                  <a:pt x="26" y="280"/>
                </a:cubicBezTo>
                <a:cubicBezTo>
                  <a:pt x="26" y="281"/>
                  <a:pt x="28" y="281"/>
                  <a:pt x="28" y="281"/>
                </a:cubicBezTo>
                <a:close/>
                <a:moveTo>
                  <a:pt x="4" y="276"/>
                </a:moveTo>
                <a:cubicBezTo>
                  <a:pt x="4" y="277"/>
                  <a:pt x="6" y="276"/>
                  <a:pt x="7" y="276"/>
                </a:cubicBezTo>
                <a:cubicBezTo>
                  <a:pt x="7" y="275"/>
                  <a:pt x="6" y="275"/>
                  <a:pt x="6" y="275"/>
                </a:cubicBezTo>
                <a:cubicBezTo>
                  <a:pt x="5" y="275"/>
                  <a:pt x="4" y="275"/>
                  <a:pt x="4" y="27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1" name="Cameroon"/>
          <p:cNvSpPr>
            <a:spLocks/>
          </p:cNvSpPr>
          <p:nvPr/>
        </p:nvSpPr>
        <p:spPr bwMode="auto">
          <a:xfrm>
            <a:off x="6092072" y="4142956"/>
            <a:ext cx="270990" cy="458983"/>
          </a:xfrm>
          <a:custGeom>
            <a:avLst/>
            <a:gdLst/>
            <a:ahLst/>
            <a:cxnLst>
              <a:cxn ang="0">
                <a:pos x="74" y="115"/>
              </a:cxn>
              <a:cxn ang="0">
                <a:pos x="73" y="112"/>
              </a:cxn>
              <a:cxn ang="0">
                <a:pos x="64" y="102"/>
              </a:cxn>
              <a:cxn ang="0">
                <a:pos x="63" y="96"/>
              </a:cxn>
              <a:cxn ang="0">
                <a:pos x="59" y="87"/>
              </a:cxn>
              <a:cxn ang="0">
                <a:pos x="59" y="82"/>
              </a:cxn>
              <a:cxn ang="0">
                <a:pos x="59" y="76"/>
              </a:cxn>
              <a:cxn ang="0">
                <a:pos x="65" y="67"/>
              </a:cxn>
              <a:cxn ang="0">
                <a:pos x="68" y="61"/>
              </a:cxn>
              <a:cxn ang="0">
                <a:pos x="66" y="54"/>
              </a:cxn>
              <a:cxn ang="0">
                <a:pos x="63" y="49"/>
              </a:cxn>
              <a:cxn ang="0">
                <a:pos x="60" y="46"/>
              </a:cxn>
              <a:cxn ang="0">
                <a:pos x="53" y="37"/>
              </a:cxn>
              <a:cxn ang="0">
                <a:pos x="62" y="35"/>
              </a:cxn>
              <a:cxn ang="0">
                <a:pos x="68" y="34"/>
              </a:cxn>
              <a:cxn ang="0">
                <a:pos x="64" y="26"/>
              </a:cxn>
              <a:cxn ang="0">
                <a:pos x="63" y="16"/>
              </a:cxn>
              <a:cxn ang="0">
                <a:pos x="62" y="11"/>
              </a:cxn>
              <a:cxn ang="0">
                <a:pos x="60" y="5"/>
              </a:cxn>
              <a:cxn ang="0">
                <a:pos x="58" y="2"/>
              </a:cxn>
              <a:cxn ang="0">
                <a:pos x="55" y="7"/>
              </a:cxn>
              <a:cxn ang="0">
                <a:pos x="59" y="11"/>
              </a:cxn>
              <a:cxn ang="0">
                <a:pos x="59" y="17"/>
              </a:cxn>
              <a:cxn ang="0">
                <a:pos x="51" y="23"/>
              </a:cxn>
              <a:cxn ang="0">
                <a:pos x="48" y="33"/>
              </a:cxn>
              <a:cxn ang="0">
                <a:pos x="46" y="37"/>
              </a:cxn>
              <a:cxn ang="0">
                <a:pos x="42" y="45"/>
              </a:cxn>
              <a:cxn ang="0">
                <a:pos x="39" y="49"/>
              </a:cxn>
              <a:cxn ang="0">
                <a:pos x="37" y="52"/>
              </a:cxn>
              <a:cxn ang="0">
                <a:pos x="34" y="60"/>
              </a:cxn>
              <a:cxn ang="0">
                <a:pos x="31" y="67"/>
              </a:cxn>
              <a:cxn ang="0">
                <a:pos x="28" y="72"/>
              </a:cxn>
              <a:cxn ang="0">
                <a:pos x="23" y="69"/>
              </a:cxn>
              <a:cxn ang="0">
                <a:pos x="19" y="68"/>
              </a:cxn>
              <a:cxn ang="0">
                <a:pos x="13" y="70"/>
              </a:cxn>
              <a:cxn ang="0">
                <a:pos x="9" y="74"/>
              </a:cxn>
              <a:cxn ang="0">
                <a:pos x="5" y="79"/>
              </a:cxn>
              <a:cxn ang="0">
                <a:pos x="4" y="83"/>
              </a:cxn>
              <a:cxn ang="0">
                <a:pos x="1" y="91"/>
              </a:cxn>
              <a:cxn ang="0">
                <a:pos x="0" y="95"/>
              </a:cxn>
              <a:cxn ang="0">
                <a:pos x="1" y="92"/>
              </a:cxn>
              <a:cxn ang="0">
                <a:pos x="3" y="93"/>
              </a:cxn>
              <a:cxn ang="0">
                <a:pos x="4" y="97"/>
              </a:cxn>
              <a:cxn ang="0">
                <a:pos x="8" y="100"/>
              </a:cxn>
              <a:cxn ang="0">
                <a:pos x="10" y="100"/>
              </a:cxn>
              <a:cxn ang="0">
                <a:pos x="11" y="99"/>
              </a:cxn>
              <a:cxn ang="0">
                <a:pos x="11" y="101"/>
              </a:cxn>
              <a:cxn ang="0">
                <a:pos x="11" y="103"/>
              </a:cxn>
              <a:cxn ang="0">
                <a:pos x="13" y="104"/>
              </a:cxn>
              <a:cxn ang="0">
                <a:pos x="14" y="110"/>
              </a:cxn>
              <a:cxn ang="0">
                <a:pos x="13" y="120"/>
              </a:cxn>
              <a:cxn ang="0">
                <a:pos x="29" y="119"/>
              </a:cxn>
              <a:cxn ang="0">
                <a:pos x="39" y="119"/>
              </a:cxn>
              <a:cxn ang="0">
                <a:pos x="46" y="119"/>
              </a:cxn>
              <a:cxn ang="0">
                <a:pos x="57" y="120"/>
              </a:cxn>
              <a:cxn ang="0">
                <a:pos x="60" y="121"/>
              </a:cxn>
              <a:cxn ang="0">
                <a:pos x="64" y="122"/>
              </a:cxn>
              <a:cxn ang="0">
                <a:pos x="72" y="125"/>
              </a:cxn>
              <a:cxn ang="0">
                <a:pos x="74" y="121"/>
              </a:cxn>
            </a:cxnLst>
            <a:rect l="0" t="0" r="r" b="b"/>
            <a:pathLst>
              <a:path w="75" h="127">
                <a:moveTo>
                  <a:pt x="75" y="120"/>
                </a:moveTo>
                <a:cubicBezTo>
                  <a:pt x="75" y="120"/>
                  <a:pt x="74" y="119"/>
                  <a:pt x="74" y="118"/>
                </a:cubicBezTo>
                <a:cubicBezTo>
                  <a:pt x="74" y="118"/>
                  <a:pt x="74" y="117"/>
                  <a:pt x="74" y="116"/>
                </a:cubicBezTo>
                <a:cubicBezTo>
                  <a:pt x="74" y="115"/>
                  <a:pt x="74" y="115"/>
                  <a:pt x="74" y="115"/>
                </a:cubicBezTo>
                <a:cubicBezTo>
                  <a:pt x="74" y="114"/>
                  <a:pt x="74" y="115"/>
                  <a:pt x="73" y="115"/>
                </a:cubicBezTo>
                <a:cubicBezTo>
                  <a:pt x="73" y="114"/>
                  <a:pt x="73" y="114"/>
                  <a:pt x="74" y="113"/>
                </a:cubicBezTo>
                <a:cubicBezTo>
                  <a:pt x="74" y="113"/>
                  <a:pt x="74" y="113"/>
                  <a:pt x="74" y="112"/>
                </a:cubicBezTo>
                <a:cubicBezTo>
                  <a:pt x="74" y="112"/>
                  <a:pt x="73" y="112"/>
                  <a:pt x="73" y="112"/>
                </a:cubicBezTo>
                <a:cubicBezTo>
                  <a:pt x="73" y="111"/>
                  <a:pt x="73" y="112"/>
                  <a:pt x="72" y="111"/>
                </a:cubicBezTo>
                <a:cubicBezTo>
                  <a:pt x="72" y="110"/>
                  <a:pt x="71" y="111"/>
                  <a:pt x="71" y="110"/>
                </a:cubicBezTo>
                <a:cubicBezTo>
                  <a:pt x="70" y="110"/>
                  <a:pt x="70" y="109"/>
                  <a:pt x="69" y="108"/>
                </a:cubicBezTo>
                <a:cubicBezTo>
                  <a:pt x="68" y="106"/>
                  <a:pt x="66" y="104"/>
                  <a:pt x="64" y="102"/>
                </a:cubicBezTo>
                <a:cubicBezTo>
                  <a:pt x="64" y="102"/>
                  <a:pt x="64" y="101"/>
                  <a:pt x="63" y="100"/>
                </a:cubicBezTo>
                <a:cubicBezTo>
                  <a:pt x="63" y="100"/>
                  <a:pt x="64" y="100"/>
                  <a:pt x="65" y="100"/>
                </a:cubicBezTo>
                <a:cubicBezTo>
                  <a:pt x="64" y="100"/>
                  <a:pt x="64" y="99"/>
                  <a:pt x="64" y="99"/>
                </a:cubicBezTo>
                <a:cubicBezTo>
                  <a:pt x="64" y="98"/>
                  <a:pt x="64" y="97"/>
                  <a:pt x="63" y="96"/>
                </a:cubicBezTo>
                <a:cubicBezTo>
                  <a:pt x="63" y="96"/>
                  <a:pt x="62" y="95"/>
                  <a:pt x="62" y="95"/>
                </a:cubicBezTo>
                <a:cubicBezTo>
                  <a:pt x="60" y="94"/>
                  <a:pt x="60" y="93"/>
                  <a:pt x="60" y="91"/>
                </a:cubicBezTo>
                <a:cubicBezTo>
                  <a:pt x="60" y="90"/>
                  <a:pt x="60" y="90"/>
                  <a:pt x="60" y="89"/>
                </a:cubicBezTo>
                <a:cubicBezTo>
                  <a:pt x="60" y="88"/>
                  <a:pt x="60" y="87"/>
                  <a:pt x="59" y="87"/>
                </a:cubicBezTo>
                <a:cubicBezTo>
                  <a:pt x="59" y="87"/>
                  <a:pt x="58" y="86"/>
                  <a:pt x="59" y="86"/>
                </a:cubicBezTo>
                <a:cubicBezTo>
                  <a:pt x="59" y="85"/>
                  <a:pt x="59" y="85"/>
                  <a:pt x="59" y="84"/>
                </a:cubicBezTo>
                <a:cubicBezTo>
                  <a:pt x="59" y="83"/>
                  <a:pt x="59" y="83"/>
                  <a:pt x="59" y="83"/>
                </a:cubicBezTo>
                <a:cubicBezTo>
                  <a:pt x="59" y="82"/>
                  <a:pt x="59" y="82"/>
                  <a:pt x="59" y="82"/>
                </a:cubicBezTo>
                <a:cubicBezTo>
                  <a:pt x="59" y="81"/>
                  <a:pt x="59" y="80"/>
                  <a:pt x="59" y="80"/>
                </a:cubicBezTo>
                <a:cubicBezTo>
                  <a:pt x="59" y="79"/>
                  <a:pt x="59" y="79"/>
                  <a:pt x="58" y="79"/>
                </a:cubicBezTo>
                <a:cubicBezTo>
                  <a:pt x="58" y="79"/>
                  <a:pt x="58" y="79"/>
                  <a:pt x="57" y="78"/>
                </a:cubicBezTo>
                <a:cubicBezTo>
                  <a:pt x="57" y="77"/>
                  <a:pt x="59" y="76"/>
                  <a:pt x="59" y="76"/>
                </a:cubicBezTo>
                <a:cubicBezTo>
                  <a:pt x="61" y="75"/>
                  <a:pt x="61" y="74"/>
                  <a:pt x="62" y="73"/>
                </a:cubicBezTo>
                <a:cubicBezTo>
                  <a:pt x="62" y="72"/>
                  <a:pt x="62" y="71"/>
                  <a:pt x="63" y="70"/>
                </a:cubicBezTo>
                <a:cubicBezTo>
                  <a:pt x="63" y="70"/>
                  <a:pt x="64" y="69"/>
                  <a:pt x="64" y="68"/>
                </a:cubicBezTo>
                <a:cubicBezTo>
                  <a:pt x="64" y="68"/>
                  <a:pt x="64" y="67"/>
                  <a:pt x="65" y="67"/>
                </a:cubicBezTo>
                <a:cubicBezTo>
                  <a:pt x="65" y="66"/>
                  <a:pt x="65" y="65"/>
                  <a:pt x="65" y="65"/>
                </a:cubicBezTo>
                <a:cubicBezTo>
                  <a:pt x="66" y="64"/>
                  <a:pt x="67" y="64"/>
                  <a:pt x="67" y="63"/>
                </a:cubicBezTo>
                <a:cubicBezTo>
                  <a:pt x="67" y="63"/>
                  <a:pt x="67" y="63"/>
                  <a:pt x="67" y="62"/>
                </a:cubicBezTo>
                <a:cubicBezTo>
                  <a:pt x="67" y="62"/>
                  <a:pt x="68" y="62"/>
                  <a:pt x="68" y="61"/>
                </a:cubicBezTo>
                <a:cubicBezTo>
                  <a:pt x="68" y="61"/>
                  <a:pt x="69" y="60"/>
                  <a:pt x="68" y="59"/>
                </a:cubicBezTo>
                <a:cubicBezTo>
                  <a:pt x="68" y="59"/>
                  <a:pt x="68" y="59"/>
                  <a:pt x="68" y="59"/>
                </a:cubicBezTo>
                <a:cubicBezTo>
                  <a:pt x="67" y="58"/>
                  <a:pt x="67" y="57"/>
                  <a:pt x="67" y="56"/>
                </a:cubicBezTo>
                <a:cubicBezTo>
                  <a:pt x="67" y="56"/>
                  <a:pt x="66" y="55"/>
                  <a:pt x="66" y="54"/>
                </a:cubicBezTo>
                <a:cubicBezTo>
                  <a:pt x="66" y="53"/>
                  <a:pt x="65" y="53"/>
                  <a:pt x="65" y="52"/>
                </a:cubicBezTo>
                <a:cubicBezTo>
                  <a:pt x="65" y="51"/>
                  <a:pt x="64" y="51"/>
                  <a:pt x="64" y="50"/>
                </a:cubicBezTo>
                <a:cubicBezTo>
                  <a:pt x="64" y="50"/>
                  <a:pt x="64" y="49"/>
                  <a:pt x="63" y="49"/>
                </a:cubicBezTo>
                <a:cubicBezTo>
                  <a:pt x="63" y="49"/>
                  <a:pt x="63" y="49"/>
                  <a:pt x="63" y="49"/>
                </a:cubicBezTo>
                <a:cubicBezTo>
                  <a:pt x="62" y="49"/>
                  <a:pt x="63" y="48"/>
                  <a:pt x="62" y="48"/>
                </a:cubicBezTo>
                <a:cubicBezTo>
                  <a:pt x="62" y="48"/>
                  <a:pt x="62" y="48"/>
                  <a:pt x="62" y="47"/>
                </a:cubicBezTo>
                <a:cubicBezTo>
                  <a:pt x="61" y="47"/>
                  <a:pt x="61" y="47"/>
                  <a:pt x="61" y="47"/>
                </a:cubicBezTo>
                <a:cubicBezTo>
                  <a:pt x="60" y="47"/>
                  <a:pt x="60" y="47"/>
                  <a:pt x="60" y="46"/>
                </a:cubicBezTo>
                <a:cubicBezTo>
                  <a:pt x="59" y="46"/>
                  <a:pt x="58" y="44"/>
                  <a:pt x="57" y="43"/>
                </a:cubicBezTo>
                <a:cubicBezTo>
                  <a:pt x="56" y="42"/>
                  <a:pt x="56" y="42"/>
                  <a:pt x="55" y="40"/>
                </a:cubicBezTo>
                <a:cubicBezTo>
                  <a:pt x="54" y="40"/>
                  <a:pt x="54" y="39"/>
                  <a:pt x="53" y="38"/>
                </a:cubicBezTo>
                <a:cubicBezTo>
                  <a:pt x="53" y="38"/>
                  <a:pt x="53" y="38"/>
                  <a:pt x="53" y="37"/>
                </a:cubicBezTo>
                <a:cubicBezTo>
                  <a:pt x="54" y="37"/>
                  <a:pt x="54" y="36"/>
                  <a:pt x="55" y="35"/>
                </a:cubicBezTo>
                <a:cubicBezTo>
                  <a:pt x="55" y="35"/>
                  <a:pt x="55" y="35"/>
                  <a:pt x="55" y="35"/>
                </a:cubicBezTo>
                <a:cubicBezTo>
                  <a:pt x="57" y="34"/>
                  <a:pt x="59" y="35"/>
                  <a:pt x="60" y="35"/>
                </a:cubicBezTo>
                <a:cubicBezTo>
                  <a:pt x="61" y="35"/>
                  <a:pt x="62" y="35"/>
                  <a:pt x="62" y="35"/>
                </a:cubicBezTo>
                <a:cubicBezTo>
                  <a:pt x="63" y="35"/>
                  <a:pt x="64" y="35"/>
                  <a:pt x="64" y="35"/>
                </a:cubicBezTo>
                <a:cubicBezTo>
                  <a:pt x="65" y="34"/>
                  <a:pt x="67" y="35"/>
                  <a:pt x="68" y="35"/>
                </a:cubicBezTo>
                <a:cubicBezTo>
                  <a:pt x="68" y="35"/>
                  <a:pt x="69" y="35"/>
                  <a:pt x="69" y="34"/>
                </a:cubicBezTo>
                <a:cubicBezTo>
                  <a:pt x="69" y="34"/>
                  <a:pt x="69" y="34"/>
                  <a:pt x="68" y="34"/>
                </a:cubicBezTo>
                <a:cubicBezTo>
                  <a:pt x="67" y="33"/>
                  <a:pt x="67" y="32"/>
                  <a:pt x="66" y="31"/>
                </a:cubicBezTo>
                <a:cubicBezTo>
                  <a:pt x="65" y="30"/>
                  <a:pt x="65" y="30"/>
                  <a:pt x="65" y="29"/>
                </a:cubicBezTo>
                <a:cubicBezTo>
                  <a:pt x="64" y="29"/>
                  <a:pt x="64" y="29"/>
                  <a:pt x="64" y="28"/>
                </a:cubicBezTo>
                <a:cubicBezTo>
                  <a:pt x="64" y="27"/>
                  <a:pt x="64" y="27"/>
                  <a:pt x="64" y="26"/>
                </a:cubicBezTo>
                <a:cubicBezTo>
                  <a:pt x="63" y="25"/>
                  <a:pt x="63" y="25"/>
                  <a:pt x="63" y="24"/>
                </a:cubicBezTo>
                <a:cubicBezTo>
                  <a:pt x="63" y="22"/>
                  <a:pt x="63" y="21"/>
                  <a:pt x="63" y="19"/>
                </a:cubicBezTo>
                <a:cubicBezTo>
                  <a:pt x="63" y="18"/>
                  <a:pt x="64" y="18"/>
                  <a:pt x="64" y="17"/>
                </a:cubicBezTo>
                <a:cubicBezTo>
                  <a:pt x="64" y="17"/>
                  <a:pt x="63" y="16"/>
                  <a:pt x="63" y="16"/>
                </a:cubicBezTo>
                <a:cubicBezTo>
                  <a:pt x="63" y="15"/>
                  <a:pt x="64" y="15"/>
                  <a:pt x="63" y="14"/>
                </a:cubicBezTo>
                <a:cubicBezTo>
                  <a:pt x="63" y="14"/>
                  <a:pt x="63" y="13"/>
                  <a:pt x="63" y="13"/>
                </a:cubicBezTo>
                <a:cubicBezTo>
                  <a:pt x="63" y="13"/>
                  <a:pt x="63" y="12"/>
                  <a:pt x="63" y="12"/>
                </a:cubicBezTo>
                <a:cubicBezTo>
                  <a:pt x="63" y="11"/>
                  <a:pt x="62" y="12"/>
                  <a:pt x="62" y="11"/>
                </a:cubicBezTo>
                <a:cubicBezTo>
                  <a:pt x="62" y="11"/>
                  <a:pt x="62" y="10"/>
                  <a:pt x="62" y="9"/>
                </a:cubicBezTo>
                <a:cubicBezTo>
                  <a:pt x="62" y="8"/>
                  <a:pt x="61" y="8"/>
                  <a:pt x="61" y="7"/>
                </a:cubicBezTo>
                <a:cubicBezTo>
                  <a:pt x="61" y="7"/>
                  <a:pt x="61" y="6"/>
                  <a:pt x="61" y="5"/>
                </a:cubicBezTo>
                <a:cubicBezTo>
                  <a:pt x="61" y="5"/>
                  <a:pt x="60" y="5"/>
                  <a:pt x="60" y="5"/>
                </a:cubicBezTo>
                <a:cubicBezTo>
                  <a:pt x="60" y="5"/>
                  <a:pt x="60" y="5"/>
                  <a:pt x="59" y="5"/>
                </a:cubicBezTo>
                <a:cubicBezTo>
                  <a:pt x="59" y="4"/>
                  <a:pt x="59" y="4"/>
                  <a:pt x="59" y="4"/>
                </a:cubicBezTo>
                <a:cubicBezTo>
                  <a:pt x="59" y="4"/>
                  <a:pt x="58" y="4"/>
                  <a:pt x="58" y="4"/>
                </a:cubicBezTo>
                <a:cubicBezTo>
                  <a:pt x="58" y="3"/>
                  <a:pt x="58" y="3"/>
                  <a:pt x="58" y="2"/>
                </a:cubicBezTo>
                <a:cubicBezTo>
                  <a:pt x="58" y="2"/>
                  <a:pt x="58" y="1"/>
                  <a:pt x="57" y="1"/>
                </a:cubicBezTo>
                <a:cubicBezTo>
                  <a:pt x="56" y="0"/>
                  <a:pt x="55" y="0"/>
                  <a:pt x="54" y="0"/>
                </a:cubicBezTo>
                <a:cubicBezTo>
                  <a:pt x="54" y="2"/>
                  <a:pt x="54" y="4"/>
                  <a:pt x="55" y="5"/>
                </a:cubicBezTo>
                <a:cubicBezTo>
                  <a:pt x="55" y="6"/>
                  <a:pt x="55" y="7"/>
                  <a:pt x="55" y="7"/>
                </a:cubicBezTo>
                <a:cubicBezTo>
                  <a:pt x="55" y="8"/>
                  <a:pt x="55" y="8"/>
                  <a:pt x="55" y="9"/>
                </a:cubicBezTo>
                <a:cubicBezTo>
                  <a:pt x="56" y="9"/>
                  <a:pt x="58" y="8"/>
                  <a:pt x="58" y="9"/>
                </a:cubicBezTo>
                <a:cubicBezTo>
                  <a:pt x="58" y="10"/>
                  <a:pt x="58" y="10"/>
                  <a:pt x="59" y="10"/>
                </a:cubicBezTo>
                <a:cubicBezTo>
                  <a:pt x="59" y="10"/>
                  <a:pt x="60" y="11"/>
                  <a:pt x="59" y="11"/>
                </a:cubicBezTo>
                <a:cubicBezTo>
                  <a:pt x="59" y="12"/>
                  <a:pt x="59" y="12"/>
                  <a:pt x="59" y="13"/>
                </a:cubicBezTo>
                <a:cubicBezTo>
                  <a:pt x="59" y="13"/>
                  <a:pt x="59" y="14"/>
                  <a:pt x="59" y="15"/>
                </a:cubicBezTo>
                <a:cubicBezTo>
                  <a:pt x="59" y="15"/>
                  <a:pt x="58" y="16"/>
                  <a:pt x="59" y="16"/>
                </a:cubicBezTo>
                <a:cubicBezTo>
                  <a:pt x="59" y="16"/>
                  <a:pt x="59" y="17"/>
                  <a:pt x="59" y="17"/>
                </a:cubicBezTo>
                <a:cubicBezTo>
                  <a:pt x="59" y="18"/>
                  <a:pt x="57" y="19"/>
                  <a:pt x="57" y="19"/>
                </a:cubicBezTo>
                <a:cubicBezTo>
                  <a:pt x="56" y="20"/>
                  <a:pt x="56" y="20"/>
                  <a:pt x="55" y="21"/>
                </a:cubicBezTo>
                <a:cubicBezTo>
                  <a:pt x="55" y="21"/>
                  <a:pt x="54" y="21"/>
                  <a:pt x="54" y="20"/>
                </a:cubicBezTo>
                <a:cubicBezTo>
                  <a:pt x="52" y="20"/>
                  <a:pt x="52" y="22"/>
                  <a:pt x="51" y="23"/>
                </a:cubicBezTo>
                <a:cubicBezTo>
                  <a:pt x="51" y="23"/>
                  <a:pt x="51" y="23"/>
                  <a:pt x="51" y="24"/>
                </a:cubicBezTo>
                <a:cubicBezTo>
                  <a:pt x="51" y="24"/>
                  <a:pt x="50" y="25"/>
                  <a:pt x="50" y="25"/>
                </a:cubicBezTo>
                <a:cubicBezTo>
                  <a:pt x="49" y="27"/>
                  <a:pt x="49" y="28"/>
                  <a:pt x="48" y="29"/>
                </a:cubicBezTo>
                <a:cubicBezTo>
                  <a:pt x="48" y="30"/>
                  <a:pt x="48" y="32"/>
                  <a:pt x="48" y="33"/>
                </a:cubicBezTo>
                <a:cubicBezTo>
                  <a:pt x="47" y="33"/>
                  <a:pt x="47" y="33"/>
                  <a:pt x="46" y="33"/>
                </a:cubicBezTo>
                <a:cubicBezTo>
                  <a:pt x="46" y="34"/>
                  <a:pt x="46" y="34"/>
                  <a:pt x="46" y="34"/>
                </a:cubicBezTo>
                <a:cubicBezTo>
                  <a:pt x="46" y="35"/>
                  <a:pt x="46" y="35"/>
                  <a:pt x="46" y="36"/>
                </a:cubicBezTo>
                <a:cubicBezTo>
                  <a:pt x="46" y="36"/>
                  <a:pt x="46" y="36"/>
                  <a:pt x="46" y="37"/>
                </a:cubicBezTo>
                <a:cubicBezTo>
                  <a:pt x="46" y="38"/>
                  <a:pt x="46" y="40"/>
                  <a:pt x="45" y="40"/>
                </a:cubicBezTo>
                <a:cubicBezTo>
                  <a:pt x="44" y="40"/>
                  <a:pt x="44" y="40"/>
                  <a:pt x="43" y="40"/>
                </a:cubicBezTo>
                <a:cubicBezTo>
                  <a:pt x="43" y="41"/>
                  <a:pt x="42" y="41"/>
                  <a:pt x="42" y="41"/>
                </a:cubicBezTo>
                <a:cubicBezTo>
                  <a:pt x="43" y="42"/>
                  <a:pt x="42" y="44"/>
                  <a:pt x="42" y="45"/>
                </a:cubicBezTo>
                <a:cubicBezTo>
                  <a:pt x="42" y="46"/>
                  <a:pt x="42" y="47"/>
                  <a:pt x="42" y="48"/>
                </a:cubicBezTo>
                <a:cubicBezTo>
                  <a:pt x="42" y="48"/>
                  <a:pt x="41" y="48"/>
                  <a:pt x="41" y="48"/>
                </a:cubicBezTo>
                <a:cubicBezTo>
                  <a:pt x="41" y="49"/>
                  <a:pt x="41" y="49"/>
                  <a:pt x="40" y="49"/>
                </a:cubicBezTo>
                <a:cubicBezTo>
                  <a:pt x="40" y="50"/>
                  <a:pt x="39" y="50"/>
                  <a:pt x="39" y="49"/>
                </a:cubicBezTo>
                <a:cubicBezTo>
                  <a:pt x="38" y="49"/>
                  <a:pt x="38" y="50"/>
                  <a:pt x="38" y="50"/>
                </a:cubicBezTo>
                <a:cubicBezTo>
                  <a:pt x="38" y="50"/>
                  <a:pt x="38" y="51"/>
                  <a:pt x="38" y="51"/>
                </a:cubicBezTo>
                <a:cubicBezTo>
                  <a:pt x="38" y="51"/>
                  <a:pt x="37" y="52"/>
                  <a:pt x="37" y="52"/>
                </a:cubicBezTo>
                <a:cubicBezTo>
                  <a:pt x="37" y="52"/>
                  <a:pt x="37" y="52"/>
                  <a:pt x="37" y="52"/>
                </a:cubicBezTo>
                <a:cubicBezTo>
                  <a:pt x="36" y="52"/>
                  <a:pt x="36" y="53"/>
                  <a:pt x="36" y="54"/>
                </a:cubicBezTo>
                <a:cubicBezTo>
                  <a:pt x="36" y="54"/>
                  <a:pt x="36" y="55"/>
                  <a:pt x="36" y="55"/>
                </a:cubicBezTo>
                <a:cubicBezTo>
                  <a:pt x="36" y="56"/>
                  <a:pt x="36" y="56"/>
                  <a:pt x="36" y="57"/>
                </a:cubicBezTo>
                <a:cubicBezTo>
                  <a:pt x="35" y="58"/>
                  <a:pt x="34" y="59"/>
                  <a:pt x="34" y="60"/>
                </a:cubicBezTo>
                <a:cubicBezTo>
                  <a:pt x="35" y="61"/>
                  <a:pt x="33" y="62"/>
                  <a:pt x="33" y="63"/>
                </a:cubicBezTo>
                <a:cubicBezTo>
                  <a:pt x="32" y="63"/>
                  <a:pt x="31" y="64"/>
                  <a:pt x="32" y="65"/>
                </a:cubicBezTo>
                <a:cubicBezTo>
                  <a:pt x="32" y="65"/>
                  <a:pt x="33" y="66"/>
                  <a:pt x="32" y="67"/>
                </a:cubicBezTo>
                <a:cubicBezTo>
                  <a:pt x="32" y="67"/>
                  <a:pt x="32" y="67"/>
                  <a:pt x="31" y="67"/>
                </a:cubicBezTo>
                <a:cubicBezTo>
                  <a:pt x="31" y="67"/>
                  <a:pt x="30" y="68"/>
                  <a:pt x="30" y="68"/>
                </a:cubicBezTo>
                <a:cubicBezTo>
                  <a:pt x="29" y="69"/>
                  <a:pt x="30" y="70"/>
                  <a:pt x="30" y="71"/>
                </a:cubicBezTo>
                <a:cubicBezTo>
                  <a:pt x="30" y="71"/>
                  <a:pt x="29" y="72"/>
                  <a:pt x="29" y="72"/>
                </a:cubicBezTo>
                <a:cubicBezTo>
                  <a:pt x="29" y="72"/>
                  <a:pt x="28" y="72"/>
                  <a:pt x="28" y="72"/>
                </a:cubicBezTo>
                <a:cubicBezTo>
                  <a:pt x="28" y="73"/>
                  <a:pt x="28" y="73"/>
                  <a:pt x="27" y="74"/>
                </a:cubicBezTo>
                <a:cubicBezTo>
                  <a:pt x="26" y="74"/>
                  <a:pt x="25" y="74"/>
                  <a:pt x="25" y="73"/>
                </a:cubicBezTo>
                <a:cubicBezTo>
                  <a:pt x="25" y="72"/>
                  <a:pt x="25" y="71"/>
                  <a:pt x="25" y="70"/>
                </a:cubicBezTo>
                <a:cubicBezTo>
                  <a:pt x="24" y="70"/>
                  <a:pt x="23" y="70"/>
                  <a:pt x="23" y="69"/>
                </a:cubicBezTo>
                <a:cubicBezTo>
                  <a:pt x="23" y="68"/>
                  <a:pt x="23" y="68"/>
                  <a:pt x="22" y="67"/>
                </a:cubicBezTo>
                <a:cubicBezTo>
                  <a:pt x="22" y="67"/>
                  <a:pt x="20" y="66"/>
                  <a:pt x="20" y="66"/>
                </a:cubicBezTo>
                <a:cubicBezTo>
                  <a:pt x="20" y="66"/>
                  <a:pt x="20" y="67"/>
                  <a:pt x="20" y="67"/>
                </a:cubicBezTo>
                <a:cubicBezTo>
                  <a:pt x="20" y="68"/>
                  <a:pt x="20" y="68"/>
                  <a:pt x="19" y="68"/>
                </a:cubicBezTo>
                <a:cubicBezTo>
                  <a:pt x="19" y="69"/>
                  <a:pt x="17" y="69"/>
                  <a:pt x="17" y="69"/>
                </a:cubicBezTo>
                <a:cubicBezTo>
                  <a:pt x="16" y="68"/>
                  <a:pt x="17" y="67"/>
                  <a:pt x="16" y="67"/>
                </a:cubicBezTo>
                <a:cubicBezTo>
                  <a:pt x="15" y="68"/>
                  <a:pt x="14" y="69"/>
                  <a:pt x="14" y="69"/>
                </a:cubicBezTo>
                <a:cubicBezTo>
                  <a:pt x="13" y="70"/>
                  <a:pt x="13" y="69"/>
                  <a:pt x="13" y="70"/>
                </a:cubicBezTo>
                <a:cubicBezTo>
                  <a:pt x="12" y="70"/>
                  <a:pt x="12" y="70"/>
                  <a:pt x="12" y="71"/>
                </a:cubicBezTo>
                <a:cubicBezTo>
                  <a:pt x="12" y="71"/>
                  <a:pt x="12" y="72"/>
                  <a:pt x="12" y="73"/>
                </a:cubicBezTo>
                <a:cubicBezTo>
                  <a:pt x="11" y="73"/>
                  <a:pt x="11" y="72"/>
                  <a:pt x="10" y="73"/>
                </a:cubicBezTo>
                <a:cubicBezTo>
                  <a:pt x="10" y="74"/>
                  <a:pt x="10" y="74"/>
                  <a:pt x="9" y="74"/>
                </a:cubicBezTo>
                <a:cubicBezTo>
                  <a:pt x="9" y="74"/>
                  <a:pt x="9" y="75"/>
                  <a:pt x="8" y="75"/>
                </a:cubicBezTo>
                <a:cubicBezTo>
                  <a:pt x="8" y="75"/>
                  <a:pt x="8" y="75"/>
                  <a:pt x="8" y="76"/>
                </a:cubicBezTo>
                <a:cubicBezTo>
                  <a:pt x="7" y="77"/>
                  <a:pt x="6" y="78"/>
                  <a:pt x="5" y="79"/>
                </a:cubicBezTo>
                <a:cubicBezTo>
                  <a:pt x="5" y="79"/>
                  <a:pt x="5" y="80"/>
                  <a:pt x="5" y="79"/>
                </a:cubicBezTo>
                <a:cubicBezTo>
                  <a:pt x="4" y="79"/>
                  <a:pt x="4" y="79"/>
                  <a:pt x="4" y="80"/>
                </a:cubicBezTo>
                <a:cubicBezTo>
                  <a:pt x="3" y="80"/>
                  <a:pt x="4" y="80"/>
                  <a:pt x="4" y="81"/>
                </a:cubicBezTo>
                <a:cubicBezTo>
                  <a:pt x="3" y="81"/>
                  <a:pt x="3" y="81"/>
                  <a:pt x="3" y="82"/>
                </a:cubicBezTo>
                <a:cubicBezTo>
                  <a:pt x="3" y="82"/>
                  <a:pt x="4" y="82"/>
                  <a:pt x="4" y="83"/>
                </a:cubicBezTo>
                <a:cubicBezTo>
                  <a:pt x="4" y="83"/>
                  <a:pt x="4" y="83"/>
                  <a:pt x="4" y="84"/>
                </a:cubicBezTo>
                <a:cubicBezTo>
                  <a:pt x="3" y="85"/>
                  <a:pt x="3" y="86"/>
                  <a:pt x="3" y="88"/>
                </a:cubicBezTo>
                <a:cubicBezTo>
                  <a:pt x="2" y="89"/>
                  <a:pt x="2" y="89"/>
                  <a:pt x="1" y="90"/>
                </a:cubicBezTo>
                <a:cubicBezTo>
                  <a:pt x="1" y="91"/>
                  <a:pt x="1" y="91"/>
                  <a:pt x="1" y="91"/>
                </a:cubicBezTo>
                <a:cubicBezTo>
                  <a:pt x="1" y="91"/>
                  <a:pt x="1" y="92"/>
                  <a:pt x="1" y="92"/>
                </a:cubicBezTo>
                <a:cubicBezTo>
                  <a:pt x="1" y="92"/>
                  <a:pt x="1" y="92"/>
                  <a:pt x="1" y="93"/>
                </a:cubicBezTo>
                <a:cubicBezTo>
                  <a:pt x="0" y="93"/>
                  <a:pt x="0" y="94"/>
                  <a:pt x="0" y="94"/>
                </a:cubicBezTo>
                <a:cubicBezTo>
                  <a:pt x="0" y="94"/>
                  <a:pt x="0" y="94"/>
                  <a:pt x="0" y="95"/>
                </a:cubicBezTo>
                <a:cubicBezTo>
                  <a:pt x="0" y="95"/>
                  <a:pt x="0" y="94"/>
                  <a:pt x="1" y="94"/>
                </a:cubicBezTo>
                <a:cubicBezTo>
                  <a:pt x="1" y="94"/>
                  <a:pt x="1" y="95"/>
                  <a:pt x="1" y="95"/>
                </a:cubicBezTo>
                <a:cubicBezTo>
                  <a:pt x="1" y="95"/>
                  <a:pt x="3" y="95"/>
                  <a:pt x="2" y="94"/>
                </a:cubicBezTo>
                <a:cubicBezTo>
                  <a:pt x="1" y="94"/>
                  <a:pt x="1" y="93"/>
                  <a:pt x="1" y="92"/>
                </a:cubicBezTo>
                <a:cubicBezTo>
                  <a:pt x="1" y="93"/>
                  <a:pt x="2" y="94"/>
                  <a:pt x="2" y="94"/>
                </a:cubicBezTo>
                <a:cubicBezTo>
                  <a:pt x="3" y="94"/>
                  <a:pt x="3" y="94"/>
                  <a:pt x="3" y="94"/>
                </a:cubicBezTo>
                <a:cubicBezTo>
                  <a:pt x="3" y="94"/>
                  <a:pt x="3" y="94"/>
                  <a:pt x="3" y="94"/>
                </a:cubicBezTo>
                <a:cubicBezTo>
                  <a:pt x="4" y="94"/>
                  <a:pt x="3" y="93"/>
                  <a:pt x="3" y="93"/>
                </a:cubicBezTo>
                <a:cubicBezTo>
                  <a:pt x="3" y="94"/>
                  <a:pt x="4" y="94"/>
                  <a:pt x="4" y="94"/>
                </a:cubicBezTo>
                <a:cubicBezTo>
                  <a:pt x="4" y="95"/>
                  <a:pt x="4" y="95"/>
                  <a:pt x="4" y="94"/>
                </a:cubicBezTo>
                <a:cubicBezTo>
                  <a:pt x="4" y="95"/>
                  <a:pt x="4" y="95"/>
                  <a:pt x="4" y="96"/>
                </a:cubicBezTo>
                <a:cubicBezTo>
                  <a:pt x="4" y="97"/>
                  <a:pt x="4" y="97"/>
                  <a:pt x="4" y="97"/>
                </a:cubicBezTo>
                <a:cubicBezTo>
                  <a:pt x="4" y="98"/>
                  <a:pt x="5" y="98"/>
                  <a:pt x="5" y="99"/>
                </a:cubicBezTo>
                <a:cubicBezTo>
                  <a:pt x="5" y="99"/>
                  <a:pt x="5" y="99"/>
                  <a:pt x="5" y="99"/>
                </a:cubicBezTo>
                <a:cubicBezTo>
                  <a:pt x="5" y="100"/>
                  <a:pt x="7" y="100"/>
                  <a:pt x="7" y="100"/>
                </a:cubicBezTo>
                <a:cubicBezTo>
                  <a:pt x="7" y="101"/>
                  <a:pt x="8" y="100"/>
                  <a:pt x="8" y="100"/>
                </a:cubicBezTo>
                <a:cubicBezTo>
                  <a:pt x="8" y="100"/>
                  <a:pt x="8" y="101"/>
                  <a:pt x="8" y="101"/>
                </a:cubicBezTo>
                <a:cubicBezTo>
                  <a:pt x="8" y="101"/>
                  <a:pt x="9" y="102"/>
                  <a:pt x="9" y="101"/>
                </a:cubicBezTo>
                <a:cubicBezTo>
                  <a:pt x="10" y="101"/>
                  <a:pt x="9" y="100"/>
                  <a:pt x="9" y="100"/>
                </a:cubicBezTo>
                <a:cubicBezTo>
                  <a:pt x="9" y="100"/>
                  <a:pt x="10" y="101"/>
                  <a:pt x="10" y="100"/>
                </a:cubicBezTo>
                <a:cubicBezTo>
                  <a:pt x="10" y="100"/>
                  <a:pt x="9" y="100"/>
                  <a:pt x="9" y="99"/>
                </a:cubicBezTo>
                <a:cubicBezTo>
                  <a:pt x="9" y="99"/>
                  <a:pt x="9" y="99"/>
                  <a:pt x="10" y="99"/>
                </a:cubicBezTo>
                <a:cubicBezTo>
                  <a:pt x="10" y="99"/>
                  <a:pt x="9" y="100"/>
                  <a:pt x="10" y="100"/>
                </a:cubicBezTo>
                <a:cubicBezTo>
                  <a:pt x="11" y="100"/>
                  <a:pt x="11" y="99"/>
                  <a:pt x="11" y="99"/>
                </a:cubicBezTo>
                <a:cubicBezTo>
                  <a:pt x="12" y="99"/>
                  <a:pt x="12" y="99"/>
                  <a:pt x="12" y="99"/>
                </a:cubicBezTo>
                <a:cubicBezTo>
                  <a:pt x="12" y="99"/>
                  <a:pt x="10" y="100"/>
                  <a:pt x="11" y="101"/>
                </a:cubicBezTo>
                <a:cubicBezTo>
                  <a:pt x="11" y="101"/>
                  <a:pt x="12" y="101"/>
                  <a:pt x="12" y="101"/>
                </a:cubicBezTo>
                <a:cubicBezTo>
                  <a:pt x="12" y="101"/>
                  <a:pt x="11" y="101"/>
                  <a:pt x="11" y="101"/>
                </a:cubicBezTo>
                <a:cubicBezTo>
                  <a:pt x="11" y="102"/>
                  <a:pt x="12" y="102"/>
                  <a:pt x="12" y="102"/>
                </a:cubicBezTo>
                <a:cubicBezTo>
                  <a:pt x="12" y="102"/>
                  <a:pt x="11" y="102"/>
                  <a:pt x="11" y="102"/>
                </a:cubicBezTo>
                <a:cubicBezTo>
                  <a:pt x="11" y="102"/>
                  <a:pt x="11" y="102"/>
                  <a:pt x="11" y="102"/>
                </a:cubicBezTo>
                <a:cubicBezTo>
                  <a:pt x="10" y="102"/>
                  <a:pt x="11" y="103"/>
                  <a:pt x="11" y="103"/>
                </a:cubicBezTo>
                <a:cubicBezTo>
                  <a:pt x="10" y="103"/>
                  <a:pt x="11" y="103"/>
                  <a:pt x="10" y="102"/>
                </a:cubicBezTo>
                <a:cubicBezTo>
                  <a:pt x="10" y="103"/>
                  <a:pt x="11" y="103"/>
                  <a:pt x="11" y="104"/>
                </a:cubicBezTo>
                <a:cubicBezTo>
                  <a:pt x="11" y="104"/>
                  <a:pt x="11" y="105"/>
                  <a:pt x="11" y="105"/>
                </a:cubicBezTo>
                <a:cubicBezTo>
                  <a:pt x="11" y="105"/>
                  <a:pt x="12" y="104"/>
                  <a:pt x="13" y="104"/>
                </a:cubicBezTo>
                <a:cubicBezTo>
                  <a:pt x="12" y="105"/>
                  <a:pt x="12" y="105"/>
                  <a:pt x="11" y="105"/>
                </a:cubicBezTo>
                <a:cubicBezTo>
                  <a:pt x="12" y="106"/>
                  <a:pt x="12" y="106"/>
                  <a:pt x="13" y="107"/>
                </a:cubicBezTo>
                <a:cubicBezTo>
                  <a:pt x="13" y="107"/>
                  <a:pt x="13" y="108"/>
                  <a:pt x="14" y="108"/>
                </a:cubicBezTo>
                <a:cubicBezTo>
                  <a:pt x="13" y="109"/>
                  <a:pt x="14" y="110"/>
                  <a:pt x="14" y="110"/>
                </a:cubicBezTo>
                <a:cubicBezTo>
                  <a:pt x="14" y="111"/>
                  <a:pt x="14" y="111"/>
                  <a:pt x="14" y="112"/>
                </a:cubicBezTo>
                <a:cubicBezTo>
                  <a:pt x="13" y="112"/>
                  <a:pt x="13" y="113"/>
                  <a:pt x="13" y="114"/>
                </a:cubicBezTo>
                <a:cubicBezTo>
                  <a:pt x="13" y="115"/>
                  <a:pt x="13" y="116"/>
                  <a:pt x="13" y="117"/>
                </a:cubicBezTo>
                <a:cubicBezTo>
                  <a:pt x="13" y="118"/>
                  <a:pt x="12" y="119"/>
                  <a:pt x="13" y="120"/>
                </a:cubicBezTo>
                <a:cubicBezTo>
                  <a:pt x="15" y="121"/>
                  <a:pt x="18" y="120"/>
                  <a:pt x="20" y="120"/>
                </a:cubicBezTo>
                <a:cubicBezTo>
                  <a:pt x="21" y="120"/>
                  <a:pt x="27" y="121"/>
                  <a:pt x="28" y="120"/>
                </a:cubicBezTo>
                <a:cubicBezTo>
                  <a:pt x="28" y="120"/>
                  <a:pt x="28" y="119"/>
                  <a:pt x="28" y="119"/>
                </a:cubicBezTo>
                <a:cubicBezTo>
                  <a:pt x="28" y="119"/>
                  <a:pt x="29" y="119"/>
                  <a:pt x="29" y="119"/>
                </a:cubicBezTo>
                <a:cubicBezTo>
                  <a:pt x="31" y="119"/>
                  <a:pt x="32" y="119"/>
                  <a:pt x="33" y="119"/>
                </a:cubicBezTo>
                <a:cubicBezTo>
                  <a:pt x="34" y="119"/>
                  <a:pt x="35" y="119"/>
                  <a:pt x="35" y="119"/>
                </a:cubicBezTo>
                <a:cubicBezTo>
                  <a:pt x="36" y="119"/>
                  <a:pt x="37" y="119"/>
                  <a:pt x="37" y="119"/>
                </a:cubicBezTo>
                <a:cubicBezTo>
                  <a:pt x="38" y="119"/>
                  <a:pt x="38" y="119"/>
                  <a:pt x="39" y="119"/>
                </a:cubicBezTo>
                <a:cubicBezTo>
                  <a:pt x="40" y="119"/>
                  <a:pt x="41" y="120"/>
                  <a:pt x="41" y="120"/>
                </a:cubicBezTo>
                <a:cubicBezTo>
                  <a:pt x="42" y="119"/>
                  <a:pt x="42" y="120"/>
                  <a:pt x="43" y="120"/>
                </a:cubicBezTo>
                <a:cubicBezTo>
                  <a:pt x="44" y="120"/>
                  <a:pt x="44" y="120"/>
                  <a:pt x="45" y="119"/>
                </a:cubicBezTo>
                <a:cubicBezTo>
                  <a:pt x="45" y="119"/>
                  <a:pt x="46" y="119"/>
                  <a:pt x="46" y="119"/>
                </a:cubicBezTo>
                <a:cubicBezTo>
                  <a:pt x="47" y="120"/>
                  <a:pt x="46" y="120"/>
                  <a:pt x="46" y="120"/>
                </a:cubicBezTo>
                <a:cubicBezTo>
                  <a:pt x="47" y="121"/>
                  <a:pt x="49" y="121"/>
                  <a:pt x="50" y="121"/>
                </a:cubicBezTo>
                <a:cubicBezTo>
                  <a:pt x="51" y="121"/>
                  <a:pt x="53" y="121"/>
                  <a:pt x="55" y="121"/>
                </a:cubicBezTo>
                <a:cubicBezTo>
                  <a:pt x="56" y="121"/>
                  <a:pt x="56" y="120"/>
                  <a:pt x="57" y="120"/>
                </a:cubicBezTo>
                <a:cubicBezTo>
                  <a:pt x="58" y="121"/>
                  <a:pt x="58" y="121"/>
                  <a:pt x="59" y="120"/>
                </a:cubicBezTo>
                <a:cubicBezTo>
                  <a:pt x="59" y="120"/>
                  <a:pt x="59" y="121"/>
                  <a:pt x="60" y="121"/>
                </a:cubicBezTo>
                <a:cubicBezTo>
                  <a:pt x="60" y="121"/>
                  <a:pt x="60" y="121"/>
                  <a:pt x="60" y="121"/>
                </a:cubicBezTo>
                <a:cubicBezTo>
                  <a:pt x="60" y="121"/>
                  <a:pt x="60" y="121"/>
                  <a:pt x="60" y="121"/>
                </a:cubicBezTo>
                <a:cubicBezTo>
                  <a:pt x="61" y="121"/>
                  <a:pt x="61" y="122"/>
                  <a:pt x="62" y="121"/>
                </a:cubicBezTo>
                <a:cubicBezTo>
                  <a:pt x="62" y="121"/>
                  <a:pt x="62" y="123"/>
                  <a:pt x="62" y="122"/>
                </a:cubicBezTo>
                <a:cubicBezTo>
                  <a:pt x="63" y="122"/>
                  <a:pt x="63" y="122"/>
                  <a:pt x="63" y="122"/>
                </a:cubicBezTo>
                <a:cubicBezTo>
                  <a:pt x="63" y="122"/>
                  <a:pt x="64" y="122"/>
                  <a:pt x="64" y="122"/>
                </a:cubicBezTo>
                <a:cubicBezTo>
                  <a:pt x="65" y="122"/>
                  <a:pt x="65" y="122"/>
                  <a:pt x="66" y="123"/>
                </a:cubicBezTo>
                <a:cubicBezTo>
                  <a:pt x="66" y="123"/>
                  <a:pt x="66" y="123"/>
                  <a:pt x="67" y="123"/>
                </a:cubicBezTo>
                <a:cubicBezTo>
                  <a:pt x="68" y="122"/>
                  <a:pt x="69" y="123"/>
                  <a:pt x="70" y="123"/>
                </a:cubicBezTo>
                <a:cubicBezTo>
                  <a:pt x="71" y="123"/>
                  <a:pt x="71" y="124"/>
                  <a:pt x="72" y="125"/>
                </a:cubicBezTo>
                <a:cubicBezTo>
                  <a:pt x="72" y="125"/>
                  <a:pt x="73" y="124"/>
                  <a:pt x="73" y="125"/>
                </a:cubicBezTo>
                <a:cubicBezTo>
                  <a:pt x="73" y="127"/>
                  <a:pt x="74" y="125"/>
                  <a:pt x="74" y="125"/>
                </a:cubicBezTo>
                <a:cubicBezTo>
                  <a:pt x="74" y="124"/>
                  <a:pt x="74" y="123"/>
                  <a:pt x="74" y="123"/>
                </a:cubicBezTo>
                <a:cubicBezTo>
                  <a:pt x="73" y="122"/>
                  <a:pt x="74" y="121"/>
                  <a:pt x="74" y="121"/>
                </a:cubicBezTo>
                <a:cubicBezTo>
                  <a:pt x="74" y="120"/>
                  <a:pt x="74" y="120"/>
                  <a:pt x="75" y="12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2" name="Cambodia"/>
          <p:cNvSpPr>
            <a:spLocks noEditPoints="1"/>
          </p:cNvSpPr>
          <p:nvPr/>
        </p:nvSpPr>
        <p:spPr bwMode="auto">
          <a:xfrm>
            <a:off x="9356949" y="4080959"/>
            <a:ext cx="184994" cy="169994"/>
          </a:xfrm>
          <a:custGeom>
            <a:avLst/>
            <a:gdLst/>
            <a:ahLst/>
            <a:cxnLst>
              <a:cxn ang="0">
                <a:pos x="50" y="17"/>
              </a:cxn>
              <a:cxn ang="0">
                <a:pos x="49" y="10"/>
              </a:cxn>
              <a:cxn ang="0">
                <a:pos x="47" y="7"/>
              </a:cxn>
              <a:cxn ang="0">
                <a:pos x="47" y="3"/>
              </a:cxn>
              <a:cxn ang="0">
                <a:pos x="48" y="0"/>
              </a:cxn>
              <a:cxn ang="0">
                <a:pos x="45" y="2"/>
              </a:cxn>
              <a:cxn ang="0">
                <a:pos x="44" y="3"/>
              </a:cxn>
              <a:cxn ang="0">
                <a:pos x="41" y="3"/>
              </a:cxn>
              <a:cxn ang="0">
                <a:pos x="38" y="2"/>
              </a:cxn>
              <a:cxn ang="0">
                <a:pos x="35" y="3"/>
              </a:cxn>
              <a:cxn ang="0">
                <a:pos x="35" y="5"/>
              </a:cxn>
              <a:cxn ang="0">
                <a:pos x="35" y="8"/>
              </a:cxn>
              <a:cxn ang="0">
                <a:pos x="32" y="6"/>
              </a:cxn>
              <a:cxn ang="0">
                <a:pos x="26" y="4"/>
              </a:cxn>
              <a:cxn ang="0">
                <a:pos x="23" y="3"/>
              </a:cxn>
              <a:cxn ang="0">
                <a:pos x="21" y="3"/>
              </a:cxn>
              <a:cxn ang="0">
                <a:pos x="20" y="3"/>
              </a:cxn>
              <a:cxn ang="0">
                <a:pos x="17" y="3"/>
              </a:cxn>
              <a:cxn ang="0">
                <a:pos x="14" y="3"/>
              </a:cxn>
              <a:cxn ang="0">
                <a:pos x="11" y="3"/>
              </a:cxn>
              <a:cxn ang="0">
                <a:pos x="8" y="3"/>
              </a:cxn>
              <a:cxn ang="0">
                <a:pos x="4" y="7"/>
              </a:cxn>
              <a:cxn ang="0">
                <a:pos x="2" y="12"/>
              </a:cxn>
              <a:cxn ang="0">
                <a:pos x="0" y="15"/>
              </a:cxn>
              <a:cxn ang="0">
                <a:pos x="2" y="19"/>
              </a:cxn>
              <a:cxn ang="0">
                <a:pos x="4" y="24"/>
              </a:cxn>
              <a:cxn ang="0">
                <a:pos x="5" y="26"/>
              </a:cxn>
              <a:cxn ang="0">
                <a:pos x="7" y="34"/>
              </a:cxn>
              <a:cxn ang="0">
                <a:pos x="8" y="33"/>
              </a:cxn>
              <a:cxn ang="0">
                <a:pos x="8" y="34"/>
              </a:cxn>
              <a:cxn ang="0">
                <a:pos x="10" y="36"/>
              </a:cxn>
              <a:cxn ang="0">
                <a:pos x="10" y="37"/>
              </a:cxn>
              <a:cxn ang="0">
                <a:pos x="10" y="42"/>
              </a:cxn>
              <a:cxn ang="0">
                <a:pos x="13" y="40"/>
              </a:cxn>
              <a:cxn ang="0">
                <a:pos x="13" y="39"/>
              </a:cxn>
              <a:cxn ang="0">
                <a:pos x="15" y="43"/>
              </a:cxn>
              <a:cxn ang="0">
                <a:pos x="15" y="45"/>
              </a:cxn>
              <a:cxn ang="0">
                <a:pos x="16" y="45"/>
              </a:cxn>
              <a:cxn ang="0">
                <a:pos x="20" y="45"/>
              </a:cxn>
              <a:cxn ang="0">
                <a:pos x="23" y="47"/>
              </a:cxn>
              <a:cxn ang="0">
                <a:pos x="27" y="45"/>
              </a:cxn>
              <a:cxn ang="0">
                <a:pos x="28" y="41"/>
              </a:cxn>
              <a:cxn ang="0">
                <a:pos x="31" y="42"/>
              </a:cxn>
              <a:cxn ang="0">
                <a:pos x="34" y="40"/>
              </a:cxn>
              <a:cxn ang="0">
                <a:pos x="38" y="42"/>
              </a:cxn>
              <a:cxn ang="0">
                <a:pos x="39" y="41"/>
              </a:cxn>
              <a:cxn ang="0">
                <a:pos x="37" y="38"/>
              </a:cxn>
              <a:cxn ang="0">
                <a:pos x="35" y="34"/>
              </a:cxn>
              <a:cxn ang="0">
                <a:pos x="39" y="32"/>
              </a:cxn>
              <a:cxn ang="0">
                <a:pos x="41" y="33"/>
              </a:cxn>
              <a:cxn ang="0">
                <a:pos x="43" y="30"/>
              </a:cxn>
              <a:cxn ang="0">
                <a:pos x="48" y="26"/>
              </a:cxn>
              <a:cxn ang="0">
                <a:pos x="51" y="25"/>
              </a:cxn>
              <a:cxn ang="0">
                <a:pos x="7" y="33"/>
              </a:cxn>
              <a:cxn ang="0">
                <a:pos x="7" y="33"/>
              </a:cxn>
              <a:cxn ang="0">
                <a:pos x="8" y="36"/>
              </a:cxn>
            </a:cxnLst>
            <a:rect l="0" t="0" r="r" b="b"/>
            <a:pathLst>
              <a:path w="51" h="47">
                <a:moveTo>
                  <a:pt x="51" y="23"/>
                </a:moveTo>
                <a:cubicBezTo>
                  <a:pt x="51" y="22"/>
                  <a:pt x="51" y="21"/>
                  <a:pt x="50" y="20"/>
                </a:cubicBezTo>
                <a:cubicBezTo>
                  <a:pt x="50" y="19"/>
                  <a:pt x="50" y="18"/>
                  <a:pt x="50" y="17"/>
                </a:cubicBezTo>
                <a:cubicBezTo>
                  <a:pt x="50" y="16"/>
                  <a:pt x="50" y="16"/>
                  <a:pt x="51" y="15"/>
                </a:cubicBezTo>
                <a:cubicBezTo>
                  <a:pt x="51" y="14"/>
                  <a:pt x="51" y="13"/>
                  <a:pt x="50" y="12"/>
                </a:cubicBezTo>
                <a:cubicBezTo>
                  <a:pt x="50" y="11"/>
                  <a:pt x="50" y="11"/>
                  <a:pt x="49" y="10"/>
                </a:cubicBezTo>
                <a:cubicBezTo>
                  <a:pt x="49" y="10"/>
                  <a:pt x="49" y="10"/>
                  <a:pt x="49" y="10"/>
                </a:cubicBezTo>
                <a:cubicBezTo>
                  <a:pt x="48" y="9"/>
                  <a:pt x="49" y="8"/>
                  <a:pt x="48" y="8"/>
                </a:cubicBezTo>
                <a:cubicBezTo>
                  <a:pt x="48" y="7"/>
                  <a:pt x="48" y="7"/>
                  <a:pt x="47" y="7"/>
                </a:cubicBezTo>
                <a:cubicBezTo>
                  <a:pt x="47" y="7"/>
                  <a:pt x="47" y="6"/>
                  <a:pt x="47" y="6"/>
                </a:cubicBezTo>
                <a:cubicBezTo>
                  <a:pt x="47" y="6"/>
                  <a:pt x="47" y="5"/>
                  <a:pt x="47" y="5"/>
                </a:cubicBezTo>
                <a:cubicBezTo>
                  <a:pt x="47" y="4"/>
                  <a:pt x="47" y="4"/>
                  <a:pt x="47" y="3"/>
                </a:cubicBezTo>
                <a:cubicBezTo>
                  <a:pt x="47" y="2"/>
                  <a:pt x="48" y="3"/>
                  <a:pt x="48" y="2"/>
                </a:cubicBezTo>
                <a:cubicBezTo>
                  <a:pt x="48" y="2"/>
                  <a:pt x="49" y="0"/>
                  <a:pt x="48" y="0"/>
                </a:cubicBezTo>
                <a:cubicBezTo>
                  <a:pt x="48" y="0"/>
                  <a:pt x="48" y="0"/>
                  <a:pt x="48" y="0"/>
                </a:cubicBezTo>
                <a:cubicBezTo>
                  <a:pt x="48" y="1"/>
                  <a:pt x="47" y="1"/>
                  <a:pt x="47" y="1"/>
                </a:cubicBezTo>
                <a:cubicBezTo>
                  <a:pt x="47" y="1"/>
                  <a:pt x="46" y="0"/>
                  <a:pt x="46" y="1"/>
                </a:cubicBezTo>
                <a:cubicBezTo>
                  <a:pt x="46" y="2"/>
                  <a:pt x="45" y="2"/>
                  <a:pt x="45" y="2"/>
                </a:cubicBezTo>
                <a:cubicBezTo>
                  <a:pt x="45" y="2"/>
                  <a:pt x="45" y="3"/>
                  <a:pt x="44" y="3"/>
                </a:cubicBezTo>
                <a:cubicBezTo>
                  <a:pt x="44" y="3"/>
                  <a:pt x="44" y="3"/>
                  <a:pt x="44" y="3"/>
                </a:cubicBezTo>
                <a:cubicBezTo>
                  <a:pt x="44" y="3"/>
                  <a:pt x="44" y="3"/>
                  <a:pt x="44" y="3"/>
                </a:cubicBezTo>
                <a:cubicBezTo>
                  <a:pt x="43" y="4"/>
                  <a:pt x="43" y="4"/>
                  <a:pt x="43" y="4"/>
                </a:cubicBezTo>
                <a:cubicBezTo>
                  <a:pt x="43" y="4"/>
                  <a:pt x="42" y="4"/>
                  <a:pt x="42" y="4"/>
                </a:cubicBezTo>
                <a:cubicBezTo>
                  <a:pt x="41" y="4"/>
                  <a:pt x="41" y="3"/>
                  <a:pt x="41" y="3"/>
                </a:cubicBezTo>
                <a:cubicBezTo>
                  <a:pt x="40" y="2"/>
                  <a:pt x="39" y="2"/>
                  <a:pt x="39" y="1"/>
                </a:cubicBezTo>
                <a:cubicBezTo>
                  <a:pt x="39" y="0"/>
                  <a:pt x="38" y="1"/>
                  <a:pt x="38" y="2"/>
                </a:cubicBezTo>
                <a:cubicBezTo>
                  <a:pt x="38" y="1"/>
                  <a:pt x="38" y="2"/>
                  <a:pt x="38" y="2"/>
                </a:cubicBezTo>
                <a:cubicBezTo>
                  <a:pt x="37" y="3"/>
                  <a:pt x="37" y="2"/>
                  <a:pt x="36" y="2"/>
                </a:cubicBezTo>
                <a:cubicBezTo>
                  <a:pt x="36" y="2"/>
                  <a:pt x="36" y="3"/>
                  <a:pt x="36" y="3"/>
                </a:cubicBezTo>
                <a:cubicBezTo>
                  <a:pt x="36" y="4"/>
                  <a:pt x="35" y="3"/>
                  <a:pt x="35" y="3"/>
                </a:cubicBezTo>
                <a:cubicBezTo>
                  <a:pt x="35" y="3"/>
                  <a:pt x="34" y="3"/>
                  <a:pt x="34" y="3"/>
                </a:cubicBezTo>
                <a:cubicBezTo>
                  <a:pt x="34" y="4"/>
                  <a:pt x="34" y="4"/>
                  <a:pt x="34" y="4"/>
                </a:cubicBezTo>
                <a:cubicBezTo>
                  <a:pt x="34" y="5"/>
                  <a:pt x="34" y="5"/>
                  <a:pt x="35" y="5"/>
                </a:cubicBezTo>
                <a:cubicBezTo>
                  <a:pt x="35" y="5"/>
                  <a:pt x="35" y="6"/>
                  <a:pt x="36" y="6"/>
                </a:cubicBezTo>
                <a:cubicBezTo>
                  <a:pt x="36" y="7"/>
                  <a:pt x="36" y="7"/>
                  <a:pt x="35" y="8"/>
                </a:cubicBezTo>
                <a:cubicBezTo>
                  <a:pt x="35" y="8"/>
                  <a:pt x="35" y="8"/>
                  <a:pt x="35" y="8"/>
                </a:cubicBezTo>
                <a:cubicBezTo>
                  <a:pt x="34" y="8"/>
                  <a:pt x="34" y="8"/>
                  <a:pt x="33" y="8"/>
                </a:cubicBezTo>
                <a:cubicBezTo>
                  <a:pt x="33" y="8"/>
                  <a:pt x="33" y="7"/>
                  <a:pt x="32" y="7"/>
                </a:cubicBezTo>
                <a:cubicBezTo>
                  <a:pt x="32" y="6"/>
                  <a:pt x="32" y="6"/>
                  <a:pt x="32" y="6"/>
                </a:cubicBezTo>
                <a:cubicBezTo>
                  <a:pt x="31" y="6"/>
                  <a:pt x="31" y="6"/>
                  <a:pt x="31" y="6"/>
                </a:cubicBezTo>
                <a:cubicBezTo>
                  <a:pt x="30" y="5"/>
                  <a:pt x="30" y="6"/>
                  <a:pt x="28" y="6"/>
                </a:cubicBezTo>
                <a:cubicBezTo>
                  <a:pt x="28" y="6"/>
                  <a:pt x="26" y="4"/>
                  <a:pt x="26" y="4"/>
                </a:cubicBezTo>
                <a:cubicBezTo>
                  <a:pt x="26" y="4"/>
                  <a:pt x="26" y="5"/>
                  <a:pt x="25" y="5"/>
                </a:cubicBezTo>
                <a:cubicBezTo>
                  <a:pt x="25" y="5"/>
                  <a:pt x="24" y="4"/>
                  <a:pt x="24" y="4"/>
                </a:cubicBezTo>
                <a:cubicBezTo>
                  <a:pt x="24" y="3"/>
                  <a:pt x="23" y="3"/>
                  <a:pt x="23" y="3"/>
                </a:cubicBezTo>
                <a:cubicBezTo>
                  <a:pt x="23" y="3"/>
                  <a:pt x="22" y="2"/>
                  <a:pt x="22" y="2"/>
                </a:cubicBezTo>
                <a:cubicBezTo>
                  <a:pt x="22" y="3"/>
                  <a:pt x="22" y="3"/>
                  <a:pt x="22" y="3"/>
                </a:cubicBezTo>
                <a:cubicBezTo>
                  <a:pt x="21" y="2"/>
                  <a:pt x="22" y="3"/>
                  <a:pt x="21" y="3"/>
                </a:cubicBezTo>
                <a:cubicBezTo>
                  <a:pt x="21" y="3"/>
                  <a:pt x="21" y="3"/>
                  <a:pt x="21" y="3"/>
                </a:cubicBezTo>
                <a:cubicBezTo>
                  <a:pt x="21" y="3"/>
                  <a:pt x="20" y="3"/>
                  <a:pt x="20" y="3"/>
                </a:cubicBezTo>
                <a:cubicBezTo>
                  <a:pt x="20" y="4"/>
                  <a:pt x="20" y="3"/>
                  <a:pt x="20" y="3"/>
                </a:cubicBezTo>
                <a:cubicBezTo>
                  <a:pt x="19" y="3"/>
                  <a:pt x="19" y="3"/>
                  <a:pt x="18" y="3"/>
                </a:cubicBezTo>
                <a:cubicBezTo>
                  <a:pt x="18" y="3"/>
                  <a:pt x="18" y="3"/>
                  <a:pt x="17" y="3"/>
                </a:cubicBezTo>
                <a:cubicBezTo>
                  <a:pt x="17" y="3"/>
                  <a:pt x="17" y="3"/>
                  <a:pt x="17" y="3"/>
                </a:cubicBezTo>
                <a:cubicBezTo>
                  <a:pt x="17" y="3"/>
                  <a:pt x="16" y="3"/>
                  <a:pt x="16" y="3"/>
                </a:cubicBezTo>
                <a:cubicBezTo>
                  <a:pt x="16" y="3"/>
                  <a:pt x="15" y="4"/>
                  <a:pt x="15" y="3"/>
                </a:cubicBezTo>
                <a:cubicBezTo>
                  <a:pt x="14" y="3"/>
                  <a:pt x="14" y="4"/>
                  <a:pt x="14" y="3"/>
                </a:cubicBezTo>
                <a:cubicBezTo>
                  <a:pt x="13" y="3"/>
                  <a:pt x="13" y="3"/>
                  <a:pt x="12" y="3"/>
                </a:cubicBezTo>
                <a:cubicBezTo>
                  <a:pt x="12" y="3"/>
                  <a:pt x="12" y="2"/>
                  <a:pt x="11" y="3"/>
                </a:cubicBezTo>
                <a:cubicBezTo>
                  <a:pt x="11" y="3"/>
                  <a:pt x="11" y="3"/>
                  <a:pt x="11" y="3"/>
                </a:cubicBezTo>
                <a:cubicBezTo>
                  <a:pt x="10" y="3"/>
                  <a:pt x="10" y="3"/>
                  <a:pt x="9" y="3"/>
                </a:cubicBezTo>
                <a:cubicBezTo>
                  <a:pt x="9" y="3"/>
                  <a:pt x="9" y="3"/>
                  <a:pt x="9" y="3"/>
                </a:cubicBezTo>
                <a:cubicBezTo>
                  <a:pt x="9" y="3"/>
                  <a:pt x="8" y="3"/>
                  <a:pt x="8" y="3"/>
                </a:cubicBezTo>
                <a:cubicBezTo>
                  <a:pt x="7" y="4"/>
                  <a:pt x="6" y="4"/>
                  <a:pt x="5" y="5"/>
                </a:cubicBezTo>
                <a:cubicBezTo>
                  <a:pt x="5" y="5"/>
                  <a:pt x="5" y="5"/>
                  <a:pt x="5" y="6"/>
                </a:cubicBezTo>
                <a:cubicBezTo>
                  <a:pt x="5" y="6"/>
                  <a:pt x="4" y="7"/>
                  <a:pt x="4" y="7"/>
                </a:cubicBezTo>
                <a:cubicBezTo>
                  <a:pt x="4" y="8"/>
                  <a:pt x="4" y="8"/>
                  <a:pt x="3" y="9"/>
                </a:cubicBezTo>
                <a:cubicBezTo>
                  <a:pt x="3" y="9"/>
                  <a:pt x="3" y="9"/>
                  <a:pt x="3" y="10"/>
                </a:cubicBezTo>
                <a:cubicBezTo>
                  <a:pt x="2" y="11"/>
                  <a:pt x="1" y="11"/>
                  <a:pt x="2" y="12"/>
                </a:cubicBezTo>
                <a:cubicBezTo>
                  <a:pt x="1" y="12"/>
                  <a:pt x="1" y="12"/>
                  <a:pt x="0" y="12"/>
                </a:cubicBezTo>
                <a:cubicBezTo>
                  <a:pt x="0" y="12"/>
                  <a:pt x="0" y="12"/>
                  <a:pt x="0" y="13"/>
                </a:cubicBezTo>
                <a:cubicBezTo>
                  <a:pt x="0" y="13"/>
                  <a:pt x="0" y="14"/>
                  <a:pt x="0" y="15"/>
                </a:cubicBezTo>
                <a:cubicBezTo>
                  <a:pt x="0" y="16"/>
                  <a:pt x="0" y="16"/>
                  <a:pt x="1" y="17"/>
                </a:cubicBezTo>
                <a:cubicBezTo>
                  <a:pt x="1" y="17"/>
                  <a:pt x="2" y="18"/>
                  <a:pt x="2" y="19"/>
                </a:cubicBezTo>
                <a:cubicBezTo>
                  <a:pt x="2" y="19"/>
                  <a:pt x="2" y="19"/>
                  <a:pt x="2" y="19"/>
                </a:cubicBezTo>
                <a:cubicBezTo>
                  <a:pt x="2" y="20"/>
                  <a:pt x="2" y="20"/>
                  <a:pt x="2" y="21"/>
                </a:cubicBezTo>
                <a:cubicBezTo>
                  <a:pt x="2" y="22"/>
                  <a:pt x="2" y="22"/>
                  <a:pt x="3" y="22"/>
                </a:cubicBezTo>
                <a:cubicBezTo>
                  <a:pt x="3" y="23"/>
                  <a:pt x="4" y="23"/>
                  <a:pt x="4" y="24"/>
                </a:cubicBezTo>
                <a:cubicBezTo>
                  <a:pt x="4" y="24"/>
                  <a:pt x="5" y="24"/>
                  <a:pt x="5" y="25"/>
                </a:cubicBezTo>
                <a:cubicBezTo>
                  <a:pt x="5" y="25"/>
                  <a:pt x="5" y="25"/>
                  <a:pt x="5" y="25"/>
                </a:cubicBezTo>
                <a:cubicBezTo>
                  <a:pt x="5" y="26"/>
                  <a:pt x="5" y="26"/>
                  <a:pt x="5" y="26"/>
                </a:cubicBezTo>
                <a:cubicBezTo>
                  <a:pt x="5" y="27"/>
                  <a:pt x="5" y="27"/>
                  <a:pt x="5" y="28"/>
                </a:cubicBezTo>
                <a:cubicBezTo>
                  <a:pt x="5" y="29"/>
                  <a:pt x="6" y="31"/>
                  <a:pt x="7" y="32"/>
                </a:cubicBezTo>
                <a:cubicBezTo>
                  <a:pt x="7" y="32"/>
                  <a:pt x="7" y="34"/>
                  <a:pt x="7" y="34"/>
                </a:cubicBezTo>
                <a:cubicBezTo>
                  <a:pt x="8" y="34"/>
                  <a:pt x="7" y="33"/>
                  <a:pt x="7" y="33"/>
                </a:cubicBezTo>
                <a:cubicBezTo>
                  <a:pt x="7" y="33"/>
                  <a:pt x="7" y="33"/>
                  <a:pt x="8" y="33"/>
                </a:cubicBezTo>
                <a:cubicBezTo>
                  <a:pt x="8" y="33"/>
                  <a:pt x="8" y="33"/>
                  <a:pt x="8" y="33"/>
                </a:cubicBezTo>
                <a:cubicBezTo>
                  <a:pt x="8" y="33"/>
                  <a:pt x="8" y="33"/>
                  <a:pt x="8" y="33"/>
                </a:cubicBezTo>
                <a:cubicBezTo>
                  <a:pt x="8" y="34"/>
                  <a:pt x="7" y="34"/>
                  <a:pt x="8" y="34"/>
                </a:cubicBezTo>
                <a:cubicBezTo>
                  <a:pt x="8" y="34"/>
                  <a:pt x="8" y="34"/>
                  <a:pt x="8" y="34"/>
                </a:cubicBezTo>
                <a:cubicBezTo>
                  <a:pt x="7" y="34"/>
                  <a:pt x="8" y="35"/>
                  <a:pt x="8" y="34"/>
                </a:cubicBezTo>
                <a:cubicBezTo>
                  <a:pt x="8" y="34"/>
                  <a:pt x="9" y="36"/>
                  <a:pt x="9" y="35"/>
                </a:cubicBezTo>
                <a:cubicBezTo>
                  <a:pt x="9" y="35"/>
                  <a:pt x="9" y="35"/>
                  <a:pt x="10" y="36"/>
                </a:cubicBezTo>
                <a:cubicBezTo>
                  <a:pt x="9" y="35"/>
                  <a:pt x="9" y="36"/>
                  <a:pt x="9" y="36"/>
                </a:cubicBezTo>
                <a:cubicBezTo>
                  <a:pt x="9" y="36"/>
                  <a:pt x="9" y="36"/>
                  <a:pt x="9" y="37"/>
                </a:cubicBezTo>
                <a:cubicBezTo>
                  <a:pt x="9" y="37"/>
                  <a:pt x="9" y="37"/>
                  <a:pt x="10" y="37"/>
                </a:cubicBezTo>
                <a:cubicBezTo>
                  <a:pt x="9" y="37"/>
                  <a:pt x="9" y="38"/>
                  <a:pt x="9" y="38"/>
                </a:cubicBezTo>
                <a:cubicBezTo>
                  <a:pt x="9" y="38"/>
                  <a:pt x="9" y="39"/>
                  <a:pt x="9" y="39"/>
                </a:cubicBezTo>
                <a:cubicBezTo>
                  <a:pt x="9" y="40"/>
                  <a:pt x="9" y="41"/>
                  <a:pt x="10" y="42"/>
                </a:cubicBezTo>
                <a:cubicBezTo>
                  <a:pt x="10" y="42"/>
                  <a:pt x="11" y="41"/>
                  <a:pt x="11" y="41"/>
                </a:cubicBezTo>
                <a:cubicBezTo>
                  <a:pt x="11" y="41"/>
                  <a:pt x="12" y="42"/>
                  <a:pt x="12" y="42"/>
                </a:cubicBezTo>
                <a:cubicBezTo>
                  <a:pt x="13" y="42"/>
                  <a:pt x="12" y="41"/>
                  <a:pt x="13" y="40"/>
                </a:cubicBezTo>
                <a:cubicBezTo>
                  <a:pt x="13" y="40"/>
                  <a:pt x="13" y="39"/>
                  <a:pt x="13" y="39"/>
                </a:cubicBezTo>
                <a:cubicBezTo>
                  <a:pt x="13" y="39"/>
                  <a:pt x="13" y="39"/>
                  <a:pt x="13" y="39"/>
                </a:cubicBezTo>
                <a:cubicBezTo>
                  <a:pt x="13" y="39"/>
                  <a:pt x="13" y="39"/>
                  <a:pt x="13" y="39"/>
                </a:cubicBezTo>
                <a:cubicBezTo>
                  <a:pt x="13" y="38"/>
                  <a:pt x="15" y="40"/>
                  <a:pt x="15" y="40"/>
                </a:cubicBezTo>
                <a:cubicBezTo>
                  <a:pt x="15" y="41"/>
                  <a:pt x="15" y="41"/>
                  <a:pt x="15" y="42"/>
                </a:cubicBezTo>
                <a:cubicBezTo>
                  <a:pt x="15" y="42"/>
                  <a:pt x="15" y="43"/>
                  <a:pt x="15" y="43"/>
                </a:cubicBezTo>
                <a:cubicBezTo>
                  <a:pt x="14" y="43"/>
                  <a:pt x="14" y="43"/>
                  <a:pt x="14" y="44"/>
                </a:cubicBezTo>
                <a:cubicBezTo>
                  <a:pt x="13" y="45"/>
                  <a:pt x="14" y="45"/>
                  <a:pt x="14" y="45"/>
                </a:cubicBezTo>
                <a:cubicBezTo>
                  <a:pt x="14" y="45"/>
                  <a:pt x="14" y="45"/>
                  <a:pt x="15" y="45"/>
                </a:cubicBezTo>
                <a:cubicBezTo>
                  <a:pt x="15" y="46"/>
                  <a:pt x="15" y="46"/>
                  <a:pt x="15" y="46"/>
                </a:cubicBezTo>
                <a:cubicBezTo>
                  <a:pt x="15" y="46"/>
                  <a:pt x="16" y="46"/>
                  <a:pt x="16" y="46"/>
                </a:cubicBezTo>
                <a:cubicBezTo>
                  <a:pt x="16" y="46"/>
                  <a:pt x="16" y="45"/>
                  <a:pt x="16" y="45"/>
                </a:cubicBezTo>
                <a:cubicBezTo>
                  <a:pt x="16" y="45"/>
                  <a:pt x="16" y="46"/>
                  <a:pt x="17" y="45"/>
                </a:cubicBezTo>
                <a:cubicBezTo>
                  <a:pt x="17" y="45"/>
                  <a:pt x="17" y="44"/>
                  <a:pt x="17" y="44"/>
                </a:cubicBezTo>
                <a:cubicBezTo>
                  <a:pt x="17" y="45"/>
                  <a:pt x="19" y="45"/>
                  <a:pt x="20" y="45"/>
                </a:cubicBezTo>
                <a:cubicBezTo>
                  <a:pt x="20" y="45"/>
                  <a:pt x="21" y="45"/>
                  <a:pt x="21" y="46"/>
                </a:cubicBezTo>
                <a:cubicBezTo>
                  <a:pt x="21" y="46"/>
                  <a:pt x="22" y="46"/>
                  <a:pt x="22" y="46"/>
                </a:cubicBezTo>
                <a:cubicBezTo>
                  <a:pt x="22" y="46"/>
                  <a:pt x="23" y="47"/>
                  <a:pt x="23" y="47"/>
                </a:cubicBezTo>
                <a:cubicBezTo>
                  <a:pt x="24" y="46"/>
                  <a:pt x="24" y="46"/>
                  <a:pt x="24" y="46"/>
                </a:cubicBezTo>
                <a:cubicBezTo>
                  <a:pt x="25" y="45"/>
                  <a:pt x="25" y="46"/>
                  <a:pt x="25" y="46"/>
                </a:cubicBezTo>
                <a:cubicBezTo>
                  <a:pt x="26" y="46"/>
                  <a:pt x="27" y="46"/>
                  <a:pt x="27" y="45"/>
                </a:cubicBezTo>
                <a:cubicBezTo>
                  <a:pt x="28" y="44"/>
                  <a:pt x="28" y="44"/>
                  <a:pt x="29" y="44"/>
                </a:cubicBezTo>
                <a:cubicBezTo>
                  <a:pt x="29" y="43"/>
                  <a:pt x="29" y="43"/>
                  <a:pt x="29" y="43"/>
                </a:cubicBezTo>
                <a:cubicBezTo>
                  <a:pt x="28" y="42"/>
                  <a:pt x="28" y="42"/>
                  <a:pt x="28" y="41"/>
                </a:cubicBezTo>
                <a:cubicBezTo>
                  <a:pt x="28" y="41"/>
                  <a:pt x="29" y="41"/>
                  <a:pt x="29" y="41"/>
                </a:cubicBezTo>
                <a:cubicBezTo>
                  <a:pt x="29" y="41"/>
                  <a:pt x="30" y="41"/>
                  <a:pt x="30" y="42"/>
                </a:cubicBezTo>
                <a:cubicBezTo>
                  <a:pt x="31" y="42"/>
                  <a:pt x="31" y="42"/>
                  <a:pt x="31" y="42"/>
                </a:cubicBezTo>
                <a:cubicBezTo>
                  <a:pt x="31" y="42"/>
                  <a:pt x="31" y="41"/>
                  <a:pt x="31" y="41"/>
                </a:cubicBezTo>
                <a:cubicBezTo>
                  <a:pt x="32" y="41"/>
                  <a:pt x="32" y="41"/>
                  <a:pt x="32" y="41"/>
                </a:cubicBezTo>
                <a:cubicBezTo>
                  <a:pt x="33" y="41"/>
                  <a:pt x="34" y="41"/>
                  <a:pt x="34" y="40"/>
                </a:cubicBezTo>
                <a:cubicBezTo>
                  <a:pt x="35" y="40"/>
                  <a:pt x="35" y="40"/>
                  <a:pt x="36" y="40"/>
                </a:cubicBezTo>
                <a:cubicBezTo>
                  <a:pt x="36" y="41"/>
                  <a:pt x="36" y="43"/>
                  <a:pt x="37" y="42"/>
                </a:cubicBezTo>
                <a:cubicBezTo>
                  <a:pt x="37" y="41"/>
                  <a:pt x="38" y="42"/>
                  <a:pt x="38" y="42"/>
                </a:cubicBezTo>
                <a:cubicBezTo>
                  <a:pt x="38" y="43"/>
                  <a:pt x="39" y="43"/>
                  <a:pt x="39" y="43"/>
                </a:cubicBezTo>
                <a:cubicBezTo>
                  <a:pt x="39" y="42"/>
                  <a:pt x="39" y="42"/>
                  <a:pt x="39" y="41"/>
                </a:cubicBezTo>
                <a:cubicBezTo>
                  <a:pt x="39" y="40"/>
                  <a:pt x="39" y="41"/>
                  <a:pt x="39" y="41"/>
                </a:cubicBezTo>
                <a:cubicBezTo>
                  <a:pt x="39" y="40"/>
                  <a:pt x="39" y="40"/>
                  <a:pt x="39" y="40"/>
                </a:cubicBezTo>
                <a:cubicBezTo>
                  <a:pt x="39" y="39"/>
                  <a:pt x="39" y="40"/>
                  <a:pt x="38" y="39"/>
                </a:cubicBezTo>
                <a:cubicBezTo>
                  <a:pt x="38" y="39"/>
                  <a:pt x="38" y="39"/>
                  <a:pt x="37" y="38"/>
                </a:cubicBezTo>
                <a:cubicBezTo>
                  <a:pt x="36" y="38"/>
                  <a:pt x="36" y="37"/>
                  <a:pt x="36" y="36"/>
                </a:cubicBezTo>
                <a:cubicBezTo>
                  <a:pt x="36" y="36"/>
                  <a:pt x="36" y="35"/>
                  <a:pt x="36" y="35"/>
                </a:cubicBezTo>
                <a:cubicBezTo>
                  <a:pt x="36" y="34"/>
                  <a:pt x="35" y="34"/>
                  <a:pt x="35" y="34"/>
                </a:cubicBezTo>
                <a:cubicBezTo>
                  <a:pt x="35" y="33"/>
                  <a:pt x="36" y="34"/>
                  <a:pt x="37" y="33"/>
                </a:cubicBezTo>
                <a:cubicBezTo>
                  <a:pt x="37" y="33"/>
                  <a:pt x="37" y="32"/>
                  <a:pt x="37" y="32"/>
                </a:cubicBezTo>
                <a:cubicBezTo>
                  <a:pt x="38" y="32"/>
                  <a:pt x="38" y="32"/>
                  <a:pt x="39" y="32"/>
                </a:cubicBezTo>
                <a:cubicBezTo>
                  <a:pt x="39" y="32"/>
                  <a:pt x="39" y="33"/>
                  <a:pt x="40" y="33"/>
                </a:cubicBezTo>
                <a:cubicBezTo>
                  <a:pt x="40" y="33"/>
                  <a:pt x="40" y="33"/>
                  <a:pt x="41" y="33"/>
                </a:cubicBezTo>
                <a:cubicBezTo>
                  <a:pt x="41" y="33"/>
                  <a:pt x="41" y="33"/>
                  <a:pt x="41" y="33"/>
                </a:cubicBezTo>
                <a:cubicBezTo>
                  <a:pt x="41" y="32"/>
                  <a:pt x="41" y="32"/>
                  <a:pt x="41" y="31"/>
                </a:cubicBezTo>
                <a:cubicBezTo>
                  <a:pt x="41" y="31"/>
                  <a:pt x="40" y="30"/>
                  <a:pt x="41" y="30"/>
                </a:cubicBezTo>
                <a:cubicBezTo>
                  <a:pt x="41" y="30"/>
                  <a:pt x="43" y="30"/>
                  <a:pt x="43" y="30"/>
                </a:cubicBezTo>
                <a:cubicBezTo>
                  <a:pt x="44" y="30"/>
                  <a:pt x="44" y="29"/>
                  <a:pt x="44" y="29"/>
                </a:cubicBezTo>
                <a:cubicBezTo>
                  <a:pt x="45" y="28"/>
                  <a:pt x="46" y="29"/>
                  <a:pt x="47" y="28"/>
                </a:cubicBezTo>
                <a:cubicBezTo>
                  <a:pt x="47" y="27"/>
                  <a:pt x="47" y="26"/>
                  <a:pt x="48" y="26"/>
                </a:cubicBezTo>
                <a:cubicBezTo>
                  <a:pt x="49" y="26"/>
                  <a:pt x="49" y="26"/>
                  <a:pt x="49" y="26"/>
                </a:cubicBezTo>
                <a:cubicBezTo>
                  <a:pt x="50" y="26"/>
                  <a:pt x="50" y="27"/>
                  <a:pt x="50" y="27"/>
                </a:cubicBezTo>
                <a:cubicBezTo>
                  <a:pt x="50" y="27"/>
                  <a:pt x="51" y="26"/>
                  <a:pt x="51" y="25"/>
                </a:cubicBezTo>
                <a:cubicBezTo>
                  <a:pt x="51" y="25"/>
                  <a:pt x="51" y="24"/>
                  <a:pt x="51" y="23"/>
                </a:cubicBezTo>
                <a:close/>
                <a:moveTo>
                  <a:pt x="7" y="33"/>
                </a:moveTo>
                <a:cubicBezTo>
                  <a:pt x="7" y="33"/>
                  <a:pt x="7" y="33"/>
                  <a:pt x="7" y="33"/>
                </a:cubicBezTo>
                <a:cubicBezTo>
                  <a:pt x="7" y="32"/>
                  <a:pt x="7" y="32"/>
                  <a:pt x="7" y="31"/>
                </a:cubicBezTo>
                <a:cubicBezTo>
                  <a:pt x="7" y="32"/>
                  <a:pt x="8" y="33"/>
                  <a:pt x="9" y="32"/>
                </a:cubicBezTo>
                <a:cubicBezTo>
                  <a:pt x="8" y="33"/>
                  <a:pt x="8" y="33"/>
                  <a:pt x="7" y="33"/>
                </a:cubicBezTo>
                <a:close/>
                <a:moveTo>
                  <a:pt x="8" y="36"/>
                </a:moveTo>
                <a:cubicBezTo>
                  <a:pt x="8" y="36"/>
                  <a:pt x="9" y="38"/>
                  <a:pt x="8" y="38"/>
                </a:cubicBezTo>
                <a:cubicBezTo>
                  <a:pt x="8" y="38"/>
                  <a:pt x="7" y="35"/>
                  <a:pt x="8" y="36"/>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3" name="Burundi"/>
          <p:cNvSpPr>
            <a:spLocks/>
          </p:cNvSpPr>
          <p:nvPr/>
        </p:nvSpPr>
        <p:spPr bwMode="auto">
          <a:xfrm>
            <a:off x="6811044" y="4753934"/>
            <a:ext cx="64998" cy="86997"/>
          </a:xfrm>
          <a:custGeom>
            <a:avLst/>
            <a:gdLst/>
            <a:ahLst/>
            <a:cxnLst>
              <a:cxn ang="0">
                <a:pos x="18" y="8"/>
              </a:cxn>
              <a:cxn ang="0">
                <a:pos x="16" y="7"/>
              </a:cxn>
              <a:cxn ang="0">
                <a:pos x="14" y="8"/>
              </a:cxn>
              <a:cxn ang="0">
                <a:pos x="14" y="6"/>
              </a:cxn>
              <a:cxn ang="0">
                <a:pos x="14" y="5"/>
              </a:cxn>
              <a:cxn ang="0">
                <a:pos x="15" y="4"/>
              </a:cxn>
              <a:cxn ang="0">
                <a:pos x="14" y="4"/>
              </a:cxn>
              <a:cxn ang="0">
                <a:pos x="15" y="2"/>
              </a:cxn>
              <a:cxn ang="0">
                <a:pos x="13" y="1"/>
              </a:cxn>
              <a:cxn ang="0">
                <a:pos x="12" y="1"/>
              </a:cxn>
              <a:cxn ang="0">
                <a:pos x="11" y="2"/>
              </a:cxn>
              <a:cxn ang="0">
                <a:pos x="9" y="1"/>
              </a:cxn>
              <a:cxn ang="0">
                <a:pos x="9" y="2"/>
              </a:cxn>
              <a:cxn ang="0">
                <a:pos x="9" y="3"/>
              </a:cxn>
              <a:cxn ang="0">
                <a:pos x="9" y="5"/>
              </a:cxn>
              <a:cxn ang="0">
                <a:pos x="7" y="6"/>
              </a:cxn>
              <a:cxn ang="0">
                <a:pos x="7" y="6"/>
              </a:cxn>
              <a:cxn ang="0">
                <a:pos x="6" y="6"/>
              </a:cxn>
              <a:cxn ang="0">
                <a:pos x="5" y="6"/>
              </a:cxn>
              <a:cxn ang="0">
                <a:pos x="4" y="6"/>
              </a:cxn>
              <a:cxn ang="0">
                <a:pos x="3" y="6"/>
              </a:cxn>
              <a:cxn ang="0">
                <a:pos x="1" y="4"/>
              </a:cxn>
              <a:cxn ang="0">
                <a:pos x="0" y="5"/>
              </a:cxn>
              <a:cxn ang="0">
                <a:pos x="0" y="5"/>
              </a:cxn>
              <a:cxn ang="0">
                <a:pos x="0" y="6"/>
              </a:cxn>
              <a:cxn ang="0">
                <a:pos x="1" y="7"/>
              </a:cxn>
              <a:cxn ang="0">
                <a:pos x="2" y="8"/>
              </a:cxn>
              <a:cxn ang="0">
                <a:pos x="2" y="10"/>
              </a:cxn>
              <a:cxn ang="0">
                <a:pos x="2" y="11"/>
              </a:cxn>
              <a:cxn ang="0">
                <a:pos x="3" y="12"/>
              </a:cxn>
              <a:cxn ang="0">
                <a:pos x="3" y="13"/>
              </a:cxn>
              <a:cxn ang="0">
                <a:pos x="3" y="18"/>
              </a:cxn>
              <a:cxn ang="0">
                <a:pos x="5" y="22"/>
              </a:cxn>
              <a:cxn ang="0">
                <a:pos x="6" y="24"/>
              </a:cxn>
              <a:cxn ang="0">
                <a:pos x="7" y="24"/>
              </a:cxn>
              <a:cxn ang="0">
                <a:pos x="8" y="23"/>
              </a:cxn>
              <a:cxn ang="0">
                <a:pos x="10" y="22"/>
              </a:cxn>
              <a:cxn ang="0">
                <a:pos x="11" y="20"/>
              </a:cxn>
              <a:cxn ang="0">
                <a:pos x="12" y="17"/>
              </a:cxn>
              <a:cxn ang="0">
                <a:pos x="13" y="17"/>
              </a:cxn>
              <a:cxn ang="0">
                <a:pos x="13" y="15"/>
              </a:cxn>
              <a:cxn ang="0">
                <a:pos x="14" y="14"/>
              </a:cxn>
              <a:cxn ang="0">
                <a:pos x="15" y="14"/>
              </a:cxn>
              <a:cxn ang="0">
                <a:pos x="16" y="12"/>
              </a:cxn>
              <a:cxn ang="0">
                <a:pos x="18" y="11"/>
              </a:cxn>
              <a:cxn ang="0">
                <a:pos x="18" y="8"/>
              </a:cxn>
            </a:cxnLst>
            <a:rect l="0" t="0" r="r" b="b"/>
            <a:pathLst>
              <a:path w="18" h="24">
                <a:moveTo>
                  <a:pt x="18" y="8"/>
                </a:moveTo>
                <a:cubicBezTo>
                  <a:pt x="17" y="8"/>
                  <a:pt x="16" y="8"/>
                  <a:pt x="16" y="7"/>
                </a:cubicBezTo>
                <a:cubicBezTo>
                  <a:pt x="15" y="7"/>
                  <a:pt x="14" y="8"/>
                  <a:pt x="14" y="8"/>
                </a:cubicBezTo>
                <a:cubicBezTo>
                  <a:pt x="14" y="7"/>
                  <a:pt x="13" y="7"/>
                  <a:pt x="14" y="6"/>
                </a:cubicBezTo>
                <a:cubicBezTo>
                  <a:pt x="14" y="6"/>
                  <a:pt x="14" y="5"/>
                  <a:pt x="14" y="5"/>
                </a:cubicBezTo>
                <a:cubicBezTo>
                  <a:pt x="14" y="5"/>
                  <a:pt x="15" y="5"/>
                  <a:pt x="15" y="4"/>
                </a:cubicBezTo>
                <a:cubicBezTo>
                  <a:pt x="14" y="5"/>
                  <a:pt x="13" y="5"/>
                  <a:pt x="14" y="4"/>
                </a:cubicBezTo>
                <a:cubicBezTo>
                  <a:pt x="15" y="3"/>
                  <a:pt x="15" y="2"/>
                  <a:pt x="15" y="2"/>
                </a:cubicBezTo>
                <a:cubicBezTo>
                  <a:pt x="15" y="2"/>
                  <a:pt x="13" y="0"/>
                  <a:pt x="13" y="1"/>
                </a:cubicBezTo>
                <a:cubicBezTo>
                  <a:pt x="13" y="1"/>
                  <a:pt x="12" y="1"/>
                  <a:pt x="12" y="1"/>
                </a:cubicBezTo>
                <a:cubicBezTo>
                  <a:pt x="11" y="1"/>
                  <a:pt x="11" y="2"/>
                  <a:pt x="11" y="2"/>
                </a:cubicBezTo>
                <a:cubicBezTo>
                  <a:pt x="11" y="2"/>
                  <a:pt x="9" y="1"/>
                  <a:pt x="9" y="1"/>
                </a:cubicBezTo>
                <a:cubicBezTo>
                  <a:pt x="9" y="1"/>
                  <a:pt x="9" y="2"/>
                  <a:pt x="9" y="2"/>
                </a:cubicBezTo>
                <a:cubicBezTo>
                  <a:pt x="9" y="2"/>
                  <a:pt x="9" y="3"/>
                  <a:pt x="9" y="3"/>
                </a:cubicBezTo>
                <a:cubicBezTo>
                  <a:pt x="9" y="4"/>
                  <a:pt x="9" y="4"/>
                  <a:pt x="9" y="5"/>
                </a:cubicBezTo>
                <a:cubicBezTo>
                  <a:pt x="8" y="5"/>
                  <a:pt x="8" y="6"/>
                  <a:pt x="7" y="6"/>
                </a:cubicBezTo>
                <a:cubicBezTo>
                  <a:pt x="7" y="5"/>
                  <a:pt x="7" y="6"/>
                  <a:pt x="7" y="6"/>
                </a:cubicBezTo>
                <a:cubicBezTo>
                  <a:pt x="7" y="6"/>
                  <a:pt x="7" y="6"/>
                  <a:pt x="6" y="6"/>
                </a:cubicBezTo>
                <a:cubicBezTo>
                  <a:pt x="6" y="6"/>
                  <a:pt x="6" y="6"/>
                  <a:pt x="5" y="6"/>
                </a:cubicBezTo>
                <a:cubicBezTo>
                  <a:pt x="5" y="6"/>
                  <a:pt x="5" y="6"/>
                  <a:pt x="4" y="6"/>
                </a:cubicBezTo>
                <a:cubicBezTo>
                  <a:pt x="4" y="6"/>
                  <a:pt x="3" y="7"/>
                  <a:pt x="3" y="6"/>
                </a:cubicBezTo>
                <a:cubicBezTo>
                  <a:pt x="3" y="4"/>
                  <a:pt x="3" y="4"/>
                  <a:pt x="1" y="4"/>
                </a:cubicBezTo>
                <a:cubicBezTo>
                  <a:pt x="1" y="4"/>
                  <a:pt x="0" y="4"/>
                  <a:pt x="0" y="5"/>
                </a:cubicBezTo>
                <a:cubicBezTo>
                  <a:pt x="0" y="5"/>
                  <a:pt x="0" y="5"/>
                  <a:pt x="0" y="5"/>
                </a:cubicBezTo>
                <a:cubicBezTo>
                  <a:pt x="0" y="6"/>
                  <a:pt x="0" y="6"/>
                  <a:pt x="0" y="6"/>
                </a:cubicBezTo>
                <a:cubicBezTo>
                  <a:pt x="0" y="6"/>
                  <a:pt x="0" y="7"/>
                  <a:pt x="1" y="7"/>
                </a:cubicBezTo>
                <a:cubicBezTo>
                  <a:pt x="1" y="7"/>
                  <a:pt x="1" y="8"/>
                  <a:pt x="2" y="8"/>
                </a:cubicBezTo>
                <a:cubicBezTo>
                  <a:pt x="3" y="9"/>
                  <a:pt x="2" y="10"/>
                  <a:pt x="2" y="10"/>
                </a:cubicBezTo>
                <a:cubicBezTo>
                  <a:pt x="2" y="11"/>
                  <a:pt x="2" y="11"/>
                  <a:pt x="2" y="11"/>
                </a:cubicBezTo>
                <a:cubicBezTo>
                  <a:pt x="2" y="12"/>
                  <a:pt x="2" y="12"/>
                  <a:pt x="3" y="12"/>
                </a:cubicBezTo>
                <a:cubicBezTo>
                  <a:pt x="3" y="12"/>
                  <a:pt x="3" y="13"/>
                  <a:pt x="3" y="13"/>
                </a:cubicBezTo>
                <a:cubicBezTo>
                  <a:pt x="3" y="15"/>
                  <a:pt x="3" y="17"/>
                  <a:pt x="3" y="18"/>
                </a:cubicBezTo>
                <a:cubicBezTo>
                  <a:pt x="4" y="20"/>
                  <a:pt x="5" y="21"/>
                  <a:pt x="5" y="22"/>
                </a:cubicBezTo>
                <a:cubicBezTo>
                  <a:pt x="5" y="23"/>
                  <a:pt x="6" y="24"/>
                  <a:pt x="6" y="24"/>
                </a:cubicBezTo>
                <a:cubicBezTo>
                  <a:pt x="7" y="24"/>
                  <a:pt x="7" y="24"/>
                  <a:pt x="7" y="24"/>
                </a:cubicBezTo>
                <a:cubicBezTo>
                  <a:pt x="7" y="23"/>
                  <a:pt x="8" y="24"/>
                  <a:pt x="8" y="23"/>
                </a:cubicBezTo>
                <a:cubicBezTo>
                  <a:pt x="9" y="23"/>
                  <a:pt x="9" y="23"/>
                  <a:pt x="10" y="22"/>
                </a:cubicBezTo>
                <a:cubicBezTo>
                  <a:pt x="10" y="21"/>
                  <a:pt x="11" y="20"/>
                  <a:pt x="11" y="20"/>
                </a:cubicBezTo>
                <a:cubicBezTo>
                  <a:pt x="12" y="19"/>
                  <a:pt x="12" y="18"/>
                  <a:pt x="12" y="17"/>
                </a:cubicBezTo>
                <a:cubicBezTo>
                  <a:pt x="12" y="17"/>
                  <a:pt x="13" y="16"/>
                  <a:pt x="13" y="17"/>
                </a:cubicBezTo>
                <a:cubicBezTo>
                  <a:pt x="13" y="17"/>
                  <a:pt x="13" y="16"/>
                  <a:pt x="13" y="15"/>
                </a:cubicBezTo>
                <a:cubicBezTo>
                  <a:pt x="14" y="15"/>
                  <a:pt x="14" y="14"/>
                  <a:pt x="14" y="14"/>
                </a:cubicBezTo>
                <a:cubicBezTo>
                  <a:pt x="14" y="14"/>
                  <a:pt x="15" y="14"/>
                  <a:pt x="15" y="14"/>
                </a:cubicBezTo>
                <a:cubicBezTo>
                  <a:pt x="15" y="13"/>
                  <a:pt x="17" y="12"/>
                  <a:pt x="16" y="12"/>
                </a:cubicBezTo>
                <a:cubicBezTo>
                  <a:pt x="16" y="11"/>
                  <a:pt x="17" y="12"/>
                  <a:pt x="18" y="11"/>
                </a:cubicBezTo>
                <a:cubicBezTo>
                  <a:pt x="18" y="9"/>
                  <a:pt x="17" y="9"/>
                  <a:pt x="18" y="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4" name="Burkina Faso"/>
          <p:cNvSpPr>
            <a:spLocks/>
          </p:cNvSpPr>
          <p:nvPr/>
        </p:nvSpPr>
        <p:spPr bwMode="auto">
          <a:xfrm>
            <a:off x="5600089" y="4062960"/>
            <a:ext cx="278990" cy="227991"/>
          </a:xfrm>
          <a:custGeom>
            <a:avLst/>
            <a:gdLst/>
            <a:ahLst/>
            <a:cxnLst>
              <a:cxn ang="0">
                <a:pos x="76" y="30"/>
              </a:cxn>
              <a:cxn ang="0">
                <a:pos x="72" y="28"/>
              </a:cxn>
              <a:cxn ang="0">
                <a:pos x="64" y="20"/>
              </a:cxn>
              <a:cxn ang="0">
                <a:pos x="66" y="19"/>
              </a:cxn>
              <a:cxn ang="0">
                <a:pos x="62" y="16"/>
              </a:cxn>
              <a:cxn ang="0">
                <a:pos x="60" y="15"/>
              </a:cxn>
              <a:cxn ang="0">
                <a:pos x="58" y="11"/>
              </a:cxn>
              <a:cxn ang="0">
                <a:pos x="57" y="4"/>
              </a:cxn>
              <a:cxn ang="0">
                <a:pos x="53" y="1"/>
              </a:cxn>
              <a:cxn ang="0">
                <a:pos x="45" y="3"/>
              </a:cxn>
              <a:cxn ang="0">
                <a:pos x="36" y="7"/>
              </a:cxn>
              <a:cxn ang="0">
                <a:pos x="30" y="9"/>
              </a:cxn>
              <a:cxn ang="0">
                <a:pos x="26" y="15"/>
              </a:cxn>
              <a:cxn ang="0">
                <a:pos x="25" y="17"/>
              </a:cxn>
              <a:cxn ang="0">
                <a:pos x="23" y="16"/>
              </a:cxn>
              <a:cxn ang="0">
                <a:pos x="21" y="21"/>
              </a:cxn>
              <a:cxn ang="0">
                <a:pos x="16" y="19"/>
              </a:cxn>
              <a:cxn ang="0">
                <a:pos x="14" y="20"/>
              </a:cxn>
              <a:cxn ang="0">
                <a:pos x="13" y="23"/>
              </a:cxn>
              <a:cxn ang="0">
                <a:pos x="11" y="26"/>
              </a:cxn>
              <a:cxn ang="0">
                <a:pos x="12" y="31"/>
              </a:cxn>
              <a:cxn ang="0">
                <a:pos x="10" y="33"/>
              </a:cxn>
              <a:cxn ang="0">
                <a:pos x="8" y="34"/>
              </a:cxn>
              <a:cxn ang="0">
                <a:pos x="2" y="36"/>
              </a:cxn>
              <a:cxn ang="0">
                <a:pos x="3" y="41"/>
              </a:cxn>
              <a:cxn ang="0">
                <a:pos x="2" y="44"/>
              </a:cxn>
              <a:cxn ang="0">
                <a:pos x="2" y="47"/>
              </a:cxn>
              <a:cxn ang="0">
                <a:pos x="1" y="52"/>
              </a:cxn>
              <a:cxn ang="0">
                <a:pos x="5" y="54"/>
              </a:cxn>
              <a:cxn ang="0">
                <a:pos x="6" y="56"/>
              </a:cxn>
              <a:cxn ang="0">
                <a:pos x="9" y="60"/>
              </a:cxn>
              <a:cxn ang="0">
                <a:pos x="10" y="60"/>
              </a:cxn>
              <a:cxn ang="0">
                <a:pos x="12" y="60"/>
              </a:cxn>
              <a:cxn ang="0">
                <a:pos x="14" y="58"/>
              </a:cxn>
              <a:cxn ang="0">
                <a:pos x="17" y="57"/>
              </a:cxn>
              <a:cxn ang="0">
                <a:pos x="21" y="57"/>
              </a:cxn>
              <a:cxn ang="0">
                <a:pos x="23" y="57"/>
              </a:cxn>
              <a:cxn ang="0">
                <a:pos x="24" y="59"/>
              </a:cxn>
              <a:cxn ang="0">
                <a:pos x="27" y="63"/>
              </a:cxn>
              <a:cxn ang="0">
                <a:pos x="27" y="58"/>
              </a:cxn>
              <a:cxn ang="0">
                <a:pos x="27" y="54"/>
              </a:cxn>
              <a:cxn ang="0">
                <a:pos x="26" y="51"/>
              </a:cxn>
              <a:cxn ang="0">
                <a:pos x="27" y="45"/>
              </a:cxn>
              <a:cxn ang="0">
                <a:pos x="41" y="45"/>
              </a:cxn>
              <a:cxn ang="0">
                <a:pos x="47" y="45"/>
              </a:cxn>
              <a:cxn ang="0">
                <a:pos x="50" y="44"/>
              </a:cxn>
              <a:cxn ang="0">
                <a:pos x="53" y="44"/>
              </a:cxn>
              <a:cxn ang="0">
                <a:pos x="61" y="45"/>
              </a:cxn>
              <a:cxn ang="0">
                <a:pos x="65" y="45"/>
              </a:cxn>
              <a:cxn ang="0">
                <a:pos x="66" y="43"/>
              </a:cxn>
              <a:cxn ang="0">
                <a:pos x="68" y="40"/>
              </a:cxn>
              <a:cxn ang="0">
                <a:pos x="72" y="41"/>
              </a:cxn>
              <a:cxn ang="0">
                <a:pos x="76" y="37"/>
              </a:cxn>
            </a:cxnLst>
            <a:rect l="0" t="0" r="r" b="b"/>
            <a:pathLst>
              <a:path w="77" h="63">
                <a:moveTo>
                  <a:pt x="75" y="32"/>
                </a:moveTo>
                <a:cubicBezTo>
                  <a:pt x="75" y="32"/>
                  <a:pt x="73" y="31"/>
                  <a:pt x="74" y="30"/>
                </a:cubicBezTo>
                <a:cubicBezTo>
                  <a:pt x="75" y="30"/>
                  <a:pt x="75" y="30"/>
                  <a:pt x="76" y="30"/>
                </a:cubicBezTo>
                <a:cubicBezTo>
                  <a:pt x="77" y="29"/>
                  <a:pt x="75" y="27"/>
                  <a:pt x="75" y="27"/>
                </a:cubicBezTo>
                <a:cubicBezTo>
                  <a:pt x="75" y="26"/>
                  <a:pt x="73" y="26"/>
                  <a:pt x="73" y="27"/>
                </a:cubicBezTo>
                <a:cubicBezTo>
                  <a:pt x="72" y="27"/>
                  <a:pt x="72" y="28"/>
                  <a:pt x="72" y="28"/>
                </a:cubicBezTo>
                <a:cubicBezTo>
                  <a:pt x="70" y="28"/>
                  <a:pt x="69" y="27"/>
                  <a:pt x="68" y="26"/>
                </a:cubicBezTo>
                <a:cubicBezTo>
                  <a:pt x="67" y="25"/>
                  <a:pt x="66" y="24"/>
                  <a:pt x="64" y="23"/>
                </a:cubicBezTo>
                <a:cubicBezTo>
                  <a:pt x="63" y="23"/>
                  <a:pt x="64" y="21"/>
                  <a:pt x="64" y="20"/>
                </a:cubicBezTo>
                <a:cubicBezTo>
                  <a:pt x="64" y="20"/>
                  <a:pt x="63" y="19"/>
                  <a:pt x="64" y="19"/>
                </a:cubicBezTo>
                <a:cubicBezTo>
                  <a:pt x="65" y="19"/>
                  <a:pt x="65" y="20"/>
                  <a:pt x="66" y="20"/>
                </a:cubicBezTo>
                <a:cubicBezTo>
                  <a:pt x="66" y="19"/>
                  <a:pt x="67" y="20"/>
                  <a:pt x="66" y="19"/>
                </a:cubicBezTo>
                <a:cubicBezTo>
                  <a:pt x="66" y="19"/>
                  <a:pt x="65" y="19"/>
                  <a:pt x="65" y="19"/>
                </a:cubicBezTo>
                <a:cubicBezTo>
                  <a:pt x="64" y="18"/>
                  <a:pt x="64" y="18"/>
                  <a:pt x="64" y="17"/>
                </a:cubicBezTo>
                <a:cubicBezTo>
                  <a:pt x="63" y="17"/>
                  <a:pt x="62" y="17"/>
                  <a:pt x="62" y="16"/>
                </a:cubicBezTo>
                <a:cubicBezTo>
                  <a:pt x="62" y="16"/>
                  <a:pt x="62" y="16"/>
                  <a:pt x="62" y="16"/>
                </a:cubicBezTo>
                <a:cubicBezTo>
                  <a:pt x="61" y="16"/>
                  <a:pt x="61" y="16"/>
                  <a:pt x="61" y="16"/>
                </a:cubicBezTo>
                <a:cubicBezTo>
                  <a:pt x="60" y="16"/>
                  <a:pt x="60" y="15"/>
                  <a:pt x="60" y="15"/>
                </a:cubicBezTo>
                <a:cubicBezTo>
                  <a:pt x="60" y="15"/>
                  <a:pt x="59" y="14"/>
                  <a:pt x="59" y="14"/>
                </a:cubicBezTo>
                <a:cubicBezTo>
                  <a:pt x="59" y="13"/>
                  <a:pt x="58" y="13"/>
                  <a:pt x="58" y="12"/>
                </a:cubicBezTo>
                <a:cubicBezTo>
                  <a:pt x="58" y="12"/>
                  <a:pt x="58" y="11"/>
                  <a:pt x="58" y="11"/>
                </a:cubicBezTo>
                <a:cubicBezTo>
                  <a:pt x="58" y="10"/>
                  <a:pt x="58" y="10"/>
                  <a:pt x="58" y="9"/>
                </a:cubicBezTo>
                <a:cubicBezTo>
                  <a:pt x="57" y="8"/>
                  <a:pt x="56" y="8"/>
                  <a:pt x="56" y="6"/>
                </a:cubicBezTo>
                <a:cubicBezTo>
                  <a:pt x="56" y="6"/>
                  <a:pt x="57" y="5"/>
                  <a:pt x="57" y="4"/>
                </a:cubicBezTo>
                <a:cubicBezTo>
                  <a:pt x="57" y="4"/>
                  <a:pt x="56" y="4"/>
                  <a:pt x="56" y="3"/>
                </a:cubicBezTo>
                <a:cubicBezTo>
                  <a:pt x="56" y="3"/>
                  <a:pt x="57" y="3"/>
                  <a:pt x="57" y="3"/>
                </a:cubicBezTo>
                <a:cubicBezTo>
                  <a:pt x="57" y="2"/>
                  <a:pt x="54" y="1"/>
                  <a:pt x="53" y="1"/>
                </a:cubicBezTo>
                <a:cubicBezTo>
                  <a:pt x="52" y="1"/>
                  <a:pt x="51" y="2"/>
                  <a:pt x="50" y="0"/>
                </a:cubicBezTo>
                <a:cubicBezTo>
                  <a:pt x="49" y="0"/>
                  <a:pt x="48" y="0"/>
                  <a:pt x="47" y="1"/>
                </a:cubicBezTo>
                <a:cubicBezTo>
                  <a:pt x="46" y="2"/>
                  <a:pt x="45" y="3"/>
                  <a:pt x="45" y="3"/>
                </a:cubicBezTo>
                <a:cubicBezTo>
                  <a:pt x="44" y="4"/>
                  <a:pt x="42" y="4"/>
                  <a:pt x="41" y="5"/>
                </a:cubicBezTo>
                <a:cubicBezTo>
                  <a:pt x="40" y="5"/>
                  <a:pt x="40" y="6"/>
                  <a:pt x="39" y="6"/>
                </a:cubicBezTo>
                <a:cubicBezTo>
                  <a:pt x="38" y="7"/>
                  <a:pt x="36" y="7"/>
                  <a:pt x="36" y="7"/>
                </a:cubicBezTo>
                <a:cubicBezTo>
                  <a:pt x="35" y="8"/>
                  <a:pt x="35" y="9"/>
                  <a:pt x="35" y="10"/>
                </a:cubicBezTo>
                <a:cubicBezTo>
                  <a:pt x="35" y="11"/>
                  <a:pt x="33" y="10"/>
                  <a:pt x="32" y="10"/>
                </a:cubicBezTo>
                <a:cubicBezTo>
                  <a:pt x="31" y="10"/>
                  <a:pt x="31" y="9"/>
                  <a:pt x="30" y="9"/>
                </a:cubicBezTo>
                <a:cubicBezTo>
                  <a:pt x="29" y="10"/>
                  <a:pt x="29" y="11"/>
                  <a:pt x="28" y="11"/>
                </a:cubicBezTo>
                <a:cubicBezTo>
                  <a:pt x="27" y="12"/>
                  <a:pt x="27" y="12"/>
                  <a:pt x="27" y="13"/>
                </a:cubicBezTo>
                <a:cubicBezTo>
                  <a:pt x="26" y="14"/>
                  <a:pt x="26" y="14"/>
                  <a:pt x="26" y="15"/>
                </a:cubicBezTo>
                <a:cubicBezTo>
                  <a:pt x="26" y="15"/>
                  <a:pt x="26" y="16"/>
                  <a:pt x="26" y="16"/>
                </a:cubicBezTo>
                <a:cubicBezTo>
                  <a:pt x="26" y="16"/>
                  <a:pt x="26" y="16"/>
                  <a:pt x="25" y="16"/>
                </a:cubicBezTo>
                <a:cubicBezTo>
                  <a:pt x="25" y="16"/>
                  <a:pt x="25" y="17"/>
                  <a:pt x="25" y="17"/>
                </a:cubicBezTo>
                <a:cubicBezTo>
                  <a:pt x="25" y="17"/>
                  <a:pt x="25" y="16"/>
                  <a:pt x="25" y="16"/>
                </a:cubicBezTo>
                <a:cubicBezTo>
                  <a:pt x="24" y="16"/>
                  <a:pt x="24" y="16"/>
                  <a:pt x="24" y="16"/>
                </a:cubicBezTo>
                <a:cubicBezTo>
                  <a:pt x="23" y="16"/>
                  <a:pt x="23" y="15"/>
                  <a:pt x="23" y="16"/>
                </a:cubicBezTo>
                <a:cubicBezTo>
                  <a:pt x="23" y="16"/>
                  <a:pt x="23" y="16"/>
                  <a:pt x="23" y="16"/>
                </a:cubicBezTo>
                <a:cubicBezTo>
                  <a:pt x="23" y="18"/>
                  <a:pt x="23" y="19"/>
                  <a:pt x="23" y="20"/>
                </a:cubicBezTo>
                <a:cubicBezTo>
                  <a:pt x="22" y="20"/>
                  <a:pt x="21" y="20"/>
                  <a:pt x="21" y="21"/>
                </a:cubicBezTo>
                <a:cubicBezTo>
                  <a:pt x="21" y="22"/>
                  <a:pt x="19" y="21"/>
                  <a:pt x="19" y="20"/>
                </a:cubicBezTo>
                <a:cubicBezTo>
                  <a:pt x="18" y="20"/>
                  <a:pt x="17" y="19"/>
                  <a:pt x="16" y="19"/>
                </a:cubicBezTo>
                <a:cubicBezTo>
                  <a:pt x="16" y="19"/>
                  <a:pt x="16" y="19"/>
                  <a:pt x="16" y="19"/>
                </a:cubicBezTo>
                <a:cubicBezTo>
                  <a:pt x="17" y="18"/>
                  <a:pt x="16" y="18"/>
                  <a:pt x="16" y="18"/>
                </a:cubicBezTo>
                <a:cubicBezTo>
                  <a:pt x="16" y="18"/>
                  <a:pt x="16" y="18"/>
                  <a:pt x="15" y="19"/>
                </a:cubicBezTo>
                <a:cubicBezTo>
                  <a:pt x="15" y="19"/>
                  <a:pt x="15" y="20"/>
                  <a:pt x="14" y="20"/>
                </a:cubicBezTo>
                <a:cubicBezTo>
                  <a:pt x="14" y="21"/>
                  <a:pt x="13" y="21"/>
                  <a:pt x="13" y="21"/>
                </a:cubicBezTo>
                <a:cubicBezTo>
                  <a:pt x="14" y="21"/>
                  <a:pt x="13" y="21"/>
                  <a:pt x="13" y="21"/>
                </a:cubicBezTo>
                <a:cubicBezTo>
                  <a:pt x="12" y="22"/>
                  <a:pt x="13" y="23"/>
                  <a:pt x="13" y="23"/>
                </a:cubicBezTo>
                <a:cubicBezTo>
                  <a:pt x="14" y="24"/>
                  <a:pt x="14" y="24"/>
                  <a:pt x="14" y="25"/>
                </a:cubicBezTo>
                <a:cubicBezTo>
                  <a:pt x="14" y="26"/>
                  <a:pt x="13" y="27"/>
                  <a:pt x="13" y="26"/>
                </a:cubicBezTo>
                <a:cubicBezTo>
                  <a:pt x="12" y="26"/>
                  <a:pt x="12" y="27"/>
                  <a:pt x="11" y="26"/>
                </a:cubicBezTo>
                <a:cubicBezTo>
                  <a:pt x="11" y="27"/>
                  <a:pt x="12" y="28"/>
                  <a:pt x="12" y="29"/>
                </a:cubicBezTo>
                <a:cubicBezTo>
                  <a:pt x="12" y="29"/>
                  <a:pt x="11" y="29"/>
                  <a:pt x="11" y="30"/>
                </a:cubicBezTo>
                <a:cubicBezTo>
                  <a:pt x="11" y="30"/>
                  <a:pt x="12" y="30"/>
                  <a:pt x="12" y="31"/>
                </a:cubicBezTo>
                <a:cubicBezTo>
                  <a:pt x="12" y="31"/>
                  <a:pt x="11" y="30"/>
                  <a:pt x="11" y="31"/>
                </a:cubicBezTo>
                <a:cubicBezTo>
                  <a:pt x="11" y="32"/>
                  <a:pt x="10" y="32"/>
                  <a:pt x="10" y="32"/>
                </a:cubicBezTo>
                <a:cubicBezTo>
                  <a:pt x="10" y="32"/>
                  <a:pt x="10" y="33"/>
                  <a:pt x="10" y="33"/>
                </a:cubicBezTo>
                <a:cubicBezTo>
                  <a:pt x="10" y="33"/>
                  <a:pt x="10" y="33"/>
                  <a:pt x="9" y="33"/>
                </a:cubicBezTo>
                <a:cubicBezTo>
                  <a:pt x="9" y="34"/>
                  <a:pt x="9" y="34"/>
                  <a:pt x="9" y="34"/>
                </a:cubicBezTo>
                <a:cubicBezTo>
                  <a:pt x="8" y="34"/>
                  <a:pt x="8" y="34"/>
                  <a:pt x="8" y="34"/>
                </a:cubicBezTo>
                <a:cubicBezTo>
                  <a:pt x="7" y="34"/>
                  <a:pt x="7" y="34"/>
                  <a:pt x="7" y="34"/>
                </a:cubicBezTo>
                <a:cubicBezTo>
                  <a:pt x="6" y="34"/>
                  <a:pt x="5" y="35"/>
                  <a:pt x="4" y="35"/>
                </a:cubicBezTo>
                <a:cubicBezTo>
                  <a:pt x="3" y="36"/>
                  <a:pt x="3" y="36"/>
                  <a:pt x="2" y="36"/>
                </a:cubicBezTo>
                <a:cubicBezTo>
                  <a:pt x="2" y="37"/>
                  <a:pt x="3" y="37"/>
                  <a:pt x="3" y="37"/>
                </a:cubicBezTo>
                <a:cubicBezTo>
                  <a:pt x="3" y="38"/>
                  <a:pt x="3" y="39"/>
                  <a:pt x="3" y="39"/>
                </a:cubicBezTo>
                <a:cubicBezTo>
                  <a:pt x="4" y="39"/>
                  <a:pt x="4" y="41"/>
                  <a:pt x="3" y="41"/>
                </a:cubicBezTo>
                <a:cubicBezTo>
                  <a:pt x="3" y="41"/>
                  <a:pt x="3" y="42"/>
                  <a:pt x="3" y="43"/>
                </a:cubicBezTo>
                <a:cubicBezTo>
                  <a:pt x="3" y="43"/>
                  <a:pt x="3" y="43"/>
                  <a:pt x="3" y="43"/>
                </a:cubicBezTo>
                <a:cubicBezTo>
                  <a:pt x="3" y="44"/>
                  <a:pt x="3" y="44"/>
                  <a:pt x="2" y="44"/>
                </a:cubicBezTo>
                <a:cubicBezTo>
                  <a:pt x="2" y="44"/>
                  <a:pt x="1" y="44"/>
                  <a:pt x="1" y="45"/>
                </a:cubicBezTo>
                <a:cubicBezTo>
                  <a:pt x="1" y="45"/>
                  <a:pt x="1" y="46"/>
                  <a:pt x="1" y="46"/>
                </a:cubicBezTo>
                <a:cubicBezTo>
                  <a:pt x="1" y="46"/>
                  <a:pt x="2" y="47"/>
                  <a:pt x="2" y="47"/>
                </a:cubicBezTo>
                <a:cubicBezTo>
                  <a:pt x="2" y="48"/>
                  <a:pt x="1" y="48"/>
                  <a:pt x="1" y="49"/>
                </a:cubicBezTo>
                <a:cubicBezTo>
                  <a:pt x="1" y="50"/>
                  <a:pt x="1" y="50"/>
                  <a:pt x="1" y="51"/>
                </a:cubicBezTo>
                <a:cubicBezTo>
                  <a:pt x="1" y="51"/>
                  <a:pt x="0" y="52"/>
                  <a:pt x="1" y="52"/>
                </a:cubicBezTo>
                <a:cubicBezTo>
                  <a:pt x="1" y="52"/>
                  <a:pt x="1" y="53"/>
                  <a:pt x="2" y="53"/>
                </a:cubicBezTo>
                <a:cubicBezTo>
                  <a:pt x="3" y="53"/>
                  <a:pt x="3" y="53"/>
                  <a:pt x="4" y="53"/>
                </a:cubicBezTo>
                <a:cubicBezTo>
                  <a:pt x="4" y="53"/>
                  <a:pt x="5" y="53"/>
                  <a:pt x="5" y="54"/>
                </a:cubicBezTo>
                <a:cubicBezTo>
                  <a:pt x="4" y="54"/>
                  <a:pt x="4" y="54"/>
                  <a:pt x="5" y="54"/>
                </a:cubicBezTo>
                <a:cubicBezTo>
                  <a:pt x="5" y="54"/>
                  <a:pt x="5" y="55"/>
                  <a:pt x="5" y="55"/>
                </a:cubicBezTo>
                <a:cubicBezTo>
                  <a:pt x="5" y="56"/>
                  <a:pt x="6" y="56"/>
                  <a:pt x="6" y="56"/>
                </a:cubicBezTo>
                <a:cubicBezTo>
                  <a:pt x="6" y="57"/>
                  <a:pt x="6" y="58"/>
                  <a:pt x="6" y="58"/>
                </a:cubicBezTo>
                <a:cubicBezTo>
                  <a:pt x="8" y="58"/>
                  <a:pt x="7" y="59"/>
                  <a:pt x="8" y="59"/>
                </a:cubicBezTo>
                <a:cubicBezTo>
                  <a:pt x="8" y="59"/>
                  <a:pt x="9" y="60"/>
                  <a:pt x="9" y="60"/>
                </a:cubicBezTo>
                <a:cubicBezTo>
                  <a:pt x="9" y="59"/>
                  <a:pt x="9" y="60"/>
                  <a:pt x="10" y="60"/>
                </a:cubicBezTo>
                <a:cubicBezTo>
                  <a:pt x="10" y="60"/>
                  <a:pt x="10" y="59"/>
                  <a:pt x="10" y="59"/>
                </a:cubicBezTo>
                <a:cubicBezTo>
                  <a:pt x="10" y="59"/>
                  <a:pt x="10" y="60"/>
                  <a:pt x="10" y="60"/>
                </a:cubicBezTo>
                <a:cubicBezTo>
                  <a:pt x="10" y="61"/>
                  <a:pt x="11" y="60"/>
                  <a:pt x="11" y="60"/>
                </a:cubicBezTo>
                <a:cubicBezTo>
                  <a:pt x="11" y="61"/>
                  <a:pt x="11" y="61"/>
                  <a:pt x="12" y="61"/>
                </a:cubicBezTo>
                <a:cubicBezTo>
                  <a:pt x="11" y="61"/>
                  <a:pt x="12" y="60"/>
                  <a:pt x="12" y="60"/>
                </a:cubicBezTo>
                <a:cubicBezTo>
                  <a:pt x="12" y="60"/>
                  <a:pt x="12" y="59"/>
                  <a:pt x="13" y="59"/>
                </a:cubicBezTo>
                <a:cubicBezTo>
                  <a:pt x="13" y="59"/>
                  <a:pt x="13" y="59"/>
                  <a:pt x="14" y="59"/>
                </a:cubicBezTo>
                <a:cubicBezTo>
                  <a:pt x="14" y="58"/>
                  <a:pt x="14" y="58"/>
                  <a:pt x="14" y="58"/>
                </a:cubicBezTo>
                <a:cubicBezTo>
                  <a:pt x="15" y="58"/>
                  <a:pt x="15" y="59"/>
                  <a:pt x="15" y="58"/>
                </a:cubicBezTo>
                <a:cubicBezTo>
                  <a:pt x="16" y="58"/>
                  <a:pt x="16" y="58"/>
                  <a:pt x="16" y="58"/>
                </a:cubicBezTo>
                <a:cubicBezTo>
                  <a:pt x="17" y="57"/>
                  <a:pt x="17" y="57"/>
                  <a:pt x="17" y="57"/>
                </a:cubicBezTo>
                <a:cubicBezTo>
                  <a:pt x="18" y="57"/>
                  <a:pt x="18" y="57"/>
                  <a:pt x="19" y="57"/>
                </a:cubicBezTo>
                <a:cubicBezTo>
                  <a:pt x="19" y="57"/>
                  <a:pt x="19" y="57"/>
                  <a:pt x="19" y="57"/>
                </a:cubicBezTo>
                <a:cubicBezTo>
                  <a:pt x="20" y="57"/>
                  <a:pt x="21" y="57"/>
                  <a:pt x="21" y="57"/>
                </a:cubicBezTo>
                <a:cubicBezTo>
                  <a:pt x="21" y="57"/>
                  <a:pt x="22" y="57"/>
                  <a:pt x="22" y="57"/>
                </a:cubicBezTo>
                <a:cubicBezTo>
                  <a:pt x="22" y="58"/>
                  <a:pt x="22" y="58"/>
                  <a:pt x="22" y="58"/>
                </a:cubicBezTo>
                <a:cubicBezTo>
                  <a:pt x="22" y="58"/>
                  <a:pt x="23" y="57"/>
                  <a:pt x="23" y="57"/>
                </a:cubicBezTo>
                <a:cubicBezTo>
                  <a:pt x="23" y="57"/>
                  <a:pt x="23" y="58"/>
                  <a:pt x="23" y="58"/>
                </a:cubicBezTo>
                <a:cubicBezTo>
                  <a:pt x="23" y="58"/>
                  <a:pt x="23" y="58"/>
                  <a:pt x="24" y="58"/>
                </a:cubicBezTo>
                <a:cubicBezTo>
                  <a:pt x="24" y="58"/>
                  <a:pt x="24" y="59"/>
                  <a:pt x="24" y="59"/>
                </a:cubicBezTo>
                <a:cubicBezTo>
                  <a:pt x="25" y="60"/>
                  <a:pt x="25" y="59"/>
                  <a:pt x="25" y="60"/>
                </a:cubicBezTo>
                <a:cubicBezTo>
                  <a:pt x="25" y="60"/>
                  <a:pt x="25" y="61"/>
                  <a:pt x="26" y="61"/>
                </a:cubicBezTo>
                <a:cubicBezTo>
                  <a:pt x="26" y="61"/>
                  <a:pt x="27" y="63"/>
                  <a:pt x="27" y="63"/>
                </a:cubicBezTo>
                <a:cubicBezTo>
                  <a:pt x="28" y="62"/>
                  <a:pt x="27" y="61"/>
                  <a:pt x="27" y="61"/>
                </a:cubicBezTo>
                <a:cubicBezTo>
                  <a:pt x="27" y="60"/>
                  <a:pt x="27" y="60"/>
                  <a:pt x="27" y="60"/>
                </a:cubicBezTo>
                <a:cubicBezTo>
                  <a:pt x="27" y="59"/>
                  <a:pt x="27" y="59"/>
                  <a:pt x="27" y="58"/>
                </a:cubicBezTo>
                <a:cubicBezTo>
                  <a:pt x="27" y="58"/>
                  <a:pt x="27" y="58"/>
                  <a:pt x="27" y="57"/>
                </a:cubicBezTo>
                <a:cubicBezTo>
                  <a:pt x="27" y="57"/>
                  <a:pt x="27" y="56"/>
                  <a:pt x="27" y="56"/>
                </a:cubicBezTo>
                <a:cubicBezTo>
                  <a:pt x="27" y="55"/>
                  <a:pt x="27" y="54"/>
                  <a:pt x="27" y="54"/>
                </a:cubicBezTo>
                <a:cubicBezTo>
                  <a:pt x="27" y="54"/>
                  <a:pt x="27" y="53"/>
                  <a:pt x="27" y="53"/>
                </a:cubicBezTo>
                <a:cubicBezTo>
                  <a:pt x="26" y="52"/>
                  <a:pt x="27" y="53"/>
                  <a:pt x="27" y="52"/>
                </a:cubicBezTo>
                <a:cubicBezTo>
                  <a:pt x="27" y="52"/>
                  <a:pt x="26" y="51"/>
                  <a:pt x="26" y="51"/>
                </a:cubicBezTo>
                <a:cubicBezTo>
                  <a:pt x="26" y="51"/>
                  <a:pt x="26" y="50"/>
                  <a:pt x="26" y="50"/>
                </a:cubicBezTo>
                <a:cubicBezTo>
                  <a:pt x="25" y="49"/>
                  <a:pt x="26" y="47"/>
                  <a:pt x="26" y="47"/>
                </a:cubicBezTo>
                <a:cubicBezTo>
                  <a:pt x="27" y="46"/>
                  <a:pt x="26" y="45"/>
                  <a:pt x="27" y="45"/>
                </a:cubicBezTo>
                <a:cubicBezTo>
                  <a:pt x="29" y="46"/>
                  <a:pt x="29" y="45"/>
                  <a:pt x="31" y="45"/>
                </a:cubicBezTo>
                <a:cubicBezTo>
                  <a:pt x="32" y="45"/>
                  <a:pt x="35" y="45"/>
                  <a:pt x="36" y="45"/>
                </a:cubicBezTo>
                <a:cubicBezTo>
                  <a:pt x="38" y="45"/>
                  <a:pt x="40" y="45"/>
                  <a:pt x="41" y="45"/>
                </a:cubicBezTo>
                <a:cubicBezTo>
                  <a:pt x="42" y="46"/>
                  <a:pt x="44" y="45"/>
                  <a:pt x="45" y="45"/>
                </a:cubicBezTo>
                <a:cubicBezTo>
                  <a:pt x="45" y="45"/>
                  <a:pt x="45" y="46"/>
                  <a:pt x="46" y="45"/>
                </a:cubicBezTo>
                <a:cubicBezTo>
                  <a:pt x="46" y="45"/>
                  <a:pt x="47" y="45"/>
                  <a:pt x="47" y="45"/>
                </a:cubicBezTo>
                <a:cubicBezTo>
                  <a:pt x="47" y="45"/>
                  <a:pt x="48" y="47"/>
                  <a:pt x="48" y="46"/>
                </a:cubicBezTo>
                <a:cubicBezTo>
                  <a:pt x="48" y="45"/>
                  <a:pt x="49" y="45"/>
                  <a:pt x="49" y="45"/>
                </a:cubicBezTo>
                <a:cubicBezTo>
                  <a:pt x="50" y="45"/>
                  <a:pt x="50" y="44"/>
                  <a:pt x="50" y="44"/>
                </a:cubicBezTo>
                <a:cubicBezTo>
                  <a:pt x="50" y="44"/>
                  <a:pt x="50" y="44"/>
                  <a:pt x="51" y="44"/>
                </a:cubicBezTo>
                <a:cubicBezTo>
                  <a:pt x="51" y="44"/>
                  <a:pt x="51" y="44"/>
                  <a:pt x="51" y="44"/>
                </a:cubicBezTo>
                <a:cubicBezTo>
                  <a:pt x="52" y="44"/>
                  <a:pt x="53" y="44"/>
                  <a:pt x="53" y="44"/>
                </a:cubicBezTo>
                <a:cubicBezTo>
                  <a:pt x="54" y="44"/>
                  <a:pt x="55" y="44"/>
                  <a:pt x="56" y="45"/>
                </a:cubicBezTo>
                <a:cubicBezTo>
                  <a:pt x="56" y="45"/>
                  <a:pt x="59" y="45"/>
                  <a:pt x="59" y="45"/>
                </a:cubicBezTo>
                <a:cubicBezTo>
                  <a:pt x="59" y="46"/>
                  <a:pt x="60" y="45"/>
                  <a:pt x="61" y="45"/>
                </a:cubicBezTo>
                <a:cubicBezTo>
                  <a:pt x="61" y="45"/>
                  <a:pt x="62" y="45"/>
                  <a:pt x="63" y="45"/>
                </a:cubicBezTo>
                <a:cubicBezTo>
                  <a:pt x="63" y="45"/>
                  <a:pt x="63" y="45"/>
                  <a:pt x="63" y="45"/>
                </a:cubicBezTo>
                <a:cubicBezTo>
                  <a:pt x="64" y="44"/>
                  <a:pt x="64" y="45"/>
                  <a:pt x="65" y="45"/>
                </a:cubicBezTo>
                <a:cubicBezTo>
                  <a:pt x="65" y="45"/>
                  <a:pt x="64" y="44"/>
                  <a:pt x="64" y="44"/>
                </a:cubicBezTo>
                <a:cubicBezTo>
                  <a:pt x="64" y="44"/>
                  <a:pt x="65" y="43"/>
                  <a:pt x="65" y="44"/>
                </a:cubicBezTo>
                <a:cubicBezTo>
                  <a:pt x="65" y="43"/>
                  <a:pt x="65" y="42"/>
                  <a:pt x="66" y="43"/>
                </a:cubicBezTo>
                <a:cubicBezTo>
                  <a:pt x="66" y="43"/>
                  <a:pt x="66" y="42"/>
                  <a:pt x="66" y="42"/>
                </a:cubicBezTo>
                <a:cubicBezTo>
                  <a:pt x="66" y="42"/>
                  <a:pt x="67" y="42"/>
                  <a:pt x="67" y="42"/>
                </a:cubicBezTo>
                <a:cubicBezTo>
                  <a:pt x="67" y="42"/>
                  <a:pt x="67" y="40"/>
                  <a:pt x="68" y="40"/>
                </a:cubicBezTo>
                <a:cubicBezTo>
                  <a:pt x="68" y="40"/>
                  <a:pt x="69" y="40"/>
                  <a:pt x="69" y="41"/>
                </a:cubicBezTo>
                <a:cubicBezTo>
                  <a:pt x="69" y="41"/>
                  <a:pt x="70" y="41"/>
                  <a:pt x="70" y="41"/>
                </a:cubicBezTo>
                <a:cubicBezTo>
                  <a:pt x="71" y="41"/>
                  <a:pt x="72" y="40"/>
                  <a:pt x="72" y="41"/>
                </a:cubicBezTo>
                <a:cubicBezTo>
                  <a:pt x="73" y="41"/>
                  <a:pt x="73" y="41"/>
                  <a:pt x="73" y="41"/>
                </a:cubicBezTo>
                <a:cubicBezTo>
                  <a:pt x="74" y="40"/>
                  <a:pt x="75" y="39"/>
                  <a:pt x="76" y="38"/>
                </a:cubicBezTo>
                <a:cubicBezTo>
                  <a:pt x="76" y="38"/>
                  <a:pt x="76" y="38"/>
                  <a:pt x="76" y="37"/>
                </a:cubicBezTo>
                <a:cubicBezTo>
                  <a:pt x="76" y="37"/>
                  <a:pt x="77" y="37"/>
                  <a:pt x="77" y="36"/>
                </a:cubicBezTo>
                <a:cubicBezTo>
                  <a:pt x="77" y="35"/>
                  <a:pt x="76" y="33"/>
                  <a:pt x="75" y="3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5" name="Bulgaria"/>
          <p:cNvSpPr>
            <a:spLocks/>
          </p:cNvSpPr>
          <p:nvPr/>
        </p:nvSpPr>
        <p:spPr bwMode="auto">
          <a:xfrm>
            <a:off x="6536055" y="2910003"/>
            <a:ext cx="198993" cy="114996"/>
          </a:xfrm>
          <a:custGeom>
            <a:avLst/>
            <a:gdLst/>
            <a:ahLst/>
            <a:cxnLst>
              <a:cxn ang="0">
                <a:pos x="51" y="5"/>
              </a:cxn>
              <a:cxn ang="0">
                <a:pos x="49" y="3"/>
              </a:cxn>
              <a:cxn ang="0">
                <a:pos x="46" y="2"/>
              </a:cxn>
              <a:cxn ang="0">
                <a:pos x="43" y="2"/>
              </a:cxn>
              <a:cxn ang="0">
                <a:pos x="40" y="1"/>
              </a:cxn>
              <a:cxn ang="0">
                <a:pos x="35" y="2"/>
              </a:cxn>
              <a:cxn ang="0">
                <a:pos x="31" y="4"/>
              </a:cxn>
              <a:cxn ang="0">
                <a:pos x="28" y="6"/>
              </a:cxn>
              <a:cxn ang="0">
                <a:pos x="23" y="6"/>
              </a:cxn>
              <a:cxn ang="0">
                <a:pos x="20" y="5"/>
              </a:cxn>
              <a:cxn ang="0">
                <a:pos x="17" y="6"/>
              </a:cxn>
              <a:cxn ang="0">
                <a:pos x="12" y="5"/>
              </a:cxn>
              <a:cxn ang="0">
                <a:pos x="9" y="4"/>
              </a:cxn>
              <a:cxn ang="0">
                <a:pos x="4" y="3"/>
              </a:cxn>
              <a:cxn ang="0">
                <a:pos x="5" y="1"/>
              </a:cxn>
              <a:cxn ang="0">
                <a:pos x="2" y="0"/>
              </a:cxn>
              <a:cxn ang="0">
                <a:pos x="1" y="2"/>
              </a:cxn>
              <a:cxn ang="0">
                <a:pos x="1" y="7"/>
              </a:cxn>
              <a:cxn ang="0">
                <a:pos x="4" y="9"/>
              </a:cxn>
              <a:cxn ang="0">
                <a:pos x="6" y="12"/>
              </a:cxn>
              <a:cxn ang="0">
                <a:pos x="3" y="14"/>
              </a:cxn>
              <a:cxn ang="0">
                <a:pos x="2" y="16"/>
              </a:cxn>
              <a:cxn ang="0">
                <a:pos x="2" y="19"/>
              </a:cxn>
              <a:cxn ang="0">
                <a:pos x="2" y="22"/>
              </a:cxn>
              <a:cxn ang="0">
                <a:pos x="5" y="24"/>
              </a:cxn>
              <a:cxn ang="0">
                <a:pos x="7" y="27"/>
              </a:cxn>
              <a:cxn ang="0">
                <a:pos x="6" y="31"/>
              </a:cxn>
              <a:cxn ang="0">
                <a:pos x="10" y="31"/>
              </a:cxn>
              <a:cxn ang="0">
                <a:pos x="13" y="31"/>
              </a:cxn>
              <a:cxn ang="0">
                <a:pos x="14" y="30"/>
              </a:cxn>
              <a:cxn ang="0">
                <a:pos x="16" y="30"/>
              </a:cxn>
              <a:cxn ang="0">
                <a:pos x="17" y="29"/>
              </a:cxn>
              <a:cxn ang="0">
                <a:pos x="20" y="29"/>
              </a:cxn>
              <a:cxn ang="0">
                <a:pos x="22" y="30"/>
              </a:cxn>
              <a:cxn ang="0">
                <a:pos x="24" y="30"/>
              </a:cxn>
              <a:cxn ang="0">
                <a:pos x="27" y="32"/>
              </a:cxn>
              <a:cxn ang="0">
                <a:pos x="29" y="32"/>
              </a:cxn>
              <a:cxn ang="0">
                <a:pos x="31" y="32"/>
              </a:cxn>
              <a:cxn ang="0">
                <a:pos x="32" y="31"/>
              </a:cxn>
              <a:cxn ang="0">
                <a:pos x="35" y="30"/>
              </a:cxn>
              <a:cxn ang="0">
                <a:pos x="35" y="28"/>
              </a:cxn>
              <a:cxn ang="0">
                <a:pos x="37" y="27"/>
              </a:cxn>
              <a:cxn ang="0">
                <a:pos x="38" y="26"/>
              </a:cxn>
              <a:cxn ang="0">
                <a:pos x="41" y="24"/>
              </a:cxn>
              <a:cxn ang="0">
                <a:pos x="43" y="23"/>
              </a:cxn>
              <a:cxn ang="0">
                <a:pos x="46" y="24"/>
              </a:cxn>
              <a:cxn ang="0">
                <a:pos x="48" y="25"/>
              </a:cxn>
              <a:cxn ang="0">
                <a:pos x="49" y="25"/>
              </a:cxn>
              <a:cxn ang="0">
                <a:pos x="51" y="24"/>
              </a:cxn>
              <a:cxn ang="0">
                <a:pos x="49" y="20"/>
              </a:cxn>
              <a:cxn ang="0">
                <a:pos x="48" y="20"/>
              </a:cxn>
              <a:cxn ang="0">
                <a:pos x="47" y="19"/>
              </a:cxn>
              <a:cxn ang="0">
                <a:pos x="46" y="19"/>
              </a:cxn>
              <a:cxn ang="0">
                <a:pos x="48" y="17"/>
              </a:cxn>
              <a:cxn ang="0">
                <a:pos x="49" y="15"/>
              </a:cxn>
              <a:cxn ang="0">
                <a:pos x="49" y="12"/>
              </a:cxn>
              <a:cxn ang="0">
                <a:pos x="50" y="11"/>
              </a:cxn>
              <a:cxn ang="0">
                <a:pos x="52" y="9"/>
              </a:cxn>
              <a:cxn ang="0">
                <a:pos x="55" y="8"/>
              </a:cxn>
            </a:cxnLst>
            <a:rect l="0" t="0" r="r" b="b"/>
            <a:pathLst>
              <a:path w="55" h="32">
                <a:moveTo>
                  <a:pt x="54" y="5"/>
                </a:moveTo>
                <a:cubicBezTo>
                  <a:pt x="53" y="5"/>
                  <a:pt x="52" y="5"/>
                  <a:pt x="51" y="5"/>
                </a:cubicBezTo>
                <a:cubicBezTo>
                  <a:pt x="50" y="5"/>
                  <a:pt x="50" y="4"/>
                  <a:pt x="49" y="4"/>
                </a:cubicBezTo>
                <a:cubicBezTo>
                  <a:pt x="49" y="3"/>
                  <a:pt x="49" y="3"/>
                  <a:pt x="49" y="3"/>
                </a:cubicBezTo>
                <a:cubicBezTo>
                  <a:pt x="48" y="2"/>
                  <a:pt x="48" y="3"/>
                  <a:pt x="47" y="3"/>
                </a:cubicBezTo>
                <a:cubicBezTo>
                  <a:pt x="46" y="3"/>
                  <a:pt x="47" y="2"/>
                  <a:pt x="46" y="2"/>
                </a:cubicBezTo>
                <a:cubicBezTo>
                  <a:pt x="46" y="2"/>
                  <a:pt x="45" y="2"/>
                  <a:pt x="45" y="2"/>
                </a:cubicBezTo>
                <a:cubicBezTo>
                  <a:pt x="44" y="2"/>
                  <a:pt x="44" y="2"/>
                  <a:pt x="43" y="2"/>
                </a:cubicBezTo>
                <a:cubicBezTo>
                  <a:pt x="43" y="2"/>
                  <a:pt x="43" y="1"/>
                  <a:pt x="42" y="1"/>
                </a:cubicBezTo>
                <a:cubicBezTo>
                  <a:pt x="42" y="1"/>
                  <a:pt x="41" y="1"/>
                  <a:pt x="40" y="1"/>
                </a:cubicBezTo>
                <a:cubicBezTo>
                  <a:pt x="39" y="1"/>
                  <a:pt x="38" y="1"/>
                  <a:pt x="38" y="1"/>
                </a:cubicBezTo>
                <a:cubicBezTo>
                  <a:pt x="37" y="2"/>
                  <a:pt x="36" y="2"/>
                  <a:pt x="35" y="2"/>
                </a:cubicBezTo>
                <a:cubicBezTo>
                  <a:pt x="34" y="2"/>
                  <a:pt x="34" y="2"/>
                  <a:pt x="33" y="2"/>
                </a:cubicBezTo>
                <a:cubicBezTo>
                  <a:pt x="33" y="3"/>
                  <a:pt x="32" y="3"/>
                  <a:pt x="31" y="4"/>
                </a:cubicBezTo>
                <a:cubicBezTo>
                  <a:pt x="31" y="4"/>
                  <a:pt x="30" y="5"/>
                  <a:pt x="30" y="5"/>
                </a:cubicBezTo>
                <a:cubicBezTo>
                  <a:pt x="30" y="6"/>
                  <a:pt x="29" y="6"/>
                  <a:pt x="28" y="6"/>
                </a:cubicBezTo>
                <a:cubicBezTo>
                  <a:pt x="27" y="6"/>
                  <a:pt x="27" y="7"/>
                  <a:pt x="26" y="6"/>
                </a:cubicBezTo>
                <a:cubicBezTo>
                  <a:pt x="25" y="6"/>
                  <a:pt x="24" y="6"/>
                  <a:pt x="23" y="6"/>
                </a:cubicBezTo>
                <a:cubicBezTo>
                  <a:pt x="23" y="5"/>
                  <a:pt x="22" y="5"/>
                  <a:pt x="21" y="5"/>
                </a:cubicBezTo>
                <a:cubicBezTo>
                  <a:pt x="21" y="5"/>
                  <a:pt x="21" y="5"/>
                  <a:pt x="20" y="5"/>
                </a:cubicBezTo>
                <a:cubicBezTo>
                  <a:pt x="20" y="5"/>
                  <a:pt x="20" y="5"/>
                  <a:pt x="19" y="5"/>
                </a:cubicBezTo>
                <a:cubicBezTo>
                  <a:pt x="18" y="5"/>
                  <a:pt x="18" y="5"/>
                  <a:pt x="17" y="6"/>
                </a:cubicBezTo>
                <a:cubicBezTo>
                  <a:pt x="16" y="6"/>
                  <a:pt x="15" y="6"/>
                  <a:pt x="15" y="5"/>
                </a:cubicBezTo>
                <a:cubicBezTo>
                  <a:pt x="14" y="5"/>
                  <a:pt x="13" y="5"/>
                  <a:pt x="12" y="5"/>
                </a:cubicBezTo>
                <a:cubicBezTo>
                  <a:pt x="12" y="4"/>
                  <a:pt x="11" y="5"/>
                  <a:pt x="11" y="4"/>
                </a:cubicBezTo>
                <a:cubicBezTo>
                  <a:pt x="10" y="4"/>
                  <a:pt x="9" y="4"/>
                  <a:pt x="9" y="4"/>
                </a:cubicBezTo>
                <a:cubicBezTo>
                  <a:pt x="8" y="4"/>
                  <a:pt x="7" y="4"/>
                  <a:pt x="6" y="4"/>
                </a:cubicBezTo>
                <a:cubicBezTo>
                  <a:pt x="5" y="5"/>
                  <a:pt x="3" y="4"/>
                  <a:pt x="4" y="3"/>
                </a:cubicBezTo>
                <a:cubicBezTo>
                  <a:pt x="4" y="2"/>
                  <a:pt x="6" y="2"/>
                  <a:pt x="6" y="1"/>
                </a:cubicBezTo>
                <a:cubicBezTo>
                  <a:pt x="5" y="1"/>
                  <a:pt x="5" y="1"/>
                  <a:pt x="5" y="1"/>
                </a:cubicBezTo>
                <a:cubicBezTo>
                  <a:pt x="4" y="1"/>
                  <a:pt x="4" y="1"/>
                  <a:pt x="4" y="1"/>
                </a:cubicBezTo>
                <a:cubicBezTo>
                  <a:pt x="3" y="0"/>
                  <a:pt x="3" y="0"/>
                  <a:pt x="2" y="0"/>
                </a:cubicBezTo>
                <a:cubicBezTo>
                  <a:pt x="2" y="0"/>
                  <a:pt x="2" y="1"/>
                  <a:pt x="2" y="1"/>
                </a:cubicBezTo>
                <a:cubicBezTo>
                  <a:pt x="2" y="2"/>
                  <a:pt x="1" y="2"/>
                  <a:pt x="1" y="2"/>
                </a:cubicBezTo>
                <a:cubicBezTo>
                  <a:pt x="0" y="2"/>
                  <a:pt x="0" y="4"/>
                  <a:pt x="0" y="5"/>
                </a:cubicBezTo>
                <a:cubicBezTo>
                  <a:pt x="0" y="6"/>
                  <a:pt x="1" y="6"/>
                  <a:pt x="1" y="7"/>
                </a:cubicBezTo>
                <a:cubicBezTo>
                  <a:pt x="1" y="8"/>
                  <a:pt x="2" y="8"/>
                  <a:pt x="2" y="8"/>
                </a:cubicBezTo>
                <a:cubicBezTo>
                  <a:pt x="3" y="9"/>
                  <a:pt x="3" y="9"/>
                  <a:pt x="4" y="9"/>
                </a:cubicBezTo>
                <a:cubicBezTo>
                  <a:pt x="4" y="10"/>
                  <a:pt x="5" y="10"/>
                  <a:pt x="5" y="11"/>
                </a:cubicBezTo>
                <a:cubicBezTo>
                  <a:pt x="6" y="11"/>
                  <a:pt x="6" y="11"/>
                  <a:pt x="6" y="12"/>
                </a:cubicBezTo>
                <a:cubicBezTo>
                  <a:pt x="5" y="12"/>
                  <a:pt x="5" y="13"/>
                  <a:pt x="5" y="13"/>
                </a:cubicBezTo>
                <a:cubicBezTo>
                  <a:pt x="4" y="13"/>
                  <a:pt x="4" y="14"/>
                  <a:pt x="3" y="14"/>
                </a:cubicBezTo>
                <a:cubicBezTo>
                  <a:pt x="3" y="15"/>
                  <a:pt x="2" y="14"/>
                  <a:pt x="2" y="15"/>
                </a:cubicBezTo>
                <a:cubicBezTo>
                  <a:pt x="1" y="15"/>
                  <a:pt x="2" y="15"/>
                  <a:pt x="2" y="16"/>
                </a:cubicBezTo>
                <a:cubicBezTo>
                  <a:pt x="1" y="17"/>
                  <a:pt x="1" y="17"/>
                  <a:pt x="2" y="18"/>
                </a:cubicBezTo>
                <a:cubicBezTo>
                  <a:pt x="2" y="18"/>
                  <a:pt x="3" y="19"/>
                  <a:pt x="2" y="19"/>
                </a:cubicBezTo>
                <a:cubicBezTo>
                  <a:pt x="2" y="20"/>
                  <a:pt x="1" y="20"/>
                  <a:pt x="1" y="21"/>
                </a:cubicBezTo>
                <a:cubicBezTo>
                  <a:pt x="1" y="21"/>
                  <a:pt x="2" y="21"/>
                  <a:pt x="2" y="22"/>
                </a:cubicBezTo>
                <a:cubicBezTo>
                  <a:pt x="3" y="22"/>
                  <a:pt x="3" y="23"/>
                  <a:pt x="4" y="23"/>
                </a:cubicBezTo>
                <a:cubicBezTo>
                  <a:pt x="4" y="23"/>
                  <a:pt x="5" y="23"/>
                  <a:pt x="5" y="24"/>
                </a:cubicBezTo>
                <a:cubicBezTo>
                  <a:pt x="6" y="24"/>
                  <a:pt x="6" y="25"/>
                  <a:pt x="6" y="26"/>
                </a:cubicBezTo>
                <a:cubicBezTo>
                  <a:pt x="6" y="26"/>
                  <a:pt x="7" y="27"/>
                  <a:pt x="7" y="27"/>
                </a:cubicBezTo>
                <a:cubicBezTo>
                  <a:pt x="7" y="27"/>
                  <a:pt x="6" y="28"/>
                  <a:pt x="6" y="28"/>
                </a:cubicBezTo>
                <a:cubicBezTo>
                  <a:pt x="7" y="29"/>
                  <a:pt x="7" y="31"/>
                  <a:pt x="6" y="31"/>
                </a:cubicBezTo>
                <a:cubicBezTo>
                  <a:pt x="7" y="31"/>
                  <a:pt x="8" y="32"/>
                  <a:pt x="9" y="31"/>
                </a:cubicBezTo>
                <a:cubicBezTo>
                  <a:pt x="9" y="31"/>
                  <a:pt x="9" y="30"/>
                  <a:pt x="10" y="31"/>
                </a:cubicBezTo>
                <a:cubicBezTo>
                  <a:pt x="10" y="31"/>
                  <a:pt x="10" y="31"/>
                  <a:pt x="10" y="31"/>
                </a:cubicBezTo>
                <a:cubicBezTo>
                  <a:pt x="11" y="30"/>
                  <a:pt x="12" y="31"/>
                  <a:pt x="13" y="31"/>
                </a:cubicBezTo>
                <a:cubicBezTo>
                  <a:pt x="13" y="30"/>
                  <a:pt x="14" y="31"/>
                  <a:pt x="14" y="30"/>
                </a:cubicBezTo>
                <a:cubicBezTo>
                  <a:pt x="14" y="30"/>
                  <a:pt x="14" y="30"/>
                  <a:pt x="14" y="30"/>
                </a:cubicBezTo>
                <a:cubicBezTo>
                  <a:pt x="14" y="30"/>
                  <a:pt x="15" y="30"/>
                  <a:pt x="15" y="30"/>
                </a:cubicBezTo>
                <a:cubicBezTo>
                  <a:pt x="15" y="30"/>
                  <a:pt x="15" y="30"/>
                  <a:pt x="16" y="30"/>
                </a:cubicBezTo>
                <a:cubicBezTo>
                  <a:pt x="16" y="30"/>
                  <a:pt x="16" y="29"/>
                  <a:pt x="16" y="29"/>
                </a:cubicBezTo>
                <a:cubicBezTo>
                  <a:pt x="17" y="29"/>
                  <a:pt x="17" y="29"/>
                  <a:pt x="17" y="29"/>
                </a:cubicBezTo>
                <a:cubicBezTo>
                  <a:pt x="18" y="29"/>
                  <a:pt x="18" y="28"/>
                  <a:pt x="18" y="29"/>
                </a:cubicBezTo>
                <a:cubicBezTo>
                  <a:pt x="19" y="29"/>
                  <a:pt x="20" y="29"/>
                  <a:pt x="20" y="29"/>
                </a:cubicBezTo>
                <a:cubicBezTo>
                  <a:pt x="21" y="29"/>
                  <a:pt x="21" y="29"/>
                  <a:pt x="21" y="29"/>
                </a:cubicBezTo>
                <a:cubicBezTo>
                  <a:pt x="21" y="30"/>
                  <a:pt x="21" y="30"/>
                  <a:pt x="22" y="30"/>
                </a:cubicBezTo>
                <a:cubicBezTo>
                  <a:pt x="22" y="30"/>
                  <a:pt x="23" y="31"/>
                  <a:pt x="23" y="31"/>
                </a:cubicBezTo>
                <a:cubicBezTo>
                  <a:pt x="23" y="31"/>
                  <a:pt x="23" y="30"/>
                  <a:pt x="24" y="30"/>
                </a:cubicBezTo>
                <a:cubicBezTo>
                  <a:pt x="24" y="31"/>
                  <a:pt x="25" y="31"/>
                  <a:pt x="25" y="31"/>
                </a:cubicBezTo>
                <a:cubicBezTo>
                  <a:pt x="26" y="31"/>
                  <a:pt x="26" y="31"/>
                  <a:pt x="27" y="32"/>
                </a:cubicBezTo>
                <a:cubicBezTo>
                  <a:pt x="27" y="32"/>
                  <a:pt x="27" y="32"/>
                  <a:pt x="27" y="32"/>
                </a:cubicBezTo>
                <a:cubicBezTo>
                  <a:pt x="28" y="32"/>
                  <a:pt x="28" y="32"/>
                  <a:pt x="29" y="32"/>
                </a:cubicBezTo>
                <a:cubicBezTo>
                  <a:pt x="29" y="32"/>
                  <a:pt x="30" y="31"/>
                  <a:pt x="30" y="32"/>
                </a:cubicBezTo>
                <a:cubicBezTo>
                  <a:pt x="31" y="32"/>
                  <a:pt x="31" y="32"/>
                  <a:pt x="31" y="32"/>
                </a:cubicBezTo>
                <a:cubicBezTo>
                  <a:pt x="31" y="32"/>
                  <a:pt x="31" y="32"/>
                  <a:pt x="31" y="31"/>
                </a:cubicBezTo>
                <a:cubicBezTo>
                  <a:pt x="32" y="31"/>
                  <a:pt x="32" y="31"/>
                  <a:pt x="32" y="31"/>
                </a:cubicBezTo>
                <a:cubicBezTo>
                  <a:pt x="33" y="32"/>
                  <a:pt x="35" y="31"/>
                  <a:pt x="35" y="31"/>
                </a:cubicBezTo>
                <a:cubicBezTo>
                  <a:pt x="35" y="31"/>
                  <a:pt x="35" y="30"/>
                  <a:pt x="35" y="30"/>
                </a:cubicBezTo>
                <a:cubicBezTo>
                  <a:pt x="35" y="30"/>
                  <a:pt x="35" y="29"/>
                  <a:pt x="35" y="29"/>
                </a:cubicBezTo>
                <a:cubicBezTo>
                  <a:pt x="35" y="29"/>
                  <a:pt x="35" y="28"/>
                  <a:pt x="35" y="28"/>
                </a:cubicBezTo>
                <a:cubicBezTo>
                  <a:pt x="34" y="28"/>
                  <a:pt x="34" y="28"/>
                  <a:pt x="34" y="27"/>
                </a:cubicBezTo>
                <a:cubicBezTo>
                  <a:pt x="35" y="26"/>
                  <a:pt x="36" y="27"/>
                  <a:pt x="37" y="27"/>
                </a:cubicBezTo>
                <a:cubicBezTo>
                  <a:pt x="36" y="27"/>
                  <a:pt x="37" y="26"/>
                  <a:pt x="37" y="26"/>
                </a:cubicBezTo>
                <a:cubicBezTo>
                  <a:pt x="38" y="26"/>
                  <a:pt x="38" y="26"/>
                  <a:pt x="38" y="26"/>
                </a:cubicBezTo>
                <a:cubicBezTo>
                  <a:pt x="38" y="25"/>
                  <a:pt x="38" y="25"/>
                  <a:pt x="38" y="25"/>
                </a:cubicBezTo>
                <a:cubicBezTo>
                  <a:pt x="38" y="24"/>
                  <a:pt x="40" y="25"/>
                  <a:pt x="41" y="24"/>
                </a:cubicBezTo>
                <a:cubicBezTo>
                  <a:pt x="42" y="24"/>
                  <a:pt x="42" y="23"/>
                  <a:pt x="43" y="23"/>
                </a:cubicBezTo>
                <a:cubicBezTo>
                  <a:pt x="43" y="23"/>
                  <a:pt x="43" y="23"/>
                  <a:pt x="43" y="23"/>
                </a:cubicBezTo>
                <a:cubicBezTo>
                  <a:pt x="44" y="23"/>
                  <a:pt x="44" y="23"/>
                  <a:pt x="44" y="23"/>
                </a:cubicBezTo>
                <a:cubicBezTo>
                  <a:pt x="45" y="23"/>
                  <a:pt x="45" y="24"/>
                  <a:pt x="46" y="24"/>
                </a:cubicBezTo>
                <a:cubicBezTo>
                  <a:pt x="46" y="24"/>
                  <a:pt x="47" y="25"/>
                  <a:pt x="47" y="25"/>
                </a:cubicBezTo>
                <a:cubicBezTo>
                  <a:pt x="47" y="25"/>
                  <a:pt x="48" y="24"/>
                  <a:pt x="48" y="25"/>
                </a:cubicBezTo>
                <a:cubicBezTo>
                  <a:pt x="48" y="24"/>
                  <a:pt x="48" y="24"/>
                  <a:pt x="48" y="24"/>
                </a:cubicBezTo>
                <a:cubicBezTo>
                  <a:pt x="49" y="24"/>
                  <a:pt x="49" y="25"/>
                  <a:pt x="49" y="25"/>
                </a:cubicBezTo>
                <a:cubicBezTo>
                  <a:pt x="49" y="24"/>
                  <a:pt x="49" y="24"/>
                  <a:pt x="49" y="24"/>
                </a:cubicBezTo>
                <a:cubicBezTo>
                  <a:pt x="50" y="24"/>
                  <a:pt x="50" y="24"/>
                  <a:pt x="51" y="24"/>
                </a:cubicBezTo>
                <a:cubicBezTo>
                  <a:pt x="51" y="24"/>
                  <a:pt x="49" y="22"/>
                  <a:pt x="49" y="21"/>
                </a:cubicBezTo>
                <a:cubicBezTo>
                  <a:pt x="48" y="21"/>
                  <a:pt x="49" y="21"/>
                  <a:pt x="49" y="20"/>
                </a:cubicBezTo>
                <a:cubicBezTo>
                  <a:pt x="48" y="20"/>
                  <a:pt x="48" y="20"/>
                  <a:pt x="48" y="20"/>
                </a:cubicBezTo>
                <a:cubicBezTo>
                  <a:pt x="48" y="20"/>
                  <a:pt x="48" y="20"/>
                  <a:pt x="48" y="20"/>
                </a:cubicBezTo>
                <a:cubicBezTo>
                  <a:pt x="48" y="19"/>
                  <a:pt x="48" y="20"/>
                  <a:pt x="47" y="19"/>
                </a:cubicBezTo>
                <a:cubicBezTo>
                  <a:pt x="47" y="19"/>
                  <a:pt x="47" y="19"/>
                  <a:pt x="47" y="19"/>
                </a:cubicBezTo>
                <a:cubicBezTo>
                  <a:pt x="47" y="19"/>
                  <a:pt x="47" y="19"/>
                  <a:pt x="46" y="19"/>
                </a:cubicBezTo>
                <a:cubicBezTo>
                  <a:pt x="46" y="19"/>
                  <a:pt x="46" y="19"/>
                  <a:pt x="46" y="19"/>
                </a:cubicBezTo>
                <a:cubicBezTo>
                  <a:pt x="45" y="19"/>
                  <a:pt x="46" y="18"/>
                  <a:pt x="47" y="18"/>
                </a:cubicBezTo>
                <a:cubicBezTo>
                  <a:pt x="47" y="17"/>
                  <a:pt x="47" y="17"/>
                  <a:pt x="48" y="17"/>
                </a:cubicBezTo>
                <a:cubicBezTo>
                  <a:pt x="47" y="16"/>
                  <a:pt x="48" y="16"/>
                  <a:pt x="49" y="16"/>
                </a:cubicBezTo>
                <a:cubicBezTo>
                  <a:pt x="49" y="16"/>
                  <a:pt x="49" y="16"/>
                  <a:pt x="49" y="15"/>
                </a:cubicBezTo>
                <a:cubicBezTo>
                  <a:pt x="49" y="15"/>
                  <a:pt x="49" y="14"/>
                  <a:pt x="49" y="14"/>
                </a:cubicBezTo>
                <a:cubicBezTo>
                  <a:pt x="49" y="13"/>
                  <a:pt x="49" y="13"/>
                  <a:pt x="49" y="12"/>
                </a:cubicBezTo>
                <a:cubicBezTo>
                  <a:pt x="49" y="12"/>
                  <a:pt x="49" y="11"/>
                  <a:pt x="49" y="11"/>
                </a:cubicBezTo>
                <a:cubicBezTo>
                  <a:pt x="49" y="11"/>
                  <a:pt x="49" y="11"/>
                  <a:pt x="50" y="11"/>
                </a:cubicBezTo>
                <a:cubicBezTo>
                  <a:pt x="50" y="11"/>
                  <a:pt x="50" y="9"/>
                  <a:pt x="51" y="9"/>
                </a:cubicBezTo>
                <a:cubicBezTo>
                  <a:pt x="51" y="9"/>
                  <a:pt x="51" y="9"/>
                  <a:pt x="52" y="9"/>
                </a:cubicBezTo>
                <a:cubicBezTo>
                  <a:pt x="52" y="9"/>
                  <a:pt x="53" y="9"/>
                  <a:pt x="53" y="9"/>
                </a:cubicBezTo>
                <a:cubicBezTo>
                  <a:pt x="54" y="9"/>
                  <a:pt x="54" y="9"/>
                  <a:pt x="55" y="8"/>
                </a:cubicBezTo>
                <a:cubicBezTo>
                  <a:pt x="55" y="7"/>
                  <a:pt x="54" y="6"/>
                  <a:pt x="54" y="5"/>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6" name="Brunei"/>
          <p:cNvSpPr>
            <a:spLocks noEditPoints="1"/>
          </p:cNvSpPr>
          <p:nvPr/>
        </p:nvSpPr>
        <p:spPr bwMode="auto">
          <a:xfrm>
            <a:off x="9790934" y="4460945"/>
            <a:ext cx="42998" cy="43999"/>
          </a:xfrm>
          <a:custGeom>
            <a:avLst/>
            <a:gdLst/>
            <a:ahLst/>
            <a:cxnLst>
              <a:cxn ang="0">
                <a:pos x="8" y="3"/>
              </a:cxn>
              <a:cxn ang="0">
                <a:pos x="7" y="3"/>
              </a:cxn>
              <a:cxn ang="0">
                <a:pos x="6" y="5"/>
              </a:cxn>
              <a:cxn ang="0">
                <a:pos x="7" y="8"/>
              </a:cxn>
              <a:cxn ang="0">
                <a:pos x="7" y="8"/>
              </a:cxn>
              <a:cxn ang="0">
                <a:pos x="7" y="9"/>
              </a:cxn>
              <a:cxn ang="0">
                <a:pos x="7" y="9"/>
              </a:cxn>
              <a:cxn ang="0">
                <a:pos x="6" y="11"/>
              </a:cxn>
              <a:cxn ang="0">
                <a:pos x="5" y="12"/>
              </a:cxn>
              <a:cxn ang="0">
                <a:pos x="4" y="10"/>
              </a:cxn>
              <a:cxn ang="0">
                <a:pos x="3" y="9"/>
              </a:cxn>
              <a:cxn ang="0">
                <a:pos x="2" y="8"/>
              </a:cxn>
              <a:cxn ang="0">
                <a:pos x="0" y="6"/>
              </a:cxn>
              <a:cxn ang="0">
                <a:pos x="4" y="4"/>
              </a:cxn>
              <a:cxn ang="0">
                <a:pos x="7" y="2"/>
              </a:cxn>
              <a:cxn ang="0">
                <a:pos x="8" y="1"/>
              </a:cxn>
              <a:cxn ang="0">
                <a:pos x="8" y="2"/>
              </a:cxn>
              <a:cxn ang="0">
                <a:pos x="8" y="3"/>
              </a:cxn>
              <a:cxn ang="0">
                <a:pos x="11" y="7"/>
              </a:cxn>
              <a:cxn ang="0">
                <a:pos x="11" y="5"/>
              </a:cxn>
              <a:cxn ang="0">
                <a:pos x="10" y="3"/>
              </a:cxn>
              <a:cxn ang="0">
                <a:pos x="10" y="2"/>
              </a:cxn>
              <a:cxn ang="0">
                <a:pos x="10" y="3"/>
              </a:cxn>
              <a:cxn ang="0">
                <a:pos x="9" y="4"/>
              </a:cxn>
              <a:cxn ang="0">
                <a:pos x="9" y="3"/>
              </a:cxn>
              <a:cxn ang="0">
                <a:pos x="9" y="6"/>
              </a:cxn>
              <a:cxn ang="0">
                <a:pos x="10" y="8"/>
              </a:cxn>
              <a:cxn ang="0">
                <a:pos x="12" y="9"/>
              </a:cxn>
              <a:cxn ang="0">
                <a:pos x="11" y="7"/>
              </a:cxn>
            </a:cxnLst>
            <a:rect l="0" t="0" r="r" b="b"/>
            <a:pathLst>
              <a:path w="12" h="12">
                <a:moveTo>
                  <a:pt x="8" y="3"/>
                </a:moveTo>
                <a:cubicBezTo>
                  <a:pt x="8" y="3"/>
                  <a:pt x="8" y="3"/>
                  <a:pt x="7" y="3"/>
                </a:cubicBezTo>
                <a:cubicBezTo>
                  <a:pt x="7" y="4"/>
                  <a:pt x="6" y="4"/>
                  <a:pt x="6" y="5"/>
                </a:cubicBezTo>
                <a:cubicBezTo>
                  <a:pt x="7" y="6"/>
                  <a:pt x="7" y="7"/>
                  <a:pt x="7" y="8"/>
                </a:cubicBezTo>
                <a:cubicBezTo>
                  <a:pt x="7" y="8"/>
                  <a:pt x="7" y="7"/>
                  <a:pt x="7" y="8"/>
                </a:cubicBezTo>
                <a:cubicBezTo>
                  <a:pt x="7" y="8"/>
                  <a:pt x="7" y="9"/>
                  <a:pt x="7" y="9"/>
                </a:cubicBezTo>
                <a:cubicBezTo>
                  <a:pt x="7" y="9"/>
                  <a:pt x="7" y="9"/>
                  <a:pt x="7" y="9"/>
                </a:cubicBezTo>
                <a:cubicBezTo>
                  <a:pt x="7" y="10"/>
                  <a:pt x="7" y="11"/>
                  <a:pt x="6" y="11"/>
                </a:cubicBezTo>
                <a:cubicBezTo>
                  <a:pt x="6" y="12"/>
                  <a:pt x="5" y="12"/>
                  <a:pt x="5" y="12"/>
                </a:cubicBezTo>
                <a:cubicBezTo>
                  <a:pt x="4" y="11"/>
                  <a:pt x="4" y="11"/>
                  <a:pt x="4" y="10"/>
                </a:cubicBezTo>
                <a:cubicBezTo>
                  <a:pt x="3" y="9"/>
                  <a:pt x="3" y="9"/>
                  <a:pt x="3" y="9"/>
                </a:cubicBezTo>
                <a:cubicBezTo>
                  <a:pt x="2" y="9"/>
                  <a:pt x="2" y="9"/>
                  <a:pt x="2" y="8"/>
                </a:cubicBezTo>
                <a:cubicBezTo>
                  <a:pt x="2" y="7"/>
                  <a:pt x="1" y="6"/>
                  <a:pt x="0" y="6"/>
                </a:cubicBezTo>
                <a:cubicBezTo>
                  <a:pt x="1" y="6"/>
                  <a:pt x="3" y="5"/>
                  <a:pt x="4" y="4"/>
                </a:cubicBezTo>
                <a:cubicBezTo>
                  <a:pt x="5" y="3"/>
                  <a:pt x="6" y="3"/>
                  <a:pt x="7" y="2"/>
                </a:cubicBezTo>
                <a:cubicBezTo>
                  <a:pt x="7" y="1"/>
                  <a:pt x="8" y="1"/>
                  <a:pt x="8" y="1"/>
                </a:cubicBezTo>
                <a:cubicBezTo>
                  <a:pt x="10" y="0"/>
                  <a:pt x="9" y="2"/>
                  <a:pt x="8" y="2"/>
                </a:cubicBezTo>
                <a:cubicBezTo>
                  <a:pt x="9" y="2"/>
                  <a:pt x="8" y="3"/>
                  <a:pt x="8" y="3"/>
                </a:cubicBezTo>
                <a:close/>
                <a:moveTo>
                  <a:pt x="11" y="7"/>
                </a:moveTo>
                <a:cubicBezTo>
                  <a:pt x="11" y="6"/>
                  <a:pt x="11" y="6"/>
                  <a:pt x="11" y="5"/>
                </a:cubicBezTo>
                <a:cubicBezTo>
                  <a:pt x="11" y="5"/>
                  <a:pt x="10" y="3"/>
                  <a:pt x="10" y="3"/>
                </a:cubicBezTo>
                <a:cubicBezTo>
                  <a:pt x="10" y="2"/>
                  <a:pt x="10" y="2"/>
                  <a:pt x="10" y="2"/>
                </a:cubicBezTo>
                <a:cubicBezTo>
                  <a:pt x="9" y="3"/>
                  <a:pt x="10" y="3"/>
                  <a:pt x="10" y="3"/>
                </a:cubicBezTo>
                <a:cubicBezTo>
                  <a:pt x="9" y="3"/>
                  <a:pt x="9" y="3"/>
                  <a:pt x="9" y="4"/>
                </a:cubicBezTo>
                <a:cubicBezTo>
                  <a:pt x="9" y="3"/>
                  <a:pt x="9" y="3"/>
                  <a:pt x="9" y="3"/>
                </a:cubicBezTo>
                <a:cubicBezTo>
                  <a:pt x="9" y="4"/>
                  <a:pt x="9" y="5"/>
                  <a:pt x="9" y="6"/>
                </a:cubicBezTo>
                <a:cubicBezTo>
                  <a:pt x="9" y="7"/>
                  <a:pt x="9" y="8"/>
                  <a:pt x="10" y="8"/>
                </a:cubicBezTo>
                <a:cubicBezTo>
                  <a:pt x="10" y="8"/>
                  <a:pt x="12" y="9"/>
                  <a:pt x="12" y="9"/>
                </a:cubicBezTo>
                <a:cubicBezTo>
                  <a:pt x="12" y="8"/>
                  <a:pt x="11" y="8"/>
                  <a:pt x="11"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7" name="British Virgin Islands"/>
          <p:cNvSpPr>
            <a:spLocks noEditPoints="1"/>
          </p:cNvSpPr>
          <p:nvPr/>
        </p:nvSpPr>
        <p:spPr bwMode="auto">
          <a:xfrm>
            <a:off x="3563167" y="3921965"/>
            <a:ext cx="15000" cy="11000"/>
          </a:xfrm>
          <a:custGeom>
            <a:avLst/>
            <a:gdLst/>
            <a:ahLst/>
            <a:cxnLst>
              <a:cxn ang="0">
                <a:pos x="2" y="2"/>
              </a:cxn>
              <a:cxn ang="0">
                <a:pos x="1" y="3"/>
              </a:cxn>
              <a:cxn ang="0">
                <a:pos x="2" y="2"/>
              </a:cxn>
              <a:cxn ang="0">
                <a:pos x="4" y="0"/>
              </a:cxn>
              <a:cxn ang="0">
                <a:pos x="3" y="0"/>
              </a:cxn>
              <a:cxn ang="0">
                <a:pos x="3" y="1"/>
              </a:cxn>
              <a:cxn ang="0">
                <a:pos x="4" y="1"/>
              </a:cxn>
              <a:cxn ang="0">
                <a:pos x="4" y="0"/>
              </a:cxn>
            </a:cxnLst>
            <a:rect l="0" t="0" r="r" b="b"/>
            <a:pathLst>
              <a:path w="4" h="3">
                <a:moveTo>
                  <a:pt x="2" y="2"/>
                </a:moveTo>
                <a:cubicBezTo>
                  <a:pt x="2" y="3"/>
                  <a:pt x="1" y="3"/>
                  <a:pt x="1" y="3"/>
                </a:cubicBezTo>
                <a:cubicBezTo>
                  <a:pt x="0" y="3"/>
                  <a:pt x="1" y="2"/>
                  <a:pt x="2" y="2"/>
                </a:cubicBezTo>
                <a:close/>
                <a:moveTo>
                  <a:pt x="4" y="0"/>
                </a:moveTo>
                <a:cubicBezTo>
                  <a:pt x="3" y="0"/>
                  <a:pt x="3" y="0"/>
                  <a:pt x="3" y="0"/>
                </a:cubicBezTo>
                <a:cubicBezTo>
                  <a:pt x="3" y="0"/>
                  <a:pt x="3" y="1"/>
                  <a:pt x="3" y="1"/>
                </a:cubicBezTo>
                <a:cubicBezTo>
                  <a:pt x="3" y="0"/>
                  <a:pt x="4" y="0"/>
                  <a:pt x="4" y="1"/>
                </a:cubicBezTo>
                <a:cubicBezTo>
                  <a:pt x="4" y="0"/>
                  <a:pt x="4" y="0"/>
                  <a:pt x="4" y="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8" name="British Indian Territory"/>
          <p:cNvSpPr>
            <a:spLocks noEditPoints="1"/>
          </p:cNvSpPr>
          <p:nvPr/>
        </p:nvSpPr>
        <p:spPr bwMode="auto">
          <a:xfrm>
            <a:off x="8287988" y="4873929"/>
            <a:ext cx="39999" cy="85997"/>
          </a:xfrm>
          <a:custGeom>
            <a:avLst/>
            <a:gdLst/>
            <a:ahLst/>
            <a:cxnLst>
              <a:cxn ang="0">
                <a:pos x="10" y="1"/>
              </a:cxn>
              <a:cxn ang="0">
                <a:pos x="10" y="1"/>
              </a:cxn>
              <a:cxn ang="0">
                <a:pos x="10" y="1"/>
              </a:cxn>
              <a:cxn ang="0">
                <a:pos x="5" y="0"/>
              </a:cxn>
              <a:cxn ang="0">
                <a:pos x="5" y="0"/>
              </a:cxn>
              <a:cxn ang="0">
                <a:pos x="5" y="0"/>
              </a:cxn>
              <a:cxn ang="0">
                <a:pos x="5" y="2"/>
              </a:cxn>
              <a:cxn ang="0">
                <a:pos x="5" y="2"/>
              </a:cxn>
              <a:cxn ang="0">
                <a:pos x="5" y="2"/>
              </a:cxn>
              <a:cxn ang="0">
                <a:pos x="1" y="10"/>
              </a:cxn>
              <a:cxn ang="0">
                <a:pos x="1" y="10"/>
              </a:cxn>
              <a:cxn ang="0">
                <a:pos x="1" y="10"/>
              </a:cxn>
              <a:cxn ang="0">
                <a:pos x="0" y="12"/>
              </a:cxn>
              <a:cxn ang="0">
                <a:pos x="0" y="12"/>
              </a:cxn>
              <a:cxn ang="0">
                <a:pos x="0" y="12"/>
              </a:cxn>
              <a:cxn ang="0">
                <a:pos x="1" y="15"/>
              </a:cxn>
              <a:cxn ang="0">
                <a:pos x="0" y="15"/>
              </a:cxn>
              <a:cxn ang="0">
                <a:pos x="1" y="15"/>
              </a:cxn>
              <a:cxn ang="0">
                <a:pos x="6" y="1"/>
              </a:cxn>
              <a:cxn ang="0">
                <a:pos x="6" y="1"/>
              </a:cxn>
              <a:cxn ang="0">
                <a:pos x="6" y="1"/>
              </a:cxn>
              <a:cxn ang="0">
                <a:pos x="6" y="1"/>
              </a:cxn>
              <a:cxn ang="0">
                <a:pos x="6" y="1"/>
              </a:cxn>
              <a:cxn ang="0">
                <a:pos x="9" y="1"/>
              </a:cxn>
              <a:cxn ang="0">
                <a:pos x="9" y="1"/>
              </a:cxn>
              <a:cxn ang="0">
                <a:pos x="9" y="1"/>
              </a:cxn>
              <a:cxn ang="0">
                <a:pos x="11" y="23"/>
              </a:cxn>
              <a:cxn ang="0">
                <a:pos x="11" y="24"/>
              </a:cxn>
              <a:cxn ang="0">
                <a:pos x="10" y="22"/>
              </a:cxn>
              <a:cxn ang="0">
                <a:pos x="11" y="23"/>
              </a:cxn>
              <a:cxn ang="0">
                <a:pos x="11" y="23"/>
              </a:cxn>
              <a:cxn ang="0">
                <a:pos x="11" y="24"/>
              </a:cxn>
              <a:cxn ang="0">
                <a:pos x="11" y="23"/>
              </a:cxn>
            </a:cxnLst>
            <a:rect l="0" t="0" r="r" b="b"/>
            <a:pathLst>
              <a:path w="11" h="24">
                <a:moveTo>
                  <a:pt x="10" y="1"/>
                </a:moveTo>
                <a:cubicBezTo>
                  <a:pt x="10" y="1"/>
                  <a:pt x="10" y="1"/>
                  <a:pt x="10" y="1"/>
                </a:cubicBezTo>
                <a:cubicBezTo>
                  <a:pt x="10" y="1"/>
                  <a:pt x="10" y="1"/>
                  <a:pt x="10" y="1"/>
                </a:cubicBezTo>
                <a:close/>
                <a:moveTo>
                  <a:pt x="5" y="0"/>
                </a:moveTo>
                <a:cubicBezTo>
                  <a:pt x="5" y="0"/>
                  <a:pt x="5" y="0"/>
                  <a:pt x="5" y="0"/>
                </a:cubicBezTo>
                <a:cubicBezTo>
                  <a:pt x="5" y="0"/>
                  <a:pt x="5" y="0"/>
                  <a:pt x="5" y="0"/>
                </a:cubicBezTo>
                <a:close/>
                <a:moveTo>
                  <a:pt x="5" y="2"/>
                </a:moveTo>
                <a:cubicBezTo>
                  <a:pt x="5" y="2"/>
                  <a:pt x="5" y="2"/>
                  <a:pt x="5" y="2"/>
                </a:cubicBezTo>
                <a:cubicBezTo>
                  <a:pt x="5" y="2"/>
                  <a:pt x="5" y="2"/>
                  <a:pt x="5" y="2"/>
                </a:cubicBezTo>
                <a:close/>
                <a:moveTo>
                  <a:pt x="1" y="10"/>
                </a:moveTo>
                <a:cubicBezTo>
                  <a:pt x="1" y="10"/>
                  <a:pt x="1" y="10"/>
                  <a:pt x="1" y="10"/>
                </a:cubicBezTo>
                <a:cubicBezTo>
                  <a:pt x="1" y="10"/>
                  <a:pt x="1" y="10"/>
                  <a:pt x="1" y="10"/>
                </a:cubicBezTo>
                <a:close/>
                <a:moveTo>
                  <a:pt x="0" y="12"/>
                </a:moveTo>
                <a:cubicBezTo>
                  <a:pt x="0" y="12"/>
                  <a:pt x="0" y="12"/>
                  <a:pt x="0" y="12"/>
                </a:cubicBezTo>
                <a:cubicBezTo>
                  <a:pt x="0" y="12"/>
                  <a:pt x="0" y="12"/>
                  <a:pt x="0" y="12"/>
                </a:cubicBezTo>
                <a:close/>
                <a:moveTo>
                  <a:pt x="1" y="15"/>
                </a:moveTo>
                <a:cubicBezTo>
                  <a:pt x="1" y="15"/>
                  <a:pt x="1" y="15"/>
                  <a:pt x="0" y="15"/>
                </a:cubicBezTo>
                <a:cubicBezTo>
                  <a:pt x="0" y="15"/>
                  <a:pt x="1" y="15"/>
                  <a:pt x="1" y="15"/>
                </a:cubicBezTo>
                <a:close/>
                <a:moveTo>
                  <a:pt x="6" y="1"/>
                </a:moveTo>
                <a:cubicBezTo>
                  <a:pt x="6" y="1"/>
                  <a:pt x="6" y="1"/>
                  <a:pt x="6" y="1"/>
                </a:cubicBezTo>
                <a:cubicBezTo>
                  <a:pt x="6" y="1"/>
                  <a:pt x="6" y="1"/>
                  <a:pt x="6" y="1"/>
                </a:cubicBezTo>
                <a:cubicBezTo>
                  <a:pt x="6" y="1"/>
                  <a:pt x="6" y="1"/>
                  <a:pt x="6" y="1"/>
                </a:cubicBezTo>
                <a:cubicBezTo>
                  <a:pt x="6" y="1"/>
                  <a:pt x="6" y="1"/>
                  <a:pt x="6" y="1"/>
                </a:cubicBezTo>
                <a:close/>
                <a:moveTo>
                  <a:pt x="9" y="1"/>
                </a:moveTo>
                <a:cubicBezTo>
                  <a:pt x="9" y="1"/>
                  <a:pt x="9" y="1"/>
                  <a:pt x="9" y="1"/>
                </a:cubicBezTo>
                <a:cubicBezTo>
                  <a:pt x="9" y="1"/>
                  <a:pt x="9" y="1"/>
                  <a:pt x="9" y="1"/>
                </a:cubicBezTo>
                <a:close/>
                <a:moveTo>
                  <a:pt x="11" y="23"/>
                </a:moveTo>
                <a:cubicBezTo>
                  <a:pt x="11" y="23"/>
                  <a:pt x="11" y="23"/>
                  <a:pt x="11" y="24"/>
                </a:cubicBezTo>
                <a:cubicBezTo>
                  <a:pt x="11" y="23"/>
                  <a:pt x="11" y="23"/>
                  <a:pt x="10" y="22"/>
                </a:cubicBezTo>
                <a:cubicBezTo>
                  <a:pt x="10" y="22"/>
                  <a:pt x="10" y="22"/>
                  <a:pt x="11" y="23"/>
                </a:cubicBezTo>
                <a:cubicBezTo>
                  <a:pt x="11" y="23"/>
                  <a:pt x="11" y="23"/>
                  <a:pt x="11" y="23"/>
                </a:cubicBezTo>
                <a:cubicBezTo>
                  <a:pt x="11" y="23"/>
                  <a:pt x="11" y="24"/>
                  <a:pt x="11" y="24"/>
                </a:cubicBezTo>
                <a:cubicBezTo>
                  <a:pt x="11" y="24"/>
                  <a:pt x="11" y="23"/>
                  <a:pt x="11" y="2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199" name="Brazil"/>
          <p:cNvSpPr>
            <a:spLocks noEditPoints="1"/>
          </p:cNvSpPr>
          <p:nvPr/>
        </p:nvSpPr>
        <p:spPr bwMode="auto">
          <a:xfrm>
            <a:off x="3205180" y="4453944"/>
            <a:ext cx="1585941" cy="1551942"/>
          </a:xfrm>
          <a:custGeom>
            <a:avLst/>
            <a:gdLst/>
            <a:ahLst/>
            <a:cxnLst>
              <a:cxn ang="0">
                <a:pos x="228" y="55"/>
              </a:cxn>
              <a:cxn ang="0">
                <a:pos x="219" y="69"/>
              </a:cxn>
              <a:cxn ang="0">
                <a:pos x="223" y="70"/>
              </a:cxn>
              <a:cxn ang="0">
                <a:pos x="245" y="67"/>
              </a:cxn>
              <a:cxn ang="0">
                <a:pos x="369" y="114"/>
              </a:cxn>
              <a:cxn ang="0">
                <a:pos x="331" y="92"/>
              </a:cxn>
              <a:cxn ang="0">
                <a:pos x="302" y="87"/>
              </a:cxn>
              <a:cxn ang="0">
                <a:pos x="289" y="89"/>
              </a:cxn>
              <a:cxn ang="0">
                <a:pos x="284" y="92"/>
              </a:cxn>
              <a:cxn ang="0">
                <a:pos x="281" y="83"/>
              </a:cxn>
              <a:cxn ang="0">
                <a:pos x="280" y="76"/>
              </a:cxn>
              <a:cxn ang="0">
                <a:pos x="275" y="74"/>
              </a:cxn>
              <a:cxn ang="0">
                <a:pos x="270" y="72"/>
              </a:cxn>
              <a:cxn ang="0">
                <a:pos x="264" y="69"/>
              </a:cxn>
              <a:cxn ang="0">
                <a:pos x="258" y="65"/>
              </a:cxn>
              <a:cxn ang="0">
                <a:pos x="249" y="74"/>
              </a:cxn>
              <a:cxn ang="0">
                <a:pos x="233" y="79"/>
              </a:cxn>
              <a:cxn ang="0">
                <a:pos x="214" y="74"/>
              </a:cxn>
              <a:cxn ang="0">
                <a:pos x="228" y="50"/>
              </a:cxn>
              <a:cxn ang="0">
                <a:pos x="220" y="16"/>
              </a:cxn>
              <a:cxn ang="0">
                <a:pos x="199" y="33"/>
              </a:cxn>
              <a:cxn ang="0">
                <a:pos x="173" y="31"/>
              </a:cxn>
              <a:cxn ang="0">
                <a:pos x="149" y="44"/>
              </a:cxn>
              <a:cxn ang="0">
                <a:pos x="137" y="10"/>
              </a:cxn>
              <a:cxn ang="0">
                <a:pos x="114" y="13"/>
              </a:cxn>
              <a:cxn ang="0">
                <a:pos x="94" y="19"/>
              </a:cxn>
              <a:cxn ang="0">
                <a:pos x="83" y="48"/>
              </a:cxn>
              <a:cxn ang="0">
                <a:pos x="40" y="39"/>
              </a:cxn>
              <a:cxn ang="0">
                <a:pos x="38" y="62"/>
              </a:cxn>
              <a:cxn ang="0">
                <a:pos x="26" y="106"/>
              </a:cxn>
              <a:cxn ang="0">
                <a:pos x="5" y="132"/>
              </a:cxn>
              <a:cxn ang="0">
                <a:pos x="11" y="159"/>
              </a:cxn>
              <a:cxn ang="0">
                <a:pos x="36" y="179"/>
              </a:cxn>
              <a:cxn ang="0">
                <a:pos x="76" y="166"/>
              </a:cxn>
              <a:cxn ang="0">
                <a:pos x="86" y="182"/>
              </a:cxn>
              <a:cxn ang="0">
                <a:pos x="110" y="198"/>
              </a:cxn>
              <a:cxn ang="0">
                <a:pos x="137" y="219"/>
              </a:cxn>
              <a:cxn ang="0">
                <a:pos x="166" y="255"/>
              </a:cxn>
              <a:cxn ang="0">
                <a:pos x="167" y="287"/>
              </a:cxn>
              <a:cxn ang="0">
                <a:pos x="178" y="303"/>
              </a:cxn>
              <a:cxn ang="0">
                <a:pos x="204" y="321"/>
              </a:cxn>
              <a:cxn ang="0">
                <a:pos x="214" y="346"/>
              </a:cxn>
              <a:cxn ang="0">
                <a:pos x="203" y="364"/>
              </a:cxn>
              <a:cxn ang="0">
                <a:pos x="187" y="385"/>
              </a:cxn>
              <a:cxn ang="0">
                <a:pos x="210" y="402"/>
              </a:cxn>
              <a:cxn ang="0">
                <a:pos x="239" y="411"/>
              </a:cxn>
              <a:cxn ang="0">
                <a:pos x="243" y="394"/>
              </a:cxn>
              <a:cxn ang="0">
                <a:pos x="249" y="392"/>
              </a:cxn>
              <a:cxn ang="0">
                <a:pos x="250" y="397"/>
              </a:cxn>
              <a:cxn ang="0">
                <a:pos x="263" y="356"/>
              </a:cxn>
              <a:cxn ang="0">
                <a:pos x="261" y="339"/>
              </a:cxn>
              <a:cxn ang="0">
                <a:pos x="272" y="328"/>
              </a:cxn>
              <a:cxn ang="0">
                <a:pos x="293" y="315"/>
              </a:cxn>
              <a:cxn ang="0">
                <a:pos x="302" y="312"/>
              </a:cxn>
              <a:cxn ang="0">
                <a:pos x="328" y="296"/>
              </a:cxn>
              <a:cxn ang="0">
                <a:pos x="342" y="254"/>
              </a:cxn>
              <a:cxn ang="0">
                <a:pos x="341" y="211"/>
              </a:cxn>
              <a:cxn ang="0">
                <a:pos x="346" y="200"/>
              </a:cxn>
              <a:cxn ang="0">
                <a:pos x="359" y="179"/>
              </a:cxn>
              <a:cxn ang="0">
                <a:pos x="378" y="154"/>
              </a:cxn>
              <a:cxn ang="0">
                <a:pos x="230" y="58"/>
              </a:cxn>
              <a:cxn ang="0">
                <a:pos x="291" y="322"/>
              </a:cxn>
              <a:cxn ang="0">
                <a:pos x="299" y="312"/>
              </a:cxn>
            </a:cxnLst>
            <a:rect l="0" t="0" r="r" b="b"/>
            <a:pathLst>
              <a:path w="439" h="429">
                <a:moveTo>
                  <a:pt x="229" y="50"/>
                </a:moveTo>
                <a:cubicBezTo>
                  <a:pt x="228" y="50"/>
                  <a:pt x="229" y="49"/>
                  <a:pt x="229" y="49"/>
                </a:cubicBezTo>
                <a:cubicBezTo>
                  <a:pt x="230" y="48"/>
                  <a:pt x="230" y="49"/>
                  <a:pt x="231" y="48"/>
                </a:cubicBezTo>
                <a:cubicBezTo>
                  <a:pt x="231" y="50"/>
                  <a:pt x="229" y="50"/>
                  <a:pt x="229" y="50"/>
                </a:cubicBezTo>
                <a:close/>
                <a:moveTo>
                  <a:pt x="227" y="34"/>
                </a:moveTo>
                <a:cubicBezTo>
                  <a:pt x="226" y="34"/>
                  <a:pt x="226" y="35"/>
                  <a:pt x="226" y="35"/>
                </a:cubicBezTo>
                <a:cubicBezTo>
                  <a:pt x="227" y="35"/>
                  <a:pt x="228" y="34"/>
                  <a:pt x="227" y="34"/>
                </a:cubicBezTo>
                <a:close/>
                <a:moveTo>
                  <a:pt x="225" y="57"/>
                </a:moveTo>
                <a:cubicBezTo>
                  <a:pt x="225" y="57"/>
                  <a:pt x="225" y="58"/>
                  <a:pt x="225" y="58"/>
                </a:cubicBezTo>
                <a:cubicBezTo>
                  <a:pt x="227" y="59"/>
                  <a:pt x="227" y="57"/>
                  <a:pt x="226" y="57"/>
                </a:cubicBezTo>
                <a:cubicBezTo>
                  <a:pt x="226" y="56"/>
                  <a:pt x="225" y="56"/>
                  <a:pt x="225" y="57"/>
                </a:cubicBezTo>
                <a:close/>
                <a:moveTo>
                  <a:pt x="229" y="54"/>
                </a:moveTo>
                <a:cubicBezTo>
                  <a:pt x="229" y="54"/>
                  <a:pt x="230" y="53"/>
                  <a:pt x="231" y="52"/>
                </a:cubicBezTo>
                <a:cubicBezTo>
                  <a:pt x="231" y="52"/>
                  <a:pt x="231" y="51"/>
                  <a:pt x="230" y="51"/>
                </a:cubicBezTo>
                <a:cubicBezTo>
                  <a:pt x="230" y="51"/>
                  <a:pt x="230" y="52"/>
                  <a:pt x="230" y="52"/>
                </a:cubicBezTo>
                <a:cubicBezTo>
                  <a:pt x="230" y="52"/>
                  <a:pt x="229" y="52"/>
                  <a:pt x="229" y="52"/>
                </a:cubicBezTo>
                <a:cubicBezTo>
                  <a:pt x="229" y="52"/>
                  <a:pt x="228" y="52"/>
                  <a:pt x="228" y="53"/>
                </a:cubicBezTo>
                <a:cubicBezTo>
                  <a:pt x="228" y="53"/>
                  <a:pt x="228" y="55"/>
                  <a:pt x="229" y="54"/>
                </a:cubicBezTo>
                <a:close/>
                <a:moveTo>
                  <a:pt x="227" y="38"/>
                </a:moveTo>
                <a:cubicBezTo>
                  <a:pt x="229" y="37"/>
                  <a:pt x="228" y="35"/>
                  <a:pt x="227" y="35"/>
                </a:cubicBezTo>
                <a:cubicBezTo>
                  <a:pt x="226" y="35"/>
                  <a:pt x="226" y="37"/>
                  <a:pt x="227" y="38"/>
                </a:cubicBezTo>
                <a:close/>
                <a:moveTo>
                  <a:pt x="227" y="56"/>
                </a:moveTo>
                <a:cubicBezTo>
                  <a:pt x="227" y="56"/>
                  <a:pt x="227" y="56"/>
                  <a:pt x="228" y="55"/>
                </a:cubicBezTo>
                <a:cubicBezTo>
                  <a:pt x="228" y="55"/>
                  <a:pt x="228" y="54"/>
                  <a:pt x="228" y="54"/>
                </a:cubicBezTo>
                <a:cubicBezTo>
                  <a:pt x="228" y="54"/>
                  <a:pt x="228" y="51"/>
                  <a:pt x="227" y="52"/>
                </a:cubicBezTo>
                <a:cubicBezTo>
                  <a:pt x="227" y="52"/>
                  <a:pt x="227" y="53"/>
                  <a:pt x="227" y="53"/>
                </a:cubicBezTo>
                <a:cubicBezTo>
                  <a:pt x="227" y="54"/>
                  <a:pt x="227" y="54"/>
                  <a:pt x="226" y="55"/>
                </a:cubicBezTo>
                <a:cubicBezTo>
                  <a:pt x="226" y="56"/>
                  <a:pt x="225" y="56"/>
                  <a:pt x="227" y="56"/>
                </a:cubicBezTo>
                <a:close/>
                <a:moveTo>
                  <a:pt x="233" y="60"/>
                </a:moveTo>
                <a:cubicBezTo>
                  <a:pt x="234" y="60"/>
                  <a:pt x="236" y="60"/>
                  <a:pt x="236" y="59"/>
                </a:cubicBezTo>
                <a:cubicBezTo>
                  <a:pt x="237" y="59"/>
                  <a:pt x="237" y="58"/>
                  <a:pt x="236" y="57"/>
                </a:cubicBezTo>
                <a:cubicBezTo>
                  <a:pt x="235" y="57"/>
                  <a:pt x="234" y="58"/>
                  <a:pt x="233" y="58"/>
                </a:cubicBezTo>
                <a:cubicBezTo>
                  <a:pt x="233" y="59"/>
                  <a:pt x="232" y="59"/>
                  <a:pt x="233" y="60"/>
                </a:cubicBezTo>
                <a:close/>
                <a:moveTo>
                  <a:pt x="220" y="60"/>
                </a:moveTo>
                <a:cubicBezTo>
                  <a:pt x="220" y="60"/>
                  <a:pt x="220" y="60"/>
                  <a:pt x="220" y="60"/>
                </a:cubicBezTo>
                <a:cubicBezTo>
                  <a:pt x="219" y="60"/>
                  <a:pt x="219" y="61"/>
                  <a:pt x="219" y="61"/>
                </a:cubicBezTo>
                <a:cubicBezTo>
                  <a:pt x="218" y="62"/>
                  <a:pt x="218" y="62"/>
                  <a:pt x="218" y="63"/>
                </a:cubicBezTo>
                <a:cubicBezTo>
                  <a:pt x="218" y="63"/>
                  <a:pt x="217" y="63"/>
                  <a:pt x="218" y="64"/>
                </a:cubicBezTo>
                <a:cubicBezTo>
                  <a:pt x="219" y="63"/>
                  <a:pt x="219" y="62"/>
                  <a:pt x="220" y="61"/>
                </a:cubicBezTo>
                <a:cubicBezTo>
                  <a:pt x="221" y="61"/>
                  <a:pt x="220" y="61"/>
                  <a:pt x="220" y="60"/>
                </a:cubicBezTo>
                <a:close/>
                <a:moveTo>
                  <a:pt x="213" y="71"/>
                </a:moveTo>
                <a:cubicBezTo>
                  <a:pt x="213" y="72"/>
                  <a:pt x="213" y="73"/>
                  <a:pt x="212" y="73"/>
                </a:cubicBezTo>
                <a:cubicBezTo>
                  <a:pt x="212" y="74"/>
                  <a:pt x="212" y="74"/>
                  <a:pt x="213" y="74"/>
                </a:cubicBezTo>
                <a:cubicBezTo>
                  <a:pt x="214" y="74"/>
                  <a:pt x="216" y="73"/>
                  <a:pt x="217" y="72"/>
                </a:cubicBezTo>
                <a:cubicBezTo>
                  <a:pt x="217" y="71"/>
                  <a:pt x="217" y="71"/>
                  <a:pt x="218" y="70"/>
                </a:cubicBezTo>
                <a:cubicBezTo>
                  <a:pt x="218" y="70"/>
                  <a:pt x="219" y="70"/>
                  <a:pt x="219" y="69"/>
                </a:cubicBezTo>
                <a:cubicBezTo>
                  <a:pt x="219" y="68"/>
                  <a:pt x="219" y="68"/>
                  <a:pt x="219" y="67"/>
                </a:cubicBezTo>
                <a:cubicBezTo>
                  <a:pt x="220" y="67"/>
                  <a:pt x="220" y="66"/>
                  <a:pt x="220" y="65"/>
                </a:cubicBezTo>
                <a:cubicBezTo>
                  <a:pt x="220" y="65"/>
                  <a:pt x="220" y="64"/>
                  <a:pt x="219" y="64"/>
                </a:cubicBezTo>
                <a:cubicBezTo>
                  <a:pt x="219" y="64"/>
                  <a:pt x="219" y="64"/>
                  <a:pt x="218" y="64"/>
                </a:cubicBezTo>
                <a:cubicBezTo>
                  <a:pt x="216" y="64"/>
                  <a:pt x="215" y="67"/>
                  <a:pt x="215" y="69"/>
                </a:cubicBezTo>
                <a:cubicBezTo>
                  <a:pt x="215" y="70"/>
                  <a:pt x="215" y="70"/>
                  <a:pt x="214" y="71"/>
                </a:cubicBezTo>
                <a:cubicBezTo>
                  <a:pt x="214" y="71"/>
                  <a:pt x="213" y="71"/>
                  <a:pt x="213" y="71"/>
                </a:cubicBezTo>
                <a:close/>
                <a:moveTo>
                  <a:pt x="237" y="61"/>
                </a:moveTo>
                <a:cubicBezTo>
                  <a:pt x="236" y="61"/>
                  <a:pt x="236" y="61"/>
                  <a:pt x="235" y="61"/>
                </a:cubicBezTo>
                <a:cubicBezTo>
                  <a:pt x="234" y="61"/>
                  <a:pt x="233" y="61"/>
                  <a:pt x="233" y="60"/>
                </a:cubicBezTo>
                <a:cubicBezTo>
                  <a:pt x="231" y="60"/>
                  <a:pt x="229" y="59"/>
                  <a:pt x="227" y="59"/>
                </a:cubicBezTo>
                <a:cubicBezTo>
                  <a:pt x="225" y="60"/>
                  <a:pt x="224" y="61"/>
                  <a:pt x="224" y="63"/>
                </a:cubicBezTo>
                <a:cubicBezTo>
                  <a:pt x="224" y="63"/>
                  <a:pt x="224" y="64"/>
                  <a:pt x="224" y="65"/>
                </a:cubicBezTo>
                <a:cubicBezTo>
                  <a:pt x="225" y="65"/>
                  <a:pt x="225" y="65"/>
                  <a:pt x="226" y="66"/>
                </a:cubicBezTo>
                <a:cubicBezTo>
                  <a:pt x="225" y="66"/>
                  <a:pt x="225" y="66"/>
                  <a:pt x="224" y="65"/>
                </a:cubicBezTo>
                <a:cubicBezTo>
                  <a:pt x="224" y="65"/>
                  <a:pt x="224" y="64"/>
                  <a:pt x="224" y="64"/>
                </a:cubicBezTo>
                <a:cubicBezTo>
                  <a:pt x="223" y="65"/>
                  <a:pt x="223" y="66"/>
                  <a:pt x="224" y="67"/>
                </a:cubicBezTo>
                <a:cubicBezTo>
                  <a:pt x="223" y="67"/>
                  <a:pt x="223" y="70"/>
                  <a:pt x="224" y="70"/>
                </a:cubicBezTo>
                <a:cubicBezTo>
                  <a:pt x="224" y="71"/>
                  <a:pt x="226" y="69"/>
                  <a:pt x="226" y="70"/>
                </a:cubicBezTo>
                <a:cubicBezTo>
                  <a:pt x="226" y="70"/>
                  <a:pt x="226" y="70"/>
                  <a:pt x="226" y="70"/>
                </a:cubicBezTo>
                <a:cubicBezTo>
                  <a:pt x="226" y="70"/>
                  <a:pt x="225" y="71"/>
                  <a:pt x="225" y="71"/>
                </a:cubicBezTo>
                <a:cubicBezTo>
                  <a:pt x="225" y="71"/>
                  <a:pt x="226" y="71"/>
                  <a:pt x="226" y="71"/>
                </a:cubicBezTo>
                <a:cubicBezTo>
                  <a:pt x="225" y="71"/>
                  <a:pt x="223" y="70"/>
                  <a:pt x="223" y="70"/>
                </a:cubicBezTo>
                <a:cubicBezTo>
                  <a:pt x="223" y="72"/>
                  <a:pt x="223" y="73"/>
                  <a:pt x="224" y="74"/>
                </a:cubicBezTo>
                <a:cubicBezTo>
                  <a:pt x="224" y="75"/>
                  <a:pt x="225" y="76"/>
                  <a:pt x="225" y="77"/>
                </a:cubicBezTo>
                <a:cubicBezTo>
                  <a:pt x="225" y="77"/>
                  <a:pt x="225" y="78"/>
                  <a:pt x="226" y="78"/>
                </a:cubicBezTo>
                <a:cubicBezTo>
                  <a:pt x="226" y="78"/>
                  <a:pt x="227" y="78"/>
                  <a:pt x="228" y="78"/>
                </a:cubicBezTo>
                <a:cubicBezTo>
                  <a:pt x="228" y="78"/>
                  <a:pt x="228" y="78"/>
                  <a:pt x="228" y="78"/>
                </a:cubicBezTo>
                <a:cubicBezTo>
                  <a:pt x="228" y="78"/>
                  <a:pt x="230" y="78"/>
                  <a:pt x="230" y="77"/>
                </a:cubicBezTo>
                <a:cubicBezTo>
                  <a:pt x="231" y="77"/>
                  <a:pt x="231" y="78"/>
                  <a:pt x="232" y="78"/>
                </a:cubicBezTo>
                <a:cubicBezTo>
                  <a:pt x="232" y="78"/>
                  <a:pt x="233" y="79"/>
                  <a:pt x="233" y="78"/>
                </a:cubicBezTo>
                <a:cubicBezTo>
                  <a:pt x="234" y="78"/>
                  <a:pt x="233" y="76"/>
                  <a:pt x="233" y="76"/>
                </a:cubicBezTo>
                <a:cubicBezTo>
                  <a:pt x="234" y="77"/>
                  <a:pt x="234" y="78"/>
                  <a:pt x="234" y="78"/>
                </a:cubicBezTo>
                <a:cubicBezTo>
                  <a:pt x="235" y="77"/>
                  <a:pt x="236" y="76"/>
                  <a:pt x="236" y="75"/>
                </a:cubicBezTo>
                <a:cubicBezTo>
                  <a:pt x="236" y="75"/>
                  <a:pt x="237" y="77"/>
                  <a:pt x="237" y="76"/>
                </a:cubicBezTo>
                <a:cubicBezTo>
                  <a:pt x="238" y="76"/>
                  <a:pt x="238" y="76"/>
                  <a:pt x="239" y="76"/>
                </a:cubicBezTo>
                <a:cubicBezTo>
                  <a:pt x="239" y="76"/>
                  <a:pt x="240" y="76"/>
                  <a:pt x="240" y="75"/>
                </a:cubicBezTo>
                <a:cubicBezTo>
                  <a:pt x="241" y="75"/>
                  <a:pt x="242" y="75"/>
                  <a:pt x="242" y="75"/>
                </a:cubicBezTo>
                <a:cubicBezTo>
                  <a:pt x="242" y="74"/>
                  <a:pt x="242" y="74"/>
                  <a:pt x="242" y="74"/>
                </a:cubicBezTo>
                <a:cubicBezTo>
                  <a:pt x="243" y="73"/>
                  <a:pt x="243" y="73"/>
                  <a:pt x="243" y="72"/>
                </a:cubicBezTo>
                <a:cubicBezTo>
                  <a:pt x="243" y="72"/>
                  <a:pt x="243" y="71"/>
                  <a:pt x="243" y="71"/>
                </a:cubicBezTo>
                <a:cubicBezTo>
                  <a:pt x="243" y="71"/>
                  <a:pt x="244" y="71"/>
                  <a:pt x="244" y="71"/>
                </a:cubicBezTo>
                <a:cubicBezTo>
                  <a:pt x="244" y="70"/>
                  <a:pt x="244" y="70"/>
                  <a:pt x="244" y="70"/>
                </a:cubicBezTo>
                <a:cubicBezTo>
                  <a:pt x="244" y="70"/>
                  <a:pt x="244" y="70"/>
                  <a:pt x="244" y="70"/>
                </a:cubicBezTo>
                <a:cubicBezTo>
                  <a:pt x="244" y="69"/>
                  <a:pt x="244" y="69"/>
                  <a:pt x="245" y="68"/>
                </a:cubicBezTo>
                <a:cubicBezTo>
                  <a:pt x="245" y="68"/>
                  <a:pt x="245" y="67"/>
                  <a:pt x="245" y="67"/>
                </a:cubicBezTo>
                <a:cubicBezTo>
                  <a:pt x="245" y="67"/>
                  <a:pt x="245" y="66"/>
                  <a:pt x="245" y="66"/>
                </a:cubicBezTo>
                <a:cubicBezTo>
                  <a:pt x="246" y="67"/>
                  <a:pt x="246" y="66"/>
                  <a:pt x="246" y="65"/>
                </a:cubicBezTo>
                <a:cubicBezTo>
                  <a:pt x="246" y="64"/>
                  <a:pt x="246" y="64"/>
                  <a:pt x="246" y="63"/>
                </a:cubicBezTo>
                <a:cubicBezTo>
                  <a:pt x="247" y="61"/>
                  <a:pt x="246" y="61"/>
                  <a:pt x="245" y="61"/>
                </a:cubicBezTo>
                <a:cubicBezTo>
                  <a:pt x="244" y="61"/>
                  <a:pt x="243" y="61"/>
                  <a:pt x="242" y="61"/>
                </a:cubicBezTo>
                <a:cubicBezTo>
                  <a:pt x="241" y="61"/>
                  <a:pt x="241" y="60"/>
                  <a:pt x="240" y="60"/>
                </a:cubicBezTo>
                <a:cubicBezTo>
                  <a:pt x="240" y="60"/>
                  <a:pt x="239" y="60"/>
                  <a:pt x="239" y="60"/>
                </a:cubicBezTo>
                <a:cubicBezTo>
                  <a:pt x="239" y="59"/>
                  <a:pt x="239" y="60"/>
                  <a:pt x="238" y="60"/>
                </a:cubicBezTo>
                <a:cubicBezTo>
                  <a:pt x="238" y="60"/>
                  <a:pt x="236" y="60"/>
                  <a:pt x="237" y="61"/>
                </a:cubicBezTo>
                <a:close/>
                <a:moveTo>
                  <a:pt x="380" y="139"/>
                </a:moveTo>
                <a:cubicBezTo>
                  <a:pt x="380" y="138"/>
                  <a:pt x="380" y="136"/>
                  <a:pt x="379" y="135"/>
                </a:cubicBezTo>
                <a:cubicBezTo>
                  <a:pt x="379" y="136"/>
                  <a:pt x="379" y="136"/>
                  <a:pt x="379" y="137"/>
                </a:cubicBezTo>
                <a:cubicBezTo>
                  <a:pt x="378" y="136"/>
                  <a:pt x="379" y="135"/>
                  <a:pt x="379" y="134"/>
                </a:cubicBezTo>
                <a:cubicBezTo>
                  <a:pt x="379" y="134"/>
                  <a:pt x="379" y="134"/>
                  <a:pt x="378" y="134"/>
                </a:cubicBezTo>
                <a:cubicBezTo>
                  <a:pt x="378" y="133"/>
                  <a:pt x="378" y="133"/>
                  <a:pt x="378" y="132"/>
                </a:cubicBezTo>
                <a:cubicBezTo>
                  <a:pt x="378" y="131"/>
                  <a:pt x="378" y="129"/>
                  <a:pt x="377" y="128"/>
                </a:cubicBezTo>
                <a:cubicBezTo>
                  <a:pt x="377" y="127"/>
                  <a:pt x="377" y="127"/>
                  <a:pt x="377" y="127"/>
                </a:cubicBezTo>
                <a:cubicBezTo>
                  <a:pt x="377" y="126"/>
                  <a:pt x="376" y="127"/>
                  <a:pt x="376" y="127"/>
                </a:cubicBezTo>
                <a:cubicBezTo>
                  <a:pt x="376" y="126"/>
                  <a:pt x="376" y="126"/>
                  <a:pt x="377" y="126"/>
                </a:cubicBezTo>
                <a:cubicBezTo>
                  <a:pt x="377" y="124"/>
                  <a:pt x="376" y="123"/>
                  <a:pt x="376" y="121"/>
                </a:cubicBezTo>
                <a:cubicBezTo>
                  <a:pt x="375" y="119"/>
                  <a:pt x="376" y="118"/>
                  <a:pt x="373" y="116"/>
                </a:cubicBezTo>
                <a:cubicBezTo>
                  <a:pt x="373" y="115"/>
                  <a:pt x="372" y="115"/>
                  <a:pt x="371" y="114"/>
                </a:cubicBezTo>
                <a:cubicBezTo>
                  <a:pt x="370" y="114"/>
                  <a:pt x="370" y="114"/>
                  <a:pt x="369" y="114"/>
                </a:cubicBezTo>
                <a:cubicBezTo>
                  <a:pt x="368" y="114"/>
                  <a:pt x="366" y="114"/>
                  <a:pt x="365" y="114"/>
                </a:cubicBezTo>
                <a:cubicBezTo>
                  <a:pt x="365" y="114"/>
                  <a:pt x="364" y="114"/>
                  <a:pt x="364" y="114"/>
                </a:cubicBezTo>
                <a:cubicBezTo>
                  <a:pt x="363" y="114"/>
                  <a:pt x="363" y="114"/>
                  <a:pt x="362" y="114"/>
                </a:cubicBezTo>
                <a:cubicBezTo>
                  <a:pt x="362" y="114"/>
                  <a:pt x="362" y="114"/>
                  <a:pt x="362" y="115"/>
                </a:cubicBezTo>
                <a:cubicBezTo>
                  <a:pt x="362" y="115"/>
                  <a:pt x="362" y="114"/>
                  <a:pt x="362" y="114"/>
                </a:cubicBezTo>
                <a:cubicBezTo>
                  <a:pt x="361" y="114"/>
                  <a:pt x="361" y="114"/>
                  <a:pt x="360" y="114"/>
                </a:cubicBezTo>
                <a:cubicBezTo>
                  <a:pt x="360" y="114"/>
                  <a:pt x="359" y="113"/>
                  <a:pt x="359" y="113"/>
                </a:cubicBezTo>
                <a:cubicBezTo>
                  <a:pt x="358" y="112"/>
                  <a:pt x="358" y="113"/>
                  <a:pt x="357" y="113"/>
                </a:cubicBezTo>
                <a:cubicBezTo>
                  <a:pt x="356" y="112"/>
                  <a:pt x="356" y="112"/>
                  <a:pt x="355" y="110"/>
                </a:cubicBezTo>
                <a:cubicBezTo>
                  <a:pt x="355" y="110"/>
                  <a:pt x="354" y="110"/>
                  <a:pt x="354" y="110"/>
                </a:cubicBezTo>
                <a:cubicBezTo>
                  <a:pt x="353" y="109"/>
                  <a:pt x="353" y="109"/>
                  <a:pt x="352" y="109"/>
                </a:cubicBezTo>
                <a:cubicBezTo>
                  <a:pt x="351" y="109"/>
                  <a:pt x="351" y="107"/>
                  <a:pt x="350" y="107"/>
                </a:cubicBezTo>
                <a:cubicBezTo>
                  <a:pt x="350" y="106"/>
                  <a:pt x="349" y="106"/>
                  <a:pt x="349" y="106"/>
                </a:cubicBezTo>
                <a:cubicBezTo>
                  <a:pt x="348" y="106"/>
                  <a:pt x="348" y="105"/>
                  <a:pt x="347" y="105"/>
                </a:cubicBezTo>
                <a:cubicBezTo>
                  <a:pt x="347" y="104"/>
                  <a:pt x="346" y="102"/>
                  <a:pt x="345" y="102"/>
                </a:cubicBezTo>
                <a:cubicBezTo>
                  <a:pt x="345" y="101"/>
                  <a:pt x="344" y="101"/>
                  <a:pt x="344" y="100"/>
                </a:cubicBezTo>
                <a:cubicBezTo>
                  <a:pt x="344" y="100"/>
                  <a:pt x="344" y="99"/>
                  <a:pt x="343" y="99"/>
                </a:cubicBezTo>
                <a:cubicBezTo>
                  <a:pt x="343" y="100"/>
                  <a:pt x="341" y="98"/>
                  <a:pt x="340" y="98"/>
                </a:cubicBezTo>
                <a:cubicBezTo>
                  <a:pt x="340" y="97"/>
                  <a:pt x="339" y="97"/>
                  <a:pt x="339" y="96"/>
                </a:cubicBezTo>
                <a:cubicBezTo>
                  <a:pt x="339" y="96"/>
                  <a:pt x="338" y="96"/>
                  <a:pt x="338" y="96"/>
                </a:cubicBezTo>
                <a:cubicBezTo>
                  <a:pt x="338" y="95"/>
                  <a:pt x="337" y="96"/>
                  <a:pt x="337" y="95"/>
                </a:cubicBezTo>
                <a:cubicBezTo>
                  <a:pt x="336" y="94"/>
                  <a:pt x="335" y="94"/>
                  <a:pt x="334" y="93"/>
                </a:cubicBezTo>
                <a:cubicBezTo>
                  <a:pt x="334" y="93"/>
                  <a:pt x="331" y="91"/>
                  <a:pt x="331" y="92"/>
                </a:cubicBezTo>
                <a:cubicBezTo>
                  <a:pt x="330" y="90"/>
                  <a:pt x="329" y="90"/>
                  <a:pt x="328" y="90"/>
                </a:cubicBezTo>
                <a:cubicBezTo>
                  <a:pt x="328" y="89"/>
                  <a:pt x="327" y="90"/>
                  <a:pt x="327" y="89"/>
                </a:cubicBezTo>
                <a:cubicBezTo>
                  <a:pt x="326" y="89"/>
                  <a:pt x="326" y="89"/>
                  <a:pt x="325" y="89"/>
                </a:cubicBezTo>
                <a:cubicBezTo>
                  <a:pt x="325" y="89"/>
                  <a:pt x="324" y="89"/>
                  <a:pt x="324" y="89"/>
                </a:cubicBezTo>
                <a:cubicBezTo>
                  <a:pt x="323" y="89"/>
                  <a:pt x="322" y="89"/>
                  <a:pt x="322" y="90"/>
                </a:cubicBezTo>
                <a:cubicBezTo>
                  <a:pt x="320" y="90"/>
                  <a:pt x="319" y="90"/>
                  <a:pt x="318" y="90"/>
                </a:cubicBezTo>
                <a:cubicBezTo>
                  <a:pt x="318" y="90"/>
                  <a:pt x="318" y="90"/>
                  <a:pt x="318" y="90"/>
                </a:cubicBezTo>
                <a:cubicBezTo>
                  <a:pt x="317" y="90"/>
                  <a:pt x="316" y="90"/>
                  <a:pt x="316" y="90"/>
                </a:cubicBezTo>
                <a:cubicBezTo>
                  <a:pt x="316" y="90"/>
                  <a:pt x="317" y="91"/>
                  <a:pt x="316" y="91"/>
                </a:cubicBezTo>
                <a:cubicBezTo>
                  <a:pt x="316" y="91"/>
                  <a:pt x="314" y="90"/>
                  <a:pt x="314" y="91"/>
                </a:cubicBezTo>
                <a:cubicBezTo>
                  <a:pt x="314" y="90"/>
                  <a:pt x="314" y="90"/>
                  <a:pt x="313" y="90"/>
                </a:cubicBezTo>
                <a:cubicBezTo>
                  <a:pt x="313" y="90"/>
                  <a:pt x="312" y="90"/>
                  <a:pt x="312" y="90"/>
                </a:cubicBezTo>
                <a:cubicBezTo>
                  <a:pt x="312" y="90"/>
                  <a:pt x="312" y="90"/>
                  <a:pt x="312" y="90"/>
                </a:cubicBezTo>
                <a:cubicBezTo>
                  <a:pt x="312" y="89"/>
                  <a:pt x="311" y="88"/>
                  <a:pt x="310" y="89"/>
                </a:cubicBezTo>
                <a:cubicBezTo>
                  <a:pt x="311" y="88"/>
                  <a:pt x="309" y="88"/>
                  <a:pt x="309" y="88"/>
                </a:cubicBezTo>
                <a:cubicBezTo>
                  <a:pt x="309" y="89"/>
                  <a:pt x="310" y="89"/>
                  <a:pt x="309" y="89"/>
                </a:cubicBezTo>
                <a:cubicBezTo>
                  <a:pt x="309" y="90"/>
                  <a:pt x="309" y="89"/>
                  <a:pt x="309" y="89"/>
                </a:cubicBezTo>
                <a:cubicBezTo>
                  <a:pt x="308" y="90"/>
                  <a:pt x="307" y="89"/>
                  <a:pt x="307" y="89"/>
                </a:cubicBezTo>
                <a:cubicBezTo>
                  <a:pt x="307" y="89"/>
                  <a:pt x="307" y="89"/>
                  <a:pt x="306" y="89"/>
                </a:cubicBezTo>
                <a:cubicBezTo>
                  <a:pt x="307" y="88"/>
                  <a:pt x="304" y="89"/>
                  <a:pt x="304" y="88"/>
                </a:cubicBezTo>
                <a:cubicBezTo>
                  <a:pt x="304" y="88"/>
                  <a:pt x="304" y="88"/>
                  <a:pt x="304" y="88"/>
                </a:cubicBezTo>
                <a:cubicBezTo>
                  <a:pt x="304" y="88"/>
                  <a:pt x="304" y="88"/>
                  <a:pt x="303" y="88"/>
                </a:cubicBezTo>
                <a:cubicBezTo>
                  <a:pt x="303" y="87"/>
                  <a:pt x="303" y="87"/>
                  <a:pt x="302" y="87"/>
                </a:cubicBezTo>
                <a:cubicBezTo>
                  <a:pt x="302" y="87"/>
                  <a:pt x="302" y="86"/>
                  <a:pt x="302" y="86"/>
                </a:cubicBezTo>
                <a:cubicBezTo>
                  <a:pt x="301" y="86"/>
                  <a:pt x="300" y="86"/>
                  <a:pt x="299" y="85"/>
                </a:cubicBezTo>
                <a:cubicBezTo>
                  <a:pt x="299" y="85"/>
                  <a:pt x="298" y="85"/>
                  <a:pt x="297" y="84"/>
                </a:cubicBezTo>
                <a:cubicBezTo>
                  <a:pt x="297" y="84"/>
                  <a:pt x="296" y="84"/>
                  <a:pt x="296" y="84"/>
                </a:cubicBezTo>
                <a:cubicBezTo>
                  <a:pt x="295" y="85"/>
                  <a:pt x="295" y="84"/>
                  <a:pt x="295" y="84"/>
                </a:cubicBezTo>
                <a:cubicBezTo>
                  <a:pt x="294" y="84"/>
                  <a:pt x="295" y="85"/>
                  <a:pt x="295" y="85"/>
                </a:cubicBezTo>
                <a:cubicBezTo>
                  <a:pt x="295" y="85"/>
                  <a:pt x="295" y="85"/>
                  <a:pt x="295" y="85"/>
                </a:cubicBezTo>
                <a:cubicBezTo>
                  <a:pt x="295" y="85"/>
                  <a:pt x="295" y="86"/>
                  <a:pt x="295" y="86"/>
                </a:cubicBezTo>
                <a:cubicBezTo>
                  <a:pt x="295" y="85"/>
                  <a:pt x="295" y="86"/>
                  <a:pt x="295" y="86"/>
                </a:cubicBezTo>
                <a:cubicBezTo>
                  <a:pt x="295" y="86"/>
                  <a:pt x="295" y="86"/>
                  <a:pt x="294" y="86"/>
                </a:cubicBezTo>
                <a:cubicBezTo>
                  <a:pt x="294" y="86"/>
                  <a:pt x="294" y="85"/>
                  <a:pt x="294" y="85"/>
                </a:cubicBezTo>
                <a:cubicBezTo>
                  <a:pt x="294" y="85"/>
                  <a:pt x="294" y="86"/>
                  <a:pt x="294" y="86"/>
                </a:cubicBezTo>
                <a:cubicBezTo>
                  <a:pt x="294" y="86"/>
                  <a:pt x="294" y="86"/>
                  <a:pt x="294" y="86"/>
                </a:cubicBezTo>
                <a:cubicBezTo>
                  <a:pt x="294" y="86"/>
                  <a:pt x="294" y="86"/>
                  <a:pt x="294" y="86"/>
                </a:cubicBezTo>
                <a:cubicBezTo>
                  <a:pt x="293" y="86"/>
                  <a:pt x="293" y="86"/>
                  <a:pt x="293" y="86"/>
                </a:cubicBezTo>
                <a:cubicBezTo>
                  <a:pt x="293" y="86"/>
                  <a:pt x="293" y="86"/>
                  <a:pt x="293" y="86"/>
                </a:cubicBezTo>
                <a:cubicBezTo>
                  <a:pt x="293" y="86"/>
                  <a:pt x="292" y="86"/>
                  <a:pt x="293" y="86"/>
                </a:cubicBezTo>
                <a:cubicBezTo>
                  <a:pt x="293" y="86"/>
                  <a:pt x="292" y="86"/>
                  <a:pt x="292" y="86"/>
                </a:cubicBezTo>
                <a:cubicBezTo>
                  <a:pt x="293" y="86"/>
                  <a:pt x="292" y="85"/>
                  <a:pt x="292" y="86"/>
                </a:cubicBezTo>
                <a:cubicBezTo>
                  <a:pt x="292" y="86"/>
                  <a:pt x="290" y="86"/>
                  <a:pt x="291" y="87"/>
                </a:cubicBezTo>
                <a:cubicBezTo>
                  <a:pt x="291" y="87"/>
                  <a:pt x="290" y="86"/>
                  <a:pt x="290" y="86"/>
                </a:cubicBezTo>
                <a:cubicBezTo>
                  <a:pt x="290" y="86"/>
                  <a:pt x="290" y="87"/>
                  <a:pt x="290" y="87"/>
                </a:cubicBezTo>
                <a:cubicBezTo>
                  <a:pt x="289" y="86"/>
                  <a:pt x="289" y="89"/>
                  <a:pt x="289" y="89"/>
                </a:cubicBezTo>
                <a:cubicBezTo>
                  <a:pt x="289" y="89"/>
                  <a:pt x="289" y="89"/>
                  <a:pt x="289" y="89"/>
                </a:cubicBezTo>
                <a:cubicBezTo>
                  <a:pt x="289" y="89"/>
                  <a:pt x="289" y="89"/>
                  <a:pt x="289" y="89"/>
                </a:cubicBezTo>
                <a:cubicBezTo>
                  <a:pt x="289" y="89"/>
                  <a:pt x="289" y="89"/>
                  <a:pt x="288" y="88"/>
                </a:cubicBezTo>
                <a:cubicBezTo>
                  <a:pt x="288" y="89"/>
                  <a:pt x="288" y="90"/>
                  <a:pt x="288" y="90"/>
                </a:cubicBezTo>
                <a:cubicBezTo>
                  <a:pt x="287" y="90"/>
                  <a:pt x="288" y="89"/>
                  <a:pt x="288" y="89"/>
                </a:cubicBezTo>
                <a:cubicBezTo>
                  <a:pt x="288" y="89"/>
                  <a:pt x="287" y="88"/>
                  <a:pt x="287" y="89"/>
                </a:cubicBezTo>
                <a:cubicBezTo>
                  <a:pt x="287" y="89"/>
                  <a:pt x="287" y="89"/>
                  <a:pt x="287" y="89"/>
                </a:cubicBezTo>
                <a:cubicBezTo>
                  <a:pt x="287" y="89"/>
                  <a:pt x="286" y="89"/>
                  <a:pt x="286" y="89"/>
                </a:cubicBezTo>
                <a:cubicBezTo>
                  <a:pt x="286" y="89"/>
                  <a:pt x="286" y="89"/>
                  <a:pt x="286" y="89"/>
                </a:cubicBezTo>
                <a:cubicBezTo>
                  <a:pt x="286" y="88"/>
                  <a:pt x="288" y="88"/>
                  <a:pt x="287" y="88"/>
                </a:cubicBezTo>
                <a:cubicBezTo>
                  <a:pt x="288" y="88"/>
                  <a:pt x="288" y="87"/>
                  <a:pt x="288" y="87"/>
                </a:cubicBezTo>
                <a:cubicBezTo>
                  <a:pt x="288" y="87"/>
                  <a:pt x="289" y="86"/>
                  <a:pt x="289" y="86"/>
                </a:cubicBezTo>
                <a:cubicBezTo>
                  <a:pt x="289" y="86"/>
                  <a:pt x="289" y="85"/>
                  <a:pt x="289" y="86"/>
                </a:cubicBezTo>
                <a:cubicBezTo>
                  <a:pt x="289" y="86"/>
                  <a:pt x="289" y="85"/>
                  <a:pt x="289" y="85"/>
                </a:cubicBezTo>
                <a:cubicBezTo>
                  <a:pt x="289" y="85"/>
                  <a:pt x="290" y="85"/>
                  <a:pt x="289" y="85"/>
                </a:cubicBezTo>
                <a:cubicBezTo>
                  <a:pt x="288" y="85"/>
                  <a:pt x="288" y="85"/>
                  <a:pt x="288" y="85"/>
                </a:cubicBezTo>
                <a:cubicBezTo>
                  <a:pt x="288" y="85"/>
                  <a:pt x="287" y="85"/>
                  <a:pt x="287" y="85"/>
                </a:cubicBezTo>
                <a:cubicBezTo>
                  <a:pt x="286" y="86"/>
                  <a:pt x="287" y="86"/>
                  <a:pt x="287" y="87"/>
                </a:cubicBezTo>
                <a:cubicBezTo>
                  <a:pt x="287" y="86"/>
                  <a:pt x="286" y="86"/>
                  <a:pt x="286" y="86"/>
                </a:cubicBezTo>
                <a:cubicBezTo>
                  <a:pt x="286" y="87"/>
                  <a:pt x="286" y="87"/>
                  <a:pt x="286" y="88"/>
                </a:cubicBezTo>
                <a:cubicBezTo>
                  <a:pt x="286" y="87"/>
                  <a:pt x="286" y="88"/>
                  <a:pt x="286" y="88"/>
                </a:cubicBezTo>
                <a:cubicBezTo>
                  <a:pt x="286" y="89"/>
                  <a:pt x="286" y="89"/>
                  <a:pt x="286" y="90"/>
                </a:cubicBezTo>
                <a:cubicBezTo>
                  <a:pt x="285" y="91"/>
                  <a:pt x="285" y="91"/>
                  <a:pt x="284" y="92"/>
                </a:cubicBezTo>
                <a:cubicBezTo>
                  <a:pt x="284" y="92"/>
                  <a:pt x="284" y="93"/>
                  <a:pt x="283" y="93"/>
                </a:cubicBezTo>
                <a:cubicBezTo>
                  <a:pt x="283" y="93"/>
                  <a:pt x="283" y="93"/>
                  <a:pt x="282" y="94"/>
                </a:cubicBezTo>
                <a:cubicBezTo>
                  <a:pt x="282" y="94"/>
                  <a:pt x="283" y="95"/>
                  <a:pt x="282" y="95"/>
                </a:cubicBezTo>
                <a:cubicBezTo>
                  <a:pt x="282" y="94"/>
                  <a:pt x="282" y="94"/>
                  <a:pt x="282" y="93"/>
                </a:cubicBezTo>
                <a:cubicBezTo>
                  <a:pt x="282" y="93"/>
                  <a:pt x="283" y="93"/>
                  <a:pt x="283" y="93"/>
                </a:cubicBezTo>
                <a:cubicBezTo>
                  <a:pt x="283" y="92"/>
                  <a:pt x="283" y="92"/>
                  <a:pt x="283" y="92"/>
                </a:cubicBezTo>
                <a:cubicBezTo>
                  <a:pt x="284" y="91"/>
                  <a:pt x="283" y="91"/>
                  <a:pt x="283" y="91"/>
                </a:cubicBezTo>
                <a:cubicBezTo>
                  <a:pt x="283" y="91"/>
                  <a:pt x="283" y="90"/>
                  <a:pt x="283" y="90"/>
                </a:cubicBezTo>
                <a:cubicBezTo>
                  <a:pt x="283" y="89"/>
                  <a:pt x="283" y="89"/>
                  <a:pt x="283" y="88"/>
                </a:cubicBezTo>
                <a:cubicBezTo>
                  <a:pt x="283" y="88"/>
                  <a:pt x="284" y="86"/>
                  <a:pt x="284" y="86"/>
                </a:cubicBezTo>
                <a:cubicBezTo>
                  <a:pt x="284" y="86"/>
                  <a:pt x="284" y="87"/>
                  <a:pt x="284" y="87"/>
                </a:cubicBezTo>
                <a:cubicBezTo>
                  <a:pt x="283" y="87"/>
                  <a:pt x="283" y="87"/>
                  <a:pt x="283" y="87"/>
                </a:cubicBezTo>
                <a:cubicBezTo>
                  <a:pt x="283" y="86"/>
                  <a:pt x="284" y="86"/>
                  <a:pt x="284" y="86"/>
                </a:cubicBezTo>
                <a:cubicBezTo>
                  <a:pt x="285" y="85"/>
                  <a:pt x="285" y="84"/>
                  <a:pt x="284" y="85"/>
                </a:cubicBezTo>
                <a:cubicBezTo>
                  <a:pt x="284" y="84"/>
                  <a:pt x="285" y="85"/>
                  <a:pt x="286" y="85"/>
                </a:cubicBezTo>
                <a:cubicBezTo>
                  <a:pt x="286" y="84"/>
                  <a:pt x="286" y="83"/>
                  <a:pt x="286" y="82"/>
                </a:cubicBezTo>
                <a:cubicBezTo>
                  <a:pt x="285" y="81"/>
                  <a:pt x="284" y="82"/>
                  <a:pt x="284" y="83"/>
                </a:cubicBezTo>
                <a:cubicBezTo>
                  <a:pt x="284" y="83"/>
                  <a:pt x="283" y="83"/>
                  <a:pt x="283" y="84"/>
                </a:cubicBezTo>
                <a:cubicBezTo>
                  <a:pt x="283" y="84"/>
                  <a:pt x="283" y="85"/>
                  <a:pt x="283" y="85"/>
                </a:cubicBezTo>
                <a:cubicBezTo>
                  <a:pt x="283" y="85"/>
                  <a:pt x="283" y="84"/>
                  <a:pt x="283" y="84"/>
                </a:cubicBezTo>
                <a:cubicBezTo>
                  <a:pt x="283" y="84"/>
                  <a:pt x="283" y="84"/>
                  <a:pt x="283" y="85"/>
                </a:cubicBezTo>
                <a:cubicBezTo>
                  <a:pt x="282" y="85"/>
                  <a:pt x="283" y="83"/>
                  <a:pt x="283" y="83"/>
                </a:cubicBezTo>
                <a:cubicBezTo>
                  <a:pt x="283" y="83"/>
                  <a:pt x="282" y="83"/>
                  <a:pt x="281" y="83"/>
                </a:cubicBezTo>
                <a:cubicBezTo>
                  <a:pt x="282" y="83"/>
                  <a:pt x="282" y="83"/>
                  <a:pt x="283" y="83"/>
                </a:cubicBezTo>
                <a:cubicBezTo>
                  <a:pt x="283" y="83"/>
                  <a:pt x="283" y="83"/>
                  <a:pt x="283" y="83"/>
                </a:cubicBezTo>
                <a:cubicBezTo>
                  <a:pt x="283" y="83"/>
                  <a:pt x="284" y="82"/>
                  <a:pt x="284" y="82"/>
                </a:cubicBezTo>
                <a:cubicBezTo>
                  <a:pt x="284" y="82"/>
                  <a:pt x="283" y="82"/>
                  <a:pt x="283" y="82"/>
                </a:cubicBezTo>
                <a:cubicBezTo>
                  <a:pt x="284" y="82"/>
                  <a:pt x="284" y="81"/>
                  <a:pt x="284" y="81"/>
                </a:cubicBezTo>
                <a:cubicBezTo>
                  <a:pt x="285" y="80"/>
                  <a:pt x="284" y="81"/>
                  <a:pt x="283" y="81"/>
                </a:cubicBezTo>
                <a:cubicBezTo>
                  <a:pt x="284" y="80"/>
                  <a:pt x="285" y="80"/>
                  <a:pt x="285" y="80"/>
                </a:cubicBezTo>
                <a:cubicBezTo>
                  <a:pt x="285" y="79"/>
                  <a:pt x="284" y="79"/>
                  <a:pt x="284" y="79"/>
                </a:cubicBezTo>
                <a:cubicBezTo>
                  <a:pt x="284" y="79"/>
                  <a:pt x="284" y="79"/>
                  <a:pt x="284" y="78"/>
                </a:cubicBezTo>
                <a:cubicBezTo>
                  <a:pt x="284" y="79"/>
                  <a:pt x="284" y="79"/>
                  <a:pt x="284" y="79"/>
                </a:cubicBezTo>
                <a:cubicBezTo>
                  <a:pt x="284" y="79"/>
                  <a:pt x="284" y="78"/>
                  <a:pt x="284" y="78"/>
                </a:cubicBezTo>
                <a:cubicBezTo>
                  <a:pt x="284" y="78"/>
                  <a:pt x="284" y="79"/>
                  <a:pt x="284" y="79"/>
                </a:cubicBezTo>
                <a:cubicBezTo>
                  <a:pt x="283" y="79"/>
                  <a:pt x="283" y="78"/>
                  <a:pt x="283" y="78"/>
                </a:cubicBezTo>
                <a:cubicBezTo>
                  <a:pt x="283" y="78"/>
                  <a:pt x="284" y="77"/>
                  <a:pt x="283" y="77"/>
                </a:cubicBezTo>
                <a:cubicBezTo>
                  <a:pt x="283" y="79"/>
                  <a:pt x="282" y="78"/>
                  <a:pt x="282" y="78"/>
                </a:cubicBezTo>
                <a:cubicBezTo>
                  <a:pt x="282" y="78"/>
                  <a:pt x="283" y="77"/>
                  <a:pt x="282" y="77"/>
                </a:cubicBezTo>
                <a:cubicBezTo>
                  <a:pt x="282" y="77"/>
                  <a:pt x="282" y="78"/>
                  <a:pt x="281" y="78"/>
                </a:cubicBezTo>
                <a:cubicBezTo>
                  <a:pt x="282" y="77"/>
                  <a:pt x="282" y="76"/>
                  <a:pt x="282" y="76"/>
                </a:cubicBezTo>
                <a:cubicBezTo>
                  <a:pt x="281" y="76"/>
                  <a:pt x="282" y="76"/>
                  <a:pt x="281" y="76"/>
                </a:cubicBezTo>
                <a:cubicBezTo>
                  <a:pt x="281" y="76"/>
                  <a:pt x="281" y="76"/>
                  <a:pt x="281" y="76"/>
                </a:cubicBezTo>
                <a:cubicBezTo>
                  <a:pt x="281" y="76"/>
                  <a:pt x="281" y="76"/>
                  <a:pt x="281" y="76"/>
                </a:cubicBezTo>
                <a:cubicBezTo>
                  <a:pt x="280" y="76"/>
                  <a:pt x="281" y="76"/>
                  <a:pt x="280" y="76"/>
                </a:cubicBezTo>
                <a:cubicBezTo>
                  <a:pt x="281" y="76"/>
                  <a:pt x="280" y="76"/>
                  <a:pt x="280" y="76"/>
                </a:cubicBezTo>
                <a:cubicBezTo>
                  <a:pt x="280" y="76"/>
                  <a:pt x="281" y="74"/>
                  <a:pt x="281" y="74"/>
                </a:cubicBezTo>
                <a:cubicBezTo>
                  <a:pt x="281" y="74"/>
                  <a:pt x="280" y="74"/>
                  <a:pt x="280" y="75"/>
                </a:cubicBezTo>
                <a:cubicBezTo>
                  <a:pt x="280" y="76"/>
                  <a:pt x="280" y="75"/>
                  <a:pt x="279" y="76"/>
                </a:cubicBezTo>
                <a:cubicBezTo>
                  <a:pt x="279" y="75"/>
                  <a:pt x="280" y="75"/>
                  <a:pt x="279" y="75"/>
                </a:cubicBezTo>
                <a:cubicBezTo>
                  <a:pt x="280" y="75"/>
                  <a:pt x="279" y="74"/>
                  <a:pt x="279" y="74"/>
                </a:cubicBezTo>
                <a:cubicBezTo>
                  <a:pt x="279" y="74"/>
                  <a:pt x="279" y="75"/>
                  <a:pt x="279" y="75"/>
                </a:cubicBezTo>
                <a:cubicBezTo>
                  <a:pt x="279" y="75"/>
                  <a:pt x="279" y="74"/>
                  <a:pt x="279" y="74"/>
                </a:cubicBezTo>
                <a:cubicBezTo>
                  <a:pt x="279" y="74"/>
                  <a:pt x="278" y="75"/>
                  <a:pt x="278" y="75"/>
                </a:cubicBezTo>
                <a:cubicBezTo>
                  <a:pt x="278" y="74"/>
                  <a:pt x="277" y="75"/>
                  <a:pt x="277" y="76"/>
                </a:cubicBezTo>
                <a:cubicBezTo>
                  <a:pt x="277" y="76"/>
                  <a:pt x="278" y="76"/>
                  <a:pt x="277" y="77"/>
                </a:cubicBezTo>
                <a:cubicBezTo>
                  <a:pt x="277" y="77"/>
                  <a:pt x="277" y="77"/>
                  <a:pt x="277" y="77"/>
                </a:cubicBezTo>
                <a:cubicBezTo>
                  <a:pt x="277" y="78"/>
                  <a:pt x="276" y="77"/>
                  <a:pt x="276" y="77"/>
                </a:cubicBezTo>
                <a:cubicBezTo>
                  <a:pt x="276" y="76"/>
                  <a:pt x="276" y="76"/>
                  <a:pt x="276" y="76"/>
                </a:cubicBezTo>
                <a:cubicBezTo>
                  <a:pt x="276" y="75"/>
                  <a:pt x="276" y="75"/>
                  <a:pt x="276" y="75"/>
                </a:cubicBezTo>
                <a:cubicBezTo>
                  <a:pt x="276" y="75"/>
                  <a:pt x="276" y="74"/>
                  <a:pt x="276" y="75"/>
                </a:cubicBezTo>
                <a:cubicBezTo>
                  <a:pt x="276" y="74"/>
                  <a:pt x="277" y="74"/>
                  <a:pt x="277" y="73"/>
                </a:cubicBezTo>
                <a:cubicBezTo>
                  <a:pt x="277" y="73"/>
                  <a:pt x="277" y="72"/>
                  <a:pt x="276" y="73"/>
                </a:cubicBezTo>
                <a:cubicBezTo>
                  <a:pt x="276" y="73"/>
                  <a:pt x="276" y="74"/>
                  <a:pt x="275" y="74"/>
                </a:cubicBezTo>
                <a:cubicBezTo>
                  <a:pt x="276" y="74"/>
                  <a:pt x="276" y="74"/>
                  <a:pt x="275" y="74"/>
                </a:cubicBezTo>
                <a:cubicBezTo>
                  <a:pt x="275" y="74"/>
                  <a:pt x="275" y="75"/>
                  <a:pt x="275" y="75"/>
                </a:cubicBezTo>
                <a:cubicBezTo>
                  <a:pt x="275" y="75"/>
                  <a:pt x="275" y="75"/>
                  <a:pt x="275" y="75"/>
                </a:cubicBezTo>
                <a:cubicBezTo>
                  <a:pt x="275" y="74"/>
                  <a:pt x="275" y="74"/>
                  <a:pt x="274" y="75"/>
                </a:cubicBezTo>
                <a:cubicBezTo>
                  <a:pt x="274" y="74"/>
                  <a:pt x="275" y="75"/>
                  <a:pt x="275" y="74"/>
                </a:cubicBezTo>
                <a:cubicBezTo>
                  <a:pt x="275" y="74"/>
                  <a:pt x="275" y="74"/>
                  <a:pt x="275" y="74"/>
                </a:cubicBezTo>
                <a:cubicBezTo>
                  <a:pt x="275" y="73"/>
                  <a:pt x="275" y="73"/>
                  <a:pt x="276" y="73"/>
                </a:cubicBezTo>
                <a:cubicBezTo>
                  <a:pt x="276" y="73"/>
                  <a:pt x="276" y="72"/>
                  <a:pt x="275" y="72"/>
                </a:cubicBezTo>
                <a:cubicBezTo>
                  <a:pt x="276" y="72"/>
                  <a:pt x="275" y="73"/>
                  <a:pt x="275" y="73"/>
                </a:cubicBezTo>
                <a:cubicBezTo>
                  <a:pt x="275" y="73"/>
                  <a:pt x="275" y="74"/>
                  <a:pt x="274" y="74"/>
                </a:cubicBezTo>
                <a:cubicBezTo>
                  <a:pt x="275" y="73"/>
                  <a:pt x="275" y="73"/>
                  <a:pt x="275" y="73"/>
                </a:cubicBezTo>
                <a:cubicBezTo>
                  <a:pt x="274" y="73"/>
                  <a:pt x="274" y="73"/>
                  <a:pt x="274" y="73"/>
                </a:cubicBezTo>
                <a:cubicBezTo>
                  <a:pt x="274" y="73"/>
                  <a:pt x="274" y="73"/>
                  <a:pt x="274" y="72"/>
                </a:cubicBezTo>
                <a:cubicBezTo>
                  <a:pt x="274" y="72"/>
                  <a:pt x="274" y="73"/>
                  <a:pt x="274" y="73"/>
                </a:cubicBezTo>
                <a:cubicBezTo>
                  <a:pt x="273" y="72"/>
                  <a:pt x="274" y="73"/>
                  <a:pt x="274" y="73"/>
                </a:cubicBezTo>
                <a:cubicBezTo>
                  <a:pt x="273" y="74"/>
                  <a:pt x="272" y="72"/>
                  <a:pt x="272" y="72"/>
                </a:cubicBezTo>
                <a:cubicBezTo>
                  <a:pt x="272" y="72"/>
                  <a:pt x="273" y="71"/>
                  <a:pt x="273" y="71"/>
                </a:cubicBezTo>
                <a:cubicBezTo>
                  <a:pt x="273" y="71"/>
                  <a:pt x="272" y="71"/>
                  <a:pt x="272" y="71"/>
                </a:cubicBezTo>
                <a:cubicBezTo>
                  <a:pt x="272" y="71"/>
                  <a:pt x="272" y="72"/>
                  <a:pt x="272" y="72"/>
                </a:cubicBezTo>
                <a:cubicBezTo>
                  <a:pt x="272" y="72"/>
                  <a:pt x="272" y="72"/>
                  <a:pt x="272" y="73"/>
                </a:cubicBezTo>
                <a:cubicBezTo>
                  <a:pt x="271" y="72"/>
                  <a:pt x="272" y="72"/>
                  <a:pt x="271" y="72"/>
                </a:cubicBezTo>
                <a:cubicBezTo>
                  <a:pt x="271" y="72"/>
                  <a:pt x="271" y="72"/>
                  <a:pt x="271" y="72"/>
                </a:cubicBezTo>
                <a:cubicBezTo>
                  <a:pt x="271" y="72"/>
                  <a:pt x="271" y="72"/>
                  <a:pt x="271" y="72"/>
                </a:cubicBezTo>
                <a:cubicBezTo>
                  <a:pt x="271" y="72"/>
                  <a:pt x="271" y="72"/>
                  <a:pt x="271" y="72"/>
                </a:cubicBezTo>
                <a:cubicBezTo>
                  <a:pt x="271" y="72"/>
                  <a:pt x="271" y="71"/>
                  <a:pt x="271" y="71"/>
                </a:cubicBezTo>
                <a:cubicBezTo>
                  <a:pt x="271" y="71"/>
                  <a:pt x="271" y="71"/>
                  <a:pt x="271" y="72"/>
                </a:cubicBezTo>
                <a:cubicBezTo>
                  <a:pt x="271" y="71"/>
                  <a:pt x="271" y="71"/>
                  <a:pt x="271" y="71"/>
                </a:cubicBezTo>
                <a:cubicBezTo>
                  <a:pt x="271" y="71"/>
                  <a:pt x="270" y="72"/>
                  <a:pt x="270" y="72"/>
                </a:cubicBezTo>
                <a:cubicBezTo>
                  <a:pt x="270" y="71"/>
                  <a:pt x="270" y="71"/>
                  <a:pt x="270" y="71"/>
                </a:cubicBezTo>
                <a:cubicBezTo>
                  <a:pt x="270" y="71"/>
                  <a:pt x="270" y="70"/>
                  <a:pt x="270" y="70"/>
                </a:cubicBezTo>
                <a:cubicBezTo>
                  <a:pt x="270" y="70"/>
                  <a:pt x="270" y="70"/>
                  <a:pt x="270" y="71"/>
                </a:cubicBezTo>
                <a:cubicBezTo>
                  <a:pt x="270" y="71"/>
                  <a:pt x="270" y="71"/>
                  <a:pt x="269" y="71"/>
                </a:cubicBezTo>
                <a:cubicBezTo>
                  <a:pt x="269" y="71"/>
                  <a:pt x="269" y="71"/>
                  <a:pt x="269" y="72"/>
                </a:cubicBezTo>
                <a:cubicBezTo>
                  <a:pt x="269" y="71"/>
                  <a:pt x="269" y="71"/>
                  <a:pt x="269" y="70"/>
                </a:cubicBezTo>
                <a:cubicBezTo>
                  <a:pt x="269" y="70"/>
                  <a:pt x="269" y="71"/>
                  <a:pt x="268" y="71"/>
                </a:cubicBezTo>
                <a:cubicBezTo>
                  <a:pt x="268" y="71"/>
                  <a:pt x="268" y="71"/>
                  <a:pt x="268" y="71"/>
                </a:cubicBezTo>
                <a:cubicBezTo>
                  <a:pt x="268" y="71"/>
                  <a:pt x="268" y="71"/>
                  <a:pt x="267" y="71"/>
                </a:cubicBezTo>
                <a:cubicBezTo>
                  <a:pt x="267" y="71"/>
                  <a:pt x="268" y="70"/>
                  <a:pt x="268" y="70"/>
                </a:cubicBezTo>
                <a:cubicBezTo>
                  <a:pt x="268" y="70"/>
                  <a:pt x="268" y="69"/>
                  <a:pt x="268" y="69"/>
                </a:cubicBezTo>
                <a:cubicBezTo>
                  <a:pt x="268" y="69"/>
                  <a:pt x="268" y="68"/>
                  <a:pt x="268" y="68"/>
                </a:cubicBezTo>
                <a:cubicBezTo>
                  <a:pt x="268" y="68"/>
                  <a:pt x="267" y="69"/>
                  <a:pt x="268" y="69"/>
                </a:cubicBezTo>
                <a:cubicBezTo>
                  <a:pt x="267" y="69"/>
                  <a:pt x="267" y="70"/>
                  <a:pt x="267" y="70"/>
                </a:cubicBezTo>
                <a:cubicBezTo>
                  <a:pt x="267" y="70"/>
                  <a:pt x="267" y="70"/>
                  <a:pt x="267" y="70"/>
                </a:cubicBezTo>
                <a:cubicBezTo>
                  <a:pt x="267" y="70"/>
                  <a:pt x="267" y="70"/>
                  <a:pt x="267" y="70"/>
                </a:cubicBezTo>
                <a:cubicBezTo>
                  <a:pt x="267" y="70"/>
                  <a:pt x="267" y="70"/>
                  <a:pt x="267" y="70"/>
                </a:cubicBezTo>
                <a:cubicBezTo>
                  <a:pt x="266" y="70"/>
                  <a:pt x="266" y="70"/>
                  <a:pt x="266" y="70"/>
                </a:cubicBezTo>
                <a:cubicBezTo>
                  <a:pt x="266" y="70"/>
                  <a:pt x="266" y="69"/>
                  <a:pt x="266" y="69"/>
                </a:cubicBezTo>
                <a:cubicBezTo>
                  <a:pt x="266" y="69"/>
                  <a:pt x="266" y="70"/>
                  <a:pt x="266" y="70"/>
                </a:cubicBezTo>
                <a:cubicBezTo>
                  <a:pt x="266" y="70"/>
                  <a:pt x="265" y="70"/>
                  <a:pt x="265" y="70"/>
                </a:cubicBezTo>
                <a:cubicBezTo>
                  <a:pt x="265" y="69"/>
                  <a:pt x="264" y="69"/>
                  <a:pt x="264" y="70"/>
                </a:cubicBezTo>
                <a:cubicBezTo>
                  <a:pt x="264" y="69"/>
                  <a:pt x="264" y="69"/>
                  <a:pt x="264" y="69"/>
                </a:cubicBezTo>
                <a:cubicBezTo>
                  <a:pt x="264" y="69"/>
                  <a:pt x="263" y="69"/>
                  <a:pt x="263" y="69"/>
                </a:cubicBezTo>
                <a:cubicBezTo>
                  <a:pt x="263" y="69"/>
                  <a:pt x="263" y="69"/>
                  <a:pt x="263" y="69"/>
                </a:cubicBezTo>
                <a:cubicBezTo>
                  <a:pt x="263" y="69"/>
                  <a:pt x="263" y="69"/>
                  <a:pt x="263" y="69"/>
                </a:cubicBezTo>
                <a:cubicBezTo>
                  <a:pt x="264" y="69"/>
                  <a:pt x="264" y="69"/>
                  <a:pt x="264" y="68"/>
                </a:cubicBezTo>
                <a:cubicBezTo>
                  <a:pt x="264" y="68"/>
                  <a:pt x="264" y="68"/>
                  <a:pt x="264" y="67"/>
                </a:cubicBezTo>
                <a:cubicBezTo>
                  <a:pt x="264" y="67"/>
                  <a:pt x="264" y="68"/>
                  <a:pt x="263" y="68"/>
                </a:cubicBezTo>
                <a:cubicBezTo>
                  <a:pt x="263" y="67"/>
                  <a:pt x="263" y="68"/>
                  <a:pt x="263" y="69"/>
                </a:cubicBezTo>
                <a:cubicBezTo>
                  <a:pt x="263" y="68"/>
                  <a:pt x="263" y="68"/>
                  <a:pt x="263" y="67"/>
                </a:cubicBezTo>
                <a:cubicBezTo>
                  <a:pt x="262" y="68"/>
                  <a:pt x="262" y="68"/>
                  <a:pt x="262" y="68"/>
                </a:cubicBezTo>
                <a:cubicBezTo>
                  <a:pt x="262" y="68"/>
                  <a:pt x="262" y="67"/>
                  <a:pt x="262" y="67"/>
                </a:cubicBezTo>
                <a:cubicBezTo>
                  <a:pt x="262" y="67"/>
                  <a:pt x="262" y="66"/>
                  <a:pt x="262" y="66"/>
                </a:cubicBezTo>
                <a:cubicBezTo>
                  <a:pt x="262" y="66"/>
                  <a:pt x="262" y="67"/>
                  <a:pt x="261" y="67"/>
                </a:cubicBezTo>
                <a:cubicBezTo>
                  <a:pt x="261" y="67"/>
                  <a:pt x="261" y="67"/>
                  <a:pt x="261" y="67"/>
                </a:cubicBezTo>
                <a:cubicBezTo>
                  <a:pt x="261" y="67"/>
                  <a:pt x="261" y="68"/>
                  <a:pt x="261" y="68"/>
                </a:cubicBezTo>
                <a:cubicBezTo>
                  <a:pt x="260" y="68"/>
                  <a:pt x="261" y="67"/>
                  <a:pt x="261" y="67"/>
                </a:cubicBezTo>
                <a:cubicBezTo>
                  <a:pt x="261" y="67"/>
                  <a:pt x="260" y="66"/>
                  <a:pt x="260" y="66"/>
                </a:cubicBezTo>
                <a:cubicBezTo>
                  <a:pt x="260" y="67"/>
                  <a:pt x="260" y="67"/>
                  <a:pt x="260" y="68"/>
                </a:cubicBezTo>
                <a:cubicBezTo>
                  <a:pt x="260" y="68"/>
                  <a:pt x="259" y="66"/>
                  <a:pt x="259" y="66"/>
                </a:cubicBezTo>
                <a:cubicBezTo>
                  <a:pt x="259" y="66"/>
                  <a:pt x="259" y="67"/>
                  <a:pt x="259" y="67"/>
                </a:cubicBezTo>
                <a:cubicBezTo>
                  <a:pt x="259" y="67"/>
                  <a:pt x="258" y="67"/>
                  <a:pt x="258" y="67"/>
                </a:cubicBezTo>
                <a:cubicBezTo>
                  <a:pt x="259" y="66"/>
                  <a:pt x="259" y="66"/>
                  <a:pt x="259" y="66"/>
                </a:cubicBezTo>
                <a:cubicBezTo>
                  <a:pt x="258" y="66"/>
                  <a:pt x="258" y="66"/>
                  <a:pt x="258" y="66"/>
                </a:cubicBezTo>
                <a:cubicBezTo>
                  <a:pt x="258" y="66"/>
                  <a:pt x="259" y="65"/>
                  <a:pt x="258" y="65"/>
                </a:cubicBezTo>
                <a:cubicBezTo>
                  <a:pt x="258" y="65"/>
                  <a:pt x="258" y="65"/>
                  <a:pt x="258" y="66"/>
                </a:cubicBezTo>
                <a:cubicBezTo>
                  <a:pt x="258" y="65"/>
                  <a:pt x="257" y="65"/>
                  <a:pt x="257" y="65"/>
                </a:cubicBezTo>
                <a:cubicBezTo>
                  <a:pt x="257" y="65"/>
                  <a:pt x="256" y="65"/>
                  <a:pt x="256" y="66"/>
                </a:cubicBezTo>
                <a:cubicBezTo>
                  <a:pt x="256" y="65"/>
                  <a:pt x="256" y="65"/>
                  <a:pt x="256" y="66"/>
                </a:cubicBezTo>
                <a:cubicBezTo>
                  <a:pt x="256" y="66"/>
                  <a:pt x="256" y="65"/>
                  <a:pt x="256" y="65"/>
                </a:cubicBezTo>
                <a:cubicBezTo>
                  <a:pt x="255" y="65"/>
                  <a:pt x="256" y="66"/>
                  <a:pt x="256" y="66"/>
                </a:cubicBezTo>
                <a:cubicBezTo>
                  <a:pt x="256" y="66"/>
                  <a:pt x="257" y="67"/>
                  <a:pt x="256" y="67"/>
                </a:cubicBezTo>
                <a:cubicBezTo>
                  <a:pt x="256" y="67"/>
                  <a:pt x="255" y="67"/>
                  <a:pt x="255" y="66"/>
                </a:cubicBezTo>
                <a:cubicBezTo>
                  <a:pt x="255" y="66"/>
                  <a:pt x="255" y="65"/>
                  <a:pt x="255" y="65"/>
                </a:cubicBezTo>
                <a:cubicBezTo>
                  <a:pt x="255" y="65"/>
                  <a:pt x="253" y="67"/>
                  <a:pt x="253" y="66"/>
                </a:cubicBezTo>
                <a:cubicBezTo>
                  <a:pt x="253" y="66"/>
                  <a:pt x="253" y="65"/>
                  <a:pt x="253" y="65"/>
                </a:cubicBezTo>
                <a:cubicBezTo>
                  <a:pt x="252" y="66"/>
                  <a:pt x="252" y="66"/>
                  <a:pt x="252" y="66"/>
                </a:cubicBezTo>
                <a:cubicBezTo>
                  <a:pt x="252" y="66"/>
                  <a:pt x="252" y="66"/>
                  <a:pt x="252" y="66"/>
                </a:cubicBezTo>
                <a:cubicBezTo>
                  <a:pt x="251" y="66"/>
                  <a:pt x="251" y="67"/>
                  <a:pt x="251" y="67"/>
                </a:cubicBezTo>
                <a:cubicBezTo>
                  <a:pt x="251" y="67"/>
                  <a:pt x="250" y="66"/>
                  <a:pt x="250" y="66"/>
                </a:cubicBezTo>
                <a:cubicBezTo>
                  <a:pt x="249" y="66"/>
                  <a:pt x="249" y="68"/>
                  <a:pt x="249" y="68"/>
                </a:cubicBezTo>
                <a:cubicBezTo>
                  <a:pt x="249" y="68"/>
                  <a:pt x="248" y="68"/>
                  <a:pt x="248" y="68"/>
                </a:cubicBezTo>
                <a:cubicBezTo>
                  <a:pt x="248" y="68"/>
                  <a:pt x="248" y="69"/>
                  <a:pt x="247" y="69"/>
                </a:cubicBezTo>
                <a:cubicBezTo>
                  <a:pt x="247" y="69"/>
                  <a:pt x="247" y="71"/>
                  <a:pt x="248" y="71"/>
                </a:cubicBezTo>
                <a:cubicBezTo>
                  <a:pt x="248" y="71"/>
                  <a:pt x="248" y="71"/>
                  <a:pt x="248" y="71"/>
                </a:cubicBezTo>
                <a:cubicBezTo>
                  <a:pt x="247" y="71"/>
                  <a:pt x="247" y="72"/>
                  <a:pt x="247" y="73"/>
                </a:cubicBezTo>
                <a:cubicBezTo>
                  <a:pt x="247" y="73"/>
                  <a:pt x="246" y="72"/>
                  <a:pt x="246" y="73"/>
                </a:cubicBezTo>
                <a:cubicBezTo>
                  <a:pt x="245" y="76"/>
                  <a:pt x="248" y="73"/>
                  <a:pt x="249" y="74"/>
                </a:cubicBezTo>
                <a:cubicBezTo>
                  <a:pt x="248" y="74"/>
                  <a:pt x="246" y="75"/>
                  <a:pt x="246" y="75"/>
                </a:cubicBezTo>
                <a:cubicBezTo>
                  <a:pt x="246" y="75"/>
                  <a:pt x="246" y="76"/>
                  <a:pt x="246" y="76"/>
                </a:cubicBezTo>
                <a:cubicBezTo>
                  <a:pt x="246" y="76"/>
                  <a:pt x="246" y="76"/>
                  <a:pt x="245" y="76"/>
                </a:cubicBezTo>
                <a:cubicBezTo>
                  <a:pt x="245" y="75"/>
                  <a:pt x="245" y="75"/>
                  <a:pt x="245" y="74"/>
                </a:cubicBezTo>
                <a:cubicBezTo>
                  <a:pt x="245" y="75"/>
                  <a:pt x="244" y="75"/>
                  <a:pt x="243" y="75"/>
                </a:cubicBezTo>
                <a:cubicBezTo>
                  <a:pt x="243" y="75"/>
                  <a:pt x="242" y="76"/>
                  <a:pt x="242" y="77"/>
                </a:cubicBezTo>
                <a:cubicBezTo>
                  <a:pt x="242" y="77"/>
                  <a:pt x="242" y="78"/>
                  <a:pt x="241" y="78"/>
                </a:cubicBezTo>
                <a:cubicBezTo>
                  <a:pt x="240" y="79"/>
                  <a:pt x="239" y="79"/>
                  <a:pt x="239" y="79"/>
                </a:cubicBezTo>
                <a:cubicBezTo>
                  <a:pt x="238" y="80"/>
                  <a:pt x="238" y="81"/>
                  <a:pt x="238" y="82"/>
                </a:cubicBezTo>
                <a:cubicBezTo>
                  <a:pt x="238" y="83"/>
                  <a:pt x="237" y="84"/>
                  <a:pt x="237" y="85"/>
                </a:cubicBezTo>
                <a:cubicBezTo>
                  <a:pt x="237" y="85"/>
                  <a:pt x="237" y="86"/>
                  <a:pt x="236" y="86"/>
                </a:cubicBezTo>
                <a:cubicBezTo>
                  <a:pt x="236" y="86"/>
                  <a:pt x="236" y="85"/>
                  <a:pt x="236" y="85"/>
                </a:cubicBezTo>
                <a:cubicBezTo>
                  <a:pt x="236" y="84"/>
                  <a:pt x="236" y="84"/>
                  <a:pt x="236" y="83"/>
                </a:cubicBezTo>
                <a:cubicBezTo>
                  <a:pt x="236" y="83"/>
                  <a:pt x="236" y="83"/>
                  <a:pt x="237" y="82"/>
                </a:cubicBezTo>
                <a:cubicBezTo>
                  <a:pt x="237" y="82"/>
                  <a:pt x="237" y="81"/>
                  <a:pt x="237" y="81"/>
                </a:cubicBezTo>
                <a:cubicBezTo>
                  <a:pt x="237" y="80"/>
                  <a:pt x="237" y="79"/>
                  <a:pt x="238" y="79"/>
                </a:cubicBezTo>
                <a:cubicBezTo>
                  <a:pt x="238" y="79"/>
                  <a:pt x="239" y="77"/>
                  <a:pt x="238" y="77"/>
                </a:cubicBezTo>
                <a:cubicBezTo>
                  <a:pt x="237" y="77"/>
                  <a:pt x="237" y="78"/>
                  <a:pt x="237" y="78"/>
                </a:cubicBezTo>
                <a:cubicBezTo>
                  <a:pt x="237" y="77"/>
                  <a:pt x="237" y="77"/>
                  <a:pt x="236" y="78"/>
                </a:cubicBezTo>
                <a:cubicBezTo>
                  <a:pt x="236" y="78"/>
                  <a:pt x="236" y="78"/>
                  <a:pt x="235" y="79"/>
                </a:cubicBezTo>
                <a:cubicBezTo>
                  <a:pt x="235" y="79"/>
                  <a:pt x="234" y="79"/>
                  <a:pt x="234" y="79"/>
                </a:cubicBezTo>
                <a:cubicBezTo>
                  <a:pt x="233" y="79"/>
                  <a:pt x="233" y="79"/>
                  <a:pt x="233" y="79"/>
                </a:cubicBezTo>
                <a:cubicBezTo>
                  <a:pt x="233" y="80"/>
                  <a:pt x="233" y="80"/>
                  <a:pt x="233" y="79"/>
                </a:cubicBezTo>
                <a:cubicBezTo>
                  <a:pt x="233" y="80"/>
                  <a:pt x="233" y="81"/>
                  <a:pt x="233" y="81"/>
                </a:cubicBezTo>
                <a:cubicBezTo>
                  <a:pt x="233" y="81"/>
                  <a:pt x="233" y="81"/>
                  <a:pt x="232" y="81"/>
                </a:cubicBezTo>
                <a:cubicBezTo>
                  <a:pt x="232" y="81"/>
                  <a:pt x="233" y="79"/>
                  <a:pt x="232" y="80"/>
                </a:cubicBezTo>
                <a:cubicBezTo>
                  <a:pt x="233" y="79"/>
                  <a:pt x="232" y="78"/>
                  <a:pt x="231" y="78"/>
                </a:cubicBezTo>
                <a:cubicBezTo>
                  <a:pt x="230" y="79"/>
                  <a:pt x="230" y="79"/>
                  <a:pt x="230" y="79"/>
                </a:cubicBezTo>
                <a:cubicBezTo>
                  <a:pt x="229" y="79"/>
                  <a:pt x="230" y="79"/>
                  <a:pt x="229" y="79"/>
                </a:cubicBezTo>
                <a:cubicBezTo>
                  <a:pt x="229" y="80"/>
                  <a:pt x="229" y="79"/>
                  <a:pt x="229" y="79"/>
                </a:cubicBezTo>
                <a:cubicBezTo>
                  <a:pt x="228" y="79"/>
                  <a:pt x="228" y="79"/>
                  <a:pt x="228" y="79"/>
                </a:cubicBezTo>
                <a:cubicBezTo>
                  <a:pt x="228" y="80"/>
                  <a:pt x="227" y="80"/>
                  <a:pt x="227" y="80"/>
                </a:cubicBezTo>
                <a:cubicBezTo>
                  <a:pt x="226" y="79"/>
                  <a:pt x="227" y="79"/>
                  <a:pt x="227" y="79"/>
                </a:cubicBezTo>
                <a:cubicBezTo>
                  <a:pt x="226" y="78"/>
                  <a:pt x="226" y="78"/>
                  <a:pt x="225" y="78"/>
                </a:cubicBezTo>
                <a:cubicBezTo>
                  <a:pt x="225" y="79"/>
                  <a:pt x="224" y="78"/>
                  <a:pt x="224" y="77"/>
                </a:cubicBezTo>
                <a:cubicBezTo>
                  <a:pt x="225" y="78"/>
                  <a:pt x="225" y="77"/>
                  <a:pt x="224" y="76"/>
                </a:cubicBezTo>
                <a:cubicBezTo>
                  <a:pt x="224" y="75"/>
                  <a:pt x="223" y="75"/>
                  <a:pt x="223" y="74"/>
                </a:cubicBezTo>
                <a:cubicBezTo>
                  <a:pt x="223" y="73"/>
                  <a:pt x="223" y="72"/>
                  <a:pt x="223" y="71"/>
                </a:cubicBezTo>
                <a:cubicBezTo>
                  <a:pt x="223" y="70"/>
                  <a:pt x="223" y="70"/>
                  <a:pt x="223" y="69"/>
                </a:cubicBezTo>
                <a:cubicBezTo>
                  <a:pt x="223" y="68"/>
                  <a:pt x="222" y="68"/>
                  <a:pt x="222" y="69"/>
                </a:cubicBezTo>
                <a:cubicBezTo>
                  <a:pt x="221" y="68"/>
                  <a:pt x="221" y="68"/>
                  <a:pt x="221" y="69"/>
                </a:cubicBezTo>
                <a:cubicBezTo>
                  <a:pt x="221" y="69"/>
                  <a:pt x="221" y="70"/>
                  <a:pt x="221" y="70"/>
                </a:cubicBezTo>
                <a:cubicBezTo>
                  <a:pt x="220" y="70"/>
                  <a:pt x="220" y="70"/>
                  <a:pt x="219" y="71"/>
                </a:cubicBezTo>
                <a:cubicBezTo>
                  <a:pt x="219" y="71"/>
                  <a:pt x="219" y="72"/>
                  <a:pt x="218" y="72"/>
                </a:cubicBezTo>
                <a:cubicBezTo>
                  <a:pt x="218" y="71"/>
                  <a:pt x="217" y="73"/>
                  <a:pt x="217" y="73"/>
                </a:cubicBezTo>
                <a:cubicBezTo>
                  <a:pt x="216" y="73"/>
                  <a:pt x="215" y="74"/>
                  <a:pt x="214" y="74"/>
                </a:cubicBezTo>
                <a:cubicBezTo>
                  <a:pt x="213" y="75"/>
                  <a:pt x="213" y="75"/>
                  <a:pt x="212" y="76"/>
                </a:cubicBezTo>
                <a:cubicBezTo>
                  <a:pt x="211" y="76"/>
                  <a:pt x="210" y="76"/>
                  <a:pt x="210" y="76"/>
                </a:cubicBezTo>
                <a:cubicBezTo>
                  <a:pt x="209" y="77"/>
                  <a:pt x="209" y="77"/>
                  <a:pt x="209" y="76"/>
                </a:cubicBezTo>
                <a:cubicBezTo>
                  <a:pt x="210" y="76"/>
                  <a:pt x="209" y="75"/>
                  <a:pt x="209" y="75"/>
                </a:cubicBezTo>
                <a:cubicBezTo>
                  <a:pt x="208" y="75"/>
                  <a:pt x="208" y="76"/>
                  <a:pt x="207" y="76"/>
                </a:cubicBezTo>
                <a:cubicBezTo>
                  <a:pt x="207" y="76"/>
                  <a:pt x="205" y="76"/>
                  <a:pt x="205" y="76"/>
                </a:cubicBezTo>
                <a:cubicBezTo>
                  <a:pt x="205" y="75"/>
                  <a:pt x="207" y="75"/>
                  <a:pt x="207" y="74"/>
                </a:cubicBezTo>
                <a:cubicBezTo>
                  <a:pt x="208" y="74"/>
                  <a:pt x="208" y="74"/>
                  <a:pt x="209" y="74"/>
                </a:cubicBezTo>
                <a:cubicBezTo>
                  <a:pt x="209" y="74"/>
                  <a:pt x="209" y="73"/>
                  <a:pt x="210" y="73"/>
                </a:cubicBezTo>
                <a:cubicBezTo>
                  <a:pt x="210" y="73"/>
                  <a:pt x="210" y="74"/>
                  <a:pt x="211" y="74"/>
                </a:cubicBezTo>
                <a:cubicBezTo>
                  <a:pt x="211" y="74"/>
                  <a:pt x="212" y="74"/>
                  <a:pt x="212" y="73"/>
                </a:cubicBezTo>
                <a:cubicBezTo>
                  <a:pt x="213" y="73"/>
                  <a:pt x="212" y="72"/>
                  <a:pt x="213" y="71"/>
                </a:cubicBezTo>
                <a:cubicBezTo>
                  <a:pt x="213" y="71"/>
                  <a:pt x="214" y="70"/>
                  <a:pt x="214" y="69"/>
                </a:cubicBezTo>
                <a:cubicBezTo>
                  <a:pt x="215" y="68"/>
                  <a:pt x="214" y="68"/>
                  <a:pt x="215" y="67"/>
                </a:cubicBezTo>
                <a:cubicBezTo>
                  <a:pt x="215" y="65"/>
                  <a:pt x="216" y="65"/>
                  <a:pt x="217" y="64"/>
                </a:cubicBezTo>
                <a:cubicBezTo>
                  <a:pt x="217" y="63"/>
                  <a:pt x="217" y="63"/>
                  <a:pt x="217" y="63"/>
                </a:cubicBezTo>
                <a:cubicBezTo>
                  <a:pt x="217" y="63"/>
                  <a:pt x="217" y="62"/>
                  <a:pt x="218" y="62"/>
                </a:cubicBezTo>
                <a:cubicBezTo>
                  <a:pt x="218" y="62"/>
                  <a:pt x="218" y="61"/>
                  <a:pt x="218" y="61"/>
                </a:cubicBezTo>
                <a:cubicBezTo>
                  <a:pt x="218" y="60"/>
                  <a:pt x="219" y="60"/>
                  <a:pt x="219" y="59"/>
                </a:cubicBezTo>
                <a:cubicBezTo>
                  <a:pt x="220" y="59"/>
                  <a:pt x="220" y="59"/>
                  <a:pt x="221" y="58"/>
                </a:cubicBezTo>
                <a:cubicBezTo>
                  <a:pt x="221" y="58"/>
                  <a:pt x="222" y="57"/>
                  <a:pt x="223" y="56"/>
                </a:cubicBezTo>
                <a:cubicBezTo>
                  <a:pt x="225" y="56"/>
                  <a:pt x="225" y="53"/>
                  <a:pt x="227" y="51"/>
                </a:cubicBezTo>
                <a:cubicBezTo>
                  <a:pt x="227" y="51"/>
                  <a:pt x="227" y="50"/>
                  <a:pt x="228" y="50"/>
                </a:cubicBezTo>
                <a:cubicBezTo>
                  <a:pt x="228" y="50"/>
                  <a:pt x="228" y="49"/>
                  <a:pt x="229" y="49"/>
                </a:cubicBezTo>
                <a:cubicBezTo>
                  <a:pt x="229" y="48"/>
                  <a:pt x="229" y="48"/>
                  <a:pt x="230" y="48"/>
                </a:cubicBezTo>
                <a:cubicBezTo>
                  <a:pt x="230" y="47"/>
                  <a:pt x="230" y="47"/>
                  <a:pt x="231" y="47"/>
                </a:cubicBezTo>
                <a:cubicBezTo>
                  <a:pt x="231" y="46"/>
                  <a:pt x="233" y="45"/>
                  <a:pt x="232" y="45"/>
                </a:cubicBezTo>
                <a:cubicBezTo>
                  <a:pt x="231" y="44"/>
                  <a:pt x="231" y="45"/>
                  <a:pt x="230" y="45"/>
                </a:cubicBezTo>
                <a:cubicBezTo>
                  <a:pt x="231" y="44"/>
                  <a:pt x="231" y="45"/>
                  <a:pt x="232" y="44"/>
                </a:cubicBezTo>
                <a:cubicBezTo>
                  <a:pt x="232" y="43"/>
                  <a:pt x="232" y="42"/>
                  <a:pt x="232" y="42"/>
                </a:cubicBezTo>
                <a:cubicBezTo>
                  <a:pt x="232" y="40"/>
                  <a:pt x="231" y="39"/>
                  <a:pt x="229" y="38"/>
                </a:cubicBezTo>
                <a:cubicBezTo>
                  <a:pt x="229" y="38"/>
                  <a:pt x="227" y="39"/>
                  <a:pt x="226" y="38"/>
                </a:cubicBezTo>
                <a:cubicBezTo>
                  <a:pt x="226" y="38"/>
                  <a:pt x="226" y="37"/>
                  <a:pt x="226" y="37"/>
                </a:cubicBezTo>
                <a:cubicBezTo>
                  <a:pt x="226" y="37"/>
                  <a:pt x="225" y="36"/>
                  <a:pt x="225" y="36"/>
                </a:cubicBezTo>
                <a:cubicBezTo>
                  <a:pt x="225" y="35"/>
                  <a:pt x="224" y="34"/>
                  <a:pt x="224" y="35"/>
                </a:cubicBezTo>
                <a:cubicBezTo>
                  <a:pt x="224" y="36"/>
                  <a:pt x="224" y="35"/>
                  <a:pt x="224" y="35"/>
                </a:cubicBezTo>
                <a:cubicBezTo>
                  <a:pt x="225" y="36"/>
                  <a:pt x="224" y="32"/>
                  <a:pt x="224" y="31"/>
                </a:cubicBezTo>
                <a:cubicBezTo>
                  <a:pt x="224" y="31"/>
                  <a:pt x="223" y="31"/>
                  <a:pt x="223" y="31"/>
                </a:cubicBezTo>
                <a:cubicBezTo>
                  <a:pt x="223" y="31"/>
                  <a:pt x="223" y="30"/>
                  <a:pt x="223" y="30"/>
                </a:cubicBezTo>
                <a:cubicBezTo>
                  <a:pt x="223" y="29"/>
                  <a:pt x="223" y="29"/>
                  <a:pt x="223" y="28"/>
                </a:cubicBezTo>
                <a:cubicBezTo>
                  <a:pt x="223" y="28"/>
                  <a:pt x="222" y="28"/>
                  <a:pt x="222" y="27"/>
                </a:cubicBezTo>
                <a:cubicBezTo>
                  <a:pt x="222" y="25"/>
                  <a:pt x="221" y="24"/>
                  <a:pt x="221" y="22"/>
                </a:cubicBezTo>
                <a:cubicBezTo>
                  <a:pt x="221" y="21"/>
                  <a:pt x="221" y="19"/>
                  <a:pt x="221" y="18"/>
                </a:cubicBezTo>
                <a:cubicBezTo>
                  <a:pt x="221" y="17"/>
                  <a:pt x="221" y="15"/>
                  <a:pt x="221" y="15"/>
                </a:cubicBezTo>
                <a:cubicBezTo>
                  <a:pt x="220" y="16"/>
                  <a:pt x="220" y="17"/>
                  <a:pt x="220" y="18"/>
                </a:cubicBezTo>
                <a:cubicBezTo>
                  <a:pt x="220" y="18"/>
                  <a:pt x="220" y="17"/>
                  <a:pt x="220" y="16"/>
                </a:cubicBezTo>
                <a:cubicBezTo>
                  <a:pt x="220" y="16"/>
                  <a:pt x="220" y="15"/>
                  <a:pt x="220" y="14"/>
                </a:cubicBezTo>
                <a:cubicBezTo>
                  <a:pt x="220" y="13"/>
                  <a:pt x="219" y="12"/>
                  <a:pt x="218" y="11"/>
                </a:cubicBezTo>
                <a:cubicBezTo>
                  <a:pt x="218" y="11"/>
                  <a:pt x="217" y="11"/>
                  <a:pt x="217" y="10"/>
                </a:cubicBezTo>
                <a:cubicBezTo>
                  <a:pt x="216" y="10"/>
                  <a:pt x="217" y="11"/>
                  <a:pt x="217" y="11"/>
                </a:cubicBezTo>
                <a:cubicBezTo>
                  <a:pt x="217" y="12"/>
                  <a:pt x="218" y="14"/>
                  <a:pt x="218" y="15"/>
                </a:cubicBezTo>
                <a:cubicBezTo>
                  <a:pt x="217" y="15"/>
                  <a:pt x="216" y="12"/>
                  <a:pt x="216" y="12"/>
                </a:cubicBezTo>
                <a:cubicBezTo>
                  <a:pt x="216" y="12"/>
                  <a:pt x="216" y="13"/>
                  <a:pt x="216" y="13"/>
                </a:cubicBezTo>
                <a:cubicBezTo>
                  <a:pt x="216" y="14"/>
                  <a:pt x="215" y="14"/>
                  <a:pt x="214" y="15"/>
                </a:cubicBezTo>
                <a:cubicBezTo>
                  <a:pt x="214" y="15"/>
                  <a:pt x="214" y="16"/>
                  <a:pt x="213" y="16"/>
                </a:cubicBezTo>
                <a:cubicBezTo>
                  <a:pt x="213" y="17"/>
                  <a:pt x="213" y="17"/>
                  <a:pt x="212" y="17"/>
                </a:cubicBezTo>
                <a:cubicBezTo>
                  <a:pt x="212" y="18"/>
                  <a:pt x="212" y="19"/>
                  <a:pt x="212" y="19"/>
                </a:cubicBezTo>
                <a:cubicBezTo>
                  <a:pt x="211" y="20"/>
                  <a:pt x="211" y="20"/>
                  <a:pt x="211" y="21"/>
                </a:cubicBezTo>
                <a:cubicBezTo>
                  <a:pt x="210" y="22"/>
                  <a:pt x="209" y="23"/>
                  <a:pt x="209" y="24"/>
                </a:cubicBezTo>
                <a:cubicBezTo>
                  <a:pt x="209" y="25"/>
                  <a:pt x="208" y="26"/>
                  <a:pt x="208" y="26"/>
                </a:cubicBezTo>
                <a:cubicBezTo>
                  <a:pt x="208" y="27"/>
                  <a:pt x="208" y="27"/>
                  <a:pt x="207" y="27"/>
                </a:cubicBezTo>
                <a:cubicBezTo>
                  <a:pt x="207" y="28"/>
                  <a:pt x="207" y="28"/>
                  <a:pt x="207" y="28"/>
                </a:cubicBezTo>
                <a:cubicBezTo>
                  <a:pt x="207" y="29"/>
                  <a:pt x="206" y="29"/>
                  <a:pt x="206" y="30"/>
                </a:cubicBezTo>
                <a:cubicBezTo>
                  <a:pt x="207" y="30"/>
                  <a:pt x="206" y="31"/>
                  <a:pt x="206" y="31"/>
                </a:cubicBezTo>
                <a:cubicBezTo>
                  <a:pt x="205" y="32"/>
                  <a:pt x="205" y="32"/>
                  <a:pt x="204" y="33"/>
                </a:cubicBezTo>
                <a:cubicBezTo>
                  <a:pt x="204" y="33"/>
                  <a:pt x="203" y="34"/>
                  <a:pt x="203" y="34"/>
                </a:cubicBezTo>
                <a:cubicBezTo>
                  <a:pt x="202" y="35"/>
                  <a:pt x="201" y="33"/>
                  <a:pt x="199" y="34"/>
                </a:cubicBezTo>
                <a:cubicBezTo>
                  <a:pt x="199" y="34"/>
                  <a:pt x="200" y="34"/>
                  <a:pt x="200" y="34"/>
                </a:cubicBezTo>
                <a:cubicBezTo>
                  <a:pt x="200" y="33"/>
                  <a:pt x="199" y="33"/>
                  <a:pt x="199" y="33"/>
                </a:cubicBezTo>
                <a:cubicBezTo>
                  <a:pt x="199" y="32"/>
                  <a:pt x="199" y="33"/>
                  <a:pt x="199" y="33"/>
                </a:cubicBezTo>
                <a:cubicBezTo>
                  <a:pt x="198" y="34"/>
                  <a:pt x="197" y="33"/>
                  <a:pt x="196" y="33"/>
                </a:cubicBezTo>
                <a:cubicBezTo>
                  <a:pt x="195" y="33"/>
                  <a:pt x="195" y="33"/>
                  <a:pt x="195" y="32"/>
                </a:cubicBezTo>
                <a:cubicBezTo>
                  <a:pt x="195" y="32"/>
                  <a:pt x="194" y="33"/>
                  <a:pt x="194" y="33"/>
                </a:cubicBezTo>
                <a:cubicBezTo>
                  <a:pt x="194" y="33"/>
                  <a:pt x="193" y="33"/>
                  <a:pt x="193" y="33"/>
                </a:cubicBezTo>
                <a:cubicBezTo>
                  <a:pt x="193" y="33"/>
                  <a:pt x="193" y="34"/>
                  <a:pt x="193" y="34"/>
                </a:cubicBezTo>
                <a:cubicBezTo>
                  <a:pt x="193" y="34"/>
                  <a:pt x="192" y="34"/>
                  <a:pt x="192" y="35"/>
                </a:cubicBezTo>
                <a:cubicBezTo>
                  <a:pt x="191" y="35"/>
                  <a:pt x="191" y="35"/>
                  <a:pt x="191" y="35"/>
                </a:cubicBezTo>
                <a:cubicBezTo>
                  <a:pt x="191" y="34"/>
                  <a:pt x="190" y="35"/>
                  <a:pt x="189" y="35"/>
                </a:cubicBezTo>
                <a:cubicBezTo>
                  <a:pt x="189" y="34"/>
                  <a:pt x="189" y="34"/>
                  <a:pt x="189" y="34"/>
                </a:cubicBezTo>
                <a:cubicBezTo>
                  <a:pt x="189" y="34"/>
                  <a:pt x="188" y="34"/>
                  <a:pt x="188" y="34"/>
                </a:cubicBezTo>
                <a:cubicBezTo>
                  <a:pt x="188" y="34"/>
                  <a:pt x="187" y="34"/>
                  <a:pt x="187" y="33"/>
                </a:cubicBezTo>
                <a:cubicBezTo>
                  <a:pt x="187" y="33"/>
                  <a:pt x="187" y="33"/>
                  <a:pt x="187" y="33"/>
                </a:cubicBezTo>
                <a:cubicBezTo>
                  <a:pt x="185" y="33"/>
                  <a:pt x="186" y="32"/>
                  <a:pt x="185" y="31"/>
                </a:cubicBezTo>
                <a:cubicBezTo>
                  <a:pt x="185" y="31"/>
                  <a:pt x="185" y="32"/>
                  <a:pt x="184" y="31"/>
                </a:cubicBezTo>
                <a:cubicBezTo>
                  <a:pt x="184" y="31"/>
                  <a:pt x="183" y="30"/>
                  <a:pt x="183" y="30"/>
                </a:cubicBezTo>
                <a:cubicBezTo>
                  <a:pt x="183" y="30"/>
                  <a:pt x="184" y="29"/>
                  <a:pt x="183" y="30"/>
                </a:cubicBezTo>
                <a:cubicBezTo>
                  <a:pt x="183" y="30"/>
                  <a:pt x="182" y="30"/>
                  <a:pt x="182" y="30"/>
                </a:cubicBezTo>
                <a:cubicBezTo>
                  <a:pt x="181" y="30"/>
                  <a:pt x="181" y="30"/>
                  <a:pt x="181" y="30"/>
                </a:cubicBezTo>
                <a:cubicBezTo>
                  <a:pt x="180" y="31"/>
                  <a:pt x="180" y="30"/>
                  <a:pt x="179" y="31"/>
                </a:cubicBezTo>
                <a:cubicBezTo>
                  <a:pt x="179" y="31"/>
                  <a:pt x="179" y="32"/>
                  <a:pt x="178" y="31"/>
                </a:cubicBezTo>
                <a:cubicBezTo>
                  <a:pt x="178" y="31"/>
                  <a:pt x="177" y="32"/>
                  <a:pt x="176" y="32"/>
                </a:cubicBezTo>
                <a:cubicBezTo>
                  <a:pt x="176" y="32"/>
                  <a:pt x="173" y="30"/>
                  <a:pt x="173" y="31"/>
                </a:cubicBezTo>
                <a:cubicBezTo>
                  <a:pt x="173" y="31"/>
                  <a:pt x="173" y="32"/>
                  <a:pt x="173" y="32"/>
                </a:cubicBezTo>
                <a:cubicBezTo>
                  <a:pt x="172" y="32"/>
                  <a:pt x="172" y="33"/>
                  <a:pt x="172" y="33"/>
                </a:cubicBezTo>
                <a:cubicBezTo>
                  <a:pt x="171" y="34"/>
                  <a:pt x="172" y="33"/>
                  <a:pt x="173" y="34"/>
                </a:cubicBezTo>
                <a:cubicBezTo>
                  <a:pt x="173" y="34"/>
                  <a:pt x="173" y="34"/>
                  <a:pt x="173" y="35"/>
                </a:cubicBezTo>
                <a:cubicBezTo>
                  <a:pt x="173" y="35"/>
                  <a:pt x="173" y="35"/>
                  <a:pt x="173" y="35"/>
                </a:cubicBezTo>
                <a:cubicBezTo>
                  <a:pt x="174" y="36"/>
                  <a:pt x="174" y="38"/>
                  <a:pt x="173" y="38"/>
                </a:cubicBezTo>
                <a:cubicBezTo>
                  <a:pt x="172" y="38"/>
                  <a:pt x="171" y="38"/>
                  <a:pt x="171" y="37"/>
                </a:cubicBezTo>
                <a:cubicBezTo>
                  <a:pt x="170" y="37"/>
                  <a:pt x="169" y="37"/>
                  <a:pt x="169" y="37"/>
                </a:cubicBezTo>
                <a:cubicBezTo>
                  <a:pt x="168" y="37"/>
                  <a:pt x="168" y="37"/>
                  <a:pt x="167" y="37"/>
                </a:cubicBezTo>
                <a:cubicBezTo>
                  <a:pt x="167" y="37"/>
                  <a:pt x="166" y="37"/>
                  <a:pt x="166" y="37"/>
                </a:cubicBezTo>
                <a:cubicBezTo>
                  <a:pt x="165" y="38"/>
                  <a:pt x="165" y="37"/>
                  <a:pt x="164" y="37"/>
                </a:cubicBezTo>
                <a:cubicBezTo>
                  <a:pt x="163" y="37"/>
                  <a:pt x="163" y="37"/>
                  <a:pt x="163" y="37"/>
                </a:cubicBezTo>
                <a:cubicBezTo>
                  <a:pt x="162" y="36"/>
                  <a:pt x="161" y="37"/>
                  <a:pt x="160" y="36"/>
                </a:cubicBezTo>
                <a:cubicBezTo>
                  <a:pt x="160" y="36"/>
                  <a:pt x="159" y="37"/>
                  <a:pt x="159" y="38"/>
                </a:cubicBezTo>
                <a:cubicBezTo>
                  <a:pt x="159" y="38"/>
                  <a:pt x="159" y="39"/>
                  <a:pt x="158" y="39"/>
                </a:cubicBezTo>
                <a:cubicBezTo>
                  <a:pt x="158" y="40"/>
                  <a:pt x="157" y="40"/>
                  <a:pt x="156" y="40"/>
                </a:cubicBezTo>
                <a:cubicBezTo>
                  <a:pt x="156" y="39"/>
                  <a:pt x="155" y="40"/>
                  <a:pt x="155" y="40"/>
                </a:cubicBezTo>
                <a:cubicBezTo>
                  <a:pt x="154" y="40"/>
                  <a:pt x="154" y="40"/>
                  <a:pt x="154" y="41"/>
                </a:cubicBezTo>
                <a:cubicBezTo>
                  <a:pt x="154" y="41"/>
                  <a:pt x="154" y="42"/>
                  <a:pt x="153" y="42"/>
                </a:cubicBezTo>
                <a:cubicBezTo>
                  <a:pt x="152" y="42"/>
                  <a:pt x="152" y="41"/>
                  <a:pt x="152" y="41"/>
                </a:cubicBezTo>
                <a:cubicBezTo>
                  <a:pt x="151" y="41"/>
                  <a:pt x="151" y="41"/>
                  <a:pt x="151" y="41"/>
                </a:cubicBezTo>
                <a:cubicBezTo>
                  <a:pt x="150" y="41"/>
                  <a:pt x="150" y="42"/>
                  <a:pt x="149" y="42"/>
                </a:cubicBezTo>
                <a:cubicBezTo>
                  <a:pt x="148" y="42"/>
                  <a:pt x="149" y="43"/>
                  <a:pt x="149" y="44"/>
                </a:cubicBezTo>
                <a:cubicBezTo>
                  <a:pt x="149" y="45"/>
                  <a:pt x="147" y="44"/>
                  <a:pt x="147" y="44"/>
                </a:cubicBezTo>
                <a:cubicBezTo>
                  <a:pt x="146" y="44"/>
                  <a:pt x="146" y="45"/>
                  <a:pt x="146" y="45"/>
                </a:cubicBezTo>
                <a:cubicBezTo>
                  <a:pt x="145" y="45"/>
                  <a:pt x="145" y="44"/>
                  <a:pt x="144" y="44"/>
                </a:cubicBezTo>
                <a:cubicBezTo>
                  <a:pt x="143" y="43"/>
                  <a:pt x="143" y="43"/>
                  <a:pt x="142" y="43"/>
                </a:cubicBezTo>
                <a:cubicBezTo>
                  <a:pt x="141" y="43"/>
                  <a:pt x="141" y="42"/>
                  <a:pt x="140" y="41"/>
                </a:cubicBezTo>
                <a:cubicBezTo>
                  <a:pt x="139" y="41"/>
                  <a:pt x="139" y="40"/>
                  <a:pt x="139" y="39"/>
                </a:cubicBezTo>
                <a:cubicBezTo>
                  <a:pt x="138" y="39"/>
                  <a:pt x="137" y="40"/>
                  <a:pt x="137" y="39"/>
                </a:cubicBezTo>
                <a:cubicBezTo>
                  <a:pt x="137" y="38"/>
                  <a:pt x="138" y="38"/>
                  <a:pt x="137" y="38"/>
                </a:cubicBezTo>
                <a:cubicBezTo>
                  <a:pt x="137" y="38"/>
                  <a:pt x="136" y="37"/>
                  <a:pt x="137" y="37"/>
                </a:cubicBezTo>
                <a:cubicBezTo>
                  <a:pt x="137" y="36"/>
                  <a:pt x="137" y="35"/>
                  <a:pt x="137" y="34"/>
                </a:cubicBezTo>
                <a:cubicBezTo>
                  <a:pt x="137" y="34"/>
                  <a:pt x="137" y="33"/>
                  <a:pt x="136" y="33"/>
                </a:cubicBezTo>
                <a:cubicBezTo>
                  <a:pt x="136" y="33"/>
                  <a:pt x="135" y="32"/>
                  <a:pt x="135" y="32"/>
                </a:cubicBezTo>
                <a:cubicBezTo>
                  <a:pt x="135" y="31"/>
                  <a:pt x="134" y="30"/>
                  <a:pt x="134" y="28"/>
                </a:cubicBezTo>
                <a:cubicBezTo>
                  <a:pt x="134" y="27"/>
                  <a:pt x="135" y="26"/>
                  <a:pt x="135" y="25"/>
                </a:cubicBezTo>
                <a:cubicBezTo>
                  <a:pt x="135" y="25"/>
                  <a:pt x="135" y="24"/>
                  <a:pt x="135" y="24"/>
                </a:cubicBezTo>
                <a:cubicBezTo>
                  <a:pt x="135" y="23"/>
                  <a:pt x="136" y="23"/>
                  <a:pt x="136" y="22"/>
                </a:cubicBezTo>
                <a:cubicBezTo>
                  <a:pt x="136" y="21"/>
                  <a:pt x="136" y="21"/>
                  <a:pt x="136" y="20"/>
                </a:cubicBezTo>
                <a:cubicBezTo>
                  <a:pt x="136" y="19"/>
                  <a:pt x="136" y="19"/>
                  <a:pt x="137" y="18"/>
                </a:cubicBezTo>
                <a:cubicBezTo>
                  <a:pt x="137" y="18"/>
                  <a:pt x="138" y="18"/>
                  <a:pt x="138" y="17"/>
                </a:cubicBezTo>
                <a:cubicBezTo>
                  <a:pt x="138" y="17"/>
                  <a:pt x="138" y="17"/>
                  <a:pt x="139" y="16"/>
                </a:cubicBezTo>
                <a:cubicBezTo>
                  <a:pt x="139" y="16"/>
                  <a:pt x="139" y="15"/>
                  <a:pt x="139" y="15"/>
                </a:cubicBezTo>
                <a:cubicBezTo>
                  <a:pt x="138" y="14"/>
                  <a:pt x="138" y="13"/>
                  <a:pt x="138" y="12"/>
                </a:cubicBezTo>
                <a:cubicBezTo>
                  <a:pt x="136" y="12"/>
                  <a:pt x="138" y="10"/>
                  <a:pt x="137" y="10"/>
                </a:cubicBezTo>
                <a:cubicBezTo>
                  <a:pt x="137" y="9"/>
                  <a:pt x="136" y="9"/>
                  <a:pt x="135" y="9"/>
                </a:cubicBezTo>
                <a:cubicBezTo>
                  <a:pt x="135" y="9"/>
                  <a:pt x="134" y="9"/>
                  <a:pt x="134" y="9"/>
                </a:cubicBezTo>
                <a:cubicBezTo>
                  <a:pt x="134" y="8"/>
                  <a:pt x="134" y="9"/>
                  <a:pt x="134" y="9"/>
                </a:cubicBezTo>
                <a:cubicBezTo>
                  <a:pt x="133" y="9"/>
                  <a:pt x="133" y="8"/>
                  <a:pt x="134" y="8"/>
                </a:cubicBezTo>
                <a:cubicBezTo>
                  <a:pt x="135" y="7"/>
                  <a:pt x="135" y="4"/>
                  <a:pt x="135" y="3"/>
                </a:cubicBezTo>
                <a:cubicBezTo>
                  <a:pt x="135" y="3"/>
                  <a:pt x="135" y="2"/>
                  <a:pt x="135" y="2"/>
                </a:cubicBezTo>
                <a:cubicBezTo>
                  <a:pt x="134" y="2"/>
                  <a:pt x="134" y="1"/>
                  <a:pt x="134" y="1"/>
                </a:cubicBezTo>
                <a:cubicBezTo>
                  <a:pt x="133" y="1"/>
                  <a:pt x="133" y="0"/>
                  <a:pt x="133" y="0"/>
                </a:cubicBezTo>
                <a:cubicBezTo>
                  <a:pt x="132" y="1"/>
                  <a:pt x="132" y="1"/>
                  <a:pt x="131" y="1"/>
                </a:cubicBezTo>
                <a:cubicBezTo>
                  <a:pt x="131" y="1"/>
                  <a:pt x="131" y="1"/>
                  <a:pt x="131" y="1"/>
                </a:cubicBezTo>
                <a:cubicBezTo>
                  <a:pt x="130" y="1"/>
                  <a:pt x="130" y="1"/>
                  <a:pt x="130" y="1"/>
                </a:cubicBezTo>
                <a:cubicBezTo>
                  <a:pt x="129" y="1"/>
                  <a:pt x="129" y="1"/>
                  <a:pt x="128" y="1"/>
                </a:cubicBezTo>
                <a:cubicBezTo>
                  <a:pt x="129" y="1"/>
                  <a:pt x="129" y="3"/>
                  <a:pt x="129" y="4"/>
                </a:cubicBezTo>
                <a:cubicBezTo>
                  <a:pt x="129" y="5"/>
                  <a:pt x="127" y="6"/>
                  <a:pt x="126" y="6"/>
                </a:cubicBezTo>
                <a:cubicBezTo>
                  <a:pt x="125" y="7"/>
                  <a:pt x="126" y="8"/>
                  <a:pt x="125" y="9"/>
                </a:cubicBezTo>
                <a:cubicBezTo>
                  <a:pt x="124" y="9"/>
                  <a:pt x="123" y="9"/>
                  <a:pt x="123" y="9"/>
                </a:cubicBezTo>
                <a:cubicBezTo>
                  <a:pt x="122" y="9"/>
                  <a:pt x="122" y="9"/>
                  <a:pt x="122" y="9"/>
                </a:cubicBezTo>
                <a:cubicBezTo>
                  <a:pt x="123" y="10"/>
                  <a:pt x="121" y="10"/>
                  <a:pt x="120" y="10"/>
                </a:cubicBezTo>
                <a:cubicBezTo>
                  <a:pt x="120" y="10"/>
                  <a:pt x="120" y="11"/>
                  <a:pt x="120" y="11"/>
                </a:cubicBezTo>
                <a:cubicBezTo>
                  <a:pt x="120" y="12"/>
                  <a:pt x="119" y="12"/>
                  <a:pt x="118" y="11"/>
                </a:cubicBezTo>
                <a:cubicBezTo>
                  <a:pt x="118" y="11"/>
                  <a:pt x="117" y="12"/>
                  <a:pt x="117" y="12"/>
                </a:cubicBezTo>
                <a:cubicBezTo>
                  <a:pt x="116" y="13"/>
                  <a:pt x="116" y="12"/>
                  <a:pt x="115" y="12"/>
                </a:cubicBezTo>
                <a:cubicBezTo>
                  <a:pt x="115" y="12"/>
                  <a:pt x="115" y="13"/>
                  <a:pt x="114" y="13"/>
                </a:cubicBezTo>
                <a:cubicBezTo>
                  <a:pt x="113" y="13"/>
                  <a:pt x="113" y="13"/>
                  <a:pt x="112" y="13"/>
                </a:cubicBezTo>
                <a:cubicBezTo>
                  <a:pt x="112" y="13"/>
                  <a:pt x="111" y="12"/>
                  <a:pt x="111" y="12"/>
                </a:cubicBezTo>
                <a:cubicBezTo>
                  <a:pt x="111" y="13"/>
                  <a:pt x="110" y="13"/>
                  <a:pt x="110" y="13"/>
                </a:cubicBezTo>
                <a:cubicBezTo>
                  <a:pt x="110" y="13"/>
                  <a:pt x="110" y="14"/>
                  <a:pt x="109" y="14"/>
                </a:cubicBezTo>
                <a:cubicBezTo>
                  <a:pt x="109" y="14"/>
                  <a:pt x="108" y="14"/>
                  <a:pt x="108" y="14"/>
                </a:cubicBezTo>
                <a:cubicBezTo>
                  <a:pt x="108" y="14"/>
                  <a:pt x="108" y="15"/>
                  <a:pt x="108" y="15"/>
                </a:cubicBezTo>
                <a:cubicBezTo>
                  <a:pt x="108" y="16"/>
                  <a:pt x="108" y="17"/>
                  <a:pt x="108" y="17"/>
                </a:cubicBezTo>
                <a:cubicBezTo>
                  <a:pt x="108" y="19"/>
                  <a:pt x="107" y="20"/>
                  <a:pt x="105" y="19"/>
                </a:cubicBezTo>
                <a:cubicBezTo>
                  <a:pt x="105" y="18"/>
                  <a:pt x="104" y="16"/>
                  <a:pt x="103" y="15"/>
                </a:cubicBezTo>
                <a:cubicBezTo>
                  <a:pt x="103" y="15"/>
                  <a:pt x="102" y="14"/>
                  <a:pt x="101" y="15"/>
                </a:cubicBezTo>
                <a:cubicBezTo>
                  <a:pt x="101" y="15"/>
                  <a:pt x="101" y="15"/>
                  <a:pt x="101" y="16"/>
                </a:cubicBezTo>
                <a:cubicBezTo>
                  <a:pt x="101" y="16"/>
                  <a:pt x="100" y="16"/>
                  <a:pt x="100" y="15"/>
                </a:cubicBezTo>
                <a:cubicBezTo>
                  <a:pt x="99" y="15"/>
                  <a:pt x="99" y="15"/>
                  <a:pt x="98" y="15"/>
                </a:cubicBezTo>
                <a:cubicBezTo>
                  <a:pt x="98" y="15"/>
                  <a:pt x="97" y="15"/>
                  <a:pt x="97" y="15"/>
                </a:cubicBezTo>
                <a:cubicBezTo>
                  <a:pt x="97" y="15"/>
                  <a:pt x="96" y="16"/>
                  <a:pt x="96" y="16"/>
                </a:cubicBezTo>
                <a:cubicBezTo>
                  <a:pt x="95" y="16"/>
                  <a:pt x="95" y="14"/>
                  <a:pt x="95" y="13"/>
                </a:cubicBezTo>
                <a:cubicBezTo>
                  <a:pt x="94" y="12"/>
                  <a:pt x="92" y="13"/>
                  <a:pt x="91" y="13"/>
                </a:cubicBezTo>
                <a:cubicBezTo>
                  <a:pt x="91" y="13"/>
                  <a:pt x="90" y="13"/>
                  <a:pt x="90" y="12"/>
                </a:cubicBezTo>
                <a:cubicBezTo>
                  <a:pt x="90" y="12"/>
                  <a:pt x="89" y="11"/>
                  <a:pt x="89" y="11"/>
                </a:cubicBezTo>
                <a:cubicBezTo>
                  <a:pt x="88" y="11"/>
                  <a:pt x="88" y="12"/>
                  <a:pt x="88" y="12"/>
                </a:cubicBezTo>
                <a:cubicBezTo>
                  <a:pt x="89" y="12"/>
                  <a:pt x="89" y="12"/>
                  <a:pt x="89" y="13"/>
                </a:cubicBezTo>
                <a:cubicBezTo>
                  <a:pt x="89" y="14"/>
                  <a:pt x="90" y="16"/>
                  <a:pt x="91" y="17"/>
                </a:cubicBezTo>
                <a:cubicBezTo>
                  <a:pt x="92" y="17"/>
                  <a:pt x="94" y="18"/>
                  <a:pt x="94" y="19"/>
                </a:cubicBezTo>
                <a:cubicBezTo>
                  <a:pt x="94" y="20"/>
                  <a:pt x="93" y="20"/>
                  <a:pt x="93" y="21"/>
                </a:cubicBezTo>
                <a:cubicBezTo>
                  <a:pt x="93" y="22"/>
                  <a:pt x="94" y="22"/>
                  <a:pt x="93" y="23"/>
                </a:cubicBezTo>
                <a:cubicBezTo>
                  <a:pt x="93" y="24"/>
                  <a:pt x="94" y="24"/>
                  <a:pt x="94" y="25"/>
                </a:cubicBezTo>
                <a:cubicBezTo>
                  <a:pt x="94" y="26"/>
                  <a:pt x="95" y="26"/>
                  <a:pt x="95" y="27"/>
                </a:cubicBezTo>
                <a:cubicBezTo>
                  <a:pt x="96" y="28"/>
                  <a:pt x="96" y="29"/>
                  <a:pt x="95" y="30"/>
                </a:cubicBezTo>
                <a:cubicBezTo>
                  <a:pt x="95" y="30"/>
                  <a:pt x="95" y="31"/>
                  <a:pt x="95" y="31"/>
                </a:cubicBezTo>
                <a:cubicBezTo>
                  <a:pt x="96" y="31"/>
                  <a:pt x="97" y="32"/>
                  <a:pt x="97" y="32"/>
                </a:cubicBezTo>
                <a:cubicBezTo>
                  <a:pt x="98" y="32"/>
                  <a:pt x="98" y="32"/>
                  <a:pt x="98" y="32"/>
                </a:cubicBezTo>
                <a:cubicBezTo>
                  <a:pt x="99" y="31"/>
                  <a:pt x="101" y="31"/>
                  <a:pt x="101" y="32"/>
                </a:cubicBezTo>
                <a:cubicBezTo>
                  <a:pt x="102" y="32"/>
                  <a:pt x="101" y="34"/>
                  <a:pt x="101" y="35"/>
                </a:cubicBezTo>
                <a:cubicBezTo>
                  <a:pt x="101" y="35"/>
                  <a:pt x="100" y="35"/>
                  <a:pt x="100" y="35"/>
                </a:cubicBezTo>
                <a:cubicBezTo>
                  <a:pt x="99" y="35"/>
                  <a:pt x="98" y="36"/>
                  <a:pt x="98" y="36"/>
                </a:cubicBezTo>
                <a:cubicBezTo>
                  <a:pt x="97" y="37"/>
                  <a:pt x="95" y="36"/>
                  <a:pt x="95" y="38"/>
                </a:cubicBezTo>
                <a:cubicBezTo>
                  <a:pt x="95" y="39"/>
                  <a:pt x="95" y="39"/>
                  <a:pt x="94" y="40"/>
                </a:cubicBezTo>
                <a:cubicBezTo>
                  <a:pt x="94" y="41"/>
                  <a:pt x="94" y="41"/>
                  <a:pt x="93" y="42"/>
                </a:cubicBezTo>
                <a:cubicBezTo>
                  <a:pt x="93" y="42"/>
                  <a:pt x="92" y="43"/>
                  <a:pt x="92" y="43"/>
                </a:cubicBezTo>
                <a:cubicBezTo>
                  <a:pt x="92" y="43"/>
                  <a:pt x="91" y="43"/>
                  <a:pt x="91" y="43"/>
                </a:cubicBezTo>
                <a:cubicBezTo>
                  <a:pt x="92" y="43"/>
                  <a:pt x="92" y="42"/>
                  <a:pt x="92" y="42"/>
                </a:cubicBezTo>
                <a:cubicBezTo>
                  <a:pt x="91" y="42"/>
                  <a:pt x="90" y="42"/>
                  <a:pt x="90" y="43"/>
                </a:cubicBezTo>
                <a:cubicBezTo>
                  <a:pt x="89" y="43"/>
                  <a:pt x="88" y="45"/>
                  <a:pt x="87" y="44"/>
                </a:cubicBezTo>
                <a:cubicBezTo>
                  <a:pt x="87" y="44"/>
                  <a:pt x="87" y="45"/>
                  <a:pt x="86" y="45"/>
                </a:cubicBezTo>
                <a:cubicBezTo>
                  <a:pt x="86" y="45"/>
                  <a:pt x="85" y="46"/>
                  <a:pt x="85" y="46"/>
                </a:cubicBezTo>
                <a:cubicBezTo>
                  <a:pt x="83" y="45"/>
                  <a:pt x="85" y="48"/>
                  <a:pt x="83" y="48"/>
                </a:cubicBezTo>
                <a:cubicBezTo>
                  <a:pt x="81" y="48"/>
                  <a:pt x="82" y="50"/>
                  <a:pt x="81" y="51"/>
                </a:cubicBezTo>
                <a:cubicBezTo>
                  <a:pt x="80" y="51"/>
                  <a:pt x="80" y="51"/>
                  <a:pt x="80" y="50"/>
                </a:cubicBezTo>
                <a:cubicBezTo>
                  <a:pt x="80" y="50"/>
                  <a:pt x="81" y="49"/>
                  <a:pt x="80" y="49"/>
                </a:cubicBezTo>
                <a:cubicBezTo>
                  <a:pt x="80" y="47"/>
                  <a:pt x="78" y="48"/>
                  <a:pt x="77" y="48"/>
                </a:cubicBezTo>
                <a:cubicBezTo>
                  <a:pt x="77" y="49"/>
                  <a:pt x="75" y="51"/>
                  <a:pt x="74" y="50"/>
                </a:cubicBezTo>
                <a:cubicBezTo>
                  <a:pt x="74" y="50"/>
                  <a:pt x="73" y="50"/>
                  <a:pt x="72" y="50"/>
                </a:cubicBezTo>
                <a:cubicBezTo>
                  <a:pt x="72" y="49"/>
                  <a:pt x="71" y="49"/>
                  <a:pt x="71" y="48"/>
                </a:cubicBezTo>
                <a:cubicBezTo>
                  <a:pt x="70" y="47"/>
                  <a:pt x="69" y="46"/>
                  <a:pt x="67" y="45"/>
                </a:cubicBezTo>
                <a:cubicBezTo>
                  <a:pt x="67" y="45"/>
                  <a:pt x="66" y="46"/>
                  <a:pt x="65" y="45"/>
                </a:cubicBezTo>
                <a:cubicBezTo>
                  <a:pt x="65" y="45"/>
                  <a:pt x="65" y="44"/>
                  <a:pt x="65" y="43"/>
                </a:cubicBezTo>
                <a:cubicBezTo>
                  <a:pt x="66" y="41"/>
                  <a:pt x="65" y="40"/>
                  <a:pt x="65" y="39"/>
                </a:cubicBezTo>
                <a:cubicBezTo>
                  <a:pt x="64" y="38"/>
                  <a:pt x="64" y="37"/>
                  <a:pt x="63" y="36"/>
                </a:cubicBezTo>
                <a:cubicBezTo>
                  <a:pt x="63" y="36"/>
                  <a:pt x="63" y="35"/>
                  <a:pt x="62" y="35"/>
                </a:cubicBezTo>
                <a:cubicBezTo>
                  <a:pt x="61" y="35"/>
                  <a:pt x="60" y="37"/>
                  <a:pt x="59" y="38"/>
                </a:cubicBezTo>
                <a:cubicBezTo>
                  <a:pt x="59" y="38"/>
                  <a:pt x="57" y="40"/>
                  <a:pt x="56" y="38"/>
                </a:cubicBezTo>
                <a:cubicBezTo>
                  <a:pt x="56" y="38"/>
                  <a:pt x="56" y="37"/>
                  <a:pt x="55" y="37"/>
                </a:cubicBezTo>
                <a:cubicBezTo>
                  <a:pt x="55" y="37"/>
                  <a:pt x="54" y="36"/>
                  <a:pt x="55" y="36"/>
                </a:cubicBezTo>
                <a:cubicBezTo>
                  <a:pt x="54" y="36"/>
                  <a:pt x="54" y="38"/>
                  <a:pt x="54" y="38"/>
                </a:cubicBezTo>
                <a:cubicBezTo>
                  <a:pt x="54" y="39"/>
                  <a:pt x="54" y="39"/>
                  <a:pt x="55" y="39"/>
                </a:cubicBezTo>
                <a:cubicBezTo>
                  <a:pt x="52" y="40"/>
                  <a:pt x="48" y="39"/>
                  <a:pt x="45" y="39"/>
                </a:cubicBezTo>
                <a:cubicBezTo>
                  <a:pt x="44" y="39"/>
                  <a:pt x="43" y="39"/>
                  <a:pt x="43" y="39"/>
                </a:cubicBezTo>
                <a:cubicBezTo>
                  <a:pt x="42" y="39"/>
                  <a:pt x="42" y="39"/>
                  <a:pt x="41" y="39"/>
                </a:cubicBezTo>
                <a:cubicBezTo>
                  <a:pt x="41" y="39"/>
                  <a:pt x="40" y="39"/>
                  <a:pt x="40" y="39"/>
                </a:cubicBezTo>
                <a:cubicBezTo>
                  <a:pt x="39" y="39"/>
                  <a:pt x="39" y="40"/>
                  <a:pt x="38" y="39"/>
                </a:cubicBezTo>
                <a:cubicBezTo>
                  <a:pt x="38" y="42"/>
                  <a:pt x="38" y="44"/>
                  <a:pt x="38" y="46"/>
                </a:cubicBezTo>
                <a:cubicBezTo>
                  <a:pt x="38" y="46"/>
                  <a:pt x="38" y="47"/>
                  <a:pt x="39" y="47"/>
                </a:cubicBezTo>
                <a:cubicBezTo>
                  <a:pt x="39" y="47"/>
                  <a:pt x="39" y="46"/>
                  <a:pt x="39" y="46"/>
                </a:cubicBezTo>
                <a:cubicBezTo>
                  <a:pt x="39" y="46"/>
                  <a:pt x="40" y="46"/>
                  <a:pt x="40" y="46"/>
                </a:cubicBezTo>
                <a:cubicBezTo>
                  <a:pt x="40" y="47"/>
                  <a:pt x="40" y="47"/>
                  <a:pt x="40" y="47"/>
                </a:cubicBezTo>
                <a:cubicBezTo>
                  <a:pt x="41" y="47"/>
                  <a:pt x="42" y="46"/>
                  <a:pt x="42" y="47"/>
                </a:cubicBezTo>
                <a:cubicBezTo>
                  <a:pt x="43" y="47"/>
                  <a:pt x="43" y="46"/>
                  <a:pt x="43" y="47"/>
                </a:cubicBezTo>
                <a:cubicBezTo>
                  <a:pt x="44" y="47"/>
                  <a:pt x="44" y="47"/>
                  <a:pt x="45" y="48"/>
                </a:cubicBezTo>
                <a:cubicBezTo>
                  <a:pt x="45" y="48"/>
                  <a:pt x="45" y="48"/>
                  <a:pt x="45" y="48"/>
                </a:cubicBezTo>
                <a:cubicBezTo>
                  <a:pt x="45" y="48"/>
                  <a:pt x="45" y="48"/>
                  <a:pt x="45" y="49"/>
                </a:cubicBezTo>
                <a:cubicBezTo>
                  <a:pt x="45" y="49"/>
                  <a:pt x="45" y="50"/>
                  <a:pt x="45" y="50"/>
                </a:cubicBezTo>
                <a:cubicBezTo>
                  <a:pt x="45" y="51"/>
                  <a:pt x="46" y="51"/>
                  <a:pt x="45" y="51"/>
                </a:cubicBezTo>
                <a:cubicBezTo>
                  <a:pt x="45" y="51"/>
                  <a:pt x="45" y="51"/>
                  <a:pt x="44" y="51"/>
                </a:cubicBezTo>
                <a:cubicBezTo>
                  <a:pt x="44" y="51"/>
                  <a:pt x="44" y="51"/>
                  <a:pt x="44" y="51"/>
                </a:cubicBezTo>
                <a:cubicBezTo>
                  <a:pt x="43" y="51"/>
                  <a:pt x="43" y="51"/>
                  <a:pt x="43" y="51"/>
                </a:cubicBezTo>
                <a:cubicBezTo>
                  <a:pt x="43" y="51"/>
                  <a:pt x="43" y="51"/>
                  <a:pt x="43" y="51"/>
                </a:cubicBezTo>
                <a:cubicBezTo>
                  <a:pt x="42" y="50"/>
                  <a:pt x="42" y="50"/>
                  <a:pt x="41" y="51"/>
                </a:cubicBezTo>
                <a:cubicBezTo>
                  <a:pt x="41" y="51"/>
                  <a:pt x="40" y="51"/>
                  <a:pt x="40" y="51"/>
                </a:cubicBezTo>
                <a:cubicBezTo>
                  <a:pt x="39" y="51"/>
                  <a:pt x="39" y="52"/>
                  <a:pt x="38" y="52"/>
                </a:cubicBezTo>
                <a:cubicBezTo>
                  <a:pt x="38" y="52"/>
                  <a:pt x="37" y="52"/>
                  <a:pt x="36" y="52"/>
                </a:cubicBezTo>
                <a:cubicBezTo>
                  <a:pt x="36" y="54"/>
                  <a:pt x="36" y="56"/>
                  <a:pt x="36" y="57"/>
                </a:cubicBezTo>
                <a:cubicBezTo>
                  <a:pt x="36" y="59"/>
                  <a:pt x="36" y="60"/>
                  <a:pt x="38" y="62"/>
                </a:cubicBezTo>
                <a:cubicBezTo>
                  <a:pt x="38" y="62"/>
                  <a:pt x="39" y="62"/>
                  <a:pt x="39" y="63"/>
                </a:cubicBezTo>
                <a:cubicBezTo>
                  <a:pt x="39" y="63"/>
                  <a:pt x="40" y="63"/>
                  <a:pt x="41" y="64"/>
                </a:cubicBezTo>
                <a:cubicBezTo>
                  <a:pt x="41" y="65"/>
                  <a:pt x="41" y="65"/>
                  <a:pt x="41" y="66"/>
                </a:cubicBezTo>
                <a:cubicBezTo>
                  <a:pt x="41" y="67"/>
                  <a:pt x="41" y="67"/>
                  <a:pt x="41" y="68"/>
                </a:cubicBezTo>
                <a:cubicBezTo>
                  <a:pt x="41" y="68"/>
                  <a:pt x="42" y="69"/>
                  <a:pt x="42" y="69"/>
                </a:cubicBezTo>
                <a:cubicBezTo>
                  <a:pt x="43" y="69"/>
                  <a:pt x="42" y="70"/>
                  <a:pt x="43" y="71"/>
                </a:cubicBezTo>
                <a:cubicBezTo>
                  <a:pt x="43" y="72"/>
                  <a:pt x="43" y="73"/>
                  <a:pt x="42" y="75"/>
                </a:cubicBezTo>
                <a:cubicBezTo>
                  <a:pt x="42" y="76"/>
                  <a:pt x="42" y="78"/>
                  <a:pt x="42" y="80"/>
                </a:cubicBezTo>
                <a:cubicBezTo>
                  <a:pt x="41" y="81"/>
                  <a:pt x="41" y="83"/>
                  <a:pt x="41" y="84"/>
                </a:cubicBezTo>
                <a:cubicBezTo>
                  <a:pt x="41" y="87"/>
                  <a:pt x="40" y="90"/>
                  <a:pt x="40" y="92"/>
                </a:cubicBezTo>
                <a:cubicBezTo>
                  <a:pt x="40" y="94"/>
                  <a:pt x="40" y="96"/>
                  <a:pt x="39" y="97"/>
                </a:cubicBezTo>
                <a:cubicBezTo>
                  <a:pt x="39" y="100"/>
                  <a:pt x="39" y="102"/>
                  <a:pt x="38" y="104"/>
                </a:cubicBezTo>
                <a:cubicBezTo>
                  <a:pt x="38" y="105"/>
                  <a:pt x="38" y="107"/>
                  <a:pt x="37" y="105"/>
                </a:cubicBezTo>
                <a:cubicBezTo>
                  <a:pt x="36" y="104"/>
                  <a:pt x="36" y="106"/>
                  <a:pt x="36" y="106"/>
                </a:cubicBezTo>
                <a:cubicBezTo>
                  <a:pt x="35" y="105"/>
                  <a:pt x="35" y="105"/>
                  <a:pt x="35" y="104"/>
                </a:cubicBezTo>
                <a:cubicBezTo>
                  <a:pt x="35" y="104"/>
                  <a:pt x="34" y="104"/>
                  <a:pt x="34" y="104"/>
                </a:cubicBezTo>
                <a:cubicBezTo>
                  <a:pt x="34" y="104"/>
                  <a:pt x="33" y="104"/>
                  <a:pt x="33" y="104"/>
                </a:cubicBezTo>
                <a:cubicBezTo>
                  <a:pt x="32" y="103"/>
                  <a:pt x="32" y="104"/>
                  <a:pt x="32" y="104"/>
                </a:cubicBezTo>
                <a:cubicBezTo>
                  <a:pt x="32" y="104"/>
                  <a:pt x="31" y="103"/>
                  <a:pt x="31" y="104"/>
                </a:cubicBezTo>
                <a:cubicBezTo>
                  <a:pt x="31" y="104"/>
                  <a:pt x="30" y="104"/>
                  <a:pt x="30" y="104"/>
                </a:cubicBezTo>
                <a:cubicBezTo>
                  <a:pt x="30" y="104"/>
                  <a:pt x="28" y="107"/>
                  <a:pt x="28" y="106"/>
                </a:cubicBezTo>
                <a:cubicBezTo>
                  <a:pt x="28" y="107"/>
                  <a:pt x="27" y="106"/>
                  <a:pt x="27" y="106"/>
                </a:cubicBezTo>
                <a:cubicBezTo>
                  <a:pt x="27" y="107"/>
                  <a:pt x="26" y="106"/>
                  <a:pt x="26" y="106"/>
                </a:cubicBezTo>
                <a:cubicBezTo>
                  <a:pt x="26" y="107"/>
                  <a:pt x="26" y="106"/>
                  <a:pt x="25" y="106"/>
                </a:cubicBezTo>
                <a:cubicBezTo>
                  <a:pt x="25" y="106"/>
                  <a:pt x="25" y="107"/>
                  <a:pt x="25" y="107"/>
                </a:cubicBezTo>
                <a:cubicBezTo>
                  <a:pt x="24" y="107"/>
                  <a:pt x="24" y="107"/>
                  <a:pt x="23" y="107"/>
                </a:cubicBezTo>
                <a:cubicBezTo>
                  <a:pt x="23" y="108"/>
                  <a:pt x="22" y="108"/>
                  <a:pt x="22" y="108"/>
                </a:cubicBezTo>
                <a:cubicBezTo>
                  <a:pt x="21" y="108"/>
                  <a:pt x="21" y="107"/>
                  <a:pt x="20" y="108"/>
                </a:cubicBezTo>
                <a:cubicBezTo>
                  <a:pt x="20" y="108"/>
                  <a:pt x="20" y="108"/>
                  <a:pt x="19" y="108"/>
                </a:cubicBezTo>
                <a:cubicBezTo>
                  <a:pt x="19" y="108"/>
                  <a:pt x="18" y="109"/>
                  <a:pt x="18" y="109"/>
                </a:cubicBezTo>
                <a:cubicBezTo>
                  <a:pt x="17" y="109"/>
                  <a:pt x="17" y="110"/>
                  <a:pt x="17" y="110"/>
                </a:cubicBezTo>
                <a:cubicBezTo>
                  <a:pt x="16" y="110"/>
                  <a:pt x="15" y="110"/>
                  <a:pt x="15" y="111"/>
                </a:cubicBezTo>
                <a:cubicBezTo>
                  <a:pt x="15" y="111"/>
                  <a:pt x="15" y="112"/>
                  <a:pt x="15" y="112"/>
                </a:cubicBezTo>
                <a:cubicBezTo>
                  <a:pt x="14" y="112"/>
                  <a:pt x="14" y="113"/>
                  <a:pt x="13" y="113"/>
                </a:cubicBezTo>
                <a:cubicBezTo>
                  <a:pt x="13" y="113"/>
                  <a:pt x="13" y="114"/>
                  <a:pt x="12" y="114"/>
                </a:cubicBezTo>
                <a:cubicBezTo>
                  <a:pt x="12" y="114"/>
                  <a:pt x="11" y="114"/>
                  <a:pt x="11" y="114"/>
                </a:cubicBezTo>
                <a:cubicBezTo>
                  <a:pt x="11" y="114"/>
                  <a:pt x="10" y="115"/>
                  <a:pt x="10" y="115"/>
                </a:cubicBezTo>
                <a:cubicBezTo>
                  <a:pt x="10" y="115"/>
                  <a:pt x="10" y="116"/>
                  <a:pt x="10" y="116"/>
                </a:cubicBezTo>
                <a:cubicBezTo>
                  <a:pt x="10" y="116"/>
                  <a:pt x="10" y="117"/>
                  <a:pt x="10" y="117"/>
                </a:cubicBezTo>
                <a:cubicBezTo>
                  <a:pt x="10" y="118"/>
                  <a:pt x="10" y="119"/>
                  <a:pt x="9" y="120"/>
                </a:cubicBezTo>
                <a:cubicBezTo>
                  <a:pt x="9" y="121"/>
                  <a:pt x="8" y="122"/>
                  <a:pt x="8" y="124"/>
                </a:cubicBezTo>
                <a:cubicBezTo>
                  <a:pt x="7" y="124"/>
                  <a:pt x="7" y="125"/>
                  <a:pt x="7" y="126"/>
                </a:cubicBezTo>
                <a:cubicBezTo>
                  <a:pt x="8" y="127"/>
                  <a:pt x="8" y="127"/>
                  <a:pt x="8" y="128"/>
                </a:cubicBezTo>
                <a:cubicBezTo>
                  <a:pt x="8" y="129"/>
                  <a:pt x="8" y="129"/>
                  <a:pt x="8" y="130"/>
                </a:cubicBezTo>
                <a:cubicBezTo>
                  <a:pt x="7" y="131"/>
                  <a:pt x="7" y="130"/>
                  <a:pt x="6" y="131"/>
                </a:cubicBezTo>
                <a:cubicBezTo>
                  <a:pt x="6" y="131"/>
                  <a:pt x="5" y="131"/>
                  <a:pt x="5" y="132"/>
                </a:cubicBezTo>
                <a:cubicBezTo>
                  <a:pt x="4" y="132"/>
                  <a:pt x="3" y="133"/>
                  <a:pt x="3" y="133"/>
                </a:cubicBezTo>
                <a:cubicBezTo>
                  <a:pt x="2" y="134"/>
                  <a:pt x="2" y="136"/>
                  <a:pt x="2" y="137"/>
                </a:cubicBezTo>
                <a:cubicBezTo>
                  <a:pt x="2" y="137"/>
                  <a:pt x="3" y="138"/>
                  <a:pt x="3" y="138"/>
                </a:cubicBezTo>
                <a:cubicBezTo>
                  <a:pt x="3" y="139"/>
                  <a:pt x="2" y="139"/>
                  <a:pt x="2" y="139"/>
                </a:cubicBezTo>
                <a:cubicBezTo>
                  <a:pt x="1" y="139"/>
                  <a:pt x="1" y="139"/>
                  <a:pt x="1" y="139"/>
                </a:cubicBezTo>
                <a:cubicBezTo>
                  <a:pt x="1" y="139"/>
                  <a:pt x="1" y="139"/>
                  <a:pt x="1" y="139"/>
                </a:cubicBezTo>
                <a:cubicBezTo>
                  <a:pt x="0" y="139"/>
                  <a:pt x="1" y="140"/>
                  <a:pt x="1" y="140"/>
                </a:cubicBezTo>
                <a:cubicBezTo>
                  <a:pt x="1" y="141"/>
                  <a:pt x="0" y="141"/>
                  <a:pt x="0" y="141"/>
                </a:cubicBezTo>
                <a:cubicBezTo>
                  <a:pt x="0" y="142"/>
                  <a:pt x="1" y="142"/>
                  <a:pt x="1" y="142"/>
                </a:cubicBezTo>
                <a:cubicBezTo>
                  <a:pt x="2" y="143"/>
                  <a:pt x="2" y="143"/>
                  <a:pt x="3" y="143"/>
                </a:cubicBezTo>
                <a:cubicBezTo>
                  <a:pt x="3" y="144"/>
                  <a:pt x="4" y="144"/>
                  <a:pt x="3" y="144"/>
                </a:cubicBezTo>
                <a:cubicBezTo>
                  <a:pt x="3" y="145"/>
                  <a:pt x="2" y="145"/>
                  <a:pt x="3" y="146"/>
                </a:cubicBezTo>
                <a:cubicBezTo>
                  <a:pt x="3" y="146"/>
                  <a:pt x="4" y="146"/>
                  <a:pt x="4" y="147"/>
                </a:cubicBezTo>
                <a:cubicBezTo>
                  <a:pt x="4" y="147"/>
                  <a:pt x="5" y="147"/>
                  <a:pt x="5" y="148"/>
                </a:cubicBezTo>
                <a:cubicBezTo>
                  <a:pt x="5" y="148"/>
                  <a:pt x="4" y="148"/>
                  <a:pt x="5" y="149"/>
                </a:cubicBezTo>
                <a:cubicBezTo>
                  <a:pt x="5" y="149"/>
                  <a:pt x="5" y="150"/>
                  <a:pt x="5" y="150"/>
                </a:cubicBezTo>
                <a:cubicBezTo>
                  <a:pt x="6" y="151"/>
                  <a:pt x="7" y="151"/>
                  <a:pt x="7" y="152"/>
                </a:cubicBezTo>
                <a:cubicBezTo>
                  <a:pt x="7" y="152"/>
                  <a:pt x="7" y="153"/>
                  <a:pt x="7" y="153"/>
                </a:cubicBezTo>
                <a:cubicBezTo>
                  <a:pt x="8" y="153"/>
                  <a:pt x="8" y="154"/>
                  <a:pt x="9" y="154"/>
                </a:cubicBezTo>
                <a:cubicBezTo>
                  <a:pt x="9" y="154"/>
                  <a:pt x="9" y="155"/>
                  <a:pt x="10" y="155"/>
                </a:cubicBezTo>
                <a:cubicBezTo>
                  <a:pt x="10" y="156"/>
                  <a:pt x="11" y="156"/>
                  <a:pt x="11" y="157"/>
                </a:cubicBezTo>
                <a:cubicBezTo>
                  <a:pt x="11" y="158"/>
                  <a:pt x="12" y="159"/>
                  <a:pt x="11" y="159"/>
                </a:cubicBezTo>
                <a:cubicBezTo>
                  <a:pt x="11" y="159"/>
                  <a:pt x="11" y="159"/>
                  <a:pt x="11" y="159"/>
                </a:cubicBezTo>
                <a:cubicBezTo>
                  <a:pt x="11" y="160"/>
                  <a:pt x="10" y="160"/>
                  <a:pt x="10" y="160"/>
                </a:cubicBezTo>
                <a:cubicBezTo>
                  <a:pt x="10" y="160"/>
                  <a:pt x="10" y="161"/>
                  <a:pt x="10" y="161"/>
                </a:cubicBezTo>
                <a:cubicBezTo>
                  <a:pt x="9" y="161"/>
                  <a:pt x="9" y="161"/>
                  <a:pt x="9" y="162"/>
                </a:cubicBezTo>
                <a:cubicBezTo>
                  <a:pt x="11" y="162"/>
                  <a:pt x="13" y="162"/>
                  <a:pt x="14" y="162"/>
                </a:cubicBezTo>
                <a:cubicBezTo>
                  <a:pt x="15" y="162"/>
                  <a:pt x="17" y="162"/>
                  <a:pt x="18" y="163"/>
                </a:cubicBezTo>
                <a:cubicBezTo>
                  <a:pt x="19" y="164"/>
                  <a:pt x="18" y="165"/>
                  <a:pt x="19" y="166"/>
                </a:cubicBezTo>
                <a:cubicBezTo>
                  <a:pt x="19" y="166"/>
                  <a:pt x="20" y="167"/>
                  <a:pt x="19" y="168"/>
                </a:cubicBezTo>
                <a:cubicBezTo>
                  <a:pt x="20" y="168"/>
                  <a:pt x="21" y="168"/>
                  <a:pt x="22" y="168"/>
                </a:cubicBezTo>
                <a:cubicBezTo>
                  <a:pt x="24" y="168"/>
                  <a:pt x="25" y="168"/>
                  <a:pt x="26" y="168"/>
                </a:cubicBezTo>
                <a:cubicBezTo>
                  <a:pt x="27" y="168"/>
                  <a:pt x="27" y="168"/>
                  <a:pt x="27" y="168"/>
                </a:cubicBezTo>
                <a:cubicBezTo>
                  <a:pt x="27" y="168"/>
                  <a:pt x="27" y="168"/>
                  <a:pt x="27" y="168"/>
                </a:cubicBezTo>
                <a:cubicBezTo>
                  <a:pt x="28" y="168"/>
                  <a:pt x="28" y="168"/>
                  <a:pt x="28" y="168"/>
                </a:cubicBezTo>
                <a:cubicBezTo>
                  <a:pt x="29" y="168"/>
                  <a:pt x="29" y="167"/>
                  <a:pt x="29" y="167"/>
                </a:cubicBezTo>
                <a:cubicBezTo>
                  <a:pt x="30" y="166"/>
                  <a:pt x="30" y="166"/>
                  <a:pt x="31" y="166"/>
                </a:cubicBezTo>
                <a:cubicBezTo>
                  <a:pt x="31" y="166"/>
                  <a:pt x="31" y="165"/>
                  <a:pt x="32" y="165"/>
                </a:cubicBezTo>
                <a:cubicBezTo>
                  <a:pt x="32" y="164"/>
                  <a:pt x="33" y="164"/>
                  <a:pt x="33" y="163"/>
                </a:cubicBezTo>
                <a:cubicBezTo>
                  <a:pt x="33" y="163"/>
                  <a:pt x="35" y="162"/>
                  <a:pt x="35" y="162"/>
                </a:cubicBezTo>
                <a:cubicBezTo>
                  <a:pt x="35" y="162"/>
                  <a:pt x="35" y="164"/>
                  <a:pt x="34" y="163"/>
                </a:cubicBezTo>
                <a:cubicBezTo>
                  <a:pt x="35" y="164"/>
                  <a:pt x="35" y="164"/>
                  <a:pt x="35" y="165"/>
                </a:cubicBezTo>
                <a:cubicBezTo>
                  <a:pt x="35" y="165"/>
                  <a:pt x="35" y="166"/>
                  <a:pt x="35" y="166"/>
                </a:cubicBezTo>
                <a:cubicBezTo>
                  <a:pt x="34" y="166"/>
                  <a:pt x="34" y="169"/>
                  <a:pt x="34" y="170"/>
                </a:cubicBezTo>
                <a:cubicBezTo>
                  <a:pt x="35" y="173"/>
                  <a:pt x="35" y="176"/>
                  <a:pt x="35" y="179"/>
                </a:cubicBezTo>
                <a:cubicBezTo>
                  <a:pt x="35" y="179"/>
                  <a:pt x="36" y="178"/>
                  <a:pt x="36" y="179"/>
                </a:cubicBezTo>
                <a:cubicBezTo>
                  <a:pt x="37" y="179"/>
                  <a:pt x="37" y="180"/>
                  <a:pt x="38" y="180"/>
                </a:cubicBezTo>
                <a:cubicBezTo>
                  <a:pt x="39" y="180"/>
                  <a:pt x="40" y="179"/>
                  <a:pt x="41" y="179"/>
                </a:cubicBezTo>
                <a:cubicBezTo>
                  <a:pt x="42" y="178"/>
                  <a:pt x="43" y="179"/>
                  <a:pt x="44" y="179"/>
                </a:cubicBezTo>
                <a:cubicBezTo>
                  <a:pt x="46" y="179"/>
                  <a:pt x="47" y="178"/>
                  <a:pt x="49" y="179"/>
                </a:cubicBezTo>
                <a:cubicBezTo>
                  <a:pt x="49" y="179"/>
                  <a:pt x="50" y="179"/>
                  <a:pt x="51" y="179"/>
                </a:cubicBezTo>
                <a:cubicBezTo>
                  <a:pt x="51" y="179"/>
                  <a:pt x="52" y="179"/>
                  <a:pt x="52" y="179"/>
                </a:cubicBezTo>
                <a:cubicBezTo>
                  <a:pt x="52" y="179"/>
                  <a:pt x="53" y="179"/>
                  <a:pt x="53" y="179"/>
                </a:cubicBezTo>
                <a:cubicBezTo>
                  <a:pt x="53" y="180"/>
                  <a:pt x="52" y="180"/>
                  <a:pt x="53" y="181"/>
                </a:cubicBezTo>
                <a:cubicBezTo>
                  <a:pt x="54" y="181"/>
                  <a:pt x="54" y="181"/>
                  <a:pt x="55" y="180"/>
                </a:cubicBezTo>
                <a:cubicBezTo>
                  <a:pt x="55" y="180"/>
                  <a:pt x="56" y="180"/>
                  <a:pt x="56" y="180"/>
                </a:cubicBezTo>
                <a:cubicBezTo>
                  <a:pt x="57" y="180"/>
                  <a:pt x="57" y="179"/>
                  <a:pt x="58" y="179"/>
                </a:cubicBezTo>
                <a:cubicBezTo>
                  <a:pt x="58" y="178"/>
                  <a:pt x="59" y="176"/>
                  <a:pt x="60" y="176"/>
                </a:cubicBezTo>
                <a:cubicBezTo>
                  <a:pt x="60" y="175"/>
                  <a:pt x="61" y="175"/>
                  <a:pt x="62" y="175"/>
                </a:cubicBezTo>
                <a:cubicBezTo>
                  <a:pt x="62" y="176"/>
                  <a:pt x="63" y="176"/>
                  <a:pt x="63" y="176"/>
                </a:cubicBezTo>
                <a:cubicBezTo>
                  <a:pt x="64" y="175"/>
                  <a:pt x="64" y="174"/>
                  <a:pt x="65" y="173"/>
                </a:cubicBezTo>
                <a:cubicBezTo>
                  <a:pt x="65" y="173"/>
                  <a:pt x="65" y="172"/>
                  <a:pt x="66" y="172"/>
                </a:cubicBezTo>
                <a:cubicBezTo>
                  <a:pt x="67" y="172"/>
                  <a:pt x="66" y="172"/>
                  <a:pt x="67" y="172"/>
                </a:cubicBezTo>
                <a:cubicBezTo>
                  <a:pt x="68" y="172"/>
                  <a:pt x="68" y="172"/>
                  <a:pt x="68" y="171"/>
                </a:cubicBezTo>
                <a:cubicBezTo>
                  <a:pt x="69" y="171"/>
                  <a:pt x="69" y="171"/>
                  <a:pt x="70" y="170"/>
                </a:cubicBezTo>
                <a:cubicBezTo>
                  <a:pt x="70" y="170"/>
                  <a:pt x="70" y="169"/>
                  <a:pt x="71" y="169"/>
                </a:cubicBezTo>
                <a:cubicBezTo>
                  <a:pt x="71" y="168"/>
                  <a:pt x="72" y="168"/>
                  <a:pt x="73" y="167"/>
                </a:cubicBezTo>
                <a:cubicBezTo>
                  <a:pt x="73" y="167"/>
                  <a:pt x="74" y="167"/>
                  <a:pt x="74" y="167"/>
                </a:cubicBezTo>
                <a:cubicBezTo>
                  <a:pt x="75" y="167"/>
                  <a:pt x="75" y="167"/>
                  <a:pt x="76" y="166"/>
                </a:cubicBezTo>
                <a:cubicBezTo>
                  <a:pt x="76" y="166"/>
                  <a:pt x="77" y="166"/>
                  <a:pt x="78" y="166"/>
                </a:cubicBezTo>
                <a:cubicBezTo>
                  <a:pt x="78" y="166"/>
                  <a:pt x="78" y="166"/>
                  <a:pt x="78" y="166"/>
                </a:cubicBezTo>
                <a:cubicBezTo>
                  <a:pt x="79" y="166"/>
                  <a:pt x="78" y="166"/>
                  <a:pt x="79" y="166"/>
                </a:cubicBezTo>
                <a:cubicBezTo>
                  <a:pt x="79" y="166"/>
                  <a:pt x="80" y="166"/>
                  <a:pt x="80" y="166"/>
                </a:cubicBezTo>
                <a:cubicBezTo>
                  <a:pt x="80" y="166"/>
                  <a:pt x="81" y="166"/>
                  <a:pt x="81" y="166"/>
                </a:cubicBezTo>
                <a:cubicBezTo>
                  <a:pt x="81" y="166"/>
                  <a:pt x="81" y="165"/>
                  <a:pt x="81" y="165"/>
                </a:cubicBezTo>
                <a:cubicBezTo>
                  <a:pt x="81" y="166"/>
                  <a:pt x="82" y="165"/>
                  <a:pt x="82" y="165"/>
                </a:cubicBezTo>
                <a:cubicBezTo>
                  <a:pt x="82" y="166"/>
                  <a:pt x="82" y="166"/>
                  <a:pt x="82" y="166"/>
                </a:cubicBezTo>
                <a:cubicBezTo>
                  <a:pt x="82" y="166"/>
                  <a:pt x="82" y="166"/>
                  <a:pt x="83" y="166"/>
                </a:cubicBezTo>
                <a:cubicBezTo>
                  <a:pt x="83" y="167"/>
                  <a:pt x="84" y="166"/>
                  <a:pt x="84" y="165"/>
                </a:cubicBezTo>
                <a:cubicBezTo>
                  <a:pt x="85" y="164"/>
                  <a:pt x="85" y="165"/>
                  <a:pt x="85" y="166"/>
                </a:cubicBezTo>
                <a:cubicBezTo>
                  <a:pt x="86" y="167"/>
                  <a:pt x="85" y="167"/>
                  <a:pt x="85" y="168"/>
                </a:cubicBezTo>
                <a:cubicBezTo>
                  <a:pt x="86" y="169"/>
                  <a:pt x="86" y="170"/>
                  <a:pt x="86" y="171"/>
                </a:cubicBezTo>
                <a:cubicBezTo>
                  <a:pt x="86" y="172"/>
                  <a:pt x="85" y="172"/>
                  <a:pt x="85" y="172"/>
                </a:cubicBezTo>
                <a:cubicBezTo>
                  <a:pt x="85" y="173"/>
                  <a:pt x="85" y="173"/>
                  <a:pt x="85" y="173"/>
                </a:cubicBezTo>
                <a:cubicBezTo>
                  <a:pt x="85" y="173"/>
                  <a:pt x="85" y="175"/>
                  <a:pt x="85" y="175"/>
                </a:cubicBezTo>
                <a:cubicBezTo>
                  <a:pt x="85" y="175"/>
                  <a:pt x="86" y="175"/>
                  <a:pt x="86" y="176"/>
                </a:cubicBezTo>
                <a:cubicBezTo>
                  <a:pt x="85" y="176"/>
                  <a:pt x="85" y="177"/>
                  <a:pt x="85" y="177"/>
                </a:cubicBezTo>
                <a:cubicBezTo>
                  <a:pt x="85" y="177"/>
                  <a:pt x="86" y="177"/>
                  <a:pt x="86" y="177"/>
                </a:cubicBezTo>
                <a:cubicBezTo>
                  <a:pt x="86" y="178"/>
                  <a:pt x="86" y="178"/>
                  <a:pt x="86" y="179"/>
                </a:cubicBezTo>
                <a:cubicBezTo>
                  <a:pt x="86" y="179"/>
                  <a:pt x="86" y="180"/>
                  <a:pt x="86" y="180"/>
                </a:cubicBezTo>
                <a:cubicBezTo>
                  <a:pt x="86" y="181"/>
                  <a:pt x="86" y="181"/>
                  <a:pt x="86" y="181"/>
                </a:cubicBezTo>
                <a:cubicBezTo>
                  <a:pt x="86" y="182"/>
                  <a:pt x="86" y="182"/>
                  <a:pt x="86" y="182"/>
                </a:cubicBezTo>
                <a:cubicBezTo>
                  <a:pt x="87" y="183"/>
                  <a:pt x="86" y="183"/>
                  <a:pt x="86" y="184"/>
                </a:cubicBezTo>
                <a:cubicBezTo>
                  <a:pt x="87" y="185"/>
                  <a:pt x="87" y="185"/>
                  <a:pt x="88" y="185"/>
                </a:cubicBezTo>
                <a:cubicBezTo>
                  <a:pt x="88" y="186"/>
                  <a:pt x="88" y="186"/>
                  <a:pt x="88" y="186"/>
                </a:cubicBezTo>
                <a:cubicBezTo>
                  <a:pt x="88" y="187"/>
                  <a:pt x="88" y="187"/>
                  <a:pt x="88" y="188"/>
                </a:cubicBezTo>
                <a:cubicBezTo>
                  <a:pt x="89" y="188"/>
                  <a:pt x="89" y="187"/>
                  <a:pt x="89" y="187"/>
                </a:cubicBezTo>
                <a:cubicBezTo>
                  <a:pt x="89" y="187"/>
                  <a:pt x="89" y="188"/>
                  <a:pt x="89" y="188"/>
                </a:cubicBezTo>
                <a:cubicBezTo>
                  <a:pt x="90" y="188"/>
                  <a:pt x="90" y="189"/>
                  <a:pt x="90" y="189"/>
                </a:cubicBezTo>
                <a:cubicBezTo>
                  <a:pt x="90" y="190"/>
                  <a:pt x="90" y="190"/>
                  <a:pt x="90" y="190"/>
                </a:cubicBezTo>
                <a:cubicBezTo>
                  <a:pt x="90" y="191"/>
                  <a:pt x="91" y="190"/>
                  <a:pt x="92" y="191"/>
                </a:cubicBezTo>
                <a:cubicBezTo>
                  <a:pt x="92" y="191"/>
                  <a:pt x="93" y="192"/>
                  <a:pt x="93" y="192"/>
                </a:cubicBezTo>
                <a:cubicBezTo>
                  <a:pt x="93" y="191"/>
                  <a:pt x="93" y="192"/>
                  <a:pt x="93" y="191"/>
                </a:cubicBezTo>
                <a:cubicBezTo>
                  <a:pt x="93" y="192"/>
                  <a:pt x="94" y="193"/>
                  <a:pt x="95" y="193"/>
                </a:cubicBezTo>
                <a:cubicBezTo>
                  <a:pt x="96" y="193"/>
                  <a:pt x="95" y="194"/>
                  <a:pt x="95" y="194"/>
                </a:cubicBezTo>
                <a:cubicBezTo>
                  <a:pt x="96" y="195"/>
                  <a:pt x="97" y="195"/>
                  <a:pt x="97" y="195"/>
                </a:cubicBezTo>
                <a:cubicBezTo>
                  <a:pt x="97" y="196"/>
                  <a:pt x="98" y="195"/>
                  <a:pt x="98" y="195"/>
                </a:cubicBezTo>
                <a:cubicBezTo>
                  <a:pt x="98" y="195"/>
                  <a:pt x="99" y="196"/>
                  <a:pt x="99" y="196"/>
                </a:cubicBezTo>
                <a:cubicBezTo>
                  <a:pt x="99" y="195"/>
                  <a:pt x="100" y="196"/>
                  <a:pt x="100" y="196"/>
                </a:cubicBezTo>
                <a:cubicBezTo>
                  <a:pt x="101" y="196"/>
                  <a:pt x="101" y="196"/>
                  <a:pt x="102" y="195"/>
                </a:cubicBezTo>
                <a:cubicBezTo>
                  <a:pt x="102" y="195"/>
                  <a:pt x="103" y="195"/>
                  <a:pt x="104" y="196"/>
                </a:cubicBezTo>
                <a:cubicBezTo>
                  <a:pt x="104" y="196"/>
                  <a:pt x="105" y="196"/>
                  <a:pt x="105" y="197"/>
                </a:cubicBezTo>
                <a:cubicBezTo>
                  <a:pt x="106" y="197"/>
                  <a:pt x="106" y="198"/>
                  <a:pt x="107" y="198"/>
                </a:cubicBezTo>
                <a:cubicBezTo>
                  <a:pt x="108" y="198"/>
                  <a:pt x="108" y="197"/>
                  <a:pt x="109" y="197"/>
                </a:cubicBezTo>
                <a:cubicBezTo>
                  <a:pt x="109" y="197"/>
                  <a:pt x="109" y="198"/>
                  <a:pt x="110" y="198"/>
                </a:cubicBezTo>
                <a:cubicBezTo>
                  <a:pt x="110" y="199"/>
                  <a:pt x="110" y="199"/>
                  <a:pt x="110" y="199"/>
                </a:cubicBezTo>
                <a:cubicBezTo>
                  <a:pt x="110" y="200"/>
                  <a:pt x="110" y="199"/>
                  <a:pt x="111" y="200"/>
                </a:cubicBezTo>
                <a:cubicBezTo>
                  <a:pt x="111" y="200"/>
                  <a:pt x="112" y="201"/>
                  <a:pt x="112" y="201"/>
                </a:cubicBezTo>
                <a:cubicBezTo>
                  <a:pt x="112" y="201"/>
                  <a:pt x="113" y="201"/>
                  <a:pt x="113" y="201"/>
                </a:cubicBezTo>
                <a:cubicBezTo>
                  <a:pt x="114" y="201"/>
                  <a:pt x="114" y="202"/>
                  <a:pt x="114" y="202"/>
                </a:cubicBezTo>
                <a:cubicBezTo>
                  <a:pt x="115" y="202"/>
                  <a:pt x="115" y="202"/>
                  <a:pt x="116" y="202"/>
                </a:cubicBezTo>
                <a:cubicBezTo>
                  <a:pt x="116" y="203"/>
                  <a:pt x="117" y="203"/>
                  <a:pt x="118" y="202"/>
                </a:cubicBezTo>
                <a:cubicBezTo>
                  <a:pt x="119" y="202"/>
                  <a:pt x="119" y="203"/>
                  <a:pt x="119" y="204"/>
                </a:cubicBezTo>
                <a:cubicBezTo>
                  <a:pt x="119" y="204"/>
                  <a:pt x="120" y="205"/>
                  <a:pt x="120" y="205"/>
                </a:cubicBezTo>
                <a:cubicBezTo>
                  <a:pt x="121" y="206"/>
                  <a:pt x="121" y="206"/>
                  <a:pt x="122" y="207"/>
                </a:cubicBezTo>
                <a:cubicBezTo>
                  <a:pt x="122" y="207"/>
                  <a:pt x="123" y="207"/>
                  <a:pt x="123" y="207"/>
                </a:cubicBezTo>
                <a:cubicBezTo>
                  <a:pt x="124" y="206"/>
                  <a:pt x="124" y="207"/>
                  <a:pt x="125" y="207"/>
                </a:cubicBezTo>
                <a:cubicBezTo>
                  <a:pt x="126" y="207"/>
                  <a:pt x="126" y="207"/>
                  <a:pt x="127" y="207"/>
                </a:cubicBezTo>
                <a:cubicBezTo>
                  <a:pt x="127" y="207"/>
                  <a:pt x="128" y="207"/>
                  <a:pt x="128" y="207"/>
                </a:cubicBezTo>
                <a:cubicBezTo>
                  <a:pt x="129" y="207"/>
                  <a:pt x="129" y="206"/>
                  <a:pt x="129" y="206"/>
                </a:cubicBezTo>
                <a:cubicBezTo>
                  <a:pt x="129" y="206"/>
                  <a:pt x="129" y="207"/>
                  <a:pt x="129" y="207"/>
                </a:cubicBezTo>
                <a:cubicBezTo>
                  <a:pt x="130" y="207"/>
                  <a:pt x="131" y="208"/>
                  <a:pt x="131" y="208"/>
                </a:cubicBezTo>
                <a:cubicBezTo>
                  <a:pt x="132" y="209"/>
                  <a:pt x="133" y="209"/>
                  <a:pt x="134" y="209"/>
                </a:cubicBezTo>
                <a:cubicBezTo>
                  <a:pt x="134" y="210"/>
                  <a:pt x="135" y="210"/>
                  <a:pt x="135" y="210"/>
                </a:cubicBezTo>
                <a:cubicBezTo>
                  <a:pt x="135" y="211"/>
                  <a:pt x="136" y="212"/>
                  <a:pt x="136" y="212"/>
                </a:cubicBezTo>
                <a:cubicBezTo>
                  <a:pt x="136" y="213"/>
                  <a:pt x="135" y="213"/>
                  <a:pt x="135" y="214"/>
                </a:cubicBezTo>
                <a:cubicBezTo>
                  <a:pt x="136" y="215"/>
                  <a:pt x="136" y="216"/>
                  <a:pt x="136" y="217"/>
                </a:cubicBezTo>
                <a:cubicBezTo>
                  <a:pt x="137" y="217"/>
                  <a:pt x="137" y="218"/>
                  <a:pt x="137" y="219"/>
                </a:cubicBezTo>
                <a:cubicBezTo>
                  <a:pt x="138" y="220"/>
                  <a:pt x="138" y="220"/>
                  <a:pt x="138" y="221"/>
                </a:cubicBezTo>
                <a:cubicBezTo>
                  <a:pt x="138" y="222"/>
                  <a:pt x="138" y="223"/>
                  <a:pt x="138" y="224"/>
                </a:cubicBezTo>
                <a:cubicBezTo>
                  <a:pt x="138" y="225"/>
                  <a:pt x="136" y="224"/>
                  <a:pt x="135" y="224"/>
                </a:cubicBezTo>
                <a:cubicBezTo>
                  <a:pt x="136" y="225"/>
                  <a:pt x="137" y="226"/>
                  <a:pt x="138" y="227"/>
                </a:cubicBezTo>
                <a:cubicBezTo>
                  <a:pt x="139" y="228"/>
                  <a:pt x="139" y="229"/>
                  <a:pt x="139" y="230"/>
                </a:cubicBezTo>
                <a:cubicBezTo>
                  <a:pt x="140" y="231"/>
                  <a:pt x="140" y="233"/>
                  <a:pt x="140" y="234"/>
                </a:cubicBezTo>
                <a:cubicBezTo>
                  <a:pt x="140" y="235"/>
                  <a:pt x="140" y="237"/>
                  <a:pt x="141" y="237"/>
                </a:cubicBezTo>
                <a:cubicBezTo>
                  <a:pt x="144" y="237"/>
                  <a:pt x="146" y="237"/>
                  <a:pt x="149" y="237"/>
                </a:cubicBezTo>
                <a:cubicBezTo>
                  <a:pt x="151" y="237"/>
                  <a:pt x="152" y="237"/>
                  <a:pt x="153" y="238"/>
                </a:cubicBezTo>
                <a:cubicBezTo>
                  <a:pt x="154" y="238"/>
                  <a:pt x="156" y="238"/>
                  <a:pt x="157" y="238"/>
                </a:cubicBezTo>
                <a:cubicBezTo>
                  <a:pt x="158" y="237"/>
                  <a:pt x="158" y="237"/>
                  <a:pt x="158" y="238"/>
                </a:cubicBezTo>
                <a:cubicBezTo>
                  <a:pt x="158" y="239"/>
                  <a:pt x="158" y="239"/>
                  <a:pt x="158" y="240"/>
                </a:cubicBezTo>
                <a:cubicBezTo>
                  <a:pt x="158" y="240"/>
                  <a:pt x="157" y="241"/>
                  <a:pt x="157" y="241"/>
                </a:cubicBezTo>
                <a:cubicBezTo>
                  <a:pt x="157" y="242"/>
                  <a:pt x="157" y="242"/>
                  <a:pt x="157" y="243"/>
                </a:cubicBezTo>
                <a:cubicBezTo>
                  <a:pt x="157" y="244"/>
                  <a:pt x="158" y="246"/>
                  <a:pt x="158" y="247"/>
                </a:cubicBezTo>
                <a:cubicBezTo>
                  <a:pt x="158" y="248"/>
                  <a:pt x="159" y="248"/>
                  <a:pt x="160" y="249"/>
                </a:cubicBezTo>
                <a:cubicBezTo>
                  <a:pt x="161" y="249"/>
                  <a:pt x="161" y="249"/>
                  <a:pt x="161" y="250"/>
                </a:cubicBezTo>
                <a:cubicBezTo>
                  <a:pt x="161" y="250"/>
                  <a:pt x="162" y="250"/>
                  <a:pt x="162" y="250"/>
                </a:cubicBezTo>
                <a:cubicBezTo>
                  <a:pt x="163" y="251"/>
                  <a:pt x="163" y="250"/>
                  <a:pt x="164" y="251"/>
                </a:cubicBezTo>
                <a:cubicBezTo>
                  <a:pt x="164" y="251"/>
                  <a:pt x="165" y="251"/>
                  <a:pt x="165" y="251"/>
                </a:cubicBezTo>
                <a:cubicBezTo>
                  <a:pt x="165" y="252"/>
                  <a:pt x="165" y="252"/>
                  <a:pt x="165" y="253"/>
                </a:cubicBezTo>
                <a:cubicBezTo>
                  <a:pt x="165" y="253"/>
                  <a:pt x="165" y="253"/>
                  <a:pt x="166" y="254"/>
                </a:cubicBezTo>
                <a:cubicBezTo>
                  <a:pt x="166" y="254"/>
                  <a:pt x="165" y="254"/>
                  <a:pt x="166" y="255"/>
                </a:cubicBezTo>
                <a:cubicBezTo>
                  <a:pt x="166" y="255"/>
                  <a:pt x="166" y="256"/>
                  <a:pt x="167" y="256"/>
                </a:cubicBezTo>
                <a:cubicBezTo>
                  <a:pt x="167" y="257"/>
                  <a:pt x="167" y="258"/>
                  <a:pt x="168" y="258"/>
                </a:cubicBezTo>
                <a:cubicBezTo>
                  <a:pt x="169" y="259"/>
                  <a:pt x="168" y="259"/>
                  <a:pt x="167" y="259"/>
                </a:cubicBezTo>
                <a:cubicBezTo>
                  <a:pt x="167" y="259"/>
                  <a:pt x="167" y="261"/>
                  <a:pt x="167" y="261"/>
                </a:cubicBezTo>
                <a:cubicBezTo>
                  <a:pt x="167" y="262"/>
                  <a:pt x="167" y="263"/>
                  <a:pt x="166" y="264"/>
                </a:cubicBezTo>
                <a:cubicBezTo>
                  <a:pt x="166" y="264"/>
                  <a:pt x="166" y="265"/>
                  <a:pt x="166" y="266"/>
                </a:cubicBezTo>
                <a:cubicBezTo>
                  <a:pt x="166" y="266"/>
                  <a:pt x="167" y="266"/>
                  <a:pt x="167" y="267"/>
                </a:cubicBezTo>
                <a:cubicBezTo>
                  <a:pt x="167" y="267"/>
                  <a:pt x="166" y="267"/>
                  <a:pt x="166" y="268"/>
                </a:cubicBezTo>
                <a:cubicBezTo>
                  <a:pt x="166" y="268"/>
                  <a:pt x="166" y="268"/>
                  <a:pt x="166" y="269"/>
                </a:cubicBezTo>
                <a:cubicBezTo>
                  <a:pt x="166" y="270"/>
                  <a:pt x="165" y="271"/>
                  <a:pt x="165" y="271"/>
                </a:cubicBezTo>
                <a:cubicBezTo>
                  <a:pt x="165" y="272"/>
                  <a:pt x="163" y="275"/>
                  <a:pt x="164" y="276"/>
                </a:cubicBezTo>
                <a:cubicBezTo>
                  <a:pt x="165" y="276"/>
                  <a:pt x="165" y="277"/>
                  <a:pt x="166" y="277"/>
                </a:cubicBezTo>
                <a:cubicBezTo>
                  <a:pt x="167" y="278"/>
                  <a:pt x="166" y="278"/>
                  <a:pt x="165" y="279"/>
                </a:cubicBezTo>
                <a:cubicBezTo>
                  <a:pt x="165" y="279"/>
                  <a:pt x="165" y="279"/>
                  <a:pt x="164" y="280"/>
                </a:cubicBezTo>
                <a:cubicBezTo>
                  <a:pt x="164" y="280"/>
                  <a:pt x="164" y="280"/>
                  <a:pt x="164" y="280"/>
                </a:cubicBezTo>
                <a:cubicBezTo>
                  <a:pt x="164" y="281"/>
                  <a:pt x="164" y="281"/>
                  <a:pt x="164" y="281"/>
                </a:cubicBezTo>
                <a:cubicBezTo>
                  <a:pt x="164" y="281"/>
                  <a:pt x="164" y="281"/>
                  <a:pt x="164" y="281"/>
                </a:cubicBezTo>
                <a:cubicBezTo>
                  <a:pt x="165" y="282"/>
                  <a:pt x="165" y="282"/>
                  <a:pt x="165" y="283"/>
                </a:cubicBezTo>
                <a:cubicBezTo>
                  <a:pt x="166" y="283"/>
                  <a:pt x="166" y="284"/>
                  <a:pt x="166" y="284"/>
                </a:cubicBezTo>
                <a:cubicBezTo>
                  <a:pt x="166" y="285"/>
                  <a:pt x="166" y="286"/>
                  <a:pt x="166" y="286"/>
                </a:cubicBezTo>
                <a:cubicBezTo>
                  <a:pt x="166" y="285"/>
                  <a:pt x="167" y="286"/>
                  <a:pt x="167" y="286"/>
                </a:cubicBezTo>
                <a:cubicBezTo>
                  <a:pt x="167" y="286"/>
                  <a:pt x="166" y="287"/>
                  <a:pt x="167" y="287"/>
                </a:cubicBezTo>
                <a:cubicBezTo>
                  <a:pt x="167" y="287"/>
                  <a:pt x="167" y="287"/>
                  <a:pt x="167" y="287"/>
                </a:cubicBezTo>
                <a:cubicBezTo>
                  <a:pt x="168" y="288"/>
                  <a:pt x="167" y="288"/>
                  <a:pt x="167" y="288"/>
                </a:cubicBezTo>
                <a:cubicBezTo>
                  <a:pt x="167" y="288"/>
                  <a:pt x="168" y="288"/>
                  <a:pt x="168" y="289"/>
                </a:cubicBezTo>
                <a:cubicBezTo>
                  <a:pt x="168" y="289"/>
                  <a:pt x="168" y="289"/>
                  <a:pt x="168" y="289"/>
                </a:cubicBezTo>
                <a:cubicBezTo>
                  <a:pt x="167" y="290"/>
                  <a:pt x="168" y="291"/>
                  <a:pt x="168" y="291"/>
                </a:cubicBezTo>
                <a:cubicBezTo>
                  <a:pt x="168" y="292"/>
                  <a:pt x="167" y="292"/>
                  <a:pt x="167" y="292"/>
                </a:cubicBezTo>
                <a:cubicBezTo>
                  <a:pt x="168" y="293"/>
                  <a:pt x="168" y="293"/>
                  <a:pt x="168" y="293"/>
                </a:cubicBezTo>
                <a:cubicBezTo>
                  <a:pt x="168" y="293"/>
                  <a:pt x="167" y="294"/>
                  <a:pt x="167" y="294"/>
                </a:cubicBezTo>
                <a:cubicBezTo>
                  <a:pt x="167" y="295"/>
                  <a:pt x="168" y="295"/>
                  <a:pt x="168" y="295"/>
                </a:cubicBezTo>
                <a:cubicBezTo>
                  <a:pt x="168" y="296"/>
                  <a:pt x="167" y="295"/>
                  <a:pt x="168" y="296"/>
                </a:cubicBezTo>
                <a:cubicBezTo>
                  <a:pt x="168" y="296"/>
                  <a:pt x="168" y="296"/>
                  <a:pt x="168" y="297"/>
                </a:cubicBezTo>
                <a:cubicBezTo>
                  <a:pt x="168" y="297"/>
                  <a:pt x="168" y="297"/>
                  <a:pt x="168" y="298"/>
                </a:cubicBezTo>
                <a:cubicBezTo>
                  <a:pt x="168" y="298"/>
                  <a:pt x="168" y="299"/>
                  <a:pt x="168" y="299"/>
                </a:cubicBezTo>
                <a:cubicBezTo>
                  <a:pt x="168" y="300"/>
                  <a:pt x="168" y="300"/>
                  <a:pt x="168" y="301"/>
                </a:cubicBezTo>
                <a:cubicBezTo>
                  <a:pt x="168" y="301"/>
                  <a:pt x="168" y="301"/>
                  <a:pt x="168" y="301"/>
                </a:cubicBezTo>
                <a:cubicBezTo>
                  <a:pt x="169" y="302"/>
                  <a:pt x="169" y="301"/>
                  <a:pt x="170" y="301"/>
                </a:cubicBezTo>
                <a:cubicBezTo>
                  <a:pt x="170" y="301"/>
                  <a:pt x="171" y="301"/>
                  <a:pt x="171" y="302"/>
                </a:cubicBezTo>
                <a:cubicBezTo>
                  <a:pt x="171" y="302"/>
                  <a:pt x="172" y="302"/>
                  <a:pt x="172" y="302"/>
                </a:cubicBezTo>
                <a:cubicBezTo>
                  <a:pt x="173" y="302"/>
                  <a:pt x="173" y="302"/>
                  <a:pt x="174" y="302"/>
                </a:cubicBezTo>
                <a:cubicBezTo>
                  <a:pt x="174" y="302"/>
                  <a:pt x="175" y="302"/>
                  <a:pt x="176" y="302"/>
                </a:cubicBezTo>
                <a:cubicBezTo>
                  <a:pt x="176" y="302"/>
                  <a:pt x="176" y="302"/>
                  <a:pt x="176" y="303"/>
                </a:cubicBezTo>
                <a:cubicBezTo>
                  <a:pt x="176" y="303"/>
                  <a:pt x="177" y="303"/>
                  <a:pt x="177" y="303"/>
                </a:cubicBezTo>
                <a:cubicBezTo>
                  <a:pt x="177" y="303"/>
                  <a:pt x="177" y="303"/>
                  <a:pt x="178" y="303"/>
                </a:cubicBezTo>
                <a:cubicBezTo>
                  <a:pt x="178" y="303"/>
                  <a:pt x="178" y="303"/>
                  <a:pt x="178" y="303"/>
                </a:cubicBezTo>
                <a:cubicBezTo>
                  <a:pt x="179" y="303"/>
                  <a:pt x="179" y="304"/>
                  <a:pt x="179" y="303"/>
                </a:cubicBezTo>
                <a:cubicBezTo>
                  <a:pt x="179" y="303"/>
                  <a:pt x="179" y="303"/>
                  <a:pt x="180" y="303"/>
                </a:cubicBezTo>
                <a:cubicBezTo>
                  <a:pt x="180" y="303"/>
                  <a:pt x="180" y="302"/>
                  <a:pt x="180" y="302"/>
                </a:cubicBezTo>
                <a:cubicBezTo>
                  <a:pt x="180" y="302"/>
                  <a:pt x="180" y="303"/>
                  <a:pt x="181" y="303"/>
                </a:cubicBezTo>
                <a:cubicBezTo>
                  <a:pt x="181" y="302"/>
                  <a:pt x="182" y="300"/>
                  <a:pt x="183" y="301"/>
                </a:cubicBezTo>
                <a:cubicBezTo>
                  <a:pt x="184" y="302"/>
                  <a:pt x="184" y="303"/>
                  <a:pt x="186" y="303"/>
                </a:cubicBezTo>
                <a:cubicBezTo>
                  <a:pt x="187" y="303"/>
                  <a:pt x="188" y="303"/>
                  <a:pt x="189" y="304"/>
                </a:cubicBezTo>
                <a:cubicBezTo>
                  <a:pt x="189" y="304"/>
                  <a:pt x="189" y="304"/>
                  <a:pt x="189" y="305"/>
                </a:cubicBezTo>
                <a:cubicBezTo>
                  <a:pt x="189" y="306"/>
                  <a:pt x="190" y="306"/>
                  <a:pt x="190" y="307"/>
                </a:cubicBezTo>
                <a:cubicBezTo>
                  <a:pt x="191" y="307"/>
                  <a:pt x="191" y="308"/>
                  <a:pt x="191" y="308"/>
                </a:cubicBezTo>
                <a:cubicBezTo>
                  <a:pt x="191" y="309"/>
                  <a:pt x="191" y="309"/>
                  <a:pt x="191" y="310"/>
                </a:cubicBezTo>
                <a:cubicBezTo>
                  <a:pt x="191" y="310"/>
                  <a:pt x="191" y="311"/>
                  <a:pt x="191" y="311"/>
                </a:cubicBezTo>
                <a:cubicBezTo>
                  <a:pt x="192" y="312"/>
                  <a:pt x="191" y="312"/>
                  <a:pt x="192" y="312"/>
                </a:cubicBezTo>
                <a:cubicBezTo>
                  <a:pt x="192" y="313"/>
                  <a:pt x="192" y="313"/>
                  <a:pt x="192" y="314"/>
                </a:cubicBezTo>
                <a:cubicBezTo>
                  <a:pt x="192" y="315"/>
                  <a:pt x="193" y="315"/>
                  <a:pt x="193" y="315"/>
                </a:cubicBezTo>
                <a:cubicBezTo>
                  <a:pt x="193" y="316"/>
                  <a:pt x="193" y="317"/>
                  <a:pt x="193" y="317"/>
                </a:cubicBezTo>
                <a:cubicBezTo>
                  <a:pt x="193" y="318"/>
                  <a:pt x="194" y="319"/>
                  <a:pt x="194" y="319"/>
                </a:cubicBezTo>
                <a:cubicBezTo>
                  <a:pt x="194" y="320"/>
                  <a:pt x="194" y="321"/>
                  <a:pt x="194" y="322"/>
                </a:cubicBezTo>
                <a:cubicBezTo>
                  <a:pt x="195" y="322"/>
                  <a:pt x="195" y="322"/>
                  <a:pt x="196" y="322"/>
                </a:cubicBezTo>
                <a:cubicBezTo>
                  <a:pt x="197" y="322"/>
                  <a:pt x="197" y="322"/>
                  <a:pt x="198" y="322"/>
                </a:cubicBezTo>
                <a:cubicBezTo>
                  <a:pt x="199" y="322"/>
                  <a:pt x="199" y="321"/>
                  <a:pt x="200" y="321"/>
                </a:cubicBezTo>
                <a:cubicBezTo>
                  <a:pt x="200" y="320"/>
                  <a:pt x="201" y="320"/>
                  <a:pt x="202" y="320"/>
                </a:cubicBezTo>
                <a:cubicBezTo>
                  <a:pt x="202" y="320"/>
                  <a:pt x="203" y="321"/>
                  <a:pt x="204" y="321"/>
                </a:cubicBezTo>
                <a:cubicBezTo>
                  <a:pt x="204" y="322"/>
                  <a:pt x="205" y="322"/>
                  <a:pt x="205" y="323"/>
                </a:cubicBezTo>
                <a:cubicBezTo>
                  <a:pt x="205" y="323"/>
                  <a:pt x="204" y="324"/>
                  <a:pt x="205" y="325"/>
                </a:cubicBezTo>
                <a:cubicBezTo>
                  <a:pt x="206" y="326"/>
                  <a:pt x="205" y="326"/>
                  <a:pt x="205" y="327"/>
                </a:cubicBezTo>
                <a:cubicBezTo>
                  <a:pt x="205" y="328"/>
                  <a:pt x="205" y="328"/>
                  <a:pt x="205" y="329"/>
                </a:cubicBezTo>
                <a:cubicBezTo>
                  <a:pt x="206" y="329"/>
                  <a:pt x="205" y="330"/>
                  <a:pt x="205" y="330"/>
                </a:cubicBezTo>
                <a:cubicBezTo>
                  <a:pt x="205" y="331"/>
                  <a:pt x="205" y="332"/>
                  <a:pt x="205" y="333"/>
                </a:cubicBezTo>
                <a:cubicBezTo>
                  <a:pt x="205" y="334"/>
                  <a:pt x="205" y="335"/>
                  <a:pt x="205" y="336"/>
                </a:cubicBezTo>
                <a:cubicBezTo>
                  <a:pt x="204" y="336"/>
                  <a:pt x="204" y="337"/>
                  <a:pt x="204" y="338"/>
                </a:cubicBezTo>
                <a:cubicBezTo>
                  <a:pt x="204" y="338"/>
                  <a:pt x="204" y="339"/>
                  <a:pt x="204" y="339"/>
                </a:cubicBezTo>
                <a:cubicBezTo>
                  <a:pt x="204" y="339"/>
                  <a:pt x="204" y="339"/>
                  <a:pt x="205" y="340"/>
                </a:cubicBezTo>
                <a:cubicBezTo>
                  <a:pt x="205" y="340"/>
                  <a:pt x="206" y="340"/>
                  <a:pt x="206" y="340"/>
                </a:cubicBezTo>
                <a:cubicBezTo>
                  <a:pt x="206" y="340"/>
                  <a:pt x="206" y="340"/>
                  <a:pt x="206" y="339"/>
                </a:cubicBezTo>
                <a:cubicBezTo>
                  <a:pt x="207" y="339"/>
                  <a:pt x="207" y="339"/>
                  <a:pt x="207" y="339"/>
                </a:cubicBezTo>
                <a:cubicBezTo>
                  <a:pt x="207" y="339"/>
                  <a:pt x="207" y="339"/>
                  <a:pt x="207" y="339"/>
                </a:cubicBezTo>
                <a:cubicBezTo>
                  <a:pt x="207" y="339"/>
                  <a:pt x="208" y="339"/>
                  <a:pt x="208" y="339"/>
                </a:cubicBezTo>
                <a:cubicBezTo>
                  <a:pt x="208" y="339"/>
                  <a:pt x="208" y="339"/>
                  <a:pt x="208" y="339"/>
                </a:cubicBezTo>
                <a:cubicBezTo>
                  <a:pt x="208" y="339"/>
                  <a:pt x="208" y="339"/>
                  <a:pt x="209" y="338"/>
                </a:cubicBezTo>
                <a:cubicBezTo>
                  <a:pt x="209" y="338"/>
                  <a:pt x="209" y="339"/>
                  <a:pt x="209" y="339"/>
                </a:cubicBezTo>
                <a:cubicBezTo>
                  <a:pt x="209" y="339"/>
                  <a:pt x="209" y="339"/>
                  <a:pt x="209" y="339"/>
                </a:cubicBezTo>
                <a:cubicBezTo>
                  <a:pt x="210" y="339"/>
                  <a:pt x="210" y="339"/>
                  <a:pt x="210" y="340"/>
                </a:cubicBezTo>
                <a:cubicBezTo>
                  <a:pt x="211" y="340"/>
                  <a:pt x="211" y="340"/>
                  <a:pt x="211" y="341"/>
                </a:cubicBezTo>
                <a:cubicBezTo>
                  <a:pt x="211" y="342"/>
                  <a:pt x="212" y="343"/>
                  <a:pt x="212" y="344"/>
                </a:cubicBezTo>
                <a:cubicBezTo>
                  <a:pt x="213" y="345"/>
                  <a:pt x="214" y="346"/>
                  <a:pt x="214" y="346"/>
                </a:cubicBezTo>
                <a:cubicBezTo>
                  <a:pt x="214" y="347"/>
                  <a:pt x="214" y="347"/>
                  <a:pt x="214" y="348"/>
                </a:cubicBezTo>
                <a:cubicBezTo>
                  <a:pt x="214" y="348"/>
                  <a:pt x="214" y="349"/>
                  <a:pt x="214" y="349"/>
                </a:cubicBezTo>
                <a:cubicBezTo>
                  <a:pt x="214" y="350"/>
                  <a:pt x="214" y="351"/>
                  <a:pt x="214" y="352"/>
                </a:cubicBezTo>
                <a:cubicBezTo>
                  <a:pt x="213" y="352"/>
                  <a:pt x="214" y="353"/>
                  <a:pt x="214" y="354"/>
                </a:cubicBezTo>
                <a:cubicBezTo>
                  <a:pt x="214" y="355"/>
                  <a:pt x="214" y="355"/>
                  <a:pt x="214" y="355"/>
                </a:cubicBezTo>
                <a:cubicBezTo>
                  <a:pt x="214" y="356"/>
                  <a:pt x="214" y="356"/>
                  <a:pt x="214" y="357"/>
                </a:cubicBezTo>
                <a:cubicBezTo>
                  <a:pt x="213" y="356"/>
                  <a:pt x="213" y="356"/>
                  <a:pt x="213" y="357"/>
                </a:cubicBezTo>
                <a:cubicBezTo>
                  <a:pt x="213" y="357"/>
                  <a:pt x="212" y="357"/>
                  <a:pt x="212" y="357"/>
                </a:cubicBezTo>
                <a:cubicBezTo>
                  <a:pt x="212" y="357"/>
                  <a:pt x="212" y="357"/>
                  <a:pt x="212" y="357"/>
                </a:cubicBezTo>
                <a:cubicBezTo>
                  <a:pt x="212" y="358"/>
                  <a:pt x="212" y="358"/>
                  <a:pt x="212" y="358"/>
                </a:cubicBezTo>
                <a:cubicBezTo>
                  <a:pt x="211" y="359"/>
                  <a:pt x="211" y="357"/>
                  <a:pt x="210" y="359"/>
                </a:cubicBezTo>
                <a:cubicBezTo>
                  <a:pt x="210" y="359"/>
                  <a:pt x="210" y="359"/>
                  <a:pt x="210" y="360"/>
                </a:cubicBezTo>
                <a:cubicBezTo>
                  <a:pt x="210" y="360"/>
                  <a:pt x="210" y="359"/>
                  <a:pt x="209" y="360"/>
                </a:cubicBezTo>
                <a:cubicBezTo>
                  <a:pt x="209" y="360"/>
                  <a:pt x="209" y="360"/>
                  <a:pt x="209" y="360"/>
                </a:cubicBezTo>
                <a:cubicBezTo>
                  <a:pt x="209" y="360"/>
                  <a:pt x="208" y="359"/>
                  <a:pt x="208" y="360"/>
                </a:cubicBezTo>
                <a:cubicBezTo>
                  <a:pt x="208" y="360"/>
                  <a:pt x="208" y="360"/>
                  <a:pt x="208" y="360"/>
                </a:cubicBezTo>
                <a:cubicBezTo>
                  <a:pt x="208" y="361"/>
                  <a:pt x="207" y="360"/>
                  <a:pt x="207" y="360"/>
                </a:cubicBezTo>
                <a:cubicBezTo>
                  <a:pt x="207" y="361"/>
                  <a:pt x="207" y="361"/>
                  <a:pt x="206" y="361"/>
                </a:cubicBezTo>
                <a:cubicBezTo>
                  <a:pt x="206" y="361"/>
                  <a:pt x="206" y="362"/>
                  <a:pt x="205" y="361"/>
                </a:cubicBezTo>
                <a:cubicBezTo>
                  <a:pt x="205" y="361"/>
                  <a:pt x="205" y="361"/>
                  <a:pt x="205" y="361"/>
                </a:cubicBezTo>
                <a:cubicBezTo>
                  <a:pt x="205" y="362"/>
                  <a:pt x="204" y="362"/>
                  <a:pt x="204" y="362"/>
                </a:cubicBezTo>
                <a:cubicBezTo>
                  <a:pt x="204" y="363"/>
                  <a:pt x="205" y="363"/>
                  <a:pt x="204" y="364"/>
                </a:cubicBezTo>
                <a:cubicBezTo>
                  <a:pt x="204" y="364"/>
                  <a:pt x="203" y="363"/>
                  <a:pt x="203" y="364"/>
                </a:cubicBezTo>
                <a:cubicBezTo>
                  <a:pt x="203" y="364"/>
                  <a:pt x="204" y="364"/>
                  <a:pt x="204" y="364"/>
                </a:cubicBezTo>
                <a:cubicBezTo>
                  <a:pt x="203" y="364"/>
                  <a:pt x="203" y="364"/>
                  <a:pt x="203" y="364"/>
                </a:cubicBezTo>
                <a:cubicBezTo>
                  <a:pt x="203" y="365"/>
                  <a:pt x="202" y="364"/>
                  <a:pt x="202" y="365"/>
                </a:cubicBezTo>
                <a:cubicBezTo>
                  <a:pt x="201" y="365"/>
                  <a:pt x="201" y="365"/>
                  <a:pt x="201" y="366"/>
                </a:cubicBezTo>
                <a:cubicBezTo>
                  <a:pt x="200" y="366"/>
                  <a:pt x="200" y="367"/>
                  <a:pt x="200" y="367"/>
                </a:cubicBezTo>
                <a:cubicBezTo>
                  <a:pt x="200" y="367"/>
                  <a:pt x="199" y="367"/>
                  <a:pt x="199" y="367"/>
                </a:cubicBezTo>
                <a:cubicBezTo>
                  <a:pt x="199" y="368"/>
                  <a:pt x="199" y="367"/>
                  <a:pt x="198" y="368"/>
                </a:cubicBezTo>
                <a:cubicBezTo>
                  <a:pt x="198" y="369"/>
                  <a:pt x="197" y="368"/>
                  <a:pt x="198" y="369"/>
                </a:cubicBezTo>
                <a:cubicBezTo>
                  <a:pt x="199" y="369"/>
                  <a:pt x="198" y="371"/>
                  <a:pt x="198" y="370"/>
                </a:cubicBezTo>
                <a:cubicBezTo>
                  <a:pt x="198" y="370"/>
                  <a:pt x="197" y="370"/>
                  <a:pt x="197" y="370"/>
                </a:cubicBezTo>
                <a:cubicBezTo>
                  <a:pt x="196" y="370"/>
                  <a:pt x="196" y="371"/>
                  <a:pt x="196" y="371"/>
                </a:cubicBezTo>
                <a:cubicBezTo>
                  <a:pt x="196" y="371"/>
                  <a:pt x="196" y="371"/>
                  <a:pt x="196" y="371"/>
                </a:cubicBezTo>
                <a:cubicBezTo>
                  <a:pt x="195" y="371"/>
                  <a:pt x="196" y="372"/>
                  <a:pt x="196" y="372"/>
                </a:cubicBezTo>
                <a:cubicBezTo>
                  <a:pt x="195" y="373"/>
                  <a:pt x="194" y="374"/>
                  <a:pt x="194" y="374"/>
                </a:cubicBezTo>
                <a:cubicBezTo>
                  <a:pt x="193" y="375"/>
                  <a:pt x="194" y="375"/>
                  <a:pt x="193" y="376"/>
                </a:cubicBezTo>
                <a:cubicBezTo>
                  <a:pt x="193" y="376"/>
                  <a:pt x="193" y="376"/>
                  <a:pt x="193" y="376"/>
                </a:cubicBezTo>
                <a:cubicBezTo>
                  <a:pt x="192" y="377"/>
                  <a:pt x="193" y="377"/>
                  <a:pt x="192" y="378"/>
                </a:cubicBezTo>
                <a:cubicBezTo>
                  <a:pt x="192" y="378"/>
                  <a:pt x="191" y="378"/>
                  <a:pt x="191" y="379"/>
                </a:cubicBezTo>
                <a:cubicBezTo>
                  <a:pt x="191" y="379"/>
                  <a:pt x="191" y="380"/>
                  <a:pt x="191" y="380"/>
                </a:cubicBezTo>
                <a:cubicBezTo>
                  <a:pt x="191" y="381"/>
                  <a:pt x="190" y="381"/>
                  <a:pt x="190" y="381"/>
                </a:cubicBezTo>
                <a:cubicBezTo>
                  <a:pt x="190" y="382"/>
                  <a:pt x="190" y="382"/>
                  <a:pt x="189" y="383"/>
                </a:cubicBezTo>
                <a:cubicBezTo>
                  <a:pt x="189" y="383"/>
                  <a:pt x="189" y="384"/>
                  <a:pt x="188" y="384"/>
                </a:cubicBezTo>
                <a:cubicBezTo>
                  <a:pt x="188" y="385"/>
                  <a:pt x="188" y="385"/>
                  <a:pt x="187" y="385"/>
                </a:cubicBezTo>
                <a:cubicBezTo>
                  <a:pt x="187" y="385"/>
                  <a:pt x="186" y="385"/>
                  <a:pt x="186" y="386"/>
                </a:cubicBezTo>
                <a:cubicBezTo>
                  <a:pt x="186" y="386"/>
                  <a:pt x="186" y="387"/>
                  <a:pt x="186" y="388"/>
                </a:cubicBezTo>
                <a:cubicBezTo>
                  <a:pt x="185" y="389"/>
                  <a:pt x="185" y="390"/>
                  <a:pt x="184" y="390"/>
                </a:cubicBezTo>
                <a:cubicBezTo>
                  <a:pt x="184" y="390"/>
                  <a:pt x="184" y="391"/>
                  <a:pt x="184" y="391"/>
                </a:cubicBezTo>
                <a:cubicBezTo>
                  <a:pt x="185" y="391"/>
                  <a:pt x="185" y="391"/>
                  <a:pt x="185" y="391"/>
                </a:cubicBezTo>
                <a:cubicBezTo>
                  <a:pt x="186" y="391"/>
                  <a:pt x="187" y="391"/>
                  <a:pt x="187" y="391"/>
                </a:cubicBezTo>
                <a:cubicBezTo>
                  <a:pt x="188" y="391"/>
                  <a:pt x="188" y="390"/>
                  <a:pt x="188" y="390"/>
                </a:cubicBezTo>
                <a:cubicBezTo>
                  <a:pt x="188" y="389"/>
                  <a:pt x="189" y="389"/>
                  <a:pt x="190" y="389"/>
                </a:cubicBezTo>
                <a:cubicBezTo>
                  <a:pt x="190" y="389"/>
                  <a:pt x="191" y="389"/>
                  <a:pt x="191" y="389"/>
                </a:cubicBezTo>
                <a:cubicBezTo>
                  <a:pt x="191" y="389"/>
                  <a:pt x="192" y="390"/>
                  <a:pt x="192" y="390"/>
                </a:cubicBezTo>
                <a:cubicBezTo>
                  <a:pt x="193" y="390"/>
                  <a:pt x="193" y="391"/>
                  <a:pt x="194" y="392"/>
                </a:cubicBezTo>
                <a:cubicBezTo>
                  <a:pt x="195" y="392"/>
                  <a:pt x="196" y="393"/>
                  <a:pt x="196" y="394"/>
                </a:cubicBezTo>
                <a:cubicBezTo>
                  <a:pt x="197" y="394"/>
                  <a:pt x="198" y="395"/>
                  <a:pt x="199" y="395"/>
                </a:cubicBezTo>
                <a:cubicBezTo>
                  <a:pt x="199" y="396"/>
                  <a:pt x="200" y="397"/>
                  <a:pt x="200" y="397"/>
                </a:cubicBezTo>
                <a:cubicBezTo>
                  <a:pt x="200" y="398"/>
                  <a:pt x="200" y="399"/>
                  <a:pt x="200" y="399"/>
                </a:cubicBezTo>
                <a:cubicBezTo>
                  <a:pt x="200" y="400"/>
                  <a:pt x="201" y="400"/>
                  <a:pt x="202" y="400"/>
                </a:cubicBezTo>
                <a:cubicBezTo>
                  <a:pt x="203" y="399"/>
                  <a:pt x="202" y="399"/>
                  <a:pt x="203" y="398"/>
                </a:cubicBezTo>
                <a:cubicBezTo>
                  <a:pt x="203" y="398"/>
                  <a:pt x="204" y="399"/>
                  <a:pt x="204" y="398"/>
                </a:cubicBezTo>
                <a:cubicBezTo>
                  <a:pt x="204" y="398"/>
                  <a:pt x="203" y="397"/>
                  <a:pt x="204" y="397"/>
                </a:cubicBezTo>
                <a:cubicBezTo>
                  <a:pt x="204" y="397"/>
                  <a:pt x="204" y="398"/>
                  <a:pt x="205" y="398"/>
                </a:cubicBezTo>
                <a:cubicBezTo>
                  <a:pt x="206" y="399"/>
                  <a:pt x="207" y="400"/>
                  <a:pt x="208" y="401"/>
                </a:cubicBezTo>
                <a:cubicBezTo>
                  <a:pt x="208" y="402"/>
                  <a:pt x="209" y="402"/>
                  <a:pt x="210" y="403"/>
                </a:cubicBezTo>
                <a:cubicBezTo>
                  <a:pt x="210" y="403"/>
                  <a:pt x="210" y="402"/>
                  <a:pt x="210" y="402"/>
                </a:cubicBezTo>
                <a:cubicBezTo>
                  <a:pt x="211" y="402"/>
                  <a:pt x="211" y="403"/>
                  <a:pt x="211" y="403"/>
                </a:cubicBezTo>
                <a:cubicBezTo>
                  <a:pt x="212" y="404"/>
                  <a:pt x="212" y="404"/>
                  <a:pt x="213" y="404"/>
                </a:cubicBezTo>
                <a:cubicBezTo>
                  <a:pt x="214" y="404"/>
                  <a:pt x="215" y="404"/>
                  <a:pt x="215" y="405"/>
                </a:cubicBezTo>
                <a:cubicBezTo>
                  <a:pt x="216" y="406"/>
                  <a:pt x="216" y="406"/>
                  <a:pt x="216" y="407"/>
                </a:cubicBezTo>
                <a:cubicBezTo>
                  <a:pt x="217" y="407"/>
                  <a:pt x="217" y="407"/>
                  <a:pt x="218" y="408"/>
                </a:cubicBezTo>
                <a:cubicBezTo>
                  <a:pt x="218" y="408"/>
                  <a:pt x="219" y="409"/>
                  <a:pt x="219" y="409"/>
                </a:cubicBezTo>
                <a:cubicBezTo>
                  <a:pt x="220" y="409"/>
                  <a:pt x="220" y="409"/>
                  <a:pt x="220" y="409"/>
                </a:cubicBezTo>
                <a:cubicBezTo>
                  <a:pt x="220" y="409"/>
                  <a:pt x="220" y="409"/>
                  <a:pt x="221" y="409"/>
                </a:cubicBezTo>
                <a:cubicBezTo>
                  <a:pt x="221" y="409"/>
                  <a:pt x="221" y="409"/>
                  <a:pt x="222" y="409"/>
                </a:cubicBezTo>
                <a:cubicBezTo>
                  <a:pt x="222" y="410"/>
                  <a:pt x="222" y="410"/>
                  <a:pt x="222" y="410"/>
                </a:cubicBezTo>
                <a:cubicBezTo>
                  <a:pt x="223" y="410"/>
                  <a:pt x="223" y="410"/>
                  <a:pt x="224" y="411"/>
                </a:cubicBezTo>
                <a:cubicBezTo>
                  <a:pt x="224" y="412"/>
                  <a:pt x="225" y="412"/>
                  <a:pt x="225" y="413"/>
                </a:cubicBezTo>
                <a:cubicBezTo>
                  <a:pt x="226" y="414"/>
                  <a:pt x="227" y="416"/>
                  <a:pt x="228" y="416"/>
                </a:cubicBezTo>
                <a:cubicBezTo>
                  <a:pt x="229" y="417"/>
                  <a:pt x="231" y="417"/>
                  <a:pt x="231" y="418"/>
                </a:cubicBezTo>
                <a:cubicBezTo>
                  <a:pt x="231" y="419"/>
                  <a:pt x="230" y="419"/>
                  <a:pt x="229" y="420"/>
                </a:cubicBezTo>
                <a:cubicBezTo>
                  <a:pt x="229" y="420"/>
                  <a:pt x="229" y="421"/>
                  <a:pt x="229" y="421"/>
                </a:cubicBezTo>
                <a:cubicBezTo>
                  <a:pt x="227" y="422"/>
                  <a:pt x="228" y="424"/>
                  <a:pt x="229" y="425"/>
                </a:cubicBezTo>
                <a:cubicBezTo>
                  <a:pt x="229" y="426"/>
                  <a:pt x="229" y="429"/>
                  <a:pt x="230" y="429"/>
                </a:cubicBezTo>
                <a:cubicBezTo>
                  <a:pt x="230" y="428"/>
                  <a:pt x="230" y="429"/>
                  <a:pt x="231" y="429"/>
                </a:cubicBezTo>
                <a:cubicBezTo>
                  <a:pt x="231" y="429"/>
                  <a:pt x="232" y="428"/>
                  <a:pt x="232" y="427"/>
                </a:cubicBezTo>
                <a:cubicBezTo>
                  <a:pt x="235" y="425"/>
                  <a:pt x="237" y="424"/>
                  <a:pt x="237" y="419"/>
                </a:cubicBezTo>
                <a:cubicBezTo>
                  <a:pt x="237" y="417"/>
                  <a:pt x="237" y="415"/>
                  <a:pt x="238" y="413"/>
                </a:cubicBezTo>
                <a:cubicBezTo>
                  <a:pt x="238" y="412"/>
                  <a:pt x="239" y="412"/>
                  <a:pt x="239" y="411"/>
                </a:cubicBezTo>
                <a:cubicBezTo>
                  <a:pt x="239" y="411"/>
                  <a:pt x="238" y="412"/>
                  <a:pt x="238" y="411"/>
                </a:cubicBezTo>
                <a:cubicBezTo>
                  <a:pt x="238" y="411"/>
                  <a:pt x="239" y="410"/>
                  <a:pt x="239" y="410"/>
                </a:cubicBezTo>
                <a:cubicBezTo>
                  <a:pt x="239" y="410"/>
                  <a:pt x="238" y="411"/>
                  <a:pt x="238" y="411"/>
                </a:cubicBezTo>
                <a:cubicBezTo>
                  <a:pt x="238" y="411"/>
                  <a:pt x="238" y="410"/>
                  <a:pt x="237" y="410"/>
                </a:cubicBezTo>
                <a:cubicBezTo>
                  <a:pt x="237" y="410"/>
                  <a:pt x="237" y="410"/>
                  <a:pt x="238" y="409"/>
                </a:cubicBezTo>
                <a:cubicBezTo>
                  <a:pt x="239" y="409"/>
                  <a:pt x="237" y="409"/>
                  <a:pt x="237" y="408"/>
                </a:cubicBezTo>
                <a:cubicBezTo>
                  <a:pt x="237" y="408"/>
                  <a:pt x="237" y="408"/>
                  <a:pt x="237" y="408"/>
                </a:cubicBezTo>
                <a:cubicBezTo>
                  <a:pt x="237" y="407"/>
                  <a:pt x="237" y="407"/>
                  <a:pt x="237" y="407"/>
                </a:cubicBezTo>
                <a:cubicBezTo>
                  <a:pt x="237" y="407"/>
                  <a:pt x="238" y="407"/>
                  <a:pt x="238" y="406"/>
                </a:cubicBezTo>
                <a:cubicBezTo>
                  <a:pt x="239" y="406"/>
                  <a:pt x="237" y="406"/>
                  <a:pt x="238" y="405"/>
                </a:cubicBezTo>
                <a:cubicBezTo>
                  <a:pt x="238" y="405"/>
                  <a:pt x="239" y="406"/>
                  <a:pt x="239" y="406"/>
                </a:cubicBezTo>
                <a:cubicBezTo>
                  <a:pt x="239" y="405"/>
                  <a:pt x="239" y="404"/>
                  <a:pt x="238" y="404"/>
                </a:cubicBezTo>
                <a:cubicBezTo>
                  <a:pt x="238" y="403"/>
                  <a:pt x="239" y="403"/>
                  <a:pt x="239" y="402"/>
                </a:cubicBezTo>
                <a:cubicBezTo>
                  <a:pt x="239" y="402"/>
                  <a:pt x="239" y="403"/>
                  <a:pt x="240" y="402"/>
                </a:cubicBezTo>
                <a:cubicBezTo>
                  <a:pt x="240" y="402"/>
                  <a:pt x="240" y="402"/>
                  <a:pt x="240" y="402"/>
                </a:cubicBezTo>
                <a:cubicBezTo>
                  <a:pt x="240" y="402"/>
                  <a:pt x="241" y="402"/>
                  <a:pt x="241" y="402"/>
                </a:cubicBezTo>
                <a:cubicBezTo>
                  <a:pt x="241" y="402"/>
                  <a:pt x="241" y="401"/>
                  <a:pt x="241" y="401"/>
                </a:cubicBezTo>
                <a:cubicBezTo>
                  <a:pt x="242" y="400"/>
                  <a:pt x="243" y="400"/>
                  <a:pt x="243" y="400"/>
                </a:cubicBezTo>
                <a:cubicBezTo>
                  <a:pt x="243" y="399"/>
                  <a:pt x="242" y="399"/>
                  <a:pt x="242" y="398"/>
                </a:cubicBezTo>
                <a:cubicBezTo>
                  <a:pt x="242" y="397"/>
                  <a:pt x="243" y="398"/>
                  <a:pt x="243" y="397"/>
                </a:cubicBezTo>
                <a:cubicBezTo>
                  <a:pt x="243" y="397"/>
                  <a:pt x="242" y="395"/>
                  <a:pt x="243" y="395"/>
                </a:cubicBezTo>
                <a:cubicBezTo>
                  <a:pt x="244" y="395"/>
                  <a:pt x="244" y="397"/>
                  <a:pt x="244" y="397"/>
                </a:cubicBezTo>
                <a:cubicBezTo>
                  <a:pt x="244" y="397"/>
                  <a:pt x="243" y="395"/>
                  <a:pt x="243" y="394"/>
                </a:cubicBezTo>
                <a:cubicBezTo>
                  <a:pt x="243" y="394"/>
                  <a:pt x="243" y="393"/>
                  <a:pt x="244" y="392"/>
                </a:cubicBezTo>
                <a:cubicBezTo>
                  <a:pt x="244" y="392"/>
                  <a:pt x="244" y="392"/>
                  <a:pt x="245" y="392"/>
                </a:cubicBezTo>
                <a:cubicBezTo>
                  <a:pt x="245" y="392"/>
                  <a:pt x="245" y="392"/>
                  <a:pt x="245" y="392"/>
                </a:cubicBezTo>
                <a:cubicBezTo>
                  <a:pt x="244" y="392"/>
                  <a:pt x="244" y="392"/>
                  <a:pt x="244" y="392"/>
                </a:cubicBezTo>
                <a:cubicBezTo>
                  <a:pt x="244" y="392"/>
                  <a:pt x="244" y="391"/>
                  <a:pt x="244" y="391"/>
                </a:cubicBezTo>
                <a:cubicBezTo>
                  <a:pt x="243" y="391"/>
                  <a:pt x="243" y="391"/>
                  <a:pt x="243" y="391"/>
                </a:cubicBezTo>
                <a:cubicBezTo>
                  <a:pt x="243" y="390"/>
                  <a:pt x="242" y="391"/>
                  <a:pt x="242" y="390"/>
                </a:cubicBezTo>
                <a:cubicBezTo>
                  <a:pt x="242" y="390"/>
                  <a:pt x="242" y="388"/>
                  <a:pt x="242" y="388"/>
                </a:cubicBezTo>
                <a:cubicBezTo>
                  <a:pt x="243" y="388"/>
                  <a:pt x="243" y="388"/>
                  <a:pt x="243" y="389"/>
                </a:cubicBezTo>
                <a:cubicBezTo>
                  <a:pt x="243" y="389"/>
                  <a:pt x="243" y="389"/>
                  <a:pt x="243" y="390"/>
                </a:cubicBezTo>
                <a:cubicBezTo>
                  <a:pt x="243" y="390"/>
                  <a:pt x="243" y="390"/>
                  <a:pt x="243" y="390"/>
                </a:cubicBezTo>
                <a:cubicBezTo>
                  <a:pt x="243" y="390"/>
                  <a:pt x="244" y="390"/>
                  <a:pt x="244" y="390"/>
                </a:cubicBezTo>
                <a:cubicBezTo>
                  <a:pt x="244" y="390"/>
                  <a:pt x="244" y="391"/>
                  <a:pt x="244" y="391"/>
                </a:cubicBezTo>
                <a:cubicBezTo>
                  <a:pt x="245" y="391"/>
                  <a:pt x="245" y="390"/>
                  <a:pt x="245" y="391"/>
                </a:cubicBezTo>
                <a:cubicBezTo>
                  <a:pt x="245" y="392"/>
                  <a:pt x="245" y="392"/>
                  <a:pt x="246" y="392"/>
                </a:cubicBezTo>
                <a:cubicBezTo>
                  <a:pt x="246" y="392"/>
                  <a:pt x="246" y="393"/>
                  <a:pt x="247" y="393"/>
                </a:cubicBezTo>
                <a:cubicBezTo>
                  <a:pt x="246" y="392"/>
                  <a:pt x="246" y="392"/>
                  <a:pt x="246" y="392"/>
                </a:cubicBezTo>
                <a:cubicBezTo>
                  <a:pt x="247" y="391"/>
                  <a:pt x="247" y="392"/>
                  <a:pt x="247" y="391"/>
                </a:cubicBezTo>
                <a:cubicBezTo>
                  <a:pt x="248" y="391"/>
                  <a:pt x="248" y="391"/>
                  <a:pt x="249" y="391"/>
                </a:cubicBezTo>
                <a:cubicBezTo>
                  <a:pt x="249" y="391"/>
                  <a:pt x="249" y="391"/>
                  <a:pt x="249" y="391"/>
                </a:cubicBezTo>
                <a:cubicBezTo>
                  <a:pt x="249" y="389"/>
                  <a:pt x="250" y="391"/>
                  <a:pt x="250" y="391"/>
                </a:cubicBezTo>
                <a:cubicBezTo>
                  <a:pt x="250" y="392"/>
                  <a:pt x="250" y="393"/>
                  <a:pt x="249" y="393"/>
                </a:cubicBezTo>
                <a:cubicBezTo>
                  <a:pt x="249" y="393"/>
                  <a:pt x="249" y="392"/>
                  <a:pt x="249" y="392"/>
                </a:cubicBezTo>
                <a:cubicBezTo>
                  <a:pt x="248" y="392"/>
                  <a:pt x="248" y="392"/>
                  <a:pt x="248" y="392"/>
                </a:cubicBezTo>
                <a:cubicBezTo>
                  <a:pt x="249" y="393"/>
                  <a:pt x="249" y="393"/>
                  <a:pt x="249" y="394"/>
                </a:cubicBezTo>
                <a:cubicBezTo>
                  <a:pt x="249" y="395"/>
                  <a:pt x="249" y="396"/>
                  <a:pt x="249" y="397"/>
                </a:cubicBezTo>
                <a:cubicBezTo>
                  <a:pt x="248" y="397"/>
                  <a:pt x="248" y="398"/>
                  <a:pt x="247" y="398"/>
                </a:cubicBezTo>
                <a:cubicBezTo>
                  <a:pt x="247" y="398"/>
                  <a:pt x="247" y="399"/>
                  <a:pt x="247" y="400"/>
                </a:cubicBezTo>
                <a:cubicBezTo>
                  <a:pt x="247" y="400"/>
                  <a:pt x="248" y="401"/>
                  <a:pt x="247" y="400"/>
                </a:cubicBezTo>
                <a:cubicBezTo>
                  <a:pt x="247" y="400"/>
                  <a:pt x="247" y="400"/>
                  <a:pt x="247" y="400"/>
                </a:cubicBezTo>
                <a:cubicBezTo>
                  <a:pt x="246" y="400"/>
                  <a:pt x="246" y="400"/>
                  <a:pt x="246" y="400"/>
                </a:cubicBezTo>
                <a:cubicBezTo>
                  <a:pt x="245" y="400"/>
                  <a:pt x="246" y="402"/>
                  <a:pt x="246" y="402"/>
                </a:cubicBezTo>
                <a:cubicBezTo>
                  <a:pt x="246" y="402"/>
                  <a:pt x="246" y="403"/>
                  <a:pt x="246" y="404"/>
                </a:cubicBezTo>
                <a:cubicBezTo>
                  <a:pt x="245" y="404"/>
                  <a:pt x="244" y="405"/>
                  <a:pt x="244" y="404"/>
                </a:cubicBezTo>
                <a:cubicBezTo>
                  <a:pt x="243" y="405"/>
                  <a:pt x="244" y="405"/>
                  <a:pt x="244" y="406"/>
                </a:cubicBezTo>
                <a:cubicBezTo>
                  <a:pt x="243" y="405"/>
                  <a:pt x="243" y="406"/>
                  <a:pt x="243" y="407"/>
                </a:cubicBezTo>
                <a:cubicBezTo>
                  <a:pt x="242" y="408"/>
                  <a:pt x="242" y="407"/>
                  <a:pt x="241" y="408"/>
                </a:cubicBezTo>
                <a:cubicBezTo>
                  <a:pt x="241" y="408"/>
                  <a:pt x="241" y="408"/>
                  <a:pt x="240" y="409"/>
                </a:cubicBezTo>
                <a:cubicBezTo>
                  <a:pt x="240" y="409"/>
                  <a:pt x="240" y="408"/>
                  <a:pt x="240" y="408"/>
                </a:cubicBezTo>
                <a:cubicBezTo>
                  <a:pt x="239" y="408"/>
                  <a:pt x="238" y="408"/>
                  <a:pt x="238" y="408"/>
                </a:cubicBezTo>
                <a:cubicBezTo>
                  <a:pt x="239" y="409"/>
                  <a:pt x="239" y="409"/>
                  <a:pt x="239" y="410"/>
                </a:cubicBezTo>
                <a:cubicBezTo>
                  <a:pt x="239" y="410"/>
                  <a:pt x="239" y="412"/>
                  <a:pt x="239" y="412"/>
                </a:cubicBezTo>
                <a:cubicBezTo>
                  <a:pt x="239" y="411"/>
                  <a:pt x="240" y="410"/>
                  <a:pt x="240" y="410"/>
                </a:cubicBezTo>
                <a:cubicBezTo>
                  <a:pt x="241" y="409"/>
                  <a:pt x="241" y="409"/>
                  <a:pt x="242" y="408"/>
                </a:cubicBezTo>
                <a:cubicBezTo>
                  <a:pt x="243" y="408"/>
                  <a:pt x="244" y="407"/>
                  <a:pt x="245" y="406"/>
                </a:cubicBezTo>
                <a:cubicBezTo>
                  <a:pt x="247" y="403"/>
                  <a:pt x="249" y="400"/>
                  <a:pt x="250" y="397"/>
                </a:cubicBezTo>
                <a:cubicBezTo>
                  <a:pt x="251" y="396"/>
                  <a:pt x="252" y="394"/>
                  <a:pt x="252" y="392"/>
                </a:cubicBezTo>
                <a:cubicBezTo>
                  <a:pt x="253" y="391"/>
                  <a:pt x="253" y="389"/>
                  <a:pt x="253" y="387"/>
                </a:cubicBezTo>
                <a:cubicBezTo>
                  <a:pt x="254" y="386"/>
                  <a:pt x="254" y="384"/>
                  <a:pt x="255" y="383"/>
                </a:cubicBezTo>
                <a:cubicBezTo>
                  <a:pt x="256" y="381"/>
                  <a:pt x="256" y="379"/>
                  <a:pt x="257" y="378"/>
                </a:cubicBezTo>
                <a:cubicBezTo>
                  <a:pt x="258" y="377"/>
                  <a:pt x="259" y="375"/>
                  <a:pt x="260" y="374"/>
                </a:cubicBezTo>
                <a:cubicBezTo>
                  <a:pt x="261" y="374"/>
                  <a:pt x="261" y="373"/>
                  <a:pt x="262" y="373"/>
                </a:cubicBezTo>
                <a:cubicBezTo>
                  <a:pt x="263" y="373"/>
                  <a:pt x="263" y="373"/>
                  <a:pt x="263" y="372"/>
                </a:cubicBezTo>
                <a:cubicBezTo>
                  <a:pt x="264" y="372"/>
                  <a:pt x="263" y="372"/>
                  <a:pt x="263" y="371"/>
                </a:cubicBezTo>
                <a:cubicBezTo>
                  <a:pt x="262" y="371"/>
                  <a:pt x="263" y="371"/>
                  <a:pt x="263" y="371"/>
                </a:cubicBezTo>
                <a:cubicBezTo>
                  <a:pt x="262" y="371"/>
                  <a:pt x="262" y="371"/>
                  <a:pt x="262" y="371"/>
                </a:cubicBezTo>
                <a:cubicBezTo>
                  <a:pt x="262" y="371"/>
                  <a:pt x="262" y="370"/>
                  <a:pt x="262" y="370"/>
                </a:cubicBezTo>
                <a:cubicBezTo>
                  <a:pt x="262" y="370"/>
                  <a:pt x="263" y="370"/>
                  <a:pt x="263" y="370"/>
                </a:cubicBezTo>
                <a:cubicBezTo>
                  <a:pt x="263" y="371"/>
                  <a:pt x="263" y="371"/>
                  <a:pt x="263" y="371"/>
                </a:cubicBezTo>
                <a:cubicBezTo>
                  <a:pt x="263" y="371"/>
                  <a:pt x="263" y="371"/>
                  <a:pt x="264" y="370"/>
                </a:cubicBezTo>
                <a:cubicBezTo>
                  <a:pt x="264" y="370"/>
                  <a:pt x="264" y="369"/>
                  <a:pt x="264" y="368"/>
                </a:cubicBezTo>
                <a:cubicBezTo>
                  <a:pt x="264" y="367"/>
                  <a:pt x="264" y="366"/>
                  <a:pt x="264" y="366"/>
                </a:cubicBezTo>
                <a:cubicBezTo>
                  <a:pt x="264" y="365"/>
                  <a:pt x="264" y="364"/>
                  <a:pt x="264" y="364"/>
                </a:cubicBezTo>
                <a:cubicBezTo>
                  <a:pt x="264" y="364"/>
                  <a:pt x="263" y="361"/>
                  <a:pt x="264" y="362"/>
                </a:cubicBezTo>
                <a:cubicBezTo>
                  <a:pt x="264" y="361"/>
                  <a:pt x="262" y="361"/>
                  <a:pt x="263" y="360"/>
                </a:cubicBezTo>
                <a:cubicBezTo>
                  <a:pt x="264" y="359"/>
                  <a:pt x="264" y="359"/>
                  <a:pt x="263" y="358"/>
                </a:cubicBezTo>
                <a:cubicBezTo>
                  <a:pt x="262" y="358"/>
                  <a:pt x="263" y="357"/>
                  <a:pt x="264" y="357"/>
                </a:cubicBezTo>
                <a:cubicBezTo>
                  <a:pt x="264" y="357"/>
                  <a:pt x="264" y="358"/>
                  <a:pt x="264" y="357"/>
                </a:cubicBezTo>
                <a:cubicBezTo>
                  <a:pt x="264" y="357"/>
                  <a:pt x="264" y="356"/>
                  <a:pt x="263" y="356"/>
                </a:cubicBezTo>
                <a:cubicBezTo>
                  <a:pt x="263" y="357"/>
                  <a:pt x="263" y="357"/>
                  <a:pt x="263" y="356"/>
                </a:cubicBezTo>
                <a:cubicBezTo>
                  <a:pt x="263" y="356"/>
                  <a:pt x="263" y="356"/>
                  <a:pt x="263" y="355"/>
                </a:cubicBezTo>
                <a:cubicBezTo>
                  <a:pt x="263" y="355"/>
                  <a:pt x="262" y="354"/>
                  <a:pt x="262" y="354"/>
                </a:cubicBezTo>
                <a:cubicBezTo>
                  <a:pt x="262" y="353"/>
                  <a:pt x="263" y="353"/>
                  <a:pt x="262" y="352"/>
                </a:cubicBezTo>
                <a:cubicBezTo>
                  <a:pt x="262" y="352"/>
                  <a:pt x="262" y="352"/>
                  <a:pt x="261" y="352"/>
                </a:cubicBezTo>
                <a:cubicBezTo>
                  <a:pt x="261" y="351"/>
                  <a:pt x="261" y="350"/>
                  <a:pt x="262" y="350"/>
                </a:cubicBezTo>
                <a:cubicBezTo>
                  <a:pt x="262" y="349"/>
                  <a:pt x="262" y="348"/>
                  <a:pt x="261" y="348"/>
                </a:cubicBezTo>
                <a:cubicBezTo>
                  <a:pt x="261" y="348"/>
                  <a:pt x="260" y="348"/>
                  <a:pt x="260" y="347"/>
                </a:cubicBezTo>
                <a:cubicBezTo>
                  <a:pt x="260" y="347"/>
                  <a:pt x="260" y="347"/>
                  <a:pt x="260" y="346"/>
                </a:cubicBezTo>
                <a:cubicBezTo>
                  <a:pt x="260" y="346"/>
                  <a:pt x="260" y="345"/>
                  <a:pt x="259" y="345"/>
                </a:cubicBezTo>
                <a:cubicBezTo>
                  <a:pt x="260" y="345"/>
                  <a:pt x="260" y="347"/>
                  <a:pt x="261" y="347"/>
                </a:cubicBezTo>
                <a:cubicBezTo>
                  <a:pt x="261" y="346"/>
                  <a:pt x="262" y="346"/>
                  <a:pt x="262" y="346"/>
                </a:cubicBezTo>
                <a:cubicBezTo>
                  <a:pt x="262" y="345"/>
                  <a:pt x="261" y="345"/>
                  <a:pt x="261" y="345"/>
                </a:cubicBezTo>
                <a:cubicBezTo>
                  <a:pt x="261" y="344"/>
                  <a:pt x="262" y="342"/>
                  <a:pt x="261" y="343"/>
                </a:cubicBezTo>
                <a:cubicBezTo>
                  <a:pt x="261" y="343"/>
                  <a:pt x="259" y="342"/>
                  <a:pt x="259" y="343"/>
                </a:cubicBezTo>
                <a:cubicBezTo>
                  <a:pt x="260" y="342"/>
                  <a:pt x="261" y="342"/>
                  <a:pt x="261" y="342"/>
                </a:cubicBezTo>
                <a:cubicBezTo>
                  <a:pt x="261" y="342"/>
                  <a:pt x="261" y="342"/>
                  <a:pt x="261" y="342"/>
                </a:cubicBezTo>
                <a:cubicBezTo>
                  <a:pt x="261" y="342"/>
                  <a:pt x="261" y="343"/>
                  <a:pt x="262" y="342"/>
                </a:cubicBezTo>
                <a:cubicBezTo>
                  <a:pt x="262" y="342"/>
                  <a:pt x="262" y="341"/>
                  <a:pt x="262" y="341"/>
                </a:cubicBezTo>
                <a:cubicBezTo>
                  <a:pt x="262" y="340"/>
                  <a:pt x="263" y="339"/>
                  <a:pt x="263" y="339"/>
                </a:cubicBezTo>
                <a:cubicBezTo>
                  <a:pt x="262" y="339"/>
                  <a:pt x="262" y="339"/>
                  <a:pt x="262" y="339"/>
                </a:cubicBezTo>
                <a:cubicBezTo>
                  <a:pt x="262" y="339"/>
                  <a:pt x="262" y="339"/>
                  <a:pt x="262" y="339"/>
                </a:cubicBezTo>
                <a:cubicBezTo>
                  <a:pt x="261" y="339"/>
                  <a:pt x="261" y="339"/>
                  <a:pt x="261" y="339"/>
                </a:cubicBezTo>
                <a:cubicBezTo>
                  <a:pt x="261" y="339"/>
                  <a:pt x="260" y="339"/>
                  <a:pt x="260" y="339"/>
                </a:cubicBezTo>
                <a:cubicBezTo>
                  <a:pt x="260" y="338"/>
                  <a:pt x="260" y="339"/>
                  <a:pt x="259" y="338"/>
                </a:cubicBezTo>
                <a:cubicBezTo>
                  <a:pt x="260" y="339"/>
                  <a:pt x="259" y="337"/>
                  <a:pt x="259" y="337"/>
                </a:cubicBezTo>
                <a:cubicBezTo>
                  <a:pt x="260" y="337"/>
                  <a:pt x="260" y="338"/>
                  <a:pt x="261" y="338"/>
                </a:cubicBezTo>
                <a:cubicBezTo>
                  <a:pt x="261" y="338"/>
                  <a:pt x="262" y="338"/>
                  <a:pt x="262" y="338"/>
                </a:cubicBezTo>
                <a:cubicBezTo>
                  <a:pt x="262" y="337"/>
                  <a:pt x="262" y="337"/>
                  <a:pt x="261" y="337"/>
                </a:cubicBezTo>
                <a:cubicBezTo>
                  <a:pt x="262" y="337"/>
                  <a:pt x="261" y="336"/>
                  <a:pt x="262" y="336"/>
                </a:cubicBezTo>
                <a:cubicBezTo>
                  <a:pt x="262" y="336"/>
                  <a:pt x="262" y="336"/>
                  <a:pt x="262" y="336"/>
                </a:cubicBezTo>
                <a:cubicBezTo>
                  <a:pt x="263" y="336"/>
                  <a:pt x="262" y="336"/>
                  <a:pt x="263" y="336"/>
                </a:cubicBezTo>
                <a:cubicBezTo>
                  <a:pt x="262" y="336"/>
                  <a:pt x="264" y="338"/>
                  <a:pt x="263" y="336"/>
                </a:cubicBezTo>
                <a:cubicBezTo>
                  <a:pt x="264" y="337"/>
                  <a:pt x="264" y="336"/>
                  <a:pt x="265" y="336"/>
                </a:cubicBezTo>
                <a:cubicBezTo>
                  <a:pt x="265" y="336"/>
                  <a:pt x="264" y="336"/>
                  <a:pt x="264" y="337"/>
                </a:cubicBezTo>
                <a:cubicBezTo>
                  <a:pt x="264" y="337"/>
                  <a:pt x="264" y="338"/>
                  <a:pt x="264" y="338"/>
                </a:cubicBezTo>
                <a:cubicBezTo>
                  <a:pt x="264" y="338"/>
                  <a:pt x="264" y="338"/>
                  <a:pt x="264" y="338"/>
                </a:cubicBezTo>
                <a:cubicBezTo>
                  <a:pt x="264" y="337"/>
                  <a:pt x="265" y="337"/>
                  <a:pt x="265" y="337"/>
                </a:cubicBezTo>
                <a:cubicBezTo>
                  <a:pt x="265" y="336"/>
                  <a:pt x="266" y="336"/>
                  <a:pt x="266" y="335"/>
                </a:cubicBezTo>
                <a:cubicBezTo>
                  <a:pt x="266" y="335"/>
                  <a:pt x="267" y="335"/>
                  <a:pt x="267" y="334"/>
                </a:cubicBezTo>
                <a:cubicBezTo>
                  <a:pt x="267" y="333"/>
                  <a:pt x="266" y="334"/>
                  <a:pt x="265" y="333"/>
                </a:cubicBezTo>
                <a:cubicBezTo>
                  <a:pt x="266" y="333"/>
                  <a:pt x="266" y="333"/>
                  <a:pt x="266" y="333"/>
                </a:cubicBezTo>
                <a:cubicBezTo>
                  <a:pt x="265" y="333"/>
                  <a:pt x="266" y="334"/>
                  <a:pt x="266" y="334"/>
                </a:cubicBezTo>
                <a:cubicBezTo>
                  <a:pt x="266" y="333"/>
                  <a:pt x="267" y="333"/>
                  <a:pt x="267" y="333"/>
                </a:cubicBezTo>
                <a:cubicBezTo>
                  <a:pt x="267" y="332"/>
                  <a:pt x="268" y="331"/>
                  <a:pt x="269" y="330"/>
                </a:cubicBezTo>
                <a:cubicBezTo>
                  <a:pt x="270" y="329"/>
                  <a:pt x="271" y="329"/>
                  <a:pt x="272" y="328"/>
                </a:cubicBezTo>
                <a:cubicBezTo>
                  <a:pt x="272" y="328"/>
                  <a:pt x="274" y="327"/>
                  <a:pt x="274" y="327"/>
                </a:cubicBezTo>
                <a:cubicBezTo>
                  <a:pt x="274" y="327"/>
                  <a:pt x="274" y="325"/>
                  <a:pt x="275" y="325"/>
                </a:cubicBezTo>
                <a:cubicBezTo>
                  <a:pt x="275" y="325"/>
                  <a:pt x="276" y="324"/>
                  <a:pt x="276" y="324"/>
                </a:cubicBezTo>
                <a:cubicBezTo>
                  <a:pt x="277" y="324"/>
                  <a:pt x="279" y="322"/>
                  <a:pt x="280" y="322"/>
                </a:cubicBezTo>
                <a:cubicBezTo>
                  <a:pt x="280" y="322"/>
                  <a:pt x="279" y="321"/>
                  <a:pt x="279" y="321"/>
                </a:cubicBezTo>
                <a:cubicBezTo>
                  <a:pt x="280" y="321"/>
                  <a:pt x="279" y="321"/>
                  <a:pt x="280" y="321"/>
                </a:cubicBezTo>
                <a:cubicBezTo>
                  <a:pt x="280" y="321"/>
                  <a:pt x="280" y="321"/>
                  <a:pt x="280" y="321"/>
                </a:cubicBezTo>
                <a:cubicBezTo>
                  <a:pt x="281" y="321"/>
                  <a:pt x="281" y="322"/>
                  <a:pt x="281" y="322"/>
                </a:cubicBezTo>
                <a:cubicBezTo>
                  <a:pt x="281" y="322"/>
                  <a:pt x="281" y="322"/>
                  <a:pt x="280" y="322"/>
                </a:cubicBezTo>
                <a:cubicBezTo>
                  <a:pt x="281" y="323"/>
                  <a:pt x="281" y="322"/>
                  <a:pt x="281" y="322"/>
                </a:cubicBezTo>
                <a:cubicBezTo>
                  <a:pt x="282" y="322"/>
                  <a:pt x="282" y="321"/>
                  <a:pt x="282" y="321"/>
                </a:cubicBezTo>
                <a:cubicBezTo>
                  <a:pt x="282" y="321"/>
                  <a:pt x="282" y="321"/>
                  <a:pt x="281" y="321"/>
                </a:cubicBezTo>
                <a:cubicBezTo>
                  <a:pt x="282" y="320"/>
                  <a:pt x="284" y="319"/>
                  <a:pt x="286" y="320"/>
                </a:cubicBezTo>
                <a:cubicBezTo>
                  <a:pt x="286" y="320"/>
                  <a:pt x="287" y="320"/>
                  <a:pt x="287" y="320"/>
                </a:cubicBezTo>
                <a:cubicBezTo>
                  <a:pt x="288" y="320"/>
                  <a:pt x="288" y="320"/>
                  <a:pt x="288" y="320"/>
                </a:cubicBezTo>
                <a:cubicBezTo>
                  <a:pt x="289" y="320"/>
                  <a:pt x="289" y="320"/>
                  <a:pt x="289" y="319"/>
                </a:cubicBezTo>
                <a:cubicBezTo>
                  <a:pt x="288" y="318"/>
                  <a:pt x="289" y="318"/>
                  <a:pt x="289" y="318"/>
                </a:cubicBezTo>
                <a:cubicBezTo>
                  <a:pt x="289" y="318"/>
                  <a:pt x="290" y="317"/>
                  <a:pt x="290" y="317"/>
                </a:cubicBezTo>
                <a:cubicBezTo>
                  <a:pt x="290" y="317"/>
                  <a:pt x="291" y="317"/>
                  <a:pt x="291" y="317"/>
                </a:cubicBezTo>
                <a:cubicBezTo>
                  <a:pt x="291" y="316"/>
                  <a:pt x="291" y="317"/>
                  <a:pt x="291" y="316"/>
                </a:cubicBezTo>
                <a:cubicBezTo>
                  <a:pt x="292" y="317"/>
                  <a:pt x="292" y="317"/>
                  <a:pt x="292" y="317"/>
                </a:cubicBezTo>
                <a:cubicBezTo>
                  <a:pt x="292" y="316"/>
                  <a:pt x="292" y="316"/>
                  <a:pt x="292" y="316"/>
                </a:cubicBezTo>
                <a:cubicBezTo>
                  <a:pt x="292" y="316"/>
                  <a:pt x="293" y="315"/>
                  <a:pt x="293" y="315"/>
                </a:cubicBezTo>
                <a:cubicBezTo>
                  <a:pt x="293" y="315"/>
                  <a:pt x="294" y="315"/>
                  <a:pt x="294" y="315"/>
                </a:cubicBezTo>
                <a:cubicBezTo>
                  <a:pt x="294" y="315"/>
                  <a:pt x="297" y="315"/>
                  <a:pt x="297" y="314"/>
                </a:cubicBezTo>
                <a:cubicBezTo>
                  <a:pt x="297" y="314"/>
                  <a:pt x="296" y="314"/>
                  <a:pt x="296" y="314"/>
                </a:cubicBezTo>
                <a:cubicBezTo>
                  <a:pt x="296" y="313"/>
                  <a:pt x="295" y="314"/>
                  <a:pt x="295" y="314"/>
                </a:cubicBezTo>
                <a:cubicBezTo>
                  <a:pt x="295" y="314"/>
                  <a:pt x="296" y="313"/>
                  <a:pt x="295" y="314"/>
                </a:cubicBezTo>
                <a:cubicBezTo>
                  <a:pt x="295" y="314"/>
                  <a:pt x="296" y="313"/>
                  <a:pt x="296" y="313"/>
                </a:cubicBezTo>
                <a:cubicBezTo>
                  <a:pt x="295" y="313"/>
                  <a:pt x="295" y="314"/>
                  <a:pt x="295" y="313"/>
                </a:cubicBezTo>
                <a:cubicBezTo>
                  <a:pt x="295" y="312"/>
                  <a:pt x="295" y="311"/>
                  <a:pt x="296" y="312"/>
                </a:cubicBezTo>
                <a:cubicBezTo>
                  <a:pt x="296" y="312"/>
                  <a:pt x="296" y="311"/>
                  <a:pt x="297" y="311"/>
                </a:cubicBezTo>
                <a:cubicBezTo>
                  <a:pt x="297" y="311"/>
                  <a:pt x="297" y="311"/>
                  <a:pt x="297" y="311"/>
                </a:cubicBezTo>
                <a:cubicBezTo>
                  <a:pt x="297" y="310"/>
                  <a:pt x="298" y="311"/>
                  <a:pt x="298" y="310"/>
                </a:cubicBezTo>
                <a:cubicBezTo>
                  <a:pt x="298" y="310"/>
                  <a:pt x="298" y="310"/>
                  <a:pt x="298" y="310"/>
                </a:cubicBezTo>
                <a:cubicBezTo>
                  <a:pt x="298" y="310"/>
                  <a:pt x="298" y="311"/>
                  <a:pt x="298" y="311"/>
                </a:cubicBezTo>
                <a:cubicBezTo>
                  <a:pt x="298" y="311"/>
                  <a:pt x="299" y="311"/>
                  <a:pt x="299" y="311"/>
                </a:cubicBezTo>
                <a:cubicBezTo>
                  <a:pt x="299" y="311"/>
                  <a:pt x="300" y="312"/>
                  <a:pt x="300" y="311"/>
                </a:cubicBezTo>
                <a:cubicBezTo>
                  <a:pt x="301" y="311"/>
                  <a:pt x="300" y="311"/>
                  <a:pt x="301" y="310"/>
                </a:cubicBezTo>
                <a:cubicBezTo>
                  <a:pt x="301" y="310"/>
                  <a:pt x="301" y="311"/>
                  <a:pt x="301" y="311"/>
                </a:cubicBezTo>
                <a:cubicBezTo>
                  <a:pt x="301" y="311"/>
                  <a:pt x="302" y="310"/>
                  <a:pt x="302" y="310"/>
                </a:cubicBezTo>
                <a:cubicBezTo>
                  <a:pt x="302" y="310"/>
                  <a:pt x="302" y="310"/>
                  <a:pt x="303" y="310"/>
                </a:cubicBezTo>
                <a:cubicBezTo>
                  <a:pt x="303" y="310"/>
                  <a:pt x="304" y="311"/>
                  <a:pt x="305" y="311"/>
                </a:cubicBezTo>
                <a:cubicBezTo>
                  <a:pt x="304" y="312"/>
                  <a:pt x="303" y="312"/>
                  <a:pt x="302" y="311"/>
                </a:cubicBezTo>
                <a:cubicBezTo>
                  <a:pt x="302" y="312"/>
                  <a:pt x="302" y="311"/>
                  <a:pt x="302" y="312"/>
                </a:cubicBezTo>
                <a:cubicBezTo>
                  <a:pt x="301" y="312"/>
                  <a:pt x="301" y="312"/>
                  <a:pt x="302" y="312"/>
                </a:cubicBezTo>
                <a:cubicBezTo>
                  <a:pt x="303" y="312"/>
                  <a:pt x="304" y="312"/>
                  <a:pt x="305" y="312"/>
                </a:cubicBezTo>
                <a:cubicBezTo>
                  <a:pt x="306" y="312"/>
                  <a:pt x="306" y="312"/>
                  <a:pt x="306" y="311"/>
                </a:cubicBezTo>
                <a:cubicBezTo>
                  <a:pt x="307" y="311"/>
                  <a:pt x="307" y="311"/>
                  <a:pt x="308" y="311"/>
                </a:cubicBezTo>
                <a:cubicBezTo>
                  <a:pt x="309" y="311"/>
                  <a:pt x="310" y="311"/>
                  <a:pt x="309" y="310"/>
                </a:cubicBezTo>
                <a:cubicBezTo>
                  <a:pt x="309" y="310"/>
                  <a:pt x="308" y="310"/>
                  <a:pt x="309" y="309"/>
                </a:cubicBezTo>
                <a:cubicBezTo>
                  <a:pt x="308" y="309"/>
                  <a:pt x="308" y="309"/>
                  <a:pt x="308" y="308"/>
                </a:cubicBezTo>
                <a:cubicBezTo>
                  <a:pt x="309" y="308"/>
                  <a:pt x="309" y="308"/>
                  <a:pt x="310" y="307"/>
                </a:cubicBezTo>
                <a:cubicBezTo>
                  <a:pt x="311" y="307"/>
                  <a:pt x="309" y="310"/>
                  <a:pt x="309" y="310"/>
                </a:cubicBezTo>
                <a:cubicBezTo>
                  <a:pt x="309" y="310"/>
                  <a:pt x="310" y="310"/>
                  <a:pt x="310" y="310"/>
                </a:cubicBezTo>
                <a:cubicBezTo>
                  <a:pt x="311" y="311"/>
                  <a:pt x="312" y="311"/>
                  <a:pt x="313" y="311"/>
                </a:cubicBezTo>
                <a:cubicBezTo>
                  <a:pt x="314" y="311"/>
                  <a:pt x="315" y="310"/>
                  <a:pt x="315" y="310"/>
                </a:cubicBezTo>
                <a:cubicBezTo>
                  <a:pt x="316" y="310"/>
                  <a:pt x="317" y="310"/>
                  <a:pt x="318" y="310"/>
                </a:cubicBezTo>
                <a:cubicBezTo>
                  <a:pt x="318" y="310"/>
                  <a:pt x="319" y="310"/>
                  <a:pt x="320" y="311"/>
                </a:cubicBezTo>
                <a:cubicBezTo>
                  <a:pt x="320" y="311"/>
                  <a:pt x="321" y="311"/>
                  <a:pt x="320" y="310"/>
                </a:cubicBezTo>
                <a:cubicBezTo>
                  <a:pt x="319" y="311"/>
                  <a:pt x="321" y="308"/>
                  <a:pt x="321" y="308"/>
                </a:cubicBezTo>
                <a:cubicBezTo>
                  <a:pt x="321" y="308"/>
                  <a:pt x="321" y="308"/>
                  <a:pt x="321" y="308"/>
                </a:cubicBezTo>
                <a:cubicBezTo>
                  <a:pt x="320" y="308"/>
                  <a:pt x="320" y="308"/>
                  <a:pt x="320" y="308"/>
                </a:cubicBezTo>
                <a:cubicBezTo>
                  <a:pt x="320" y="307"/>
                  <a:pt x="320" y="306"/>
                  <a:pt x="320" y="306"/>
                </a:cubicBezTo>
                <a:cubicBezTo>
                  <a:pt x="322" y="305"/>
                  <a:pt x="322" y="303"/>
                  <a:pt x="324" y="302"/>
                </a:cubicBezTo>
                <a:cubicBezTo>
                  <a:pt x="325" y="302"/>
                  <a:pt x="326" y="302"/>
                  <a:pt x="327" y="301"/>
                </a:cubicBezTo>
                <a:cubicBezTo>
                  <a:pt x="328" y="301"/>
                  <a:pt x="329" y="300"/>
                  <a:pt x="329" y="300"/>
                </a:cubicBezTo>
                <a:cubicBezTo>
                  <a:pt x="329" y="299"/>
                  <a:pt x="329" y="298"/>
                  <a:pt x="329" y="297"/>
                </a:cubicBezTo>
                <a:cubicBezTo>
                  <a:pt x="328" y="297"/>
                  <a:pt x="328" y="296"/>
                  <a:pt x="328" y="296"/>
                </a:cubicBezTo>
                <a:cubicBezTo>
                  <a:pt x="328" y="295"/>
                  <a:pt x="328" y="295"/>
                  <a:pt x="328" y="295"/>
                </a:cubicBezTo>
                <a:cubicBezTo>
                  <a:pt x="328" y="294"/>
                  <a:pt x="328" y="294"/>
                  <a:pt x="328" y="293"/>
                </a:cubicBezTo>
                <a:cubicBezTo>
                  <a:pt x="329" y="293"/>
                  <a:pt x="329" y="293"/>
                  <a:pt x="329" y="292"/>
                </a:cubicBezTo>
                <a:cubicBezTo>
                  <a:pt x="329" y="291"/>
                  <a:pt x="329" y="290"/>
                  <a:pt x="330" y="290"/>
                </a:cubicBezTo>
                <a:cubicBezTo>
                  <a:pt x="330" y="289"/>
                  <a:pt x="330" y="288"/>
                  <a:pt x="330" y="287"/>
                </a:cubicBezTo>
                <a:cubicBezTo>
                  <a:pt x="331" y="287"/>
                  <a:pt x="331" y="287"/>
                  <a:pt x="332" y="287"/>
                </a:cubicBezTo>
                <a:cubicBezTo>
                  <a:pt x="333" y="285"/>
                  <a:pt x="334" y="284"/>
                  <a:pt x="334" y="283"/>
                </a:cubicBezTo>
                <a:cubicBezTo>
                  <a:pt x="334" y="283"/>
                  <a:pt x="334" y="282"/>
                  <a:pt x="334" y="282"/>
                </a:cubicBezTo>
                <a:cubicBezTo>
                  <a:pt x="334" y="282"/>
                  <a:pt x="334" y="282"/>
                  <a:pt x="333" y="281"/>
                </a:cubicBezTo>
                <a:cubicBezTo>
                  <a:pt x="333" y="281"/>
                  <a:pt x="334" y="281"/>
                  <a:pt x="333" y="281"/>
                </a:cubicBezTo>
                <a:cubicBezTo>
                  <a:pt x="334" y="281"/>
                  <a:pt x="334" y="281"/>
                  <a:pt x="335" y="281"/>
                </a:cubicBezTo>
                <a:cubicBezTo>
                  <a:pt x="335" y="281"/>
                  <a:pt x="335" y="280"/>
                  <a:pt x="335" y="279"/>
                </a:cubicBezTo>
                <a:cubicBezTo>
                  <a:pt x="335" y="279"/>
                  <a:pt x="335" y="279"/>
                  <a:pt x="335" y="278"/>
                </a:cubicBezTo>
                <a:cubicBezTo>
                  <a:pt x="335" y="278"/>
                  <a:pt x="335" y="278"/>
                  <a:pt x="335" y="278"/>
                </a:cubicBezTo>
                <a:cubicBezTo>
                  <a:pt x="335" y="277"/>
                  <a:pt x="336" y="277"/>
                  <a:pt x="336" y="277"/>
                </a:cubicBezTo>
                <a:cubicBezTo>
                  <a:pt x="336" y="276"/>
                  <a:pt x="336" y="275"/>
                  <a:pt x="337" y="275"/>
                </a:cubicBezTo>
                <a:cubicBezTo>
                  <a:pt x="337" y="275"/>
                  <a:pt x="338" y="274"/>
                  <a:pt x="338" y="274"/>
                </a:cubicBezTo>
                <a:cubicBezTo>
                  <a:pt x="340" y="272"/>
                  <a:pt x="339" y="271"/>
                  <a:pt x="339" y="270"/>
                </a:cubicBezTo>
                <a:cubicBezTo>
                  <a:pt x="338" y="266"/>
                  <a:pt x="338" y="263"/>
                  <a:pt x="339" y="259"/>
                </a:cubicBezTo>
                <a:cubicBezTo>
                  <a:pt x="339" y="258"/>
                  <a:pt x="339" y="257"/>
                  <a:pt x="340" y="257"/>
                </a:cubicBezTo>
                <a:cubicBezTo>
                  <a:pt x="340" y="256"/>
                  <a:pt x="340" y="255"/>
                  <a:pt x="341" y="255"/>
                </a:cubicBezTo>
                <a:cubicBezTo>
                  <a:pt x="341" y="255"/>
                  <a:pt x="342" y="255"/>
                  <a:pt x="342" y="255"/>
                </a:cubicBezTo>
                <a:cubicBezTo>
                  <a:pt x="342" y="255"/>
                  <a:pt x="342" y="254"/>
                  <a:pt x="342" y="254"/>
                </a:cubicBezTo>
                <a:cubicBezTo>
                  <a:pt x="343" y="254"/>
                  <a:pt x="343" y="253"/>
                  <a:pt x="343" y="252"/>
                </a:cubicBezTo>
                <a:cubicBezTo>
                  <a:pt x="343" y="252"/>
                  <a:pt x="343" y="252"/>
                  <a:pt x="343" y="251"/>
                </a:cubicBezTo>
                <a:cubicBezTo>
                  <a:pt x="342" y="251"/>
                  <a:pt x="342" y="251"/>
                  <a:pt x="342" y="250"/>
                </a:cubicBezTo>
                <a:cubicBezTo>
                  <a:pt x="342" y="249"/>
                  <a:pt x="342" y="249"/>
                  <a:pt x="342" y="248"/>
                </a:cubicBezTo>
                <a:cubicBezTo>
                  <a:pt x="342" y="247"/>
                  <a:pt x="342" y="246"/>
                  <a:pt x="342" y="245"/>
                </a:cubicBezTo>
                <a:cubicBezTo>
                  <a:pt x="343" y="244"/>
                  <a:pt x="343" y="244"/>
                  <a:pt x="343" y="243"/>
                </a:cubicBezTo>
                <a:cubicBezTo>
                  <a:pt x="342" y="242"/>
                  <a:pt x="343" y="241"/>
                  <a:pt x="343" y="240"/>
                </a:cubicBezTo>
                <a:cubicBezTo>
                  <a:pt x="343" y="239"/>
                  <a:pt x="343" y="239"/>
                  <a:pt x="343" y="238"/>
                </a:cubicBezTo>
                <a:cubicBezTo>
                  <a:pt x="344" y="238"/>
                  <a:pt x="343" y="238"/>
                  <a:pt x="343" y="237"/>
                </a:cubicBezTo>
                <a:cubicBezTo>
                  <a:pt x="343" y="237"/>
                  <a:pt x="344" y="237"/>
                  <a:pt x="344" y="236"/>
                </a:cubicBezTo>
                <a:cubicBezTo>
                  <a:pt x="344" y="235"/>
                  <a:pt x="344" y="235"/>
                  <a:pt x="344" y="234"/>
                </a:cubicBezTo>
                <a:cubicBezTo>
                  <a:pt x="344" y="233"/>
                  <a:pt x="344" y="232"/>
                  <a:pt x="344" y="231"/>
                </a:cubicBezTo>
                <a:cubicBezTo>
                  <a:pt x="344" y="231"/>
                  <a:pt x="343" y="230"/>
                  <a:pt x="343" y="229"/>
                </a:cubicBezTo>
                <a:cubicBezTo>
                  <a:pt x="343" y="227"/>
                  <a:pt x="343" y="225"/>
                  <a:pt x="343" y="223"/>
                </a:cubicBezTo>
                <a:cubicBezTo>
                  <a:pt x="342" y="222"/>
                  <a:pt x="342" y="220"/>
                  <a:pt x="342" y="218"/>
                </a:cubicBezTo>
                <a:cubicBezTo>
                  <a:pt x="342" y="216"/>
                  <a:pt x="342" y="215"/>
                  <a:pt x="342" y="213"/>
                </a:cubicBezTo>
                <a:cubicBezTo>
                  <a:pt x="343" y="213"/>
                  <a:pt x="343" y="211"/>
                  <a:pt x="343" y="211"/>
                </a:cubicBezTo>
                <a:cubicBezTo>
                  <a:pt x="342" y="211"/>
                  <a:pt x="342" y="211"/>
                  <a:pt x="342" y="212"/>
                </a:cubicBezTo>
                <a:cubicBezTo>
                  <a:pt x="342" y="212"/>
                  <a:pt x="342" y="213"/>
                  <a:pt x="342" y="213"/>
                </a:cubicBezTo>
                <a:cubicBezTo>
                  <a:pt x="342" y="213"/>
                  <a:pt x="341" y="213"/>
                  <a:pt x="342" y="214"/>
                </a:cubicBezTo>
                <a:cubicBezTo>
                  <a:pt x="341" y="214"/>
                  <a:pt x="341" y="213"/>
                  <a:pt x="341" y="213"/>
                </a:cubicBezTo>
                <a:cubicBezTo>
                  <a:pt x="342" y="213"/>
                  <a:pt x="342" y="213"/>
                  <a:pt x="342" y="213"/>
                </a:cubicBezTo>
                <a:cubicBezTo>
                  <a:pt x="342" y="213"/>
                  <a:pt x="341" y="211"/>
                  <a:pt x="341" y="211"/>
                </a:cubicBezTo>
                <a:cubicBezTo>
                  <a:pt x="343" y="211"/>
                  <a:pt x="341" y="210"/>
                  <a:pt x="341" y="209"/>
                </a:cubicBezTo>
                <a:cubicBezTo>
                  <a:pt x="341" y="209"/>
                  <a:pt x="341" y="209"/>
                  <a:pt x="340" y="209"/>
                </a:cubicBezTo>
                <a:cubicBezTo>
                  <a:pt x="340" y="209"/>
                  <a:pt x="341" y="209"/>
                  <a:pt x="341" y="209"/>
                </a:cubicBezTo>
                <a:cubicBezTo>
                  <a:pt x="341" y="210"/>
                  <a:pt x="341" y="210"/>
                  <a:pt x="342" y="210"/>
                </a:cubicBezTo>
                <a:cubicBezTo>
                  <a:pt x="342" y="210"/>
                  <a:pt x="342" y="209"/>
                  <a:pt x="342" y="208"/>
                </a:cubicBezTo>
                <a:cubicBezTo>
                  <a:pt x="342" y="208"/>
                  <a:pt x="341" y="206"/>
                  <a:pt x="341" y="207"/>
                </a:cubicBezTo>
                <a:cubicBezTo>
                  <a:pt x="341" y="207"/>
                  <a:pt x="341" y="208"/>
                  <a:pt x="341" y="208"/>
                </a:cubicBezTo>
                <a:cubicBezTo>
                  <a:pt x="341" y="207"/>
                  <a:pt x="341" y="205"/>
                  <a:pt x="341" y="205"/>
                </a:cubicBezTo>
                <a:cubicBezTo>
                  <a:pt x="341" y="205"/>
                  <a:pt x="342" y="205"/>
                  <a:pt x="342" y="205"/>
                </a:cubicBezTo>
                <a:cubicBezTo>
                  <a:pt x="342" y="205"/>
                  <a:pt x="342" y="204"/>
                  <a:pt x="342" y="204"/>
                </a:cubicBezTo>
                <a:cubicBezTo>
                  <a:pt x="342" y="204"/>
                  <a:pt x="343" y="203"/>
                  <a:pt x="343" y="203"/>
                </a:cubicBezTo>
                <a:cubicBezTo>
                  <a:pt x="343" y="203"/>
                  <a:pt x="342" y="203"/>
                  <a:pt x="342" y="202"/>
                </a:cubicBezTo>
                <a:cubicBezTo>
                  <a:pt x="342" y="202"/>
                  <a:pt x="343" y="201"/>
                  <a:pt x="344" y="201"/>
                </a:cubicBezTo>
                <a:cubicBezTo>
                  <a:pt x="344" y="201"/>
                  <a:pt x="344" y="200"/>
                  <a:pt x="344" y="200"/>
                </a:cubicBezTo>
                <a:cubicBezTo>
                  <a:pt x="344" y="199"/>
                  <a:pt x="343" y="200"/>
                  <a:pt x="343" y="200"/>
                </a:cubicBezTo>
                <a:cubicBezTo>
                  <a:pt x="343" y="199"/>
                  <a:pt x="342" y="199"/>
                  <a:pt x="342" y="199"/>
                </a:cubicBezTo>
                <a:cubicBezTo>
                  <a:pt x="342" y="198"/>
                  <a:pt x="342" y="198"/>
                  <a:pt x="342" y="197"/>
                </a:cubicBezTo>
                <a:cubicBezTo>
                  <a:pt x="343" y="197"/>
                  <a:pt x="342" y="200"/>
                  <a:pt x="343" y="199"/>
                </a:cubicBezTo>
                <a:cubicBezTo>
                  <a:pt x="344" y="199"/>
                  <a:pt x="343" y="197"/>
                  <a:pt x="344" y="196"/>
                </a:cubicBezTo>
                <a:cubicBezTo>
                  <a:pt x="344" y="197"/>
                  <a:pt x="344" y="197"/>
                  <a:pt x="345" y="197"/>
                </a:cubicBezTo>
                <a:cubicBezTo>
                  <a:pt x="345" y="198"/>
                  <a:pt x="345" y="198"/>
                  <a:pt x="345" y="198"/>
                </a:cubicBezTo>
                <a:cubicBezTo>
                  <a:pt x="346" y="198"/>
                  <a:pt x="346" y="198"/>
                  <a:pt x="346" y="199"/>
                </a:cubicBezTo>
                <a:cubicBezTo>
                  <a:pt x="346" y="199"/>
                  <a:pt x="346" y="200"/>
                  <a:pt x="346" y="200"/>
                </a:cubicBezTo>
                <a:cubicBezTo>
                  <a:pt x="346" y="200"/>
                  <a:pt x="346" y="201"/>
                  <a:pt x="346" y="201"/>
                </a:cubicBezTo>
                <a:cubicBezTo>
                  <a:pt x="346" y="202"/>
                  <a:pt x="347" y="201"/>
                  <a:pt x="347" y="201"/>
                </a:cubicBezTo>
                <a:cubicBezTo>
                  <a:pt x="349" y="200"/>
                  <a:pt x="350" y="198"/>
                  <a:pt x="351" y="196"/>
                </a:cubicBezTo>
                <a:cubicBezTo>
                  <a:pt x="352" y="195"/>
                  <a:pt x="353" y="193"/>
                  <a:pt x="354" y="191"/>
                </a:cubicBezTo>
                <a:cubicBezTo>
                  <a:pt x="355" y="189"/>
                  <a:pt x="356" y="186"/>
                  <a:pt x="356" y="184"/>
                </a:cubicBezTo>
                <a:cubicBezTo>
                  <a:pt x="356" y="185"/>
                  <a:pt x="356" y="185"/>
                  <a:pt x="355" y="185"/>
                </a:cubicBezTo>
                <a:cubicBezTo>
                  <a:pt x="355" y="185"/>
                  <a:pt x="356" y="184"/>
                  <a:pt x="356" y="184"/>
                </a:cubicBezTo>
                <a:cubicBezTo>
                  <a:pt x="356" y="184"/>
                  <a:pt x="355" y="183"/>
                  <a:pt x="356" y="183"/>
                </a:cubicBezTo>
                <a:cubicBezTo>
                  <a:pt x="356" y="183"/>
                  <a:pt x="356" y="184"/>
                  <a:pt x="356" y="183"/>
                </a:cubicBezTo>
                <a:cubicBezTo>
                  <a:pt x="356" y="183"/>
                  <a:pt x="357" y="182"/>
                  <a:pt x="356" y="182"/>
                </a:cubicBezTo>
                <a:cubicBezTo>
                  <a:pt x="357" y="182"/>
                  <a:pt x="357" y="182"/>
                  <a:pt x="357" y="182"/>
                </a:cubicBezTo>
                <a:cubicBezTo>
                  <a:pt x="357" y="182"/>
                  <a:pt x="357" y="182"/>
                  <a:pt x="356" y="181"/>
                </a:cubicBezTo>
                <a:cubicBezTo>
                  <a:pt x="357" y="181"/>
                  <a:pt x="357" y="182"/>
                  <a:pt x="357" y="181"/>
                </a:cubicBezTo>
                <a:cubicBezTo>
                  <a:pt x="357" y="182"/>
                  <a:pt x="356" y="183"/>
                  <a:pt x="356" y="183"/>
                </a:cubicBezTo>
                <a:cubicBezTo>
                  <a:pt x="356" y="183"/>
                  <a:pt x="356" y="184"/>
                  <a:pt x="356" y="184"/>
                </a:cubicBezTo>
                <a:cubicBezTo>
                  <a:pt x="357" y="184"/>
                  <a:pt x="357" y="184"/>
                  <a:pt x="357" y="183"/>
                </a:cubicBezTo>
                <a:cubicBezTo>
                  <a:pt x="357" y="183"/>
                  <a:pt x="357" y="182"/>
                  <a:pt x="358" y="181"/>
                </a:cubicBezTo>
                <a:cubicBezTo>
                  <a:pt x="358" y="181"/>
                  <a:pt x="358" y="181"/>
                  <a:pt x="358" y="181"/>
                </a:cubicBezTo>
                <a:cubicBezTo>
                  <a:pt x="358" y="180"/>
                  <a:pt x="358" y="180"/>
                  <a:pt x="358" y="180"/>
                </a:cubicBezTo>
                <a:cubicBezTo>
                  <a:pt x="358" y="180"/>
                  <a:pt x="358" y="180"/>
                  <a:pt x="358" y="180"/>
                </a:cubicBezTo>
                <a:cubicBezTo>
                  <a:pt x="358" y="180"/>
                  <a:pt x="357" y="180"/>
                  <a:pt x="357" y="179"/>
                </a:cubicBezTo>
                <a:cubicBezTo>
                  <a:pt x="357" y="179"/>
                  <a:pt x="358" y="180"/>
                  <a:pt x="358" y="180"/>
                </a:cubicBezTo>
                <a:cubicBezTo>
                  <a:pt x="358" y="180"/>
                  <a:pt x="359" y="179"/>
                  <a:pt x="359" y="179"/>
                </a:cubicBezTo>
                <a:cubicBezTo>
                  <a:pt x="359" y="179"/>
                  <a:pt x="359" y="178"/>
                  <a:pt x="359" y="177"/>
                </a:cubicBezTo>
                <a:cubicBezTo>
                  <a:pt x="359" y="177"/>
                  <a:pt x="358" y="177"/>
                  <a:pt x="358" y="177"/>
                </a:cubicBezTo>
                <a:cubicBezTo>
                  <a:pt x="358" y="177"/>
                  <a:pt x="359" y="177"/>
                  <a:pt x="359" y="177"/>
                </a:cubicBezTo>
                <a:cubicBezTo>
                  <a:pt x="359" y="177"/>
                  <a:pt x="358" y="177"/>
                  <a:pt x="358" y="177"/>
                </a:cubicBezTo>
                <a:cubicBezTo>
                  <a:pt x="358" y="176"/>
                  <a:pt x="359" y="176"/>
                  <a:pt x="359" y="176"/>
                </a:cubicBezTo>
                <a:cubicBezTo>
                  <a:pt x="359" y="177"/>
                  <a:pt x="359" y="177"/>
                  <a:pt x="359" y="177"/>
                </a:cubicBezTo>
                <a:cubicBezTo>
                  <a:pt x="360" y="177"/>
                  <a:pt x="359" y="178"/>
                  <a:pt x="359" y="178"/>
                </a:cubicBezTo>
                <a:cubicBezTo>
                  <a:pt x="359" y="178"/>
                  <a:pt x="361" y="177"/>
                  <a:pt x="361" y="177"/>
                </a:cubicBezTo>
                <a:cubicBezTo>
                  <a:pt x="361" y="176"/>
                  <a:pt x="362" y="175"/>
                  <a:pt x="363" y="174"/>
                </a:cubicBezTo>
                <a:cubicBezTo>
                  <a:pt x="364" y="174"/>
                  <a:pt x="365" y="174"/>
                  <a:pt x="366" y="173"/>
                </a:cubicBezTo>
                <a:cubicBezTo>
                  <a:pt x="366" y="172"/>
                  <a:pt x="366" y="171"/>
                  <a:pt x="367" y="170"/>
                </a:cubicBezTo>
                <a:cubicBezTo>
                  <a:pt x="368" y="170"/>
                  <a:pt x="369" y="169"/>
                  <a:pt x="369" y="168"/>
                </a:cubicBezTo>
                <a:cubicBezTo>
                  <a:pt x="369" y="167"/>
                  <a:pt x="370" y="166"/>
                  <a:pt x="371" y="165"/>
                </a:cubicBezTo>
                <a:cubicBezTo>
                  <a:pt x="370" y="165"/>
                  <a:pt x="370" y="166"/>
                  <a:pt x="370" y="165"/>
                </a:cubicBezTo>
                <a:cubicBezTo>
                  <a:pt x="370" y="165"/>
                  <a:pt x="369" y="164"/>
                  <a:pt x="369" y="164"/>
                </a:cubicBezTo>
                <a:cubicBezTo>
                  <a:pt x="369" y="164"/>
                  <a:pt x="370" y="165"/>
                  <a:pt x="370" y="165"/>
                </a:cubicBezTo>
                <a:cubicBezTo>
                  <a:pt x="370" y="165"/>
                  <a:pt x="371" y="165"/>
                  <a:pt x="371" y="164"/>
                </a:cubicBezTo>
                <a:cubicBezTo>
                  <a:pt x="371" y="164"/>
                  <a:pt x="371" y="164"/>
                  <a:pt x="371" y="164"/>
                </a:cubicBezTo>
                <a:cubicBezTo>
                  <a:pt x="371" y="163"/>
                  <a:pt x="371" y="164"/>
                  <a:pt x="371" y="164"/>
                </a:cubicBezTo>
                <a:cubicBezTo>
                  <a:pt x="371" y="164"/>
                  <a:pt x="371" y="165"/>
                  <a:pt x="371" y="165"/>
                </a:cubicBezTo>
                <a:cubicBezTo>
                  <a:pt x="372" y="164"/>
                  <a:pt x="373" y="163"/>
                  <a:pt x="374" y="162"/>
                </a:cubicBezTo>
                <a:cubicBezTo>
                  <a:pt x="374" y="160"/>
                  <a:pt x="375" y="159"/>
                  <a:pt x="376" y="158"/>
                </a:cubicBezTo>
                <a:cubicBezTo>
                  <a:pt x="377" y="157"/>
                  <a:pt x="377" y="155"/>
                  <a:pt x="378" y="154"/>
                </a:cubicBezTo>
                <a:cubicBezTo>
                  <a:pt x="378" y="153"/>
                  <a:pt x="378" y="152"/>
                  <a:pt x="378" y="152"/>
                </a:cubicBezTo>
                <a:cubicBezTo>
                  <a:pt x="378" y="151"/>
                  <a:pt x="378" y="151"/>
                  <a:pt x="378" y="151"/>
                </a:cubicBezTo>
                <a:cubicBezTo>
                  <a:pt x="378" y="151"/>
                  <a:pt x="378" y="151"/>
                  <a:pt x="378" y="151"/>
                </a:cubicBezTo>
                <a:cubicBezTo>
                  <a:pt x="378" y="150"/>
                  <a:pt x="378" y="150"/>
                  <a:pt x="379" y="150"/>
                </a:cubicBezTo>
                <a:cubicBezTo>
                  <a:pt x="379" y="150"/>
                  <a:pt x="379" y="149"/>
                  <a:pt x="379" y="149"/>
                </a:cubicBezTo>
                <a:cubicBezTo>
                  <a:pt x="379" y="148"/>
                  <a:pt x="379" y="147"/>
                  <a:pt x="379" y="147"/>
                </a:cubicBezTo>
                <a:cubicBezTo>
                  <a:pt x="379" y="147"/>
                  <a:pt x="379" y="147"/>
                  <a:pt x="380" y="146"/>
                </a:cubicBezTo>
                <a:cubicBezTo>
                  <a:pt x="380" y="146"/>
                  <a:pt x="380" y="144"/>
                  <a:pt x="379" y="145"/>
                </a:cubicBezTo>
                <a:cubicBezTo>
                  <a:pt x="380" y="144"/>
                  <a:pt x="379" y="144"/>
                  <a:pt x="379" y="144"/>
                </a:cubicBezTo>
                <a:cubicBezTo>
                  <a:pt x="379" y="144"/>
                  <a:pt x="379" y="143"/>
                  <a:pt x="379" y="143"/>
                </a:cubicBezTo>
                <a:cubicBezTo>
                  <a:pt x="379" y="143"/>
                  <a:pt x="379" y="143"/>
                  <a:pt x="379" y="142"/>
                </a:cubicBezTo>
                <a:cubicBezTo>
                  <a:pt x="379" y="142"/>
                  <a:pt x="379" y="142"/>
                  <a:pt x="380" y="143"/>
                </a:cubicBezTo>
                <a:cubicBezTo>
                  <a:pt x="380" y="142"/>
                  <a:pt x="379" y="141"/>
                  <a:pt x="379" y="141"/>
                </a:cubicBezTo>
                <a:cubicBezTo>
                  <a:pt x="379" y="141"/>
                  <a:pt x="379" y="141"/>
                  <a:pt x="380" y="141"/>
                </a:cubicBezTo>
                <a:cubicBezTo>
                  <a:pt x="380" y="141"/>
                  <a:pt x="380" y="140"/>
                  <a:pt x="380" y="139"/>
                </a:cubicBezTo>
                <a:close/>
                <a:moveTo>
                  <a:pt x="310" y="310"/>
                </a:moveTo>
                <a:cubicBezTo>
                  <a:pt x="310" y="310"/>
                  <a:pt x="310" y="310"/>
                  <a:pt x="310" y="310"/>
                </a:cubicBezTo>
                <a:cubicBezTo>
                  <a:pt x="310" y="310"/>
                  <a:pt x="310" y="310"/>
                  <a:pt x="310" y="310"/>
                </a:cubicBezTo>
                <a:cubicBezTo>
                  <a:pt x="310" y="310"/>
                  <a:pt x="310" y="310"/>
                  <a:pt x="310" y="310"/>
                </a:cubicBezTo>
                <a:close/>
                <a:moveTo>
                  <a:pt x="230" y="56"/>
                </a:moveTo>
                <a:cubicBezTo>
                  <a:pt x="229" y="56"/>
                  <a:pt x="228" y="56"/>
                  <a:pt x="228" y="56"/>
                </a:cubicBezTo>
                <a:cubicBezTo>
                  <a:pt x="227" y="56"/>
                  <a:pt x="227" y="57"/>
                  <a:pt x="228" y="58"/>
                </a:cubicBezTo>
                <a:cubicBezTo>
                  <a:pt x="228" y="58"/>
                  <a:pt x="230" y="58"/>
                  <a:pt x="230" y="58"/>
                </a:cubicBezTo>
                <a:cubicBezTo>
                  <a:pt x="231" y="59"/>
                  <a:pt x="231" y="59"/>
                  <a:pt x="232" y="58"/>
                </a:cubicBezTo>
                <a:cubicBezTo>
                  <a:pt x="232" y="58"/>
                  <a:pt x="233" y="57"/>
                  <a:pt x="233" y="57"/>
                </a:cubicBezTo>
                <a:cubicBezTo>
                  <a:pt x="234" y="56"/>
                  <a:pt x="235" y="56"/>
                  <a:pt x="235" y="55"/>
                </a:cubicBezTo>
                <a:cubicBezTo>
                  <a:pt x="234" y="54"/>
                  <a:pt x="233" y="55"/>
                  <a:pt x="233" y="55"/>
                </a:cubicBezTo>
                <a:cubicBezTo>
                  <a:pt x="232" y="55"/>
                  <a:pt x="231" y="55"/>
                  <a:pt x="231" y="55"/>
                </a:cubicBezTo>
                <a:cubicBezTo>
                  <a:pt x="230" y="55"/>
                  <a:pt x="230" y="55"/>
                  <a:pt x="230" y="56"/>
                </a:cubicBezTo>
                <a:close/>
                <a:moveTo>
                  <a:pt x="225" y="59"/>
                </a:moveTo>
                <a:cubicBezTo>
                  <a:pt x="226" y="58"/>
                  <a:pt x="224" y="58"/>
                  <a:pt x="224" y="59"/>
                </a:cubicBezTo>
                <a:cubicBezTo>
                  <a:pt x="223" y="59"/>
                  <a:pt x="221" y="59"/>
                  <a:pt x="221" y="60"/>
                </a:cubicBezTo>
                <a:cubicBezTo>
                  <a:pt x="221" y="61"/>
                  <a:pt x="222" y="61"/>
                  <a:pt x="223" y="61"/>
                </a:cubicBezTo>
                <a:cubicBezTo>
                  <a:pt x="223" y="61"/>
                  <a:pt x="224" y="60"/>
                  <a:pt x="224" y="60"/>
                </a:cubicBezTo>
                <a:cubicBezTo>
                  <a:pt x="225" y="60"/>
                  <a:pt x="225" y="59"/>
                  <a:pt x="225" y="59"/>
                </a:cubicBezTo>
                <a:close/>
                <a:moveTo>
                  <a:pt x="222" y="66"/>
                </a:moveTo>
                <a:cubicBezTo>
                  <a:pt x="223" y="66"/>
                  <a:pt x="224" y="65"/>
                  <a:pt x="223" y="65"/>
                </a:cubicBezTo>
                <a:cubicBezTo>
                  <a:pt x="222" y="64"/>
                  <a:pt x="221" y="65"/>
                  <a:pt x="221" y="66"/>
                </a:cubicBezTo>
                <a:cubicBezTo>
                  <a:pt x="220" y="66"/>
                  <a:pt x="220" y="68"/>
                  <a:pt x="220" y="69"/>
                </a:cubicBezTo>
                <a:cubicBezTo>
                  <a:pt x="221" y="68"/>
                  <a:pt x="221" y="67"/>
                  <a:pt x="222" y="66"/>
                </a:cubicBezTo>
                <a:close/>
                <a:moveTo>
                  <a:pt x="290" y="320"/>
                </a:moveTo>
                <a:cubicBezTo>
                  <a:pt x="291" y="320"/>
                  <a:pt x="290" y="318"/>
                  <a:pt x="289" y="319"/>
                </a:cubicBezTo>
                <a:cubicBezTo>
                  <a:pt x="289" y="320"/>
                  <a:pt x="289" y="320"/>
                  <a:pt x="289" y="320"/>
                </a:cubicBezTo>
                <a:cubicBezTo>
                  <a:pt x="289" y="321"/>
                  <a:pt x="288" y="321"/>
                  <a:pt x="289" y="321"/>
                </a:cubicBezTo>
                <a:cubicBezTo>
                  <a:pt x="289" y="321"/>
                  <a:pt x="289" y="321"/>
                  <a:pt x="290" y="321"/>
                </a:cubicBezTo>
                <a:cubicBezTo>
                  <a:pt x="290" y="321"/>
                  <a:pt x="290" y="322"/>
                  <a:pt x="291" y="322"/>
                </a:cubicBezTo>
                <a:cubicBezTo>
                  <a:pt x="291" y="321"/>
                  <a:pt x="290" y="321"/>
                  <a:pt x="290" y="320"/>
                </a:cubicBezTo>
                <a:close/>
                <a:moveTo>
                  <a:pt x="262" y="346"/>
                </a:moveTo>
                <a:cubicBezTo>
                  <a:pt x="261" y="347"/>
                  <a:pt x="261" y="347"/>
                  <a:pt x="261" y="347"/>
                </a:cubicBezTo>
                <a:cubicBezTo>
                  <a:pt x="261" y="348"/>
                  <a:pt x="262" y="349"/>
                  <a:pt x="262" y="349"/>
                </a:cubicBezTo>
                <a:cubicBezTo>
                  <a:pt x="262" y="348"/>
                  <a:pt x="263" y="347"/>
                  <a:pt x="263" y="347"/>
                </a:cubicBezTo>
                <a:cubicBezTo>
                  <a:pt x="263" y="346"/>
                  <a:pt x="262" y="346"/>
                  <a:pt x="262" y="346"/>
                </a:cubicBezTo>
                <a:cubicBezTo>
                  <a:pt x="262" y="346"/>
                  <a:pt x="262" y="346"/>
                  <a:pt x="262" y="346"/>
                </a:cubicBezTo>
                <a:close/>
                <a:moveTo>
                  <a:pt x="402" y="101"/>
                </a:moveTo>
                <a:cubicBezTo>
                  <a:pt x="403" y="100"/>
                  <a:pt x="401" y="100"/>
                  <a:pt x="402" y="101"/>
                </a:cubicBezTo>
                <a:close/>
                <a:moveTo>
                  <a:pt x="439" y="284"/>
                </a:moveTo>
                <a:cubicBezTo>
                  <a:pt x="439" y="284"/>
                  <a:pt x="439" y="284"/>
                  <a:pt x="439" y="284"/>
                </a:cubicBezTo>
                <a:cubicBezTo>
                  <a:pt x="439" y="284"/>
                  <a:pt x="439" y="284"/>
                  <a:pt x="439" y="284"/>
                </a:cubicBezTo>
                <a:close/>
                <a:moveTo>
                  <a:pt x="265" y="359"/>
                </a:moveTo>
                <a:cubicBezTo>
                  <a:pt x="264" y="360"/>
                  <a:pt x="265" y="361"/>
                  <a:pt x="264" y="361"/>
                </a:cubicBezTo>
                <a:cubicBezTo>
                  <a:pt x="264" y="362"/>
                  <a:pt x="264" y="362"/>
                  <a:pt x="264" y="362"/>
                </a:cubicBezTo>
                <a:cubicBezTo>
                  <a:pt x="264" y="362"/>
                  <a:pt x="264" y="362"/>
                  <a:pt x="264" y="363"/>
                </a:cubicBezTo>
                <a:cubicBezTo>
                  <a:pt x="264" y="363"/>
                  <a:pt x="264" y="364"/>
                  <a:pt x="264" y="364"/>
                </a:cubicBezTo>
                <a:cubicBezTo>
                  <a:pt x="265" y="364"/>
                  <a:pt x="265" y="364"/>
                  <a:pt x="265" y="363"/>
                </a:cubicBezTo>
                <a:cubicBezTo>
                  <a:pt x="265" y="363"/>
                  <a:pt x="265" y="363"/>
                  <a:pt x="265" y="363"/>
                </a:cubicBezTo>
                <a:cubicBezTo>
                  <a:pt x="265" y="362"/>
                  <a:pt x="265" y="362"/>
                  <a:pt x="265" y="362"/>
                </a:cubicBezTo>
                <a:cubicBezTo>
                  <a:pt x="265" y="361"/>
                  <a:pt x="266" y="359"/>
                  <a:pt x="265" y="359"/>
                </a:cubicBezTo>
                <a:close/>
                <a:moveTo>
                  <a:pt x="299" y="312"/>
                </a:moveTo>
                <a:cubicBezTo>
                  <a:pt x="300" y="312"/>
                  <a:pt x="299" y="312"/>
                  <a:pt x="299" y="312"/>
                </a:cubicBezTo>
                <a:cubicBezTo>
                  <a:pt x="299" y="312"/>
                  <a:pt x="299" y="312"/>
                  <a:pt x="298" y="313"/>
                </a:cubicBezTo>
                <a:cubicBezTo>
                  <a:pt x="298" y="313"/>
                  <a:pt x="298" y="313"/>
                  <a:pt x="298" y="313"/>
                </a:cubicBezTo>
                <a:cubicBezTo>
                  <a:pt x="299" y="312"/>
                  <a:pt x="300" y="313"/>
                  <a:pt x="301" y="313"/>
                </a:cubicBezTo>
                <a:cubicBezTo>
                  <a:pt x="301" y="313"/>
                  <a:pt x="300" y="313"/>
                  <a:pt x="300" y="312"/>
                </a:cubicBezTo>
                <a:cubicBezTo>
                  <a:pt x="300" y="313"/>
                  <a:pt x="300" y="312"/>
                  <a:pt x="299" y="31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0" name="Bosnia and Herzagovina"/>
          <p:cNvSpPr>
            <a:spLocks/>
          </p:cNvSpPr>
          <p:nvPr/>
        </p:nvSpPr>
        <p:spPr bwMode="auto">
          <a:xfrm>
            <a:off x="6323063" y="2870004"/>
            <a:ext cx="125995" cy="104996"/>
          </a:xfrm>
          <a:custGeom>
            <a:avLst/>
            <a:gdLst/>
            <a:ahLst/>
            <a:cxnLst>
              <a:cxn ang="0">
                <a:pos x="33" y="12"/>
              </a:cxn>
              <a:cxn ang="0">
                <a:pos x="31" y="10"/>
              </a:cxn>
              <a:cxn ang="0">
                <a:pos x="30" y="10"/>
              </a:cxn>
              <a:cxn ang="0">
                <a:pos x="30" y="8"/>
              </a:cxn>
              <a:cxn ang="0">
                <a:pos x="31" y="7"/>
              </a:cxn>
              <a:cxn ang="0">
                <a:pos x="32" y="4"/>
              </a:cxn>
              <a:cxn ang="0">
                <a:pos x="27" y="3"/>
              </a:cxn>
              <a:cxn ang="0">
                <a:pos x="26" y="3"/>
              </a:cxn>
              <a:cxn ang="0">
                <a:pos x="26" y="2"/>
              </a:cxn>
              <a:cxn ang="0">
                <a:pos x="25" y="2"/>
              </a:cxn>
              <a:cxn ang="0">
                <a:pos x="22" y="1"/>
              </a:cxn>
              <a:cxn ang="0">
                <a:pos x="20" y="1"/>
              </a:cxn>
              <a:cxn ang="0">
                <a:pos x="18" y="1"/>
              </a:cxn>
              <a:cxn ang="0">
                <a:pos x="14" y="1"/>
              </a:cxn>
              <a:cxn ang="0">
                <a:pos x="11" y="0"/>
              </a:cxn>
              <a:cxn ang="0">
                <a:pos x="8" y="0"/>
              </a:cxn>
              <a:cxn ang="0">
                <a:pos x="6" y="2"/>
              </a:cxn>
              <a:cxn ang="0">
                <a:pos x="3" y="0"/>
              </a:cxn>
              <a:cxn ang="0">
                <a:pos x="1" y="3"/>
              </a:cxn>
              <a:cxn ang="0">
                <a:pos x="0" y="5"/>
              </a:cxn>
              <a:cxn ang="0">
                <a:pos x="2" y="6"/>
              </a:cxn>
              <a:cxn ang="0">
                <a:pos x="3" y="6"/>
              </a:cxn>
              <a:cxn ang="0">
                <a:pos x="3" y="7"/>
              </a:cxn>
              <a:cxn ang="0">
                <a:pos x="4" y="9"/>
              </a:cxn>
              <a:cxn ang="0">
                <a:pos x="6" y="13"/>
              </a:cxn>
              <a:cxn ang="0">
                <a:pos x="10" y="16"/>
              </a:cxn>
              <a:cxn ang="0">
                <a:pos x="14" y="19"/>
              </a:cxn>
              <a:cxn ang="0">
                <a:pos x="15" y="21"/>
              </a:cxn>
              <a:cxn ang="0">
                <a:pos x="17" y="23"/>
              </a:cxn>
              <a:cxn ang="0">
                <a:pos x="17" y="25"/>
              </a:cxn>
              <a:cxn ang="0">
                <a:pos x="17" y="25"/>
              </a:cxn>
              <a:cxn ang="0">
                <a:pos x="19" y="25"/>
              </a:cxn>
              <a:cxn ang="0">
                <a:pos x="20" y="26"/>
              </a:cxn>
              <a:cxn ang="0">
                <a:pos x="24" y="28"/>
              </a:cxn>
              <a:cxn ang="0">
                <a:pos x="26" y="27"/>
              </a:cxn>
              <a:cxn ang="0">
                <a:pos x="25" y="25"/>
              </a:cxn>
              <a:cxn ang="0">
                <a:pos x="26" y="23"/>
              </a:cxn>
              <a:cxn ang="0">
                <a:pos x="29" y="21"/>
              </a:cxn>
              <a:cxn ang="0">
                <a:pos x="30" y="21"/>
              </a:cxn>
              <a:cxn ang="0">
                <a:pos x="29" y="19"/>
              </a:cxn>
              <a:cxn ang="0">
                <a:pos x="29" y="18"/>
              </a:cxn>
              <a:cxn ang="0">
                <a:pos x="31" y="18"/>
              </a:cxn>
              <a:cxn ang="0">
                <a:pos x="33" y="18"/>
              </a:cxn>
              <a:cxn ang="0">
                <a:pos x="34" y="18"/>
              </a:cxn>
              <a:cxn ang="0">
                <a:pos x="34" y="16"/>
              </a:cxn>
              <a:cxn ang="0">
                <a:pos x="32" y="14"/>
              </a:cxn>
              <a:cxn ang="0">
                <a:pos x="34" y="13"/>
              </a:cxn>
            </a:cxnLst>
            <a:rect l="0" t="0" r="r" b="b"/>
            <a:pathLst>
              <a:path w="35" h="29">
                <a:moveTo>
                  <a:pt x="34" y="13"/>
                </a:moveTo>
                <a:cubicBezTo>
                  <a:pt x="34" y="13"/>
                  <a:pt x="33" y="12"/>
                  <a:pt x="33" y="12"/>
                </a:cubicBezTo>
                <a:cubicBezTo>
                  <a:pt x="32" y="12"/>
                  <a:pt x="32" y="11"/>
                  <a:pt x="32" y="10"/>
                </a:cubicBezTo>
                <a:cubicBezTo>
                  <a:pt x="31" y="10"/>
                  <a:pt x="31" y="11"/>
                  <a:pt x="31" y="10"/>
                </a:cubicBezTo>
                <a:cubicBezTo>
                  <a:pt x="31" y="10"/>
                  <a:pt x="31" y="10"/>
                  <a:pt x="31" y="10"/>
                </a:cubicBezTo>
                <a:cubicBezTo>
                  <a:pt x="30" y="10"/>
                  <a:pt x="30" y="10"/>
                  <a:pt x="30" y="10"/>
                </a:cubicBezTo>
                <a:cubicBezTo>
                  <a:pt x="30" y="9"/>
                  <a:pt x="30" y="9"/>
                  <a:pt x="30" y="9"/>
                </a:cubicBezTo>
                <a:cubicBezTo>
                  <a:pt x="30" y="8"/>
                  <a:pt x="30" y="8"/>
                  <a:pt x="30" y="8"/>
                </a:cubicBezTo>
                <a:cubicBezTo>
                  <a:pt x="30" y="8"/>
                  <a:pt x="30" y="8"/>
                  <a:pt x="30" y="8"/>
                </a:cubicBezTo>
                <a:cubicBezTo>
                  <a:pt x="31" y="7"/>
                  <a:pt x="31" y="7"/>
                  <a:pt x="31" y="7"/>
                </a:cubicBezTo>
                <a:cubicBezTo>
                  <a:pt x="31" y="6"/>
                  <a:pt x="32" y="6"/>
                  <a:pt x="32" y="5"/>
                </a:cubicBezTo>
                <a:cubicBezTo>
                  <a:pt x="32" y="5"/>
                  <a:pt x="32" y="4"/>
                  <a:pt x="32" y="4"/>
                </a:cubicBezTo>
                <a:cubicBezTo>
                  <a:pt x="31" y="3"/>
                  <a:pt x="30" y="4"/>
                  <a:pt x="29" y="4"/>
                </a:cubicBezTo>
                <a:cubicBezTo>
                  <a:pt x="28" y="4"/>
                  <a:pt x="27" y="4"/>
                  <a:pt x="27" y="3"/>
                </a:cubicBezTo>
                <a:cubicBezTo>
                  <a:pt x="27" y="3"/>
                  <a:pt x="27" y="3"/>
                  <a:pt x="27" y="3"/>
                </a:cubicBezTo>
                <a:cubicBezTo>
                  <a:pt x="27" y="2"/>
                  <a:pt x="27" y="3"/>
                  <a:pt x="26" y="3"/>
                </a:cubicBezTo>
                <a:cubicBezTo>
                  <a:pt x="26" y="2"/>
                  <a:pt x="26" y="2"/>
                  <a:pt x="26" y="2"/>
                </a:cubicBezTo>
                <a:cubicBezTo>
                  <a:pt x="26" y="2"/>
                  <a:pt x="25" y="2"/>
                  <a:pt x="26" y="2"/>
                </a:cubicBezTo>
                <a:cubicBezTo>
                  <a:pt x="25" y="1"/>
                  <a:pt x="25" y="2"/>
                  <a:pt x="25" y="2"/>
                </a:cubicBezTo>
                <a:cubicBezTo>
                  <a:pt x="25" y="2"/>
                  <a:pt x="25" y="2"/>
                  <a:pt x="25" y="2"/>
                </a:cubicBezTo>
                <a:cubicBezTo>
                  <a:pt x="25" y="2"/>
                  <a:pt x="23" y="1"/>
                  <a:pt x="23" y="1"/>
                </a:cubicBezTo>
                <a:cubicBezTo>
                  <a:pt x="22" y="1"/>
                  <a:pt x="22" y="1"/>
                  <a:pt x="22" y="1"/>
                </a:cubicBezTo>
                <a:cubicBezTo>
                  <a:pt x="22" y="2"/>
                  <a:pt x="21" y="2"/>
                  <a:pt x="21" y="2"/>
                </a:cubicBezTo>
                <a:cubicBezTo>
                  <a:pt x="21" y="1"/>
                  <a:pt x="20" y="1"/>
                  <a:pt x="20" y="1"/>
                </a:cubicBezTo>
                <a:cubicBezTo>
                  <a:pt x="19" y="1"/>
                  <a:pt x="19" y="2"/>
                  <a:pt x="19" y="2"/>
                </a:cubicBezTo>
                <a:cubicBezTo>
                  <a:pt x="18" y="2"/>
                  <a:pt x="18" y="2"/>
                  <a:pt x="18" y="1"/>
                </a:cubicBezTo>
                <a:cubicBezTo>
                  <a:pt x="17" y="1"/>
                  <a:pt x="16" y="1"/>
                  <a:pt x="16" y="1"/>
                </a:cubicBezTo>
                <a:cubicBezTo>
                  <a:pt x="15" y="1"/>
                  <a:pt x="15" y="1"/>
                  <a:pt x="14" y="1"/>
                </a:cubicBezTo>
                <a:cubicBezTo>
                  <a:pt x="13" y="0"/>
                  <a:pt x="13" y="1"/>
                  <a:pt x="12" y="1"/>
                </a:cubicBezTo>
                <a:cubicBezTo>
                  <a:pt x="12" y="0"/>
                  <a:pt x="11" y="0"/>
                  <a:pt x="11" y="0"/>
                </a:cubicBezTo>
                <a:cubicBezTo>
                  <a:pt x="11" y="0"/>
                  <a:pt x="11" y="0"/>
                  <a:pt x="11" y="0"/>
                </a:cubicBezTo>
                <a:cubicBezTo>
                  <a:pt x="10" y="1"/>
                  <a:pt x="9" y="0"/>
                  <a:pt x="8" y="0"/>
                </a:cubicBezTo>
                <a:cubicBezTo>
                  <a:pt x="7" y="0"/>
                  <a:pt x="6" y="1"/>
                  <a:pt x="6" y="1"/>
                </a:cubicBezTo>
                <a:cubicBezTo>
                  <a:pt x="6" y="2"/>
                  <a:pt x="6" y="2"/>
                  <a:pt x="6" y="2"/>
                </a:cubicBezTo>
                <a:cubicBezTo>
                  <a:pt x="5" y="3"/>
                  <a:pt x="5" y="2"/>
                  <a:pt x="4" y="2"/>
                </a:cubicBezTo>
                <a:cubicBezTo>
                  <a:pt x="4" y="1"/>
                  <a:pt x="3" y="1"/>
                  <a:pt x="3" y="0"/>
                </a:cubicBezTo>
                <a:cubicBezTo>
                  <a:pt x="2" y="0"/>
                  <a:pt x="1" y="0"/>
                  <a:pt x="1" y="1"/>
                </a:cubicBezTo>
                <a:cubicBezTo>
                  <a:pt x="1" y="2"/>
                  <a:pt x="1" y="2"/>
                  <a:pt x="1" y="3"/>
                </a:cubicBezTo>
                <a:cubicBezTo>
                  <a:pt x="0" y="3"/>
                  <a:pt x="1" y="4"/>
                  <a:pt x="1" y="4"/>
                </a:cubicBezTo>
                <a:cubicBezTo>
                  <a:pt x="1" y="4"/>
                  <a:pt x="0" y="4"/>
                  <a:pt x="0" y="5"/>
                </a:cubicBezTo>
                <a:cubicBezTo>
                  <a:pt x="0" y="5"/>
                  <a:pt x="1" y="5"/>
                  <a:pt x="1" y="5"/>
                </a:cubicBezTo>
                <a:cubicBezTo>
                  <a:pt x="1" y="5"/>
                  <a:pt x="1" y="6"/>
                  <a:pt x="2" y="6"/>
                </a:cubicBezTo>
                <a:cubicBezTo>
                  <a:pt x="2" y="6"/>
                  <a:pt x="2" y="5"/>
                  <a:pt x="2" y="5"/>
                </a:cubicBezTo>
                <a:cubicBezTo>
                  <a:pt x="2" y="6"/>
                  <a:pt x="2" y="6"/>
                  <a:pt x="3" y="6"/>
                </a:cubicBezTo>
                <a:cubicBezTo>
                  <a:pt x="3" y="6"/>
                  <a:pt x="3" y="6"/>
                  <a:pt x="3" y="7"/>
                </a:cubicBezTo>
                <a:cubicBezTo>
                  <a:pt x="3" y="7"/>
                  <a:pt x="3" y="7"/>
                  <a:pt x="3" y="7"/>
                </a:cubicBezTo>
                <a:cubicBezTo>
                  <a:pt x="3" y="8"/>
                  <a:pt x="4" y="7"/>
                  <a:pt x="4" y="8"/>
                </a:cubicBezTo>
                <a:cubicBezTo>
                  <a:pt x="4" y="8"/>
                  <a:pt x="5" y="9"/>
                  <a:pt x="4" y="9"/>
                </a:cubicBezTo>
                <a:cubicBezTo>
                  <a:pt x="5" y="9"/>
                  <a:pt x="5" y="11"/>
                  <a:pt x="5" y="11"/>
                </a:cubicBezTo>
                <a:cubicBezTo>
                  <a:pt x="6" y="12"/>
                  <a:pt x="6" y="12"/>
                  <a:pt x="6" y="13"/>
                </a:cubicBezTo>
                <a:cubicBezTo>
                  <a:pt x="7" y="13"/>
                  <a:pt x="7" y="13"/>
                  <a:pt x="7" y="13"/>
                </a:cubicBezTo>
                <a:cubicBezTo>
                  <a:pt x="8" y="14"/>
                  <a:pt x="9" y="15"/>
                  <a:pt x="10" y="16"/>
                </a:cubicBezTo>
                <a:cubicBezTo>
                  <a:pt x="10" y="17"/>
                  <a:pt x="11" y="17"/>
                  <a:pt x="12" y="18"/>
                </a:cubicBezTo>
                <a:cubicBezTo>
                  <a:pt x="13" y="18"/>
                  <a:pt x="13" y="19"/>
                  <a:pt x="14" y="19"/>
                </a:cubicBezTo>
                <a:cubicBezTo>
                  <a:pt x="14" y="19"/>
                  <a:pt x="15" y="19"/>
                  <a:pt x="15" y="19"/>
                </a:cubicBezTo>
                <a:cubicBezTo>
                  <a:pt x="15" y="20"/>
                  <a:pt x="15" y="20"/>
                  <a:pt x="15" y="21"/>
                </a:cubicBezTo>
                <a:cubicBezTo>
                  <a:pt x="15" y="21"/>
                  <a:pt x="15" y="21"/>
                  <a:pt x="15" y="22"/>
                </a:cubicBezTo>
                <a:cubicBezTo>
                  <a:pt x="16" y="22"/>
                  <a:pt x="16" y="22"/>
                  <a:pt x="17" y="23"/>
                </a:cubicBezTo>
                <a:cubicBezTo>
                  <a:pt x="17" y="23"/>
                  <a:pt x="18" y="23"/>
                  <a:pt x="18" y="24"/>
                </a:cubicBezTo>
                <a:cubicBezTo>
                  <a:pt x="18" y="24"/>
                  <a:pt x="18" y="24"/>
                  <a:pt x="17" y="25"/>
                </a:cubicBezTo>
                <a:cubicBezTo>
                  <a:pt x="17" y="25"/>
                  <a:pt x="17" y="25"/>
                  <a:pt x="17" y="25"/>
                </a:cubicBezTo>
                <a:cubicBezTo>
                  <a:pt x="17" y="25"/>
                  <a:pt x="17" y="25"/>
                  <a:pt x="17" y="25"/>
                </a:cubicBezTo>
                <a:cubicBezTo>
                  <a:pt x="17" y="25"/>
                  <a:pt x="18" y="26"/>
                  <a:pt x="18" y="25"/>
                </a:cubicBezTo>
                <a:cubicBezTo>
                  <a:pt x="18" y="25"/>
                  <a:pt x="19" y="25"/>
                  <a:pt x="19" y="25"/>
                </a:cubicBezTo>
                <a:cubicBezTo>
                  <a:pt x="19" y="25"/>
                  <a:pt x="19" y="25"/>
                  <a:pt x="20" y="25"/>
                </a:cubicBezTo>
                <a:cubicBezTo>
                  <a:pt x="20" y="26"/>
                  <a:pt x="20" y="26"/>
                  <a:pt x="20" y="26"/>
                </a:cubicBezTo>
                <a:cubicBezTo>
                  <a:pt x="21" y="27"/>
                  <a:pt x="22" y="27"/>
                  <a:pt x="23" y="28"/>
                </a:cubicBezTo>
                <a:cubicBezTo>
                  <a:pt x="23" y="29"/>
                  <a:pt x="24" y="28"/>
                  <a:pt x="24" y="28"/>
                </a:cubicBezTo>
                <a:cubicBezTo>
                  <a:pt x="24" y="28"/>
                  <a:pt x="25" y="29"/>
                  <a:pt x="25" y="29"/>
                </a:cubicBezTo>
                <a:cubicBezTo>
                  <a:pt x="26" y="29"/>
                  <a:pt x="26" y="28"/>
                  <a:pt x="26" y="27"/>
                </a:cubicBezTo>
                <a:cubicBezTo>
                  <a:pt x="26" y="27"/>
                  <a:pt x="25" y="27"/>
                  <a:pt x="25" y="26"/>
                </a:cubicBezTo>
                <a:cubicBezTo>
                  <a:pt x="25" y="26"/>
                  <a:pt x="25" y="26"/>
                  <a:pt x="25" y="25"/>
                </a:cubicBezTo>
                <a:cubicBezTo>
                  <a:pt x="25" y="25"/>
                  <a:pt x="25" y="24"/>
                  <a:pt x="26" y="24"/>
                </a:cubicBezTo>
                <a:cubicBezTo>
                  <a:pt x="27" y="24"/>
                  <a:pt x="26" y="24"/>
                  <a:pt x="26" y="23"/>
                </a:cubicBezTo>
                <a:cubicBezTo>
                  <a:pt x="27" y="22"/>
                  <a:pt x="27" y="21"/>
                  <a:pt x="27" y="21"/>
                </a:cubicBezTo>
                <a:cubicBezTo>
                  <a:pt x="28" y="21"/>
                  <a:pt x="28" y="20"/>
                  <a:pt x="29" y="21"/>
                </a:cubicBezTo>
                <a:cubicBezTo>
                  <a:pt x="29" y="21"/>
                  <a:pt x="29" y="22"/>
                  <a:pt x="30" y="21"/>
                </a:cubicBezTo>
                <a:cubicBezTo>
                  <a:pt x="30" y="21"/>
                  <a:pt x="31" y="21"/>
                  <a:pt x="30" y="21"/>
                </a:cubicBezTo>
                <a:cubicBezTo>
                  <a:pt x="30" y="20"/>
                  <a:pt x="30" y="20"/>
                  <a:pt x="30" y="20"/>
                </a:cubicBezTo>
                <a:cubicBezTo>
                  <a:pt x="30" y="19"/>
                  <a:pt x="29" y="19"/>
                  <a:pt x="29" y="19"/>
                </a:cubicBezTo>
                <a:cubicBezTo>
                  <a:pt x="29" y="19"/>
                  <a:pt x="29" y="19"/>
                  <a:pt x="29" y="19"/>
                </a:cubicBezTo>
                <a:cubicBezTo>
                  <a:pt x="29" y="19"/>
                  <a:pt x="29" y="18"/>
                  <a:pt x="29" y="18"/>
                </a:cubicBezTo>
                <a:cubicBezTo>
                  <a:pt x="30" y="18"/>
                  <a:pt x="30" y="18"/>
                  <a:pt x="30" y="19"/>
                </a:cubicBezTo>
                <a:cubicBezTo>
                  <a:pt x="30" y="19"/>
                  <a:pt x="31" y="18"/>
                  <a:pt x="31" y="18"/>
                </a:cubicBezTo>
                <a:cubicBezTo>
                  <a:pt x="31" y="18"/>
                  <a:pt x="32" y="18"/>
                  <a:pt x="32" y="18"/>
                </a:cubicBezTo>
                <a:cubicBezTo>
                  <a:pt x="32" y="18"/>
                  <a:pt x="32" y="17"/>
                  <a:pt x="33" y="18"/>
                </a:cubicBezTo>
                <a:cubicBezTo>
                  <a:pt x="33" y="18"/>
                  <a:pt x="33" y="18"/>
                  <a:pt x="33" y="18"/>
                </a:cubicBezTo>
                <a:cubicBezTo>
                  <a:pt x="33" y="18"/>
                  <a:pt x="34" y="18"/>
                  <a:pt x="34" y="18"/>
                </a:cubicBezTo>
                <a:cubicBezTo>
                  <a:pt x="34" y="18"/>
                  <a:pt x="34" y="17"/>
                  <a:pt x="34" y="17"/>
                </a:cubicBezTo>
                <a:cubicBezTo>
                  <a:pt x="34" y="17"/>
                  <a:pt x="34" y="16"/>
                  <a:pt x="34" y="16"/>
                </a:cubicBezTo>
                <a:cubicBezTo>
                  <a:pt x="33" y="16"/>
                  <a:pt x="33" y="15"/>
                  <a:pt x="32" y="15"/>
                </a:cubicBezTo>
                <a:cubicBezTo>
                  <a:pt x="32" y="14"/>
                  <a:pt x="32" y="14"/>
                  <a:pt x="32" y="14"/>
                </a:cubicBezTo>
                <a:cubicBezTo>
                  <a:pt x="31" y="13"/>
                  <a:pt x="33" y="14"/>
                  <a:pt x="33" y="14"/>
                </a:cubicBezTo>
                <a:cubicBezTo>
                  <a:pt x="34" y="14"/>
                  <a:pt x="35" y="13"/>
                  <a:pt x="34" y="1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1" name="Botswana"/>
          <p:cNvSpPr>
            <a:spLocks/>
          </p:cNvSpPr>
          <p:nvPr/>
        </p:nvSpPr>
        <p:spPr bwMode="auto">
          <a:xfrm>
            <a:off x="6486057" y="5368911"/>
            <a:ext cx="320988" cy="364987"/>
          </a:xfrm>
          <a:custGeom>
            <a:avLst/>
            <a:gdLst/>
            <a:ahLst/>
            <a:cxnLst>
              <a:cxn ang="0">
                <a:pos x="87" y="45"/>
              </a:cxn>
              <a:cxn ang="0">
                <a:pos x="81" y="43"/>
              </a:cxn>
              <a:cxn ang="0">
                <a:pos x="75" y="39"/>
              </a:cxn>
              <a:cxn ang="0">
                <a:pos x="74" y="33"/>
              </a:cxn>
              <a:cxn ang="0">
                <a:pos x="70" y="27"/>
              </a:cxn>
              <a:cxn ang="0">
                <a:pos x="66" y="24"/>
              </a:cxn>
              <a:cxn ang="0">
                <a:pos x="62" y="21"/>
              </a:cxn>
              <a:cxn ang="0">
                <a:pos x="61" y="20"/>
              </a:cxn>
              <a:cxn ang="0">
                <a:pos x="58" y="15"/>
              </a:cxn>
              <a:cxn ang="0">
                <a:pos x="56" y="10"/>
              </a:cxn>
              <a:cxn ang="0">
                <a:pos x="52" y="4"/>
              </a:cxn>
              <a:cxn ang="0">
                <a:pos x="49" y="1"/>
              </a:cxn>
              <a:cxn ang="0">
                <a:pos x="44" y="3"/>
              </a:cxn>
              <a:cxn ang="0">
                <a:pos x="41" y="4"/>
              </a:cxn>
              <a:cxn ang="0">
                <a:pos x="36" y="8"/>
              </a:cxn>
              <a:cxn ang="0">
                <a:pos x="33" y="4"/>
              </a:cxn>
              <a:cxn ang="0">
                <a:pos x="12" y="6"/>
              </a:cxn>
              <a:cxn ang="0">
                <a:pos x="10" y="15"/>
              </a:cxn>
              <a:cxn ang="0">
                <a:pos x="7" y="47"/>
              </a:cxn>
              <a:cxn ang="0">
                <a:pos x="0" y="51"/>
              </a:cxn>
              <a:cxn ang="0">
                <a:pos x="0" y="77"/>
              </a:cxn>
              <a:cxn ang="0">
                <a:pos x="4" y="83"/>
              </a:cxn>
              <a:cxn ang="0">
                <a:pos x="6" y="85"/>
              </a:cxn>
              <a:cxn ang="0">
                <a:pos x="6" y="88"/>
              </a:cxn>
              <a:cxn ang="0">
                <a:pos x="7" y="95"/>
              </a:cxn>
              <a:cxn ang="0">
                <a:pos x="5" y="99"/>
              </a:cxn>
              <a:cxn ang="0">
                <a:pos x="7" y="100"/>
              </a:cxn>
              <a:cxn ang="0">
                <a:pos x="16" y="100"/>
              </a:cxn>
              <a:cxn ang="0">
                <a:pos x="21" y="95"/>
              </a:cxn>
              <a:cxn ang="0">
                <a:pos x="24" y="93"/>
              </a:cxn>
              <a:cxn ang="0">
                <a:pos x="25" y="91"/>
              </a:cxn>
              <a:cxn ang="0">
                <a:pos x="26" y="87"/>
              </a:cxn>
              <a:cxn ang="0">
                <a:pos x="27" y="85"/>
              </a:cxn>
              <a:cxn ang="0">
                <a:pos x="29" y="83"/>
              </a:cxn>
              <a:cxn ang="0">
                <a:pos x="32" y="83"/>
              </a:cxn>
              <a:cxn ang="0">
                <a:pos x="36" y="86"/>
              </a:cxn>
              <a:cxn ang="0">
                <a:pos x="40" y="88"/>
              </a:cxn>
              <a:cxn ang="0">
                <a:pos x="45" y="89"/>
              </a:cxn>
              <a:cxn ang="0">
                <a:pos x="52" y="87"/>
              </a:cxn>
              <a:cxn ang="0">
                <a:pos x="57" y="77"/>
              </a:cxn>
              <a:cxn ang="0">
                <a:pos x="65" y="72"/>
              </a:cxn>
              <a:cxn ang="0">
                <a:pos x="66" y="65"/>
              </a:cxn>
              <a:cxn ang="0">
                <a:pos x="68" y="64"/>
              </a:cxn>
              <a:cxn ang="0">
                <a:pos x="71" y="62"/>
              </a:cxn>
              <a:cxn ang="0">
                <a:pos x="73" y="60"/>
              </a:cxn>
              <a:cxn ang="0">
                <a:pos x="75" y="59"/>
              </a:cxn>
              <a:cxn ang="0">
                <a:pos x="77" y="56"/>
              </a:cxn>
              <a:cxn ang="0">
                <a:pos x="82" y="53"/>
              </a:cxn>
              <a:cxn ang="0">
                <a:pos x="86" y="50"/>
              </a:cxn>
              <a:cxn ang="0">
                <a:pos x="89" y="49"/>
              </a:cxn>
            </a:cxnLst>
            <a:rect l="0" t="0" r="r" b="b"/>
            <a:pathLst>
              <a:path w="89" h="101">
                <a:moveTo>
                  <a:pt x="88" y="48"/>
                </a:moveTo>
                <a:cubicBezTo>
                  <a:pt x="87" y="48"/>
                  <a:pt x="87" y="48"/>
                  <a:pt x="87" y="47"/>
                </a:cubicBezTo>
                <a:cubicBezTo>
                  <a:pt x="86" y="46"/>
                  <a:pt x="87" y="46"/>
                  <a:pt x="87" y="45"/>
                </a:cubicBezTo>
                <a:cubicBezTo>
                  <a:pt x="87" y="44"/>
                  <a:pt x="86" y="45"/>
                  <a:pt x="85" y="44"/>
                </a:cubicBezTo>
                <a:cubicBezTo>
                  <a:pt x="84" y="44"/>
                  <a:pt x="84" y="44"/>
                  <a:pt x="83" y="43"/>
                </a:cubicBezTo>
                <a:cubicBezTo>
                  <a:pt x="82" y="43"/>
                  <a:pt x="82" y="43"/>
                  <a:pt x="81" y="43"/>
                </a:cubicBezTo>
                <a:cubicBezTo>
                  <a:pt x="81" y="43"/>
                  <a:pt x="80" y="43"/>
                  <a:pt x="79" y="43"/>
                </a:cubicBezTo>
                <a:cubicBezTo>
                  <a:pt x="78" y="42"/>
                  <a:pt x="78" y="43"/>
                  <a:pt x="77" y="42"/>
                </a:cubicBezTo>
                <a:cubicBezTo>
                  <a:pt x="76" y="42"/>
                  <a:pt x="76" y="40"/>
                  <a:pt x="75" y="39"/>
                </a:cubicBezTo>
                <a:cubicBezTo>
                  <a:pt x="75" y="38"/>
                  <a:pt x="74" y="38"/>
                  <a:pt x="74" y="37"/>
                </a:cubicBezTo>
                <a:cubicBezTo>
                  <a:pt x="74" y="37"/>
                  <a:pt x="74" y="36"/>
                  <a:pt x="74" y="35"/>
                </a:cubicBezTo>
                <a:cubicBezTo>
                  <a:pt x="74" y="34"/>
                  <a:pt x="75" y="33"/>
                  <a:pt x="74" y="33"/>
                </a:cubicBezTo>
                <a:cubicBezTo>
                  <a:pt x="74" y="32"/>
                  <a:pt x="74" y="32"/>
                  <a:pt x="74" y="31"/>
                </a:cubicBezTo>
                <a:cubicBezTo>
                  <a:pt x="74" y="30"/>
                  <a:pt x="71" y="30"/>
                  <a:pt x="70" y="30"/>
                </a:cubicBezTo>
                <a:cubicBezTo>
                  <a:pt x="70" y="29"/>
                  <a:pt x="70" y="28"/>
                  <a:pt x="70" y="27"/>
                </a:cubicBezTo>
                <a:cubicBezTo>
                  <a:pt x="70" y="26"/>
                  <a:pt x="69" y="26"/>
                  <a:pt x="68" y="25"/>
                </a:cubicBezTo>
                <a:cubicBezTo>
                  <a:pt x="68" y="25"/>
                  <a:pt x="67" y="25"/>
                  <a:pt x="67" y="25"/>
                </a:cubicBezTo>
                <a:cubicBezTo>
                  <a:pt x="66" y="25"/>
                  <a:pt x="66" y="24"/>
                  <a:pt x="66" y="24"/>
                </a:cubicBezTo>
                <a:cubicBezTo>
                  <a:pt x="65" y="24"/>
                  <a:pt x="65" y="24"/>
                  <a:pt x="65" y="24"/>
                </a:cubicBezTo>
                <a:cubicBezTo>
                  <a:pt x="64" y="24"/>
                  <a:pt x="64" y="24"/>
                  <a:pt x="64" y="23"/>
                </a:cubicBezTo>
                <a:cubicBezTo>
                  <a:pt x="63" y="22"/>
                  <a:pt x="62" y="22"/>
                  <a:pt x="62" y="21"/>
                </a:cubicBezTo>
                <a:cubicBezTo>
                  <a:pt x="62" y="21"/>
                  <a:pt x="61" y="21"/>
                  <a:pt x="61" y="21"/>
                </a:cubicBezTo>
                <a:cubicBezTo>
                  <a:pt x="61" y="21"/>
                  <a:pt x="61" y="21"/>
                  <a:pt x="61" y="21"/>
                </a:cubicBezTo>
                <a:cubicBezTo>
                  <a:pt x="61" y="21"/>
                  <a:pt x="62" y="20"/>
                  <a:pt x="61" y="20"/>
                </a:cubicBezTo>
                <a:cubicBezTo>
                  <a:pt x="60" y="20"/>
                  <a:pt x="60" y="20"/>
                  <a:pt x="59" y="19"/>
                </a:cubicBezTo>
                <a:cubicBezTo>
                  <a:pt x="59" y="18"/>
                  <a:pt x="59" y="17"/>
                  <a:pt x="59" y="16"/>
                </a:cubicBezTo>
                <a:cubicBezTo>
                  <a:pt x="58" y="16"/>
                  <a:pt x="58" y="15"/>
                  <a:pt x="58" y="15"/>
                </a:cubicBezTo>
                <a:cubicBezTo>
                  <a:pt x="58" y="14"/>
                  <a:pt x="58" y="14"/>
                  <a:pt x="58" y="13"/>
                </a:cubicBezTo>
                <a:cubicBezTo>
                  <a:pt x="58" y="13"/>
                  <a:pt x="57" y="12"/>
                  <a:pt x="57" y="12"/>
                </a:cubicBezTo>
                <a:cubicBezTo>
                  <a:pt x="56" y="11"/>
                  <a:pt x="56" y="11"/>
                  <a:pt x="56" y="10"/>
                </a:cubicBezTo>
                <a:cubicBezTo>
                  <a:pt x="56" y="10"/>
                  <a:pt x="56" y="10"/>
                  <a:pt x="56" y="9"/>
                </a:cubicBezTo>
                <a:cubicBezTo>
                  <a:pt x="55" y="9"/>
                  <a:pt x="54" y="8"/>
                  <a:pt x="54" y="7"/>
                </a:cubicBezTo>
                <a:cubicBezTo>
                  <a:pt x="53" y="6"/>
                  <a:pt x="53" y="5"/>
                  <a:pt x="52" y="4"/>
                </a:cubicBezTo>
                <a:cubicBezTo>
                  <a:pt x="52" y="4"/>
                  <a:pt x="51" y="3"/>
                  <a:pt x="51" y="2"/>
                </a:cubicBezTo>
                <a:cubicBezTo>
                  <a:pt x="51" y="1"/>
                  <a:pt x="52" y="0"/>
                  <a:pt x="51" y="1"/>
                </a:cubicBezTo>
                <a:cubicBezTo>
                  <a:pt x="50" y="1"/>
                  <a:pt x="49" y="2"/>
                  <a:pt x="49" y="1"/>
                </a:cubicBezTo>
                <a:cubicBezTo>
                  <a:pt x="48" y="1"/>
                  <a:pt x="47" y="1"/>
                  <a:pt x="47" y="2"/>
                </a:cubicBezTo>
                <a:cubicBezTo>
                  <a:pt x="46" y="2"/>
                  <a:pt x="46" y="2"/>
                  <a:pt x="46" y="3"/>
                </a:cubicBezTo>
                <a:cubicBezTo>
                  <a:pt x="45" y="3"/>
                  <a:pt x="44" y="4"/>
                  <a:pt x="44" y="3"/>
                </a:cubicBezTo>
                <a:cubicBezTo>
                  <a:pt x="44" y="3"/>
                  <a:pt x="44" y="3"/>
                  <a:pt x="43" y="3"/>
                </a:cubicBezTo>
                <a:cubicBezTo>
                  <a:pt x="43" y="2"/>
                  <a:pt x="43" y="3"/>
                  <a:pt x="42" y="3"/>
                </a:cubicBezTo>
                <a:cubicBezTo>
                  <a:pt x="42" y="3"/>
                  <a:pt x="41" y="3"/>
                  <a:pt x="41" y="4"/>
                </a:cubicBezTo>
                <a:cubicBezTo>
                  <a:pt x="40" y="4"/>
                  <a:pt x="40" y="5"/>
                  <a:pt x="39" y="5"/>
                </a:cubicBezTo>
                <a:cubicBezTo>
                  <a:pt x="39" y="5"/>
                  <a:pt x="39" y="6"/>
                  <a:pt x="38" y="6"/>
                </a:cubicBezTo>
                <a:cubicBezTo>
                  <a:pt x="37" y="6"/>
                  <a:pt x="37" y="8"/>
                  <a:pt x="36" y="8"/>
                </a:cubicBezTo>
                <a:cubicBezTo>
                  <a:pt x="35" y="8"/>
                  <a:pt x="35" y="7"/>
                  <a:pt x="35" y="7"/>
                </a:cubicBezTo>
                <a:cubicBezTo>
                  <a:pt x="35" y="6"/>
                  <a:pt x="34" y="6"/>
                  <a:pt x="34" y="5"/>
                </a:cubicBezTo>
                <a:cubicBezTo>
                  <a:pt x="33" y="5"/>
                  <a:pt x="33" y="4"/>
                  <a:pt x="33" y="4"/>
                </a:cubicBezTo>
                <a:cubicBezTo>
                  <a:pt x="33" y="3"/>
                  <a:pt x="33" y="3"/>
                  <a:pt x="32" y="3"/>
                </a:cubicBezTo>
                <a:cubicBezTo>
                  <a:pt x="30" y="3"/>
                  <a:pt x="27" y="4"/>
                  <a:pt x="25" y="4"/>
                </a:cubicBezTo>
                <a:cubicBezTo>
                  <a:pt x="21" y="5"/>
                  <a:pt x="17" y="6"/>
                  <a:pt x="12" y="6"/>
                </a:cubicBezTo>
                <a:cubicBezTo>
                  <a:pt x="12" y="6"/>
                  <a:pt x="11" y="7"/>
                  <a:pt x="11" y="7"/>
                </a:cubicBezTo>
                <a:cubicBezTo>
                  <a:pt x="10" y="7"/>
                  <a:pt x="11" y="8"/>
                  <a:pt x="11" y="8"/>
                </a:cubicBezTo>
                <a:cubicBezTo>
                  <a:pt x="11" y="10"/>
                  <a:pt x="10" y="13"/>
                  <a:pt x="10" y="15"/>
                </a:cubicBezTo>
                <a:cubicBezTo>
                  <a:pt x="10" y="23"/>
                  <a:pt x="10" y="31"/>
                  <a:pt x="10" y="40"/>
                </a:cubicBezTo>
                <a:cubicBezTo>
                  <a:pt x="10" y="42"/>
                  <a:pt x="10" y="44"/>
                  <a:pt x="10" y="46"/>
                </a:cubicBezTo>
                <a:cubicBezTo>
                  <a:pt x="10" y="47"/>
                  <a:pt x="8" y="47"/>
                  <a:pt x="7" y="47"/>
                </a:cubicBezTo>
                <a:cubicBezTo>
                  <a:pt x="5" y="47"/>
                  <a:pt x="3" y="47"/>
                  <a:pt x="1" y="47"/>
                </a:cubicBezTo>
                <a:cubicBezTo>
                  <a:pt x="0" y="47"/>
                  <a:pt x="0" y="48"/>
                  <a:pt x="0" y="49"/>
                </a:cubicBezTo>
                <a:cubicBezTo>
                  <a:pt x="0" y="50"/>
                  <a:pt x="0" y="50"/>
                  <a:pt x="0" y="51"/>
                </a:cubicBezTo>
                <a:cubicBezTo>
                  <a:pt x="0" y="54"/>
                  <a:pt x="0" y="56"/>
                  <a:pt x="0" y="58"/>
                </a:cubicBezTo>
                <a:cubicBezTo>
                  <a:pt x="0" y="62"/>
                  <a:pt x="0" y="66"/>
                  <a:pt x="0" y="70"/>
                </a:cubicBezTo>
                <a:cubicBezTo>
                  <a:pt x="0" y="72"/>
                  <a:pt x="0" y="75"/>
                  <a:pt x="0" y="77"/>
                </a:cubicBezTo>
                <a:cubicBezTo>
                  <a:pt x="0" y="78"/>
                  <a:pt x="1" y="78"/>
                  <a:pt x="2" y="79"/>
                </a:cubicBezTo>
                <a:cubicBezTo>
                  <a:pt x="3" y="80"/>
                  <a:pt x="3" y="80"/>
                  <a:pt x="4" y="81"/>
                </a:cubicBezTo>
                <a:cubicBezTo>
                  <a:pt x="4" y="81"/>
                  <a:pt x="4" y="82"/>
                  <a:pt x="4" y="83"/>
                </a:cubicBezTo>
                <a:cubicBezTo>
                  <a:pt x="5" y="83"/>
                  <a:pt x="5" y="84"/>
                  <a:pt x="5" y="84"/>
                </a:cubicBezTo>
                <a:cubicBezTo>
                  <a:pt x="5" y="85"/>
                  <a:pt x="6" y="85"/>
                  <a:pt x="6" y="85"/>
                </a:cubicBezTo>
                <a:cubicBezTo>
                  <a:pt x="6" y="85"/>
                  <a:pt x="6" y="85"/>
                  <a:pt x="6" y="85"/>
                </a:cubicBezTo>
                <a:cubicBezTo>
                  <a:pt x="6" y="85"/>
                  <a:pt x="6" y="86"/>
                  <a:pt x="6" y="86"/>
                </a:cubicBezTo>
                <a:cubicBezTo>
                  <a:pt x="6" y="87"/>
                  <a:pt x="6" y="87"/>
                  <a:pt x="6" y="87"/>
                </a:cubicBezTo>
                <a:cubicBezTo>
                  <a:pt x="6" y="87"/>
                  <a:pt x="6" y="87"/>
                  <a:pt x="6" y="88"/>
                </a:cubicBezTo>
                <a:cubicBezTo>
                  <a:pt x="7" y="88"/>
                  <a:pt x="7" y="89"/>
                  <a:pt x="7" y="89"/>
                </a:cubicBezTo>
                <a:cubicBezTo>
                  <a:pt x="8" y="90"/>
                  <a:pt x="7" y="91"/>
                  <a:pt x="8" y="92"/>
                </a:cubicBezTo>
                <a:cubicBezTo>
                  <a:pt x="8" y="93"/>
                  <a:pt x="7" y="94"/>
                  <a:pt x="7" y="95"/>
                </a:cubicBezTo>
                <a:cubicBezTo>
                  <a:pt x="6" y="95"/>
                  <a:pt x="5" y="96"/>
                  <a:pt x="5" y="97"/>
                </a:cubicBezTo>
                <a:cubicBezTo>
                  <a:pt x="5" y="97"/>
                  <a:pt x="6" y="97"/>
                  <a:pt x="5" y="98"/>
                </a:cubicBezTo>
                <a:cubicBezTo>
                  <a:pt x="5" y="98"/>
                  <a:pt x="5" y="99"/>
                  <a:pt x="5" y="99"/>
                </a:cubicBezTo>
                <a:cubicBezTo>
                  <a:pt x="5" y="99"/>
                  <a:pt x="5" y="100"/>
                  <a:pt x="6" y="100"/>
                </a:cubicBezTo>
                <a:cubicBezTo>
                  <a:pt x="6" y="100"/>
                  <a:pt x="6" y="101"/>
                  <a:pt x="6" y="101"/>
                </a:cubicBezTo>
                <a:cubicBezTo>
                  <a:pt x="6" y="100"/>
                  <a:pt x="7" y="100"/>
                  <a:pt x="7" y="100"/>
                </a:cubicBezTo>
                <a:cubicBezTo>
                  <a:pt x="8" y="100"/>
                  <a:pt x="8" y="100"/>
                  <a:pt x="9" y="100"/>
                </a:cubicBezTo>
                <a:cubicBezTo>
                  <a:pt x="10" y="101"/>
                  <a:pt x="11" y="100"/>
                  <a:pt x="13" y="100"/>
                </a:cubicBezTo>
                <a:cubicBezTo>
                  <a:pt x="14" y="100"/>
                  <a:pt x="15" y="101"/>
                  <a:pt x="16" y="100"/>
                </a:cubicBezTo>
                <a:cubicBezTo>
                  <a:pt x="17" y="99"/>
                  <a:pt x="16" y="98"/>
                  <a:pt x="17" y="98"/>
                </a:cubicBezTo>
                <a:cubicBezTo>
                  <a:pt x="19" y="98"/>
                  <a:pt x="19" y="98"/>
                  <a:pt x="20" y="96"/>
                </a:cubicBezTo>
                <a:cubicBezTo>
                  <a:pt x="20" y="96"/>
                  <a:pt x="20" y="95"/>
                  <a:pt x="21" y="95"/>
                </a:cubicBezTo>
                <a:cubicBezTo>
                  <a:pt x="21" y="95"/>
                  <a:pt x="22" y="95"/>
                  <a:pt x="22" y="94"/>
                </a:cubicBezTo>
                <a:cubicBezTo>
                  <a:pt x="22" y="94"/>
                  <a:pt x="23" y="93"/>
                  <a:pt x="23" y="93"/>
                </a:cubicBezTo>
                <a:cubicBezTo>
                  <a:pt x="23" y="93"/>
                  <a:pt x="23" y="94"/>
                  <a:pt x="24" y="93"/>
                </a:cubicBezTo>
                <a:cubicBezTo>
                  <a:pt x="24" y="93"/>
                  <a:pt x="24" y="93"/>
                  <a:pt x="24" y="93"/>
                </a:cubicBezTo>
                <a:cubicBezTo>
                  <a:pt x="24" y="92"/>
                  <a:pt x="25" y="92"/>
                  <a:pt x="25" y="91"/>
                </a:cubicBezTo>
                <a:cubicBezTo>
                  <a:pt x="25" y="91"/>
                  <a:pt x="25" y="91"/>
                  <a:pt x="25" y="91"/>
                </a:cubicBezTo>
                <a:cubicBezTo>
                  <a:pt x="25" y="90"/>
                  <a:pt x="25" y="90"/>
                  <a:pt x="26" y="89"/>
                </a:cubicBezTo>
                <a:cubicBezTo>
                  <a:pt x="26" y="89"/>
                  <a:pt x="26" y="89"/>
                  <a:pt x="26" y="89"/>
                </a:cubicBezTo>
                <a:cubicBezTo>
                  <a:pt x="26" y="88"/>
                  <a:pt x="26" y="88"/>
                  <a:pt x="26" y="87"/>
                </a:cubicBezTo>
                <a:cubicBezTo>
                  <a:pt x="26" y="87"/>
                  <a:pt x="26" y="87"/>
                  <a:pt x="26" y="87"/>
                </a:cubicBezTo>
                <a:cubicBezTo>
                  <a:pt x="27" y="86"/>
                  <a:pt x="26" y="86"/>
                  <a:pt x="26" y="86"/>
                </a:cubicBezTo>
                <a:cubicBezTo>
                  <a:pt x="26" y="86"/>
                  <a:pt x="26" y="86"/>
                  <a:pt x="27" y="85"/>
                </a:cubicBezTo>
                <a:cubicBezTo>
                  <a:pt x="27" y="85"/>
                  <a:pt x="27" y="85"/>
                  <a:pt x="27" y="85"/>
                </a:cubicBezTo>
                <a:cubicBezTo>
                  <a:pt x="27" y="84"/>
                  <a:pt x="28" y="84"/>
                  <a:pt x="28" y="84"/>
                </a:cubicBezTo>
                <a:cubicBezTo>
                  <a:pt x="28" y="84"/>
                  <a:pt x="28" y="83"/>
                  <a:pt x="29" y="83"/>
                </a:cubicBezTo>
                <a:cubicBezTo>
                  <a:pt x="29" y="84"/>
                  <a:pt x="30" y="83"/>
                  <a:pt x="31" y="83"/>
                </a:cubicBezTo>
                <a:cubicBezTo>
                  <a:pt x="31" y="83"/>
                  <a:pt x="32" y="83"/>
                  <a:pt x="32" y="83"/>
                </a:cubicBezTo>
                <a:cubicBezTo>
                  <a:pt x="32" y="83"/>
                  <a:pt x="32" y="83"/>
                  <a:pt x="32" y="83"/>
                </a:cubicBezTo>
                <a:cubicBezTo>
                  <a:pt x="33" y="83"/>
                  <a:pt x="33" y="83"/>
                  <a:pt x="33" y="84"/>
                </a:cubicBezTo>
                <a:cubicBezTo>
                  <a:pt x="33" y="84"/>
                  <a:pt x="33" y="84"/>
                  <a:pt x="33" y="84"/>
                </a:cubicBezTo>
                <a:cubicBezTo>
                  <a:pt x="34" y="85"/>
                  <a:pt x="35" y="85"/>
                  <a:pt x="36" y="86"/>
                </a:cubicBezTo>
                <a:cubicBezTo>
                  <a:pt x="36" y="87"/>
                  <a:pt x="37" y="87"/>
                  <a:pt x="37" y="87"/>
                </a:cubicBezTo>
                <a:cubicBezTo>
                  <a:pt x="37" y="87"/>
                  <a:pt x="38" y="87"/>
                  <a:pt x="38" y="87"/>
                </a:cubicBezTo>
                <a:cubicBezTo>
                  <a:pt x="39" y="87"/>
                  <a:pt x="39" y="87"/>
                  <a:pt x="40" y="88"/>
                </a:cubicBezTo>
                <a:cubicBezTo>
                  <a:pt x="41" y="88"/>
                  <a:pt x="41" y="88"/>
                  <a:pt x="42" y="88"/>
                </a:cubicBezTo>
                <a:cubicBezTo>
                  <a:pt x="43" y="88"/>
                  <a:pt x="43" y="89"/>
                  <a:pt x="44" y="89"/>
                </a:cubicBezTo>
                <a:cubicBezTo>
                  <a:pt x="44" y="89"/>
                  <a:pt x="44" y="89"/>
                  <a:pt x="45" y="89"/>
                </a:cubicBezTo>
                <a:cubicBezTo>
                  <a:pt x="46" y="89"/>
                  <a:pt x="46" y="89"/>
                  <a:pt x="47" y="88"/>
                </a:cubicBezTo>
                <a:cubicBezTo>
                  <a:pt x="48" y="88"/>
                  <a:pt x="49" y="88"/>
                  <a:pt x="50" y="88"/>
                </a:cubicBezTo>
                <a:cubicBezTo>
                  <a:pt x="50" y="88"/>
                  <a:pt x="51" y="88"/>
                  <a:pt x="52" y="87"/>
                </a:cubicBezTo>
                <a:cubicBezTo>
                  <a:pt x="53" y="86"/>
                  <a:pt x="54" y="83"/>
                  <a:pt x="55" y="81"/>
                </a:cubicBezTo>
                <a:cubicBezTo>
                  <a:pt x="55" y="80"/>
                  <a:pt x="55" y="79"/>
                  <a:pt x="55" y="78"/>
                </a:cubicBezTo>
                <a:cubicBezTo>
                  <a:pt x="55" y="77"/>
                  <a:pt x="56" y="77"/>
                  <a:pt x="57" y="77"/>
                </a:cubicBezTo>
                <a:cubicBezTo>
                  <a:pt x="58" y="77"/>
                  <a:pt x="59" y="76"/>
                  <a:pt x="60" y="76"/>
                </a:cubicBezTo>
                <a:cubicBezTo>
                  <a:pt x="61" y="76"/>
                  <a:pt x="61" y="75"/>
                  <a:pt x="62" y="74"/>
                </a:cubicBezTo>
                <a:cubicBezTo>
                  <a:pt x="62" y="73"/>
                  <a:pt x="64" y="73"/>
                  <a:pt x="65" y="72"/>
                </a:cubicBezTo>
                <a:cubicBezTo>
                  <a:pt x="65" y="72"/>
                  <a:pt x="65" y="70"/>
                  <a:pt x="65" y="70"/>
                </a:cubicBezTo>
                <a:cubicBezTo>
                  <a:pt x="66" y="68"/>
                  <a:pt x="66" y="67"/>
                  <a:pt x="66" y="66"/>
                </a:cubicBezTo>
                <a:cubicBezTo>
                  <a:pt x="66" y="66"/>
                  <a:pt x="66" y="66"/>
                  <a:pt x="66" y="65"/>
                </a:cubicBezTo>
                <a:cubicBezTo>
                  <a:pt x="67" y="65"/>
                  <a:pt x="67" y="65"/>
                  <a:pt x="67" y="65"/>
                </a:cubicBezTo>
                <a:cubicBezTo>
                  <a:pt x="67" y="65"/>
                  <a:pt x="67" y="65"/>
                  <a:pt x="67" y="65"/>
                </a:cubicBezTo>
                <a:cubicBezTo>
                  <a:pt x="67" y="65"/>
                  <a:pt x="68" y="64"/>
                  <a:pt x="68" y="64"/>
                </a:cubicBezTo>
                <a:cubicBezTo>
                  <a:pt x="68" y="64"/>
                  <a:pt x="68" y="64"/>
                  <a:pt x="68" y="64"/>
                </a:cubicBezTo>
                <a:cubicBezTo>
                  <a:pt x="68" y="64"/>
                  <a:pt x="69" y="63"/>
                  <a:pt x="69" y="63"/>
                </a:cubicBezTo>
                <a:cubicBezTo>
                  <a:pt x="70" y="62"/>
                  <a:pt x="70" y="63"/>
                  <a:pt x="71" y="62"/>
                </a:cubicBezTo>
                <a:cubicBezTo>
                  <a:pt x="70" y="62"/>
                  <a:pt x="71" y="62"/>
                  <a:pt x="71" y="62"/>
                </a:cubicBezTo>
                <a:cubicBezTo>
                  <a:pt x="72" y="62"/>
                  <a:pt x="72" y="61"/>
                  <a:pt x="72" y="61"/>
                </a:cubicBezTo>
                <a:cubicBezTo>
                  <a:pt x="72" y="61"/>
                  <a:pt x="73" y="60"/>
                  <a:pt x="73" y="60"/>
                </a:cubicBezTo>
                <a:cubicBezTo>
                  <a:pt x="74" y="60"/>
                  <a:pt x="74" y="61"/>
                  <a:pt x="74" y="60"/>
                </a:cubicBezTo>
                <a:cubicBezTo>
                  <a:pt x="74" y="60"/>
                  <a:pt x="74" y="60"/>
                  <a:pt x="75" y="59"/>
                </a:cubicBezTo>
                <a:cubicBezTo>
                  <a:pt x="75" y="59"/>
                  <a:pt x="75" y="59"/>
                  <a:pt x="75" y="59"/>
                </a:cubicBezTo>
                <a:cubicBezTo>
                  <a:pt x="76" y="58"/>
                  <a:pt x="75" y="58"/>
                  <a:pt x="76" y="58"/>
                </a:cubicBezTo>
                <a:cubicBezTo>
                  <a:pt x="76" y="57"/>
                  <a:pt x="76" y="57"/>
                  <a:pt x="76" y="57"/>
                </a:cubicBezTo>
                <a:cubicBezTo>
                  <a:pt x="77" y="57"/>
                  <a:pt x="77" y="57"/>
                  <a:pt x="77" y="56"/>
                </a:cubicBezTo>
                <a:cubicBezTo>
                  <a:pt x="77" y="56"/>
                  <a:pt x="77" y="56"/>
                  <a:pt x="77" y="56"/>
                </a:cubicBezTo>
                <a:cubicBezTo>
                  <a:pt x="78" y="55"/>
                  <a:pt x="78" y="54"/>
                  <a:pt x="80" y="54"/>
                </a:cubicBezTo>
                <a:cubicBezTo>
                  <a:pt x="80" y="53"/>
                  <a:pt x="81" y="53"/>
                  <a:pt x="82" y="53"/>
                </a:cubicBezTo>
                <a:cubicBezTo>
                  <a:pt x="82" y="53"/>
                  <a:pt x="83" y="53"/>
                  <a:pt x="84" y="52"/>
                </a:cubicBezTo>
                <a:cubicBezTo>
                  <a:pt x="84" y="52"/>
                  <a:pt x="85" y="52"/>
                  <a:pt x="85" y="52"/>
                </a:cubicBezTo>
                <a:cubicBezTo>
                  <a:pt x="86" y="51"/>
                  <a:pt x="86" y="51"/>
                  <a:pt x="86" y="50"/>
                </a:cubicBezTo>
                <a:cubicBezTo>
                  <a:pt x="86" y="49"/>
                  <a:pt x="87" y="49"/>
                  <a:pt x="87" y="49"/>
                </a:cubicBezTo>
                <a:cubicBezTo>
                  <a:pt x="88" y="49"/>
                  <a:pt x="88" y="49"/>
                  <a:pt x="88" y="49"/>
                </a:cubicBezTo>
                <a:cubicBezTo>
                  <a:pt x="89" y="49"/>
                  <a:pt x="89" y="49"/>
                  <a:pt x="89" y="49"/>
                </a:cubicBezTo>
                <a:cubicBezTo>
                  <a:pt x="89" y="49"/>
                  <a:pt x="88" y="48"/>
                  <a:pt x="88" y="4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2" name="Bolivia"/>
          <p:cNvSpPr>
            <a:spLocks noEditPoints="1"/>
          </p:cNvSpPr>
          <p:nvPr/>
        </p:nvSpPr>
        <p:spPr bwMode="auto">
          <a:xfrm>
            <a:off x="3368174" y="5046923"/>
            <a:ext cx="443983" cy="527981"/>
          </a:xfrm>
          <a:custGeom>
            <a:avLst/>
            <a:gdLst/>
            <a:ahLst/>
            <a:cxnLst>
              <a:cxn ang="0">
                <a:pos x="122" y="103"/>
              </a:cxn>
              <a:cxn ang="0">
                <a:pos x="120" y="112"/>
              </a:cxn>
              <a:cxn ang="0">
                <a:pos x="118" y="112"/>
              </a:cxn>
              <a:cxn ang="0">
                <a:pos x="90" y="109"/>
              </a:cxn>
              <a:cxn ang="0">
                <a:pos x="81" y="124"/>
              </a:cxn>
              <a:cxn ang="0">
                <a:pos x="77" y="136"/>
              </a:cxn>
              <a:cxn ang="0">
                <a:pos x="65" y="140"/>
              </a:cxn>
              <a:cxn ang="0">
                <a:pos x="62" y="143"/>
              </a:cxn>
              <a:cxn ang="0">
                <a:pos x="57" y="137"/>
              </a:cxn>
              <a:cxn ang="0">
                <a:pos x="45" y="134"/>
              </a:cxn>
              <a:cxn ang="0">
                <a:pos x="38" y="142"/>
              </a:cxn>
              <a:cxn ang="0">
                <a:pos x="29" y="144"/>
              </a:cxn>
              <a:cxn ang="0">
                <a:pos x="27" y="136"/>
              </a:cxn>
              <a:cxn ang="0">
                <a:pos x="20" y="123"/>
              </a:cxn>
              <a:cxn ang="0">
                <a:pos x="18" y="116"/>
              </a:cxn>
              <a:cxn ang="0">
                <a:pos x="20" y="108"/>
              </a:cxn>
              <a:cxn ang="0">
                <a:pos x="14" y="102"/>
              </a:cxn>
              <a:cxn ang="0">
                <a:pos x="11" y="94"/>
              </a:cxn>
              <a:cxn ang="0">
                <a:pos x="7" y="87"/>
              </a:cxn>
              <a:cxn ang="0">
                <a:pos x="8" y="81"/>
              </a:cxn>
              <a:cxn ang="0">
                <a:pos x="12" y="77"/>
              </a:cxn>
              <a:cxn ang="0">
                <a:pos x="13" y="74"/>
              </a:cxn>
              <a:cxn ang="0">
                <a:pos x="13" y="70"/>
              </a:cxn>
              <a:cxn ang="0">
                <a:pos x="7" y="66"/>
              </a:cxn>
              <a:cxn ang="0">
                <a:pos x="8" y="62"/>
              </a:cxn>
              <a:cxn ang="0">
                <a:pos x="7" y="54"/>
              </a:cxn>
              <a:cxn ang="0">
                <a:pos x="9" y="48"/>
              </a:cxn>
              <a:cxn ang="0">
                <a:pos x="8" y="39"/>
              </a:cxn>
              <a:cxn ang="0">
                <a:pos x="10" y="31"/>
              </a:cxn>
              <a:cxn ang="0">
                <a:pos x="10" y="16"/>
              </a:cxn>
              <a:cxn ang="0">
                <a:pos x="18" y="11"/>
              </a:cxn>
              <a:cxn ang="0">
                <a:pos x="24" y="7"/>
              </a:cxn>
              <a:cxn ang="0">
                <a:pos x="33" y="2"/>
              </a:cxn>
              <a:cxn ang="0">
                <a:pos x="36" y="1"/>
              </a:cxn>
              <a:cxn ang="0">
                <a:pos x="40" y="2"/>
              </a:cxn>
              <a:cxn ang="0">
                <a:pos x="41" y="15"/>
              </a:cxn>
              <a:cxn ang="0">
                <a:pos x="41" y="19"/>
              </a:cxn>
              <a:cxn ang="0">
                <a:pos x="43" y="24"/>
              </a:cxn>
              <a:cxn ang="0">
                <a:pos x="45" y="26"/>
              </a:cxn>
              <a:cxn ang="0">
                <a:pos x="49" y="28"/>
              </a:cxn>
              <a:cxn ang="0">
                <a:pos x="56" y="32"/>
              </a:cxn>
              <a:cxn ang="0">
                <a:pos x="65" y="34"/>
              </a:cxn>
              <a:cxn ang="0">
                <a:pos x="70" y="38"/>
              </a:cxn>
              <a:cxn ang="0">
                <a:pos x="76" y="42"/>
              </a:cxn>
              <a:cxn ang="0">
                <a:pos x="83" y="43"/>
              </a:cxn>
              <a:cxn ang="0">
                <a:pos x="91" y="48"/>
              </a:cxn>
              <a:cxn ang="0">
                <a:pos x="93" y="57"/>
              </a:cxn>
              <a:cxn ang="0">
                <a:pos x="95" y="71"/>
              </a:cxn>
              <a:cxn ang="0">
                <a:pos x="113" y="73"/>
              </a:cxn>
              <a:cxn ang="0">
                <a:pos x="114" y="84"/>
              </a:cxn>
              <a:cxn ang="0">
                <a:pos x="121" y="92"/>
              </a:cxn>
              <a:cxn ang="0">
                <a:pos x="10" y="73"/>
              </a:cxn>
              <a:cxn ang="0">
                <a:pos x="10" y="72"/>
              </a:cxn>
            </a:cxnLst>
            <a:rect l="0" t="0" r="r" b="b"/>
            <a:pathLst>
              <a:path w="123" h="146">
                <a:moveTo>
                  <a:pt x="123" y="94"/>
                </a:moveTo>
                <a:cubicBezTo>
                  <a:pt x="123" y="95"/>
                  <a:pt x="123" y="95"/>
                  <a:pt x="123" y="95"/>
                </a:cubicBezTo>
                <a:cubicBezTo>
                  <a:pt x="122" y="95"/>
                  <a:pt x="122" y="96"/>
                  <a:pt x="122" y="96"/>
                </a:cubicBezTo>
                <a:cubicBezTo>
                  <a:pt x="122" y="97"/>
                  <a:pt x="122" y="99"/>
                  <a:pt x="121" y="100"/>
                </a:cubicBezTo>
                <a:cubicBezTo>
                  <a:pt x="121" y="101"/>
                  <a:pt x="121" y="102"/>
                  <a:pt x="122" y="103"/>
                </a:cubicBezTo>
                <a:cubicBezTo>
                  <a:pt x="122" y="103"/>
                  <a:pt x="122" y="103"/>
                  <a:pt x="121" y="104"/>
                </a:cubicBezTo>
                <a:cubicBezTo>
                  <a:pt x="121" y="104"/>
                  <a:pt x="121" y="105"/>
                  <a:pt x="121" y="105"/>
                </a:cubicBezTo>
                <a:cubicBezTo>
                  <a:pt x="120" y="107"/>
                  <a:pt x="120" y="108"/>
                  <a:pt x="119" y="109"/>
                </a:cubicBezTo>
                <a:cubicBezTo>
                  <a:pt x="119" y="110"/>
                  <a:pt x="119" y="111"/>
                  <a:pt x="119" y="111"/>
                </a:cubicBezTo>
                <a:cubicBezTo>
                  <a:pt x="119" y="112"/>
                  <a:pt x="120" y="112"/>
                  <a:pt x="120" y="112"/>
                </a:cubicBezTo>
                <a:cubicBezTo>
                  <a:pt x="120" y="113"/>
                  <a:pt x="122" y="113"/>
                  <a:pt x="121" y="114"/>
                </a:cubicBezTo>
                <a:cubicBezTo>
                  <a:pt x="121" y="115"/>
                  <a:pt x="120" y="114"/>
                  <a:pt x="120" y="115"/>
                </a:cubicBezTo>
                <a:cubicBezTo>
                  <a:pt x="120" y="115"/>
                  <a:pt x="119" y="116"/>
                  <a:pt x="119" y="116"/>
                </a:cubicBezTo>
                <a:cubicBezTo>
                  <a:pt x="119" y="115"/>
                  <a:pt x="119" y="115"/>
                  <a:pt x="119" y="114"/>
                </a:cubicBezTo>
                <a:cubicBezTo>
                  <a:pt x="119" y="113"/>
                  <a:pt x="119" y="113"/>
                  <a:pt x="118" y="112"/>
                </a:cubicBezTo>
                <a:cubicBezTo>
                  <a:pt x="118" y="112"/>
                  <a:pt x="116" y="111"/>
                  <a:pt x="116" y="110"/>
                </a:cubicBezTo>
                <a:cubicBezTo>
                  <a:pt x="114" y="109"/>
                  <a:pt x="113" y="109"/>
                  <a:pt x="111" y="108"/>
                </a:cubicBezTo>
                <a:cubicBezTo>
                  <a:pt x="110" y="107"/>
                  <a:pt x="109" y="106"/>
                  <a:pt x="108" y="106"/>
                </a:cubicBezTo>
                <a:cubicBezTo>
                  <a:pt x="105" y="106"/>
                  <a:pt x="102" y="106"/>
                  <a:pt x="99" y="107"/>
                </a:cubicBezTo>
                <a:cubicBezTo>
                  <a:pt x="96" y="107"/>
                  <a:pt x="93" y="108"/>
                  <a:pt x="90" y="109"/>
                </a:cubicBezTo>
                <a:cubicBezTo>
                  <a:pt x="89" y="109"/>
                  <a:pt x="87" y="110"/>
                  <a:pt x="86" y="110"/>
                </a:cubicBezTo>
                <a:cubicBezTo>
                  <a:pt x="84" y="110"/>
                  <a:pt x="84" y="111"/>
                  <a:pt x="84" y="112"/>
                </a:cubicBezTo>
                <a:cubicBezTo>
                  <a:pt x="83" y="114"/>
                  <a:pt x="83" y="115"/>
                  <a:pt x="82" y="116"/>
                </a:cubicBezTo>
                <a:cubicBezTo>
                  <a:pt x="82" y="117"/>
                  <a:pt x="81" y="119"/>
                  <a:pt x="80" y="120"/>
                </a:cubicBezTo>
                <a:cubicBezTo>
                  <a:pt x="80" y="122"/>
                  <a:pt x="80" y="123"/>
                  <a:pt x="81" y="124"/>
                </a:cubicBezTo>
                <a:cubicBezTo>
                  <a:pt x="81" y="126"/>
                  <a:pt x="81" y="127"/>
                  <a:pt x="80" y="129"/>
                </a:cubicBezTo>
                <a:cubicBezTo>
                  <a:pt x="80" y="130"/>
                  <a:pt x="80" y="131"/>
                  <a:pt x="80" y="132"/>
                </a:cubicBezTo>
                <a:cubicBezTo>
                  <a:pt x="79" y="134"/>
                  <a:pt x="79" y="136"/>
                  <a:pt x="79" y="139"/>
                </a:cubicBezTo>
                <a:cubicBezTo>
                  <a:pt x="78" y="138"/>
                  <a:pt x="78" y="138"/>
                  <a:pt x="77" y="138"/>
                </a:cubicBezTo>
                <a:cubicBezTo>
                  <a:pt x="77" y="137"/>
                  <a:pt x="77" y="137"/>
                  <a:pt x="77" y="136"/>
                </a:cubicBezTo>
                <a:cubicBezTo>
                  <a:pt x="77" y="136"/>
                  <a:pt x="75" y="136"/>
                  <a:pt x="75" y="136"/>
                </a:cubicBezTo>
                <a:cubicBezTo>
                  <a:pt x="72" y="136"/>
                  <a:pt x="70" y="136"/>
                  <a:pt x="68" y="136"/>
                </a:cubicBezTo>
                <a:cubicBezTo>
                  <a:pt x="68" y="136"/>
                  <a:pt x="66" y="136"/>
                  <a:pt x="66" y="136"/>
                </a:cubicBezTo>
                <a:cubicBezTo>
                  <a:pt x="66" y="136"/>
                  <a:pt x="66" y="137"/>
                  <a:pt x="66" y="138"/>
                </a:cubicBezTo>
                <a:cubicBezTo>
                  <a:pt x="65" y="138"/>
                  <a:pt x="65" y="139"/>
                  <a:pt x="65" y="140"/>
                </a:cubicBezTo>
                <a:cubicBezTo>
                  <a:pt x="65" y="140"/>
                  <a:pt x="65" y="141"/>
                  <a:pt x="64" y="141"/>
                </a:cubicBezTo>
                <a:cubicBezTo>
                  <a:pt x="64" y="142"/>
                  <a:pt x="64" y="142"/>
                  <a:pt x="64" y="143"/>
                </a:cubicBezTo>
                <a:cubicBezTo>
                  <a:pt x="64" y="143"/>
                  <a:pt x="63" y="146"/>
                  <a:pt x="63" y="146"/>
                </a:cubicBezTo>
                <a:cubicBezTo>
                  <a:pt x="63" y="145"/>
                  <a:pt x="63" y="145"/>
                  <a:pt x="63" y="145"/>
                </a:cubicBezTo>
                <a:cubicBezTo>
                  <a:pt x="63" y="144"/>
                  <a:pt x="62" y="144"/>
                  <a:pt x="62" y="143"/>
                </a:cubicBezTo>
                <a:cubicBezTo>
                  <a:pt x="62" y="143"/>
                  <a:pt x="62" y="143"/>
                  <a:pt x="62" y="142"/>
                </a:cubicBezTo>
                <a:cubicBezTo>
                  <a:pt x="62" y="142"/>
                  <a:pt x="61" y="141"/>
                  <a:pt x="61" y="141"/>
                </a:cubicBezTo>
                <a:cubicBezTo>
                  <a:pt x="61" y="140"/>
                  <a:pt x="60" y="140"/>
                  <a:pt x="60" y="139"/>
                </a:cubicBezTo>
                <a:cubicBezTo>
                  <a:pt x="60" y="139"/>
                  <a:pt x="60" y="139"/>
                  <a:pt x="60" y="138"/>
                </a:cubicBezTo>
                <a:cubicBezTo>
                  <a:pt x="59" y="138"/>
                  <a:pt x="58" y="138"/>
                  <a:pt x="57" y="137"/>
                </a:cubicBezTo>
                <a:cubicBezTo>
                  <a:pt x="55" y="137"/>
                  <a:pt x="54" y="137"/>
                  <a:pt x="53" y="137"/>
                </a:cubicBezTo>
                <a:cubicBezTo>
                  <a:pt x="52" y="137"/>
                  <a:pt x="51" y="137"/>
                  <a:pt x="51" y="137"/>
                </a:cubicBezTo>
                <a:cubicBezTo>
                  <a:pt x="50" y="137"/>
                  <a:pt x="49" y="137"/>
                  <a:pt x="49" y="137"/>
                </a:cubicBezTo>
                <a:cubicBezTo>
                  <a:pt x="48" y="137"/>
                  <a:pt x="48" y="136"/>
                  <a:pt x="46" y="135"/>
                </a:cubicBezTo>
                <a:cubicBezTo>
                  <a:pt x="46" y="135"/>
                  <a:pt x="46" y="135"/>
                  <a:pt x="45" y="134"/>
                </a:cubicBezTo>
                <a:cubicBezTo>
                  <a:pt x="45" y="134"/>
                  <a:pt x="44" y="134"/>
                  <a:pt x="44" y="134"/>
                </a:cubicBezTo>
                <a:cubicBezTo>
                  <a:pt x="43" y="135"/>
                  <a:pt x="44" y="137"/>
                  <a:pt x="43" y="137"/>
                </a:cubicBezTo>
                <a:cubicBezTo>
                  <a:pt x="42" y="138"/>
                  <a:pt x="40" y="138"/>
                  <a:pt x="40" y="139"/>
                </a:cubicBezTo>
                <a:cubicBezTo>
                  <a:pt x="40" y="139"/>
                  <a:pt x="40" y="141"/>
                  <a:pt x="39" y="141"/>
                </a:cubicBezTo>
                <a:cubicBezTo>
                  <a:pt x="39" y="141"/>
                  <a:pt x="38" y="141"/>
                  <a:pt x="38" y="142"/>
                </a:cubicBezTo>
                <a:cubicBezTo>
                  <a:pt x="37" y="142"/>
                  <a:pt x="38" y="142"/>
                  <a:pt x="37" y="143"/>
                </a:cubicBezTo>
                <a:cubicBezTo>
                  <a:pt x="37" y="143"/>
                  <a:pt x="37" y="144"/>
                  <a:pt x="36" y="145"/>
                </a:cubicBezTo>
                <a:cubicBezTo>
                  <a:pt x="36" y="145"/>
                  <a:pt x="35" y="145"/>
                  <a:pt x="34" y="146"/>
                </a:cubicBezTo>
                <a:cubicBezTo>
                  <a:pt x="33" y="146"/>
                  <a:pt x="33" y="146"/>
                  <a:pt x="32" y="146"/>
                </a:cubicBezTo>
                <a:cubicBezTo>
                  <a:pt x="31" y="146"/>
                  <a:pt x="29" y="145"/>
                  <a:pt x="29" y="144"/>
                </a:cubicBezTo>
                <a:cubicBezTo>
                  <a:pt x="29" y="143"/>
                  <a:pt x="30" y="142"/>
                  <a:pt x="29" y="142"/>
                </a:cubicBezTo>
                <a:cubicBezTo>
                  <a:pt x="29" y="141"/>
                  <a:pt x="28" y="140"/>
                  <a:pt x="28" y="140"/>
                </a:cubicBezTo>
                <a:cubicBezTo>
                  <a:pt x="28" y="139"/>
                  <a:pt x="28" y="139"/>
                  <a:pt x="28" y="139"/>
                </a:cubicBezTo>
                <a:cubicBezTo>
                  <a:pt x="28" y="138"/>
                  <a:pt x="28" y="138"/>
                  <a:pt x="28" y="138"/>
                </a:cubicBezTo>
                <a:cubicBezTo>
                  <a:pt x="28" y="137"/>
                  <a:pt x="28" y="137"/>
                  <a:pt x="27" y="136"/>
                </a:cubicBezTo>
                <a:cubicBezTo>
                  <a:pt x="26" y="135"/>
                  <a:pt x="26" y="134"/>
                  <a:pt x="26" y="133"/>
                </a:cubicBezTo>
                <a:cubicBezTo>
                  <a:pt x="25" y="131"/>
                  <a:pt x="25" y="129"/>
                  <a:pt x="24" y="128"/>
                </a:cubicBezTo>
                <a:cubicBezTo>
                  <a:pt x="24" y="127"/>
                  <a:pt x="23" y="126"/>
                  <a:pt x="22" y="125"/>
                </a:cubicBezTo>
                <a:cubicBezTo>
                  <a:pt x="22" y="124"/>
                  <a:pt x="21" y="124"/>
                  <a:pt x="21" y="124"/>
                </a:cubicBezTo>
                <a:cubicBezTo>
                  <a:pt x="20" y="124"/>
                  <a:pt x="20" y="123"/>
                  <a:pt x="20" y="123"/>
                </a:cubicBezTo>
                <a:cubicBezTo>
                  <a:pt x="20" y="122"/>
                  <a:pt x="21" y="122"/>
                  <a:pt x="21" y="121"/>
                </a:cubicBezTo>
                <a:cubicBezTo>
                  <a:pt x="21" y="121"/>
                  <a:pt x="20" y="120"/>
                  <a:pt x="20" y="120"/>
                </a:cubicBezTo>
                <a:cubicBezTo>
                  <a:pt x="19" y="120"/>
                  <a:pt x="17" y="119"/>
                  <a:pt x="18" y="118"/>
                </a:cubicBezTo>
                <a:cubicBezTo>
                  <a:pt x="19" y="117"/>
                  <a:pt x="19" y="117"/>
                  <a:pt x="18" y="117"/>
                </a:cubicBezTo>
                <a:cubicBezTo>
                  <a:pt x="18" y="116"/>
                  <a:pt x="18" y="116"/>
                  <a:pt x="18" y="116"/>
                </a:cubicBezTo>
                <a:cubicBezTo>
                  <a:pt x="17" y="115"/>
                  <a:pt x="19" y="115"/>
                  <a:pt x="19" y="114"/>
                </a:cubicBezTo>
                <a:cubicBezTo>
                  <a:pt x="19" y="114"/>
                  <a:pt x="20" y="113"/>
                  <a:pt x="19" y="113"/>
                </a:cubicBezTo>
                <a:cubicBezTo>
                  <a:pt x="19" y="112"/>
                  <a:pt x="19" y="112"/>
                  <a:pt x="18" y="112"/>
                </a:cubicBezTo>
                <a:cubicBezTo>
                  <a:pt x="17" y="111"/>
                  <a:pt x="19" y="109"/>
                  <a:pt x="19" y="109"/>
                </a:cubicBezTo>
                <a:cubicBezTo>
                  <a:pt x="19" y="108"/>
                  <a:pt x="20" y="108"/>
                  <a:pt x="20" y="108"/>
                </a:cubicBezTo>
                <a:cubicBezTo>
                  <a:pt x="20" y="107"/>
                  <a:pt x="19" y="107"/>
                  <a:pt x="19" y="107"/>
                </a:cubicBezTo>
                <a:cubicBezTo>
                  <a:pt x="19" y="107"/>
                  <a:pt x="18" y="106"/>
                  <a:pt x="18" y="106"/>
                </a:cubicBezTo>
                <a:cubicBezTo>
                  <a:pt x="17" y="106"/>
                  <a:pt x="17" y="105"/>
                  <a:pt x="16" y="105"/>
                </a:cubicBezTo>
                <a:cubicBezTo>
                  <a:pt x="16" y="104"/>
                  <a:pt x="15" y="104"/>
                  <a:pt x="14" y="103"/>
                </a:cubicBezTo>
                <a:cubicBezTo>
                  <a:pt x="14" y="102"/>
                  <a:pt x="14" y="102"/>
                  <a:pt x="14" y="102"/>
                </a:cubicBezTo>
                <a:cubicBezTo>
                  <a:pt x="14" y="101"/>
                  <a:pt x="14" y="101"/>
                  <a:pt x="14" y="101"/>
                </a:cubicBezTo>
                <a:cubicBezTo>
                  <a:pt x="14" y="100"/>
                  <a:pt x="13" y="100"/>
                  <a:pt x="13" y="99"/>
                </a:cubicBezTo>
                <a:cubicBezTo>
                  <a:pt x="13" y="98"/>
                  <a:pt x="13" y="96"/>
                  <a:pt x="12" y="95"/>
                </a:cubicBezTo>
                <a:cubicBezTo>
                  <a:pt x="12" y="95"/>
                  <a:pt x="12" y="95"/>
                  <a:pt x="12" y="94"/>
                </a:cubicBezTo>
                <a:cubicBezTo>
                  <a:pt x="12" y="94"/>
                  <a:pt x="12" y="94"/>
                  <a:pt x="11" y="94"/>
                </a:cubicBezTo>
                <a:cubicBezTo>
                  <a:pt x="11" y="93"/>
                  <a:pt x="12" y="93"/>
                  <a:pt x="12" y="93"/>
                </a:cubicBezTo>
                <a:cubicBezTo>
                  <a:pt x="13" y="92"/>
                  <a:pt x="11" y="92"/>
                  <a:pt x="11" y="92"/>
                </a:cubicBezTo>
                <a:cubicBezTo>
                  <a:pt x="10" y="92"/>
                  <a:pt x="10" y="92"/>
                  <a:pt x="10" y="92"/>
                </a:cubicBezTo>
                <a:cubicBezTo>
                  <a:pt x="9" y="91"/>
                  <a:pt x="9" y="91"/>
                  <a:pt x="9" y="90"/>
                </a:cubicBezTo>
                <a:cubicBezTo>
                  <a:pt x="9" y="89"/>
                  <a:pt x="8" y="88"/>
                  <a:pt x="7" y="87"/>
                </a:cubicBezTo>
                <a:cubicBezTo>
                  <a:pt x="7" y="86"/>
                  <a:pt x="7" y="85"/>
                  <a:pt x="6" y="84"/>
                </a:cubicBezTo>
                <a:cubicBezTo>
                  <a:pt x="6" y="84"/>
                  <a:pt x="5" y="84"/>
                  <a:pt x="6" y="83"/>
                </a:cubicBezTo>
                <a:cubicBezTo>
                  <a:pt x="6" y="83"/>
                  <a:pt x="6" y="83"/>
                  <a:pt x="7" y="83"/>
                </a:cubicBezTo>
                <a:cubicBezTo>
                  <a:pt x="7" y="82"/>
                  <a:pt x="8" y="82"/>
                  <a:pt x="8" y="82"/>
                </a:cubicBezTo>
                <a:cubicBezTo>
                  <a:pt x="8" y="81"/>
                  <a:pt x="8" y="81"/>
                  <a:pt x="8" y="81"/>
                </a:cubicBezTo>
                <a:cubicBezTo>
                  <a:pt x="8" y="81"/>
                  <a:pt x="8" y="80"/>
                  <a:pt x="9" y="80"/>
                </a:cubicBezTo>
                <a:cubicBezTo>
                  <a:pt x="9" y="79"/>
                  <a:pt x="9" y="79"/>
                  <a:pt x="9" y="78"/>
                </a:cubicBezTo>
                <a:cubicBezTo>
                  <a:pt x="10" y="78"/>
                  <a:pt x="10" y="78"/>
                  <a:pt x="11" y="78"/>
                </a:cubicBezTo>
                <a:cubicBezTo>
                  <a:pt x="11" y="77"/>
                  <a:pt x="11" y="77"/>
                  <a:pt x="11" y="76"/>
                </a:cubicBezTo>
                <a:cubicBezTo>
                  <a:pt x="11" y="76"/>
                  <a:pt x="12" y="77"/>
                  <a:pt x="12" y="77"/>
                </a:cubicBezTo>
                <a:cubicBezTo>
                  <a:pt x="13" y="76"/>
                  <a:pt x="12" y="76"/>
                  <a:pt x="12" y="75"/>
                </a:cubicBezTo>
                <a:cubicBezTo>
                  <a:pt x="12" y="75"/>
                  <a:pt x="12" y="75"/>
                  <a:pt x="11" y="75"/>
                </a:cubicBezTo>
                <a:cubicBezTo>
                  <a:pt x="11" y="75"/>
                  <a:pt x="12" y="75"/>
                  <a:pt x="13" y="75"/>
                </a:cubicBezTo>
                <a:cubicBezTo>
                  <a:pt x="13" y="75"/>
                  <a:pt x="13" y="74"/>
                  <a:pt x="14" y="74"/>
                </a:cubicBezTo>
                <a:cubicBezTo>
                  <a:pt x="14" y="74"/>
                  <a:pt x="14" y="74"/>
                  <a:pt x="13" y="74"/>
                </a:cubicBezTo>
                <a:cubicBezTo>
                  <a:pt x="13" y="73"/>
                  <a:pt x="14" y="74"/>
                  <a:pt x="14" y="74"/>
                </a:cubicBezTo>
                <a:cubicBezTo>
                  <a:pt x="15" y="74"/>
                  <a:pt x="15" y="73"/>
                  <a:pt x="15" y="73"/>
                </a:cubicBezTo>
                <a:cubicBezTo>
                  <a:pt x="15" y="72"/>
                  <a:pt x="12" y="72"/>
                  <a:pt x="12" y="73"/>
                </a:cubicBezTo>
                <a:cubicBezTo>
                  <a:pt x="12" y="72"/>
                  <a:pt x="11" y="71"/>
                  <a:pt x="12" y="71"/>
                </a:cubicBezTo>
                <a:cubicBezTo>
                  <a:pt x="12" y="71"/>
                  <a:pt x="12" y="70"/>
                  <a:pt x="13" y="70"/>
                </a:cubicBezTo>
                <a:cubicBezTo>
                  <a:pt x="13" y="69"/>
                  <a:pt x="11" y="69"/>
                  <a:pt x="11" y="69"/>
                </a:cubicBezTo>
                <a:cubicBezTo>
                  <a:pt x="10" y="69"/>
                  <a:pt x="10" y="69"/>
                  <a:pt x="10" y="69"/>
                </a:cubicBezTo>
                <a:cubicBezTo>
                  <a:pt x="10" y="68"/>
                  <a:pt x="10" y="67"/>
                  <a:pt x="9" y="67"/>
                </a:cubicBezTo>
                <a:cubicBezTo>
                  <a:pt x="9" y="67"/>
                  <a:pt x="8" y="67"/>
                  <a:pt x="8" y="67"/>
                </a:cubicBezTo>
                <a:cubicBezTo>
                  <a:pt x="9" y="66"/>
                  <a:pt x="7" y="67"/>
                  <a:pt x="7" y="66"/>
                </a:cubicBezTo>
                <a:cubicBezTo>
                  <a:pt x="7" y="66"/>
                  <a:pt x="7" y="66"/>
                  <a:pt x="7" y="65"/>
                </a:cubicBezTo>
                <a:cubicBezTo>
                  <a:pt x="6" y="65"/>
                  <a:pt x="6" y="64"/>
                  <a:pt x="7" y="64"/>
                </a:cubicBezTo>
                <a:cubicBezTo>
                  <a:pt x="7" y="63"/>
                  <a:pt x="7" y="63"/>
                  <a:pt x="7" y="63"/>
                </a:cubicBezTo>
                <a:cubicBezTo>
                  <a:pt x="7" y="63"/>
                  <a:pt x="7" y="63"/>
                  <a:pt x="7" y="62"/>
                </a:cubicBezTo>
                <a:cubicBezTo>
                  <a:pt x="8" y="62"/>
                  <a:pt x="7" y="62"/>
                  <a:pt x="8" y="62"/>
                </a:cubicBezTo>
                <a:cubicBezTo>
                  <a:pt x="8" y="62"/>
                  <a:pt x="8" y="62"/>
                  <a:pt x="8" y="62"/>
                </a:cubicBezTo>
                <a:cubicBezTo>
                  <a:pt x="8" y="61"/>
                  <a:pt x="6" y="60"/>
                  <a:pt x="6" y="59"/>
                </a:cubicBezTo>
                <a:cubicBezTo>
                  <a:pt x="6" y="59"/>
                  <a:pt x="6" y="58"/>
                  <a:pt x="6" y="57"/>
                </a:cubicBezTo>
                <a:cubicBezTo>
                  <a:pt x="5" y="56"/>
                  <a:pt x="7" y="57"/>
                  <a:pt x="7" y="56"/>
                </a:cubicBezTo>
                <a:cubicBezTo>
                  <a:pt x="7" y="56"/>
                  <a:pt x="6" y="54"/>
                  <a:pt x="7" y="54"/>
                </a:cubicBezTo>
                <a:cubicBezTo>
                  <a:pt x="7" y="54"/>
                  <a:pt x="7" y="54"/>
                  <a:pt x="8" y="53"/>
                </a:cubicBezTo>
                <a:cubicBezTo>
                  <a:pt x="8" y="53"/>
                  <a:pt x="9" y="53"/>
                  <a:pt x="9" y="52"/>
                </a:cubicBezTo>
                <a:cubicBezTo>
                  <a:pt x="9" y="51"/>
                  <a:pt x="8" y="51"/>
                  <a:pt x="9" y="51"/>
                </a:cubicBezTo>
                <a:cubicBezTo>
                  <a:pt x="9" y="50"/>
                  <a:pt x="10" y="50"/>
                  <a:pt x="10" y="50"/>
                </a:cubicBezTo>
                <a:cubicBezTo>
                  <a:pt x="10" y="49"/>
                  <a:pt x="9" y="49"/>
                  <a:pt x="9" y="48"/>
                </a:cubicBezTo>
                <a:cubicBezTo>
                  <a:pt x="8" y="48"/>
                  <a:pt x="8" y="47"/>
                  <a:pt x="8" y="47"/>
                </a:cubicBezTo>
                <a:cubicBezTo>
                  <a:pt x="8" y="46"/>
                  <a:pt x="8" y="45"/>
                  <a:pt x="7" y="45"/>
                </a:cubicBezTo>
                <a:cubicBezTo>
                  <a:pt x="7" y="44"/>
                  <a:pt x="8" y="44"/>
                  <a:pt x="8" y="44"/>
                </a:cubicBezTo>
                <a:cubicBezTo>
                  <a:pt x="8" y="43"/>
                  <a:pt x="8" y="42"/>
                  <a:pt x="8" y="41"/>
                </a:cubicBezTo>
                <a:cubicBezTo>
                  <a:pt x="8" y="41"/>
                  <a:pt x="8" y="40"/>
                  <a:pt x="8" y="39"/>
                </a:cubicBezTo>
                <a:cubicBezTo>
                  <a:pt x="8" y="38"/>
                  <a:pt x="7" y="36"/>
                  <a:pt x="8" y="36"/>
                </a:cubicBezTo>
                <a:cubicBezTo>
                  <a:pt x="8" y="35"/>
                  <a:pt x="8" y="35"/>
                  <a:pt x="9" y="34"/>
                </a:cubicBezTo>
                <a:cubicBezTo>
                  <a:pt x="9" y="34"/>
                  <a:pt x="9" y="34"/>
                  <a:pt x="9" y="34"/>
                </a:cubicBezTo>
                <a:cubicBezTo>
                  <a:pt x="10" y="33"/>
                  <a:pt x="9" y="33"/>
                  <a:pt x="9" y="33"/>
                </a:cubicBezTo>
                <a:cubicBezTo>
                  <a:pt x="9" y="32"/>
                  <a:pt x="10" y="32"/>
                  <a:pt x="10" y="31"/>
                </a:cubicBezTo>
                <a:cubicBezTo>
                  <a:pt x="7" y="25"/>
                  <a:pt x="4" y="20"/>
                  <a:pt x="0" y="15"/>
                </a:cubicBezTo>
                <a:cubicBezTo>
                  <a:pt x="2" y="15"/>
                  <a:pt x="4" y="15"/>
                  <a:pt x="6" y="15"/>
                </a:cubicBezTo>
                <a:cubicBezTo>
                  <a:pt x="6" y="15"/>
                  <a:pt x="8" y="15"/>
                  <a:pt x="8" y="15"/>
                </a:cubicBezTo>
                <a:cubicBezTo>
                  <a:pt x="8" y="16"/>
                  <a:pt x="8" y="16"/>
                  <a:pt x="8" y="17"/>
                </a:cubicBezTo>
                <a:cubicBezTo>
                  <a:pt x="9" y="17"/>
                  <a:pt x="9" y="16"/>
                  <a:pt x="10" y="16"/>
                </a:cubicBezTo>
                <a:cubicBezTo>
                  <a:pt x="11" y="16"/>
                  <a:pt x="11" y="16"/>
                  <a:pt x="12" y="15"/>
                </a:cubicBezTo>
                <a:cubicBezTo>
                  <a:pt x="12" y="15"/>
                  <a:pt x="13" y="15"/>
                  <a:pt x="13" y="15"/>
                </a:cubicBezTo>
                <a:cubicBezTo>
                  <a:pt x="14" y="14"/>
                  <a:pt x="14" y="12"/>
                  <a:pt x="15" y="11"/>
                </a:cubicBezTo>
                <a:cubicBezTo>
                  <a:pt x="16" y="11"/>
                  <a:pt x="16" y="11"/>
                  <a:pt x="17" y="11"/>
                </a:cubicBezTo>
                <a:cubicBezTo>
                  <a:pt x="18" y="12"/>
                  <a:pt x="18" y="12"/>
                  <a:pt x="18" y="11"/>
                </a:cubicBezTo>
                <a:cubicBezTo>
                  <a:pt x="18" y="11"/>
                  <a:pt x="19" y="10"/>
                  <a:pt x="19" y="10"/>
                </a:cubicBezTo>
                <a:cubicBezTo>
                  <a:pt x="19" y="9"/>
                  <a:pt x="20" y="9"/>
                  <a:pt x="20" y="9"/>
                </a:cubicBezTo>
                <a:cubicBezTo>
                  <a:pt x="21" y="9"/>
                  <a:pt x="21" y="8"/>
                  <a:pt x="21" y="8"/>
                </a:cubicBezTo>
                <a:cubicBezTo>
                  <a:pt x="22" y="8"/>
                  <a:pt x="22" y="7"/>
                  <a:pt x="22" y="8"/>
                </a:cubicBezTo>
                <a:cubicBezTo>
                  <a:pt x="23" y="8"/>
                  <a:pt x="24" y="7"/>
                  <a:pt x="24" y="7"/>
                </a:cubicBezTo>
                <a:cubicBezTo>
                  <a:pt x="25" y="6"/>
                  <a:pt x="26" y="5"/>
                  <a:pt x="26" y="4"/>
                </a:cubicBezTo>
                <a:cubicBezTo>
                  <a:pt x="27" y="4"/>
                  <a:pt x="28" y="3"/>
                  <a:pt x="28" y="3"/>
                </a:cubicBezTo>
                <a:cubicBezTo>
                  <a:pt x="29" y="3"/>
                  <a:pt x="30" y="3"/>
                  <a:pt x="31" y="2"/>
                </a:cubicBezTo>
                <a:cubicBezTo>
                  <a:pt x="32" y="2"/>
                  <a:pt x="32" y="2"/>
                  <a:pt x="33" y="2"/>
                </a:cubicBezTo>
                <a:cubicBezTo>
                  <a:pt x="33" y="2"/>
                  <a:pt x="33" y="2"/>
                  <a:pt x="33" y="2"/>
                </a:cubicBezTo>
                <a:cubicBezTo>
                  <a:pt x="33" y="2"/>
                  <a:pt x="33" y="2"/>
                  <a:pt x="33" y="2"/>
                </a:cubicBezTo>
                <a:cubicBezTo>
                  <a:pt x="33" y="2"/>
                  <a:pt x="34" y="2"/>
                  <a:pt x="34" y="2"/>
                </a:cubicBezTo>
                <a:cubicBezTo>
                  <a:pt x="34" y="2"/>
                  <a:pt x="34" y="1"/>
                  <a:pt x="35" y="2"/>
                </a:cubicBezTo>
                <a:cubicBezTo>
                  <a:pt x="35" y="2"/>
                  <a:pt x="36" y="2"/>
                  <a:pt x="36" y="2"/>
                </a:cubicBezTo>
                <a:cubicBezTo>
                  <a:pt x="36" y="2"/>
                  <a:pt x="36" y="1"/>
                  <a:pt x="36" y="1"/>
                </a:cubicBezTo>
                <a:cubicBezTo>
                  <a:pt x="36" y="2"/>
                  <a:pt x="37" y="1"/>
                  <a:pt x="37" y="1"/>
                </a:cubicBezTo>
                <a:cubicBezTo>
                  <a:pt x="37" y="2"/>
                  <a:pt x="37" y="2"/>
                  <a:pt x="37" y="2"/>
                </a:cubicBezTo>
                <a:cubicBezTo>
                  <a:pt x="37" y="2"/>
                  <a:pt x="38" y="2"/>
                  <a:pt x="38" y="2"/>
                </a:cubicBezTo>
                <a:cubicBezTo>
                  <a:pt x="39" y="2"/>
                  <a:pt x="39" y="1"/>
                  <a:pt x="39" y="1"/>
                </a:cubicBezTo>
                <a:cubicBezTo>
                  <a:pt x="40" y="0"/>
                  <a:pt x="40" y="1"/>
                  <a:pt x="40" y="2"/>
                </a:cubicBezTo>
                <a:cubicBezTo>
                  <a:pt x="41" y="3"/>
                  <a:pt x="40" y="3"/>
                  <a:pt x="41" y="4"/>
                </a:cubicBezTo>
                <a:cubicBezTo>
                  <a:pt x="41" y="5"/>
                  <a:pt x="41" y="6"/>
                  <a:pt x="41" y="7"/>
                </a:cubicBezTo>
                <a:cubicBezTo>
                  <a:pt x="40" y="9"/>
                  <a:pt x="39" y="10"/>
                  <a:pt x="40" y="11"/>
                </a:cubicBezTo>
                <a:cubicBezTo>
                  <a:pt x="41" y="12"/>
                  <a:pt x="40" y="13"/>
                  <a:pt x="41" y="13"/>
                </a:cubicBezTo>
                <a:cubicBezTo>
                  <a:pt x="41" y="13"/>
                  <a:pt x="42" y="14"/>
                  <a:pt x="41" y="15"/>
                </a:cubicBezTo>
                <a:cubicBezTo>
                  <a:pt x="41" y="15"/>
                  <a:pt x="41" y="15"/>
                  <a:pt x="41" y="16"/>
                </a:cubicBezTo>
                <a:cubicBezTo>
                  <a:pt x="41" y="16"/>
                  <a:pt x="41" y="16"/>
                  <a:pt x="41" y="17"/>
                </a:cubicBezTo>
                <a:cubicBezTo>
                  <a:pt x="40" y="17"/>
                  <a:pt x="41" y="17"/>
                  <a:pt x="41" y="17"/>
                </a:cubicBezTo>
                <a:cubicBezTo>
                  <a:pt x="41" y="18"/>
                  <a:pt x="41" y="18"/>
                  <a:pt x="41" y="18"/>
                </a:cubicBezTo>
                <a:cubicBezTo>
                  <a:pt x="41" y="18"/>
                  <a:pt x="41" y="18"/>
                  <a:pt x="41" y="19"/>
                </a:cubicBezTo>
                <a:cubicBezTo>
                  <a:pt x="41" y="19"/>
                  <a:pt x="41" y="19"/>
                  <a:pt x="41" y="19"/>
                </a:cubicBezTo>
                <a:cubicBezTo>
                  <a:pt x="41" y="20"/>
                  <a:pt x="42" y="21"/>
                  <a:pt x="42" y="21"/>
                </a:cubicBezTo>
                <a:cubicBezTo>
                  <a:pt x="43" y="21"/>
                  <a:pt x="43" y="21"/>
                  <a:pt x="43" y="22"/>
                </a:cubicBezTo>
                <a:cubicBezTo>
                  <a:pt x="43" y="22"/>
                  <a:pt x="43" y="22"/>
                  <a:pt x="43" y="22"/>
                </a:cubicBezTo>
                <a:cubicBezTo>
                  <a:pt x="43" y="22"/>
                  <a:pt x="43" y="24"/>
                  <a:pt x="43" y="24"/>
                </a:cubicBezTo>
                <a:cubicBezTo>
                  <a:pt x="43" y="24"/>
                  <a:pt x="44" y="23"/>
                  <a:pt x="44" y="23"/>
                </a:cubicBezTo>
                <a:cubicBezTo>
                  <a:pt x="44" y="23"/>
                  <a:pt x="44" y="23"/>
                  <a:pt x="44" y="23"/>
                </a:cubicBezTo>
                <a:cubicBezTo>
                  <a:pt x="44" y="24"/>
                  <a:pt x="44" y="24"/>
                  <a:pt x="45" y="25"/>
                </a:cubicBezTo>
                <a:cubicBezTo>
                  <a:pt x="45" y="25"/>
                  <a:pt x="45" y="25"/>
                  <a:pt x="45" y="25"/>
                </a:cubicBezTo>
                <a:cubicBezTo>
                  <a:pt x="45" y="26"/>
                  <a:pt x="45" y="26"/>
                  <a:pt x="45" y="26"/>
                </a:cubicBezTo>
                <a:cubicBezTo>
                  <a:pt x="46" y="26"/>
                  <a:pt x="47" y="26"/>
                  <a:pt x="47" y="27"/>
                </a:cubicBezTo>
                <a:cubicBezTo>
                  <a:pt x="47" y="27"/>
                  <a:pt x="48" y="28"/>
                  <a:pt x="48" y="28"/>
                </a:cubicBezTo>
                <a:cubicBezTo>
                  <a:pt x="48" y="28"/>
                  <a:pt x="48" y="27"/>
                  <a:pt x="48" y="27"/>
                </a:cubicBezTo>
                <a:cubicBezTo>
                  <a:pt x="48" y="27"/>
                  <a:pt x="48" y="28"/>
                  <a:pt x="48" y="28"/>
                </a:cubicBezTo>
                <a:cubicBezTo>
                  <a:pt x="49" y="28"/>
                  <a:pt x="49" y="28"/>
                  <a:pt x="49" y="28"/>
                </a:cubicBezTo>
                <a:cubicBezTo>
                  <a:pt x="51" y="29"/>
                  <a:pt x="50" y="29"/>
                  <a:pt x="50" y="30"/>
                </a:cubicBezTo>
                <a:cubicBezTo>
                  <a:pt x="50" y="31"/>
                  <a:pt x="52" y="31"/>
                  <a:pt x="52" y="31"/>
                </a:cubicBezTo>
                <a:cubicBezTo>
                  <a:pt x="53" y="32"/>
                  <a:pt x="52" y="31"/>
                  <a:pt x="53" y="31"/>
                </a:cubicBezTo>
                <a:cubicBezTo>
                  <a:pt x="53" y="31"/>
                  <a:pt x="53" y="32"/>
                  <a:pt x="54" y="32"/>
                </a:cubicBezTo>
                <a:cubicBezTo>
                  <a:pt x="54" y="32"/>
                  <a:pt x="56" y="32"/>
                  <a:pt x="56" y="32"/>
                </a:cubicBezTo>
                <a:cubicBezTo>
                  <a:pt x="56" y="31"/>
                  <a:pt x="57" y="31"/>
                  <a:pt x="57" y="31"/>
                </a:cubicBezTo>
                <a:cubicBezTo>
                  <a:pt x="58" y="31"/>
                  <a:pt x="59" y="32"/>
                  <a:pt x="60" y="32"/>
                </a:cubicBezTo>
                <a:cubicBezTo>
                  <a:pt x="61" y="32"/>
                  <a:pt x="61" y="34"/>
                  <a:pt x="62" y="34"/>
                </a:cubicBezTo>
                <a:cubicBezTo>
                  <a:pt x="63" y="34"/>
                  <a:pt x="63" y="33"/>
                  <a:pt x="64" y="33"/>
                </a:cubicBezTo>
                <a:cubicBezTo>
                  <a:pt x="64" y="33"/>
                  <a:pt x="64" y="34"/>
                  <a:pt x="65" y="34"/>
                </a:cubicBezTo>
                <a:cubicBezTo>
                  <a:pt x="65" y="35"/>
                  <a:pt x="66" y="36"/>
                  <a:pt x="67" y="37"/>
                </a:cubicBezTo>
                <a:cubicBezTo>
                  <a:pt x="67" y="37"/>
                  <a:pt x="67" y="37"/>
                  <a:pt x="68" y="37"/>
                </a:cubicBezTo>
                <a:cubicBezTo>
                  <a:pt x="68" y="37"/>
                  <a:pt x="68" y="37"/>
                  <a:pt x="69" y="37"/>
                </a:cubicBezTo>
                <a:cubicBezTo>
                  <a:pt x="69" y="37"/>
                  <a:pt x="69" y="38"/>
                  <a:pt x="69" y="38"/>
                </a:cubicBezTo>
                <a:cubicBezTo>
                  <a:pt x="70" y="38"/>
                  <a:pt x="70" y="38"/>
                  <a:pt x="70" y="38"/>
                </a:cubicBezTo>
                <a:cubicBezTo>
                  <a:pt x="71" y="38"/>
                  <a:pt x="71" y="38"/>
                  <a:pt x="71" y="39"/>
                </a:cubicBezTo>
                <a:cubicBezTo>
                  <a:pt x="72" y="39"/>
                  <a:pt x="72" y="39"/>
                  <a:pt x="73" y="39"/>
                </a:cubicBezTo>
                <a:cubicBezTo>
                  <a:pt x="73" y="38"/>
                  <a:pt x="74" y="39"/>
                  <a:pt x="74" y="39"/>
                </a:cubicBezTo>
                <a:cubicBezTo>
                  <a:pt x="74" y="40"/>
                  <a:pt x="74" y="40"/>
                  <a:pt x="75" y="41"/>
                </a:cubicBezTo>
                <a:cubicBezTo>
                  <a:pt x="75" y="41"/>
                  <a:pt x="76" y="42"/>
                  <a:pt x="76" y="42"/>
                </a:cubicBezTo>
                <a:cubicBezTo>
                  <a:pt x="77" y="42"/>
                  <a:pt x="76" y="43"/>
                  <a:pt x="77" y="43"/>
                </a:cubicBezTo>
                <a:cubicBezTo>
                  <a:pt x="78" y="43"/>
                  <a:pt x="79" y="42"/>
                  <a:pt x="79" y="43"/>
                </a:cubicBezTo>
                <a:cubicBezTo>
                  <a:pt x="80" y="44"/>
                  <a:pt x="81" y="43"/>
                  <a:pt x="81" y="43"/>
                </a:cubicBezTo>
                <a:cubicBezTo>
                  <a:pt x="82" y="43"/>
                  <a:pt x="82" y="43"/>
                  <a:pt x="82" y="43"/>
                </a:cubicBezTo>
                <a:cubicBezTo>
                  <a:pt x="83" y="43"/>
                  <a:pt x="83" y="43"/>
                  <a:pt x="83" y="43"/>
                </a:cubicBezTo>
                <a:cubicBezTo>
                  <a:pt x="84" y="43"/>
                  <a:pt x="84" y="42"/>
                  <a:pt x="84" y="42"/>
                </a:cubicBezTo>
                <a:cubicBezTo>
                  <a:pt x="85" y="43"/>
                  <a:pt x="84" y="43"/>
                  <a:pt x="85" y="43"/>
                </a:cubicBezTo>
                <a:cubicBezTo>
                  <a:pt x="86" y="44"/>
                  <a:pt x="87" y="45"/>
                  <a:pt x="89" y="45"/>
                </a:cubicBezTo>
                <a:cubicBezTo>
                  <a:pt x="89" y="46"/>
                  <a:pt x="90" y="46"/>
                  <a:pt x="90" y="47"/>
                </a:cubicBezTo>
                <a:cubicBezTo>
                  <a:pt x="91" y="47"/>
                  <a:pt x="91" y="47"/>
                  <a:pt x="91" y="48"/>
                </a:cubicBezTo>
                <a:cubicBezTo>
                  <a:pt x="91" y="48"/>
                  <a:pt x="91" y="49"/>
                  <a:pt x="90" y="49"/>
                </a:cubicBezTo>
                <a:cubicBezTo>
                  <a:pt x="90" y="50"/>
                  <a:pt x="91" y="51"/>
                  <a:pt x="91" y="51"/>
                </a:cubicBezTo>
                <a:cubicBezTo>
                  <a:pt x="91" y="52"/>
                  <a:pt x="92" y="53"/>
                  <a:pt x="92" y="53"/>
                </a:cubicBezTo>
                <a:cubicBezTo>
                  <a:pt x="92" y="54"/>
                  <a:pt x="92" y="54"/>
                  <a:pt x="92" y="55"/>
                </a:cubicBezTo>
                <a:cubicBezTo>
                  <a:pt x="93" y="55"/>
                  <a:pt x="93" y="56"/>
                  <a:pt x="93" y="57"/>
                </a:cubicBezTo>
                <a:cubicBezTo>
                  <a:pt x="93" y="58"/>
                  <a:pt x="93" y="59"/>
                  <a:pt x="93" y="60"/>
                </a:cubicBezTo>
                <a:cubicBezTo>
                  <a:pt x="93" y="61"/>
                  <a:pt x="91" y="60"/>
                  <a:pt x="90" y="60"/>
                </a:cubicBezTo>
                <a:cubicBezTo>
                  <a:pt x="91" y="61"/>
                  <a:pt x="92" y="62"/>
                  <a:pt x="93" y="63"/>
                </a:cubicBezTo>
                <a:cubicBezTo>
                  <a:pt x="94" y="64"/>
                  <a:pt x="94" y="65"/>
                  <a:pt x="94" y="67"/>
                </a:cubicBezTo>
                <a:cubicBezTo>
                  <a:pt x="95" y="68"/>
                  <a:pt x="95" y="70"/>
                  <a:pt x="95" y="71"/>
                </a:cubicBezTo>
                <a:cubicBezTo>
                  <a:pt x="95" y="73"/>
                  <a:pt x="96" y="73"/>
                  <a:pt x="97" y="73"/>
                </a:cubicBezTo>
                <a:cubicBezTo>
                  <a:pt x="99" y="73"/>
                  <a:pt x="100" y="73"/>
                  <a:pt x="102" y="73"/>
                </a:cubicBezTo>
                <a:cubicBezTo>
                  <a:pt x="104" y="73"/>
                  <a:pt x="105" y="73"/>
                  <a:pt x="107" y="73"/>
                </a:cubicBezTo>
                <a:cubicBezTo>
                  <a:pt x="109" y="74"/>
                  <a:pt x="110" y="74"/>
                  <a:pt x="112" y="74"/>
                </a:cubicBezTo>
                <a:cubicBezTo>
                  <a:pt x="112" y="74"/>
                  <a:pt x="112" y="73"/>
                  <a:pt x="113" y="73"/>
                </a:cubicBezTo>
                <a:cubicBezTo>
                  <a:pt x="113" y="73"/>
                  <a:pt x="113" y="74"/>
                  <a:pt x="113" y="75"/>
                </a:cubicBezTo>
                <a:cubicBezTo>
                  <a:pt x="113" y="75"/>
                  <a:pt x="113" y="75"/>
                  <a:pt x="113" y="76"/>
                </a:cubicBezTo>
                <a:cubicBezTo>
                  <a:pt x="113" y="76"/>
                  <a:pt x="112" y="77"/>
                  <a:pt x="112" y="77"/>
                </a:cubicBezTo>
                <a:cubicBezTo>
                  <a:pt x="112" y="79"/>
                  <a:pt x="112" y="80"/>
                  <a:pt x="113" y="81"/>
                </a:cubicBezTo>
                <a:cubicBezTo>
                  <a:pt x="113" y="82"/>
                  <a:pt x="113" y="84"/>
                  <a:pt x="114" y="84"/>
                </a:cubicBezTo>
                <a:cubicBezTo>
                  <a:pt x="115" y="85"/>
                  <a:pt x="116" y="85"/>
                  <a:pt x="116" y="86"/>
                </a:cubicBezTo>
                <a:cubicBezTo>
                  <a:pt x="117" y="86"/>
                  <a:pt x="117" y="86"/>
                  <a:pt x="117" y="87"/>
                </a:cubicBezTo>
                <a:cubicBezTo>
                  <a:pt x="118" y="87"/>
                  <a:pt x="118" y="86"/>
                  <a:pt x="119" y="86"/>
                </a:cubicBezTo>
                <a:cubicBezTo>
                  <a:pt x="120" y="87"/>
                  <a:pt x="120" y="88"/>
                  <a:pt x="120" y="89"/>
                </a:cubicBezTo>
                <a:cubicBezTo>
                  <a:pt x="121" y="90"/>
                  <a:pt x="121" y="91"/>
                  <a:pt x="121" y="92"/>
                </a:cubicBezTo>
                <a:cubicBezTo>
                  <a:pt x="122" y="92"/>
                  <a:pt x="122" y="93"/>
                  <a:pt x="122" y="93"/>
                </a:cubicBezTo>
                <a:cubicBezTo>
                  <a:pt x="122" y="94"/>
                  <a:pt x="122" y="94"/>
                  <a:pt x="123" y="94"/>
                </a:cubicBezTo>
                <a:cubicBezTo>
                  <a:pt x="123" y="94"/>
                  <a:pt x="123" y="94"/>
                  <a:pt x="123" y="94"/>
                </a:cubicBezTo>
                <a:close/>
                <a:moveTo>
                  <a:pt x="9" y="72"/>
                </a:moveTo>
                <a:cubicBezTo>
                  <a:pt x="9" y="72"/>
                  <a:pt x="10" y="72"/>
                  <a:pt x="10" y="73"/>
                </a:cubicBezTo>
                <a:cubicBezTo>
                  <a:pt x="10" y="73"/>
                  <a:pt x="11" y="72"/>
                  <a:pt x="11" y="73"/>
                </a:cubicBezTo>
                <a:cubicBezTo>
                  <a:pt x="12" y="73"/>
                  <a:pt x="12" y="73"/>
                  <a:pt x="12" y="73"/>
                </a:cubicBezTo>
                <a:cubicBezTo>
                  <a:pt x="11" y="72"/>
                  <a:pt x="11" y="72"/>
                  <a:pt x="10" y="71"/>
                </a:cubicBezTo>
                <a:cubicBezTo>
                  <a:pt x="10" y="71"/>
                  <a:pt x="9" y="71"/>
                  <a:pt x="9" y="71"/>
                </a:cubicBezTo>
                <a:cubicBezTo>
                  <a:pt x="9" y="71"/>
                  <a:pt x="10" y="72"/>
                  <a:pt x="10" y="72"/>
                </a:cubicBezTo>
                <a:cubicBezTo>
                  <a:pt x="9" y="72"/>
                  <a:pt x="9" y="72"/>
                  <a:pt x="9" y="7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3" name="Bhutan"/>
          <p:cNvSpPr>
            <a:spLocks/>
          </p:cNvSpPr>
          <p:nvPr/>
        </p:nvSpPr>
        <p:spPr bwMode="auto">
          <a:xfrm>
            <a:off x="8815969" y="3538980"/>
            <a:ext cx="114996" cy="64998"/>
          </a:xfrm>
          <a:custGeom>
            <a:avLst/>
            <a:gdLst/>
            <a:ahLst/>
            <a:cxnLst>
              <a:cxn ang="0">
                <a:pos x="31" y="13"/>
              </a:cxn>
              <a:cxn ang="0">
                <a:pos x="32" y="11"/>
              </a:cxn>
              <a:cxn ang="0">
                <a:pos x="31" y="10"/>
              </a:cxn>
              <a:cxn ang="0">
                <a:pos x="30" y="9"/>
              </a:cxn>
              <a:cxn ang="0">
                <a:pos x="29" y="10"/>
              </a:cxn>
              <a:cxn ang="0">
                <a:pos x="28" y="9"/>
              </a:cxn>
              <a:cxn ang="0">
                <a:pos x="27" y="8"/>
              </a:cxn>
              <a:cxn ang="0">
                <a:pos x="26" y="7"/>
              </a:cxn>
              <a:cxn ang="0">
                <a:pos x="26" y="6"/>
              </a:cxn>
              <a:cxn ang="0">
                <a:pos x="26" y="4"/>
              </a:cxn>
              <a:cxn ang="0">
                <a:pos x="25" y="4"/>
              </a:cxn>
              <a:cxn ang="0">
                <a:pos x="23" y="3"/>
              </a:cxn>
              <a:cxn ang="0">
                <a:pos x="22" y="3"/>
              </a:cxn>
              <a:cxn ang="0">
                <a:pos x="21" y="3"/>
              </a:cxn>
              <a:cxn ang="0">
                <a:pos x="20" y="4"/>
              </a:cxn>
              <a:cxn ang="0">
                <a:pos x="19" y="3"/>
              </a:cxn>
              <a:cxn ang="0">
                <a:pos x="17" y="3"/>
              </a:cxn>
              <a:cxn ang="0">
                <a:pos x="15" y="3"/>
              </a:cxn>
              <a:cxn ang="0">
                <a:pos x="14" y="1"/>
              </a:cxn>
              <a:cxn ang="0">
                <a:pos x="12" y="0"/>
              </a:cxn>
              <a:cxn ang="0">
                <a:pos x="9" y="0"/>
              </a:cxn>
              <a:cxn ang="0">
                <a:pos x="9" y="0"/>
              </a:cxn>
              <a:cxn ang="0">
                <a:pos x="9" y="1"/>
              </a:cxn>
              <a:cxn ang="0">
                <a:pos x="8" y="1"/>
              </a:cxn>
              <a:cxn ang="0">
                <a:pos x="6" y="3"/>
              </a:cxn>
              <a:cxn ang="0">
                <a:pos x="5" y="4"/>
              </a:cxn>
              <a:cxn ang="0">
                <a:pos x="4" y="6"/>
              </a:cxn>
              <a:cxn ang="0">
                <a:pos x="3" y="8"/>
              </a:cxn>
              <a:cxn ang="0">
                <a:pos x="2" y="9"/>
              </a:cxn>
              <a:cxn ang="0">
                <a:pos x="2" y="11"/>
              </a:cxn>
              <a:cxn ang="0">
                <a:pos x="1" y="12"/>
              </a:cxn>
              <a:cxn ang="0">
                <a:pos x="1" y="13"/>
              </a:cxn>
              <a:cxn ang="0">
                <a:pos x="2" y="15"/>
              </a:cxn>
              <a:cxn ang="0">
                <a:pos x="3" y="15"/>
              </a:cxn>
              <a:cxn ang="0">
                <a:pos x="4" y="15"/>
              </a:cxn>
              <a:cxn ang="0">
                <a:pos x="5" y="17"/>
              </a:cxn>
              <a:cxn ang="0">
                <a:pos x="7" y="16"/>
              </a:cxn>
              <a:cxn ang="0">
                <a:pos x="8" y="17"/>
              </a:cxn>
              <a:cxn ang="0">
                <a:pos x="9" y="17"/>
              </a:cxn>
              <a:cxn ang="0">
                <a:pos x="9" y="18"/>
              </a:cxn>
              <a:cxn ang="0">
                <a:pos x="11" y="18"/>
              </a:cxn>
              <a:cxn ang="0">
                <a:pos x="11" y="18"/>
              </a:cxn>
              <a:cxn ang="0">
                <a:pos x="12" y="17"/>
              </a:cxn>
              <a:cxn ang="0">
                <a:pos x="14" y="17"/>
              </a:cxn>
              <a:cxn ang="0">
                <a:pos x="15" y="17"/>
              </a:cxn>
              <a:cxn ang="0">
                <a:pos x="16" y="16"/>
              </a:cxn>
              <a:cxn ang="0">
                <a:pos x="17" y="16"/>
              </a:cxn>
              <a:cxn ang="0">
                <a:pos x="19" y="17"/>
              </a:cxn>
              <a:cxn ang="0">
                <a:pos x="21" y="17"/>
              </a:cxn>
              <a:cxn ang="0">
                <a:pos x="24" y="17"/>
              </a:cxn>
              <a:cxn ang="0">
                <a:pos x="26" y="17"/>
              </a:cxn>
              <a:cxn ang="0">
                <a:pos x="26" y="16"/>
              </a:cxn>
              <a:cxn ang="0">
                <a:pos x="27" y="16"/>
              </a:cxn>
              <a:cxn ang="0">
                <a:pos x="28" y="17"/>
              </a:cxn>
              <a:cxn ang="0">
                <a:pos x="30" y="16"/>
              </a:cxn>
              <a:cxn ang="0">
                <a:pos x="31" y="17"/>
              </a:cxn>
              <a:cxn ang="0">
                <a:pos x="31" y="16"/>
              </a:cxn>
              <a:cxn ang="0">
                <a:pos x="32" y="16"/>
              </a:cxn>
              <a:cxn ang="0">
                <a:pos x="32" y="15"/>
              </a:cxn>
              <a:cxn ang="0">
                <a:pos x="31" y="13"/>
              </a:cxn>
            </a:cxnLst>
            <a:rect l="0" t="0" r="r" b="b"/>
            <a:pathLst>
              <a:path w="32" h="18">
                <a:moveTo>
                  <a:pt x="31" y="13"/>
                </a:moveTo>
                <a:cubicBezTo>
                  <a:pt x="31" y="12"/>
                  <a:pt x="32" y="12"/>
                  <a:pt x="32" y="11"/>
                </a:cubicBezTo>
                <a:cubicBezTo>
                  <a:pt x="32" y="11"/>
                  <a:pt x="31" y="10"/>
                  <a:pt x="31" y="10"/>
                </a:cubicBezTo>
                <a:cubicBezTo>
                  <a:pt x="31" y="10"/>
                  <a:pt x="30" y="9"/>
                  <a:pt x="30" y="9"/>
                </a:cubicBezTo>
                <a:cubicBezTo>
                  <a:pt x="30" y="10"/>
                  <a:pt x="29" y="10"/>
                  <a:pt x="29" y="10"/>
                </a:cubicBezTo>
                <a:cubicBezTo>
                  <a:pt x="28" y="10"/>
                  <a:pt x="28" y="9"/>
                  <a:pt x="28" y="9"/>
                </a:cubicBezTo>
                <a:cubicBezTo>
                  <a:pt x="27" y="9"/>
                  <a:pt x="27" y="9"/>
                  <a:pt x="27" y="8"/>
                </a:cubicBezTo>
                <a:cubicBezTo>
                  <a:pt x="26" y="8"/>
                  <a:pt x="26" y="7"/>
                  <a:pt x="26" y="7"/>
                </a:cubicBezTo>
                <a:cubicBezTo>
                  <a:pt x="27" y="6"/>
                  <a:pt x="27" y="6"/>
                  <a:pt x="26" y="6"/>
                </a:cubicBezTo>
                <a:cubicBezTo>
                  <a:pt x="26" y="5"/>
                  <a:pt x="27" y="5"/>
                  <a:pt x="26" y="4"/>
                </a:cubicBezTo>
                <a:cubicBezTo>
                  <a:pt x="26" y="4"/>
                  <a:pt x="25" y="4"/>
                  <a:pt x="25" y="4"/>
                </a:cubicBezTo>
                <a:cubicBezTo>
                  <a:pt x="24" y="4"/>
                  <a:pt x="23" y="4"/>
                  <a:pt x="23" y="3"/>
                </a:cubicBezTo>
                <a:cubicBezTo>
                  <a:pt x="22" y="3"/>
                  <a:pt x="22" y="3"/>
                  <a:pt x="22" y="3"/>
                </a:cubicBezTo>
                <a:cubicBezTo>
                  <a:pt x="22" y="3"/>
                  <a:pt x="21" y="3"/>
                  <a:pt x="21" y="3"/>
                </a:cubicBezTo>
                <a:cubicBezTo>
                  <a:pt x="21" y="4"/>
                  <a:pt x="21" y="4"/>
                  <a:pt x="20" y="4"/>
                </a:cubicBezTo>
                <a:cubicBezTo>
                  <a:pt x="20" y="4"/>
                  <a:pt x="19" y="3"/>
                  <a:pt x="19" y="3"/>
                </a:cubicBezTo>
                <a:cubicBezTo>
                  <a:pt x="18" y="3"/>
                  <a:pt x="18" y="3"/>
                  <a:pt x="17" y="3"/>
                </a:cubicBezTo>
                <a:cubicBezTo>
                  <a:pt x="17" y="2"/>
                  <a:pt x="15" y="3"/>
                  <a:pt x="15" y="3"/>
                </a:cubicBezTo>
                <a:cubicBezTo>
                  <a:pt x="13" y="3"/>
                  <a:pt x="14" y="2"/>
                  <a:pt x="14" y="1"/>
                </a:cubicBezTo>
                <a:cubicBezTo>
                  <a:pt x="14" y="1"/>
                  <a:pt x="13" y="0"/>
                  <a:pt x="12" y="0"/>
                </a:cubicBezTo>
                <a:cubicBezTo>
                  <a:pt x="11" y="0"/>
                  <a:pt x="10" y="0"/>
                  <a:pt x="9" y="0"/>
                </a:cubicBezTo>
                <a:cubicBezTo>
                  <a:pt x="9" y="0"/>
                  <a:pt x="9" y="0"/>
                  <a:pt x="9" y="0"/>
                </a:cubicBezTo>
                <a:cubicBezTo>
                  <a:pt x="9" y="0"/>
                  <a:pt x="9" y="0"/>
                  <a:pt x="9" y="1"/>
                </a:cubicBezTo>
                <a:cubicBezTo>
                  <a:pt x="8" y="1"/>
                  <a:pt x="8" y="1"/>
                  <a:pt x="8" y="1"/>
                </a:cubicBezTo>
                <a:cubicBezTo>
                  <a:pt x="7" y="2"/>
                  <a:pt x="6" y="2"/>
                  <a:pt x="6" y="3"/>
                </a:cubicBezTo>
                <a:cubicBezTo>
                  <a:pt x="5" y="3"/>
                  <a:pt x="5" y="4"/>
                  <a:pt x="5" y="4"/>
                </a:cubicBezTo>
                <a:cubicBezTo>
                  <a:pt x="5" y="5"/>
                  <a:pt x="4" y="5"/>
                  <a:pt x="4" y="6"/>
                </a:cubicBezTo>
                <a:cubicBezTo>
                  <a:pt x="3" y="6"/>
                  <a:pt x="3" y="7"/>
                  <a:pt x="3" y="8"/>
                </a:cubicBezTo>
                <a:cubicBezTo>
                  <a:pt x="3" y="9"/>
                  <a:pt x="2" y="9"/>
                  <a:pt x="2" y="9"/>
                </a:cubicBezTo>
                <a:cubicBezTo>
                  <a:pt x="2" y="10"/>
                  <a:pt x="2" y="10"/>
                  <a:pt x="2" y="11"/>
                </a:cubicBezTo>
                <a:cubicBezTo>
                  <a:pt x="2" y="12"/>
                  <a:pt x="1" y="12"/>
                  <a:pt x="1" y="12"/>
                </a:cubicBezTo>
                <a:cubicBezTo>
                  <a:pt x="0" y="13"/>
                  <a:pt x="1" y="13"/>
                  <a:pt x="1" y="13"/>
                </a:cubicBezTo>
                <a:cubicBezTo>
                  <a:pt x="2" y="14"/>
                  <a:pt x="2" y="14"/>
                  <a:pt x="2" y="15"/>
                </a:cubicBezTo>
                <a:cubicBezTo>
                  <a:pt x="2" y="14"/>
                  <a:pt x="3" y="15"/>
                  <a:pt x="3" y="15"/>
                </a:cubicBezTo>
                <a:cubicBezTo>
                  <a:pt x="3" y="15"/>
                  <a:pt x="3" y="15"/>
                  <a:pt x="4" y="15"/>
                </a:cubicBezTo>
                <a:cubicBezTo>
                  <a:pt x="4" y="16"/>
                  <a:pt x="4" y="17"/>
                  <a:pt x="5" y="17"/>
                </a:cubicBezTo>
                <a:cubicBezTo>
                  <a:pt x="6" y="16"/>
                  <a:pt x="6" y="16"/>
                  <a:pt x="7" y="16"/>
                </a:cubicBezTo>
                <a:cubicBezTo>
                  <a:pt x="7" y="16"/>
                  <a:pt x="8" y="16"/>
                  <a:pt x="8" y="17"/>
                </a:cubicBezTo>
                <a:cubicBezTo>
                  <a:pt x="8" y="17"/>
                  <a:pt x="9" y="17"/>
                  <a:pt x="9" y="17"/>
                </a:cubicBezTo>
                <a:cubicBezTo>
                  <a:pt x="10" y="17"/>
                  <a:pt x="9" y="18"/>
                  <a:pt x="9" y="18"/>
                </a:cubicBezTo>
                <a:cubicBezTo>
                  <a:pt x="10" y="18"/>
                  <a:pt x="10" y="17"/>
                  <a:pt x="11" y="18"/>
                </a:cubicBezTo>
                <a:cubicBezTo>
                  <a:pt x="11" y="18"/>
                  <a:pt x="11" y="18"/>
                  <a:pt x="11" y="18"/>
                </a:cubicBezTo>
                <a:cubicBezTo>
                  <a:pt x="12" y="18"/>
                  <a:pt x="12" y="17"/>
                  <a:pt x="12" y="17"/>
                </a:cubicBezTo>
                <a:cubicBezTo>
                  <a:pt x="13" y="18"/>
                  <a:pt x="13" y="17"/>
                  <a:pt x="14" y="17"/>
                </a:cubicBezTo>
                <a:cubicBezTo>
                  <a:pt x="15" y="17"/>
                  <a:pt x="14" y="17"/>
                  <a:pt x="15" y="17"/>
                </a:cubicBezTo>
                <a:cubicBezTo>
                  <a:pt x="15" y="16"/>
                  <a:pt x="15" y="16"/>
                  <a:pt x="16" y="16"/>
                </a:cubicBezTo>
                <a:cubicBezTo>
                  <a:pt x="16" y="16"/>
                  <a:pt x="16" y="16"/>
                  <a:pt x="17" y="16"/>
                </a:cubicBezTo>
                <a:cubicBezTo>
                  <a:pt x="18" y="17"/>
                  <a:pt x="18" y="17"/>
                  <a:pt x="19" y="17"/>
                </a:cubicBezTo>
                <a:cubicBezTo>
                  <a:pt x="20" y="17"/>
                  <a:pt x="20" y="17"/>
                  <a:pt x="21" y="17"/>
                </a:cubicBezTo>
                <a:cubicBezTo>
                  <a:pt x="22" y="17"/>
                  <a:pt x="23" y="16"/>
                  <a:pt x="24" y="17"/>
                </a:cubicBezTo>
                <a:cubicBezTo>
                  <a:pt x="25" y="17"/>
                  <a:pt x="25" y="17"/>
                  <a:pt x="26" y="17"/>
                </a:cubicBezTo>
                <a:cubicBezTo>
                  <a:pt x="26" y="16"/>
                  <a:pt x="26" y="16"/>
                  <a:pt x="26" y="16"/>
                </a:cubicBezTo>
                <a:cubicBezTo>
                  <a:pt x="27" y="16"/>
                  <a:pt x="27" y="16"/>
                  <a:pt x="27" y="16"/>
                </a:cubicBezTo>
                <a:cubicBezTo>
                  <a:pt x="27" y="17"/>
                  <a:pt x="28" y="17"/>
                  <a:pt x="28" y="17"/>
                </a:cubicBezTo>
                <a:cubicBezTo>
                  <a:pt x="29" y="17"/>
                  <a:pt x="29" y="17"/>
                  <a:pt x="30" y="16"/>
                </a:cubicBezTo>
                <a:cubicBezTo>
                  <a:pt x="30" y="16"/>
                  <a:pt x="30" y="16"/>
                  <a:pt x="31" y="17"/>
                </a:cubicBezTo>
                <a:cubicBezTo>
                  <a:pt x="31" y="17"/>
                  <a:pt x="31" y="16"/>
                  <a:pt x="31" y="16"/>
                </a:cubicBezTo>
                <a:cubicBezTo>
                  <a:pt x="31" y="16"/>
                  <a:pt x="32" y="16"/>
                  <a:pt x="32" y="16"/>
                </a:cubicBezTo>
                <a:cubicBezTo>
                  <a:pt x="32" y="16"/>
                  <a:pt x="32" y="15"/>
                  <a:pt x="32" y="15"/>
                </a:cubicBezTo>
                <a:cubicBezTo>
                  <a:pt x="32" y="14"/>
                  <a:pt x="31" y="14"/>
                  <a:pt x="31" y="1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4" name="Benin"/>
          <p:cNvSpPr>
            <a:spLocks/>
          </p:cNvSpPr>
          <p:nvPr/>
        </p:nvSpPr>
        <p:spPr bwMode="auto">
          <a:xfrm>
            <a:off x="5821081" y="4171956"/>
            <a:ext cx="107996" cy="245990"/>
          </a:xfrm>
          <a:custGeom>
            <a:avLst/>
            <a:gdLst/>
            <a:ahLst/>
            <a:cxnLst>
              <a:cxn ang="0">
                <a:pos x="29" y="16"/>
              </a:cxn>
              <a:cxn ang="0">
                <a:pos x="28" y="12"/>
              </a:cxn>
              <a:cxn ang="0">
                <a:pos x="28" y="8"/>
              </a:cxn>
              <a:cxn ang="0">
                <a:pos x="25" y="5"/>
              </a:cxn>
              <a:cxn ang="0">
                <a:pos x="22" y="2"/>
              </a:cxn>
              <a:cxn ang="0">
                <a:pos x="19" y="1"/>
              </a:cxn>
              <a:cxn ang="0">
                <a:pos x="17" y="1"/>
              </a:cxn>
              <a:cxn ang="0">
                <a:pos x="16" y="4"/>
              </a:cxn>
              <a:cxn ang="0">
                <a:pos x="16" y="6"/>
              </a:cxn>
              <a:cxn ang="0">
                <a:pos x="13" y="10"/>
              </a:cxn>
              <a:cxn ang="0">
                <a:pos x="9" y="11"/>
              </a:cxn>
              <a:cxn ang="0">
                <a:pos x="6" y="11"/>
              </a:cxn>
              <a:cxn ang="0">
                <a:pos x="6" y="12"/>
              </a:cxn>
              <a:cxn ang="0">
                <a:pos x="4" y="12"/>
              </a:cxn>
              <a:cxn ang="0">
                <a:pos x="3" y="14"/>
              </a:cxn>
              <a:cxn ang="0">
                <a:pos x="2" y="15"/>
              </a:cxn>
              <a:cxn ang="0">
                <a:pos x="2" y="17"/>
              </a:cxn>
              <a:cxn ang="0">
                <a:pos x="1" y="20"/>
              </a:cxn>
              <a:cxn ang="0">
                <a:pos x="2" y="24"/>
              </a:cxn>
              <a:cxn ang="0">
                <a:pos x="6" y="27"/>
              </a:cxn>
              <a:cxn ang="0">
                <a:pos x="6" y="32"/>
              </a:cxn>
              <a:cxn ang="0">
                <a:pos x="6" y="34"/>
              </a:cxn>
              <a:cxn ang="0">
                <a:pos x="9" y="42"/>
              </a:cxn>
              <a:cxn ang="0">
                <a:pos x="9" y="47"/>
              </a:cxn>
              <a:cxn ang="0">
                <a:pos x="9" y="58"/>
              </a:cxn>
              <a:cxn ang="0">
                <a:pos x="8" y="60"/>
              </a:cxn>
              <a:cxn ang="0">
                <a:pos x="8" y="63"/>
              </a:cxn>
              <a:cxn ang="0">
                <a:pos x="10" y="67"/>
              </a:cxn>
              <a:cxn ang="0">
                <a:pos x="16" y="67"/>
              </a:cxn>
              <a:cxn ang="0">
                <a:pos x="19" y="65"/>
              </a:cxn>
              <a:cxn ang="0">
                <a:pos x="19" y="61"/>
              </a:cxn>
              <a:cxn ang="0">
                <a:pos x="19" y="58"/>
              </a:cxn>
              <a:cxn ang="0">
                <a:pos x="19" y="55"/>
              </a:cxn>
              <a:cxn ang="0">
                <a:pos x="19" y="50"/>
              </a:cxn>
              <a:cxn ang="0">
                <a:pos x="19" y="48"/>
              </a:cxn>
              <a:cxn ang="0">
                <a:pos x="19" y="43"/>
              </a:cxn>
              <a:cxn ang="0">
                <a:pos x="20" y="37"/>
              </a:cxn>
              <a:cxn ang="0">
                <a:pos x="22" y="37"/>
              </a:cxn>
              <a:cxn ang="0">
                <a:pos x="23" y="34"/>
              </a:cxn>
              <a:cxn ang="0">
                <a:pos x="24" y="30"/>
              </a:cxn>
              <a:cxn ang="0">
                <a:pos x="25" y="29"/>
              </a:cxn>
              <a:cxn ang="0">
                <a:pos x="28" y="25"/>
              </a:cxn>
              <a:cxn ang="0">
                <a:pos x="29" y="22"/>
              </a:cxn>
              <a:cxn ang="0">
                <a:pos x="30" y="19"/>
              </a:cxn>
            </a:cxnLst>
            <a:rect l="0" t="0" r="r" b="b"/>
            <a:pathLst>
              <a:path w="30" h="68">
                <a:moveTo>
                  <a:pt x="29" y="18"/>
                </a:moveTo>
                <a:cubicBezTo>
                  <a:pt x="29" y="17"/>
                  <a:pt x="29" y="17"/>
                  <a:pt x="29" y="16"/>
                </a:cubicBezTo>
                <a:cubicBezTo>
                  <a:pt x="29" y="16"/>
                  <a:pt x="29" y="15"/>
                  <a:pt x="29" y="15"/>
                </a:cubicBezTo>
                <a:cubicBezTo>
                  <a:pt x="29" y="14"/>
                  <a:pt x="28" y="13"/>
                  <a:pt x="28" y="12"/>
                </a:cubicBezTo>
                <a:cubicBezTo>
                  <a:pt x="27" y="11"/>
                  <a:pt x="26" y="11"/>
                  <a:pt x="27" y="9"/>
                </a:cubicBezTo>
                <a:cubicBezTo>
                  <a:pt x="27" y="9"/>
                  <a:pt x="27" y="8"/>
                  <a:pt x="28" y="8"/>
                </a:cubicBezTo>
                <a:cubicBezTo>
                  <a:pt x="28" y="8"/>
                  <a:pt x="27" y="7"/>
                  <a:pt x="27" y="7"/>
                </a:cubicBezTo>
                <a:cubicBezTo>
                  <a:pt x="27" y="6"/>
                  <a:pt x="25" y="6"/>
                  <a:pt x="25" y="5"/>
                </a:cubicBezTo>
                <a:cubicBezTo>
                  <a:pt x="24" y="5"/>
                  <a:pt x="24" y="4"/>
                  <a:pt x="24" y="4"/>
                </a:cubicBezTo>
                <a:cubicBezTo>
                  <a:pt x="23" y="3"/>
                  <a:pt x="22" y="2"/>
                  <a:pt x="22" y="2"/>
                </a:cubicBezTo>
                <a:cubicBezTo>
                  <a:pt x="21" y="1"/>
                  <a:pt x="21" y="1"/>
                  <a:pt x="20" y="0"/>
                </a:cubicBezTo>
                <a:cubicBezTo>
                  <a:pt x="20" y="0"/>
                  <a:pt x="20" y="0"/>
                  <a:pt x="19" y="1"/>
                </a:cubicBezTo>
                <a:cubicBezTo>
                  <a:pt x="19" y="1"/>
                  <a:pt x="19" y="1"/>
                  <a:pt x="19" y="1"/>
                </a:cubicBezTo>
                <a:cubicBezTo>
                  <a:pt x="19" y="1"/>
                  <a:pt x="18" y="1"/>
                  <a:pt x="17" y="1"/>
                </a:cubicBezTo>
                <a:cubicBezTo>
                  <a:pt x="17" y="1"/>
                  <a:pt x="16" y="1"/>
                  <a:pt x="16" y="2"/>
                </a:cubicBezTo>
                <a:cubicBezTo>
                  <a:pt x="16" y="3"/>
                  <a:pt x="16" y="3"/>
                  <a:pt x="16" y="4"/>
                </a:cubicBezTo>
                <a:cubicBezTo>
                  <a:pt x="17" y="4"/>
                  <a:pt x="17" y="4"/>
                  <a:pt x="16" y="5"/>
                </a:cubicBezTo>
                <a:cubicBezTo>
                  <a:pt x="16" y="5"/>
                  <a:pt x="16" y="6"/>
                  <a:pt x="16" y="6"/>
                </a:cubicBezTo>
                <a:cubicBezTo>
                  <a:pt x="16" y="7"/>
                  <a:pt x="15" y="8"/>
                  <a:pt x="15" y="8"/>
                </a:cubicBezTo>
                <a:cubicBezTo>
                  <a:pt x="14" y="9"/>
                  <a:pt x="14" y="9"/>
                  <a:pt x="13" y="10"/>
                </a:cubicBezTo>
                <a:cubicBezTo>
                  <a:pt x="13" y="11"/>
                  <a:pt x="12" y="11"/>
                  <a:pt x="11" y="11"/>
                </a:cubicBezTo>
                <a:cubicBezTo>
                  <a:pt x="10" y="10"/>
                  <a:pt x="10" y="11"/>
                  <a:pt x="9" y="11"/>
                </a:cubicBezTo>
                <a:cubicBezTo>
                  <a:pt x="8" y="11"/>
                  <a:pt x="8" y="10"/>
                  <a:pt x="8" y="10"/>
                </a:cubicBezTo>
                <a:cubicBezTo>
                  <a:pt x="7" y="10"/>
                  <a:pt x="7" y="10"/>
                  <a:pt x="6" y="11"/>
                </a:cubicBezTo>
                <a:cubicBezTo>
                  <a:pt x="6" y="11"/>
                  <a:pt x="6" y="11"/>
                  <a:pt x="6" y="11"/>
                </a:cubicBezTo>
                <a:cubicBezTo>
                  <a:pt x="6" y="12"/>
                  <a:pt x="6" y="12"/>
                  <a:pt x="6" y="12"/>
                </a:cubicBezTo>
                <a:cubicBezTo>
                  <a:pt x="6" y="12"/>
                  <a:pt x="5" y="12"/>
                  <a:pt x="5" y="12"/>
                </a:cubicBezTo>
                <a:cubicBezTo>
                  <a:pt x="5" y="13"/>
                  <a:pt x="4" y="12"/>
                  <a:pt x="4" y="12"/>
                </a:cubicBezTo>
                <a:cubicBezTo>
                  <a:pt x="4" y="12"/>
                  <a:pt x="4" y="13"/>
                  <a:pt x="4" y="14"/>
                </a:cubicBezTo>
                <a:cubicBezTo>
                  <a:pt x="4" y="13"/>
                  <a:pt x="3" y="14"/>
                  <a:pt x="3" y="14"/>
                </a:cubicBezTo>
                <a:cubicBezTo>
                  <a:pt x="4" y="14"/>
                  <a:pt x="4" y="15"/>
                  <a:pt x="4" y="15"/>
                </a:cubicBezTo>
                <a:cubicBezTo>
                  <a:pt x="4" y="15"/>
                  <a:pt x="3" y="15"/>
                  <a:pt x="2" y="15"/>
                </a:cubicBezTo>
                <a:cubicBezTo>
                  <a:pt x="2" y="15"/>
                  <a:pt x="2" y="15"/>
                  <a:pt x="2" y="15"/>
                </a:cubicBezTo>
                <a:cubicBezTo>
                  <a:pt x="1" y="15"/>
                  <a:pt x="2" y="17"/>
                  <a:pt x="2" y="17"/>
                </a:cubicBezTo>
                <a:cubicBezTo>
                  <a:pt x="1" y="17"/>
                  <a:pt x="1" y="18"/>
                  <a:pt x="1" y="18"/>
                </a:cubicBezTo>
                <a:cubicBezTo>
                  <a:pt x="1" y="19"/>
                  <a:pt x="1" y="20"/>
                  <a:pt x="1" y="20"/>
                </a:cubicBezTo>
                <a:cubicBezTo>
                  <a:pt x="1" y="21"/>
                  <a:pt x="0" y="22"/>
                  <a:pt x="1" y="22"/>
                </a:cubicBezTo>
                <a:cubicBezTo>
                  <a:pt x="1" y="23"/>
                  <a:pt x="2" y="23"/>
                  <a:pt x="2" y="24"/>
                </a:cubicBezTo>
                <a:cubicBezTo>
                  <a:pt x="3" y="24"/>
                  <a:pt x="3" y="25"/>
                  <a:pt x="4" y="25"/>
                </a:cubicBezTo>
                <a:cubicBezTo>
                  <a:pt x="5" y="26"/>
                  <a:pt x="6" y="26"/>
                  <a:pt x="6" y="27"/>
                </a:cubicBezTo>
                <a:cubicBezTo>
                  <a:pt x="6" y="28"/>
                  <a:pt x="6" y="29"/>
                  <a:pt x="6" y="30"/>
                </a:cubicBezTo>
                <a:cubicBezTo>
                  <a:pt x="6" y="31"/>
                  <a:pt x="6" y="31"/>
                  <a:pt x="6" y="32"/>
                </a:cubicBezTo>
                <a:cubicBezTo>
                  <a:pt x="6" y="32"/>
                  <a:pt x="6" y="32"/>
                  <a:pt x="6" y="33"/>
                </a:cubicBezTo>
                <a:cubicBezTo>
                  <a:pt x="6" y="33"/>
                  <a:pt x="6" y="33"/>
                  <a:pt x="6" y="34"/>
                </a:cubicBezTo>
                <a:cubicBezTo>
                  <a:pt x="7" y="35"/>
                  <a:pt x="8" y="36"/>
                  <a:pt x="8" y="37"/>
                </a:cubicBezTo>
                <a:cubicBezTo>
                  <a:pt x="9" y="39"/>
                  <a:pt x="9" y="40"/>
                  <a:pt x="9" y="42"/>
                </a:cubicBezTo>
                <a:cubicBezTo>
                  <a:pt x="9" y="43"/>
                  <a:pt x="9" y="43"/>
                  <a:pt x="8" y="44"/>
                </a:cubicBezTo>
                <a:cubicBezTo>
                  <a:pt x="9" y="45"/>
                  <a:pt x="9" y="46"/>
                  <a:pt x="9" y="47"/>
                </a:cubicBezTo>
                <a:cubicBezTo>
                  <a:pt x="9" y="48"/>
                  <a:pt x="8" y="49"/>
                  <a:pt x="8" y="51"/>
                </a:cubicBezTo>
                <a:cubicBezTo>
                  <a:pt x="9" y="54"/>
                  <a:pt x="8" y="55"/>
                  <a:pt x="9" y="58"/>
                </a:cubicBezTo>
                <a:cubicBezTo>
                  <a:pt x="9" y="58"/>
                  <a:pt x="9" y="59"/>
                  <a:pt x="8" y="59"/>
                </a:cubicBezTo>
                <a:cubicBezTo>
                  <a:pt x="8" y="59"/>
                  <a:pt x="8" y="60"/>
                  <a:pt x="8" y="60"/>
                </a:cubicBezTo>
                <a:cubicBezTo>
                  <a:pt x="8" y="61"/>
                  <a:pt x="8" y="61"/>
                  <a:pt x="8" y="62"/>
                </a:cubicBezTo>
                <a:cubicBezTo>
                  <a:pt x="8" y="62"/>
                  <a:pt x="8" y="63"/>
                  <a:pt x="8" y="63"/>
                </a:cubicBezTo>
                <a:cubicBezTo>
                  <a:pt x="8" y="64"/>
                  <a:pt x="9" y="64"/>
                  <a:pt x="9" y="65"/>
                </a:cubicBezTo>
                <a:cubicBezTo>
                  <a:pt x="10" y="66"/>
                  <a:pt x="10" y="66"/>
                  <a:pt x="10" y="67"/>
                </a:cubicBezTo>
                <a:cubicBezTo>
                  <a:pt x="10" y="68"/>
                  <a:pt x="8" y="67"/>
                  <a:pt x="8" y="68"/>
                </a:cubicBezTo>
                <a:cubicBezTo>
                  <a:pt x="11" y="67"/>
                  <a:pt x="13" y="67"/>
                  <a:pt x="16" y="67"/>
                </a:cubicBezTo>
                <a:cubicBezTo>
                  <a:pt x="16" y="67"/>
                  <a:pt x="19" y="67"/>
                  <a:pt x="19" y="66"/>
                </a:cubicBezTo>
                <a:cubicBezTo>
                  <a:pt x="19" y="66"/>
                  <a:pt x="19" y="65"/>
                  <a:pt x="19" y="65"/>
                </a:cubicBezTo>
                <a:cubicBezTo>
                  <a:pt x="19" y="64"/>
                  <a:pt x="19" y="63"/>
                  <a:pt x="19" y="63"/>
                </a:cubicBezTo>
                <a:cubicBezTo>
                  <a:pt x="20" y="62"/>
                  <a:pt x="19" y="62"/>
                  <a:pt x="19" y="61"/>
                </a:cubicBezTo>
                <a:cubicBezTo>
                  <a:pt x="19" y="60"/>
                  <a:pt x="19" y="60"/>
                  <a:pt x="19" y="59"/>
                </a:cubicBezTo>
                <a:cubicBezTo>
                  <a:pt x="20" y="59"/>
                  <a:pt x="19" y="59"/>
                  <a:pt x="19" y="58"/>
                </a:cubicBezTo>
                <a:cubicBezTo>
                  <a:pt x="19" y="58"/>
                  <a:pt x="19" y="58"/>
                  <a:pt x="19" y="58"/>
                </a:cubicBezTo>
                <a:cubicBezTo>
                  <a:pt x="20" y="57"/>
                  <a:pt x="19" y="55"/>
                  <a:pt x="19" y="55"/>
                </a:cubicBezTo>
                <a:cubicBezTo>
                  <a:pt x="20" y="54"/>
                  <a:pt x="20" y="54"/>
                  <a:pt x="19" y="53"/>
                </a:cubicBezTo>
                <a:cubicBezTo>
                  <a:pt x="19" y="52"/>
                  <a:pt x="19" y="51"/>
                  <a:pt x="19" y="50"/>
                </a:cubicBezTo>
                <a:cubicBezTo>
                  <a:pt x="19" y="50"/>
                  <a:pt x="19" y="50"/>
                  <a:pt x="19" y="49"/>
                </a:cubicBezTo>
                <a:cubicBezTo>
                  <a:pt x="19" y="49"/>
                  <a:pt x="19" y="48"/>
                  <a:pt x="19" y="48"/>
                </a:cubicBezTo>
                <a:cubicBezTo>
                  <a:pt x="19" y="47"/>
                  <a:pt x="19" y="46"/>
                  <a:pt x="19" y="45"/>
                </a:cubicBezTo>
                <a:cubicBezTo>
                  <a:pt x="19" y="44"/>
                  <a:pt x="19" y="43"/>
                  <a:pt x="19" y="43"/>
                </a:cubicBezTo>
                <a:cubicBezTo>
                  <a:pt x="19" y="42"/>
                  <a:pt x="19" y="40"/>
                  <a:pt x="19" y="39"/>
                </a:cubicBezTo>
                <a:cubicBezTo>
                  <a:pt x="20" y="39"/>
                  <a:pt x="20" y="37"/>
                  <a:pt x="20" y="37"/>
                </a:cubicBezTo>
                <a:cubicBezTo>
                  <a:pt x="20" y="37"/>
                  <a:pt x="20" y="37"/>
                  <a:pt x="21" y="37"/>
                </a:cubicBezTo>
                <a:cubicBezTo>
                  <a:pt x="21" y="36"/>
                  <a:pt x="21" y="36"/>
                  <a:pt x="22" y="37"/>
                </a:cubicBezTo>
                <a:cubicBezTo>
                  <a:pt x="22" y="37"/>
                  <a:pt x="23" y="37"/>
                  <a:pt x="23" y="36"/>
                </a:cubicBezTo>
                <a:cubicBezTo>
                  <a:pt x="23" y="35"/>
                  <a:pt x="23" y="35"/>
                  <a:pt x="23" y="34"/>
                </a:cubicBezTo>
                <a:cubicBezTo>
                  <a:pt x="23" y="33"/>
                  <a:pt x="23" y="33"/>
                  <a:pt x="23" y="32"/>
                </a:cubicBezTo>
                <a:cubicBezTo>
                  <a:pt x="24" y="32"/>
                  <a:pt x="24" y="31"/>
                  <a:pt x="24" y="30"/>
                </a:cubicBezTo>
                <a:cubicBezTo>
                  <a:pt x="25" y="30"/>
                  <a:pt x="25" y="30"/>
                  <a:pt x="25" y="30"/>
                </a:cubicBezTo>
                <a:cubicBezTo>
                  <a:pt x="25" y="29"/>
                  <a:pt x="25" y="29"/>
                  <a:pt x="25" y="29"/>
                </a:cubicBezTo>
                <a:cubicBezTo>
                  <a:pt x="25" y="28"/>
                  <a:pt x="26" y="28"/>
                  <a:pt x="27" y="28"/>
                </a:cubicBezTo>
                <a:cubicBezTo>
                  <a:pt x="28" y="28"/>
                  <a:pt x="27" y="26"/>
                  <a:pt x="28" y="25"/>
                </a:cubicBezTo>
                <a:cubicBezTo>
                  <a:pt x="29" y="24"/>
                  <a:pt x="28" y="24"/>
                  <a:pt x="28" y="23"/>
                </a:cubicBezTo>
                <a:cubicBezTo>
                  <a:pt x="27" y="23"/>
                  <a:pt x="28" y="21"/>
                  <a:pt x="29" y="22"/>
                </a:cubicBezTo>
                <a:cubicBezTo>
                  <a:pt x="30" y="22"/>
                  <a:pt x="30" y="21"/>
                  <a:pt x="30" y="21"/>
                </a:cubicBezTo>
                <a:cubicBezTo>
                  <a:pt x="30" y="20"/>
                  <a:pt x="30" y="20"/>
                  <a:pt x="30" y="19"/>
                </a:cubicBezTo>
                <a:cubicBezTo>
                  <a:pt x="30" y="18"/>
                  <a:pt x="30" y="19"/>
                  <a:pt x="29" y="1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5" name="Belize"/>
          <p:cNvSpPr>
            <a:spLocks noEditPoints="1"/>
          </p:cNvSpPr>
          <p:nvPr/>
        </p:nvSpPr>
        <p:spPr bwMode="auto">
          <a:xfrm>
            <a:off x="2703199" y="3929964"/>
            <a:ext cx="57998" cy="103996"/>
          </a:xfrm>
          <a:custGeom>
            <a:avLst/>
            <a:gdLst/>
            <a:ahLst/>
            <a:cxnLst>
              <a:cxn ang="0">
                <a:pos x="16" y="13"/>
              </a:cxn>
              <a:cxn ang="0">
                <a:pos x="16" y="12"/>
              </a:cxn>
              <a:cxn ang="0">
                <a:pos x="15" y="12"/>
              </a:cxn>
              <a:cxn ang="0">
                <a:pos x="15" y="13"/>
              </a:cxn>
              <a:cxn ang="0">
                <a:pos x="16" y="10"/>
              </a:cxn>
              <a:cxn ang="0">
                <a:pos x="16" y="11"/>
              </a:cxn>
              <a:cxn ang="0">
                <a:pos x="15" y="11"/>
              </a:cxn>
              <a:cxn ang="0">
                <a:pos x="15" y="12"/>
              </a:cxn>
              <a:cxn ang="0">
                <a:pos x="16" y="10"/>
              </a:cxn>
              <a:cxn ang="0">
                <a:pos x="15" y="13"/>
              </a:cxn>
              <a:cxn ang="0">
                <a:pos x="14" y="14"/>
              </a:cxn>
              <a:cxn ang="0">
                <a:pos x="14" y="2"/>
              </a:cxn>
              <a:cxn ang="0">
                <a:pos x="12" y="2"/>
              </a:cxn>
              <a:cxn ang="0">
                <a:pos x="12" y="1"/>
              </a:cxn>
              <a:cxn ang="0">
                <a:pos x="11" y="0"/>
              </a:cxn>
              <a:cxn ang="0">
                <a:pos x="9" y="3"/>
              </a:cxn>
              <a:cxn ang="0">
                <a:pos x="7" y="6"/>
              </a:cxn>
              <a:cxn ang="0">
                <a:pos x="3" y="9"/>
              </a:cxn>
              <a:cxn ang="0">
                <a:pos x="2" y="16"/>
              </a:cxn>
              <a:cxn ang="0">
                <a:pos x="1" y="24"/>
              </a:cxn>
              <a:cxn ang="0">
                <a:pos x="0" y="29"/>
              </a:cxn>
              <a:cxn ang="0">
                <a:pos x="3" y="28"/>
              </a:cxn>
              <a:cxn ang="0">
                <a:pos x="5" y="25"/>
              </a:cxn>
              <a:cxn ang="0">
                <a:pos x="6" y="24"/>
              </a:cxn>
              <a:cxn ang="0">
                <a:pos x="7" y="25"/>
              </a:cxn>
              <a:cxn ang="0">
                <a:pos x="10" y="20"/>
              </a:cxn>
              <a:cxn ang="0">
                <a:pos x="11" y="19"/>
              </a:cxn>
              <a:cxn ang="0">
                <a:pos x="11" y="16"/>
              </a:cxn>
              <a:cxn ang="0">
                <a:pos x="11" y="13"/>
              </a:cxn>
              <a:cxn ang="0">
                <a:pos x="12" y="11"/>
              </a:cxn>
              <a:cxn ang="0">
                <a:pos x="12" y="8"/>
              </a:cxn>
              <a:cxn ang="0">
                <a:pos x="14" y="3"/>
              </a:cxn>
              <a:cxn ang="0">
                <a:pos x="9" y="21"/>
              </a:cxn>
              <a:cxn ang="0">
                <a:pos x="10" y="20"/>
              </a:cxn>
              <a:cxn ang="0">
                <a:pos x="9" y="21"/>
              </a:cxn>
              <a:cxn ang="0">
                <a:pos x="9" y="22"/>
              </a:cxn>
            </a:cxnLst>
            <a:rect l="0" t="0" r="r" b="b"/>
            <a:pathLst>
              <a:path w="16" h="29">
                <a:moveTo>
                  <a:pt x="16" y="12"/>
                </a:moveTo>
                <a:cubicBezTo>
                  <a:pt x="16" y="12"/>
                  <a:pt x="16" y="13"/>
                  <a:pt x="16" y="13"/>
                </a:cubicBezTo>
                <a:cubicBezTo>
                  <a:pt x="16" y="13"/>
                  <a:pt x="16" y="13"/>
                  <a:pt x="15" y="13"/>
                </a:cubicBezTo>
                <a:cubicBezTo>
                  <a:pt x="16" y="13"/>
                  <a:pt x="16" y="12"/>
                  <a:pt x="16" y="12"/>
                </a:cubicBezTo>
                <a:cubicBezTo>
                  <a:pt x="16" y="12"/>
                  <a:pt x="16" y="12"/>
                  <a:pt x="16" y="12"/>
                </a:cubicBezTo>
                <a:close/>
                <a:moveTo>
                  <a:pt x="15" y="12"/>
                </a:moveTo>
                <a:cubicBezTo>
                  <a:pt x="15" y="12"/>
                  <a:pt x="15" y="12"/>
                  <a:pt x="15" y="12"/>
                </a:cubicBezTo>
                <a:cubicBezTo>
                  <a:pt x="15" y="12"/>
                  <a:pt x="15" y="13"/>
                  <a:pt x="15" y="13"/>
                </a:cubicBezTo>
                <a:cubicBezTo>
                  <a:pt x="15" y="13"/>
                  <a:pt x="15" y="12"/>
                  <a:pt x="15" y="12"/>
                </a:cubicBezTo>
                <a:close/>
                <a:moveTo>
                  <a:pt x="16" y="10"/>
                </a:moveTo>
                <a:cubicBezTo>
                  <a:pt x="16" y="11"/>
                  <a:pt x="16" y="11"/>
                  <a:pt x="16" y="11"/>
                </a:cubicBezTo>
                <a:cubicBezTo>
                  <a:pt x="16" y="11"/>
                  <a:pt x="16" y="11"/>
                  <a:pt x="16" y="11"/>
                </a:cubicBezTo>
                <a:cubicBezTo>
                  <a:pt x="16" y="11"/>
                  <a:pt x="16" y="11"/>
                  <a:pt x="16" y="11"/>
                </a:cubicBezTo>
                <a:cubicBezTo>
                  <a:pt x="16" y="11"/>
                  <a:pt x="15" y="11"/>
                  <a:pt x="15" y="11"/>
                </a:cubicBezTo>
                <a:cubicBezTo>
                  <a:pt x="15" y="12"/>
                  <a:pt x="15" y="12"/>
                  <a:pt x="15" y="12"/>
                </a:cubicBezTo>
                <a:cubicBezTo>
                  <a:pt x="15" y="12"/>
                  <a:pt x="15" y="12"/>
                  <a:pt x="15" y="12"/>
                </a:cubicBezTo>
                <a:cubicBezTo>
                  <a:pt x="16" y="12"/>
                  <a:pt x="16" y="12"/>
                  <a:pt x="16" y="11"/>
                </a:cubicBezTo>
                <a:cubicBezTo>
                  <a:pt x="16" y="11"/>
                  <a:pt x="16" y="11"/>
                  <a:pt x="16" y="10"/>
                </a:cubicBezTo>
                <a:close/>
                <a:moveTo>
                  <a:pt x="14" y="14"/>
                </a:moveTo>
                <a:cubicBezTo>
                  <a:pt x="14" y="13"/>
                  <a:pt x="15" y="13"/>
                  <a:pt x="15" y="13"/>
                </a:cubicBezTo>
                <a:cubicBezTo>
                  <a:pt x="14" y="13"/>
                  <a:pt x="14" y="13"/>
                  <a:pt x="14" y="14"/>
                </a:cubicBezTo>
                <a:cubicBezTo>
                  <a:pt x="14" y="14"/>
                  <a:pt x="14" y="14"/>
                  <a:pt x="14" y="14"/>
                </a:cubicBezTo>
                <a:close/>
                <a:moveTo>
                  <a:pt x="14" y="3"/>
                </a:moveTo>
                <a:cubicBezTo>
                  <a:pt x="14" y="2"/>
                  <a:pt x="14" y="2"/>
                  <a:pt x="14" y="2"/>
                </a:cubicBezTo>
                <a:cubicBezTo>
                  <a:pt x="15" y="1"/>
                  <a:pt x="13" y="2"/>
                  <a:pt x="13" y="2"/>
                </a:cubicBezTo>
                <a:cubicBezTo>
                  <a:pt x="14" y="1"/>
                  <a:pt x="12" y="2"/>
                  <a:pt x="12" y="2"/>
                </a:cubicBezTo>
                <a:cubicBezTo>
                  <a:pt x="12" y="2"/>
                  <a:pt x="12" y="2"/>
                  <a:pt x="12" y="1"/>
                </a:cubicBezTo>
                <a:cubicBezTo>
                  <a:pt x="12" y="1"/>
                  <a:pt x="12" y="2"/>
                  <a:pt x="12" y="1"/>
                </a:cubicBezTo>
                <a:cubicBezTo>
                  <a:pt x="11" y="1"/>
                  <a:pt x="13" y="1"/>
                  <a:pt x="13" y="0"/>
                </a:cubicBezTo>
                <a:cubicBezTo>
                  <a:pt x="13" y="0"/>
                  <a:pt x="12" y="0"/>
                  <a:pt x="11" y="0"/>
                </a:cubicBezTo>
                <a:cubicBezTo>
                  <a:pt x="10" y="0"/>
                  <a:pt x="10" y="2"/>
                  <a:pt x="9" y="3"/>
                </a:cubicBezTo>
                <a:cubicBezTo>
                  <a:pt x="9" y="3"/>
                  <a:pt x="9" y="3"/>
                  <a:pt x="9" y="3"/>
                </a:cubicBezTo>
                <a:cubicBezTo>
                  <a:pt x="8" y="4"/>
                  <a:pt x="8" y="4"/>
                  <a:pt x="8" y="4"/>
                </a:cubicBezTo>
                <a:cubicBezTo>
                  <a:pt x="8" y="5"/>
                  <a:pt x="7" y="6"/>
                  <a:pt x="7" y="6"/>
                </a:cubicBezTo>
                <a:cubicBezTo>
                  <a:pt x="6" y="7"/>
                  <a:pt x="5" y="4"/>
                  <a:pt x="4" y="6"/>
                </a:cubicBezTo>
                <a:cubicBezTo>
                  <a:pt x="3" y="7"/>
                  <a:pt x="3" y="8"/>
                  <a:pt x="3" y="9"/>
                </a:cubicBezTo>
                <a:cubicBezTo>
                  <a:pt x="3" y="10"/>
                  <a:pt x="3" y="12"/>
                  <a:pt x="3" y="13"/>
                </a:cubicBezTo>
                <a:cubicBezTo>
                  <a:pt x="3" y="14"/>
                  <a:pt x="3" y="15"/>
                  <a:pt x="2" y="16"/>
                </a:cubicBezTo>
                <a:cubicBezTo>
                  <a:pt x="2" y="17"/>
                  <a:pt x="2" y="19"/>
                  <a:pt x="2" y="20"/>
                </a:cubicBezTo>
                <a:cubicBezTo>
                  <a:pt x="1" y="21"/>
                  <a:pt x="1" y="23"/>
                  <a:pt x="1" y="24"/>
                </a:cubicBezTo>
                <a:cubicBezTo>
                  <a:pt x="1" y="25"/>
                  <a:pt x="1" y="26"/>
                  <a:pt x="0" y="27"/>
                </a:cubicBezTo>
                <a:cubicBezTo>
                  <a:pt x="0" y="27"/>
                  <a:pt x="0" y="29"/>
                  <a:pt x="0" y="29"/>
                </a:cubicBezTo>
                <a:cubicBezTo>
                  <a:pt x="1" y="28"/>
                  <a:pt x="1" y="28"/>
                  <a:pt x="2" y="28"/>
                </a:cubicBezTo>
                <a:cubicBezTo>
                  <a:pt x="3" y="29"/>
                  <a:pt x="3" y="29"/>
                  <a:pt x="3" y="28"/>
                </a:cubicBezTo>
                <a:cubicBezTo>
                  <a:pt x="3" y="27"/>
                  <a:pt x="4" y="27"/>
                  <a:pt x="4" y="26"/>
                </a:cubicBezTo>
                <a:cubicBezTo>
                  <a:pt x="5" y="26"/>
                  <a:pt x="5" y="26"/>
                  <a:pt x="5" y="25"/>
                </a:cubicBezTo>
                <a:cubicBezTo>
                  <a:pt x="5" y="25"/>
                  <a:pt x="6" y="25"/>
                  <a:pt x="6" y="25"/>
                </a:cubicBezTo>
                <a:cubicBezTo>
                  <a:pt x="6" y="25"/>
                  <a:pt x="6" y="24"/>
                  <a:pt x="6" y="24"/>
                </a:cubicBezTo>
                <a:cubicBezTo>
                  <a:pt x="7" y="25"/>
                  <a:pt x="7" y="25"/>
                  <a:pt x="7" y="24"/>
                </a:cubicBezTo>
                <a:cubicBezTo>
                  <a:pt x="7" y="25"/>
                  <a:pt x="7" y="25"/>
                  <a:pt x="7" y="25"/>
                </a:cubicBezTo>
                <a:cubicBezTo>
                  <a:pt x="7" y="24"/>
                  <a:pt x="8" y="23"/>
                  <a:pt x="9" y="22"/>
                </a:cubicBezTo>
                <a:cubicBezTo>
                  <a:pt x="9" y="22"/>
                  <a:pt x="9" y="21"/>
                  <a:pt x="10" y="20"/>
                </a:cubicBezTo>
                <a:cubicBezTo>
                  <a:pt x="10" y="20"/>
                  <a:pt x="10" y="20"/>
                  <a:pt x="10" y="20"/>
                </a:cubicBezTo>
                <a:cubicBezTo>
                  <a:pt x="10" y="19"/>
                  <a:pt x="10" y="19"/>
                  <a:pt x="11" y="19"/>
                </a:cubicBezTo>
                <a:cubicBezTo>
                  <a:pt x="10" y="18"/>
                  <a:pt x="11" y="18"/>
                  <a:pt x="11" y="17"/>
                </a:cubicBezTo>
                <a:cubicBezTo>
                  <a:pt x="11" y="17"/>
                  <a:pt x="11" y="16"/>
                  <a:pt x="11" y="16"/>
                </a:cubicBezTo>
                <a:cubicBezTo>
                  <a:pt x="11" y="16"/>
                  <a:pt x="11" y="16"/>
                  <a:pt x="11" y="15"/>
                </a:cubicBezTo>
                <a:cubicBezTo>
                  <a:pt x="10" y="15"/>
                  <a:pt x="11" y="14"/>
                  <a:pt x="11" y="13"/>
                </a:cubicBezTo>
                <a:cubicBezTo>
                  <a:pt x="11" y="12"/>
                  <a:pt x="11" y="12"/>
                  <a:pt x="12" y="12"/>
                </a:cubicBezTo>
                <a:cubicBezTo>
                  <a:pt x="12" y="11"/>
                  <a:pt x="12" y="11"/>
                  <a:pt x="12" y="11"/>
                </a:cubicBezTo>
                <a:cubicBezTo>
                  <a:pt x="13" y="11"/>
                  <a:pt x="12" y="10"/>
                  <a:pt x="12" y="10"/>
                </a:cubicBezTo>
                <a:cubicBezTo>
                  <a:pt x="11" y="9"/>
                  <a:pt x="12" y="9"/>
                  <a:pt x="12" y="8"/>
                </a:cubicBezTo>
                <a:cubicBezTo>
                  <a:pt x="13" y="7"/>
                  <a:pt x="13" y="7"/>
                  <a:pt x="13" y="6"/>
                </a:cubicBezTo>
                <a:cubicBezTo>
                  <a:pt x="14" y="5"/>
                  <a:pt x="14" y="4"/>
                  <a:pt x="14" y="3"/>
                </a:cubicBezTo>
                <a:cubicBezTo>
                  <a:pt x="14" y="4"/>
                  <a:pt x="14" y="3"/>
                  <a:pt x="14" y="3"/>
                </a:cubicBezTo>
                <a:close/>
                <a:moveTo>
                  <a:pt x="9" y="21"/>
                </a:moveTo>
                <a:cubicBezTo>
                  <a:pt x="10" y="21"/>
                  <a:pt x="10" y="20"/>
                  <a:pt x="10" y="20"/>
                </a:cubicBezTo>
                <a:cubicBezTo>
                  <a:pt x="10" y="20"/>
                  <a:pt x="10" y="20"/>
                  <a:pt x="10" y="20"/>
                </a:cubicBezTo>
                <a:cubicBezTo>
                  <a:pt x="10" y="20"/>
                  <a:pt x="10" y="20"/>
                  <a:pt x="10" y="21"/>
                </a:cubicBezTo>
                <a:cubicBezTo>
                  <a:pt x="9" y="21"/>
                  <a:pt x="9" y="21"/>
                  <a:pt x="9" y="21"/>
                </a:cubicBezTo>
                <a:close/>
                <a:moveTo>
                  <a:pt x="9" y="21"/>
                </a:moveTo>
                <a:cubicBezTo>
                  <a:pt x="9" y="21"/>
                  <a:pt x="9" y="21"/>
                  <a:pt x="9" y="22"/>
                </a:cubicBezTo>
                <a:cubicBezTo>
                  <a:pt x="9" y="22"/>
                  <a:pt x="9" y="21"/>
                  <a:pt x="9" y="2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6" name="Belgium"/>
          <p:cNvSpPr>
            <a:spLocks/>
          </p:cNvSpPr>
          <p:nvPr/>
        </p:nvSpPr>
        <p:spPr bwMode="auto">
          <a:xfrm>
            <a:off x="5918077" y="2628013"/>
            <a:ext cx="115996" cy="74998"/>
          </a:xfrm>
          <a:custGeom>
            <a:avLst/>
            <a:gdLst/>
            <a:ahLst/>
            <a:cxnLst>
              <a:cxn ang="0">
                <a:pos x="31" y="11"/>
              </a:cxn>
              <a:cxn ang="0">
                <a:pos x="31" y="9"/>
              </a:cxn>
              <a:cxn ang="0">
                <a:pos x="29" y="8"/>
              </a:cxn>
              <a:cxn ang="0">
                <a:pos x="26" y="8"/>
              </a:cxn>
              <a:cxn ang="0">
                <a:pos x="27" y="6"/>
              </a:cxn>
              <a:cxn ang="0">
                <a:pos x="28" y="4"/>
              </a:cxn>
              <a:cxn ang="0">
                <a:pos x="25" y="3"/>
              </a:cxn>
              <a:cxn ang="0">
                <a:pos x="23" y="3"/>
              </a:cxn>
              <a:cxn ang="0">
                <a:pos x="22" y="2"/>
              </a:cxn>
              <a:cxn ang="0">
                <a:pos x="21" y="0"/>
              </a:cxn>
              <a:cxn ang="0">
                <a:pos x="19" y="1"/>
              </a:cxn>
              <a:cxn ang="0">
                <a:pos x="19" y="0"/>
              </a:cxn>
              <a:cxn ang="0">
                <a:pos x="17" y="0"/>
              </a:cxn>
              <a:cxn ang="0">
                <a:pos x="16" y="1"/>
              </a:cxn>
              <a:cxn ang="0">
                <a:pos x="15" y="2"/>
              </a:cxn>
              <a:cxn ang="0">
                <a:pos x="13" y="3"/>
              </a:cxn>
              <a:cxn ang="0">
                <a:pos x="11" y="3"/>
              </a:cxn>
              <a:cxn ang="0">
                <a:pos x="8" y="2"/>
              </a:cxn>
              <a:cxn ang="0">
                <a:pos x="7" y="1"/>
              </a:cxn>
              <a:cxn ang="0">
                <a:pos x="2" y="3"/>
              </a:cxn>
              <a:cxn ang="0">
                <a:pos x="1" y="6"/>
              </a:cxn>
              <a:cxn ang="0">
                <a:pos x="2" y="7"/>
              </a:cxn>
              <a:cxn ang="0">
                <a:pos x="4" y="8"/>
              </a:cxn>
              <a:cxn ang="0">
                <a:pos x="6" y="8"/>
              </a:cxn>
              <a:cxn ang="0">
                <a:pos x="6" y="10"/>
              </a:cxn>
              <a:cxn ang="0">
                <a:pos x="8" y="11"/>
              </a:cxn>
              <a:cxn ang="0">
                <a:pos x="9" y="12"/>
              </a:cxn>
              <a:cxn ang="0">
                <a:pos x="12" y="12"/>
              </a:cxn>
              <a:cxn ang="0">
                <a:pos x="13" y="13"/>
              </a:cxn>
              <a:cxn ang="0">
                <a:pos x="14" y="14"/>
              </a:cxn>
              <a:cxn ang="0">
                <a:pos x="13" y="16"/>
              </a:cxn>
              <a:cxn ang="0">
                <a:pos x="17" y="16"/>
              </a:cxn>
              <a:cxn ang="0">
                <a:pos x="19" y="14"/>
              </a:cxn>
              <a:cxn ang="0">
                <a:pos x="19" y="16"/>
              </a:cxn>
              <a:cxn ang="0">
                <a:pos x="20" y="18"/>
              </a:cxn>
              <a:cxn ang="0">
                <a:pos x="23" y="20"/>
              </a:cxn>
              <a:cxn ang="0">
                <a:pos x="24" y="21"/>
              </a:cxn>
              <a:cxn ang="0">
                <a:pos x="26" y="21"/>
              </a:cxn>
              <a:cxn ang="0">
                <a:pos x="28" y="20"/>
              </a:cxn>
              <a:cxn ang="0">
                <a:pos x="28" y="19"/>
              </a:cxn>
              <a:cxn ang="0">
                <a:pos x="27" y="17"/>
              </a:cxn>
              <a:cxn ang="0">
                <a:pos x="27" y="16"/>
              </a:cxn>
              <a:cxn ang="0">
                <a:pos x="29" y="14"/>
              </a:cxn>
              <a:cxn ang="0">
                <a:pos x="31" y="13"/>
              </a:cxn>
              <a:cxn ang="0">
                <a:pos x="32" y="12"/>
              </a:cxn>
            </a:cxnLst>
            <a:rect l="0" t="0" r="r" b="b"/>
            <a:pathLst>
              <a:path w="32" h="21">
                <a:moveTo>
                  <a:pt x="32" y="12"/>
                </a:moveTo>
                <a:cubicBezTo>
                  <a:pt x="32" y="12"/>
                  <a:pt x="32" y="11"/>
                  <a:pt x="31" y="11"/>
                </a:cubicBezTo>
                <a:cubicBezTo>
                  <a:pt x="31" y="11"/>
                  <a:pt x="30" y="11"/>
                  <a:pt x="30" y="10"/>
                </a:cubicBezTo>
                <a:cubicBezTo>
                  <a:pt x="30" y="10"/>
                  <a:pt x="31" y="10"/>
                  <a:pt x="31" y="9"/>
                </a:cubicBezTo>
                <a:cubicBezTo>
                  <a:pt x="31" y="9"/>
                  <a:pt x="30" y="9"/>
                  <a:pt x="30" y="9"/>
                </a:cubicBezTo>
                <a:cubicBezTo>
                  <a:pt x="30" y="9"/>
                  <a:pt x="30" y="8"/>
                  <a:pt x="29" y="8"/>
                </a:cubicBezTo>
                <a:cubicBezTo>
                  <a:pt x="29" y="8"/>
                  <a:pt x="28" y="8"/>
                  <a:pt x="28" y="8"/>
                </a:cubicBezTo>
                <a:cubicBezTo>
                  <a:pt x="27" y="8"/>
                  <a:pt x="27" y="8"/>
                  <a:pt x="26" y="8"/>
                </a:cubicBezTo>
                <a:cubicBezTo>
                  <a:pt x="27" y="7"/>
                  <a:pt x="26" y="7"/>
                  <a:pt x="26" y="7"/>
                </a:cubicBezTo>
                <a:cubicBezTo>
                  <a:pt x="26" y="7"/>
                  <a:pt x="27" y="6"/>
                  <a:pt x="27" y="6"/>
                </a:cubicBezTo>
                <a:cubicBezTo>
                  <a:pt x="27" y="6"/>
                  <a:pt x="27" y="6"/>
                  <a:pt x="27" y="6"/>
                </a:cubicBezTo>
                <a:cubicBezTo>
                  <a:pt x="27" y="6"/>
                  <a:pt x="27" y="4"/>
                  <a:pt x="28" y="4"/>
                </a:cubicBezTo>
                <a:cubicBezTo>
                  <a:pt x="27" y="4"/>
                  <a:pt x="28" y="4"/>
                  <a:pt x="27" y="3"/>
                </a:cubicBezTo>
                <a:cubicBezTo>
                  <a:pt x="27" y="3"/>
                  <a:pt x="25" y="3"/>
                  <a:pt x="25" y="3"/>
                </a:cubicBezTo>
                <a:cubicBezTo>
                  <a:pt x="25" y="2"/>
                  <a:pt x="24" y="2"/>
                  <a:pt x="24" y="2"/>
                </a:cubicBezTo>
                <a:cubicBezTo>
                  <a:pt x="23" y="3"/>
                  <a:pt x="23" y="3"/>
                  <a:pt x="23" y="3"/>
                </a:cubicBezTo>
                <a:cubicBezTo>
                  <a:pt x="23" y="3"/>
                  <a:pt x="23" y="2"/>
                  <a:pt x="23" y="2"/>
                </a:cubicBezTo>
                <a:cubicBezTo>
                  <a:pt x="22" y="2"/>
                  <a:pt x="23" y="2"/>
                  <a:pt x="22" y="2"/>
                </a:cubicBezTo>
                <a:cubicBezTo>
                  <a:pt x="22" y="2"/>
                  <a:pt x="22" y="2"/>
                  <a:pt x="22" y="2"/>
                </a:cubicBezTo>
                <a:cubicBezTo>
                  <a:pt x="21" y="1"/>
                  <a:pt x="22" y="1"/>
                  <a:pt x="21" y="0"/>
                </a:cubicBezTo>
                <a:cubicBezTo>
                  <a:pt x="21" y="0"/>
                  <a:pt x="21" y="1"/>
                  <a:pt x="20" y="1"/>
                </a:cubicBezTo>
                <a:cubicBezTo>
                  <a:pt x="20" y="1"/>
                  <a:pt x="20" y="1"/>
                  <a:pt x="19" y="1"/>
                </a:cubicBezTo>
                <a:cubicBezTo>
                  <a:pt x="19" y="1"/>
                  <a:pt x="19" y="1"/>
                  <a:pt x="19" y="1"/>
                </a:cubicBezTo>
                <a:cubicBezTo>
                  <a:pt x="19" y="0"/>
                  <a:pt x="20" y="0"/>
                  <a:pt x="19" y="0"/>
                </a:cubicBezTo>
                <a:cubicBezTo>
                  <a:pt x="18" y="0"/>
                  <a:pt x="18" y="1"/>
                  <a:pt x="18" y="1"/>
                </a:cubicBezTo>
                <a:cubicBezTo>
                  <a:pt x="17" y="1"/>
                  <a:pt x="17" y="0"/>
                  <a:pt x="17" y="0"/>
                </a:cubicBezTo>
                <a:cubicBezTo>
                  <a:pt x="17" y="0"/>
                  <a:pt x="16" y="0"/>
                  <a:pt x="16" y="0"/>
                </a:cubicBezTo>
                <a:cubicBezTo>
                  <a:pt x="16" y="1"/>
                  <a:pt x="16" y="1"/>
                  <a:pt x="16" y="1"/>
                </a:cubicBezTo>
                <a:cubicBezTo>
                  <a:pt x="16" y="2"/>
                  <a:pt x="15" y="1"/>
                  <a:pt x="15" y="1"/>
                </a:cubicBezTo>
                <a:cubicBezTo>
                  <a:pt x="15" y="2"/>
                  <a:pt x="15" y="2"/>
                  <a:pt x="15" y="2"/>
                </a:cubicBezTo>
                <a:cubicBezTo>
                  <a:pt x="15" y="2"/>
                  <a:pt x="15" y="2"/>
                  <a:pt x="14" y="2"/>
                </a:cubicBezTo>
                <a:cubicBezTo>
                  <a:pt x="14" y="2"/>
                  <a:pt x="13" y="2"/>
                  <a:pt x="13" y="3"/>
                </a:cubicBezTo>
                <a:cubicBezTo>
                  <a:pt x="13" y="3"/>
                  <a:pt x="12" y="3"/>
                  <a:pt x="12" y="3"/>
                </a:cubicBezTo>
                <a:cubicBezTo>
                  <a:pt x="11" y="3"/>
                  <a:pt x="11" y="3"/>
                  <a:pt x="11" y="3"/>
                </a:cubicBezTo>
                <a:cubicBezTo>
                  <a:pt x="11" y="2"/>
                  <a:pt x="10" y="2"/>
                  <a:pt x="10" y="2"/>
                </a:cubicBezTo>
                <a:cubicBezTo>
                  <a:pt x="9" y="2"/>
                  <a:pt x="9" y="2"/>
                  <a:pt x="8" y="2"/>
                </a:cubicBezTo>
                <a:cubicBezTo>
                  <a:pt x="8" y="3"/>
                  <a:pt x="8" y="3"/>
                  <a:pt x="8" y="3"/>
                </a:cubicBezTo>
                <a:cubicBezTo>
                  <a:pt x="7" y="3"/>
                  <a:pt x="7" y="2"/>
                  <a:pt x="7" y="1"/>
                </a:cubicBezTo>
                <a:cubicBezTo>
                  <a:pt x="6" y="2"/>
                  <a:pt x="5" y="2"/>
                  <a:pt x="4" y="2"/>
                </a:cubicBezTo>
                <a:cubicBezTo>
                  <a:pt x="4" y="3"/>
                  <a:pt x="3" y="3"/>
                  <a:pt x="2" y="3"/>
                </a:cubicBezTo>
                <a:cubicBezTo>
                  <a:pt x="2" y="4"/>
                  <a:pt x="0" y="4"/>
                  <a:pt x="0" y="5"/>
                </a:cubicBezTo>
                <a:cubicBezTo>
                  <a:pt x="0" y="5"/>
                  <a:pt x="1" y="6"/>
                  <a:pt x="1" y="6"/>
                </a:cubicBezTo>
                <a:cubicBezTo>
                  <a:pt x="1" y="7"/>
                  <a:pt x="1" y="7"/>
                  <a:pt x="1" y="7"/>
                </a:cubicBezTo>
                <a:cubicBezTo>
                  <a:pt x="1" y="7"/>
                  <a:pt x="2" y="7"/>
                  <a:pt x="2" y="7"/>
                </a:cubicBezTo>
                <a:cubicBezTo>
                  <a:pt x="2" y="8"/>
                  <a:pt x="3" y="8"/>
                  <a:pt x="3" y="8"/>
                </a:cubicBezTo>
                <a:cubicBezTo>
                  <a:pt x="3" y="9"/>
                  <a:pt x="3" y="8"/>
                  <a:pt x="4" y="8"/>
                </a:cubicBezTo>
                <a:cubicBezTo>
                  <a:pt x="4" y="8"/>
                  <a:pt x="5" y="7"/>
                  <a:pt x="5" y="8"/>
                </a:cubicBezTo>
                <a:cubicBezTo>
                  <a:pt x="5" y="8"/>
                  <a:pt x="5" y="8"/>
                  <a:pt x="6" y="8"/>
                </a:cubicBezTo>
                <a:cubicBezTo>
                  <a:pt x="6" y="8"/>
                  <a:pt x="6" y="9"/>
                  <a:pt x="6" y="9"/>
                </a:cubicBezTo>
                <a:cubicBezTo>
                  <a:pt x="6" y="10"/>
                  <a:pt x="6" y="10"/>
                  <a:pt x="6" y="10"/>
                </a:cubicBezTo>
                <a:cubicBezTo>
                  <a:pt x="6" y="11"/>
                  <a:pt x="7" y="11"/>
                  <a:pt x="8" y="10"/>
                </a:cubicBezTo>
                <a:cubicBezTo>
                  <a:pt x="8" y="10"/>
                  <a:pt x="8" y="10"/>
                  <a:pt x="8" y="11"/>
                </a:cubicBezTo>
                <a:cubicBezTo>
                  <a:pt x="8" y="11"/>
                  <a:pt x="8" y="11"/>
                  <a:pt x="9" y="11"/>
                </a:cubicBezTo>
                <a:cubicBezTo>
                  <a:pt x="10" y="11"/>
                  <a:pt x="9" y="12"/>
                  <a:pt x="9" y="12"/>
                </a:cubicBezTo>
                <a:cubicBezTo>
                  <a:pt x="9" y="13"/>
                  <a:pt x="10" y="12"/>
                  <a:pt x="10" y="12"/>
                </a:cubicBezTo>
                <a:cubicBezTo>
                  <a:pt x="11" y="12"/>
                  <a:pt x="11" y="13"/>
                  <a:pt x="12" y="12"/>
                </a:cubicBezTo>
                <a:cubicBezTo>
                  <a:pt x="13" y="12"/>
                  <a:pt x="13" y="13"/>
                  <a:pt x="13" y="13"/>
                </a:cubicBezTo>
                <a:cubicBezTo>
                  <a:pt x="13" y="13"/>
                  <a:pt x="13" y="13"/>
                  <a:pt x="13" y="13"/>
                </a:cubicBezTo>
                <a:cubicBezTo>
                  <a:pt x="14" y="13"/>
                  <a:pt x="13" y="14"/>
                  <a:pt x="13" y="14"/>
                </a:cubicBezTo>
                <a:cubicBezTo>
                  <a:pt x="13" y="14"/>
                  <a:pt x="13" y="14"/>
                  <a:pt x="14" y="14"/>
                </a:cubicBezTo>
                <a:cubicBezTo>
                  <a:pt x="14" y="15"/>
                  <a:pt x="14" y="15"/>
                  <a:pt x="14" y="15"/>
                </a:cubicBezTo>
                <a:cubicBezTo>
                  <a:pt x="14" y="15"/>
                  <a:pt x="13" y="16"/>
                  <a:pt x="13" y="16"/>
                </a:cubicBezTo>
                <a:cubicBezTo>
                  <a:pt x="13" y="16"/>
                  <a:pt x="14" y="16"/>
                  <a:pt x="14" y="16"/>
                </a:cubicBezTo>
                <a:cubicBezTo>
                  <a:pt x="15" y="17"/>
                  <a:pt x="16" y="17"/>
                  <a:pt x="17" y="16"/>
                </a:cubicBezTo>
                <a:cubicBezTo>
                  <a:pt x="18" y="16"/>
                  <a:pt x="18" y="16"/>
                  <a:pt x="18" y="15"/>
                </a:cubicBezTo>
                <a:cubicBezTo>
                  <a:pt x="18" y="15"/>
                  <a:pt x="18" y="15"/>
                  <a:pt x="19" y="14"/>
                </a:cubicBezTo>
                <a:cubicBezTo>
                  <a:pt x="19" y="14"/>
                  <a:pt x="20" y="14"/>
                  <a:pt x="19" y="15"/>
                </a:cubicBezTo>
                <a:cubicBezTo>
                  <a:pt x="19" y="15"/>
                  <a:pt x="18" y="16"/>
                  <a:pt x="19" y="16"/>
                </a:cubicBezTo>
                <a:cubicBezTo>
                  <a:pt x="20" y="17"/>
                  <a:pt x="19" y="18"/>
                  <a:pt x="19" y="18"/>
                </a:cubicBezTo>
                <a:cubicBezTo>
                  <a:pt x="19" y="18"/>
                  <a:pt x="20" y="18"/>
                  <a:pt x="20" y="18"/>
                </a:cubicBezTo>
                <a:cubicBezTo>
                  <a:pt x="21" y="18"/>
                  <a:pt x="21" y="18"/>
                  <a:pt x="21" y="19"/>
                </a:cubicBezTo>
                <a:cubicBezTo>
                  <a:pt x="22" y="19"/>
                  <a:pt x="23" y="19"/>
                  <a:pt x="23" y="20"/>
                </a:cubicBezTo>
                <a:cubicBezTo>
                  <a:pt x="23" y="20"/>
                  <a:pt x="24" y="20"/>
                  <a:pt x="24" y="20"/>
                </a:cubicBezTo>
                <a:cubicBezTo>
                  <a:pt x="24" y="20"/>
                  <a:pt x="24" y="21"/>
                  <a:pt x="24" y="21"/>
                </a:cubicBezTo>
                <a:cubicBezTo>
                  <a:pt x="24" y="21"/>
                  <a:pt x="25" y="21"/>
                  <a:pt x="25" y="21"/>
                </a:cubicBezTo>
                <a:cubicBezTo>
                  <a:pt x="26" y="21"/>
                  <a:pt x="26" y="21"/>
                  <a:pt x="26" y="21"/>
                </a:cubicBezTo>
                <a:cubicBezTo>
                  <a:pt x="27" y="21"/>
                  <a:pt x="27" y="21"/>
                  <a:pt x="27" y="21"/>
                </a:cubicBezTo>
                <a:cubicBezTo>
                  <a:pt x="27" y="20"/>
                  <a:pt x="28" y="20"/>
                  <a:pt x="28" y="20"/>
                </a:cubicBezTo>
                <a:cubicBezTo>
                  <a:pt x="28" y="19"/>
                  <a:pt x="28" y="20"/>
                  <a:pt x="28" y="19"/>
                </a:cubicBezTo>
                <a:cubicBezTo>
                  <a:pt x="27" y="19"/>
                  <a:pt x="28" y="19"/>
                  <a:pt x="28" y="19"/>
                </a:cubicBezTo>
                <a:cubicBezTo>
                  <a:pt x="28" y="19"/>
                  <a:pt x="27" y="19"/>
                  <a:pt x="27" y="19"/>
                </a:cubicBezTo>
                <a:cubicBezTo>
                  <a:pt x="27" y="18"/>
                  <a:pt x="26" y="18"/>
                  <a:pt x="27" y="17"/>
                </a:cubicBezTo>
                <a:cubicBezTo>
                  <a:pt x="26" y="17"/>
                  <a:pt x="27" y="16"/>
                  <a:pt x="27" y="16"/>
                </a:cubicBezTo>
                <a:cubicBezTo>
                  <a:pt x="27" y="16"/>
                  <a:pt x="27" y="16"/>
                  <a:pt x="27" y="16"/>
                </a:cubicBezTo>
                <a:cubicBezTo>
                  <a:pt x="28" y="15"/>
                  <a:pt x="28" y="15"/>
                  <a:pt x="28" y="15"/>
                </a:cubicBezTo>
                <a:cubicBezTo>
                  <a:pt x="28" y="15"/>
                  <a:pt x="29" y="14"/>
                  <a:pt x="29" y="14"/>
                </a:cubicBezTo>
                <a:cubicBezTo>
                  <a:pt x="29" y="14"/>
                  <a:pt x="30" y="14"/>
                  <a:pt x="30" y="15"/>
                </a:cubicBezTo>
                <a:cubicBezTo>
                  <a:pt x="30" y="14"/>
                  <a:pt x="31" y="13"/>
                  <a:pt x="31" y="13"/>
                </a:cubicBezTo>
                <a:cubicBezTo>
                  <a:pt x="31" y="13"/>
                  <a:pt x="31" y="13"/>
                  <a:pt x="32" y="13"/>
                </a:cubicBezTo>
                <a:cubicBezTo>
                  <a:pt x="32" y="13"/>
                  <a:pt x="32" y="13"/>
                  <a:pt x="32" y="1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7" name="Belarus"/>
          <p:cNvSpPr>
            <a:spLocks/>
          </p:cNvSpPr>
          <p:nvPr/>
        </p:nvSpPr>
        <p:spPr bwMode="auto">
          <a:xfrm>
            <a:off x="6540055" y="2450020"/>
            <a:ext cx="277990" cy="187993"/>
          </a:xfrm>
          <a:custGeom>
            <a:avLst/>
            <a:gdLst/>
            <a:ahLst/>
            <a:cxnLst>
              <a:cxn ang="0">
                <a:pos x="76" y="28"/>
              </a:cxn>
              <a:cxn ang="0">
                <a:pos x="74" y="25"/>
              </a:cxn>
              <a:cxn ang="0">
                <a:pos x="69" y="22"/>
              </a:cxn>
              <a:cxn ang="0">
                <a:pos x="64" y="18"/>
              </a:cxn>
              <a:cxn ang="0">
                <a:pos x="61" y="16"/>
              </a:cxn>
              <a:cxn ang="0">
                <a:pos x="60" y="13"/>
              </a:cxn>
              <a:cxn ang="0">
                <a:pos x="60" y="12"/>
              </a:cxn>
              <a:cxn ang="0">
                <a:pos x="59" y="9"/>
              </a:cxn>
              <a:cxn ang="0">
                <a:pos x="59" y="7"/>
              </a:cxn>
              <a:cxn ang="0">
                <a:pos x="56" y="5"/>
              </a:cxn>
              <a:cxn ang="0">
                <a:pos x="50" y="4"/>
              </a:cxn>
              <a:cxn ang="0">
                <a:pos x="47" y="5"/>
              </a:cxn>
              <a:cxn ang="0">
                <a:pos x="47" y="3"/>
              </a:cxn>
              <a:cxn ang="0">
                <a:pos x="41" y="1"/>
              </a:cxn>
              <a:cxn ang="0">
                <a:pos x="34" y="1"/>
              </a:cxn>
              <a:cxn ang="0">
                <a:pos x="32" y="3"/>
              </a:cxn>
              <a:cxn ang="0">
                <a:pos x="29" y="4"/>
              </a:cxn>
              <a:cxn ang="0">
                <a:pos x="24" y="6"/>
              </a:cxn>
              <a:cxn ang="0">
                <a:pos x="24" y="8"/>
              </a:cxn>
              <a:cxn ang="0">
                <a:pos x="24" y="11"/>
              </a:cxn>
              <a:cxn ang="0">
                <a:pos x="20" y="13"/>
              </a:cxn>
              <a:cxn ang="0">
                <a:pos x="18" y="16"/>
              </a:cxn>
              <a:cxn ang="0">
                <a:pos x="17" y="19"/>
              </a:cxn>
              <a:cxn ang="0">
                <a:pos x="17" y="21"/>
              </a:cxn>
              <a:cxn ang="0">
                <a:pos x="17" y="20"/>
              </a:cxn>
              <a:cxn ang="0">
                <a:pos x="14" y="21"/>
              </a:cxn>
              <a:cxn ang="0">
                <a:pos x="10" y="23"/>
              </a:cxn>
              <a:cxn ang="0">
                <a:pos x="6" y="23"/>
              </a:cxn>
              <a:cxn ang="0">
                <a:pos x="2" y="24"/>
              </a:cxn>
              <a:cxn ang="0">
                <a:pos x="2" y="27"/>
              </a:cxn>
              <a:cxn ang="0">
                <a:pos x="5" y="32"/>
              </a:cxn>
              <a:cxn ang="0">
                <a:pos x="4" y="37"/>
              </a:cxn>
              <a:cxn ang="0">
                <a:pos x="0" y="41"/>
              </a:cxn>
              <a:cxn ang="0">
                <a:pos x="2" y="42"/>
              </a:cxn>
              <a:cxn ang="0">
                <a:pos x="4" y="44"/>
              </a:cxn>
              <a:cxn ang="0">
                <a:pos x="3" y="46"/>
              </a:cxn>
              <a:cxn ang="0">
                <a:pos x="4" y="48"/>
              </a:cxn>
              <a:cxn ang="0">
                <a:pos x="10" y="45"/>
              </a:cxn>
              <a:cxn ang="0">
                <a:pos x="17" y="44"/>
              </a:cxn>
              <a:cxn ang="0">
                <a:pos x="25" y="45"/>
              </a:cxn>
              <a:cxn ang="0">
                <a:pos x="31" y="46"/>
              </a:cxn>
              <a:cxn ang="0">
                <a:pos x="34" y="47"/>
              </a:cxn>
              <a:cxn ang="0">
                <a:pos x="38" y="49"/>
              </a:cxn>
              <a:cxn ang="0">
                <a:pos x="41" y="48"/>
              </a:cxn>
              <a:cxn ang="0">
                <a:pos x="45" y="48"/>
              </a:cxn>
              <a:cxn ang="0">
                <a:pos x="47" y="49"/>
              </a:cxn>
              <a:cxn ang="0">
                <a:pos x="51" y="48"/>
              </a:cxn>
              <a:cxn ang="0">
                <a:pos x="53" y="49"/>
              </a:cxn>
              <a:cxn ang="0">
                <a:pos x="55" y="49"/>
              </a:cxn>
              <a:cxn ang="0">
                <a:pos x="60" y="50"/>
              </a:cxn>
              <a:cxn ang="0">
                <a:pos x="62" y="50"/>
              </a:cxn>
              <a:cxn ang="0">
                <a:pos x="62" y="48"/>
              </a:cxn>
              <a:cxn ang="0">
                <a:pos x="63" y="44"/>
              </a:cxn>
              <a:cxn ang="0">
                <a:pos x="64" y="44"/>
              </a:cxn>
              <a:cxn ang="0">
                <a:pos x="66" y="43"/>
              </a:cxn>
              <a:cxn ang="0">
                <a:pos x="70" y="41"/>
              </a:cxn>
              <a:cxn ang="0">
                <a:pos x="69" y="38"/>
              </a:cxn>
              <a:cxn ang="0">
                <a:pos x="68" y="35"/>
              </a:cxn>
              <a:cxn ang="0">
                <a:pos x="66" y="33"/>
              </a:cxn>
              <a:cxn ang="0">
                <a:pos x="70" y="32"/>
              </a:cxn>
              <a:cxn ang="0">
                <a:pos x="74" y="31"/>
              </a:cxn>
              <a:cxn ang="0">
                <a:pos x="77" y="30"/>
              </a:cxn>
            </a:cxnLst>
            <a:rect l="0" t="0" r="r" b="b"/>
            <a:pathLst>
              <a:path w="77" h="52">
                <a:moveTo>
                  <a:pt x="77" y="28"/>
                </a:moveTo>
                <a:cubicBezTo>
                  <a:pt x="77" y="28"/>
                  <a:pt x="77" y="28"/>
                  <a:pt x="76" y="28"/>
                </a:cubicBezTo>
                <a:cubicBezTo>
                  <a:pt x="76" y="28"/>
                  <a:pt x="76" y="28"/>
                  <a:pt x="76" y="28"/>
                </a:cubicBezTo>
                <a:cubicBezTo>
                  <a:pt x="76" y="28"/>
                  <a:pt x="76" y="28"/>
                  <a:pt x="75" y="28"/>
                </a:cubicBezTo>
                <a:cubicBezTo>
                  <a:pt x="75" y="27"/>
                  <a:pt x="74" y="27"/>
                  <a:pt x="75" y="26"/>
                </a:cubicBezTo>
                <a:cubicBezTo>
                  <a:pt x="76" y="26"/>
                  <a:pt x="74" y="26"/>
                  <a:pt x="74" y="25"/>
                </a:cubicBezTo>
                <a:cubicBezTo>
                  <a:pt x="73" y="25"/>
                  <a:pt x="72" y="25"/>
                  <a:pt x="71" y="25"/>
                </a:cubicBezTo>
                <a:cubicBezTo>
                  <a:pt x="70" y="25"/>
                  <a:pt x="69" y="25"/>
                  <a:pt x="69" y="25"/>
                </a:cubicBezTo>
                <a:cubicBezTo>
                  <a:pt x="69" y="24"/>
                  <a:pt x="70" y="23"/>
                  <a:pt x="69" y="22"/>
                </a:cubicBezTo>
                <a:cubicBezTo>
                  <a:pt x="69" y="22"/>
                  <a:pt x="68" y="22"/>
                  <a:pt x="67" y="22"/>
                </a:cubicBezTo>
                <a:cubicBezTo>
                  <a:pt x="66" y="21"/>
                  <a:pt x="65" y="21"/>
                  <a:pt x="65" y="20"/>
                </a:cubicBezTo>
                <a:cubicBezTo>
                  <a:pt x="64" y="20"/>
                  <a:pt x="64" y="19"/>
                  <a:pt x="64" y="18"/>
                </a:cubicBezTo>
                <a:cubicBezTo>
                  <a:pt x="64" y="18"/>
                  <a:pt x="63" y="18"/>
                  <a:pt x="63" y="18"/>
                </a:cubicBezTo>
                <a:cubicBezTo>
                  <a:pt x="62" y="18"/>
                  <a:pt x="62" y="17"/>
                  <a:pt x="63" y="16"/>
                </a:cubicBezTo>
                <a:cubicBezTo>
                  <a:pt x="63" y="16"/>
                  <a:pt x="62" y="16"/>
                  <a:pt x="61" y="16"/>
                </a:cubicBezTo>
                <a:cubicBezTo>
                  <a:pt x="61" y="15"/>
                  <a:pt x="61" y="15"/>
                  <a:pt x="60" y="15"/>
                </a:cubicBezTo>
                <a:cubicBezTo>
                  <a:pt x="60" y="15"/>
                  <a:pt x="59" y="15"/>
                  <a:pt x="59" y="14"/>
                </a:cubicBezTo>
                <a:cubicBezTo>
                  <a:pt x="59" y="14"/>
                  <a:pt x="60" y="14"/>
                  <a:pt x="60" y="13"/>
                </a:cubicBezTo>
                <a:cubicBezTo>
                  <a:pt x="60" y="13"/>
                  <a:pt x="59" y="13"/>
                  <a:pt x="59" y="13"/>
                </a:cubicBezTo>
                <a:cubicBezTo>
                  <a:pt x="60" y="13"/>
                  <a:pt x="60" y="13"/>
                  <a:pt x="60" y="13"/>
                </a:cubicBezTo>
                <a:cubicBezTo>
                  <a:pt x="61" y="12"/>
                  <a:pt x="60" y="12"/>
                  <a:pt x="60" y="12"/>
                </a:cubicBezTo>
                <a:cubicBezTo>
                  <a:pt x="60" y="12"/>
                  <a:pt x="61" y="12"/>
                  <a:pt x="61" y="12"/>
                </a:cubicBezTo>
                <a:cubicBezTo>
                  <a:pt x="61" y="11"/>
                  <a:pt x="60" y="11"/>
                  <a:pt x="60" y="10"/>
                </a:cubicBezTo>
                <a:cubicBezTo>
                  <a:pt x="60" y="10"/>
                  <a:pt x="59" y="10"/>
                  <a:pt x="59" y="9"/>
                </a:cubicBezTo>
                <a:cubicBezTo>
                  <a:pt x="59" y="9"/>
                  <a:pt x="60" y="9"/>
                  <a:pt x="60" y="8"/>
                </a:cubicBezTo>
                <a:cubicBezTo>
                  <a:pt x="60" y="8"/>
                  <a:pt x="59" y="8"/>
                  <a:pt x="59" y="8"/>
                </a:cubicBezTo>
                <a:cubicBezTo>
                  <a:pt x="59" y="8"/>
                  <a:pt x="59" y="7"/>
                  <a:pt x="59" y="7"/>
                </a:cubicBezTo>
                <a:cubicBezTo>
                  <a:pt x="59" y="7"/>
                  <a:pt x="60" y="6"/>
                  <a:pt x="59" y="6"/>
                </a:cubicBezTo>
                <a:cubicBezTo>
                  <a:pt x="59" y="6"/>
                  <a:pt x="58" y="6"/>
                  <a:pt x="58" y="6"/>
                </a:cubicBezTo>
                <a:cubicBezTo>
                  <a:pt x="57" y="5"/>
                  <a:pt x="57" y="6"/>
                  <a:pt x="56" y="5"/>
                </a:cubicBezTo>
                <a:cubicBezTo>
                  <a:pt x="56" y="4"/>
                  <a:pt x="54" y="3"/>
                  <a:pt x="53" y="4"/>
                </a:cubicBezTo>
                <a:cubicBezTo>
                  <a:pt x="52" y="4"/>
                  <a:pt x="52" y="3"/>
                  <a:pt x="51" y="3"/>
                </a:cubicBezTo>
                <a:cubicBezTo>
                  <a:pt x="50" y="3"/>
                  <a:pt x="50" y="4"/>
                  <a:pt x="50" y="4"/>
                </a:cubicBezTo>
                <a:cubicBezTo>
                  <a:pt x="50" y="4"/>
                  <a:pt x="49" y="4"/>
                  <a:pt x="49" y="4"/>
                </a:cubicBezTo>
                <a:cubicBezTo>
                  <a:pt x="49" y="4"/>
                  <a:pt x="49" y="5"/>
                  <a:pt x="48" y="5"/>
                </a:cubicBezTo>
                <a:cubicBezTo>
                  <a:pt x="48" y="5"/>
                  <a:pt x="48" y="5"/>
                  <a:pt x="47" y="5"/>
                </a:cubicBezTo>
                <a:cubicBezTo>
                  <a:pt x="47" y="5"/>
                  <a:pt x="46" y="4"/>
                  <a:pt x="46" y="4"/>
                </a:cubicBezTo>
                <a:cubicBezTo>
                  <a:pt x="47" y="3"/>
                  <a:pt x="46" y="3"/>
                  <a:pt x="47" y="3"/>
                </a:cubicBezTo>
                <a:cubicBezTo>
                  <a:pt x="47" y="3"/>
                  <a:pt x="47" y="3"/>
                  <a:pt x="47" y="3"/>
                </a:cubicBezTo>
                <a:cubicBezTo>
                  <a:pt x="47" y="2"/>
                  <a:pt x="44" y="2"/>
                  <a:pt x="44" y="2"/>
                </a:cubicBezTo>
                <a:cubicBezTo>
                  <a:pt x="43" y="2"/>
                  <a:pt x="43" y="2"/>
                  <a:pt x="42" y="2"/>
                </a:cubicBezTo>
                <a:cubicBezTo>
                  <a:pt x="41" y="3"/>
                  <a:pt x="41" y="2"/>
                  <a:pt x="41" y="1"/>
                </a:cubicBezTo>
                <a:cubicBezTo>
                  <a:pt x="40" y="1"/>
                  <a:pt x="38" y="1"/>
                  <a:pt x="38" y="1"/>
                </a:cubicBezTo>
                <a:cubicBezTo>
                  <a:pt x="38" y="2"/>
                  <a:pt x="36" y="0"/>
                  <a:pt x="35" y="1"/>
                </a:cubicBezTo>
                <a:cubicBezTo>
                  <a:pt x="35" y="1"/>
                  <a:pt x="35" y="1"/>
                  <a:pt x="34" y="1"/>
                </a:cubicBezTo>
                <a:cubicBezTo>
                  <a:pt x="34" y="1"/>
                  <a:pt x="34" y="1"/>
                  <a:pt x="34" y="1"/>
                </a:cubicBezTo>
                <a:cubicBezTo>
                  <a:pt x="33" y="2"/>
                  <a:pt x="34" y="2"/>
                  <a:pt x="33" y="2"/>
                </a:cubicBezTo>
                <a:cubicBezTo>
                  <a:pt x="32" y="3"/>
                  <a:pt x="32" y="3"/>
                  <a:pt x="32" y="3"/>
                </a:cubicBezTo>
                <a:cubicBezTo>
                  <a:pt x="32" y="4"/>
                  <a:pt x="32" y="4"/>
                  <a:pt x="32" y="4"/>
                </a:cubicBezTo>
                <a:cubicBezTo>
                  <a:pt x="31" y="4"/>
                  <a:pt x="30" y="4"/>
                  <a:pt x="30" y="4"/>
                </a:cubicBezTo>
                <a:cubicBezTo>
                  <a:pt x="30" y="4"/>
                  <a:pt x="29" y="4"/>
                  <a:pt x="29" y="4"/>
                </a:cubicBezTo>
                <a:cubicBezTo>
                  <a:pt x="28" y="4"/>
                  <a:pt x="28" y="4"/>
                  <a:pt x="27" y="4"/>
                </a:cubicBezTo>
                <a:cubicBezTo>
                  <a:pt x="27" y="4"/>
                  <a:pt x="27" y="5"/>
                  <a:pt x="26" y="5"/>
                </a:cubicBezTo>
                <a:cubicBezTo>
                  <a:pt x="25" y="6"/>
                  <a:pt x="24" y="4"/>
                  <a:pt x="24" y="6"/>
                </a:cubicBezTo>
                <a:cubicBezTo>
                  <a:pt x="25" y="6"/>
                  <a:pt x="24" y="7"/>
                  <a:pt x="24" y="7"/>
                </a:cubicBezTo>
                <a:cubicBezTo>
                  <a:pt x="24" y="7"/>
                  <a:pt x="24" y="8"/>
                  <a:pt x="24" y="8"/>
                </a:cubicBezTo>
                <a:cubicBezTo>
                  <a:pt x="24" y="8"/>
                  <a:pt x="24" y="8"/>
                  <a:pt x="24" y="8"/>
                </a:cubicBezTo>
                <a:cubicBezTo>
                  <a:pt x="23" y="10"/>
                  <a:pt x="25" y="9"/>
                  <a:pt x="26" y="9"/>
                </a:cubicBezTo>
                <a:cubicBezTo>
                  <a:pt x="27" y="9"/>
                  <a:pt x="25" y="10"/>
                  <a:pt x="25" y="10"/>
                </a:cubicBezTo>
                <a:cubicBezTo>
                  <a:pt x="25" y="11"/>
                  <a:pt x="25" y="11"/>
                  <a:pt x="24" y="11"/>
                </a:cubicBezTo>
                <a:cubicBezTo>
                  <a:pt x="24" y="11"/>
                  <a:pt x="23" y="11"/>
                  <a:pt x="23" y="11"/>
                </a:cubicBezTo>
                <a:cubicBezTo>
                  <a:pt x="22" y="10"/>
                  <a:pt x="22" y="12"/>
                  <a:pt x="21" y="13"/>
                </a:cubicBezTo>
                <a:cubicBezTo>
                  <a:pt x="21" y="13"/>
                  <a:pt x="20" y="13"/>
                  <a:pt x="20" y="13"/>
                </a:cubicBezTo>
                <a:cubicBezTo>
                  <a:pt x="19" y="13"/>
                  <a:pt x="19" y="13"/>
                  <a:pt x="19" y="13"/>
                </a:cubicBezTo>
                <a:cubicBezTo>
                  <a:pt x="19" y="14"/>
                  <a:pt x="19" y="14"/>
                  <a:pt x="19" y="14"/>
                </a:cubicBezTo>
                <a:cubicBezTo>
                  <a:pt x="18" y="15"/>
                  <a:pt x="18" y="15"/>
                  <a:pt x="18" y="16"/>
                </a:cubicBezTo>
                <a:cubicBezTo>
                  <a:pt x="18" y="16"/>
                  <a:pt x="19" y="17"/>
                  <a:pt x="18" y="17"/>
                </a:cubicBezTo>
                <a:cubicBezTo>
                  <a:pt x="18" y="17"/>
                  <a:pt x="18" y="17"/>
                  <a:pt x="18" y="18"/>
                </a:cubicBezTo>
                <a:cubicBezTo>
                  <a:pt x="18" y="19"/>
                  <a:pt x="17" y="19"/>
                  <a:pt x="17" y="19"/>
                </a:cubicBezTo>
                <a:cubicBezTo>
                  <a:pt x="17" y="20"/>
                  <a:pt x="18" y="19"/>
                  <a:pt x="18" y="19"/>
                </a:cubicBezTo>
                <a:cubicBezTo>
                  <a:pt x="19" y="19"/>
                  <a:pt x="19" y="20"/>
                  <a:pt x="19" y="21"/>
                </a:cubicBezTo>
                <a:cubicBezTo>
                  <a:pt x="19" y="22"/>
                  <a:pt x="17" y="21"/>
                  <a:pt x="17" y="21"/>
                </a:cubicBezTo>
                <a:cubicBezTo>
                  <a:pt x="17" y="21"/>
                  <a:pt x="17" y="20"/>
                  <a:pt x="17" y="20"/>
                </a:cubicBezTo>
                <a:cubicBezTo>
                  <a:pt x="17" y="20"/>
                  <a:pt x="17" y="20"/>
                  <a:pt x="18" y="20"/>
                </a:cubicBezTo>
                <a:cubicBezTo>
                  <a:pt x="17" y="20"/>
                  <a:pt x="17" y="20"/>
                  <a:pt x="17" y="20"/>
                </a:cubicBezTo>
                <a:cubicBezTo>
                  <a:pt x="16" y="20"/>
                  <a:pt x="16" y="20"/>
                  <a:pt x="16" y="20"/>
                </a:cubicBezTo>
                <a:cubicBezTo>
                  <a:pt x="16" y="20"/>
                  <a:pt x="15" y="20"/>
                  <a:pt x="15" y="20"/>
                </a:cubicBezTo>
                <a:cubicBezTo>
                  <a:pt x="15" y="20"/>
                  <a:pt x="14" y="21"/>
                  <a:pt x="14" y="21"/>
                </a:cubicBezTo>
                <a:cubicBezTo>
                  <a:pt x="13" y="22"/>
                  <a:pt x="13" y="21"/>
                  <a:pt x="12" y="21"/>
                </a:cubicBezTo>
                <a:cubicBezTo>
                  <a:pt x="11" y="22"/>
                  <a:pt x="12" y="23"/>
                  <a:pt x="11" y="23"/>
                </a:cubicBezTo>
                <a:cubicBezTo>
                  <a:pt x="11" y="23"/>
                  <a:pt x="10" y="23"/>
                  <a:pt x="10" y="23"/>
                </a:cubicBezTo>
                <a:cubicBezTo>
                  <a:pt x="9" y="23"/>
                  <a:pt x="9" y="23"/>
                  <a:pt x="9" y="24"/>
                </a:cubicBezTo>
                <a:cubicBezTo>
                  <a:pt x="8" y="24"/>
                  <a:pt x="7" y="24"/>
                  <a:pt x="7" y="24"/>
                </a:cubicBezTo>
                <a:cubicBezTo>
                  <a:pt x="7" y="23"/>
                  <a:pt x="7" y="23"/>
                  <a:pt x="6" y="23"/>
                </a:cubicBezTo>
                <a:cubicBezTo>
                  <a:pt x="6" y="23"/>
                  <a:pt x="5" y="24"/>
                  <a:pt x="5" y="23"/>
                </a:cubicBezTo>
                <a:cubicBezTo>
                  <a:pt x="4" y="23"/>
                  <a:pt x="4" y="23"/>
                  <a:pt x="4" y="23"/>
                </a:cubicBezTo>
                <a:cubicBezTo>
                  <a:pt x="3" y="24"/>
                  <a:pt x="2" y="24"/>
                  <a:pt x="2" y="24"/>
                </a:cubicBezTo>
                <a:cubicBezTo>
                  <a:pt x="2" y="24"/>
                  <a:pt x="1" y="23"/>
                  <a:pt x="1" y="23"/>
                </a:cubicBezTo>
                <a:cubicBezTo>
                  <a:pt x="1" y="24"/>
                  <a:pt x="1" y="25"/>
                  <a:pt x="2" y="25"/>
                </a:cubicBezTo>
                <a:cubicBezTo>
                  <a:pt x="2" y="26"/>
                  <a:pt x="2" y="27"/>
                  <a:pt x="2" y="27"/>
                </a:cubicBezTo>
                <a:cubicBezTo>
                  <a:pt x="3" y="28"/>
                  <a:pt x="3" y="28"/>
                  <a:pt x="3" y="29"/>
                </a:cubicBezTo>
                <a:cubicBezTo>
                  <a:pt x="4" y="30"/>
                  <a:pt x="4" y="30"/>
                  <a:pt x="4" y="31"/>
                </a:cubicBezTo>
                <a:cubicBezTo>
                  <a:pt x="5" y="31"/>
                  <a:pt x="5" y="32"/>
                  <a:pt x="5" y="32"/>
                </a:cubicBezTo>
                <a:cubicBezTo>
                  <a:pt x="5" y="33"/>
                  <a:pt x="5" y="33"/>
                  <a:pt x="5" y="34"/>
                </a:cubicBezTo>
                <a:cubicBezTo>
                  <a:pt x="5" y="34"/>
                  <a:pt x="6" y="36"/>
                  <a:pt x="5" y="36"/>
                </a:cubicBezTo>
                <a:cubicBezTo>
                  <a:pt x="5" y="37"/>
                  <a:pt x="4" y="37"/>
                  <a:pt x="4" y="37"/>
                </a:cubicBezTo>
                <a:cubicBezTo>
                  <a:pt x="3" y="37"/>
                  <a:pt x="2" y="38"/>
                  <a:pt x="2" y="38"/>
                </a:cubicBezTo>
                <a:cubicBezTo>
                  <a:pt x="1" y="39"/>
                  <a:pt x="0" y="40"/>
                  <a:pt x="0" y="41"/>
                </a:cubicBezTo>
                <a:cubicBezTo>
                  <a:pt x="0" y="41"/>
                  <a:pt x="0" y="41"/>
                  <a:pt x="0" y="41"/>
                </a:cubicBezTo>
                <a:cubicBezTo>
                  <a:pt x="0" y="42"/>
                  <a:pt x="1" y="41"/>
                  <a:pt x="1" y="42"/>
                </a:cubicBezTo>
                <a:cubicBezTo>
                  <a:pt x="1" y="42"/>
                  <a:pt x="1" y="42"/>
                  <a:pt x="2" y="42"/>
                </a:cubicBezTo>
                <a:cubicBezTo>
                  <a:pt x="2" y="42"/>
                  <a:pt x="2" y="42"/>
                  <a:pt x="2" y="42"/>
                </a:cubicBezTo>
                <a:cubicBezTo>
                  <a:pt x="3" y="42"/>
                  <a:pt x="2" y="42"/>
                  <a:pt x="3" y="42"/>
                </a:cubicBezTo>
                <a:cubicBezTo>
                  <a:pt x="3" y="42"/>
                  <a:pt x="3" y="43"/>
                  <a:pt x="3" y="43"/>
                </a:cubicBezTo>
                <a:cubicBezTo>
                  <a:pt x="4" y="43"/>
                  <a:pt x="4" y="43"/>
                  <a:pt x="4" y="44"/>
                </a:cubicBezTo>
                <a:cubicBezTo>
                  <a:pt x="4" y="44"/>
                  <a:pt x="4" y="44"/>
                  <a:pt x="4" y="45"/>
                </a:cubicBezTo>
                <a:cubicBezTo>
                  <a:pt x="4" y="45"/>
                  <a:pt x="4" y="46"/>
                  <a:pt x="4" y="46"/>
                </a:cubicBezTo>
                <a:cubicBezTo>
                  <a:pt x="4" y="46"/>
                  <a:pt x="3" y="46"/>
                  <a:pt x="3" y="46"/>
                </a:cubicBezTo>
                <a:cubicBezTo>
                  <a:pt x="3" y="47"/>
                  <a:pt x="3" y="47"/>
                  <a:pt x="3" y="47"/>
                </a:cubicBezTo>
                <a:cubicBezTo>
                  <a:pt x="3" y="48"/>
                  <a:pt x="3" y="49"/>
                  <a:pt x="4" y="49"/>
                </a:cubicBezTo>
                <a:cubicBezTo>
                  <a:pt x="4" y="49"/>
                  <a:pt x="4" y="48"/>
                  <a:pt x="4" y="48"/>
                </a:cubicBezTo>
                <a:cubicBezTo>
                  <a:pt x="5" y="47"/>
                  <a:pt x="6" y="48"/>
                  <a:pt x="7" y="48"/>
                </a:cubicBezTo>
                <a:cubicBezTo>
                  <a:pt x="8" y="48"/>
                  <a:pt x="8" y="47"/>
                  <a:pt x="9" y="47"/>
                </a:cubicBezTo>
                <a:cubicBezTo>
                  <a:pt x="9" y="46"/>
                  <a:pt x="9" y="46"/>
                  <a:pt x="10" y="45"/>
                </a:cubicBezTo>
                <a:cubicBezTo>
                  <a:pt x="10" y="45"/>
                  <a:pt x="11" y="45"/>
                  <a:pt x="12" y="45"/>
                </a:cubicBezTo>
                <a:cubicBezTo>
                  <a:pt x="13" y="45"/>
                  <a:pt x="14" y="45"/>
                  <a:pt x="14" y="45"/>
                </a:cubicBezTo>
                <a:cubicBezTo>
                  <a:pt x="15" y="44"/>
                  <a:pt x="16" y="44"/>
                  <a:pt x="17" y="44"/>
                </a:cubicBezTo>
                <a:cubicBezTo>
                  <a:pt x="18" y="44"/>
                  <a:pt x="19" y="45"/>
                  <a:pt x="19" y="45"/>
                </a:cubicBezTo>
                <a:cubicBezTo>
                  <a:pt x="21" y="44"/>
                  <a:pt x="22" y="44"/>
                  <a:pt x="23" y="45"/>
                </a:cubicBezTo>
                <a:cubicBezTo>
                  <a:pt x="24" y="45"/>
                  <a:pt x="24" y="45"/>
                  <a:pt x="25" y="45"/>
                </a:cubicBezTo>
                <a:cubicBezTo>
                  <a:pt x="25" y="45"/>
                  <a:pt x="26" y="45"/>
                  <a:pt x="27" y="45"/>
                </a:cubicBezTo>
                <a:cubicBezTo>
                  <a:pt x="27" y="45"/>
                  <a:pt x="27" y="46"/>
                  <a:pt x="28" y="46"/>
                </a:cubicBezTo>
                <a:cubicBezTo>
                  <a:pt x="29" y="46"/>
                  <a:pt x="30" y="46"/>
                  <a:pt x="31" y="46"/>
                </a:cubicBezTo>
                <a:cubicBezTo>
                  <a:pt x="31" y="46"/>
                  <a:pt x="32" y="46"/>
                  <a:pt x="33" y="46"/>
                </a:cubicBezTo>
                <a:cubicBezTo>
                  <a:pt x="33" y="46"/>
                  <a:pt x="34" y="46"/>
                  <a:pt x="34" y="47"/>
                </a:cubicBezTo>
                <a:cubicBezTo>
                  <a:pt x="34" y="47"/>
                  <a:pt x="34" y="47"/>
                  <a:pt x="34" y="47"/>
                </a:cubicBezTo>
                <a:cubicBezTo>
                  <a:pt x="35" y="48"/>
                  <a:pt x="35" y="48"/>
                  <a:pt x="36" y="48"/>
                </a:cubicBezTo>
                <a:cubicBezTo>
                  <a:pt x="36" y="48"/>
                  <a:pt x="36" y="48"/>
                  <a:pt x="37" y="48"/>
                </a:cubicBezTo>
                <a:cubicBezTo>
                  <a:pt x="38" y="48"/>
                  <a:pt x="38" y="48"/>
                  <a:pt x="38" y="49"/>
                </a:cubicBezTo>
                <a:cubicBezTo>
                  <a:pt x="38" y="49"/>
                  <a:pt x="38" y="49"/>
                  <a:pt x="38" y="49"/>
                </a:cubicBezTo>
                <a:cubicBezTo>
                  <a:pt x="39" y="49"/>
                  <a:pt x="39" y="48"/>
                  <a:pt x="39" y="48"/>
                </a:cubicBezTo>
                <a:cubicBezTo>
                  <a:pt x="39" y="47"/>
                  <a:pt x="40" y="48"/>
                  <a:pt x="41" y="48"/>
                </a:cubicBezTo>
                <a:cubicBezTo>
                  <a:pt x="42" y="48"/>
                  <a:pt x="42" y="47"/>
                  <a:pt x="43" y="48"/>
                </a:cubicBezTo>
                <a:cubicBezTo>
                  <a:pt x="43" y="48"/>
                  <a:pt x="43" y="49"/>
                  <a:pt x="44" y="48"/>
                </a:cubicBezTo>
                <a:cubicBezTo>
                  <a:pt x="44" y="48"/>
                  <a:pt x="45" y="48"/>
                  <a:pt x="45" y="48"/>
                </a:cubicBezTo>
                <a:cubicBezTo>
                  <a:pt x="46" y="49"/>
                  <a:pt x="46" y="49"/>
                  <a:pt x="46" y="49"/>
                </a:cubicBezTo>
                <a:cubicBezTo>
                  <a:pt x="46" y="49"/>
                  <a:pt x="47" y="50"/>
                  <a:pt x="47" y="50"/>
                </a:cubicBezTo>
                <a:cubicBezTo>
                  <a:pt x="47" y="49"/>
                  <a:pt x="47" y="49"/>
                  <a:pt x="47" y="49"/>
                </a:cubicBezTo>
                <a:cubicBezTo>
                  <a:pt x="48" y="48"/>
                  <a:pt x="48" y="48"/>
                  <a:pt x="49" y="48"/>
                </a:cubicBezTo>
                <a:cubicBezTo>
                  <a:pt x="49" y="48"/>
                  <a:pt x="49" y="47"/>
                  <a:pt x="50" y="48"/>
                </a:cubicBezTo>
                <a:cubicBezTo>
                  <a:pt x="50" y="48"/>
                  <a:pt x="50" y="48"/>
                  <a:pt x="51" y="48"/>
                </a:cubicBezTo>
                <a:cubicBezTo>
                  <a:pt x="51" y="49"/>
                  <a:pt x="51" y="50"/>
                  <a:pt x="52" y="50"/>
                </a:cubicBezTo>
                <a:cubicBezTo>
                  <a:pt x="52" y="50"/>
                  <a:pt x="53" y="50"/>
                  <a:pt x="53" y="50"/>
                </a:cubicBezTo>
                <a:cubicBezTo>
                  <a:pt x="53" y="50"/>
                  <a:pt x="53" y="50"/>
                  <a:pt x="53" y="49"/>
                </a:cubicBezTo>
                <a:cubicBezTo>
                  <a:pt x="54" y="49"/>
                  <a:pt x="54" y="50"/>
                  <a:pt x="54" y="49"/>
                </a:cubicBezTo>
                <a:cubicBezTo>
                  <a:pt x="54" y="49"/>
                  <a:pt x="54" y="49"/>
                  <a:pt x="54" y="49"/>
                </a:cubicBezTo>
                <a:cubicBezTo>
                  <a:pt x="55" y="49"/>
                  <a:pt x="55" y="49"/>
                  <a:pt x="55" y="49"/>
                </a:cubicBezTo>
                <a:cubicBezTo>
                  <a:pt x="55" y="50"/>
                  <a:pt x="57" y="49"/>
                  <a:pt x="58" y="49"/>
                </a:cubicBezTo>
                <a:cubicBezTo>
                  <a:pt x="58" y="49"/>
                  <a:pt x="59" y="49"/>
                  <a:pt x="59" y="49"/>
                </a:cubicBezTo>
                <a:cubicBezTo>
                  <a:pt x="59" y="49"/>
                  <a:pt x="60" y="50"/>
                  <a:pt x="60" y="50"/>
                </a:cubicBezTo>
                <a:cubicBezTo>
                  <a:pt x="60" y="50"/>
                  <a:pt x="60" y="51"/>
                  <a:pt x="61" y="51"/>
                </a:cubicBezTo>
                <a:cubicBezTo>
                  <a:pt x="61" y="51"/>
                  <a:pt x="62" y="51"/>
                  <a:pt x="62" y="52"/>
                </a:cubicBezTo>
                <a:cubicBezTo>
                  <a:pt x="62" y="51"/>
                  <a:pt x="63" y="50"/>
                  <a:pt x="62" y="50"/>
                </a:cubicBezTo>
                <a:cubicBezTo>
                  <a:pt x="62" y="50"/>
                  <a:pt x="62" y="49"/>
                  <a:pt x="62" y="49"/>
                </a:cubicBezTo>
                <a:cubicBezTo>
                  <a:pt x="62" y="49"/>
                  <a:pt x="62" y="49"/>
                  <a:pt x="62" y="49"/>
                </a:cubicBezTo>
                <a:cubicBezTo>
                  <a:pt x="62" y="49"/>
                  <a:pt x="62" y="48"/>
                  <a:pt x="62" y="48"/>
                </a:cubicBezTo>
                <a:cubicBezTo>
                  <a:pt x="61" y="48"/>
                  <a:pt x="62" y="46"/>
                  <a:pt x="62" y="46"/>
                </a:cubicBezTo>
                <a:cubicBezTo>
                  <a:pt x="62" y="46"/>
                  <a:pt x="63" y="45"/>
                  <a:pt x="63" y="45"/>
                </a:cubicBezTo>
                <a:cubicBezTo>
                  <a:pt x="63" y="45"/>
                  <a:pt x="63" y="44"/>
                  <a:pt x="63" y="44"/>
                </a:cubicBezTo>
                <a:cubicBezTo>
                  <a:pt x="63" y="44"/>
                  <a:pt x="64" y="44"/>
                  <a:pt x="64" y="44"/>
                </a:cubicBezTo>
                <a:cubicBezTo>
                  <a:pt x="64" y="44"/>
                  <a:pt x="64" y="44"/>
                  <a:pt x="64" y="44"/>
                </a:cubicBezTo>
                <a:cubicBezTo>
                  <a:pt x="64" y="44"/>
                  <a:pt x="64" y="44"/>
                  <a:pt x="64" y="44"/>
                </a:cubicBezTo>
                <a:cubicBezTo>
                  <a:pt x="65" y="43"/>
                  <a:pt x="64" y="43"/>
                  <a:pt x="64" y="43"/>
                </a:cubicBezTo>
                <a:cubicBezTo>
                  <a:pt x="64" y="43"/>
                  <a:pt x="65" y="43"/>
                  <a:pt x="65" y="43"/>
                </a:cubicBezTo>
                <a:cubicBezTo>
                  <a:pt x="66" y="43"/>
                  <a:pt x="66" y="43"/>
                  <a:pt x="66" y="43"/>
                </a:cubicBezTo>
                <a:cubicBezTo>
                  <a:pt x="67" y="43"/>
                  <a:pt x="67" y="43"/>
                  <a:pt x="67" y="43"/>
                </a:cubicBezTo>
                <a:cubicBezTo>
                  <a:pt x="68" y="42"/>
                  <a:pt x="70" y="43"/>
                  <a:pt x="71" y="43"/>
                </a:cubicBezTo>
                <a:cubicBezTo>
                  <a:pt x="71" y="42"/>
                  <a:pt x="70" y="42"/>
                  <a:pt x="70" y="41"/>
                </a:cubicBezTo>
                <a:cubicBezTo>
                  <a:pt x="70" y="41"/>
                  <a:pt x="70" y="41"/>
                  <a:pt x="70" y="41"/>
                </a:cubicBezTo>
                <a:cubicBezTo>
                  <a:pt x="69" y="40"/>
                  <a:pt x="70" y="40"/>
                  <a:pt x="70" y="40"/>
                </a:cubicBezTo>
                <a:cubicBezTo>
                  <a:pt x="69" y="39"/>
                  <a:pt x="69" y="39"/>
                  <a:pt x="69" y="38"/>
                </a:cubicBezTo>
                <a:cubicBezTo>
                  <a:pt x="69" y="38"/>
                  <a:pt x="69" y="38"/>
                  <a:pt x="69" y="38"/>
                </a:cubicBezTo>
                <a:cubicBezTo>
                  <a:pt x="69" y="37"/>
                  <a:pt x="68" y="37"/>
                  <a:pt x="68" y="36"/>
                </a:cubicBezTo>
                <a:cubicBezTo>
                  <a:pt x="69" y="36"/>
                  <a:pt x="69" y="36"/>
                  <a:pt x="68" y="35"/>
                </a:cubicBezTo>
                <a:cubicBezTo>
                  <a:pt x="68" y="35"/>
                  <a:pt x="68" y="35"/>
                  <a:pt x="67" y="34"/>
                </a:cubicBezTo>
                <a:cubicBezTo>
                  <a:pt x="67" y="34"/>
                  <a:pt x="67" y="34"/>
                  <a:pt x="66" y="33"/>
                </a:cubicBezTo>
                <a:cubicBezTo>
                  <a:pt x="66" y="33"/>
                  <a:pt x="66" y="33"/>
                  <a:pt x="66" y="33"/>
                </a:cubicBezTo>
                <a:cubicBezTo>
                  <a:pt x="66" y="33"/>
                  <a:pt x="66" y="33"/>
                  <a:pt x="66" y="32"/>
                </a:cubicBezTo>
                <a:cubicBezTo>
                  <a:pt x="67" y="31"/>
                  <a:pt x="66" y="31"/>
                  <a:pt x="68" y="31"/>
                </a:cubicBezTo>
                <a:cubicBezTo>
                  <a:pt x="69" y="31"/>
                  <a:pt x="69" y="31"/>
                  <a:pt x="70" y="32"/>
                </a:cubicBezTo>
                <a:cubicBezTo>
                  <a:pt x="70" y="32"/>
                  <a:pt x="72" y="32"/>
                  <a:pt x="73" y="32"/>
                </a:cubicBezTo>
                <a:cubicBezTo>
                  <a:pt x="73" y="32"/>
                  <a:pt x="73" y="32"/>
                  <a:pt x="74" y="32"/>
                </a:cubicBezTo>
                <a:cubicBezTo>
                  <a:pt x="74" y="32"/>
                  <a:pt x="74" y="32"/>
                  <a:pt x="74" y="31"/>
                </a:cubicBezTo>
                <a:cubicBezTo>
                  <a:pt x="75" y="31"/>
                  <a:pt x="75" y="31"/>
                  <a:pt x="75" y="31"/>
                </a:cubicBezTo>
                <a:cubicBezTo>
                  <a:pt x="75" y="31"/>
                  <a:pt x="75" y="30"/>
                  <a:pt x="75" y="30"/>
                </a:cubicBezTo>
                <a:cubicBezTo>
                  <a:pt x="75" y="30"/>
                  <a:pt x="77" y="30"/>
                  <a:pt x="77" y="30"/>
                </a:cubicBezTo>
                <a:cubicBezTo>
                  <a:pt x="77" y="30"/>
                  <a:pt x="77" y="28"/>
                  <a:pt x="77" y="2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8" name="Barbados"/>
          <p:cNvSpPr>
            <a:spLocks/>
          </p:cNvSpPr>
          <p:nvPr/>
        </p:nvSpPr>
        <p:spPr bwMode="auto">
          <a:xfrm>
            <a:off x="3718161" y="4135957"/>
            <a:ext cx="11000" cy="11000"/>
          </a:xfrm>
          <a:custGeom>
            <a:avLst/>
            <a:gdLst/>
            <a:ahLst/>
            <a:cxnLst>
              <a:cxn ang="0">
                <a:pos x="2" y="1"/>
              </a:cxn>
              <a:cxn ang="0">
                <a:pos x="2" y="1"/>
              </a:cxn>
              <a:cxn ang="0">
                <a:pos x="1" y="0"/>
              </a:cxn>
              <a:cxn ang="0">
                <a:pos x="1" y="0"/>
              </a:cxn>
              <a:cxn ang="0">
                <a:pos x="1" y="2"/>
              </a:cxn>
              <a:cxn ang="0">
                <a:pos x="2" y="2"/>
              </a:cxn>
              <a:cxn ang="0">
                <a:pos x="2" y="1"/>
              </a:cxn>
            </a:cxnLst>
            <a:rect l="0" t="0" r="r" b="b"/>
            <a:pathLst>
              <a:path w="3" h="3">
                <a:moveTo>
                  <a:pt x="2" y="1"/>
                </a:moveTo>
                <a:cubicBezTo>
                  <a:pt x="2" y="1"/>
                  <a:pt x="2" y="1"/>
                  <a:pt x="2" y="1"/>
                </a:cubicBezTo>
                <a:cubicBezTo>
                  <a:pt x="1" y="0"/>
                  <a:pt x="1" y="0"/>
                  <a:pt x="1" y="0"/>
                </a:cubicBezTo>
                <a:cubicBezTo>
                  <a:pt x="1" y="0"/>
                  <a:pt x="1" y="0"/>
                  <a:pt x="1" y="0"/>
                </a:cubicBezTo>
                <a:cubicBezTo>
                  <a:pt x="1" y="1"/>
                  <a:pt x="0" y="2"/>
                  <a:pt x="1" y="2"/>
                </a:cubicBezTo>
                <a:cubicBezTo>
                  <a:pt x="1" y="3"/>
                  <a:pt x="2" y="3"/>
                  <a:pt x="2" y="2"/>
                </a:cubicBezTo>
                <a:cubicBezTo>
                  <a:pt x="3" y="2"/>
                  <a:pt x="3" y="2"/>
                  <a:pt x="2"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09" name="Bangladesh"/>
          <p:cNvSpPr>
            <a:spLocks noEditPoints="1"/>
          </p:cNvSpPr>
          <p:nvPr/>
        </p:nvSpPr>
        <p:spPr bwMode="auto">
          <a:xfrm>
            <a:off x="8804970" y="3607976"/>
            <a:ext cx="179993" cy="230992"/>
          </a:xfrm>
          <a:custGeom>
            <a:avLst/>
            <a:gdLst/>
            <a:ahLst/>
            <a:cxnLst>
              <a:cxn ang="0">
                <a:pos x="33" y="46"/>
              </a:cxn>
              <a:cxn ang="0">
                <a:pos x="29" y="44"/>
              </a:cxn>
              <a:cxn ang="0">
                <a:pos x="31" y="50"/>
              </a:cxn>
              <a:cxn ang="0">
                <a:pos x="34" y="46"/>
              </a:cxn>
              <a:cxn ang="0">
                <a:pos x="46" y="57"/>
              </a:cxn>
              <a:cxn ang="0">
                <a:pos x="45" y="60"/>
              </a:cxn>
              <a:cxn ang="0">
                <a:pos x="42" y="53"/>
              </a:cxn>
              <a:cxn ang="0">
                <a:pos x="40" y="47"/>
              </a:cxn>
              <a:cxn ang="0">
                <a:pos x="40" y="47"/>
              </a:cxn>
              <a:cxn ang="0">
                <a:pos x="35" y="41"/>
              </a:cxn>
              <a:cxn ang="0">
                <a:pos x="30" y="40"/>
              </a:cxn>
              <a:cxn ang="0">
                <a:pos x="27" y="34"/>
              </a:cxn>
              <a:cxn ang="0">
                <a:pos x="26" y="33"/>
              </a:cxn>
              <a:cxn ang="0">
                <a:pos x="28" y="37"/>
              </a:cxn>
              <a:cxn ang="0">
                <a:pos x="27" y="41"/>
              </a:cxn>
              <a:cxn ang="0">
                <a:pos x="28" y="44"/>
              </a:cxn>
              <a:cxn ang="0">
                <a:pos x="27" y="47"/>
              </a:cxn>
              <a:cxn ang="0">
                <a:pos x="25" y="51"/>
              </a:cxn>
              <a:cxn ang="0">
                <a:pos x="25" y="49"/>
              </a:cxn>
              <a:cxn ang="0">
                <a:pos x="23" y="51"/>
              </a:cxn>
              <a:cxn ang="0">
                <a:pos x="22" y="46"/>
              </a:cxn>
              <a:cxn ang="0">
                <a:pos x="20" y="51"/>
              </a:cxn>
              <a:cxn ang="0">
                <a:pos x="19" y="52"/>
              </a:cxn>
              <a:cxn ang="0">
                <a:pos x="19" y="49"/>
              </a:cxn>
              <a:cxn ang="0">
                <a:pos x="19" y="49"/>
              </a:cxn>
              <a:cxn ang="0">
                <a:pos x="18" y="51"/>
              </a:cxn>
              <a:cxn ang="0">
                <a:pos x="16" y="53"/>
              </a:cxn>
              <a:cxn ang="0">
                <a:pos x="14" y="47"/>
              </a:cxn>
              <a:cxn ang="0">
                <a:pos x="12" y="37"/>
              </a:cxn>
              <a:cxn ang="0">
                <a:pos x="9" y="34"/>
              </a:cxn>
              <a:cxn ang="0">
                <a:pos x="9" y="28"/>
              </a:cxn>
              <a:cxn ang="0">
                <a:pos x="3" y="23"/>
              </a:cxn>
              <a:cxn ang="0">
                <a:pos x="3" y="19"/>
              </a:cxn>
              <a:cxn ang="0">
                <a:pos x="8" y="15"/>
              </a:cxn>
              <a:cxn ang="0">
                <a:pos x="6" y="12"/>
              </a:cxn>
              <a:cxn ang="0">
                <a:pos x="0" y="6"/>
              </a:cxn>
              <a:cxn ang="0">
                <a:pos x="3" y="2"/>
              </a:cxn>
              <a:cxn ang="0">
                <a:pos x="4" y="2"/>
              </a:cxn>
              <a:cxn ang="0">
                <a:pos x="7" y="4"/>
              </a:cxn>
              <a:cxn ang="0">
                <a:pos x="10" y="5"/>
              </a:cxn>
              <a:cxn ang="0">
                <a:pos x="14" y="6"/>
              </a:cxn>
              <a:cxn ang="0">
                <a:pos x="15" y="5"/>
              </a:cxn>
              <a:cxn ang="0">
                <a:pos x="16" y="9"/>
              </a:cxn>
              <a:cxn ang="0">
                <a:pos x="23" y="16"/>
              </a:cxn>
              <a:cxn ang="0">
                <a:pos x="30" y="15"/>
              </a:cxn>
              <a:cxn ang="0">
                <a:pos x="42" y="18"/>
              </a:cxn>
              <a:cxn ang="0">
                <a:pos x="40" y="23"/>
              </a:cxn>
              <a:cxn ang="0">
                <a:pos x="39" y="26"/>
              </a:cxn>
              <a:cxn ang="0">
                <a:pos x="35" y="27"/>
              </a:cxn>
              <a:cxn ang="0">
                <a:pos x="33" y="34"/>
              </a:cxn>
              <a:cxn ang="0">
                <a:pos x="36" y="37"/>
              </a:cxn>
              <a:cxn ang="0">
                <a:pos x="39" y="39"/>
              </a:cxn>
              <a:cxn ang="0">
                <a:pos x="41" y="32"/>
              </a:cxn>
              <a:cxn ang="0">
                <a:pos x="45" y="39"/>
              </a:cxn>
              <a:cxn ang="0">
                <a:pos x="47" y="46"/>
              </a:cxn>
              <a:cxn ang="0">
                <a:pos x="49" y="57"/>
              </a:cxn>
              <a:cxn ang="0">
                <a:pos x="41" y="52"/>
              </a:cxn>
              <a:cxn ang="0">
                <a:pos x="42" y="54"/>
              </a:cxn>
              <a:cxn ang="0">
                <a:pos x="42" y="54"/>
              </a:cxn>
              <a:cxn ang="0">
                <a:pos x="36" y="44"/>
              </a:cxn>
              <a:cxn ang="0">
                <a:pos x="32" y="44"/>
              </a:cxn>
            </a:cxnLst>
            <a:rect l="0" t="0" r="r" b="b"/>
            <a:pathLst>
              <a:path w="50" h="64">
                <a:moveTo>
                  <a:pt x="33" y="45"/>
                </a:moveTo>
                <a:cubicBezTo>
                  <a:pt x="34" y="46"/>
                  <a:pt x="35" y="47"/>
                  <a:pt x="34" y="49"/>
                </a:cubicBezTo>
                <a:cubicBezTo>
                  <a:pt x="34" y="49"/>
                  <a:pt x="34" y="49"/>
                  <a:pt x="33" y="50"/>
                </a:cubicBezTo>
                <a:cubicBezTo>
                  <a:pt x="33" y="49"/>
                  <a:pt x="33" y="48"/>
                  <a:pt x="33" y="47"/>
                </a:cubicBezTo>
                <a:cubicBezTo>
                  <a:pt x="33" y="47"/>
                  <a:pt x="33" y="46"/>
                  <a:pt x="33" y="46"/>
                </a:cubicBezTo>
                <a:cubicBezTo>
                  <a:pt x="33" y="46"/>
                  <a:pt x="33" y="45"/>
                  <a:pt x="33" y="45"/>
                </a:cubicBezTo>
                <a:close/>
                <a:moveTo>
                  <a:pt x="30" y="43"/>
                </a:moveTo>
                <a:cubicBezTo>
                  <a:pt x="29" y="43"/>
                  <a:pt x="29" y="42"/>
                  <a:pt x="29" y="42"/>
                </a:cubicBezTo>
                <a:cubicBezTo>
                  <a:pt x="28" y="42"/>
                  <a:pt x="28" y="43"/>
                  <a:pt x="28" y="43"/>
                </a:cubicBezTo>
                <a:cubicBezTo>
                  <a:pt x="28" y="44"/>
                  <a:pt x="28" y="44"/>
                  <a:pt x="29" y="44"/>
                </a:cubicBezTo>
                <a:cubicBezTo>
                  <a:pt x="30" y="46"/>
                  <a:pt x="29" y="47"/>
                  <a:pt x="29" y="49"/>
                </a:cubicBezTo>
                <a:cubicBezTo>
                  <a:pt x="29" y="49"/>
                  <a:pt x="29" y="50"/>
                  <a:pt x="29" y="50"/>
                </a:cubicBezTo>
                <a:cubicBezTo>
                  <a:pt x="30" y="50"/>
                  <a:pt x="30" y="50"/>
                  <a:pt x="30" y="49"/>
                </a:cubicBezTo>
                <a:cubicBezTo>
                  <a:pt x="30" y="49"/>
                  <a:pt x="29" y="51"/>
                  <a:pt x="30" y="51"/>
                </a:cubicBezTo>
                <a:cubicBezTo>
                  <a:pt x="30" y="51"/>
                  <a:pt x="31" y="50"/>
                  <a:pt x="31" y="50"/>
                </a:cubicBezTo>
                <a:cubicBezTo>
                  <a:pt x="31" y="49"/>
                  <a:pt x="31" y="48"/>
                  <a:pt x="31" y="47"/>
                </a:cubicBezTo>
                <a:cubicBezTo>
                  <a:pt x="32" y="47"/>
                  <a:pt x="31" y="46"/>
                  <a:pt x="31" y="45"/>
                </a:cubicBezTo>
                <a:cubicBezTo>
                  <a:pt x="31" y="45"/>
                  <a:pt x="30" y="44"/>
                  <a:pt x="30" y="43"/>
                </a:cubicBezTo>
                <a:close/>
                <a:moveTo>
                  <a:pt x="34" y="46"/>
                </a:moveTo>
                <a:cubicBezTo>
                  <a:pt x="35" y="46"/>
                  <a:pt x="34" y="45"/>
                  <a:pt x="34" y="46"/>
                </a:cubicBezTo>
                <a:close/>
                <a:moveTo>
                  <a:pt x="50" y="59"/>
                </a:moveTo>
                <a:cubicBezTo>
                  <a:pt x="49" y="59"/>
                  <a:pt x="49" y="58"/>
                  <a:pt x="49" y="58"/>
                </a:cubicBezTo>
                <a:cubicBezTo>
                  <a:pt x="49" y="57"/>
                  <a:pt x="49" y="57"/>
                  <a:pt x="48" y="58"/>
                </a:cubicBezTo>
                <a:cubicBezTo>
                  <a:pt x="47" y="58"/>
                  <a:pt x="47" y="56"/>
                  <a:pt x="47" y="56"/>
                </a:cubicBezTo>
                <a:cubicBezTo>
                  <a:pt x="46" y="57"/>
                  <a:pt x="46" y="57"/>
                  <a:pt x="46" y="57"/>
                </a:cubicBezTo>
                <a:cubicBezTo>
                  <a:pt x="46" y="58"/>
                  <a:pt x="46" y="58"/>
                  <a:pt x="46" y="59"/>
                </a:cubicBezTo>
                <a:cubicBezTo>
                  <a:pt x="46" y="59"/>
                  <a:pt x="46" y="60"/>
                  <a:pt x="46" y="61"/>
                </a:cubicBezTo>
                <a:cubicBezTo>
                  <a:pt x="46" y="61"/>
                  <a:pt x="46" y="62"/>
                  <a:pt x="47" y="63"/>
                </a:cubicBezTo>
                <a:cubicBezTo>
                  <a:pt x="47" y="63"/>
                  <a:pt x="48" y="64"/>
                  <a:pt x="47" y="64"/>
                </a:cubicBezTo>
                <a:cubicBezTo>
                  <a:pt x="47" y="64"/>
                  <a:pt x="45" y="61"/>
                  <a:pt x="45" y="60"/>
                </a:cubicBezTo>
                <a:cubicBezTo>
                  <a:pt x="44" y="59"/>
                  <a:pt x="44" y="58"/>
                  <a:pt x="43" y="57"/>
                </a:cubicBezTo>
                <a:cubicBezTo>
                  <a:pt x="43" y="57"/>
                  <a:pt x="43" y="56"/>
                  <a:pt x="43" y="56"/>
                </a:cubicBezTo>
                <a:cubicBezTo>
                  <a:pt x="43" y="55"/>
                  <a:pt x="43" y="54"/>
                  <a:pt x="43" y="54"/>
                </a:cubicBezTo>
                <a:cubicBezTo>
                  <a:pt x="43" y="54"/>
                  <a:pt x="43" y="54"/>
                  <a:pt x="43" y="54"/>
                </a:cubicBezTo>
                <a:cubicBezTo>
                  <a:pt x="43" y="54"/>
                  <a:pt x="43" y="53"/>
                  <a:pt x="42" y="53"/>
                </a:cubicBezTo>
                <a:cubicBezTo>
                  <a:pt x="42" y="53"/>
                  <a:pt x="42" y="53"/>
                  <a:pt x="42" y="52"/>
                </a:cubicBezTo>
                <a:cubicBezTo>
                  <a:pt x="42" y="52"/>
                  <a:pt x="41" y="49"/>
                  <a:pt x="41" y="49"/>
                </a:cubicBezTo>
                <a:cubicBezTo>
                  <a:pt x="41" y="49"/>
                  <a:pt x="41" y="49"/>
                  <a:pt x="41" y="49"/>
                </a:cubicBezTo>
                <a:cubicBezTo>
                  <a:pt x="40" y="49"/>
                  <a:pt x="41" y="48"/>
                  <a:pt x="41" y="48"/>
                </a:cubicBezTo>
                <a:cubicBezTo>
                  <a:pt x="41" y="47"/>
                  <a:pt x="40" y="47"/>
                  <a:pt x="40" y="47"/>
                </a:cubicBezTo>
                <a:cubicBezTo>
                  <a:pt x="41" y="47"/>
                  <a:pt x="41" y="46"/>
                  <a:pt x="41" y="46"/>
                </a:cubicBezTo>
                <a:cubicBezTo>
                  <a:pt x="41" y="46"/>
                  <a:pt x="41" y="47"/>
                  <a:pt x="41" y="47"/>
                </a:cubicBezTo>
                <a:cubicBezTo>
                  <a:pt x="40" y="47"/>
                  <a:pt x="40" y="47"/>
                  <a:pt x="40" y="48"/>
                </a:cubicBezTo>
                <a:cubicBezTo>
                  <a:pt x="41" y="48"/>
                  <a:pt x="40" y="48"/>
                  <a:pt x="40" y="48"/>
                </a:cubicBezTo>
                <a:cubicBezTo>
                  <a:pt x="40" y="48"/>
                  <a:pt x="40" y="47"/>
                  <a:pt x="40" y="47"/>
                </a:cubicBezTo>
                <a:cubicBezTo>
                  <a:pt x="40" y="46"/>
                  <a:pt x="39" y="45"/>
                  <a:pt x="38" y="44"/>
                </a:cubicBezTo>
                <a:cubicBezTo>
                  <a:pt x="38" y="43"/>
                  <a:pt x="37" y="43"/>
                  <a:pt x="37" y="43"/>
                </a:cubicBezTo>
                <a:cubicBezTo>
                  <a:pt x="36" y="42"/>
                  <a:pt x="36" y="41"/>
                  <a:pt x="36" y="41"/>
                </a:cubicBezTo>
                <a:cubicBezTo>
                  <a:pt x="36" y="41"/>
                  <a:pt x="36" y="42"/>
                  <a:pt x="36" y="42"/>
                </a:cubicBezTo>
                <a:cubicBezTo>
                  <a:pt x="35" y="42"/>
                  <a:pt x="35" y="41"/>
                  <a:pt x="35" y="41"/>
                </a:cubicBezTo>
                <a:cubicBezTo>
                  <a:pt x="35" y="41"/>
                  <a:pt x="35" y="42"/>
                  <a:pt x="35" y="42"/>
                </a:cubicBezTo>
                <a:cubicBezTo>
                  <a:pt x="35" y="42"/>
                  <a:pt x="34" y="42"/>
                  <a:pt x="34" y="42"/>
                </a:cubicBezTo>
                <a:cubicBezTo>
                  <a:pt x="33" y="41"/>
                  <a:pt x="33" y="42"/>
                  <a:pt x="33" y="42"/>
                </a:cubicBezTo>
                <a:cubicBezTo>
                  <a:pt x="32" y="42"/>
                  <a:pt x="32" y="41"/>
                  <a:pt x="31" y="41"/>
                </a:cubicBezTo>
                <a:cubicBezTo>
                  <a:pt x="30" y="41"/>
                  <a:pt x="30" y="41"/>
                  <a:pt x="30" y="40"/>
                </a:cubicBezTo>
                <a:cubicBezTo>
                  <a:pt x="30" y="41"/>
                  <a:pt x="30" y="41"/>
                  <a:pt x="29" y="41"/>
                </a:cubicBezTo>
                <a:cubicBezTo>
                  <a:pt x="29" y="40"/>
                  <a:pt x="29" y="40"/>
                  <a:pt x="29" y="40"/>
                </a:cubicBezTo>
                <a:cubicBezTo>
                  <a:pt x="28" y="39"/>
                  <a:pt x="28" y="39"/>
                  <a:pt x="28" y="38"/>
                </a:cubicBezTo>
                <a:cubicBezTo>
                  <a:pt x="28" y="37"/>
                  <a:pt x="28" y="37"/>
                  <a:pt x="28" y="36"/>
                </a:cubicBezTo>
                <a:cubicBezTo>
                  <a:pt x="27" y="36"/>
                  <a:pt x="27" y="35"/>
                  <a:pt x="27" y="34"/>
                </a:cubicBezTo>
                <a:cubicBezTo>
                  <a:pt x="27" y="34"/>
                  <a:pt x="28" y="34"/>
                  <a:pt x="28" y="34"/>
                </a:cubicBezTo>
                <a:cubicBezTo>
                  <a:pt x="28" y="34"/>
                  <a:pt x="28" y="33"/>
                  <a:pt x="28" y="33"/>
                </a:cubicBezTo>
                <a:cubicBezTo>
                  <a:pt x="28" y="34"/>
                  <a:pt x="28" y="34"/>
                  <a:pt x="28" y="34"/>
                </a:cubicBezTo>
                <a:cubicBezTo>
                  <a:pt x="27" y="34"/>
                  <a:pt x="27" y="33"/>
                  <a:pt x="27" y="33"/>
                </a:cubicBezTo>
                <a:cubicBezTo>
                  <a:pt x="27" y="33"/>
                  <a:pt x="27" y="34"/>
                  <a:pt x="26" y="33"/>
                </a:cubicBezTo>
                <a:cubicBezTo>
                  <a:pt x="26" y="34"/>
                  <a:pt x="27" y="33"/>
                  <a:pt x="27" y="34"/>
                </a:cubicBezTo>
                <a:cubicBezTo>
                  <a:pt x="27" y="34"/>
                  <a:pt x="27" y="35"/>
                  <a:pt x="27" y="35"/>
                </a:cubicBezTo>
                <a:cubicBezTo>
                  <a:pt x="26" y="36"/>
                  <a:pt x="25" y="35"/>
                  <a:pt x="24" y="34"/>
                </a:cubicBezTo>
                <a:cubicBezTo>
                  <a:pt x="24" y="35"/>
                  <a:pt x="26" y="36"/>
                  <a:pt x="26" y="36"/>
                </a:cubicBezTo>
                <a:cubicBezTo>
                  <a:pt x="27" y="36"/>
                  <a:pt x="28" y="36"/>
                  <a:pt x="28" y="37"/>
                </a:cubicBezTo>
                <a:cubicBezTo>
                  <a:pt x="27" y="36"/>
                  <a:pt x="28" y="39"/>
                  <a:pt x="27" y="39"/>
                </a:cubicBezTo>
                <a:cubicBezTo>
                  <a:pt x="27" y="38"/>
                  <a:pt x="27" y="38"/>
                  <a:pt x="27" y="39"/>
                </a:cubicBezTo>
                <a:cubicBezTo>
                  <a:pt x="27" y="39"/>
                  <a:pt x="26" y="39"/>
                  <a:pt x="26" y="39"/>
                </a:cubicBezTo>
                <a:cubicBezTo>
                  <a:pt x="26" y="39"/>
                  <a:pt x="27" y="40"/>
                  <a:pt x="27" y="40"/>
                </a:cubicBezTo>
                <a:cubicBezTo>
                  <a:pt x="28" y="41"/>
                  <a:pt x="27" y="41"/>
                  <a:pt x="27" y="41"/>
                </a:cubicBezTo>
                <a:cubicBezTo>
                  <a:pt x="27" y="42"/>
                  <a:pt x="27" y="42"/>
                  <a:pt x="26" y="42"/>
                </a:cubicBezTo>
                <a:cubicBezTo>
                  <a:pt x="27" y="42"/>
                  <a:pt x="27" y="42"/>
                  <a:pt x="27" y="43"/>
                </a:cubicBezTo>
                <a:cubicBezTo>
                  <a:pt x="27" y="43"/>
                  <a:pt x="28" y="44"/>
                  <a:pt x="27" y="44"/>
                </a:cubicBezTo>
                <a:cubicBezTo>
                  <a:pt x="27" y="44"/>
                  <a:pt x="27" y="44"/>
                  <a:pt x="27" y="44"/>
                </a:cubicBezTo>
                <a:cubicBezTo>
                  <a:pt x="27" y="44"/>
                  <a:pt x="27" y="44"/>
                  <a:pt x="28" y="44"/>
                </a:cubicBezTo>
                <a:cubicBezTo>
                  <a:pt x="28" y="44"/>
                  <a:pt x="29" y="45"/>
                  <a:pt x="29" y="45"/>
                </a:cubicBezTo>
                <a:cubicBezTo>
                  <a:pt x="29" y="46"/>
                  <a:pt x="29" y="47"/>
                  <a:pt x="29" y="48"/>
                </a:cubicBezTo>
                <a:cubicBezTo>
                  <a:pt x="28" y="48"/>
                  <a:pt x="28" y="50"/>
                  <a:pt x="27" y="50"/>
                </a:cubicBezTo>
                <a:cubicBezTo>
                  <a:pt x="27" y="49"/>
                  <a:pt x="27" y="49"/>
                  <a:pt x="27" y="49"/>
                </a:cubicBezTo>
                <a:cubicBezTo>
                  <a:pt x="27" y="48"/>
                  <a:pt x="27" y="48"/>
                  <a:pt x="27" y="47"/>
                </a:cubicBezTo>
                <a:cubicBezTo>
                  <a:pt x="27" y="48"/>
                  <a:pt x="27" y="48"/>
                  <a:pt x="27" y="48"/>
                </a:cubicBezTo>
                <a:cubicBezTo>
                  <a:pt x="27" y="49"/>
                  <a:pt x="27" y="49"/>
                  <a:pt x="27" y="50"/>
                </a:cubicBezTo>
                <a:cubicBezTo>
                  <a:pt x="27" y="50"/>
                  <a:pt x="27" y="51"/>
                  <a:pt x="26" y="52"/>
                </a:cubicBezTo>
                <a:cubicBezTo>
                  <a:pt x="26" y="52"/>
                  <a:pt x="26" y="53"/>
                  <a:pt x="25" y="53"/>
                </a:cubicBezTo>
                <a:cubicBezTo>
                  <a:pt x="25" y="52"/>
                  <a:pt x="25" y="52"/>
                  <a:pt x="25" y="51"/>
                </a:cubicBezTo>
                <a:cubicBezTo>
                  <a:pt x="25" y="51"/>
                  <a:pt x="25" y="52"/>
                  <a:pt x="24" y="52"/>
                </a:cubicBezTo>
                <a:cubicBezTo>
                  <a:pt x="24" y="52"/>
                  <a:pt x="24" y="51"/>
                  <a:pt x="24" y="51"/>
                </a:cubicBezTo>
                <a:cubicBezTo>
                  <a:pt x="24" y="51"/>
                  <a:pt x="24" y="50"/>
                  <a:pt x="25" y="50"/>
                </a:cubicBezTo>
                <a:cubicBezTo>
                  <a:pt x="25" y="49"/>
                  <a:pt x="26" y="49"/>
                  <a:pt x="26" y="48"/>
                </a:cubicBezTo>
                <a:cubicBezTo>
                  <a:pt x="25" y="49"/>
                  <a:pt x="26" y="49"/>
                  <a:pt x="25" y="49"/>
                </a:cubicBezTo>
                <a:cubicBezTo>
                  <a:pt x="25" y="49"/>
                  <a:pt x="25" y="50"/>
                  <a:pt x="24" y="50"/>
                </a:cubicBezTo>
                <a:cubicBezTo>
                  <a:pt x="24" y="51"/>
                  <a:pt x="24" y="51"/>
                  <a:pt x="24" y="50"/>
                </a:cubicBezTo>
                <a:cubicBezTo>
                  <a:pt x="24" y="50"/>
                  <a:pt x="24" y="49"/>
                  <a:pt x="24" y="49"/>
                </a:cubicBezTo>
                <a:cubicBezTo>
                  <a:pt x="24" y="49"/>
                  <a:pt x="23" y="50"/>
                  <a:pt x="23" y="50"/>
                </a:cubicBezTo>
                <a:cubicBezTo>
                  <a:pt x="23" y="50"/>
                  <a:pt x="24" y="51"/>
                  <a:pt x="23" y="51"/>
                </a:cubicBezTo>
                <a:cubicBezTo>
                  <a:pt x="23" y="51"/>
                  <a:pt x="23" y="50"/>
                  <a:pt x="23" y="50"/>
                </a:cubicBezTo>
                <a:cubicBezTo>
                  <a:pt x="23" y="50"/>
                  <a:pt x="23" y="50"/>
                  <a:pt x="23" y="49"/>
                </a:cubicBezTo>
                <a:cubicBezTo>
                  <a:pt x="23" y="49"/>
                  <a:pt x="22" y="48"/>
                  <a:pt x="22" y="48"/>
                </a:cubicBezTo>
                <a:cubicBezTo>
                  <a:pt x="22" y="47"/>
                  <a:pt x="23" y="46"/>
                  <a:pt x="23" y="45"/>
                </a:cubicBezTo>
                <a:cubicBezTo>
                  <a:pt x="23" y="45"/>
                  <a:pt x="22" y="46"/>
                  <a:pt x="22" y="46"/>
                </a:cubicBezTo>
                <a:cubicBezTo>
                  <a:pt x="22" y="47"/>
                  <a:pt x="22" y="48"/>
                  <a:pt x="22" y="49"/>
                </a:cubicBezTo>
                <a:cubicBezTo>
                  <a:pt x="22" y="49"/>
                  <a:pt x="22" y="50"/>
                  <a:pt x="22" y="50"/>
                </a:cubicBezTo>
                <a:cubicBezTo>
                  <a:pt x="22" y="50"/>
                  <a:pt x="22" y="51"/>
                  <a:pt x="23" y="51"/>
                </a:cubicBezTo>
                <a:cubicBezTo>
                  <a:pt x="23" y="52"/>
                  <a:pt x="22" y="53"/>
                  <a:pt x="22" y="52"/>
                </a:cubicBezTo>
                <a:cubicBezTo>
                  <a:pt x="21" y="53"/>
                  <a:pt x="20" y="51"/>
                  <a:pt x="20" y="51"/>
                </a:cubicBezTo>
                <a:cubicBezTo>
                  <a:pt x="19" y="52"/>
                  <a:pt x="22" y="53"/>
                  <a:pt x="21" y="53"/>
                </a:cubicBezTo>
                <a:cubicBezTo>
                  <a:pt x="21" y="53"/>
                  <a:pt x="20" y="53"/>
                  <a:pt x="20" y="53"/>
                </a:cubicBezTo>
                <a:cubicBezTo>
                  <a:pt x="20" y="53"/>
                  <a:pt x="20" y="53"/>
                  <a:pt x="20" y="53"/>
                </a:cubicBezTo>
                <a:cubicBezTo>
                  <a:pt x="20" y="54"/>
                  <a:pt x="20" y="54"/>
                  <a:pt x="20" y="54"/>
                </a:cubicBezTo>
                <a:cubicBezTo>
                  <a:pt x="19" y="53"/>
                  <a:pt x="19" y="53"/>
                  <a:pt x="19" y="52"/>
                </a:cubicBezTo>
                <a:cubicBezTo>
                  <a:pt x="19" y="52"/>
                  <a:pt x="20" y="52"/>
                  <a:pt x="20" y="51"/>
                </a:cubicBezTo>
                <a:cubicBezTo>
                  <a:pt x="20" y="51"/>
                  <a:pt x="19" y="51"/>
                  <a:pt x="19" y="51"/>
                </a:cubicBezTo>
                <a:cubicBezTo>
                  <a:pt x="20" y="50"/>
                  <a:pt x="20" y="49"/>
                  <a:pt x="19" y="49"/>
                </a:cubicBezTo>
                <a:cubicBezTo>
                  <a:pt x="19" y="48"/>
                  <a:pt x="20" y="47"/>
                  <a:pt x="20" y="47"/>
                </a:cubicBezTo>
                <a:cubicBezTo>
                  <a:pt x="19" y="47"/>
                  <a:pt x="19" y="48"/>
                  <a:pt x="19" y="49"/>
                </a:cubicBezTo>
                <a:cubicBezTo>
                  <a:pt x="19" y="49"/>
                  <a:pt x="20" y="51"/>
                  <a:pt x="19" y="51"/>
                </a:cubicBezTo>
                <a:cubicBezTo>
                  <a:pt x="19" y="51"/>
                  <a:pt x="19" y="50"/>
                  <a:pt x="19" y="49"/>
                </a:cubicBezTo>
                <a:cubicBezTo>
                  <a:pt x="19" y="49"/>
                  <a:pt x="19" y="49"/>
                  <a:pt x="19" y="48"/>
                </a:cubicBezTo>
                <a:cubicBezTo>
                  <a:pt x="19" y="48"/>
                  <a:pt x="19" y="48"/>
                  <a:pt x="18" y="47"/>
                </a:cubicBezTo>
                <a:cubicBezTo>
                  <a:pt x="18" y="48"/>
                  <a:pt x="18" y="49"/>
                  <a:pt x="19" y="49"/>
                </a:cubicBezTo>
                <a:cubicBezTo>
                  <a:pt x="19" y="49"/>
                  <a:pt x="19" y="49"/>
                  <a:pt x="19" y="50"/>
                </a:cubicBezTo>
                <a:cubicBezTo>
                  <a:pt x="19" y="50"/>
                  <a:pt x="19" y="50"/>
                  <a:pt x="19" y="51"/>
                </a:cubicBezTo>
                <a:cubicBezTo>
                  <a:pt x="19" y="52"/>
                  <a:pt x="19" y="52"/>
                  <a:pt x="19" y="53"/>
                </a:cubicBezTo>
                <a:cubicBezTo>
                  <a:pt x="19" y="53"/>
                  <a:pt x="18" y="54"/>
                  <a:pt x="18" y="53"/>
                </a:cubicBezTo>
                <a:cubicBezTo>
                  <a:pt x="17" y="53"/>
                  <a:pt x="18" y="52"/>
                  <a:pt x="18" y="51"/>
                </a:cubicBezTo>
                <a:cubicBezTo>
                  <a:pt x="17" y="51"/>
                  <a:pt x="18" y="51"/>
                  <a:pt x="18" y="52"/>
                </a:cubicBezTo>
                <a:cubicBezTo>
                  <a:pt x="18" y="52"/>
                  <a:pt x="17" y="52"/>
                  <a:pt x="17" y="52"/>
                </a:cubicBezTo>
                <a:cubicBezTo>
                  <a:pt x="17" y="53"/>
                  <a:pt x="17" y="53"/>
                  <a:pt x="17" y="54"/>
                </a:cubicBezTo>
                <a:cubicBezTo>
                  <a:pt x="17" y="54"/>
                  <a:pt x="17" y="55"/>
                  <a:pt x="17" y="54"/>
                </a:cubicBezTo>
                <a:cubicBezTo>
                  <a:pt x="16" y="54"/>
                  <a:pt x="17" y="53"/>
                  <a:pt x="16" y="53"/>
                </a:cubicBezTo>
                <a:cubicBezTo>
                  <a:pt x="16" y="53"/>
                  <a:pt x="15" y="52"/>
                  <a:pt x="15" y="52"/>
                </a:cubicBezTo>
                <a:cubicBezTo>
                  <a:pt x="15" y="51"/>
                  <a:pt x="15" y="51"/>
                  <a:pt x="15" y="50"/>
                </a:cubicBezTo>
                <a:cubicBezTo>
                  <a:pt x="15" y="50"/>
                  <a:pt x="15" y="50"/>
                  <a:pt x="15" y="50"/>
                </a:cubicBezTo>
                <a:cubicBezTo>
                  <a:pt x="15" y="49"/>
                  <a:pt x="15" y="49"/>
                  <a:pt x="15" y="49"/>
                </a:cubicBezTo>
                <a:cubicBezTo>
                  <a:pt x="15" y="48"/>
                  <a:pt x="14" y="48"/>
                  <a:pt x="14" y="47"/>
                </a:cubicBezTo>
                <a:cubicBezTo>
                  <a:pt x="13" y="46"/>
                  <a:pt x="14" y="45"/>
                  <a:pt x="13" y="44"/>
                </a:cubicBezTo>
                <a:cubicBezTo>
                  <a:pt x="13" y="44"/>
                  <a:pt x="13" y="43"/>
                  <a:pt x="13" y="43"/>
                </a:cubicBezTo>
                <a:cubicBezTo>
                  <a:pt x="13" y="42"/>
                  <a:pt x="13" y="41"/>
                  <a:pt x="12" y="41"/>
                </a:cubicBezTo>
                <a:cubicBezTo>
                  <a:pt x="12" y="40"/>
                  <a:pt x="11" y="40"/>
                  <a:pt x="11" y="39"/>
                </a:cubicBezTo>
                <a:cubicBezTo>
                  <a:pt x="11" y="38"/>
                  <a:pt x="12" y="37"/>
                  <a:pt x="12" y="37"/>
                </a:cubicBezTo>
                <a:cubicBezTo>
                  <a:pt x="12" y="37"/>
                  <a:pt x="11" y="37"/>
                  <a:pt x="11" y="37"/>
                </a:cubicBezTo>
                <a:cubicBezTo>
                  <a:pt x="11" y="37"/>
                  <a:pt x="10" y="37"/>
                  <a:pt x="10" y="36"/>
                </a:cubicBezTo>
                <a:cubicBezTo>
                  <a:pt x="10" y="36"/>
                  <a:pt x="10" y="35"/>
                  <a:pt x="10" y="35"/>
                </a:cubicBezTo>
                <a:cubicBezTo>
                  <a:pt x="10" y="35"/>
                  <a:pt x="10" y="34"/>
                  <a:pt x="10" y="34"/>
                </a:cubicBezTo>
                <a:cubicBezTo>
                  <a:pt x="10" y="34"/>
                  <a:pt x="10" y="34"/>
                  <a:pt x="9" y="34"/>
                </a:cubicBezTo>
                <a:cubicBezTo>
                  <a:pt x="9" y="34"/>
                  <a:pt x="8" y="33"/>
                  <a:pt x="8" y="32"/>
                </a:cubicBezTo>
                <a:cubicBezTo>
                  <a:pt x="8" y="31"/>
                  <a:pt x="7" y="30"/>
                  <a:pt x="8" y="30"/>
                </a:cubicBezTo>
                <a:cubicBezTo>
                  <a:pt x="9" y="30"/>
                  <a:pt x="9" y="29"/>
                  <a:pt x="9" y="29"/>
                </a:cubicBezTo>
                <a:cubicBezTo>
                  <a:pt x="9" y="29"/>
                  <a:pt x="9" y="29"/>
                  <a:pt x="9" y="28"/>
                </a:cubicBezTo>
                <a:cubicBezTo>
                  <a:pt x="9" y="28"/>
                  <a:pt x="9" y="28"/>
                  <a:pt x="9" y="28"/>
                </a:cubicBezTo>
                <a:cubicBezTo>
                  <a:pt x="9" y="28"/>
                  <a:pt x="8" y="27"/>
                  <a:pt x="8" y="27"/>
                </a:cubicBezTo>
                <a:cubicBezTo>
                  <a:pt x="8" y="26"/>
                  <a:pt x="9" y="26"/>
                  <a:pt x="9" y="26"/>
                </a:cubicBezTo>
                <a:cubicBezTo>
                  <a:pt x="9" y="26"/>
                  <a:pt x="8" y="26"/>
                  <a:pt x="8" y="25"/>
                </a:cubicBezTo>
                <a:cubicBezTo>
                  <a:pt x="8" y="25"/>
                  <a:pt x="6" y="25"/>
                  <a:pt x="6" y="25"/>
                </a:cubicBezTo>
                <a:cubicBezTo>
                  <a:pt x="5" y="24"/>
                  <a:pt x="4" y="24"/>
                  <a:pt x="3" y="23"/>
                </a:cubicBezTo>
                <a:cubicBezTo>
                  <a:pt x="3" y="23"/>
                  <a:pt x="2" y="23"/>
                  <a:pt x="2" y="22"/>
                </a:cubicBezTo>
                <a:cubicBezTo>
                  <a:pt x="2" y="21"/>
                  <a:pt x="1" y="21"/>
                  <a:pt x="2" y="20"/>
                </a:cubicBezTo>
                <a:cubicBezTo>
                  <a:pt x="2" y="20"/>
                  <a:pt x="2" y="19"/>
                  <a:pt x="2" y="19"/>
                </a:cubicBezTo>
                <a:cubicBezTo>
                  <a:pt x="2" y="19"/>
                  <a:pt x="2" y="19"/>
                  <a:pt x="2" y="18"/>
                </a:cubicBezTo>
                <a:cubicBezTo>
                  <a:pt x="2" y="17"/>
                  <a:pt x="3" y="19"/>
                  <a:pt x="3" y="19"/>
                </a:cubicBezTo>
                <a:cubicBezTo>
                  <a:pt x="4" y="19"/>
                  <a:pt x="4" y="17"/>
                  <a:pt x="4" y="17"/>
                </a:cubicBezTo>
                <a:cubicBezTo>
                  <a:pt x="4" y="17"/>
                  <a:pt x="4" y="15"/>
                  <a:pt x="5" y="15"/>
                </a:cubicBezTo>
                <a:cubicBezTo>
                  <a:pt x="5" y="15"/>
                  <a:pt x="5" y="16"/>
                  <a:pt x="6" y="15"/>
                </a:cubicBezTo>
                <a:cubicBezTo>
                  <a:pt x="6" y="15"/>
                  <a:pt x="7" y="15"/>
                  <a:pt x="7" y="16"/>
                </a:cubicBezTo>
                <a:cubicBezTo>
                  <a:pt x="7" y="16"/>
                  <a:pt x="8" y="16"/>
                  <a:pt x="8" y="15"/>
                </a:cubicBezTo>
                <a:cubicBezTo>
                  <a:pt x="8" y="15"/>
                  <a:pt x="9" y="16"/>
                  <a:pt x="9" y="16"/>
                </a:cubicBezTo>
                <a:cubicBezTo>
                  <a:pt x="9" y="15"/>
                  <a:pt x="10" y="14"/>
                  <a:pt x="9" y="14"/>
                </a:cubicBezTo>
                <a:cubicBezTo>
                  <a:pt x="8" y="14"/>
                  <a:pt x="8" y="14"/>
                  <a:pt x="8" y="13"/>
                </a:cubicBezTo>
                <a:cubicBezTo>
                  <a:pt x="7" y="13"/>
                  <a:pt x="8" y="12"/>
                  <a:pt x="7" y="12"/>
                </a:cubicBezTo>
                <a:cubicBezTo>
                  <a:pt x="6" y="12"/>
                  <a:pt x="6" y="13"/>
                  <a:pt x="6" y="12"/>
                </a:cubicBezTo>
                <a:cubicBezTo>
                  <a:pt x="5" y="12"/>
                  <a:pt x="5" y="12"/>
                  <a:pt x="4" y="12"/>
                </a:cubicBezTo>
                <a:cubicBezTo>
                  <a:pt x="4" y="11"/>
                  <a:pt x="4" y="11"/>
                  <a:pt x="3" y="10"/>
                </a:cubicBezTo>
                <a:cubicBezTo>
                  <a:pt x="3" y="10"/>
                  <a:pt x="2" y="8"/>
                  <a:pt x="1" y="9"/>
                </a:cubicBezTo>
                <a:cubicBezTo>
                  <a:pt x="0" y="9"/>
                  <a:pt x="0" y="9"/>
                  <a:pt x="0" y="8"/>
                </a:cubicBezTo>
                <a:cubicBezTo>
                  <a:pt x="0" y="7"/>
                  <a:pt x="0" y="6"/>
                  <a:pt x="0" y="6"/>
                </a:cubicBezTo>
                <a:cubicBezTo>
                  <a:pt x="0" y="6"/>
                  <a:pt x="0" y="5"/>
                  <a:pt x="0" y="5"/>
                </a:cubicBezTo>
                <a:cubicBezTo>
                  <a:pt x="0" y="5"/>
                  <a:pt x="1" y="4"/>
                  <a:pt x="1" y="4"/>
                </a:cubicBezTo>
                <a:cubicBezTo>
                  <a:pt x="1" y="4"/>
                  <a:pt x="1" y="4"/>
                  <a:pt x="2" y="3"/>
                </a:cubicBezTo>
                <a:cubicBezTo>
                  <a:pt x="2" y="3"/>
                  <a:pt x="2" y="3"/>
                  <a:pt x="3" y="3"/>
                </a:cubicBezTo>
                <a:cubicBezTo>
                  <a:pt x="3" y="2"/>
                  <a:pt x="3" y="2"/>
                  <a:pt x="3" y="2"/>
                </a:cubicBezTo>
                <a:cubicBezTo>
                  <a:pt x="2" y="2"/>
                  <a:pt x="2" y="1"/>
                  <a:pt x="2" y="1"/>
                </a:cubicBezTo>
                <a:cubicBezTo>
                  <a:pt x="1" y="1"/>
                  <a:pt x="1" y="1"/>
                  <a:pt x="1" y="1"/>
                </a:cubicBezTo>
                <a:cubicBezTo>
                  <a:pt x="1" y="1"/>
                  <a:pt x="1" y="0"/>
                  <a:pt x="1" y="0"/>
                </a:cubicBezTo>
                <a:cubicBezTo>
                  <a:pt x="2" y="0"/>
                  <a:pt x="2" y="0"/>
                  <a:pt x="2" y="1"/>
                </a:cubicBezTo>
                <a:cubicBezTo>
                  <a:pt x="3" y="1"/>
                  <a:pt x="3" y="1"/>
                  <a:pt x="4" y="2"/>
                </a:cubicBezTo>
                <a:cubicBezTo>
                  <a:pt x="4" y="2"/>
                  <a:pt x="4" y="2"/>
                  <a:pt x="5" y="3"/>
                </a:cubicBezTo>
                <a:cubicBezTo>
                  <a:pt x="5" y="3"/>
                  <a:pt x="4" y="4"/>
                  <a:pt x="4" y="4"/>
                </a:cubicBezTo>
                <a:cubicBezTo>
                  <a:pt x="5" y="4"/>
                  <a:pt x="5" y="3"/>
                  <a:pt x="5" y="3"/>
                </a:cubicBezTo>
                <a:cubicBezTo>
                  <a:pt x="6" y="3"/>
                  <a:pt x="6" y="4"/>
                  <a:pt x="6" y="4"/>
                </a:cubicBezTo>
                <a:cubicBezTo>
                  <a:pt x="6" y="3"/>
                  <a:pt x="7" y="4"/>
                  <a:pt x="7" y="4"/>
                </a:cubicBezTo>
                <a:cubicBezTo>
                  <a:pt x="7" y="4"/>
                  <a:pt x="8" y="4"/>
                  <a:pt x="8" y="4"/>
                </a:cubicBezTo>
                <a:cubicBezTo>
                  <a:pt x="8" y="3"/>
                  <a:pt x="6" y="2"/>
                  <a:pt x="7" y="2"/>
                </a:cubicBezTo>
                <a:cubicBezTo>
                  <a:pt x="7" y="1"/>
                  <a:pt x="9" y="3"/>
                  <a:pt x="9" y="3"/>
                </a:cubicBezTo>
                <a:cubicBezTo>
                  <a:pt x="8" y="3"/>
                  <a:pt x="8" y="3"/>
                  <a:pt x="8" y="3"/>
                </a:cubicBezTo>
                <a:cubicBezTo>
                  <a:pt x="8" y="4"/>
                  <a:pt x="9" y="5"/>
                  <a:pt x="10" y="5"/>
                </a:cubicBezTo>
                <a:cubicBezTo>
                  <a:pt x="10" y="5"/>
                  <a:pt x="10" y="6"/>
                  <a:pt x="11" y="6"/>
                </a:cubicBezTo>
                <a:cubicBezTo>
                  <a:pt x="11" y="6"/>
                  <a:pt x="12" y="6"/>
                  <a:pt x="12" y="6"/>
                </a:cubicBezTo>
                <a:cubicBezTo>
                  <a:pt x="12" y="7"/>
                  <a:pt x="13" y="6"/>
                  <a:pt x="13" y="7"/>
                </a:cubicBezTo>
                <a:cubicBezTo>
                  <a:pt x="13" y="7"/>
                  <a:pt x="13" y="7"/>
                  <a:pt x="13" y="6"/>
                </a:cubicBezTo>
                <a:cubicBezTo>
                  <a:pt x="13" y="6"/>
                  <a:pt x="14" y="6"/>
                  <a:pt x="14" y="6"/>
                </a:cubicBezTo>
                <a:cubicBezTo>
                  <a:pt x="13" y="5"/>
                  <a:pt x="13" y="5"/>
                  <a:pt x="14" y="5"/>
                </a:cubicBezTo>
                <a:cubicBezTo>
                  <a:pt x="13" y="5"/>
                  <a:pt x="14" y="5"/>
                  <a:pt x="14" y="5"/>
                </a:cubicBezTo>
                <a:cubicBezTo>
                  <a:pt x="14" y="4"/>
                  <a:pt x="13" y="4"/>
                  <a:pt x="14" y="4"/>
                </a:cubicBezTo>
                <a:cubicBezTo>
                  <a:pt x="14" y="4"/>
                  <a:pt x="14" y="5"/>
                  <a:pt x="14" y="5"/>
                </a:cubicBezTo>
                <a:cubicBezTo>
                  <a:pt x="14" y="5"/>
                  <a:pt x="15" y="5"/>
                  <a:pt x="15" y="5"/>
                </a:cubicBezTo>
                <a:cubicBezTo>
                  <a:pt x="15" y="5"/>
                  <a:pt x="15" y="6"/>
                  <a:pt x="16" y="7"/>
                </a:cubicBezTo>
                <a:cubicBezTo>
                  <a:pt x="16" y="7"/>
                  <a:pt x="16" y="7"/>
                  <a:pt x="16" y="7"/>
                </a:cubicBezTo>
                <a:cubicBezTo>
                  <a:pt x="16" y="7"/>
                  <a:pt x="16" y="7"/>
                  <a:pt x="16" y="7"/>
                </a:cubicBezTo>
                <a:cubicBezTo>
                  <a:pt x="16" y="7"/>
                  <a:pt x="16" y="7"/>
                  <a:pt x="16" y="7"/>
                </a:cubicBezTo>
                <a:cubicBezTo>
                  <a:pt x="16" y="8"/>
                  <a:pt x="16" y="8"/>
                  <a:pt x="16" y="9"/>
                </a:cubicBezTo>
                <a:cubicBezTo>
                  <a:pt x="16" y="10"/>
                  <a:pt x="17" y="11"/>
                  <a:pt x="17" y="12"/>
                </a:cubicBezTo>
                <a:cubicBezTo>
                  <a:pt x="17" y="13"/>
                  <a:pt x="17" y="14"/>
                  <a:pt x="18" y="14"/>
                </a:cubicBezTo>
                <a:cubicBezTo>
                  <a:pt x="18" y="14"/>
                  <a:pt x="18" y="14"/>
                  <a:pt x="19" y="15"/>
                </a:cubicBezTo>
                <a:cubicBezTo>
                  <a:pt x="19" y="15"/>
                  <a:pt x="20" y="15"/>
                  <a:pt x="20" y="15"/>
                </a:cubicBezTo>
                <a:cubicBezTo>
                  <a:pt x="21" y="15"/>
                  <a:pt x="22" y="16"/>
                  <a:pt x="23" y="16"/>
                </a:cubicBezTo>
                <a:cubicBezTo>
                  <a:pt x="24" y="16"/>
                  <a:pt x="25" y="16"/>
                  <a:pt x="25" y="16"/>
                </a:cubicBezTo>
                <a:cubicBezTo>
                  <a:pt x="26" y="16"/>
                  <a:pt x="26" y="16"/>
                  <a:pt x="26" y="16"/>
                </a:cubicBezTo>
                <a:cubicBezTo>
                  <a:pt x="26" y="16"/>
                  <a:pt x="27" y="16"/>
                  <a:pt x="27" y="16"/>
                </a:cubicBezTo>
                <a:cubicBezTo>
                  <a:pt x="27" y="16"/>
                  <a:pt x="28" y="16"/>
                  <a:pt x="28" y="16"/>
                </a:cubicBezTo>
                <a:cubicBezTo>
                  <a:pt x="29" y="15"/>
                  <a:pt x="30" y="15"/>
                  <a:pt x="30" y="15"/>
                </a:cubicBezTo>
                <a:cubicBezTo>
                  <a:pt x="31" y="15"/>
                  <a:pt x="32" y="16"/>
                  <a:pt x="33" y="16"/>
                </a:cubicBezTo>
                <a:cubicBezTo>
                  <a:pt x="34" y="16"/>
                  <a:pt x="34" y="16"/>
                  <a:pt x="34" y="16"/>
                </a:cubicBezTo>
                <a:cubicBezTo>
                  <a:pt x="34" y="16"/>
                  <a:pt x="35" y="16"/>
                  <a:pt x="36" y="16"/>
                </a:cubicBezTo>
                <a:cubicBezTo>
                  <a:pt x="37" y="16"/>
                  <a:pt x="38" y="15"/>
                  <a:pt x="39" y="16"/>
                </a:cubicBezTo>
                <a:cubicBezTo>
                  <a:pt x="40" y="16"/>
                  <a:pt x="42" y="17"/>
                  <a:pt x="42" y="18"/>
                </a:cubicBezTo>
                <a:cubicBezTo>
                  <a:pt x="42" y="18"/>
                  <a:pt x="43" y="18"/>
                  <a:pt x="43" y="18"/>
                </a:cubicBezTo>
                <a:cubicBezTo>
                  <a:pt x="43" y="19"/>
                  <a:pt x="43" y="19"/>
                  <a:pt x="42" y="19"/>
                </a:cubicBezTo>
                <a:cubicBezTo>
                  <a:pt x="42" y="19"/>
                  <a:pt x="40" y="18"/>
                  <a:pt x="41" y="19"/>
                </a:cubicBezTo>
                <a:cubicBezTo>
                  <a:pt x="41" y="20"/>
                  <a:pt x="41" y="21"/>
                  <a:pt x="41" y="22"/>
                </a:cubicBezTo>
                <a:cubicBezTo>
                  <a:pt x="40" y="23"/>
                  <a:pt x="40" y="23"/>
                  <a:pt x="40" y="23"/>
                </a:cubicBezTo>
                <a:cubicBezTo>
                  <a:pt x="40" y="24"/>
                  <a:pt x="40" y="24"/>
                  <a:pt x="40" y="24"/>
                </a:cubicBezTo>
                <a:cubicBezTo>
                  <a:pt x="40" y="24"/>
                  <a:pt x="39" y="24"/>
                  <a:pt x="39" y="25"/>
                </a:cubicBezTo>
                <a:cubicBezTo>
                  <a:pt x="39" y="25"/>
                  <a:pt x="39" y="25"/>
                  <a:pt x="39" y="25"/>
                </a:cubicBezTo>
                <a:cubicBezTo>
                  <a:pt x="39" y="25"/>
                  <a:pt x="39" y="25"/>
                  <a:pt x="38" y="25"/>
                </a:cubicBezTo>
                <a:cubicBezTo>
                  <a:pt x="38" y="25"/>
                  <a:pt x="39" y="25"/>
                  <a:pt x="39" y="26"/>
                </a:cubicBezTo>
                <a:cubicBezTo>
                  <a:pt x="39" y="26"/>
                  <a:pt x="38" y="27"/>
                  <a:pt x="38" y="26"/>
                </a:cubicBezTo>
                <a:cubicBezTo>
                  <a:pt x="37" y="26"/>
                  <a:pt x="37" y="26"/>
                  <a:pt x="37" y="26"/>
                </a:cubicBezTo>
                <a:cubicBezTo>
                  <a:pt x="37" y="27"/>
                  <a:pt x="36" y="26"/>
                  <a:pt x="36" y="26"/>
                </a:cubicBezTo>
                <a:cubicBezTo>
                  <a:pt x="36" y="26"/>
                  <a:pt x="36" y="27"/>
                  <a:pt x="36" y="27"/>
                </a:cubicBezTo>
                <a:cubicBezTo>
                  <a:pt x="36" y="28"/>
                  <a:pt x="35" y="28"/>
                  <a:pt x="35" y="27"/>
                </a:cubicBezTo>
                <a:cubicBezTo>
                  <a:pt x="33" y="27"/>
                  <a:pt x="34" y="29"/>
                  <a:pt x="33" y="29"/>
                </a:cubicBezTo>
                <a:cubicBezTo>
                  <a:pt x="32" y="29"/>
                  <a:pt x="33" y="30"/>
                  <a:pt x="33" y="31"/>
                </a:cubicBezTo>
                <a:cubicBezTo>
                  <a:pt x="32" y="31"/>
                  <a:pt x="32" y="31"/>
                  <a:pt x="32" y="32"/>
                </a:cubicBezTo>
                <a:cubicBezTo>
                  <a:pt x="32" y="32"/>
                  <a:pt x="33" y="32"/>
                  <a:pt x="32" y="32"/>
                </a:cubicBezTo>
                <a:cubicBezTo>
                  <a:pt x="32" y="33"/>
                  <a:pt x="33" y="34"/>
                  <a:pt x="33" y="34"/>
                </a:cubicBezTo>
                <a:cubicBezTo>
                  <a:pt x="33" y="34"/>
                  <a:pt x="34" y="35"/>
                  <a:pt x="34" y="36"/>
                </a:cubicBezTo>
                <a:cubicBezTo>
                  <a:pt x="34" y="36"/>
                  <a:pt x="34" y="37"/>
                  <a:pt x="35" y="38"/>
                </a:cubicBezTo>
                <a:cubicBezTo>
                  <a:pt x="35" y="38"/>
                  <a:pt x="35" y="39"/>
                  <a:pt x="35" y="39"/>
                </a:cubicBezTo>
                <a:cubicBezTo>
                  <a:pt x="35" y="38"/>
                  <a:pt x="35" y="38"/>
                  <a:pt x="35" y="37"/>
                </a:cubicBezTo>
                <a:cubicBezTo>
                  <a:pt x="35" y="37"/>
                  <a:pt x="35" y="36"/>
                  <a:pt x="36" y="37"/>
                </a:cubicBezTo>
                <a:cubicBezTo>
                  <a:pt x="36" y="37"/>
                  <a:pt x="36" y="38"/>
                  <a:pt x="36" y="38"/>
                </a:cubicBezTo>
                <a:cubicBezTo>
                  <a:pt x="37" y="39"/>
                  <a:pt x="37" y="39"/>
                  <a:pt x="37" y="39"/>
                </a:cubicBezTo>
                <a:cubicBezTo>
                  <a:pt x="37" y="40"/>
                  <a:pt x="37" y="40"/>
                  <a:pt x="38" y="40"/>
                </a:cubicBezTo>
                <a:cubicBezTo>
                  <a:pt x="38" y="40"/>
                  <a:pt x="38" y="40"/>
                  <a:pt x="38" y="40"/>
                </a:cubicBezTo>
                <a:cubicBezTo>
                  <a:pt x="39" y="40"/>
                  <a:pt x="39" y="39"/>
                  <a:pt x="39" y="39"/>
                </a:cubicBezTo>
                <a:cubicBezTo>
                  <a:pt x="39" y="38"/>
                  <a:pt x="39" y="37"/>
                  <a:pt x="39" y="37"/>
                </a:cubicBezTo>
                <a:cubicBezTo>
                  <a:pt x="38" y="35"/>
                  <a:pt x="40" y="35"/>
                  <a:pt x="40" y="34"/>
                </a:cubicBezTo>
                <a:cubicBezTo>
                  <a:pt x="40" y="33"/>
                  <a:pt x="39" y="32"/>
                  <a:pt x="40" y="32"/>
                </a:cubicBezTo>
                <a:cubicBezTo>
                  <a:pt x="40" y="31"/>
                  <a:pt x="40" y="32"/>
                  <a:pt x="40" y="32"/>
                </a:cubicBezTo>
                <a:cubicBezTo>
                  <a:pt x="41" y="33"/>
                  <a:pt x="41" y="32"/>
                  <a:pt x="41" y="32"/>
                </a:cubicBezTo>
                <a:cubicBezTo>
                  <a:pt x="42" y="31"/>
                  <a:pt x="42" y="33"/>
                  <a:pt x="42" y="32"/>
                </a:cubicBezTo>
                <a:cubicBezTo>
                  <a:pt x="43" y="31"/>
                  <a:pt x="43" y="33"/>
                  <a:pt x="43" y="33"/>
                </a:cubicBezTo>
                <a:cubicBezTo>
                  <a:pt x="43" y="34"/>
                  <a:pt x="44" y="35"/>
                  <a:pt x="44" y="35"/>
                </a:cubicBezTo>
                <a:cubicBezTo>
                  <a:pt x="44" y="36"/>
                  <a:pt x="44" y="36"/>
                  <a:pt x="44" y="37"/>
                </a:cubicBezTo>
                <a:cubicBezTo>
                  <a:pt x="44" y="38"/>
                  <a:pt x="45" y="38"/>
                  <a:pt x="45" y="39"/>
                </a:cubicBezTo>
                <a:cubicBezTo>
                  <a:pt x="45" y="39"/>
                  <a:pt x="45" y="40"/>
                  <a:pt x="45" y="40"/>
                </a:cubicBezTo>
                <a:cubicBezTo>
                  <a:pt x="45" y="41"/>
                  <a:pt x="46" y="41"/>
                  <a:pt x="46" y="41"/>
                </a:cubicBezTo>
                <a:cubicBezTo>
                  <a:pt x="46" y="42"/>
                  <a:pt x="46" y="42"/>
                  <a:pt x="46" y="43"/>
                </a:cubicBezTo>
                <a:cubicBezTo>
                  <a:pt x="47" y="43"/>
                  <a:pt x="47" y="43"/>
                  <a:pt x="47" y="44"/>
                </a:cubicBezTo>
                <a:cubicBezTo>
                  <a:pt x="47" y="45"/>
                  <a:pt x="47" y="45"/>
                  <a:pt x="47" y="46"/>
                </a:cubicBezTo>
                <a:cubicBezTo>
                  <a:pt x="48" y="47"/>
                  <a:pt x="48" y="47"/>
                  <a:pt x="48" y="48"/>
                </a:cubicBezTo>
                <a:cubicBezTo>
                  <a:pt x="48" y="48"/>
                  <a:pt x="48" y="48"/>
                  <a:pt x="48" y="49"/>
                </a:cubicBezTo>
                <a:cubicBezTo>
                  <a:pt x="48" y="49"/>
                  <a:pt x="48" y="49"/>
                  <a:pt x="48" y="49"/>
                </a:cubicBezTo>
                <a:cubicBezTo>
                  <a:pt x="48" y="50"/>
                  <a:pt x="49" y="51"/>
                  <a:pt x="49" y="53"/>
                </a:cubicBezTo>
                <a:cubicBezTo>
                  <a:pt x="49" y="54"/>
                  <a:pt x="49" y="55"/>
                  <a:pt x="49" y="57"/>
                </a:cubicBezTo>
                <a:cubicBezTo>
                  <a:pt x="49" y="57"/>
                  <a:pt x="50" y="58"/>
                  <a:pt x="50" y="59"/>
                </a:cubicBezTo>
                <a:close/>
                <a:moveTo>
                  <a:pt x="27" y="45"/>
                </a:moveTo>
                <a:cubicBezTo>
                  <a:pt x="27" y="45"/>
                  <a:pt x="27" y="44"/>
                  <a:pt x="27" y="44"/>
                </a:cubicBezTo>
                <a:cubicBezTo>
                  <a:pt x="27" y="44"/>
                  <a:pt x="27" y="45"/>
                  <a:pt x="27" y="45"/>
                </a:cubicBezTo>
                <a:close/>
                <a:moveTo>
                  <a:pt x="41" y="52"/>
                </a:moveTo>
                <a:cubicBezTo>
                  <a:pt x="41" y="52"/>
                  <a:pt x="41" y="53"/>
                  <a:pt x="41" y="53"/>
                </a:cubicBezTo>
                <a:cubicBezTo>
                  <a:pt x="41" y="54"/>
                  <a:pt x="42" y="52"/>
                  <a:pt x="42" y="51"/>
                </a:cubicBezTo>
                <a:cubicBezTo>
                  <a:pt x="41" y="51"/>
                  <a:pt x="41" y="52"/>
                  <a:pt x="41" y="52"/>
                </a:cubicBezTo>
                <a:close/>
                <a:moveTo>
                  <a:pt x="42" y="54"/>
                </a:moveTo>
                <a:cubicBezTo>
                  <a:pt x="42" y="53"/>
                  <a:pt x="42" y="53"/>
                  <a:pt x="42" y="54"/>
                </a:cubicBezTo>
                <a:cubicBezTo>
                  <a:pt x="42" y="55"/>
                  <a:pt x="42" y="56"/>
                  <a:pt x="42" y="56"/>
                </a:cubicBezTo>
                <a:cubicBezTo>
                  <a:pt x="42" y="56"/>
                  <a:pt x="42" y="56"/>
                  <a:pt x="42" y="56"/>
                </a:cubicBezTo>
                <a:cubicBezTo>
                  <a:pt x="43" y="56"/>
                  <a:pt x="43" y="56"/>
                  <a:pt x="43" y="55"/>
                </a:cubicBezTo>
                <a:cubicBezTo>
                  <a:pt x="43" y="55"/>
                  <a:pt x="42" y="53"/>
                  <a:pt x="42" y="53"/>
                </a:cubicBezTo>
                <a:cubicBezTo>
                  <a:pt x="42" y="53"/>
                  <a:pt x="42" y="54"/>
                  <a:pt x="42" y="54"/>
                </a:cubicBezTo>
                <a:close/>
                <a:moveTo>
                  <a:pt x="36" y="44"/>
                </a:moveTo>
                <a:cubicBezTo>
                  <a:pt x="36" y="44"/>
                  <a:pt x="36" y="45"/>
                  <a:pt x="36" y="45"/>
                </a:cubicBezTo>
                <a:cubicBezTo>
                  <a:pt x="37" y="46"/>
                  <a:pt x="37" y="47"/>
                  <a:pt x="38" y="47"/>
                </a:cubicBezTo>
                <a:cubicBezTo>
                  <a:pt x="38" y="47"/>
                  <a:pt x="38" y="46"/>
                  <a:pt x="38" y="45"/>
                </a:cubicBezTo>
                <a:cubicBezTo>
                  <a:pt x="37" y="44"/>
                  <a:pt x="37" y="44"/>
                  <a:pt x="36" y="44"/>
                </a:cubicBezTo>
                <a:close/>
                <a:moveTo>
                  <a:pt x="32" y="43"/>
                </a:moveTo>
                <a:cubicBezTo>
                  <a:pt x="33" y="43"/>
                  <a:pt x="32" y="41"/>
                  <a:pt x="31" y="42"/>
                </a:cubicBezTo>
                <a:cubicBezTo>
                  <a:pt x="30" y="42"/>
                  <a:pt x="30" y="42"/>
                  <a:pt x="31" y="43"/>
                </a:cubicBezTo>
                <a:cubicBezTo>
                  <a:pt x="31" y="43"/>
                  <a:pt x="31" y="43"/>
                  <a:pt x="31" y="44"/>
                </a:cubicBezTo>
                <a:cubicBezTo>
                  <a:pt x="31" y="44"/>
                  <a:pt x="32" y="44"/>
                  <a:pt x="32" y="44"/>
                </a:cubicBezTo>
                <a:cubicBezTo>
                  <a:pt x="32" y="45"/>
                  <a:pt x="32" y="44"/>
                  <a:pt x="33" y="44"/>
                </a:cubicBezTo>
                <a:cubicBezTo>
                  <a:pt x="33" y="44"/>
                  <a:pt x="33" y="43"/>
                  <a:pt x="32" y="43"/>
                </a:cubicBezTo>
                <a:cubicBezTo>
                  <a:pt x="32" y="43"/>
                  <a:pt x="32" y="43"/>
                  <a:pt x="32" y="4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0" name="Bahrain"/>
          <p:cNvSpPr>
            <a:spLocks/>
          </p:cNvSpPr>
          <p:nvPr/>
        </p:nvSpPr>
        <p:spPr bwMode="auto">
          <a:xfrm>
            <a:off x="7519018" y="3621976"/>
            <a:ext cx="7000" cy="17999"/>
          </a:xfrm>
          <a:custGeom>
            <a:avLst/>
            <a:gdLst/>
            <a:ahLst/>
            <a:cxnLst>
              <a:cxn ang="0">
                <a:pos x="2" y="1"/>
              </a:cxn>
              <a:cxn ang="0">
                <a:pos x="2" y="1"/>
              </a:cxn>
              <a:cxn ang="0">
                <a:pos x="2" y="0"/>
              </a:cxn>
              <a:cxn ang="0">
                <a:pos x="2" y="0"/>
              </a:cxn>
              <a:cxn ang="0">
                <a:pos x="1" y="0"/>
              </a:cxn>
              <a:cxn ang="0">
                <a:pos x="1" y="1"/>
              </a:cxn>
              <a:cxn ang="0">
                <a:pos x="1" y="2"/>
              </a:cxn>
              <a:cxn ang="0">
                <a:pos x="1" y="3"/>
              </a:cxn>
              <a:cxn ang="0">
                <a:pos x="1" y="4"/>
              </a:cxn>
              <a:cxn ang="0">
                <a:pos x="2" y="5"/>
              </a:cxn>
              <a:cxn ang="0">
                <a:pos x="2" y="4"/>
              </a:cxn>
              <a:cxn ang="0">
                <a:pos x="2" y="1"/>
              </a:cxn>
            </a:cxnLst>
            <a:rect l="0" t="0" r="r" b="b"/>
            <a:pathLst>
              <a:path w="2" h="5">
                <a:moveTo>
                  <a:pt x="2" y="1"/>
                </a:moveTo>
                <a:cubicBezTo>
                  <a:pt x="2" y="1"/>
                  <a:pt x="2" y="1"/>
                  <a:pt x="2" y="1"/>
                </a:cubicBezTo>
                <a:cubicBezTo>
                  <a:pt x="2" y="0"/>
                  <a:pt x="2" y="1"/>
                  <a:pt x="2" y="0"/>
                </a:cubicBezTo>
                <a:cubicBezTo>
                  <a:pt x="2" y="0"/>
                  <a:pt x="2" y="0"/>
                  <a:pt x="2" y="0"/>
                </a:cubicBezTo>
                <a:cubicBezTo>
                  <a:pt x="2" y="0"/>
                  <a:pt x="2" y="0"/>
                  <a:pt x="1" y="0"/>
                </a:cubicBezTo>
                <a:cubicBezTo>
                  <a:pt x="0" y="0"/>
                  <a:pt x="0" y="0"/>
                  <a:pt x="1" y="1"/>
                </a:cubicBezTo>
                <a:cubicBezTo>
                  <a:pt x="1" y="1"/>
                  <a:pt x="1" y="2"/>
                  <a:pt x="1" y="2"/>
                </a:cubicBezTo>
                <a:cubicBezTo>
                  <a:pt x="1" y="2"/>
                  <a:pt x="1" y="3"/>
                  <a:pt x="1" y="3"/>
                </a:cubicBezTo>
                <a:cubicBezTo>
                  <a:pt x="1" y="3"/>
                  <a:pt x="1" y="3"/>
                  <a:pt x="1" y="4"/>
                </a:cubicBezTo>
                <a:cubicBezTo>
                  <a:pt x="2" y="4"/>
                  <a:pt x="2" y="4"/>
                  <a:pt x="2" y="5"/>
                </a:cubicBezTo>
                <a:cubicBezTo>
                  <a:pt x="2" y="5"/>
                  <a:pt x="2" y="4"/>
                  <a:pt x="2" y="4"/>
                </a:cubicBezTo>
                <a:cubicBezTo>
                  <a:pt x="2" y="3"/>
                  <a:pt x="2" y="2"/>
                  <a:pt x="2"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1" name="Bahamas"/>
          <p:cNvSpPr>
            <a:spLocks noEditPoints="1"/>
          </p:cNvSpPr>
          <p:nvPr/>
        </p:nvSpPr>
        <p:spPr bwMode="auto">
          <a:xfrm>
            <a:off x="3119184" y="3592978"/>
            <a:ext cx="190993" cy="238992"/>
          </a:xfrm>
          <a:custGeom>
            <a:avLst/>
            <a:gdLst/>
            <a:ahLst/>
            <a:cxnLst>
              <a:cxn ang="0">
                <a:pos x="23" y="23"/>
              </a:cxn>
              <a:cxn ang="0">
                <a:pos x="21" y="18"/>
              </a:cxn>
              <a:cxn ang="0">
                <a:pos x="20" y="16"/>
              </a:cxn>
              <a:cxn ang="0">
                <a:pos x="23" y="18"/>
              </a:cxn>
              <a:cxn ang="0">
                <a:pos x="10" y="2"/>
              </a:cxn>
              <a:cxn ang="0">
                <a:pos x="4" y="2"/>
              </a:cxn>
              <a:cxn ang="0">
                <a:pos x="2" y="4"/>
              </a:cxn>
              <a:cxn ang="0">
                <a:pos x="6" y="4"/>
              </a:cxn>
              <a:cxn ang="0">
                <a:pos x="11" y="2"/>
              </a:cxn>
              <a:cxn ang="0">
                <a:pos x="17" y="3"/>
              </a:cxn>
              <a:cxn ang="0">
                <a:pos x="12" y="1"/>
              </a:cxn>
              <a:cxn ang="0">
                <a:pos x="16" y="3"/>
              </a:cxn>
              <a:cxn ang="0">
                <a:pos x="16" y="6"/>
              </a:cxn>
              <a:cxn ang="0">
                <a:pos x="14" y="10"/>
              </a:cxn>
              <a:cxn ang="0">
                <a:pos x="16" y="8"/>
              </a:cxn>
              <a:cxn ang="0">
                <a:pos x="18" y="6"/>
              </a:cxn>
              <a:cxn ang="0">
                <a:pos x="8" y="25"/>
              </a:cxn>
              <a:cxn ang="0">
                <a:pos x="6" y="20"/>
              </a:cxn>
              <a:cxn ang="0">
                <a:pos x="4" y="23"/>
              </a:cxn>
              <a:cxn ang="0">
                <a:pos x="3" y="26"/>
              </a:cxn>
              <a:cxn ang="0">
                <a:pos x="2" y="25"/>
              </a:cxn>
              <a:cxn ang="0">
                <a:pos x="4" y="28"/>
              </a:cxn>
              <a:cxn ang="0">
                <a:pos x="38" y="47"/>
              </a:cxn>
              <a:cxn ang="0">
                <a:pos x="7" y="32"/>
              </a:cxn>
              <a:cxn ang="0">
                <a:pos x="7" y="30"/>
              </a:cxn>
              <a:cxn ang="0">
                <a:pos x="6" y="33"/>
              </a:cxn>
              <a:cxn ang="0">
                <a:pos x="7" y="35"/>
              </a:cxn>
              <a:cxn ang="0">
                <a:pos x="8" y="35"/>
              </a:cxn>
              <a:cxn ang="0">
                <a:pos x="9" y="32"/>
              </a:cxn>
              <a:cxn ang="0">
                <a:pos x="34" y="36"/>
              </a:cxn>
              <a:cxn ang="0">
                <a:pos x="43" y="43"/>
              </a:cxn>
              <a:cxn ang="0">
                <a:pos x="31" y="40"/>
              </a:cxn>
              <a:cxn ang="0">
                <a:pos x="29" y="36"/>
              </a:cxn>
              <a:cxn ang="0">
                <a:pos x="30" y="42"/>
              </a:cxn>
              <a:cxn ang="0">
                <a:pos x="32" y="43"/>
              </a:cxn>
              <a:cxn ang="0">
                <a:pos x="32" y="43"/>
              </a:cxn>
              <a:cxn ang="0">
                <a:pos x="40" y="48"/>
              </a:cxn>
              <a:cxn ang="0">
                <a:pos x="39" y="50"/>
              </a:cxn>
              <a:cxn ang="0">
                <a:pos x="38" y="52"/>
              </a:cxn>
              <a:cxn ang="0">
                <a:pos x="42" y="48"/>
              </a:cxn>
              <a:cxn ang="0">
                <a:pos x="44" y="63"/>
              </a:cxn>
              <a:cxn ang="0">
                <a:pos x="41" y="64"/>
              </a:cxn>
              <a:cxn ang="0">
                <a:pos x="43" y="66"/>
              </a:cxn>
              <a:cxn ang="0">
                <a:pos x="46" y="65"/>
              </a:cxn>
              <a:cxn ang="0">
                <a:pos x="30" y="30"/>
              </a:cxn>
              <a:cxn ang="0">
                <a:pos x="27" y="25"/>
              </a:cxn>
              <a:cxn ang="0">
                <a:pos x="28" y="27"/>
              </a:cxn>
              <a:cxn ang="0">
                <a:pos x="30" y="30"/>
              </a:cxn>
              <a:cxn ang="0">
                <a:pos x="40" y="47"/>
              </a:cxn>
              <a:cxn ang="0">
                <a:pos x="38" y="32"/>
              </a:cxn>
              <a:cxn ang="0">
                <a:pos x="37" y="32"/>
              </a:cxn>
              <a:cxn ang="0">
                <a:pos x="23" y="36"/>
              </a:cxn>
              <a:cxn ang="0">
                <a:pos x="26" y="39"/>
              </a:cxn>
              <a:cxn ang="0">
                <a:pos x="48" y="50"/>
              </a:cxn>
              <a:cxn ang="0">
                <a:pos x="50" y="50"/>
              </a:cxn>
              <a:cxn ang="0">
                <a:pos x="49" y="60"/>
              </a:cxn>
              <a:cxn ang="0">
                <a:pos x="12" y="21"/>
              </a:cxn>
            </a:cxnLst>
            <a:rect l="0" t="0" r="r" b="b"/>
            <a:pathLst>
              <a:path w="53" h="66">
                <a:moveTo>
                  <a:pt x="22" y="24"/>
                </a:moveTo>
                <a:cubicBezTo>
                  <a:pt x="22" y="24"/>
                  <a:pt x="21" y="23"/>
                  <a:pt x="22" y="23"/>
                </a:cubicBezTo>
                <a:cubicBezTo>
                  <a:pt x="22" y="23"/>
                  <a:pt x="23" y="24"/>
                  <a:pt x="23" y="24"/>
                </a:cubicBezTo>
                <a:cubicBezTo>
                  <a:pt x="23" y="24"/>
                  <a:pt x="23" y="23"/>
                  <a:pt x="23" y="23"/>
                </a:cubicBezTo>
                <a:cubicBezTo>
                  <a:pt x="23" y="23"/>
                  <a:pt x="23" y="23"/>
                  <a:pt x="23" y="23"/>
                </a:cubicBezTo>
                <a:cubicBezTo>
                  <a:pt x="23" y="22"/>
                  <a:pt x="25" y="21"/>
                  <a:pt x="23" y="20"/>
                </a:cubicBezTo>
                <a:cubicBezTo>
                  <a:pt x="23" y="19"/>
                  <a:pt x="23" y="18"/>
                  <a:pt x="22" y="18"/>
                </a:cubicBezTo>
                <a:cubicBezTo>
                  <a:pt x="22" y="18"/>
                  <a:pt x="21" y="18"/>
                  <a:pt x="21" y="18"/>
                </a:cubicBezTo>
                <a:cubicBezTo>
                  <a:pt x="21" y="18"/>
                  <a:pt x="21" y="17"/>
                  <a:pt x="20" y="17"/>
                </a:cubicBezTo>
                <a:cubicBezTo>
                  <a:pt x="20" y="17"/>
                  <a:pt x="19" y="17"/>
                  <a:pt x="19" y="17"/>
                </a:cubicBezTo>
                <a:cubicBezTo>
                  <a:pt x="19" y="17"/>
                  <a:pt x="19" y="15"/>
                  <a:pt x="20" y="15"/>
                </a:cubicBezTo>
                <a:cubicBezTo>
                  <a:pt x="20" y="15"/>
                  <a:pt x="20" y="16"/>
                  <a:pt x="20" y="16"/>
                </a:cubicBezTo>
                <a:cubicBezTo>
                  <a:pt x="20" y="16"/>
                  <a:pt x="20" y="16"/>
                  <a:pt x="20" y="16"/>
                </a:cubicBezTo>
                <a:cubicBezTo>
                  <a:pt x="20" y="16"/>
                  <a:pt x="20" y="17"/>
                  <a:pt x="21" y="17"/>
                </a:cubicBezTo>
                <a:cubicBezTo>
                  <a:pt x="21" y="17"/>
                  <a:pt x="21" y="18"/>
                  <a:pt x="22" y="18"/>
                </a:cubicBezTo>
                <a:cubicBezTo>
                  <a:pt x="22" y="18"/>
                  <a:pt x="23" y="18"/>
                  <a:pt x="23" y="18"/>
                </a:cubicBezTo>
                <a:cubicBezTo>
                  <a:pt x="24" y="20"/>
                  <a:pt x="25" y="20"/>
                  <a:pt x="24" y="21"/>
                </a:cubicBezTo>
                <a:cubicBezTo>
                  <a:pt x="24" y="22"/>
                  <a:pt x="23" y="25"/>
                  <a:pt x="23" y="25"/>
                </a:cubicBezTo>
                <a:cubicBezTo>
                  <a:pt x="22" y="25"/>
                  <a:pt x="23" y="24"/>
                  <a:pt x="22" y="24"/>
                </a:cubicBezTo>
                <a:close/>
                <a:moveTo>
                  <a:pt x="10" y="2"/>
                </a:moveTo>
                <a:cubicBezTo>
                  <a:pt x="10" y="3"/>
                  <a:pt x="9" y="3"/>
                  <a:pt x="9" y="3"/>
                </a:cubicBezTo>
                <a:cubicBezTo>
                  <a:pt x="8" y="3"/>
                  <a:pt x="7" y="2"/>
                  <a:pt x="7" y="3"/>
                </a:cubicBezTo>
                <a:cubicBezTo>
                  <a:pt x="6" y="3"/>
                  <a:pt x="6" y="3"/>
                  <a:pt x="5" y="2"/>
                </a:cubicBezTo>
                <a:cubicBezTo>
                  <a:pt x="5" y="2"/>
                  <a:pt x="4" y="2"/>
                  <a:pt x="4" y="2"/>
                </a:cubicBezTo>
                <a:cubicBezTo>
                  <a:pt x="4" y="2"/>
                  <a:pt x="4" y="2"/>
                  <a:pt x="4" y="3"/>
                </a:cubicBezTo>
                <a:cubicBezTo>
                  <a:pt x="4" y="3"/>
                  <a:pt x="4" y="3"/>
                  <a:pt x="4" y="3"/>
                </a:cubicBezTo>
                <a:cubicBezTo>
                  <a:pt x="4" y="3"/>
                  <a:pt x="4" y="3"/>
                  <a:pt x="3" y="4"/>
                </a:cubicBezTo>
                <a:cubicBezTo>
                  <a:pt x="3" y="4"/>
                  <a:pt x="2" y="4"/>
                  <a:pt x="2" y="4"/>
                </a:cubicBezTo>
                <a:cubicBezTo>
                  <a:pt x="1" y="4"/>
                  <a:pt x="1" y="3"/>
                  <a:pt x="0" y="3"/>
                </a:cubicBezTo>
                <a:cubicBezTo>
                  <a:pt x="0" y="3"/>
                  <a:pt x="2" y="5"/>
                  <a:pt x="2" y="5"/>
                </a:cubicBezTo>
                <a:cubicBezTo>
                  <a:pt x="3" y="5"/>
                  <a:pt x="4" y="4"/>
                  <a:pt x="5" y="4"/>
                </a:cubicBezTo>
                <a:cubicBezTo>
                  <a:pt x="6" y="4"/>
                  <a:pt x="6" y="4"/>
                  <a:pt x="6" y="4"/>
                </a:cubicBezTo>
                <a:cubicBezTo>
                  <a:pt x="7" y="4"/>
                  <a:pt x="8" y="3"/>
                  <a:pt x="8" y="3"/>
                </a:cubicBezTo>
                <a:cubicBezTo>
                  <a:pt x="9" y="3"/>
                  <a:pt x="9" y="3"/>
                  <a:pt x="10" y="3"/>
                </a:cubicBezTo>
                <a:cubicBezTo>
                  <a:pt x="10" y="3"/>
                  <a:pt x="10" y="4"/>
                  <a:pt x="10" y="3"/>
                </a:cubicBezTo>
                <a:cubicBezTo>
                  <a:pt x="10" y="3"/>
                  <a:pt x="10" y="2"/>
                  <a:pt x="11" y="2"/>
                </a:cubicBezTo>
                <a:cubicBezTo>
                  <a:pt x="10" y="2"/>
                  <a:pt x="10" y="2"/>
                  <a:pt x="10" y="2"/>
                </a:cubicBezTo>
                <a:close/>
                <a:moveTo>
                  <a:pt x="18" y="6"/>
                </a:moveTo>
                <a:cubicBezTo>
                  <a:pt x="18" y="5"/>
                  <a:pt x="18" y="5"/>
                  <a:pt x="18" y="5"/>
                </a:cubicBezTo>
                <a:cubicBezTo>
                  <a:pt x="18" y="4"/>
                  <a:pt x="15" y="3"/>
                  <a:pt x="17" y="3"/>
                </a:cubicBezTo>
                <a:cubicBezTo>
                  <a:pt x="15" y="3"/>
                  <a:pt x="15" y="1"/>
                  <a:pt x="14" y="1"/>
                </a:cubicBezTo>
                <a:cubicBezTo>
                  <a:pt x="14" y="0"/>
                  <a:pt x="13" y="1"/>
                  <a:pt x="12" y="0"/>
                </a:cubicBezTo>
                <a:cubicBezTo>
                  <a:pt x="12" y="0"/>
                  <a:pt x="11" y="0"/>
                  <a:pt x="10" y="1"/>
                </a:cubicBezTo>
                <a:cubicBezTo>
                  <a:pt x="11" y="1"/>
                  <a:pt x="11" y="1"/>
                  <a:pt x="12" y="1"/>
                </a:cubicBezTo>
                <a:cubicBezTo>
                  <a:pt x="12" y="1"/>
                  <a:pt x="12" y="1"/>
                  <a:pt x="12" y="1"/>
                </a:cubicBezTo>
                <a:cubicBezTo>
                  <a:pt x="13" y="1"/>
                  <a:pt x="13" y="1"/>
                  <a:pt x="14" y="1"/>
                </a:cubicBezTo>
                <a:cubicBezTo>
                  <a:pt x="15" y="1"/>
                  <a:pt x="15" y="2"/>
                  <a:pt x="15" y="3"/>
                </a:cubicBezTo>
                <a:cubicBezTo>
                  <a:pt x="15" y="3"/>
                  <a:pt x="15" y="3"/>
                  <a:pt x="16" y="3"/>
                </a:cubicBezTo>
                <a:cubicBezTo>
                  <a:pt x="16" y="3"/>
                  <a:pt x="16" y="4"/>
                  <a:pt x="16" y="4"/>
                </a:cubicBezTo>
                <a:cubicBezTo>
                  <a:pt x="16" y="4"/>
                  <a:pt x="17" y="4"/>
                  <a:pt x="17" y="5"/>
                </a:cubicBezTo>
                <a:cubicBezTo>
                  <a:pt x="17" y="5"/>
                  <a:pt x="17" y="5"/>
                  <a:pt x="17" y="5"/>
                </a:cubicBezTo>
                <a:cubicBezTo>
                  <a:pt x="16" y="6"/>
                  <a:pt x="16" y="6"/>
                  <a:pt x="16" y="6"/>
                </a:cubicBezTo>
                <a:cubicBezTo>
                  <a:pt x="16" y="7"/>
                  <a:pt x="16" y="7"/>
                  <a:pt x="16" y="7"/>
                </a:cubicBezTo>
                <a:cubicBezTo>
                  <a:pt x="16" y="7"/>
                  <a:pt x="16" y="8"/>
                  <a:pt x="16" y="8"/>
                </a:cubicBezTo>
                <a:cubicBezTo>
                  <a:pt x="16" y="8"/>
                  <a:pt x="16" y="8"/>
                  <a:pt x="16" y="9"/>
                </a:cubicBezTo>
                <a:cubicBezTo>
                  <a:pt x="16" y="9"/>
                  <a:pt x="14" y="10"/>
                  <a:pt x="14" y="10"/>
                </a:cubicBezTo>
                <a:cubicBezTo>
                  <a:pt x="14" y="11"/>
                  <a:pt x="15" y="11"/>
                  <a:pt x="15" y="11"/>
                </a:cubicBezTo>
                <a:cubicBezTo>
                  <a:pt x="15" y="11"/>
                  <a:pt x="15" y="12"/>
                  <a:pt x="15" y="12"/>
                </a:cubicBezTo>
                <a:cubicBezTo>
                  <a:pt x="16" y="12"/>
                  <a:pt x="16" y="12"/>
                  <a:pt x="16" y="11"/>
                </a:cubicBezTo>
                <a:cubicBezTo>
                  <a:pt x="16" y="10"/>
                  <a:pt x="16" y="9"/>
                  <a:pt x="16" y="8"/>
                </a:cubicBezTo>
                <a:cubicBezTo>
                  <a:pt x="17" y="8"/>
                  <a:pt x="17" y="7"/>
                  <a:pt x="18" y="7"/>
                </a:cubicBezTo>
                <a:cubicBezTo>
                  <a:pt x="18" y="7"/>
                  <a:pt x="18" y="7"/>
                  <a:pt x="18" y="7"/>
                </a:cubicBezTo>
                <a:cubicBezTo>
                  <a:pt x="18" y="7"/>
                  <a:pt x="18" y="7"/>
                  <a:pt x="18" y="6"/>
                </a:cubicBezTo>
                <a:cubicBezTo>
                  <a:pt x="18" y="6"/>
                  <a:pt x="18" y="6"/>
                  <a:pt x="18" y="6"/>
                </a:cubicBezTo>
                <a:close/>
                <a:moveTo>
                  <a:pt x="6" y="29"/>
                </a:moveTo>
                <a:cubicBezTo>
                  <a:pt x="6" y="28"/>
                  <a:pt x="7" y="28"/>
                  <a:pt x="7" y="28"/>
                </a:cubicBezTo>
                <a:cubicBezTo>
                  <a:pt x="8" y="27"/>
                  <a:pt x="8" y="27"/>
                  <a:pt x="8" y="26"/>
                </a:cubicBezTo>
                <a:cubicBezTo>
                  <a:pt x="8" y="26"/>
                  <a:pt x="8" y="25"/>
                  <a:pt x="8" y="25"/>
                </a:cubicBezTo>
                <a:cubicBezTo>
                  <a:pt x="8" y="24"/>
                  <a:pt x="7" y="24"/>
                  <a:pt x="7" y="23"/>
                </a:cubicBezTo>
                <a:cubicBezTo>
                  <a:pt x="7" y="23"/>
                  <a:pt x="7" y="23"/>
                  <a:pt x="7" y="22"/>
                </a:cubicBezTo>
                <a:cubicBezTo>
                  <a:pt x="7" y="22"/>
                  <a:pt x="6" y="22"/>
                  <a:pt x="7" y="21"/>
                </a:cubicBezTo>
                <a:cubicBezTo>
                  <a:pt x="7" y="21"/>
                  <a:pt x="7" y="19"/>
                  <a:pt x="6" y="20"/>
                </a:cubicBezTo>
                <a:cubicBezTo>
                  <a:pt x="5" y="20"/>
                  <a:pt x="5" y="19"/>
                  <a:pt x="5" y="19"/>
                </a:cubicBezTo>
                <a:cubicBezTo>
                  <a:pt x="4" y="20"/>
                  <a:pt x="5" y="20"/>
                  <a:pt x="5" y="21"/>
                </a:cubicBezTo>
                <a:cubicBezTo>
                  <a:pt x="5" y="21"/>
                  <a:pt x="4" y="22"/>
                  <a:pt x="4" y="22"/>
                </a:cubicBezTo>
                <a:cubicBezTo>
                  <a:pt x="4" y="22"/>
                  <a:pt x="4" y="23"/>
                  <a:pt x="4" y="23"/>
                </a:cubicBezTo>
                <a:cubicBezTo>
                  <a:pt x="4" y="24"/>
                  <a:pt x="3" y="24"/>
                  <a:pt x="3" y="25"/>
                </a:cubicBezTo>
                <a:cubicBezTo>
                  <a:pt x="3" y="25"/>
                  <a:pt x="3" y="25"/>
                  <a:pt x="3" y="24"/>
                </a:cubicBezTo>
                <a:cubicBezTo>
                  <a:pt x="3" y="25"/>
                  <a:pt x="4" y="25"/>
                  <a:pt x="4" y="26"/>
                </a:cubicBezTo>
                <a:cubicBezTo>
                  <a:pt x="4" y="26"/>
                  <a:pt x="3" y="26"/>
                  <a:pt x="3" y="26"/>
                </a:cubicBezTo>
                <a:cubicBezTo>
                  <a:pt x="3" y="26"/>
                  <a:pt x="3" y="26"/>
                  <a:pt x="3" y="26"/>
                </a:cubicBezTo>
                <a:cubicBezTo>
                  <a:pt x="3" y="26"/>
                  <a:pt x="2" y="26"/>
                  <a:pt x="3" y="25"/>
                </a:cubicBezTo>
                <a:cubicBezTo>
                  <a:pt x="3" y="25"/>
                  <a:pt x="3" y="25"/>
                  <a:pt x="3" y="25"/>
                </a:cubicBezTo>
                <a:cubicBezTo>
                  <a:pt x="2" y="25"/>
                  <a:pt x="3" y="25"/>
                  <a:pt x="2" y="25"/>
                </a:cubicBezTo>
                <a:cubicBezTo>
                  <a:pt x="1" y="26"/>
                  <a:pt x="1" y="26"/>
                  <a:pt x="2" y="27"/>
                </a:cubicBezTo>
                <a:cubicBezTo>
                  <a:pt x="3" y="27"/>
                  <a:pt x="3" y="28"/>
                  <a:pt x="4" y="27"/>
                </a:cubicBezTo>
                <a:cubicBezTo>
                  <a:pt x="4" y="27"/>
                  <a:pt x="4" y="28"/>
                  <a:pt x="4" y="28"/>
                </a:cubicBezTo>
                <a:cubicBezTo>
                  <a:pt x="4" y="28"/>
                  <a:pt x="4" y="28"/>
                  <a:pt x="4" y="28"/>
                </a:cubicBezTo>
                <a:cubicBezTo>
                  <a:pt x="4" y="29"/>
                  <a:pt x="4" y="29"/>
                  <a:pt x="5" y="30"/>
                </a:cubicBezTo>
                <a:cubicBezTo>
                  <a:pt x="5" y="30"/>
                  <a:pt x="5" y="29"/>
                  <a:pt x="6" y="29"/>
                </a:cubicBezTo>
                <a:cubicBezTo>
                  <a:pt x="6" y="29"/>
                  <a:pt x="6" y="29"/>
                  <a:pt x="6" y="29"/>
                </a:cubicBezTo>
                <a:close/>
                <a:moveTo>
                  <a:pt x="38" y="47"/>
                </a:moveTo>
                <a:cubicBezTo>
                  <a:pt x="37" y="47"/>
                  <a:pt x="36" y="48"/>
                  <a:pt x="36" y="49"/>
                </a:cubicBezTo>
                <a:cubicBezTo>
                  <a:pt x="37" y="48"/>
                  <a:pt x="37" y="48"/>
                  <a:pt x="38" y="47"/>
                </a:cubicBezTo>
                <a:close/>
                <a:moveTo>
                  <a:pt x="9" y="30"/>
                </a:moveTo>
                <a:cubicBezTo>
                  <a:pt x="8" y="30"/>
                  <a:pt x="8" y="32"/>
                  <a:pt x="7" y="32"/>
                </a:cubicBezTo>
                <a:cubicBezTo>
                  <a:pt x="8" y="32"/>
                  <a:pt x="7" y="31"/>
                  <a:pt x="7" y="31"/>
                </a:cubicBezTo>
                <a:cubicBezTo>
                  <a:pt x="7" y="31"/>
                  <a:pt x="8" y="31"/>
                  <a:pt x="7" y="31"/>
                </a:cubicBezTo>
                <a:cubicBezTo>
                  <a:pt x="7" y="30"/>
                  <a:pt x="8" y="30"/>
                  <a:pt x="8" y="30"/>
                </a:cubicBezTo>
                <a:cubicBezTo>
                  <a:pt x="8" y="29"/>
                  <a:pt x="8" y="29"/>
                  <a:pt x="7" y="30"/>
                </a:cubicBezTo>
                <a:cubicBezTo>
                  <a:pt x="7" y="30"/>
                  <a:pt x="7" y="30"/>
                  <a:pt x="7" y="30"/>
                </a:cubicBezTo>
                <a:cubicBezTo>
                  <a:pt x="7" y="30"/>
                  <a:pt x="6" y="31"/>
                  <a:pt x="6" y="31"/>
                </a:cubicBezTo>
                <a:cubicBezTo>
                  <a:pt x="5" y="31"/>
                  <a:pt x="5" y="31"/>
                  <a:pt x="6" y="32"/>
                </a:cubicBezTo>
                <a:cubicBezTo>
                  <a:pt x="6" y="32"/>
                  <a:pt x="6" y="33"/>
                  <a:pt x="6" y="33"/>
                </a:cubicBezTo>
                <a:cubicBezTo>
                  <a:pt x="6" y="34"/>
                  <a:pt x="7" y="35"/>
                  <a:pt x="7" y="34"/>
                </a:cubicBezTo>
                <a:cubicBezTo>
                  <a:pt x="7" y="34"/>
                  <a:pt x="7" y="34"/>
                  <a:pt x="6" y="34"/>
                </a:cubicBezTo>
                <a:cubicBezTo>
                  <a:pt x="7" y="35"/>
                  <a:pt x="7" y="34"/>
                  <a:pt x="8" y="34"/>
                </a:cubicBezTo>
                <a:cubicBezTo>
                  <a:pt x="8" y="34"/>
                  <a:pt x="7" y="35"/>
                  <a:pt x="7" y="35"/>
                </a:cubicBezTo>
                <a:cubicBezTo>
                  <a:pt x="7" y="35"/>
                  <a:pt x="7" y="35"/>
                  <a:pt x="6" y="35"/>
                </a:cubicBezTo>
                <a:cubicBezTo>
                  <a:pt x="7" y="35"/>
                  <a:pt x="7" y="35"/>
                  <a:pt x="7" y="36"/>
                </a:cubicBezTo>
                <a:cubicBezTo>
                  <a:pt x="7" y="36"/>
                  <a:pt x="7" y="35"/>
                  <a:pt x="7" y="35"/>
                </a:cubicBezTo>
                <a:cubicBezTo>
                  <a:pt x="8" y="35"/>
                  <a:pt x="8" y="36"/>
                  <a:pt x="8" y="35"/>
                </a:cubicBezTo>
                <a:cubicBezTo>
                  <a:pt x="8" y="35"/>
                  <a:pt x="8" y="35"/>
                  <a:pt x="8" y="34"/>
                </a:cubicBezTo>
                <a:cubicBezTo>
                  <a:pt x="9" y="34"/>
                  <a:pt x="9" y="33"/>
                  <a:pt x="8" y="34"/>
                </a:cubicBezTo>
                <a:cubicBezTo>
                  <a:pt x="8" y="33"/>
                  <a:pt x="9" y="33"/>
                  <a:pt x="9" y="33"/>
                </a:cubicBezTo>
                <a:cubicBezTo>
                  <a:pt x="9" y="33"/>
                  <a:pt x="9" y="32"/>
                  <a:pt x="9" y="32"/>
                </a:cubicBezTo>
                <a:cubicBezTo>
                  <a:pt x="9" y="32"/>
                  <a:pt x="9" y="30"/>
                  <a:pt x="9" y="30"/>
                </a:cubicBezTo>
                <a:close/>
                <a:moveTo>
                  <a:pt x="34" y="36"/>
                </a:moveTo>
                <a:cubicBezTo>
                  <a:pt x="34" y="36"/>
                  <a:pt x="33" y="36"/>
                  <a:pt x="33" y="36"/>
                </a:cubicBezTo>
                <a:cubicBezTo>
                  <a:pt x="33" y="36"/>
                  <a:pt x="34" y="36"/>
                  <a:pt x="34" y="36"/>
                </a:cubicBezTo>
                <a:cubicBezTo>
                  <a:pt x="34" y="36"/>
                  <a:pt x="35" y="36"/>
                  <a:pt x="34" y="36"/>
                </a:cubicBezTo>
                <a:cubicBezTo>
                  <a:pt x="34" y="36"/>
                  <a:pt x="34" y="36"/>
                  <a:pt x="34" y="36"/>
                </a:cubicBezTo>
                <a:close/>
                <a:moveTo>
                  <a:pt x="44" y="42"/>
                </a:moveTo>
                <a:cubicBezTo>
                  <a:pt x="44" y="42"/>
                  <a:pt x="42" y="42"/>
                  <a:pt x="43" y="43"/>
                </a:cubicBezTo>
                <a:cubicBezTo>
                  <a:pt x="43" y="43"/>
                  <a:pt x="44" y="43"/>
                  <a:pt x="44" y="42"/>
                </a:cubicBezTo>
                <a:close/>
                <a:moveTo>
                  <a:pt x="32" y="43"/>
                </a:moveTo>
                <a:cubicBezTo>
                  <a:pt x="32" y="42"/>
                  <a:pt x="31" y="42"/>
                  <a:pt x="31" y="42"/>
                </a:cubicBezTo>
                <a:cubicBezTo>
                  <a:pt x="31" y="41"/>
                  <a:pt x="31" y="40"/>
                  <a:pt x="31" y="40"/>
                </a:cubicBezTo>
                <a:cubicBezTo>
                  <a:pt x="31" y="39"/>
                  <a:pt x="30" y="39"/>
                  <a:pt x="30" y="39"/>
                </a:cubicBezTo>
                <a:cubicBezTo>
                  <a:pt x="30" y="38"/>
                  <a:pt x="30" y="37"/>
                  <a:pt x="29" y="36"/>
                </a:cubicBezTo>
                <a:cubicBezTo>
                  <a:pt x="29" y="36"/>
                  <a:pt x="29" y="37"/>
                  <a:pt x="29" y="37"/>
                </a:cubicBezTo>
                <a:cubicBezTo>
                  <a:pt x="29" y="37"/>
                  <a:pt x="29" y="36"/>
                  <a:pt x="29" y="36"/>
                </a:cubicBezTo>
                <a:cubicBezTo>
                  <a:pt x="29" y="37"/>
                  <a:pt x="29" y="37"/>
                  <a:pt x="30" y="38"/>
                </a:cubicBezTo>
                <a:cubicBezTo>
                  <a:pt x="30" y="38"/>
                  <a:pt x="30" y="39"/>
                  <a:pt x="31" y="40"/>
                </a:cubicBezTo>
                <a:cubicBezTo>
                  <a:pt x="31" y="40"/>
                  <a:pt x="30" y="41"/>
                  <a:pt x="31" y="42"/>
                </a:cubicBezTo>
                <a:cubicBezTo>
                  <a:pt x="31" y="42"/>
                  <a:pt x="30" y="42"/>
                  <a:pt x="30" y="42"/>
                </a:cubicBezTo>
                <a:cubicBezTo>
                  <a:pt x="30" y="42"/>
                  <a:pt x="30" y="42"/>
                  <a:pt x="30" y="42"/>
                </a:cubicBezTo>
                <a:cubicBezTo>
                  <a:pt x="30" y="41"/>
                  <a:pt x="29" y="41"/>
                  <a:pt x="29" y="42"/>
                </a:cubicBezTo>
                <a:cubicBezTo>
                  <a:pt x="30" y="42"/>
                  <a:pt x="30" y="42"/>
                  <a:pt x="30" y="42"/>
                </a:cubicBezTo>
                <a:cubicBezTo>
                  <a:pt x="31" y="43"/>
                  <a:pt x="32" y="43"/>
                  <a:pt x="32" y="43"/>
                </a:cubicBezTo>
                <a:cubicBezTo>
                  <a:pt x="32" y="44"/>
                  <a:pt x="32" y="44"/>
                  <a:pt x="33" y="45"/>
                </a:cubicBezTo>
                <a:cubicBezTo>
                  <a:pt x="33" y="45"/>
                  <a:pt x="33" y="44"/>
                  <a:pt x="33" y="44"/>
                </a:cubicBezTo>
                <a:cubicBezTo>
                  <a:pt x="33" y="44"/>
                  <a:pt x="33" y="44"/>
                  <a:pt x="33" y="44"/>
                </a:cubicBezTo>
                <a:cubicBezTo>
                  <a:pt x="33" y="43"/>
                  <a:pt x="33" y="43"/>
                  <a:pt x="32" y="43"/>
                </a:cubicBezTo>
                <a:close/>
                <a:moveTo>
                  <a:pt x="41" y="47"/>
                </a:moveTo>
                <a:cubicBezTo>
                  <a:pt x="42" y="47"/>
                  <a:pt x="42" y="46"/>
                  <a:pt x="41" y="47"/>
                </a:cubicBezTo>
                <a:cubicBezTo>
                  <a:pt x="41" y="47"/>
                  <a:pt x="41" y="47"/>
                  <a:pt x="40" y="47"/>
                </a:cubicBezTo>
                <a:cubicBezTo>
                  <a:pt x="40" y="47"/>
                  <a:pt x="40" y="47"/>
                  <a:pt x="40" y="48"/>
                </a:cubicBezTo>
                <a:cubicBezTo>
                  <a:pt x="40" y="48"/>
                  <a:pt x="41" y="48"/>
                  <a:pt x="41" y="48"/>
                </a:cubicBezTo>
                <a:cubicBezTo>
                  <a:pt x="42" y="49"/>
                  <a:pt x="41" y="49"/>
                  <a:pt x="40" y="49"/>
                </a:cubicBezTo>
                <a:cubicBezTo>
                  <a:pt x="40" y="49"/>
                  <a:pt x="40" y="50"/>
                  <a:pt x="40" y="50"/>
                </a:cubicBezTo>
                <a:cubicBezTo>
                  <a:pt x="40" y="50"/>
                  <a:pt x="39" y="50"/>
                  <a:pt x="39" y="50"/>
                </a:cubicBezTo>
                <a:cubicBezTo>
                  <a:pt x="39" y="50"/>
                  <a:pt x="39" y="50"/>
                  <a:pt x="39" y="50"/>
                </a:cubicBezTo>
                <a:cubicBezTo>
                  <a:pt x="39" y="51"/>
                  <a:pt x="38" y="51"/>
                  <a:pt x="38" y="51"/>
                </a:cubicBezTo>
                <a:cubicBezTo>
                  <a:pt x="38" y="52"/>
                  <a:pt x="37" y="52"/>
                  <a:pt x="37" y="53"/>
                </a:cubicBezTo>
                <a:cubicBezTo>
                  <a:pt x="37" y="52"/>
                  <a:pt x="38" y="52"/>
                  <a:pt x="38" y="52"/>
                </a:cubicBezTo>
                <a:cubicBezTo>
                  <a:pt x="38" y="52"/>
                  <a:pt x="38" y="51"/>
                  <a:pt x="39" y="51"/>
                </a:cubicBezTo>
                <a:cubicBezTo>
                  <a:pt x="39" y="51"/>
                  <a:pt x="40" y="51"/>
                  <a:pt x="40" y="50"/>
                </a:cubicBezTo>
                <a:cubicBezTo>
                  <a:pt x="40" y="50"/>
                  <a:pt x="40" y="50"/>
                  <a:pt x="40" y="50"/>
                </a:cubicBezTo>
                <a:cubicBezTo>
                  <a:pt x="41" y="50"/>
                  <a:pt x="42" y="49"/>
                  <a:pt x="42" y="48"/>
                </a:cubicBezTo>
                <a:cubicBezTo>
                  <a:pt x="42" y="48"/>
                  <a:pt x="41" y="47"/>
                  <a:pt x="41" y="47"/>
                </a:cubicBezTo>
                <a:close/>
                <a:moveTo>
                  <a:pt x="47" y="63"/>
                </a:moveTo>
                <a:cubicBezTo>
                  <a:pt x="46" y="63"/>
                  <a:pt x="46" y="64"/>
                  <a:pt x="45" y="64"/>
                </a:cubicBezTo>
                <a:cubicBezTo>
                  <a:pt x="44" y="64"/>
                  <a:pt x="45" y="63"/>
                  <a:pt x="44" y="63"/>
                </a:cubicBezTo>
                <a:cubicBezTo>
                  <a:pt x="44" y="63"/>
                  <a:pt x="44" y="63"/>
                  <a:pt x="44" y="63"/>
                </a:cubicBezTo>
                <a:cubicBezTo>
                  <a:pt x="43" y="63"/>
                  <a:pt x="43" y="63"/>
                  <a:pt x="43" y="63"/>
                </a:cubicBezTo>
                <a:cubicBezTo>
                  <a:pt x="43" y="63"/>
                  <a:pt x="43" y="64"/>
                  <a:pt x="42" y="64"/>
                </a:cubicBezTo>
                <a:cubicBezTo>
                  <a:pt x="42" y="64"/>
                  <a:pt x="42" y="64"/>
                  <a:pt x="41" y="64"/>
                </a:cubicBezTo>
                <a:cubicBezTo>
                  <a:pt x="41" y="64"/>
                  <a:pt x="41" y="64"/>
                  <a:pt x="41" y="64"/>
                </a:cubicBezTo>
                <a:cubicBezTo>
                  <a:pt x="41" y="64"/>
                  <a:pt x="41" y="65"/>
                  <a:pt x="41" y="65"/>
                </a:cubicBezTo>
                <a:cubicBezTo>
                  <a:pt x="41" y="65"/>
                  <a:pt x="41" y="66"/>
                  <a:pt x="41" y="66"/>
                </a:cubicBezTo>
                <a:cubicBezTo>
                  <a:pt x="42" y="66"/>
                  <a:pt x="42" y="66"/>
                  <a:pt x="43" y="66"/>
                </a:cubicBezTo>
                <a:cubicBezTo>
                  <a:pt x="43" y="66"/>
                  <a:pt x="44" y="66"/>
                  <a:pt x="44" y="66"/>
                </a:cubicBezTo>
                <a:cubicBezTo>
                  <a:pt x="44" y="66"/>
                  <a:pt x="45" y="66"/>
                  <a:pt x="44" y="66"/>
                </a:cubicBezTo>
                <a:cubicBezTo>
                  <a:pt x="45" y="66"/>
                  <a:pt x="45" y="66"/>
                  <a:pt x="46" y="66"/>
                </a:cubicBezTo>
                <a:cubicBezTo>
                  <a:pt x="46" y="66"/>
                  <a:pt x="46" y="65"/>
                  <a:pt x="46" y="65"/>
                </a:cubicBezTo>
                <a:cubicBezTo>
                  <a:pt x="47" y="65"/>
                  <a:pt x="47" y="64"/>
                  <a:pt x="47" y="63"/>
                </a:cubicBezTo>
                <a:cubicBezTo>
                  <a:pt x="48" y="63"/>
                  <a:pt x="48" y="62"/>
                  <a:pt x="48" y="62"/>
                </a:cubicBezTo>
                <a:cubicBezTo>
                  <a:pt x="47" y="62"/>
                  <a:pt x="47" y="63"/>
                  <a:pt x="47" y="63"/>
                </a:cubicBezTo>
                <a:close/>
                <a:moveTo>
                  <a:pt x="30" y="30"/>
                </a:moveTo>
                <a:cubicBezTo>
                  <a:pt x="30" y="30"/>
                  <a:pt x="30" y="30"/>
                  <a:pt x="30" y="29"/>
                </a:cubicBezTo>
                <a:cubicBezTo>
                  <a:pt x="29" y="29"/>
                  <a:pt x="29" y="29"/>
                  <a:pt x="29" y="28"/>
                </a:cubicBezTo>
                <a:cubicBezTo>
                  <a:pt x="28" y="28"/>
                  <a:pt x="28" y="27"/>
                  <a:pt x="28" y="26"/>
                </a:cubicBezTo>
                <a:cubicBezTo>
                  <a:pt x="28" y="25"/>
                  <a:pt x="27" y="25"/>
                  <a:pt x="27" y="25"/>
                </a:cubicBezTo>
                <a:cubicBezTo>
                  <a:pt x="27" y="26"/>
                  <a:pt x="27" y="26"/>
                  <a:pt x="27" y="26"/>
                </a:cubicBezTo>
                <a:cubicBezTo>
                  <a:pt x="28" y="26"/>
                  <a:pt x="28" y="26"/>
                  <a:pt x="28" y="27"/>
                </a:cubicBezTo>
                <a:cubicBezTo>
                  <a:pt x="28" y="27"/>
                  <a:pt x="28" y="27"/>
                  <a:pt x="28" y="27"/>
                </a:cubicBezTo>
                <a:cubicBezTo>
                  <a:pt x="28" y="27"/>
                  <a:pt x="28" y="27"/>
                  <a:pt x="28" y="27"/>
                </a:cubicBezTo>
                <a:cubicBezTo>
                  <a:pt x="28" y="28"/>
                  <a:pt x="29" y="28"/>
                  <a:pt x="29" y="29"/>
                </a:cubicBezTo>
                <a:cubicBezTo>
                  <a:pt x="29" y="29"/>
                  <a:pt x="30" y="30"/>
                  <a:pt x="29" y="30"/>
                </a:cubicBezTo>
                <a:cubicBezTo>
                  <a:pt x="29" y="30"/>
                  <a:pt x="28" y="31"/>
                  <a:pt x="29" y="31"/>
                </a:cubicBezTo>
                <a:cubicBezTo>
                  <a:pt x="29" y="31"/>
                  <a:pt x="30" y="31"/>
                  <a:pt x="30" y="30"/>
                </a:cubicBezTo>
                <a:close/>
                <a:moveTo>
                  <a:pt x="38" y="45"/>
                </a:moveTo>
                <a:cubicBezTo>
                  <a:pt x="37" y="45"/>
                  <a:pt x="38" y="47"/>
                  <a:pt x="38" y="47"/>
                </a:cubicBezTo>
                <a:cubicBezTo>
                  <a:pt x="38" y="47"/>
                  <a:pt x="39" y="47"/>
                  <a:pt x="39" y="47"/>
                </a:cubicBezTo>
                <a:cubicBezTo>
                  <a:pt x="40" y="47"/>
                  <a:pt x="40" y="47"/>
                  <a:pt x="40" y="47"/>
                </a:cubicBezTo>
                <a:cubicBezTo>
                  <a:pt x="40" y="46"/>
                  <a:pt x="39" y="47"/>
                  <a:pt x="39" y="46"/>
                </a:cubicBezTo>
                <a:cubicBezTo>
                  <a:pt x="39" y="46"/>
                  <a:pt x="39" y="46"/>
                  <a:pt x="38" y="46"/>
                </a:cubicBezTo>
                <a:cubicBezTo>
                  <a:pt x="38" y="46"/>
                  <a:pt x="38" y="45"/>
                  <a:pt x="38" y="45"/>
                </a:cubicBezTo>
                <a:close/>
                <a:moveTo>
                  <a:pt x="38" y="32"/>
                </a:moveTo>
                <a:cubicBezTo>
                  <a:pt x="37" y="33"/>
                  <a:pt x="38" y="32"/>
                  <a:pt x="38" y="32"/>
                </a:cubicBezTo>
                <a:cubicBezTo>
                  <a:pt x="38" y="32"/>
                  <a:pt x="38" y="31"/>
                  <a:pt x="38" y="31"/>
                </a:cubicBezTo>
                <a:cubicBezTo>
                  <a:pt x="38" y="31"/>
                  <a:pt x="38" y="31"/>
                  <a:pt x="38" y="31"/>
                </a:cubicBezTo>
                <a:cubicBezTo>
                  <a:pt x="37" y="32"/>
                  <a:pt x="37" y="32"/>
                  <a:pt x="37" y="32"/>
                </a:cubicBezTo>
                <a:cubicBezTo>
                  <a:pt x="38" y="32"/>
                  <a:pt x="37" y="33"/>
                  <a:pt x="37" y="33"/>
                </a:cubicBezTo>
                <a:cubicBezTo>
                  <a:pt x="38" y="33"/>
                  <a:pt x="37" y="33"/>
                  <a:pt x="38" y="32"/>
                </a:cubicBezTo>
                <a:close/>
                <a:moveTo>
                  <a:pt x="24" y="37"/>
                </a:moveTo>
                <a:cubicBezTo>
                  <a:pt x="24" y="37"/>
                  <a:pt x="23" y="36"/>
                  <a:pt x="23" y="36"/>
                </a:cubicBezTo>
                <a:cubicBezTo>
                  <a:pt x="22" y="36"/>
                  <a:pt x="23" y="37"/>
                  <a:pt x="22" y="37"/>
                </a:cubicBezTo>
                <a:cubicBezTo>
                  <a:pt x="23" y="37"/>
                  <a:pt x="24" y="37"/>
                  <a:pt x="24" y="38"/>
                </a:cubicBezTo>
                <a:cubicBezTo>
                  <a:pt x="25" y="38"/>
                  <a:pt x="25" y="38"/>
                  <a:pt x="25" y="38"/>
                </a:cubicBezTo>
                <a:cubicBezTo>
                  <a:pt x="25" y="38"/>
                  <a:pt x="26" y="39"/>
                  <a:pt x="26" y="39"/>
                </a:cubicBezTo>
                <a:cubicBezTo>
                  <a:pt x="26" y="38"/>
                  <a:pt x="25" y="38"/>
                  <a:pt x="24" y="37"/>
                </a:cubicBezTo>
                <a:close/>
                <a:moveTo>
                  <a:pt x="50" y="50"/>
                </a:moveTo>
                <a:cubicBezTo>
                  <a:pt x="50" y="50"/>
                  <a:pt x="49" y="50"/>
                  <a:pt x="49" y="50"/>
                </a:cubicBezTo>
                <a:cubicBezTo>
                  <a:pt x="48" y="50"/>
                  <a:pt x="48" y="50"/>
                  <a:pt x="48" y="50"/>
                </a:cubicBezTo>
                <a:cubicBezTo>
                  <a:pt x="48" y="50"/>
                  <a:pt x="48" y="50"/>
                  <a:pt x="48" y="51"/>
                </a:cubicBezTo>
                <a:cubicBezTo>
                  <a:pt x="48" y="51"/>
                  <a:pt x="49" y="50"/>
                  <a:pt x="50" y="50"/>
                </a:cubicBezTo>
                <a:cubicBezTo>
                  <a:pt x="50" y="50"/>
                  <a:pt x="51" y="51"/>
                  <a:pt x="51" y="51"/>
                </a:cubicBezTo>
                <a:cubicBezTo>
                  <a:pt x="53" y="51"/>
                  <a:pt x="50" y="50"/>
                  <a:pt x="50" y="50"/>
                </a:cubicBezTo>
                <a:close/>
                <a:moveTo>
                  <a:pt x="48" y="60"/>
                </a:moveTo>
                <a:cubicBezTo>
                  <a:pt x="48" y="59"/>
                  <a:pt x="48" y="60"/>
                  <a:pt x="48" y="60"/>
                </a:cubicBezTo>
                <a:cubicBezTo>
                  <a:pt x="47" y="60"/>
                  <a:pt x="48" y="60"/>
                  <a:pt x="48" y="61"/>
                </a:cubicBezTo>
                <a:cubicBezTo>
                  <a:pt x="48" y="60"/>
                  <a:pt x="48" y="60"/>
                  <a:pt x="49" y="60"/>
                </a:cubicBezTo>
                <a:cubicBezTo>
                  <a:pt x="49" y="60"/>
                  <a:pt x="48" y="60"/>
                  <a:pt x="48" y="60"/>
                </a:cubicBezTo>
                <a:close/>
                <a:moveTo>
                  <a:pt x="11" y="21"/>
                </a:moveTo>
                <a:cubicBezTo>
                  <a:pt x="10" y="22"/>
                  <a:pt x="11" y="22"/>
                  <a:pt x="11" y="22"/>
                </a:cubicBezTo>
                <a:cubicBezTo>
                  <a:pt x="11" y="22"/>
                  <a:pt x="12" y="22"/>
                  <a:pt x="12" y="21"/>
                </a:cubicBezTo>
                <a:cubicBezTo>
                  <a:pt x="13" y="21"/>
                  <a:pt x="14" y="21"/>
                  <a:pt x="13" y="21"/>
                </a:cubicBezTo>
                <a:cubicBezTo>
                  <a:pt x="12" y="21"/>
                  <a:pt x="11" y="21"/>
                  <a:pt x="11" y="2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2" name="Azerbaijan"/>
          <p:cNvSpPr>
            <a:spLocks noEditPoints="1"/>
          </p:cNvSpPr>
          <p:nvPr/>
        </p:nvSpPr>
        <p:spPr bwMode="auto">
          <a:xfrm>
            <a:off x="7269028" y="3000000"/>
            <a:ext cx="180994" cy="140995"/>
          </a:xfrm>
          <a:custGeom>
            <a:avLst/>
            <a:gdLst/>
            <a:ahLst/>
            <a:cxnLst>
              <a:cxn ang="0">
                <a:pos x="46" y="15"/>
              </a:cxn>
              <a:cxn ang="0">
                <a:pos x="41" y="13"/>
              </a:cxn>
              <a:cxn ang="0">
                <a:pos x="38" y="10"/>
              </a:cxn>
              <a:cxn ang="0">
                <a:pos x="33" y="3"/>
              </a:cxn>
              <a:cxn ang="0">
                <a:pos x="29" y="4"/>
              </a:cxn>
              <a:cxn ang="0">
                <a:pos x="26" y="6"/>
              </a:cxn>
              <a:cxn ang="0">
                <a:pos x="23" y="7"/>
              </a:cxn>
              <a:cxn ang="0">
                <a:pos x="19" y="5"/>
              </a:cxn>
              <a:cxn ang="0">
                <a:pos x="16" y="2"/>
              </a:cxn>
              <a:cxn ang="0">
                <a:pos x="13" y="1"/>
              </a:cxn>
              <a:cxn ang="0">
                <a:pos x="10" y="2"/>
              </a:cxn>
              <a:cxn ang="0">
                <a:pos x="13" y="5"/>
              </a:cxn>
              <a:cxn ang="0">
                <a:pos x="13" y="9"/>
              </a:cxn>
              <a:cxn ang="0">
                <a:pos x="7" y="8"/>
              </a:cxn>
              <a:cxn ang="0">
                <a:pos x="5" y="6"/>
              </a:cxn>
              <a:cxn ang="0">
                <a:pos x="0" y="7"/>
              </a:cxn>
              <a:cxn ang="0">
                <a:pos x="1" y="9"/>
              </a:cxn>
              <a:cxn ang="0">
                <a:pos x="4" y="10"/>
              </a:cxn>
              <a:cxn ang="0">
                <a:pos x="6" y="16"/>
              </a:cxn>
              <a:cxn ang="0">
                <a:pos x="10" y="18"/>
              </a:cxn>
              <a:cxn ang="0">
                <a:pos x="8" y="21"/>
              </a:cxn>
              <a:cxn ang="0">
                <a:pos x="10" y="23"/>
              </a:cxn>
              <a:cxn ang="0">
                <a:pos x="14" y="25"/>
              </a:cxn>
              <a:cxn ang="0">
                <a:pos x="16" y="28"/>
              </a:cxn>
              <a:cxn ang="0">
                <a:pos x="16" y="30"/>
              </a:cxn>
              <a:cxn ang="0">
                <a:pos x="19" y="31"/>
              </a:cxn>
              <a:cxn ang="0">
                <a:pos x="22" y="28"/>
              </a:cxn>
              <a:cxn ang="0">
                <a:pos x="25" y="26"/>
              </a:cxn>
              <a:cxn ang="0">
                <a:pos x="30" y="25"/>
              </a:cxn>
              <a:cxn ang="0">
                <a:pos x="33" y="31"/>
              </a:cxn>
              <a:cxn ang="0">
                <a:pos x="32" y="35"/>
              </a:cxn>
              <a:cxn ang="0">
                <a:pos x="35" y="36"/>
              </a:cxn>
              <a:cxn ang="0">
                <a:pos x="38" y="35"/>
              </a:cxn>
              <a:cxn ang="0">
                <a:pos x="38" y="30"/>
              </a:cxn>
              <a:cxn ang="0">
                <a:pos x="40" y="32"/>
              </a:cxn>
              <a:cxn ang="0">
                <a:pos x="42" y="29"/>
              </a:cxn>
              <a:cxn ang="0">
                <a:pos x="42" y="27"/>
              </a:cxn>
              <a:cxn ang="0">
                <a:pos x="42" y="24"/>
              </a:cxn>
              <a:cxn ang="0">
                <a:pos x="42" y="21"/>
              </a:cxn>
              <a:cxn ang="0">
                <a:pos x="44" y="18"/>
              </a:cxn>
              <a:cxn ang="0">
                <a:pos x="49" y="18"/>
              </a:cxn>
              <a:cxn ang="0">
                <a:pos x="6" y="14"/>
              </a:cxn>
              <a:cxn ang="0">
                <a:pos x="14" y="33"/>
              </a:cxn>
              <a:cxn ang="0">
                <a:pos x="9" y="32"/>
              </a:cxn>
              <a:cxn ang="0">
                <a:pos x="6" y="30"/>
              </a:cxn>
              <a:cxn ang="0">
                <a:pos x="1" y="25"/>
              </a:cxn>
              <a:cxn ang="0">
                <a:pos x="2" y="24"/>
              </a:cxn>
              <a:cxn ang="0">
                <a:pos x="4" y="25"/>
              </a:cxn>
              <a:cxn ang="0">
                <a:pos x="8" y="26"/>
              </a:cxn>
              <a:cxn ang="0">
                <a:pos x="11" y="28"/>
              </a:cxn>
            </a:cxnLst>
            <a:rect l="0" t="0" r="r" b="b"/>
            <a:pathLst>
              <a:path w="50" h="39">
                <a:moveTo>
                  <a:pt x="48" y="16"/>
                </a:moveTo>
                <a:cubicBezTo>
                  <a:pt x="48" y="16"/>
                  <a:pt x="48" y="16"/>
                  <a:pt x="47" y="15"/>
                </a:cubicBezTo>
                <a:cubicBezTo>
                  <a:pt x="47" y="15"/>
                  <a:pt x="46" y="15"/>
                  <a:pt x="46" y="15"/>
                </a:cubicBezTo>
                <a:cubicBezTo>
                  <a:pt x="46" y="15"/>
                  <a:pt x="46" y="15"/>
                  <a:pt x="46" y="15"/>
                </a:cubicBezTo>
                <a:cubicBezTo>
                  <a:pt x="44" y="14"/>
                  <a:pt x="43" y="15"/>
                  <a:pt x="42" y="14"/>
                </a:cubicBezTo>
                <a:cubicBezTo>
                  <a:pt x="42" y="14"/>
                  <a:pt x="41" y="14"/>
                  <a:pt x="41" y="13"/>
                </a:cubicBezTo>
                <a:cubicBezTo>
                  <a:pt x="41" y="13"/>
                  <a:pt x="41" y="13"/>
                  <a:pt x="41" y="12"/>
                </a:cubicBezTo>
                <a:cubicBezTo>
                  <a:pt x="41" y="12"/>
                  <a:pt x="40" y="12"/>
                  <a:pt x="40" y="12"/>
                </a:cubicBezTo>
                <a:cubicBezTo>
                  <a:pt x="39" y="11"/>
                  <a:pt x="38" y="11"/>
                  <a:pt x="38" y="10"/>
                </a:cubicBezTo>
                <a:cubicBezTo>
                  <a:pt x="37" y="9"/>
                  <a:pt x="37" y="8"/>
                  <a:pt x="36" y="7"/>
                </a:cubicBezTo>
                <a:cubicBezTo>
                  <a:pt x="36" y="6"/>
                  <a:pt x="35" y="6"/>
                  <a:pt x="35" y="5"/>
                </a:cubicBezTo>
                <a:cubicBezTo>
                  <a:pt x="34" y="5"/>
                  <a:pt x="34" y="4"/>
                  <a:pt x="33" y="3"/>
                </a:cubicBezTo>
                <a:cubicBezTo>
                  <a:pt x="32" y="2"/>
                  <a:pt x="32" y="1"/>
                  <a:pt x="30" y="1"/>
                </a:cubicBezTo>
                <a:cubicBezTo>
                  <a:pt x="30" y="1"/>
                  <a:pt x="30" y="2"/>
                  <a:pt x="29" y="3"/>
                </a:cubicBezTo>
                <a:cubicBezTo>
                  <a:pt x="29" y="3"/>
                  <a:pt x="29" y="3"/>
                  <a:pt x="29" y="4"/>
                </a:cubicBezTo>
                <a:cubicBezTo>
                  <a:pt x="28" y="4"/>
                  <a:pt x="28" y="4"/>
                  <a:pt x="27" y="5"/>
                </a:cubicBezTo>
                <a:cubicBezTo>
                  <a:pt x="26" y="5"/>
                  <a:pt x="26" y="5"/>
                  <a:pt x="26" y="6"/>
                </a:cubicBezTo>
                <a:cubicBezTo>
                  <a:pt x="26" y="6"/>
                  <a:pt x="26" y="6"/>
                  <a:pt x="26" y="6"/>
                </a:cubicBezTo>
                <a:cubicBezTo>
                  <a:pt x="26" y="6"/>
                  <a:pt x="25" y="7"/>
                  <a:pt x="25" y="7"/>
                </a:cubicBezTo>
                <a:cubicBezTo>
                  <a:pt x="25" y="7"/>
                  <a:pt x="26" y="7"/>
                  <a:pt x="25" y="8"/>
                </a:cubicBezTo>
                <a:cubicBezTo>
                  <a:pt x="25" y="8"/>
                  <a:pt x="24" y="7"/>
                  <a:pt x="23" y="7"/>
                </a:cubicBezTo>
                <a:cubicBezTo>
                  <a:pt x="22" y="8"/>
                  <a:pt x="22" y="7"/>
                  <a:pt x="21" y="7"/>
                </a:cubicBezTo>
                <a:cubicBezTo>
                  <a:pt x="21" y="7"/>
                  <a:pt x="20" y="7"/>
                  <a:pt x="20" y="7"/>
                </a:cubicBezTo>
                <a:cubicBezTo>
                  <a:pt x="19" y="6"/>
                  <a:pt x="19" y="5"/>
                  <a:pt x="19" y="5"/>
                </a:cubicBezTo>
                <a:cubicBezTo>
                  <a:pt x="19" y="5"/>
                  <a:pt x="19" y="4"/>
                  <a:pt x="18" y="4"/>
                </a:cubicBezTo>
                <a:cubicBezTo>
                  <a:pt x="18" y="3"/>
                  <a:pt x="17" y="4"/>
                  <a:pt x="17" y="4"/>
                </a:cubicBezTo>
                <a:cubicBezTo>
                  <a:pt x="17" y="3"/>
                  <a:pt x="17" y="3"/>
                  <a:pt x="16" y="2"/>
                </a:cubicBezTo>
                <a:cubicBezTo>
                  <a:pt x="16" y="2"/>
                  <a:pt x="15" y="2"/>
                  <a:pt x="15" y="2"/>
                </a:cubicBezTo>
                <a:cubicBezTo>
                  <a:pt x="15" y="1"/>
                  <a:pt x="14" y="1"/>
                  <a:pt x="14" y="1"/>
                </a:cubicBezTo>
                <a:cubicBezTo>
                  <a:pt x="14" y="0"/>
                  <a:pt x="13" y="2"/>
                  <a:pt x="13" y="1"/>
                </a:cubicBezTo>
                <a:cubicBezTo>
                  <a:pt x="12" y="1"/>
                  <a:pt x="13" y="1"/>
                  <a:pt x="12" y="0"/>
                </a:cubicBezTo>
                <a:cubicBezTo>
                  <a:pt x="12" y="0"/>
                  <a:pt x="12" y="0"/>
                  <a:pt x="11" y="0"/>
                </a:cubicBezTo>
                <a:cubicBezTo>
                  <a:pt x="11" y="1"/>
                  <a:pt x="11" y="2"/>
                  <a:pt x="10" y="2"/>
                </a:cubicBezTo>
                <a:cubicBezTo>
                  <a:pt x="9" y="2"/>
                  <a:pt x="9" y="3"/>
                  <a:pt x="10" y="3"/>
                </a:cubicBezTo>
                <a:cubicBezTo>
                  <a:pt x="10" y="3"/>
                  <a:pt x="10" y="3"/>
                  <a:pt x="10" y="3"/>
                </a:cubicBezTo>
                <a:cubicBezTo>
                  <a:pt x="11" y="4"/>
                  <a:pt x="12" y="5"/>
                  <a:pt x="13" y="5"/>
                </a:cubicBezTo>
                <a:cubicBezTo>
                  <a:pt x="13" y="6"/>
                  <a:pt x="14" y="6"/>
                  <a:pt x="15" y="7"/>
                </a:cubicBezTo>
                <a:cubicBezTo>
                  <a:pt x="15" y="7"/>
                  <a:pt x="14" y="8"/>
                  <a:pt x="14" y="9"/>
                </a:cubicBezTo>
                <a:cubicBezTo>
                  <a:pt x="14" y="9"/>
                  <a:pt x="14" y="9"/>
                  <a:pt x="13" y="9"/>
                </a:cubicBezTo>
                <a:cubicBezTo>
                  <a:pt x="13" y="10"/>
                  <a:pt x="11" y="8"/>
                  <a:pt x="11" y="8"/>
                </a:cubicBezTo>
                <a:cubicBezTo>
                  <a:pt x="10" y="7"/>
                  <a:pt x="10" y="8"/>
                  <a:pt x="9" y="8"/>
                </a:cubicBezTo>
                <a:cubicBezTo>
                  <a:pt x="8" y="8"/>
                  <a:pt x="8" y="8"/>
                  <a:pt x="7" y="8"/>
                </a:cubicBezTo>
                <a:cubicBezTo>
                  <a:pt x="7" y="7"/>
                  <a:pt x="6" y="7"/>
                  <a:pt x="6" y="7"/>
                </a:cubicBezTo>
                <a:cubicBezTo>
                  <a:pt x="6" y="6"/>
                  <a:pt x="6" y="6"/>
                  <a:pt x="6" y="6"/>
                </a:cubicBezTo>
                <a:cubicBezTo>
                  <a:pt x="6" y="6"/>
                  <a:pt x="5" y="6"/>
                  <a:pt x="5" y="6"/>
                </a:cubicBezTo>
                <a:cubicBezTo>
                  <a:pt x="4" y="5"/>
                  <a:pt x="3" y="5"/>
                  <a:pt x="3" y="5"/>
                </a:cubicBezTo>
                <a:cubicBezTo>
                  <a:pt x="2" y="5"/>
                  <a:pt x="2" y="5"/>
                  <a:pt x="1" y="5"/>
                </a:cubicBezTo>
                <a:cubicBezTo>
                  <a:pt x="1" y="6"/>
                  <a:pt x="0" y="7"/>
                  <a:pt x="0" y="7"/>
                </a:cubicBezTo>
                <a:cubicBezTo>
                  <a:pt x="0" y="7"/>
                  <a:pt x="0" y="8"/>
                  <a:pt x="1" y="8"/>
                </a:cubicBezTo>
                <a:cubicBezTo>
                  <a:pt x="2" y="8"/>
                  <a:pt x="2" y="9"/>
                  <a:pt x="1" y="9"/>
                </a:cubicBezTo>
                <a:cubicBezTo>
                  <a:pt x="1" y="9"/>
                  <a:pt x="0" y="8"/>
                  <a:pt x="1" y="9"/>
                </a:cubicBezTo>
                <a:cubicBezTo>
                  <a:pt x="1" y="9"/>
                  <a:pt x="1" y="9"/>
                  <a:pt x="1" y="9"/>
                </a:cubicBezTo>
                <a:cubicBezTo>
                  <a:pt x="2" y="9"/>
                  <a:pt x="2" y="10"/>
                  <a:pt x="3" y="10"/>
                </a:cubicBezTo>
                <a:cubicBezTo>
                  <a:pt x="3" y="10"/>
                  <a:pt x="4" y="9"/>
                  <a:pt x="4" y="10"/>
                </a:cubicBezTo>
                <a:cubicBezTo>
                  <a:pt x="4" y="11"/>
                  <a:pt x="6" y="11"/>
                  <a:pt x="6" y="12"/>
                </a:cubicBezTo>
                <a:cubicBezTo>
                  <a:pt x="6" y="13"/>
                  <a:pt x="4" y="12"/>
                  <a:pt x="4" y="14"/>
                </a:cubicBezTo>
                <a:cubicBezTo>
                  <a:pt x="4" y="14"/>
                  <a:pt x="5" y="15"/>
                  <a:pt x="6" y="16"/>
                </a:cubicBezTo>
                <a:cubicBezTo>
                  <a:pt x="6" y="16"/>
                  <a:pt x="7" y="17"/>
                  <a:pt x="8" y="17"/>
                </a:cubicBezTo>
                <a:cubicBezTo>
                  <a:pt x="8" y="17"/>
                  <a:pt x="9" y="18"/>
                  <a:pt x="9" y="18"/>
                </a:cubicBezTo>
                <a:cubicBezTo>
                  <a:pt x="10" y="18"/>
                  <a:pt x="10" y="18"/>
                  <a:pt x="10" y="18"/>
                </a:cubicBezTo>
                <a:cubicBezTo>
                  <a:pt x="10" y="19"/>
                  <a:pt x="10" y="20"/>
                  <a:pt x="10" y="20"/>
                </a:cubicBezTo>
                <a:cubicBezTo>
                  <a:pt x="10" y="20"/>
                  <a:pt x="10" y="21"/>
                  <a:pt x="9" y="21"/>
                </a:cubicBezTo>
                <a:cubicBezTo>
                  <a:pt x="9" y="21"/>
                  <a:pt x="8" y="21"/>
                  <a:pt x="8" y="21"/>
                </a:cubicBezTo>
                <a:cubicBezTo>
                  <a:pt x="7" y="21"/>
                  <a:pt x="6" y="21"/>
                  <a:pt x="7" y="21"/>
                </a:cubicBezTo>
                <a:cubicBezTo>
                  <a:pt x="8" y="21"/>
                  <a:pt x="9" y="21"/>
                  <a:pt x="9" y="22"/>
                </a:cubicBezTo>
                <a:cubicBezTo>
                  <a:pt x="9" y="22"/>
                  <a:pt x="9" y="23"/>
                  <a:pt x="10" y="23"/>
                </a:cubicBezTo>
                <a:cubicBezTo>
                  <a:pt x="10" y="23"/>
                  <a:pt x="11" y="23"/>
                  <a:pt x="11" y="24"/>
                </a:cubicBezTo>
                <a:cubicBezTo>
                  <a:pt x="12" y="24"/>
                  <a:pt x="12" y="24"/>
                  <a:pt x="13" y="25"/>
                </a:cubicBezTo>
                <a:cubicBezTo>
                  <a:pt x="13" y="25"/>
                  <a:pt x="13" y="25"/>
                  <a:pt x="14" y="25"/>
                </a:cubicBezTo>
                <a:cubicBezTo>
                  <a:pt x="15" y="25"/>
                  <a:pt x="15" y="25"/>
                  <a:pt x="15" y="25"/>
                </a:cubicBezTo>
                <a:cubicBezTo>
                  <a:pt x="16" y="25"/>
                  <a:pt x="16" y="27"/>
                  <a:pt x="16" y="27"/>
                </a:cubicBezTo>
                <a:cubicBezTo>
                  <a:pt x="14" y="27"/>
                  <a:pt x="15" y="27"/>
                  <a:pt x="16" y="28"/>
                </a:cubicBezTo>
                <a:cubicBezTo>
                  <a:pt x="16" y="28"/>
                  <a:pt x="17" y="29"/>
                  <a:pt x="17" y="30"/>
                </a:cubicBezTo>
                <a:cubicBezTo>
                  <a:pt x="17" y="30"/>
                  <a:pt x="16" y="29"/>
                  <a:pt x="16" y="29"/>
                </a:cubicBezTo>
                <a:cubicBezTo>
                  <a:pt x="15" y="29"/>
                  <a:pt x="16" y="30"/>
                  <a:pt x="16" y="30"/>
                </a:cubicBezTo>
                <a:cubicBezTo>
                  <a:pt x="17" y="31"/>
                  <a:pt x="17" y="31"/>
                  <a:pt x="17" y="32"/>
                </a:cubicBezTo>
                <a:cubicBezTo>
                  <a:pt x="17" y="32"/>
                  <a:pt x="17" y="33"/>
                  <a:pt x="17" y="33"/>
                </a:cubicBezTo>
                <a:cubicBezTo>
                  <a:pt x="17" y="32"/>
                  <a:pt x="18" y="32"/>
                  <a:pt x="19" y="31"/>
                </a:cubicBezTo>
                <a:cubicBezTo>
                  <a:pt x="19" y="31"/>
                  <a:pt x="19" y="30"/>
                  <a:pt x="20" y="30"/>
                </a:cubicBezTo>
                <a:cubicBezTo>
                  <a:pt x="20" y="30"/>
                  <a:pt x="21" y="30"/>
                  <a:pt x="21" y="30"/>
                </a:cubicBezTo>
                <a:cubicBezTo>
                  <a:pt x="21" y="29"/>
                  <a:pt x="21" y="29"/>
                  <a:pt x="22" y="28"/>
                </a:cubicBezTo>
                <a:cubicBezTo>
                  <a:pt x="22" y="28"/>
                  <a:pt x="23" y="28"/>
                  <a:pt x="23" y="28"/>
                </a:cubicBezTo>
                <a:cubicBezTo>
                  <a:pt x="23" y="27"/>
                  <a:pt x="24" y="27"/>
                  <a:pt x="24" y="26"/>
                </a:cubicBezTo>
                <a:cubicBezTo>
                  <a:pt x="25" y="26"/>
                  <a:pt x="25" y="26"/>
                  <a:pt x="25" y="26"/>
                </a:cubicBezTo>
                <a:cubicBezTo>
                  <a:pt x="26" y="26"/>
                  <a:pt x="26" y="25"/>
                  <a:pt x="26" y="25"/>
                </a:cubicBezTo>
                <a:cubicBezTo>
                  <a:pt x="27" y="25"/>
                  <a:pt x="27" y="24"/>
                  <a:pt x="28" y="24"/>
                </a:cubicBezTo>
                <a:cubicBezTo>
                  <a:pt x="29" y="24"/>
                  <a:pt x="29" y="24"/>
                  <a:pt x="30" y="25"/>
                </a:cubicBezTo>
                <a:cubicBezTo>
                  <a:pt x="31" y="25"/>
                  <a:pt x="31" y="26"/>
                  <a:pt x="32" y="27"/>
                </a:cubicBezTo>
                <a:cubicBezTo>
                  <a:pt x="33" y="27"/>
                  <a:pt x="33" y="28"/>
                  <a:pt x="32" y="28"/>
                </a:cubicBezTo>
                <a:cubicBezTo>
                  <a:pt x="29" y="29"/>
                  <a:pt x="32" y="30"/>
                  <a:pt x="33" y="31"/>
                </a:cubicBezTo>
                <a:cubicBezTo>
                  <a:pt x="33" y="32"/>
                  <a:pt x="32" y="32"/>
                  <a:pt x="31" y="32"/>
                </a:cubicBezTo>
                <a:cubicBezTo>
                  <a:pt x="31" y="32"/>
                  <a:pt x="30" y="33"/>
                  <a:pt x="31" y="34"/>
                </a:cubicBezTo>
                <a:cubicBezTo>
                  <a:pt x="31" y="34"/>
                  <a:pt x="32" y="34"/>
                  <a:pt x="32" y="35"/>
                </a:cubicBezTo>
                <a:cubicBezTo>
                  <a:pt x="33" y="35"/>
                  <a:pt x="33" y="35"/>
                  <a:pt x="33" y="35"/>
                </a:cubicBezTo>
                <a:cubicBezTo>
                  <a:pt x="33" y="36"/>
                  <a:pt x="34" y="36"/>
                  <a:pt x="34" y="36"/>
                </a:cubicBezTo>
                <a:cubicBezTo>
                  <a:pt x="34" y="36"/>
                  <a:pt x="34" y="36"/>
                  <a:pt x="35" y="36"/>
                </a:cubicBezTo>
                <a:cubicBezTo>
                  <a:pt x="36" y="37"/>
                  <a:pt x="36" y="38"/>
                  <a:pt x="37" y="38"/>
                </a:cubicBezTo>
                <a:cubicBezTo>
                  <a:pt x="37" y="39"/>
                  <a:pt x="38" y="38"/>
                  <a:pt x="39" y="38"/>
                </a:cubicBezTo>
                <a:cubicBezTo>
                  <a:pt x="39" y="37"/>
                  <a:pt x="39" y="36"/>
                  <a:pt x="38" y="35"/>
                </a:cubicBezTo>
                <a:cubicBezTo>
                  <a:pt x="38" y="34"/>
                  <a:pt x="38" y="34"/>
                  <a:pt x="38" y="33"/>
                </a:cubicBezTo>
                <a:cubicBezTo>
                  <a:pt x="38" y="33"/>
                  <a:pt x="39" y="33"/>
                  <a:pt x="39" y="32"/>
                </a:cubicBezTo>
                <a:cubicBezTo>
                  <a:pt x="39" y="32"/>
                  <a:pt x="38" y="31"/>
                  <a:pt x="38" y="30"/>
                </a:cubicBezTo>
                <a:cubicBezTo>
                  <a:pt x="39" y="29"/>
                  <a:pt x="40" y="31"/>
                  <a:pt x="40" y="31"/>
                </a:cubicBezTo>
                <a:cubicBezTo>
                  <a:pt x="40" y="31"/>
                  <a:pt x="40" y="31"/>
                  <a:pt x="40" y="31"/>
                </a:cubicBezTo>
                <a:cubicBezTo>
                  <a:pt x="40" y="32"/>
                  <a:pt x="39" y="32"/>
                  <a:pt x="40" y="32"/>
                </a:cubicBezTo>
                <a:cubicBezTo>
                  <a:pt x="40" y="33"/>
                  <a:pt x="41" y="31"/>
                  <a:pt x="41" y="31"/>
                </a:cubicBezTo>
                <a:cubicBezTo>
                  <a:pt x="41" y="30"/>
                  <a:pt x="41" y="29"/>
                  <a:pt x="41" y="29"/>
                </a:cubicBezTo>
                <a:cubicBezTo>
                  <a:pt x="41" y="27"/>
                  <a:pt x="42" y="29"/>
                  <a:pt x="42" y="29"/>
                </a:cubicBezTo>
                <a:cubicBezTo>
                  <a:pt x="42" y="28"/>
                  <a:pt x="42" y="28"/>
                  <a:pt x="42" y="28"/>
                </a:cubicBezTo>
                <a:cubicBezTo>
                  <a:pt x="42" y="28"/>
                  <a:pt x="42" y="28"/>
                  <a:pt x="42" y="28"/>
                </a:cubicBezTo>
                <a:cubicBezTo>
                  <a:pt x="42" y="28"/>
                  <a:pt x="42" y="27"/>
                  <a:pt x="42" y="27"/>
                </a:cubicBezTo>
                <a:cubicBezTo>
                  <a:pt x="41" y="27"/>
                  <a:pt x="41" y="27"/>
                  <a:pt x="41" y="26"/>
                </a:cubicBezTo>
                <a:cubicBezTo>
                  <a:pt x="41" y="25"/>
                  <a:pt x="41" y="25"/>
                  <a:pt x="41" y="25"/>
                </a:cubicBezTo>
                <a:cubicBezTo>
                  <a:pt x="41" y="24"/>
                  <a:pt x="42" y="24"/>
                  <a:pt x="42" y="24"/>
                </a:cubicBezTo>
                <a:cubicBezTo>
                  <a:pt x="41" y="23"/>
                  <a:pt x="42" y="23"/>
                  <a:pt x="41" y="22"/>
                </a:cubicBezTo>
                <a:cubicBezTo>
                  <a:pt x="41" y="22"/>
                  <a:pt x="41" y="22"/>
                  <a:pt x="41" y="21"/>
                </a:cubicBezTo>
                <a:cubicBezTo>
                  <a:pt x="42" y="21"/>
                  <a:pt x="42" y="21"/>
                  <a:pt x="42" y="21"/>
                </a:cubicBezTo>
                <a:cubicBezTo>
                  <a:pt x="42" y="21"/>
                  <a:pt x="41" y="20"/>
                  <a:pt x="41" y="20"/>
                </a:cubicBezTo>
                <a:cubicBezTo>
                  <a:pt x="41" y="20"/>
                  <a:pt x="42" y="20"/>
                  <a:pt x="42" y="19"/>
                </a:cubicBezTo>
                <a:cubicBezTo>
                  <a:pt x="41" y="19"/>
                  <a:pt x="43" y="18"/>
                  <a:pt x="44" y="18"/>
                </a:cubicBezTo>
                <a:cubicBezTo>
                  <a:pt x="44" y="18"/>
                  <a:pt x="44" y="17"/>
                  <a:pt x="45" y="17"/>
                </a:cubicBezTo>
                <a:cubicBezTo>
                  <a:pt x="46" y="17"/>
                  <a:pt x="46" y="17"/>
                  <a:pt x="47" y="17"/>
                </a:cubicBezTo>
                <a:cubicBezTo>
                  <a:pt x="48" y="17"/>
                  <a:pt x="48" y="17"/>
                  <a:pt x="49" y="18"/>
                </a:cubicBezTo>
                <a:cubicBezTo>
                  <a:pt x="49" y="18"/>
                  <a:pt x="49" y="18"/>
                  <a:pt x="49" y="18"/>
                </a:cubicBezTo>
                <a:cubicBezTo>
                  <a:pt x="50" y="18"/>
                  <a:pt x="49" y="17"/>
                  <a:pt x="48" y="16"/>
                </a:cubicBezTo>
                <a:close/>
                <a:moveTo>
                  <a:pt x="6" y="14"/>
                </a:moveTo>
                <a:cubicBezTo>
                  <a:pt x="5" y="15"/>
                  <a:pt x="4" y="13"/>
                  <a:pt x="6" y="14"/>
                </a:cubicBezTo>
                <a:close/>
                <a:moveTo>
                  <a:pt x="12" y="30"/>
                </a:moveTo>
                <a:cubicBezTo>
                  <a:pt x="12" y="31"/>
                  <a:pt x="13" y="32"/>
                  <a:pt x="14" y="33"/>
                </a:cubicBezTo>
                <a:cubicBezTo>
                  <a:pt x="13" y="33"/>
                  <a:pt x="12" y="33"/>
                  <a:pt x="12" y="33"/>
                </a:cubicBezTo>
                <a:cubicBezTo>
                  <a:pt x="11" y="33"/>
                  <a:pt x="11" y="33"/>
                  <a:pt x="11" y="33"/>
                </a:cubicBezTo>
                <a:cubicBezTo>
                  <a:pt x="10" y="33"/>
                  <a:pt x="9" y="32"/>
                  <a:pt x="9" y="32"/>
                </a:cubicBezTo>
                <a:cubicBezTo>
                  <a:pt x="8" y="32"/>
                  <a:pt x="7" y="32"/>
                  <a:pt x="7" y="31"/>
                </a:cubicBezTo>
                <a:cubicBezTo>
                  <a:pt x="7" y="31"/>
                  <a:pt x="6" y="31"/>
                  <a:pt x="6" y="30"/>
                </a:cubicBezTo>
                <a:cubicBezTo>
                  <a:pt x="6" y="30"/>
                  <a:pt x="6" y="30"/>
                  <a:pt x="6" y="30"/>
                </a:cubicBezTo>
                <a:cubicBezTo>
                  <a:pt x="5" y="30"/>
                  <a:pt x="5" y="30"/>
                  <a:pt x="4" y="29"/>
                </a:cubicBezTo>
                <a:cubicBezTo>
                  <a:pt x="4" y="29"/>
                  <a:pt x="3" y="28"/>
                  <a:pt x="3" y="27"/>
                </a:cubicBezTo>
                <a:cubicBezTo>
                  <a:pt x="2" y="27"/>
                  <a:pt x="2" y="26"/>
                  <a:pt x="1" y="25"/>
                </a:cubicBezTo>
                <a:cubicBezTo>
                  <a:pt x="1" y="25"/>
                  <a:pt x="1" y="25"/>
                  <a:pt x="1" y="25"/>
                </a:cubicBezTo>
                <a:cubicBezTo>
                  <a:pt x="0" y="25"/>
                  <a:pt x="0" y="24"/>
                  <a:pt x="0" y="24"/>
                </a:cubicBezTo>
                <a:cubicBezTo>
                  <a:pt x="1" y="24"/>
                  <a:pt x="1" y="24"/>
                  <a:pt x="2" y="24"/>
                </a:cubicBezTo>
                <a:cubicBezTo>
                  <a:pt x="2" y="23"/>
                  <a:pt x="2" y="23"/>
                  <a:pt x="3" y="24"/>
                </a:cubicBezTo>
                <a:cubicBezTo>
                  <a:pt x="3" y="24"/>
                  <a:pt x="4" y="24"/>
                  <a:pt x="4" y="25"/>
                </a:cubicBezTo>
                <a:cubicBezTo>
                  <a:pt x="4" y="25"/>
                  <a:pt x="4" y="26"/>
                  <a:pt x="4" y="25"/>
                </a:cubicBezTo>
                <a:cubicBezTo>
                  <a:pt x="5" y="25"/>
                  <a:pt x="5" y="25"/>
                  <a:pt x="5" y="26"/>
                </a:cubicBezTo>
                <a:cubicBezTo>
                  <a:pt x="5" y="26"/>
                  <a:pt x="6" y="26"/>
                  <a:pt x="6" y="26"/>
                </a:cubicBezTo>
                <a:cubicBezTo>
                  <a:pt x="7" y="27"/>
                  <a:pt x="8" y="26"/>
                  <a:pt x="8" y="26"/>
                </a:cubicBezTo>
                <a:cubicBezTo>
                  <a:pt x="9" y="25"/>
                  <a:pt x="10" y="25"/>
                  <a:pt x="10" y="26"/>
                </a:cubicBezTo>
                <a:cubicBezTo>
                  <a:pt x="10" y="27"/>
                  <a:pt x="10" y="27"/>
                  <a:pt x="10" y="27"/>
                </a:cubicBezTo>
                <a:cubicBezTo>
                  <a:pt x="9" y="28"/>
                  <a:pt x="10" y="28"/>
                  <a:pt x="11" y="28"/>
                </a:cubicBezTo>
                <a:cubicBezTo>
                  <a:pt x="11" y="28"/>
                  <a:pt x="11" y="29"/>
                  <a:pt x="12" y="29"/>
                </a:cubicBezTo>
                <a:cubicBezTo>
                  <a:pt x="12" y="29"/>
                  <a:pt x="12" y="30"/>
                  <a:pt x="12" y="3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3" name="Austria"/>
          <p:cNvSpPr>
            <a:spLocks/>
          </p:cNvSpPr>
          <p:nvPr/>
        </p:nvSpPr>
        <p:spPr bwMode="auto">
          <a:xfrm>
            <a:off x="6128070" y="2722010"/>
            <a:ext cx="237991" cy="103996"/>
          </a:xfrm>
          <a:custGeom>
            <a:avLst/>
            <a:gdLst/>
            <a:ahLst/>
            <a:cxnLst>
              <a:cxn ang="0">
                <a:pos x="65" y="10"/>
              </a:cxn>
              <a:cxn ang="0">
                <a:pos x="64" y="9"/>
              </a:cxn>
              <a:cxn ang="0">
                <a:pos x="63" y="7"/>
              </a:cxn>
              <a:cxn ang="0">
                <a:pos x="63" y="3"/>
              </a:cxn>
              <a:cxn ang="0">
                <a:pos x="61" y="3"/>
              </a:cxn>
              <a:cxn ang="0">
                <a:pos x="57" y="3"/>
              </a:cxn>
              <a:cxn ang="0">
                <a:pos x="54" y="2"/>
              </a:cxn>
              <a:cxn ang="0">
                <a:pos x="52" y="2"/>
              </a:cxn>
              <a:cxn ang="0">
                <a:pos x="48" y="1"/>
              </a:cxn>
              <a:cxn ang="0">
                <a:pos x="47" y="2"/>
              </a:cxn>
              <a:cxn ang="0">
                <a:pos x="44" y="5"/>
              </a:cxn>
              <a:cxn ang="0">
                <a:pos x="42" y="5"/>
              </a:cxn>
              <a:cxn ang="0">
                <a:pos x="39" y="4"/>
              </a:cxn>
              <a:cxn ang="0">
                <a:pos x="37" y="5"/>
              </a:cxn>
              <a:cxn ang="0">
                <a:pos x="33" y="8"/>
              </a:cxn>
              <a:cxn ang="0">
                <a:pos x="29" y="9"/>
              </a:cxn>
              <a:cxn ang="0">
                <a:pos x="30" y="14"/>
              </a:cxn>
              <a:cxn ang="0">
                <a:pos x="31" y="16"/>
              </a:cxn>
              <a:cxn ang="0">
                <a:pos x="27" y="15"/>
              </a:cxn>
              <a:cxn ang="0">
                <a:pos x="25" y="14"/>
              </a:cxn>
              <a:cxn ang="0">
                <a:pos x="24" y="14"/>
              </a:cxn>
              <a:cxn ang="0">
                <a:pos x="22" y="15"/>
              </a:cxn>
              <a:cxn ang="0">
                <a:pos x="19" y="16"/>
              </a:cxn>
              <a:cxn ang="0">
                <a:pos x="17" y="17"/>
              </a:cxn>
              <a:cxn ang="0">
                <a:pos x="15" y="17"/>
              </a:cxn>
              <a:cxn ang="0">
                <a:pos x="13" y="17"/>
              </a:cxn>
              <a:cxn ang="0">
                <a:pos x="12" y="16"/>
              </a:cxn>
              <a:cxn ang="0">
                <a:pos x="9" y="16"/>
              </a:cxn>
              <a:cxn ang="0">
                <a:pos x="8" y="18"/>
              </a:cxn>
              <a:cxn ang="0">
                <a:pos x="6" y="18"/>
              </a:cxn>
              <a:cxn ang="0">
                <a:pos x="5" y="17"/>
              </a:cxn>
              <a:cxn ang="0">
                <a:pos x="3" y="16"/>
              </a:cxn>
              <a:cxn ang="0">
                <a:pos x="1" y="16"/>
              </a:cxn>
              <a:cxn ang="0">
                <a:pos x="1" y="19"/>
              </a:cxn>
              <a:cxn ang="0">
                <a:pos x="3" y="22"/>
              </a:cxn>
              <a:cxn ang="0">
                <a:pos x="6" y="24"/>
              </a:cxn>
              <a:cxn ang="0">
                <a:pos x="7" y="23"/>
              </a:cxn>
              <a:cxn ang="0">
                <a:pos x="8" y="22"/>
              </a:cxn>
              <a:cxn ang="0">
                <a:pos x="10" y="23"/>
              </a:cxn>
              <a:cxn ang="0">
                <a:pos x="11" y="24"/>
              </a:cxn>
              <a:cxn ang="0">
                <a:pos x="14" y="23"/>
              </a:cxn>
              <a:cxn ang="0">
                <a:pos x="18" y="22"/>
              </a:cxn>
              <a:cxn ang="0">
                <a:pos x="23" y="21"/>
              </a:cxn>
              <a:cxn ang="0">
                <a:pos x="23" y="23"/>
              </a:cxn>
              <a:cxn ang="0">
                <a:pos x="25" y="25"/>
              </a:cxn>
              <a:cxn ang="0">
                <a:pos x="32" y="26"/>
              </a:cxn>
              <a:cxn ang="0">
                <a:pos x="34" y="27"/>
              </a:cxn>
              <a:cxn ang="0">
                <a:pos x="40" y="28"/>
              </a:cxn>
              <a:cxn ang="0">
                <a:pos x="44" y="29"/>
              </a:cxn>
              <a:cxn ang="0">
                <a:pos x="47" y="26"/>
              </a:cxn>
              <a:cxn ang="0">
                <a:pos x="51" y="26"/>
              </a:cxn>
              <a:cxn ang="0">
                <a:pos x="54" y="25"/>
              </a:cxn>
              <a:cxn ang="0">
                <a:pos x="56" y="24"/>
              </a:cxn>
              <a:cxn ang="0">
                <a:pos x="60" y="22"/>
              </a:cxn>
              <a:cxn ang="0">
                <a:pos x="60" y="21"/>
              </a:cxn>
              <a:cxn ang="0">
                <a:pos x="60" y="20"/>
              </a:cxn>
              <a:cxn ang="0">
                <a:pos x="60" y="18"/>
              </a:cxn>
              <a:cxn ang="0">
                <a:pos x="62" y="16"/>
              </a:cxn>
              <a:cxn ang="0">
                <a:pos x="60" y="14"/>
              </a:cxn>
              <a:cxn ang="0">
                <a:pos x="62" y="14"/>
              </a:cxn>
              <a:cxn ang="0">
                <a:pos x="63" y="14"/>
              </a:cxn>
              <a:cxn ang="0">
                <a:pos x="65" y="13"/>
              </a:cxn>
              <a:cxn ang="0">
                <a:pos x="65" y="12"/>
              </a:cxn>
            </a:cxnLst>
            <a:rect l="0" t="0" r="r" b="b"/>
            <a:pathLst>
              <a:path w="66" h="29">
                <a:moveTo>
                  <a:pt x="66" y="11"/>
                </a:moveTo>
                <a:cubicBezTo>
                  <a:pt x="65" y="11"/>
                  <a:pt x="65" y="11"/>
                  <a:pt x="65" y="10"/>
                </a:cubicBezTo>
                <a:cubicBezTo>
                  <a:pt x="65" y="10"/>
                  <a:pt x="65" y="10"/>
                  <a:pt x="65" y="10"/>
                </a:cubicBezTo>
                <a:cubicBezTo>
                  <a:pt x="64" y="10"/>
                  <a:pt x="64" y="10"/>
                  <a:pt x="64" y="9"/>
                </a:cubicBezTo>
                <a:cubicBezTo>
                  <a:pt x="64" y="9"/>
                  <a:pt x="64" y="9"/>
                  <a:pt x="64" y="8"/>
                </a:cubicBezTo>
                <a:cubicBezTo>
                  <a:pt x="64" y="8"/>
                  <a:pt x="63" y="7"/>
                  <a:pt x="63" y="7"/>
                </a:cubicBezTo>
                <a:cubicBezTo>
                  <a:pt x="63" y="7"/>
                  <a:pt x="63" y="6"/>
                  <a:pt x="63" y="6"/>
                </a:cubicBezTo>
                <a:cubicBezTo>
                  <a:pt x="64" y="5"/>
                  <a:pt x="63" y="4"/>
                  <a:pt x="63" y="3"/>
                </a:cubicBezTo>
                <a:cubicBezTo>
                  <a:pt x="62" y="3"/>
                  <a:pt x="62" y="3"/>
                  <a:pt x="61" y="3"/>
                </a:cubicBezTo>
                <a:cubicBezTo>
                  <a:pt x="61" y="3"/>
                  <a:pt x="61" y="3"/>
                  <a:pt x="61" y="3"/>
                </a:cubicBezTo>
                <a:cubicBezTo>
                  <a:pt x="60" y="2"/>
                  <a:pt x="59" y="2"/>
                  <a:pt x="59" y="3"/>
                </a:cubicBezTo>
                <a:cubicBezTo>
                  <a:pt x="59" y="4"/>
                  <a:pt x="57" y="3"/>
                  <a:pt x="57" y="3"/>
                </a:cubicBezTo>
                <a:cubicBezTo>
                  <a:pt x="56" y="3"/>
                  <a:pt x="56" y="3"/>
                  <a:pt x="55" y="3"/>
                </a:cubicBezTo>
                <a:cubicBezTo>
                  <a:pt x="55" y="2"/>
                  <a:pt x="55" y="2"/>
                  <a:pt x="54" y="2"/>
                </a:cubicBezTo>
                <a:cubicBezTo>
                  <a:pt x="54" y="2"/>
                  <a:pt x="53" y="2"/>
                  <a:pt x="53" y="2"/>
                </a:cubicBezTo>
                <a:cubicBezTo>
                  <a:pt x="53" y="2"/>
                  <a:pt x="52" y="2"/>
                  <a:pt x="52" y="2"/>
                </a:cubicBezTo>
                <a:cubicBezTo>
                  <a:pt x="51" y="1"/>
                  <a:pt x="50" y="1"/>
                  <a:pt x="50" y="1"/>
                </a:cubicBezTo>
                <a:cubicBezTo>
                  <a:pt x="49" y="1"/>
                  <a:pt x="49" y="1"/>
                  <a:pt x="48" y="1"/>
                </a:cubicBezTo>
                <a:cubicBezTo>
                  <a:pt x="48" y="1"/>
                  <a:pt x="47" y="0"/>
                  <a:pt x="47" y="1"/>
                </a:cubicBezTo>
                <a:cubicBezTo>
                  <a:pt x="47" y="1"/>
                  <a:pt x="47" y="2"/>
                  <a:pt x="47" y="2"/>
                </a:cubicBezTo>
                <a:cubicBezTo>
                  <a:pt x="47" y="4"/>
                  <a:pt x="45" y="2"/>
                  <a:pt x="45" y="3"/>
                </a:cubicBezTo>
                <a:cubicBezTo>
                  <a:pt x="44" y="4"/>
                  <a:pt x="45" y="5"/>
                  <a:pt x="44" y="5"/>
                </a:cubicBezTo>
                <a:cubicBezTo>
                  <a:pt x="44" y="5"/>
                  <a:pt x="42" y="4"/>
                  <a:pt x="42" y="4"/>
                </a:cubicBezTo>
                <a:cubicBezTo>
                  <a:pt x="42" y="5"/>
                  <a:pt x="42" y="5"/>
                  <a:pt x="42" y="5"/>
                </a:cubicBezTo>
                <a:cubicBezTo>
                  <a:pt x="41" y="5"/>
                  <a:pt x="41" y="5"/>
                  <a:pt x="40" y="5"/>
                </a:cubicBezTo>
                <a:cubicBezTo>
                  <a:pt x="39" y="5"/>
                  <a:pt x="38" y="4"/>
                  <a:pt x="39" y="4"/>
                </a:cubicBezTo>
                <a:cubicBezTo>
                  <a:pt x="39" y="4"/>
                  <a:pt x="37" y="3"/>
                  <a:pt x="37" y="3"/>
                </a:cubicBezTo>
                <a:cubicBezTo>
                  <a:pt x="37" y="3"/>
                  <a:pt x="37" y="4"/>
                  <a:pt x="37" y="5"/>
                </a:cubicBezTo>
                <a:cubicBezTo>
                  <a:pt x="36" y="6"/>
                  <a:pt x="36" y="6"/>
                  <a:pt x="35" y="5"/>
                </a:cubicBezTo>
                <a:cubicBezTo>
                  <a:pt x="33" y="4"/>
                  <a:pt x="34" y="7"/>
                  <a:pt x="33" y="8"/>
                </a:cubicBezTo>
                <a:cubicBezTo>
                  <a:pt x="32" y="8"/>
                  <a:pt x="31" y="8"/>
                  <a:pt x="30" y="8"/>
                </a:cubicBezTo>
                <a:cubicBezTo>
                  <a:pt x="30" y="9"/>
                  <a:pt x="30" y="9"/>
                  <a:pt x="29" y="9"/>
                </a:cubicBezTo>
                <a:cubicBezTo>
                  <a:pt x="28" y="10"/>
                  <a:pt x="28" y="10"/>
                  <a:pt x="28" y="10"/>
                </a:cubicBezTo>
                <a:cubicBezTo>
                  <a:pt x="29" y="11"/>
                  <a:pt x="31" y="12"/>
                  <a:pt x="30" y="14"/>
                </a:cubicBezTo>
                <a:cubicBezTo>
                  <a:pt x="29" y="14"/>
                  <a:pt x="30" y="14"/>
                  <a:pt x="30" y="14"/>
                </a:cubicBezTo>
                <a:cubicBezTo>
                  <a:pt x="32" y="15"/>
                  <a:pt x="30" y="16"/>
                  <a:pt x="31" y="16"/>
                </a:cubicBezTo>
                <a:cubicBezTo>
                  <a:pt x="31" y="18"/>
                  <a:pt x="27" y="16"/>
                  <a:pt x="29" y="15"/>
                </a:cubicBezTo>
                <a:cubicBezTo>
                  <a:pt x="28" y="15"/>
                  <a:pt x="28" y="14"/>
                  <a:pt x="27" y="15"/>
                </a:cubicBezTo>
                <a:cubicBezTo>
                  <a:pt x="26" y="15"/>
                  <a:pt x="26" y="15"/>
                  <a:pt x="26" y="15"/>
                </a:cubicBezTo>
                <a:cubicBezTo>
                  <a:pt x="25" y="15"/>
                  <a:pt x="25" y="14"/>
                  <a:pt x="25" y="14"/>
                </a:cubicBezTo>
                <a:cubicBezTo>
                  <a:pt x="25" y="15"/>
                  <a:pt x="25" y="14"/>
                  <a:pt x="24" y="14"/>
                </a:cubicBezTo>
                <a:cubicBezTo>
                  <a:pt x="24" y="14"/>
                  <a:pt x="23" y="15"/>
                  <a:pt x="24" y="14"/>
                </a:cubicBezTo>
                <a:cubicBezTo>
                  <a:pt x="23" y="14"/>
                  <a:pt x="24" y="15"/>
                  <a:pt x="23" y="15"/>
                </a:cubicBezTo>
                <a:cubicBezTo>
                  <a:pt x="23" y="16"/>
                  <a:pt x="22" y="15"/>
                  <a:pt x="22" y="15"/>
                </a:cubicBezTo>
                <a:cubicBezTo>
                  <a:pt x="22" y="15"/>
                  <a:pt x="21" y="16"/>
                  <a:pt x="20" y="16"/>
                </a:cubicBezTo>
                <a:cubicBezTo>
                  <a:pt x="20" y="16"/>
                  <a:pt x="19" y="15"/>
                  <a:pt x="19" y="16"/>
                </a:cubicBezTo>
                <a:cubicBezTo>
                  <a:pt x="18" y="16"/>
                  <a:pt x="18" y="16"/>
                  <a:pt x="18" y="16"/>
                </a:cubicBezTo>
                <a:cubicBezTo>
                  <a:pt x="17" y="16"/>
                  <a:pt x="16" y="16"/>
                  <a:pt x="17" y="17"/>
                </a:cubicBezTo>
                <a:cubicBezTo>
                  <a:pt x="16" y="17"/>
                  <a:pt x="16" y="18"/>
                  <a:pt x="15" y="18"/>
                </a:cubicBezTo>
                <a:cubicBezTo>
                  <a:pt x="15" y="17"/>
                  <a:pt x="15" y="17"/>
                  <a:pt x="15" y="17"/>
                </a:cubicBezTo>
                <a:cubicBezTo>
                  <a:pt x="14" y="17"/>
                  <a:pt x="14" y="18"/>
                  <a:pt x="14" y="18"/>
                </a:cubicBezTo>
                <a:cubicBezTo>
                  <a:pt x="13" y="18"/>
                  <a:pt x="13" y="18"/>
                  <a:pt x="13" y="17"/>
                </a:cubicBezTo>
                <a:cubicBezTo>
                  <a:pt x="13" y="17"/>
                  <a:pt x="12" y="17"/>
                  <a:pt x="12" y="17"/>
                </a:cubicBezTo>
                <a:cubicBezTo>
                  <a:pt x="12" y="17"/>
                  <a:pt x="12" y="16"/>
                  <a:pt x="12" y="16"/>
                </a:cubicBezTo>
                <a:cubicBezTo>
                  <a:pt x="12" y="16"/>
                  <a:pt x="11" y="16"/>
                  <a:pt x="11" y="16"/>
                </a:cubicBezTo>
                <a:cubicBezTo>
                  <a:pt x="10" y="16"/>
                  <a:pt x="10" y="16"/>
                  <a:pt x="9" y="16"/>
                </a:cubicBezTo>
                <a:cubicBezTo>
                  <a:pt x="9" y="16"/>
                  <a:pt x="8" y="15"/>
                  <a:pt x="8" y="16"/>
                </a:cubicBezTo>
                <a:cubicBezTo>
                  <a:pt x="8" y="16"/>
                  <a:pt x="9" y="17"/>
                  <a:pt x="8" y="18"/>
                </a:cubicBezTo>
                <a:cubicBezTo>
                  <a:pt x="8" y="18"/>
                  <a:pt x="7" y="19"/>
                  <a:pt x="6" y="19"/>
                </a:cubicBezTo>
                <a:cubicBezTo>
                  <a:pt x="6" y="19"/>
                  <a:pt x="7" y="18"/>
                  <a:pt x="6" y="18"/>
                </a:cubicBezTo>
                <a:cubicBezTo>
                  <a:pt x="6" y="18"/>
                  <a:pt x="6" y="18"/>
                  <a:pt x="6" y="18"/>
                </a:cubicBezTo>
                <a:cubicBezTo>
                  <a:pt x="5" y="18"/>
                  <a:pt x="5" y="17"/>
                  <a:pt x="5" y="17"/>
                </a:cubicBezTo>
                <a:cubicBezTo>
                  <a:pt x="4" y="17"/>
                  <a:pt x="4" y="16"/>
                  <a:pt x="4" y="16"/>
                </a:cubicBezTo>
                <a:cubicBezTo>
                  <a:pt x="4" y="16"/>
                  <a:pt x="3" y="16"/>
                  <a:pt x="3" y="16"/>
                </a:cubicBezTo>
                <a:cubicBezTo>
                  <a:pt x="3" y="15"/>
                  <a:pt x="2" y="16"/>
                  <a:pt x="2" y="16"/>
                </a:cubicBezTo>
                <a:cubicBezTo>
                  <a:pt x="2" y="16"/>
                  <a:pt x="1" y="16"/>
                  <a:pt x="1" y="16"/>
                </a:cubicBezTo>
                <a:cubicBezTo>
                  <a:pt x="0" y="17"/>
                  <a:pt x="1" y="17"/>
                  <a:pt x="2" y="17"/>
                </a:cubicBezTo>
                <a:cubicBezTo>
                  <a:pt x="2" y="18"/>
                  <a:pt x="1" y="18"/>
                  <a:pt x="1" y="19"/>
                </a:cubicBezTo>
                <a:cubicBezTo>
                  <a:pt x="0" y="20"/>
                  <a:pt x="2" y="21"/>
                  <a:pt x="1" y="21"/>
                </a:cubicBezTo>
                <a:cubicBezTo>
                  <a:pt x="2" y="21"/>
                  <a:pt x="3" y="21"/>
                  <a:pt x="3" y="22"/>
                </a:cubicBezTo>
                <a:cubicBezTo>
                  <a:pt x="4" y="22"/>
                  <a:pt x="3" y="23"/>
                  <a:pt x="4" y="23"/>
                </a:cubicBezTo>
                <a:cubicBezTo>
                  <a:pt x="5" y="23"/>
                  <a:pt x="5" y="24"/>
                  <a:pt x="6" y="24"/>
                </a:cubicBezTo>
                <a:cubicBezTo>
                  <a:pt x="6" y="23"/>
                  <a:pt x="6" y="23"/>
                  <a:pt x="6" y="23"/>
                </a:cubicBezTo>
                <a:cubicBezTo>
                  <a:pt x="7" y="23"/>
                  <a:pt x="6" y="23"/>
                  <a:pt x="7" y="23"/>
                </a:cubicBezTo>
                <a:cubicBezTo>
                  <a:pt x="7" y="22"/>
                  <a:pt x="7" y="23"/>
                  <a:pt x="7" y="22"/>
                </a:cubicBezTo>
                <a:cubicBezTo>
                  <a:pt x="7" y="22"/>
                  <a:pt x="8" y="22"/>
                  <a:pt x="8" y="22"/>
                </a:cubicBezTo>
                <a:cubicBezTo>
                  <a:pt x="9" y="22"/>
                  <a:pt x="8" y="23"/>
                  <a:pt x="9" y="23"/>
                </a:cubicBezTo>
                <a:cubicBezTo>
                  <a:pt x="9" y="24"/>
                  <a:pt x="10" y="23"/>
                  <a:pt x="10" y="23"/>
                </a:cubicBezTo>
                <a:cubicBezTo>
                  <a:pt x="11" y="23"/>
                  <a:pt x="11" y="24"/>
                  <a:pt x="11" y="24"/>
                </a:cubicBezTo>
                <a:cubicBezTo>
                  <a:pt x="11" y="24"/>
                  <a:pt x="11" y="24"/>
                  <a:pt x="11" y="24"/>
                </a:cubicBezTo>
                <a:cubicBezTo>
                  <a:pt x="11" y="24"/>
                  <a:pt x="12" y="24"/>
                  <a:pt x="13" y="24"/>
                </a:cubicBezTo>
                <a:cubicBezTo>
                  <a:pt x="14" y="24"/>
                  <a:pt x="14" y="24"/>
                  <a:pt x="14" y="23"/>
                </a:cubicBezTo>
                <a:cubicBezTo>
                  <a:pt x="15" y="22"/>
                  <a:pt x="16" y="22"/>
                  <a:pt x="17" y="22"/>
                </a:cubicBezTo>
                <a:cubicBezTo>
                  <a:pt x="17" y="22"/>
                  <a:pt x="17" y="22"/>
                  <a:pt x="18" y="22"/>
                </a:cubicBezTo>
                <a:cubicBezTo>
                  <a:pt x="18" y="22"/>
                  <a:pt x="19" y="22"/>
                  <a:pt x="19" y="22"/>
                </a:cubicBezTo>
                <a:cubicBezTo>
                  <a:pt x="21" y="22"/>
                  <a:pt x="22" y="21"/>
                  <a:pt x="23" y="21"/>
                </a:cubicBezTo>
                <a:cubicBezTo>
                  <a:pt x="23" y="21"/>
                  <a:pt x="24" y="21"/>
                  <a:pt x="23" y="22"/>
                </a:cubicBezTo>
                <a:cubicBezTo>
                  <a:pt x="23" y="22"/>
                  <a:pt x="23" y="22"/>
                  <a:pt x="23" y="23"/>
                </a:cubicBezTo>
                <a:cubicBezTo>
                  <a:pt x="24" y="24"/>
                  <a:pt x="24" y="23"/>
                  <a:pt x="24" y="24"/>
                </a:cubicBezTo>
                <a:cubicBezTo>
                  <a:pt x="24" y="24"/>
                  <a:pt x="25" y="25"/>
                  <a:pt x="25" y="25"/>
                </a:cubicBezTo>
                <a:cubicBezTo>
                  <a:pt x="26" y="26"/>
                  <a:pt x="27" y="26"/>
                  <a:pt x="28" y="26"/>
                </a:cubicBezTo>
                <a:cubicBezTo>
                  <a:pt x="30" y="26"/>
                  <a:pt x="31" y="26"/>
                  <a:pt x="32" y="26"/>
                </a:cubicBezTo>
                <a:cubicBezTo>
                  <a:pt x="32" y="26"/>
                  <a:pt x="32" y="27"/>
                  <a:pt x="33" y="27"/>
                </a:cubicBezTo>
                <a:cubicBezTo>
                  <a:pt x="33" y="27"/>
                  <a:pt x="34" y="27"/>
                  <a:pt x="34" y="27"/>
                </a:cubicBezTo>
                <a:cubicBezTo>
                  <a:pt x="35" y="27"/>
                  <a:pt x="36" y="27"/>
                  <a:pt x="37" y="27"/>
                </a:cubicBezTo>
                <a:cubicBezTo>
                  <a:pt x="38" y="27"/>
                  <a:pt x="39" y="27"/>
                  <a:pt x="40" y="28"/>
                </a:cubicBezTo>
                <a:cubicBezTo>
                  <a:pt x="41" y="28"/>
                  <a:pt x="41" y="28"/>
                  <a:pt x="42" y="28"/>
                </a:cubicBezTo>
                <a:cubicBezTo>
                  <a:pt x="43" y="28"/>
                  <a:pt x="43" y="28"/>
                  <a:pt x="44" y="29"/>
                </a:cubicBezTo>
                <a:cubicBezTo>
                  <a:pt x="44" y="28"/>
                  <a:pt x="45" y="28"/>
                  <a:pt x="46" y="27"/>
                </a:cubicBezTo>
                <a:cubicBezTo>
                  <a:pt x="46" y="27"/>
                  <a:pt x="47" y="25"/>
                  <a:pt x="47" y="26"/>
                </a:cubicBezTo>
                <a:cubicBezTo>
                  <a:pt x="48" y="25"/>
                  <a:pt x="49" y="26"/>
                  <a:pt x="50" y="26"/>
                </a:cubicBezTo>
                <a:cubicBezTo>
                  <a:pt x="51" y="26"/>
                  <a:pt x="51" y="26"/>
                  <a:pt x="51" y="26"/>
                </a:cubicBezTo>
                <a:cubicBezTo>
                  <a:pt x="52" y="26"/>
                  <a:pt x="52" y="26"/>
                  <a:pt x="52" y="26"/>
                </a:cubicBezTo>
                <a:cubicBezTo>
                  <a:pt x="52" y="25"/>
                  <a:pt x="53" y="25"/>
                  <a:pt x="54" y="25"/>
                </a:cubicBezTo>
                <a:cubicBezTo>
                  <a:pt x="55" y="25"/>
                  <a:pt x="56" y="25"/>
                  <a:pt x="57" y="26"/>
                </a:cubicBezTo>
                <a:cubicBezTo>
                  <a:pt x="57" y="25"/>
                  <a:pt x="55" y="24"/>
                  <a:pt x="56" y="24"/>
                </a:cubicBezTo>
                <a:cubicBezTo>
                  <a:pt x="57" y="23"/>
                  <a:pt x="58" y="23"/>
                  <a:pt x="59" y="22"/>
                </a:cubicBezTo>
                <a:cubicBezTo>
                  <a:pt x="59" y="22"/>
                  <a:pt x="60" y="22"/>
                  <a:pt x="60" y="22"/>
                </a:cubicBezTo>
                <a:cubicBezTo>
                  <a:pt x="60" y="22"/>
                  <a:pt x="60" y="22"/>
                  <a:pt x="60" y="22"/>
                </a:cubicBezTo>
                <a:cubicBezTo>
                  <a:pt x="60" y="22"/>
                  <a:pt x="60" y="21"/>
                  <a:pt x="60" y="21"/>
                </a:cubicBezTo>
                <a:cubicBezTo>
                  <a:pt x="60" y="21"/>
                  <a:pt x="61" y="21"/>
                  <a:pt x="60" y="20"/>
                </a:cubicBezTo>
                <a:cubicBezTo>
                  <a:pt x="60" y="20"/>
                  <a:pt x="60" y="21"/>
                  <a:pt x="60" y="20"/>
                </a:cubicBezTo>
                <a:cubicBezTo>
                  <a:pt x="60" y="19"/>
                  <a:pt x="60" y="19"/>
                  <a:pt x="60" y="19"/>
                </a:cubicBezTo>
                <a:cubicBezTo>
                  <a:pt x="60" y="18"/>
                  <a:pt x="59" y="18"/>
                  <a:pt x="60" y="18"/>
                </a:cubicBezTo>
                <a:cubicBezTo>
                  <a:pt x="61" y="17"/>
                  <a:pt x="61" y="17"/>
                  <a:pt x="62" y="17"/>
                </a:cubicBezTo>
                <a:cubicBezTo>
                  <a:pt x="62" y="17"/>
                  <a:pt x="62" y="16"/>
                  <a:pt x="62" y="16"/>
                </a:cubicBezTo>
                <a:cubicBezTo>
                  <a:pt x="61" y="15"/>
                  <a:pt x="61" y="15"/>
                  <a:pt x="59" y="15"/>
                </a:cubicBezTo>
                <a:cubicBezTo>
                  <a:pt x="60" y="14"/>
                  <a:pt x="60" y="15"/>
                  <a:pt x="60" y="14"/>
                </a:cubicBezTo>
                <a:cubicBezTo>
                  <a:pt x="60" y="14"/>
                  <a:pt x="60" y="14"/>
                  <a:pt x="60" y="14"/>
                </a:cubicBezTo>
                <a:cubicBezTo>
                  <a:pt x="61" y="14"/>
                  <a:pt x="62" y="14"/>
                  <a:pt x="62" y="14"/>
                </a:cubicBezTo>
                <a:cubicBezTo>
                  <a:pt x="62" y="14"/>
                  <a:pt x="62" y="15"/>
                  <a:pt x="62" y="15"/>
                </a:cubicBezTo>
                <a:cubicBezTo>
                  <a:pt x="63" y="15"/>
                  <a:pt x="63" y="14"/>
                  <a:pt x="63" y="14"/>
                </a:cubicBezTo>
                <a:cubicBezTo>
                  <a:pt x="64" y="14"/>
                  <a:pt x="64" y="14"/>
                  <a:pt x="65" y="14"/>
                </a:cubicBezTo>
                <a:cubicBezTo>
                  <a:pt x="65" y="14"/>
                  <a:pt x="65" y="14"/>
                  <a:pt x="65" y="13"/>
                </a:cubicBezTo>
                <a:cubicBezTo>
                  <a:pt x="65" y="13"/>
                  <a:pt x="64" y="13"/>
                  <a:pt x="64" y="13"/>
                </a:cubicBezTo>
                <a:cubicBezTo>
                  <a:pt x="65" y="12"/>
                  <a:pt x="65" y="12"/>
                  <a:pt x="65" y="12"/>
                </a:cubicBezTo>
                <a:cubicBezTo>
                  <a:pt x="65" y="12"/>
                  <a:pt x="65" y="11"/>
                  <a:pt x="66" y="1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4" name="Australia"/>
          <p:cNvSpPr>
            <a:spLocks noEditPoints="1"/>
          </p:cNvSpPr>
          <p:nvPr/>
        </p:nvSpPr>
        <p:spPr bwMode="auto">
          <a:xfrm>
            <a:off x="9624939" y="5064922"/>
            <a:ext cx="1512944" cy="1330951"/>
          </a:xfrm>
          <a:custGeom>
            <a:avLst/>
            <a:gdLst/>
            <a:ahLst/>
            <a:cxnLst>
              <a:cxn ang="0">
                <a:pos x="257" y="41"/>
              </a:cxn>
              <a:cxn ang="0">
                <a:pos x="313" y="1"/>
              </a:cxn>
              <a:cxn ang="0">
                <a:pos x="234" y="341"/>
              </a:cxn>
              <a:cxn ang="0">
                <a:pos x="232" y="365"/>
              </a:cxn>
              <a:cxn ang="0">
                <a:pos x="247" y="361"/>
              </a:cxn>
              <a:cxn ang="0">
                <a:pos x="259" y="352"/>
              </a:cxn>
              <a:cxn ang="0">
                <a:pos x="195" y="19"/>
              </a:cxn>
              <a:cxn ang="0">
                <a:pos x="203" y="283"/>
              </a:cxn>
              <a:cxn ang="0">
                <a:pos x="203" y="20"/>
              </a:cxn>
              <a:cxn ang="0">
                <a:pos x="373" y="148"/>
              </a:cxn>
              <a:cxn ang="0">
                <a:pos x="273" y="331"/>
              </a:cxn>
              <a:cxn ang="0">
                <a:pos x="340" y="90"/>
              </a:cxn>
              <a:cxn ang="0">
                <a:pos x="144" y="50"/>
              </a:cxn>
              <a:cxn ang="0">
                <a:pos x="251" y="36"/>
              </a:cxn>
              <a:cxn ang="0">
                <a:pos x="191" y="273"/>
              </a:cxn>
              <a:cxn ang="0">
                <a:pos x="243" y="365"/>
              </a:cxn>
              <a:cxn ang="0">
                <a:pos x="253" y="22"/>
              </a:cxn>
              <a:cxn ang="0">
                <a:pos x="379" y="156"/>
              </a:cxn>
              <a:cxn ang="0">
                <a:pos x="371" y="135"/>
              </a:cxn>
              <a:cxn ang="0">
                <a:pos x="358" y="119"/>
              </a:cxn>
              <a:cxn ang="0">
                <a:pos x="349" y="104"/>
              </a:cxn>
              <a:cxn ang="0">
                <a:pos x="336" y="68"/>
              </a:cxn>
              <a:cxn ang="0">
                <a:pos x="322" y="35"/>
              </a:cxn>
              <a:cxn ang="0">
                <a:pos x="309" y="20"/>
              </a:cxn>
              <a:cxn ang="0">
                <a:pos x="301" y="51"/>
              </a:cxn>
              <a:cxn ang="0">
                <a:pos x="252" y="62"/>
              </a:cxn>
              <a:cxn ang="0">
                <a:pos x="253" y="34"/>
              </a:cxn>
              <a:cxn ang="0">
                <a:pos x="258" y="20"/>
              </a:cxn>
              <a:cxn ang="0">
                <a:pos x="245" y="23"/>
              </a:cxn>
              <a:cxn ang="0">
                <a:pos x="225" y="18"/>
              </a:cxn>
              <a:cxn ang="0">
                <a:pos x="214" y="15"/>
              </a:cxn>
              <a:cxn ang="0">
                <a:pos x="202" y="28"/>
              </a:cxn>
              <a:cxn ang="0">
                <a:pos x="185" y="46"/>
              </a:cxn>
              <a:cxn ang="0">
                <a:pos x="175" y="53"/>
              </a:cxn>
              <a:cxn ang="0">
                <a:pos x="167" y="44"/>
              </a:cxn>
              <a:cxn ang="0">
                <a:pos x="156" y="45"/>
              </a:cxn>
              <a:cxn ang="0">
                <a:pos x="149" y="47"/>
              </a:cxn>
              <a:cxn ang="0">
                <a:pos x="143" y="56"/>
              </a:cxn>
              <a:cxn ang="0">
                <a:pos x="135" y="64"/>
              </a:cxn>
              <a:cxn ang="0">
                <a:pos x="126" y="68"/>
              </a:cxn>
              <a:cxn ang="0">
                <a:pos x="122" y="77"/>
              </a:cxn>
              <a:cxn ang="0">
                <a:pos x="99" y="102"/>
              </a:cxn>
              <a:cxn ang="0">
                <a:pos x="47" y="119"/>
              </a:cxn>
              <a:cxn ang="0">
                <a:pos x="19" y="148"/>
              </a:cxn>
              <a:cxn ang="0">
                <a:pos x="12" y="172"/>
              </a:cxn>
              <a:cxn ang="0">
                <a:pos x="15" y="205"/>
              </a:cxn>
              <a:cxn ang="0">
                <a:pos x="3" y="258"/>
              </a:cxn>
              <a:cxn ang="0">
                <a:pos x="29" y="273"/>
              </a:cxn>
              <a:cxn ang="0">
                <a:pos x="66" y="263"/>
              </a:cxn>
              <a:cxn ang="0">
                <a:pos x="145" y="237"/>
              </a:cxn>
              <a:cxn ang="0">
                <a:pos x="183" y="250"/>
              </a:cxn>
              <a:cxn ang="0">
                <a:pos x="183" y="269"/>
              </a:cxn>
              <a:cxn ang="0">
                <a:pos x="205" y="260"/>
              </a:cxn>
              <a:cxn ang="0">
                <a:pos x="200" y="273"/>
              </a:cxn>
              <a:cxn ang="0">
                <a:pos x="209" y="281"/>
              </a:cxn>
              <a:cxn ang="0">
                <a:pos x="213" y="300"/>
              </a:cxn>
              <a:cxn ang="0">
                <a:pos x="252" y="308"/>
              </a:cxn>
              <a:cxn ang="0">
                <a:pos x="262" y="319"/>
              </a:cxn>
              <a:cxn ang="0">
                <a:pos x="310" y="290"/>
              </a:cxn>
              <a:cxn ang="0">
                <a:pos x="334" y="263"/>
              </a:cxn>
              <a:cxn ang="0">
                <a:pos x="367" y="226"/>
              </a:cxn>
              <a:cxn ang="0">
                <a:pos x="386" y="174"/>
              </a:cxn>
            </a:cxnLst>
            <a:rect l="0" t="0" r="r" b="b"/>
            <a:pathLst>
              <a:path w="419" h="368">
                <a:moveTo>
                  <a:pt x="418" y="237"/>
                </a:moveTo>
                <a:cubicBezTo>
                  <a:pt x="418" y="236"/>
                  <a:pt x="419" y="236"/>
                  <a:pt x="418" y="236"/>
                </a:cubicBezTo>
                <a:cubicBezTo>
                  <a:pt x="419" y="236"/>
                  <a:pt x="419" y="236"/>
                  <a:pt x="418" y="237"/>
                </a:cubicBezTo>
                <a:close/>
                <a:moveTo>
                  <a:pt x="141" y="54"/>
                </a:moveTo>
                <a:cubicBezTo>
                  <a:pt x="141" y="54"/>
                  <a:pt x="141" y="54"/>
                  <a:pt x="141" y="53"/>
                </a:cubicBezTo>
                <a:cubicBezTo>
                  <a:pt x="141" y="54"/>
                  <a:pt x="140" y="54"/>
                  <a:pt x="140" y="54"/>
                </a:cubicBezTo>
                <a:cubicBezTo>
                  <a:pt x="141" y="54"/>
                  <a:pt x="141" y="54"/>
                  <a:pt x="141" y="54"/>
                </a:cubicBezTo>
                <a:close/>
                <a:moveTo>
                  <a:pt x="272" y="332"/>
                </a:moveTo>
                <a:cubicBezTo>
                  <a:pt x="271" y="332"/>
                  <a:pt x="271" y="333"/>
                  <a:pt x="270" y="333"/>
                </a:cubicBezTo>
                <a:cubicBezTo>
                  <a:pt x="270" y="332"/>
                  <a:pt x="269" y="333"/>
                  <a:pt x="269" y="333"/>
                </a:cubicBezTo>
                <a:cubicBezTo>
                  <a:pt x="268" y="334"/>
                  <a:pt x="269" y="334"/>
                  <a:pt x="270" y="334"/>
                </a:cubicBezTo>
                <a:cubicBezTo>
                  <a:pt x="270" y="334"/>
                  <a:pt x="270" y="334"/>
                  <a:pt x="271" y="334"/>
                </a:cubicBezTo>
                <a:cubicBezTo>
                  <a:pt x="271" y="333"/>
                  <a:pt x="271" y="334"/>
                  <a:pt x="271" y="334"/>
                </a:cubicBezTo>
                <a:cubicBezTo>
                  <a:pt x="271" y="334"/>
                  <a:pt x="273" y="334"/>
                  <a:pt x="273" y="333"/>
                </a:cubicBezTo>
                <a:cubicBezTo>
                  <a:pt x="272" y="333"/>
                  <a:pt x="272" y="332"/>
                  <a:pt x="272" y="332"/>
                </a:cubicBezTo>
                <a:close/>
                <a:moveTo>
                  <a:pt x="314" y="6"/>
                </a:moveTo>
                <a:cubicBezTo>
                  <a:pt x="314" y="6"/>
                  <a:pt x="314" y="6"/>
                  <a:pt x="314" y="6"/>
                </a:cubicBezTo>
                <a:cubicBezTo>
                  <a:pt x="314" y="5"/>
                  <a:pt x="314" y="5"/>
                  <a:pt x="314" y="6"/>
                </a:cubicBezTo>
                <a:close/>
                <a:moveTo>
                  <a:pt x="259" y="13"/>
                </a:moveTo>
                <a:cubicBezTo>
                  <a:pt x="259" y="12"/>
                  <a:pt x="261" y="11"/>
                  <a:pt x="260" y="10"/>
                </a:cubicBezTo>
                <a:cubicBezTo>
                  <a:pt x="260" y="10"/>
                  <a:pt x="260" y="11"/>
                  <a:pt x="260" y="11"/>
                </a:cubicBezTo>
                <a:cubicBezTo>
                  <a:pt x="260" y="12"/>
                  <a:pt x="260" y="12"/>
                  <a:pt x="259" y="12"/>
                </a:cubicBezTo>
                <a:cubicBezTo>
                  <a:pt x="259" y="13"/>
                  <a:pt x="258" y="13"/>
                  <a:pt x="258" y="14"/>
                </a:cubicBezTo>
                <a:cubicBezTo>
                  <a:pt x="258" y="14"/>
                  <a:pt x="257" y="15"/>
                  <a:pt x="257" y="15"/>
                </a:cubicBezTo>
                <a:cubicBezTo>
                  <a:pt x="258" y="15"/>
                  <a:pt x="258" y="15"/>
                  <a:pt x="258" y="14"/>
                </a:cubicBezTo>
                <a:cubicBezTo>
                  <a:pt x="259" y="14"/>
                  <a:pt x="259" y="14"/>
                  <a:pt x="259" y="13"/>
                </a:cubicBezTo>
                <a:close/>
                <a:moveTo>
                  <a:pt x="257" y="42"/>
                </a:moveTo>
                <a:cubicBezTo>
                  <a:pt x="257" y="42"/>
                  <a:pt x="257" y="42"/>
                  <a:pt x="258" y="42"/>
                </a:cubicBezTo>
                <a:cubicBezTo>
                  <a:pt x="258" y="41"/>
                  <a:pt x="258" y="41"/>
                  <a:pt x="258" y="40"/>
                </a:cubicBezTo>
                <a:cubicBezTo>
                  <a:pt x="257" y="40"/>
                  <a:pt x="257" y="41"/>
                  <a:pt x="257" y="41"/>
                </a:cubicBezTo>
                <a:cubicBezTo>
                  <a:pt x="257" y="41"/>
                  <a:pt x="257" y="41"/>
                  <a:pt x="257" y="41"/>
                </a:cubicBezTo>
                <a:cubicBezTo>
                  <a:pt x="257" y="41"/>
                  <a:pt x="256" y="42"/>
                  <a:pt x="256" y="41"/>
                </a:cubicBezTo>
                <a:cubicBezTo>
                  <a:pt x="255" y="41"/>
                  <a:pt x="256" y="40"/>
                  <a:pt x="256" y="39"/>
                </a:cubicBezTo>
                <a:cubicBezTo>
                  <a:pt x="257" y="39"/>
                  <a:pt x="255" y="40"/>
                  <a:pt x="255" y="40"/>
                </a:cubicBezTo>
                <a:cubicBezTo>
                  <a:pt x="255" y="40"/>
                  <a:pt x="255" y="40"/>
                  <a:pt x="255" y="40"/>
                </a:cubicBezTo>
                <a:cubicBezTo>
                  <a:pt x="255" y="40"/>
                  <a:pt x="255" y="40"/>
                  <a:pt x="255" y="41"/>
                </a:cubicBezTo>
                <a:cubicBezTo>
                  <a:pt x="255" y="41"/>
                  <a:pt x="254" y="42"/>
                  <a:pt x="254" y="41"/>
                </a:cubicBezTo>
                <a:cubicBezTo>
                  <a:pt x="254" y="41"/>
                  <a:pt x="254" y="41"/>
                  <a:pt x="254" y="41"/>
                </a:cubicBezTo>
                <a:cubicBezTo>
                  <a:pt x="254" y="41"/>
                  <a:pt x="254" y="41"/>
                  <a:pt x="253" y="41"/>
                </a:cubicBezTo>
                <a:cubicBezTo>
                  <a:pt x="253" y="41"/>
                  <a:pt x="253" y="42"/>
                  <a:pt x="253" y="42"/>
                </a:cubicBezTo>
                <a:cubicBezTo>
                  <a:pt x="253" y="43"/>
                  <a:pt x="253" y="45"/>
                  <a:pt x="252" y="45"/>
                </a:cubicBezTo>
                <a:cubicBezTo>
                  <a:pt x="252" y="45"/>
                  <a:pt x="252" y="45"/>
                  <a:pt x="252" y="46"/>
                </a:cubicBezTo>
                <a:cubicBezTo>
                  <a:pt x="252" y="46"/>
                  <a:pt x="253" y="45"/>
                  <a:pt x="253" y="45"/>
                </a:cubicBezTo>
                <a:cubicBezTo>
                  <a:pt x="253" y="45"/>
                  <a:pt x="253" y="46"/>
                  <a:pt x="254" y="46"/>
                </a:cubicBezTo>
                <a:cubicBezTo>
                  <a:pt x="254" y="46"/>
                  <a:pt x="254" y="46"/>
                  <a:pt x="255" y="46"/>
                </a:cubicBezTo>
                <a:cubicBezTo>
                  <a:pt x="255" y="46"/>
                  <a:pt x="255" y="46"/>
                  <a:pt x="255" y="46"/>
                </a:cubicBezTo>
                <a:cubicBezTo>
                  <a:pt x="256" y="46"/>
                  <a:pt x="257" y="46"/>
                  <a:pt x="257" y="46"/>
                </a:cubicBezTo>
                <a:cubicBezTo>
                  <a:pt x="258" y="46"/>
                  <a:pt x="258" y="45"/>
                  <a:pt x="258" y="45"/>
                </a:cubicBezTo>
                <a:cubicBezTo>
                  <a:pt x="258" y="45"/>
                  <a:pt x="257" y="46"/>
                  <a:pt x="257" y="45"/>
                </a:cubicBezTo>
                <a:cubicBezTo>
                  <a:pt x="256" y="45"/>
                  <a:pt x="256" y="45"/>
                  <a:pt x="256" y="45"/>
                </a:cubicBezTo>
                <a:cubicBezTo>
                  <a:pt x="255" y="45"/>
                  <a:pt x="255" y="44"/>
                  <a:pt x="256" y="44"/>
                </a:cubicBezTo>
                <a:cubicBezTo>
                  <a:pt x="256" y="44"/>
                  <a:pt x="257" y="44"/>
                  <a:pt x="257" y="43"/>
                </a:cubicBezTo>
                <a:cubicBezTo>
                  <a:pt x="256" y="43"/>
                  <a:pt x="256" y="42"/>
                  <a:pt x="257" y="42"/>
                </a:cubicBezTo>
                <a:close/>
                <a:moveTo>
                  <a:pt x="257" y="15"/>
                </a:moveTo>
                <a:cubicBezTo>
                  <a:pt x="257" y="16"/>
                  <a:pt x="256" y="16"/>
                  <a:pt x="256" y="16"/>
                </a:cubicBezTo>
                <a:cubicBezTo>
                  <a:pt x="256" y="16"/>
                  <a:pt x="255" y="17"/>
                  <a:pt x="255" y="17"/>
                </a:cubicBezTo>
                <a:cubicBezTo>
                  <a:pt x="255" y="16"/>
                  <a:pt x="254" y="17"/>
                  <a:pt x="254" y="18"/>
                </a:cubicBezTo>
                <a:cubicBezTo>
                  <a:pt x="254" y="17"/>
                  <a:pt x="255" y="17"/>
                  <a:pt x="256" y="17"/>
                </a:cubicBezTo>
                <a:cubicBezTo>
                  <a:pt x="256" y="17"/>
                  <a:pt x="257" y="16"/>
                  <a:pt x="257" y="15"/>
                </a:cubicBezTo>
                <a:close/>
                <a:moveTo>
                  <a:pt x="314" y="0"/>
                </a:moveTo>
                <a:cubicBezTo>
                  <a:pt x="313" y="0"/>
                  <a:pt x="313" y="0"/>
                  <a:pt x="313" y="0"/>
                </a:cubicBezTo>
                <a:cubicBezTo>
                  <a:pt x="313" y="1"/>
                  <a:pt x="313" y="1"/>
                  <a:pt x="313" y="1"/>
                </a:cubicBezTo>
                <a:cubicBezTo>
                  <a:pt x="314" y="1"/>
                  <a:pt x="314" y="0"/>
                  <a:pt x="314" y="0"/>
                </a:cubicBezTo>
                <a:close/>
                <a:moveTo>
                  <a:pt x="245" y="53"/>
                </a:moveTo>
                <a:cubicBezTo>
                  <a:pt x="245" y="53"/>
                  <a:pt x="246" y="53"/>
                  <a:pt x="245" y="52"/>
                </a:cubicBezTo>
                <a:cubicBezTo>
                  <a:pt x="245" y="52"/>
                  <a:pt x="245" y="53"/>
                  <a:pt x="245" y="53"/>
                </a:cubicBezTo>
                <a:close/>
                <a:moveTo>
                  <a:pt x="267" y="338"/>
                </a:moveTo>
                <a:cubicBezTo>
                  <a:pt x="267" y="338"/>
                  <a:pt x="267" y="337"/>
                  <a:pt x="267" y="337"/>
                </a:cubicBezTo>
                <a:cubicBezTo>
                  <a:pt x="266" y="336"/>
                  <a:pt x="265" y="339"/>
                  <a:pt x="264" y="338"/>
                </a:cubicBezTo>
                <a:cubicBezTo>
                  <a:pt x="263" y="338"/>
                  <a:pt x="262" y="338"/>
                  <a:pt x="262" y="338"/>
                </a:cubicBezTo>
                <a:cubicBezTo>
                  <a:pt x="261" y="339"/>
                  <a:pt x="260" y="339"/>
                  <a:pt x="259" y="340"/>
                </a:cubicBezTo>
                <a:cubicBezTo>
                  <a:pt x="260" y="339"/>
                  <a:pt x="259" y="339"/>
                  <a:pt x="258" y="339"/>
                </a:cubicBezTo>
                <a:cubicBezTo>
                  <a:pt x="258" y="339"/>
                  <a:pt x="258" y="340"/>
                  <a:pt x="257" y="340"/>
                </a:cubicBezTo>
                <a:cubicBezTo>
                  <a:pt x="257" y="340"/>
                  <a:pt x="256" y="339"/>
                  <a:pt x="256" y="340"/>
                </a:cubicBezTo>
                <a:cubicBezTo>
                  <a:pt x="255" y="340"/>
                  <a:pt x="253" y="340"/>
                  <a:pt x="254" y="341"/>
                </a:cubicBezTo>
                <a:cubicBezTo>
                  <a:pt x="254" y="341"/>
                  <a:pt x="254" y="341"/>
                  <a:pt x="254" y="341"/>
                </a:cubicBezTo>
                <a:cubicBezTo>
                  <a:pt x="254" y="341"/>
                  <a:pt x="253" y="341"/>
                  <a:pt x="253" y="341"/>
                </a:cubicBezTo>
                <a:cubicBezTo>
                  <a:pt x="253" y="341"/>
                  <a:pt x="253" y="340"/>
                  <a:pt x="253" y="340"/>
                </a:cubicBezTo>
                <a:cubicBezTo>
                  <a:pt x="252" y="340"/>
                  <a:pt x="251" y="342"/>
                  <a:pt x="251" y="342"/>
                </a:cubicBezTo>
                <a:cubicBezTo>
                  <a:pt x="251" y="341"/>
                  <a:pt x="251" y="341"/>
                  <a:pt x="250" y="341"/>
                </a:cubicBezTo>
                <a:cubicBezTo>
                  <a:pt x="250" y="341"/>
                  <a:pt x="249" y="341"/>
                  <a:pt x="249" y="341"/>
                </a:cubicBezTo>
                <a:cubicBezTo>
                  <a:pt x="247" y="341"/>
                  <a:pt x="247" y="340"/>
                  <a:pt x="245" y="340"/>
                </a:cubicBezTo>
                <a:cubicBezTo>
                  <a:pt x="244" y="340"/>
                  <a:pt x="245" y="339"/>
                  <a:pt x="244" y="339"/>
                </a:cubicBezTo>
                <a:cubicBezTo>
                  <a:pt x="244" y="339"/>
                  <a:pt x="244" y="338"/>
                  <a:pt x="243" y="338"/>
                </a:cubicBezTo>
                <a:cubicBezTo>
                  <a:pt x="243" y="338"/>
                  <a:pt x="242" y="338"/>
                  <a:pt x="242" y="337"/>
                </a:cubicBezTo>
                <a:cubicBezTo>
                  <a:pt x="242" y="337"/>
                  <a:pt x="242" y="337"/>
                  <a:pt x="242" y="337"/>
                </a:cubicBezTo>
                <a:cubicBezTo>
                  <a:pt x="242" y="337"/>
                  <a:pt x="240" y="338"/>
                  <a:pt x="240" y="337"/>
                </a:cubicBezTo>
                <a:cubicBezTo>
                  <a:pt x="239" y="337"/>
                  <a:pt x="239" y="337"/>
                  <a:pt x="238" y="337"/>
                </a:cubicBezTo>
                <a:cubicBezTo>
                  <a:pt x="238" y="336"/>
                  <a:pt x="238" y="336"/>
                  <a:pt x="238" y="336"/>
                </a:cubicBezTo>
                <a:cubicBezTo>
                  <a:pt x="237" y="336"/>
                  <a:pt x="237" y="338"/>
                  <a:pt x="236" y="338"/>
                </a:cubicBezTo>
                <a:cubicBezTo>
                  <a:pt x="235" y="339"/>
                  <a:pt x="235" y="339"/>
                  <a:pt x="234" y="340"/>
                </a:cubicBezTo>
                <a:cubicBezTo>
                  <a:pt x="234" y="340"/>
                  <a:pt x="235" y="340"/>
                  <a:pt x="235" y="340"/>
                </a:cubicBezTo>
                <a:cubicBezTo>
                  <a:pt x="234" y="341"/>
                  <a:pt x="234" y="341"/>
                  <a:pt x="234" y="341"/>
                </a:cubicBezTo>
                <a:cubicBezTo>
                  <a:pt x="234" y="342"/>
                  <a:pt x="234" y="343"/>
                  <a:pt x="234" y="343"/>
                </a:cubicBezTo>
                <a:cubicBezTo>
                  <a:pt x="234" y="344"/>
                  <a:pt x="233" y="344"/>
                  <a:pt x="233" y="344"/>
                </a:cubicBezTo>
                <a:cubicBezTo>
                  <a:pt x="233" y="345"/>
                  <a:pt x="233" y="346"/>
                  <a:pt x="233" y="347"/>
                </a:cubicBezTo>
                <a:cubicBezTo>
                  <a:pt x="233" y="347"/>
                  <a:pt x="233" y="347"/>
                  <a:pt x="233" y="348"/>
                </a:cubicBezTo>
                <a:cubicBezTo>
                  <a:pt x="233" y="349"/>
                  <a:pt x="234" y="351"/>
                  <a:pt x="233" y="352"/>
                </a:cubicBezTo>
                <a:cubicBezTo>
                  <a:pt x="233" y="352"/>
                  <a:pt x="232" y="353"/>
                  <a:pt x="233" y="353"/>
                </a:cubicBezTo>
                <a:cubicBezTo>
                  <a:pt x="233" y="352"/>
                  <a:pt x="233" y="352"/>
                  <a:pt x="233" y="353"/>
                </a:cubicBezTo>
                <a:cubicBezTo>
                  <a:pt x="233" y="354"/>
                  <a:pt x="234" y="355"/>
                  <a:pt x="234" y="354"/>
                </a:cubicBezTo>
                <a:cubicBezTo>
                  <a:pt x="234" y="355"/>
                  <a:pt x="233" y="355"/>
                  <a:pt x="233" y="355"/>
                </a:cubicBezTo>
                <a:cubicBezTo>
                  <a:pt x="233" y="355"/>
                  <a:pt x="233" y="356"/>
                  <a:pt x="232" y="356"/>
                </a:cubicBezTo>
                <a:cubicBezTo>
                  <a:pt x="232" y="355"/>
                  <a:pt x="233" y="355"/>
                  <a:pt x="232" y="354"/>
                </a:cubicBezTo>
                <a:cubicBezTo>
                  <a:pt x="232" y="354"/>
                  <a:pt x="232" y="353"/>
                  <a:pt x="232" y="353"/>
                </a:cubicBezTo>
                <a:cubicBezTo>
                  <a:pt x="232" y="353"/>
                  <a:pt x="232" y="353"/>
                  <a:pt x="232" y="353"/>
                </a:cubicBezTo>
                <a:cubicBezTo>
                  <a:pt x="232" y="353"/>
                  <a:pt x="231" y="355"/>
                  <a:pt x="230" y="356"/>
                </a:cubicBezTo>
                <a:cubicBezTo>
                  <a:pt x="230" y="356"/>
                  <a:pt x="230" y="356"/>
                  <a:pt x="230" y="356"/>
                </a:cubicBezTo>
                <a:cubicBezTo>
                  <a:pt x="230" y="357"/>
                  <a:pt x="230" y="357"/>
                  <a:pt x="230" y="357"/>
                </a:cubicBezTo>
                <a:cubicBezTo>
                  <a:pt x="230" y="357"/>
                  <a:pt x="230" y="358"/>
                  <a:pt x="230" y="358"/>
                </a:cubicBezTo>
                <a:cubicBezTo>
                  <a:pt x="230" y="359"/>
                  <a:pt x="230" y="359"/>
                  <a:pt x="230" y="360"/>
                </a:cubicBezTo>
                <a:cubicBezTo>
                  <a:pt x="229" y="360"/>
                  <a:pt x="230" y="361"/>
                  <a:pt x="230" y="361"/>
                </a:cubicBezTo>
                <a:cubicBezTo>
                  <a:pt x="230" y="361"/>
                  <a:pt x="230" y="362"/>
                  <a:pt x="230" y="362"/>
                </a:cubicBezTo>
                <a:cubicBezTo>
                  <a:pt x="230" y="362"/>
                  <a:pt x="230" y="363"/>
                  <a:pt x="230" y="363"/>
                </a:cubicBezTo>
                <a:cubicBezTo>
                  <a:pt x="230" y="363"/>
                  <a:pt x="230" y="364"/>
                  <a:pt x="230" y="365"/>
                </a:cubicBezTo>
                <a:cubicBezTo>
                  <a:pt x="231" y="365"/>
                  <a:pt x="231" y="364"/>
                  <a:pt x="231" y="364"/>
                </a:cubicBezTo>
                <a:cubicBezTo>
                  <a:pt x="231" y="364"/>
                  <a:pt x="231" y="364"/>
                  <a:pt x="231" y="364"/>
                </a:cubicBezTo>
                <a:cubicBezTo>
                  <a:pt x="232" y="364"/>
                  <a:pt x="231" y="365"/>
                  <a:pt x="232" y="365"/>
                </a:cubicBezTo>
                <a:cubicBezTo>
                  <a:pt x="232" y="365"/>
                  <a:pt x="232" y="365"/>
                  <a:pt x="232" y="365"/>
                </a:cubicBezTo>
                <a:cubicBezTo>
                  <a:pt x="232" y="365"/>
                  <a:pt x="233" y="364"/>
                  <a:pt x="233" y="364"/>
                </a:cubicBezTo>
                <a:cubicBezTo>
                  <a:pt x="234" y="364"/>
                  <a:pt x="233" y="365"/>
                  <a:pt x="233" y="366"/>
                </a:cubicBezTo>
                <a:cubicBezTo>
                  <a:pt x="233" y="366"/>
                  <a:pt x="233" y="365"/>
                  <a:pt x="233" y="365"/>
                </a:cubicBezTo>
                <a:cubicBezTo>
                  <a:pt x="233" y="365"/>
                  <a:pt x="232" y="366"/>
                  <a:pt x="232" y="366"/>
                </a:cubicBezTo>
                <a:cubicBezTo>
                  <a:pt x="232" y="366"/>
                  <a:pt x="232" y="365"/>
                  <a:pt x="232" y="365"/>
                </a:cubicBezTo>
                <a:cubicBezTo>
                  <a:pt x="231" y="365"/>
                  <a:pt x="231" y="365"/>
                  <a:pt x="231" y="365"/>
                </a:cubicBezTo>
                <a:cubicBezTo>
                  <a:pt x="231" y="366"/>
                  <a:pt x="231" y="365"/>
                  <a:pt x="230" y="366"/>
                </a:cubicBezTo>
                <a:cubicBezTo>
                  <a:pt x="230" y="366"/>
                  <a:pt x="231" y="366"/>
                  <a:pt x="231" y="366"/>
                </a:cubicBezTo>
                <a:cubicBezTo>
                  <a:pt x="231" y="367"/>
                  <a:pt x="230" y="367"/>
                  <a:pt x="230" y="367"/>
                </a:cubicBezTo>
                <a:cubicBezTo>
                  <a:pt x="230" y="367"/>
                  <a:pt x="232" y="367"/>
                  <a:pt x="232" y="367"/>
                </a:cubicBezTo>
                <a:cubicBezTo>
                  <a:pt x="232" y="367"/>
                  <a:pt x="232" y="367"/>
                  <a:pt x="232" y="367"/>
                </a:cubicBezTo>
                <a:cubicBezTo>
                  <a:pt x="233" y="367"/>
                  <a:pt x="232" y="367"/>
                  <a:pt x="233" y="367"/>
                </a:cubicBezTo>
                <a:cubicBezTo>
                  <a:pt x="233" y="367"/>
                  <a:pt x="233" y="367"/>
                  <a:pt x="233" y="367"/>
                </a:cubicBezTo>
                <a:cubicBezTo>
                  <a:pt x="233" y="367"/>
                  <a:pt x="234" y="367"/>
                  <a:pt x="234" y="367"/>
                </a:cubicBezTo>
                <a:cubicBezTo>
                  <a:pt x="235" y="367"/>
                  <a:pt x="235" y="367"/>
                  <a:pt x="235" y="366"/>
                </a:cubicBezTo>
                <a:cubicBezTo>
                  <a:pt x="235" y="367"/>
                  <a:pt x="236" y="367"/>
                  <a:pt x="235" y="368"/>
                </a:cubicBezTo>
                <a:cubicBezTo>
                  <a:pt x="235" y="368"/>
                  <a:pt x="237" y="368"/>
                  <a:pt x="237" y="368"/>
                </a:cubicBezTo>
                <a:cubicBezTo>
                  <a:pt x="237" y="368"/>
                  <a:pt x="238" y="368"/>
                  <a:pt x="238" y="367"/>
                </a:cubicBezTo>
                <a:cubicBezTo>
                  <a:pt x="238" y="367"/>
                  <a:pt x="238" y="367"/>
                  <a:pt x="238" y="367"/>
                </a:cubicBezTo>
                <a:cubicBezTo>
                  <a:pt x="239" y="367"/>
                  <a:pt x="239" y="366"/>
                  <a:pt x="239" y="366"/>
                </a:cubicBezTo>
                <a:cubicBezTo>
                  <a:pt x="239" y="367"/>
                  <a:pt x="239" y="367"/>
                  <a:pt x="239" y="366"/>
                </a:cubicBezTo>
                <a:cubicBezTo>
                  <a:pt x="239" y="366"/>
                  <a:pt x="239" y="366"/>
                  <a:pt x="239" y="366"/>
                </a:cubicBezTo>
                <a:cubicBezTo>
                  <a:pt x="239" y="366"/>
                  <a:pt x="241" y="365"/>
                  <a:pt x="240" y="365"/>
                </a:cubicBezTo>
                <a:cubicBezTo>
                  <a:pt x="240" y="365"/>
                  <a:pt x="241" y="365"/>
                  <a:pt x="241" y="364"/>
                </a:cubicBezTo>
                <a:cubicBezTo>
                  <a:pt x="241" y="364"/>
                  <a:pt x="241" y="364"/>
                  <a:pt x="241" y="364"/>
                </a:cubicBezTo>
                <a:cubicBezTo>
                  <a:pt x="241" y="363"/>
                  <a:pt x="241" y="363"/>
                  <a:pt x="242" y="363"/>
                </a:cubicBezTo>
                <a:cubicBezTo>
                  <a:pt x="242" y="363"/>
                  <a:pt x="241" y="364"/>
                  <a:pt x="242" y="363"/>
                </a:cubicBezTo>
                <a:cubicBezTo>
                  <a:pt x="242" y="363"/>
                  <a:pt x="242" y="364"/>
                  <a:pt x="242" y="364"/>
                </a:cubicBezTo>
                <a:cubicBezTo>
                  <a:pt x="242" y="364"/>
                  <a:pt x="242" y="364"/>
                  <a:pt x="242" y="364"/>
                </a:cubicBezTo>
                <a:cubicBezTo>
                  <a:pt x="243" y="365"/>
                  <a:pt x="243" y="364"/>
                  <a:pt x="243" y="364"/>
                </a:cubicBezTo>
                <a:cubicBezTo>
                  <a:pt x="244" y="363"/>
                  <a:pt x="244" y="363"/>
                  <a:pt x="245" y="362"/>
                </a:cubicBezTo>
                <a:cubicBezTo>
                  <a:pt x="244" y="362"/>
                  <a:pt x="244" y="361"/>
                  <a:pt x="245" y="362"/>
                </a:cubicBezTo>
                <a:cubicBezTo>
                  <a:pt x="245" y="362"/>
                  <a:pt x="245" y="362"/>
                  <a:pt x="245" y="362"/>
                </a:cubicBezTo>
                <a:cubicBezTo>
                  <a:pt x="245" y="362"/>
                  <a:pt x="246" y="361"/>
                  <a:pt x="246" y="360"/>
                </a:cubicBezTo>
                <a:cubicBezTo>
                  <a:pt x="246" y="360"/>
                  <a:pt x="246" y="359"/>
                  <a:pt x="246" y="359"/>
                </a:cubicBezTo>
                <a:cubicBezTo>
                  <a:pt x="247" y="359"/>
                  <a:pt x="247" y="360"/>
                  <a:pt x="247" y="361"/>
                </a:cubicBezTo>
                <a:cubicBezTo>
                  <a:pt x="247" y="360"/>
                  <a:pt x="247" y="360"/>
                  <a:pt x="247" y="360"/>
                </a:cubicBezTo>
                <a:cubicBezTo>
                  <a:pt x="247" y="361"/>
                  <a:pt x="247" y="362"/>
                  <a:pt x="246" y="361"/>
                </a:cubicBezTo>
                <a:cubicBezTo>
                  <a:pt x="246" y="361"/>
                  <a:pt x="246" y="361"/>
                  <a:pt x="246" y="362"/>
                </a:cubicBezTo>
                <a:cubicBezTo>
                  <a:pt x="247" y="362"/>
                  <a:pt x="247" y="361"/>
                  <a:pt x="248" y="360"/>
                </a:cubicBezTo>
                <a:cubicBezTo>
                  <a:pt x="248" y="360"/>
                  <a:pt x="248" y="360"/>
                  <a:pt x="248" y="360"/>
                </a:cubicBezTo>
                <a:cubicBezTo>
                  <a:pt x="248" y="360"/>
                  <a:pt x="249" y="359"/>
                  <a:pt x="249" y="360"/>
                </a:cubicBezTo>
                <a:cubicBezTo>
                  <a:pt x="248" y="360"/>
                  <a:pt x="250" y="360"/>
                  <a:pt x="250" y="360"/>
                </a:cubicBezTo>
                <a:cubicBezTo>
                  <a:pt x="251" y="360"/>
                  <a:pt x="249" y="361"/>
                  <a:pt x="250" y="362"/>
                </a:cubicBezTo>
                <a:cubicBezTo>
                  <a:pt x="250" y="362"/>
                  <a:pt x="248" y="362"/>
                  <a:pt x="249" y="361"/>
                </a:cubicBezTo>
                <a:cubicBezTo>
                  <a:pt x="249" y="361"/>
                  <a:pt x="249" y="360"/>
                  <a:pt x="249" y="361"/>
                </a:cubicBezTo>
                <a:cubicBezTo>
                  <a:pt x="249" y="361"/>
                  <a:pt x="249" y="361"/>
                  <a:pt x="248" y="361"/>
                </a:cubicBezTo>
                <a:cubicBezTo>
                  <a:pt x="248" y="361"/>
                  <a:pt x="247" y="362"/>
                  <a:pt x="248" y="362"/>
                </a:cubicBezTo>
                <a:cubicBezTo>
                  <a:pt x="248" y="362"/>
                  <a:pt x="247" y="363"/>
                  <a:pt x="248" y="363"/>
                </a:cubicBezTo>
                <a:cubicBezTo>
                  <a:pt x="248" y="364"/>
                  <a:pt x="248" y="364"/>
                  <a:pt x="248" y="363"/>
                </a:cubicBezTo>
                <a:cubicBezTo>
                  <a:pt x="249" y="363"/>
                  <a:pt x="249" y="362"/>
                  <a:pt x="249" y="363"/>
                </a:cubicBezTo>
                <a:cubicBezTo>
                  <a:pt x="249" y="363"/>
                  <a:pt x="249" y="364"/>
                  <a:pt x="250" y="364"/>
                </a:cubicBezTo>
                <a:cubicBezTo>
                  <a:pt x="250" y="363"/>
                  <a:pt x="250" y="363"/>
                  <a:pt x="250" y="363"/>
                </a:cubicBezTo>
                <a:cubicBezTo>
                  <a:pt x="250" y="363"/>
                  <a:pt x="251" y="362"/>
                  <a:pt x="251" y="362"/>
                </a:cubicBezTo>
                <a:cubicBezTo>
                  <a:pt x="251" y="361"/>
                  <a:pt x="251" y="361"/>
                  <a:pt x="251" y="361"/>
                </a:cubicBezTo>
                <a:cubicBezTo>
                  <a:pt x="252" y="361"/>
                  <a:pt x="252" y="360"/>
                  <a:pt x="252" y="360"/>
                </a:cubicBezTo>
                <a:cubicBezTo>
                  <a:pt x="252" y="360"/>
                  <a:pt x="251" y="360"/>
                  <a:pt x="251" y="360"/>
                </a:cubicBezTo>
                <a:cubicBezTo>
                  <a:pt x="251" y="360"/>
                  <a:pt x="251" y="360"/>
                  <a:pt x="251" y="360"/>
                </a:cubicBezTo>
                <a:cubicBezTo>
                  <a:pt x="251" y="360"/>
                  <a:pt x="251" y="360"/>
                  <a:pt x="251" y="360"/>
                </a:cubicBezTo>
                <a:cubicBezTo>
                  <a:pt x="251" y="360"/>
                  <a:pt x="251" y="359"/>
                  <a:pt x="251" y="359"/>
                </a:cubicBezTo>
                <a:cubicBezTo>
                  <a:pt x="252" y="359"/>
                  <a:pt x="253" y="358"/>
                  <a:pt x="253" y="358"/>
                </a:cubicBezTo>
                <a:cubicBezTo>
                  <a:pt x="253" y="357"/>
                  <a:pt x="253" y="356"/>
                  <a:pt x="254" y="356"/>
                </a:cubicBezTo>
                <a:cubicBezTo>
                  <a:pt x="254" y="357"/>
                  <a:pt x="255" y="356"/>
                  <a:pt x="255" y="356"/>
                </a:cubicBezTo>
                <a:cubicBezTo>
                  <a:pt x="255" y="355"/>
                  <a:pt x="256" y="354"/>
                  <a:pt x="256" y="354"/>
                </a:cubicBezTo>
                <a:cubicBezTo>
                  <a:pt x="256" y="354"/>
                  <a:pt x="255" y="354"/>
                  <a:pt x="255" y="354"/>
                </a:cubicBezTo>
                <a:cubicBezTo>
                  <a:pt x="256" y="353"/>
                  <a:pt x="257" y="353"/>
                  <a:pt x="258" y="352"/>
                </a:cubicBezTo>
                <a:cubicBezTo>
                  <a:pt x="258" y="352"/>
                  <a:pt x="258" y="351"/>
                  <a:pt x="259" y="352"/>
                </a:cubicBezTo>
                <a:cubicBezTo>
                  <a:pt x="259" y="351"/>
                  <a:pt x="259" y="351"/>
                  <a:pt x="259" y="351"/>
                </a:cubicBezTo>
                <a:cubicBezTo>
                  <a:pt x="259" y="350"/>
                  <a:pt x="260" y="351"/>
                  <a:pt x="260" y="350"/>
                </a:cubicBezTo>
                <a:cubicBezTo>
                  <a:pt x="260" y="350"/>
                  <a:pt x="260" y="350"/>
                  <a:pt x="260" y="350"/>
                </a:cubicBezTo>
                <a:cubicBezTo>
                  <a:pt x="260" y="350"/>
                  <a:pt x="260" y="350"/>
                  <a:pt x="260" y="351"/>
                </a:cubicBezTo>
                <a:cubicBezTo>
                  <a:pt x="260" y="351"/>
                  <a:pt x="259" y="351"/>
                  <a:pt x="259" y="351"/>
                </a:cubicBezTo>
                <a:cubicBezTo>
                  <a:pt x="259" y="351"/>
                  <a:pt x="260" y="352"/>
                  <a:pt x="260" y="352"/>
                </a:cubicBezTo>
                <a:cubicBezTo>
                  <a:pt x="260" y="352"/>
                  <a:pt x="259" y="353"/>
                  <a:pt x="259" y="353"/>
                </a:cubicBezTo>
                <a:cubicBezTo>
                  <a:pt x="259" y="354"/>
                  <a:pt x="260" y="353"/>
                  <a:pt x="260" y="352"/>
                </a:cubicBezTo>
                <a:cubicBezTo>
                  <a:pt x="260" y="352"/>
                  <a:pt x="260" y="352"/>
                  <a:pt x="260" y="351"/>
                </a:cubicBezTo>
                <a:cubicBezTo>
                  <a:pt x="261" y="351"/>
                  <a:pt x="261" y="351"/>
                  <a:pt x="261" y="350"/>
                </a:cubicBezTo>
                <a:cubicBezTo>
                  <a:pt x="262" y="349"/>
                  <a:pt x="262" y="349"/>
                  <a:pt x="262" y="348"/>
                </a:cubicBezTo>
                <a:cubicBezTo>
                  <a:pt x="263" y="347"/>
                  <a:pt x="263" y="346"/>
                  <a:pt x="264" y="345"/>
                </a:cubicBezTo>
                <a:cubicBezTo>
                  <a:pt x="264" y="344"/>
                  <a:pt x="265" y="344"/>
                  <a:pt x="266" y="343"/>
                </a:cubicBezTo>
                <a:cubicBezTo>
                  <a:pt x="265" y="343"/>
                  <a:pt x="265" y="343"/>
                  <a:pt x="265" y="343"/>
                </a:cubicBezTo>
                <a:cubicBezTo>
                  <a:pt x="265" y="343"/>
                  <a:pt x="265" y="343"/>
                  <a:pt x="266" y="343"/>
                </a:cubicBezTo>
                <a:cubicBezTo>
                  <a:pt x="266" y="342"/>
                  <a:pt x="266" y="342"/>
                  <a:pt x="266" y="342"/>
                </a:cubicBezTo>
                <a:cubicBezTo>
                  <a:pt x="266" y="341"/>
                  <a:pt x="266" y="341"/>
                  <a:pt x="267" y="341"/>
                </a:cubicBezTo>
                <a:cubicBezTo>
                  <a:pt x="267" y="340"/>
                  <a:pt x="267" y="340"/>
                  <a:pt x="267" y="340"/>
                </a:cubicBezTo>
                <a:cubicBezTo>
                  <a:pt x="268" y="339"/>
                  <a:pt x="268" y="339"/>
                  <a:pt x="268" y="338"/>
                </a:cubicBezTo>
                <a:cubicBezTo>
                  <a:pt x="268" y="338"/>
                  <a:pt x="267" y="338"/>
                  <a:pt x="267" y="338"/>
                </a:cubicBezTo>
                <a:close/>
                <a:moveTo>
                  <a:pt x="253" y="61"/>
                </a:moveTo>
                <a:cubicBezTo>
                  <a:pt x="252" y="62"/>
                  <a:pt x="252" y="62"/>
                  <a:pt x="252" y="63"/>
                </a:cubicBezTo>
                <a:cubicBezTo>
                  <a:pt x="253" y="62"/>
                  <a:pt x="253" y="62"/>
                  <a:pt x="253" y="61"/>
                </a:cubicBezTo>
                <a:close/>
                <a:moveTo>
                  <a:pt x="361" y="110"/>
                </a:moveTo>
                <a:cubicBezTo>
                  <a:pt x="361" y="110"/>
                  <a:pt x="361" y="110"/>
                  <a:pt x="361" y="110"/>
                </a:cubicBezTo>
                <a:cubicBezTo>
                  <a:pt x="360" y="111"/>
                  <a:pt x="361" y="111"/>
                  <a:pt x="361" y="111"/>
                </a:cubicBezTo>
                <a:cubicBezTo>
                  <a:pt x="361" y="111"/>
                  <a:pt x="362" y="110"/>
                  <a:pt x="361" y="110"/>
                </a:cubicBezTo>
                <a:close/>
                <a:moveTo>
                  <a:pt x="362" y="114"/>
                </a:moveTo>
                <a:cubicBezTo>
                  <a:pt x="362" y="114"/>
                  <a:pt x="361" y="115"/>
                  <a:pt x="361" y="115"/>
                </a:cubicBezTo>
                <a:cubicBezTo>
                  <a:pt x="362" y="114"/>
                  <a:pt x="362" y="114"/>
                  <a:pt x="362" y="114"/>
                </a:cubicBezTo>
                <a:close/>
                <a:moveTo>
                  <a:pt x="195" y="19"/>
                </a:moveTo>
                <a:cubicBezTo>
                  <a:pt x="196" y="19"/>
                  <a:pt x="197" y="19"/>
                  <a:pt x="197" y="19"/>
                </a:cubicBezTo>
                <a:cubicBezTo>
                  <a:pt x="198" y="19"/>
                  <a:pt x="198" y="19"/>
                  <a:pt x="199" y="19"/>
                </a:cubicBezTo>
                <a:cubicBezTo>
                  <a:pt x="199" y="19"/>
                  <a:pt x="200" y="19"/>
                  <a:pt x="200" y="19"/>
                </a:cubicBezTo>
                <a:cubicBezTo>
                  <a:pt x="200" y="18"/>
                  <a:pt x="199" y="17"/>
                  <a:pt x="199" y="18"/>
                </a:cubicBezTo>
                <a:cubicBezTo>
                  <a:pt x="199" y="17"/>
                  <a:pt x="199" y="17"/>
                  <a:pt x="198" y="16"/>
                </a:cubicBezTo>
                <a:cubicBezTo>
                  <a:pt x="198" y="16"/>
                  <a:pt x="198" y="15"/>
                  <a:pt x="198" y="14"/>
                </a:cubicBezTo>
                <a:cubicBezTo>
                  <a:pt x="198" y="13"/>
                  <a:pt x="196" y="15"/>
                  <a:pt x="196" y="15"/>
                </a:cubicBezTo>
                <a:cubicBezTo>
                  <a:pt x="197" y="15"/>
                  <a:pt x="196" y="17"/>
                  <a:pt x="196" y="17"/>
                </a:cubicBezTo>
                <a:cubicBezTo>
                  <a:pt x="196" y="18"/>
                  <a:pt x="195" y="17"/>
                  <a:pt x="195" y="18"/>
                </a:cubicBezTo>
                <a:cubicBezTo>
                  <a:pt x="195" y="19"/>
                  <a:pt x="194" y="18"/>
                  <a:pt x="194" y="19"/>
                </a:cubicBezTo>
                <a:cubicBezTo>
                  <a:pt x="194" y="19"/>
                  <a:pt x="195" y="19"/>
                  <a:pt x="195" y="19"/>
                </a:cubicBezTo>
                <a:close/>
                <a:moveTo>
                  <a:pt x="179" y="244"/>
                </a:moveTo>
                <a:cubicBezTo>
                  <a:pt x="179" y="244"/>
                  <a:pt x="180" y="244"/>
                  <a:pt x="180" y="244"/>
                </a:cubicBezTo>
                <a:cubicBezTo>
                  <a:pt x="180" y="244"/>
                  <a:pt x="178" y="244"/>
                  <a:pt x="179" y="244"/>
                </a:cubicBezTo>
                <a:close/>
                <a:moveTo>
                  <a:pt x="219" y="12"/>
                </a:moveTo>
                <a:cubicBezTo>
                  <a:pt x="219" y="12"/>
                  <a:pt x="219" y="12"/>
                  <a:pt x="219" y="12"/>
                </a:cubicBezTo>
                <a:cubicBezTo>
                  <a:pt x="219" y="13"/>
                  <a:pt x="219" y="14"/>
                  <a:pt x="220" y="14"/>
                </a:cubicBezTo>
                <a:cubicBezTo>
                  <a:pt x="220" y="13"/>
                  <a:pt x="220" y="13"/>
                  <a:pt x="220" y="13"/>
                </a:cubicBezTo>
                <a:cubicBezTo>
                  <a:pt x="220" y="13"/>
                  <a:pt x="220" y="12"/>
                  <a:pt x="220" y="12"/>
                </a:cubicBezTo>
                <a:cubicBezTo>
                  <a:pt x="220" y="12"/>
                  <a:pt x="220" y="12"/>
                  <a:pt x="220" y="12"/>
                </a:cubicBezTo>
                <a:cubicBezTo>
                  <a:pt x="220" y="11"/>
                  <a:pt x="220" y="11"/>
                  <a:pt x="220" y="11"/>
                </a:cubicBezTo>
                <a:cubicBezTo>
                  <a:pt x="220" y="11"/>
                  <a:pt x="220" y="10"/>
                  <a:pt x="220" y="10"/>
                </a:cubicBezTo>
                <a:cubicBezTo>
                  <a:pt x="220" y="10"/>
                  <a:pt x="219" y="11"/>
                  <a:pt x="219" y="10"/>
                </a:cubicBezTo>
                <a:cubicBezTo>
                  <a:pt x="219" y="11"/>
                  <a:pt x="219" y="11"/>
                  <a:pt x="219" y="12"/>
                </a:cubicBezTo>
                <a:close/>
                <a:moveTo>
                  <a:pt x="253" y="61"/>
                </a:moveTo>
                <a:cubicBezTo>
                  <a:pt x="253" y="62"/>
                  <a:pt x="253" y="62"/>
                  <a:pt x="253" y="62"/>
                </a:cubicBezTo>
                <a:cubicBezTo>
                  <a:pt x="254" y="62"/>
                  <a:pt x="254" y="62"/>
                  <a:pt x="254" y="62"/>
                </a:cubicBezTo>
                <a:cubicBezTo>
                  <a:pt x="254" y="61"/>
                  <a:pt x="254" y="62"/>
                  <a:pt x="254" y="62"/>
                </a:cubicBezTo>
                <a:cubicBezTo>
                  <a:pt x="254" y="62"/>
                  <a:pt x="254" y="61"/>
                  <a:pt x="253" y="61"/>
                </a:cubicBezTo>
                <a:close/>
                <a:moveTo>
                  <a:pt x="204" y="282"/>
                </a:moveTo>
                <a:cubicBezTo>
                  <a:pt x="204" y="282"/>
                  <a:pt x="203" y="282"/>
                  <a:pt x="203" y="283"/>
                </a:cubicBezTo>
                <a:cubicBezTo>
                  <a:pt x="203" y="283"/>
                  <a:pt x="202" y="283"/>
                  <a:pt x="202" y="283"/>
                </a:cubicBezTo>
                <a:cubicBezTo>
                  <a:pt x="202" y="282"/>
                  <a:pt x="202" y="282"/>
                  <a:pt x="202" y="282"/>
                </a:cubicBezTo>
                <a:cubicBezTo>
                  <a:pt x="202" y="282"/>
                  <a:pt x="200" y="282"/>
                  <a:pt x="201" y="282"/>
                </a:cubicBezTo>
                <a:cubicBezTo>
                  <a:pt x="201" y="281"/>
                  <a:pt x="202" y="281"/>
                  <a:pt x="201" y="281"/>
                </a:cubicBezTo>
                <a:cubicBezTo>
                  <a:pt x="201" y="281"/>
                  <a:pt x="202" y="280"/>
                  <a:pt x="202" y="280"/>
                </a:cubicBezTo>
                <a:cubicBezTo>
                  <a:pt x="201" y="280"/>
                  <a:pt x="200" y="281"/>
                  <a:pt x="199" y="280"/>
                </a:cubicBezTo>
                <a:cubicBezTo>
                  <a:pt x="199" y="280"/>
                  <a:pt x="198" y="281"/>
                  <a:pt x="197" y="281"/>
                </a:cubicBezTo>
                <a:cubicBezTo>
                  <a:pt x="196" y="281"/>
                  <a:pt x="194" y="282"/>
                  <a:pt x="193" y="282"/>
                </a:cubicBezTo>
                <a:cubicBezTo>
                  <a:pt x="192" y="282"/>
                  <a:pt x="191" y="282"/>
                  <a:pt x="190" y="284"/>
                </a:cubicBezTo>
                <a:cubicBezTo>
                  <a:pt x="190" y="284"/>
                  <a:pt x="190" y="284"/>
                  <a:pt x="191" y="285"/>
                </a:cubicBezTo>
                <a:cubicBezTo>
                  <a:pt x="191" y="285"/>
                  <a:pt x="191" y="285"/>
                  <a:pt x="191" y="286"/>
                </a:cubicBezTo>
                <a:cubicBezTo>
                  <a:pt x="191" y="286"/>
                  <a:pt x="192" y="285"/>
                  <a:pt x="192" y="285"/>
                </a:cubicBezTo>
                <a:cubicBezTo>
                  <a:pt x="193" y="285"/>
                  <a:pt x="193" y="286"/>
                  <a:pt x="193" y="285"/>
                </a:cubicBezTo>
                <a:cubicBezTo>
                  <a:pt x="194" y="285"/>
                  <a:pt x="194" y="285"/>
                  <a:pt x="194" y="285"/>
                </a:cubicBezTo>
                <a:cubicBezTo>
                  <a:pt x="195" y="285"/>
                  <a:pt x="195" y="285"/>
                  <a:pt x="195" y="285"/>
                </a:cubicBezTo>
                <a:cubicBezTo>
                  <a:pt x="195" y="285"/>
                  <a:pt x="195" y="285"/>
                  <a:pt x="196" y="285"/>
                </a:cubicBezTo>
                <a:cubicBezTo>
                  <a:pt x="196" y="285"/>
                  <a:pt x="196" y="285"/>
                  <a:pt x="197" y="285"/>
                </a:cubicBezTo>
                <a:cubicBezTo>
                  <a:pt x="197" y="285"/>
                  <a:pt x="197" y="285"/>
                  <a:pt x="198" y="286"/>
                </a:cubicBezTo>
                <a:cubicBezTo>
                  <a:pt x="198" y="286"/>
                  <a:pt x="199" y="285"/>
                  <a:pt x="199" y="285"/>
                </a:cubicBezTo>
                <a:cubicBezTo>
                  <a:pt x="200" y="284"/>
                  <a:pt x="200" y="284"/>
                  <a:pt x="201" y="283"/>
                </a:cubicBezTo>
                <a:cubicBezTo>
                  <a:pt x="202" y="283"/>
                  <a:pt x="203" y="284"/>
                  <a:pt x="203" y="284"/>
                </a:cubicBezTo>
                <a:cubicBezTo>
                  <a:pt x="204" y="284"/>
                  <a:pt x="205" y="283"/>
                  <a:pt x="205" y="283"/>
                </a:cubicBezTo>
                <a:cubicBezTo>
                  <a:pt x="205" y="283"/>
                  <a:pt x="205" y="282"/>
                  <a:pt x="204" y="282"/>
                </a:cubicBezTo>
                <a:close/>
                <a:moveTo>
                  <a:pt x="252" y="18"/>
                </a:moveTo>
                <a:cubicBezTo>
                  <a:pt x="254" y="17"/>
                  <a:pt x="251" y="18"/>
                  <a:pt x="252" y="18"/>
                </a:cubicBezTo>
                <a:close/>
                <a:moveTo>
                  <a:pt x="219" y="18"/>
                </a:moveTo>
                <a:cubicBezTo>
                  <a:pt x="222" y="17"/>
                  <a:pt x="217" y="17"/>
                  <a:pt x="219" y="18"/>
                </a:cubicBezTo>
                <a:close/>
                <a:moveTo>
                  <a:pt x="199" y="16"/>
                </a:moveTo>
                <a:cubicBezTo>
                  <a:pt x="199" y="16"/>
                  <a:pt x="199" y="16"/>
                  <a:pt x="199" y="17"/>
                </a:cubicBezTo>
                <a:cubicBezTo>
                  <a:pt x="199" y="17"/>
                  <a:pt x="200" y="18"/>
                  <a:pt x="201" y="19"/>
                </a:cubicBezTo>
                <a:cubicBezTo>
                  <a:pt x="201" y="19"/>
                  <a:pt x="202" y="19"/>
                  <a:pt x="203" y="20"/>
                </a:cubicBezTo>
                <a:cubicBezTo>
                  <a:pt x="204" y="21"/>
                  <a:pt x="204" y="20"/>
                  <a:pt x="205" y="19"/>
                </a:cubicBezTo>
                <a:cubicBezTo>
                  <a:pt x="206" y="19"/>
                  <a:pt x="206" y="18"/>
                  <a:pt x="207" y="18"/>
                </a:cubicBezTo>
                <a:cubicBezTo>
                  <a:pt x="207" y="18"/>
                  <a:pt x="208" y="17"/>
                  <a:pt x="208" y="17"/>
                </a:cubicBezTo>
                <a:cubicBezTo>
                  <a:pt x="208" y="17"/>
                  <a:pt x="208" y="17"/>
                  <a:pt x="209" y="16"/>
                </a:cubicBezTo>
                <a:cubicBezTo>
                  <a:pt x="209" y="15"/>
                  <a:pt x="209" y="16"/>
                  <a:pt x="209" y="15"/>
                </a:cubicBezTo>
                <a:cubicBezTo>
                  <a:pt x="209" y="14"/>
                  <a:pt x="209" y="15"/>
                  <a:pt x="209" y="14"/>
                </a:cubicBezTo>
                <a:cubicBezTo>
                  <a:pt x="209" y="14"/>
                  <a:pt x="209" y="13"/>
                  <a:pt x="208" y="13"/>
                </a:cubicBezTo>
                <a:cubicBezTo>
                  <a:pt x="208" y="13"/>
                  <a:pt x="208" y="13"/>
                  <a:pt x="208" y="13"/>
                </a:cubicBezTo>
                <a:cubicBezTo>
                  <a:pt x="208" y="13"/>
                  <a:pt x="208" y="13"/>
                  <a:pt x="207" y="13"/>
                </a:cubicBezTo>
                <a:cubicBezTo>
                  <a:pt x="207" y="13"/>
                  <a:pt x="207" y="12"/>
                  <a:pt x="207" y="12"/>
                </a:cubicBezTo>
                <a:cubicBezTo>
                  <a:pt x="206" y="13"/>
                  <a:pt x="206" y="14"/>
                  <a:pt x="206" y="14"/>
                </a:cubicBezTo>
                <a:cubicBezTo>
                  <a:pt x="206" y="14"/>
                  <a:pt x="206" y="15"/>
                  <a:pt x="206" y="15"/>
                </a:cubicBezTo>
                <a:cubicBezTo>
                  <a:pt x="206" y="14"/>
                  <a:pt x="206" y="13"/>
                  <a:pt x="205" y="13"/>
                </a:cubicBezTo>
                <a:cubicBezTo>
                  <a:pt x="205" y="13"/>
                  <a:pt x="205" y="14"/>
                  <a:pt x="204" y="15"/>
                </a:cubicBezTo>
                <a:cubicBezTo>
                  <a:pt x="205" y="14"/>
                  <a:pt x="204" y="14"/>
                  <a:pt x="203" y="14"/>
                </a:cubicBezTo>
                <a:cubicBezTo>
                  <a:pt x="203" y="14"/>
                  <a:pt x="201" y="14"/>
                  <a:pt x="201" y="15"/>
                </a:cubicBezTo>
                <a:cubicBezTo>
                  <a:pt x="201" y="15"/>
                  <a:pt x="201" y="14"/>
                  <a:pt x="201" y="14"/>
                </a:cubicBezTo>
                <a:cubicBezTo>
                  <a:pt x="201" y="14"/>
                  <a:pt x="200" y="15"/>
                  <a:pt x="200" y="14"/>
                </a:cubicBezTo>
                <a:cubicBezTo>
                  <a:pt x="200" y="14"/>
                  <a:pt x="201" y="14"/>
                  <a:pt x="200" y="13"/>
                </a:cubicBezTo>
                <a:cubicBezTo>
                  <a:pt x="200" y="13"/>
                  <a:pt x="200" y="13"/>
                  <a:pt x="200" y="13"/>
                </a:cubicBezTo>
                <a:cubicBezTo>
                  <a:pt x="199" y="13"/>
                  <a:pt x="199" y="13"/>
                  <a:pt x="199" y="13"/>
                </a:cubicBezTo>
                <a:cubicBezTo>
                  <a:pt x="199" y="13"/>
                  <a:pt x="199" y="11"/>
                  <a:pt x="198" y="12"/>
                </a:cubicBezTo>
                <a:cubicBezTo>
                  <a:pt x="198" y="13"/>
                  <a:pt x="199" y="14"/>
                  <a:pt x="199" y="14"/>
                </a:cubicBezTo>
                <a:cubicBezTo>
                  <a:pt x="199" y="15"/>
                  <a:pt x="199" y="15"/>
                  <a:pt x="199" y="16"/>
                </a:cubicBezTo>
                <a:close/>
                <a:moveTo>
                  <a:pt x="257" y="310"/>
                </a:moveTo>
                <a:cubicBezTo>
                  <a:pt x="257" y="310"/>
                  <a:pt x="256" y="311"/>
                  <a:pt x="257" y="312"/>
                </a:cubicBezTo>
                <a:cubicBezTo>
                  <a:pt x="258" y="311"/>
                  <a:pt x="259" y="310"/>
                  <a:pt x="257" y="310"/>
                </a:cubicBezTo>
                <a:close/>
                <a:moveTo>
                  <a:pt x="371" y="133"/>
                </a:moveTo>
                <a:cubicBezTo>
                  <a:pt x="371" y="133"/>
                  <a:pt x="371" y="135"/>
                  <a:pt x="370" y="135"/>
                </a:cubicBezTo>
                <a:cubicBezTo>
                  <a:pt x="371" y="135"/>
                  <a:pt x="372" y="134"/>
                  <a:pt x="371" y="133"/>
                </a:cubicBezTo>
                <a:close/>
                <a:moveTo>
                  <a:pt x="373" y="148"/>
                </a:moveTo>
                <a:cubicBezTo>
                  <a:pt x="373" y="148"/>
                  <a:pt x="373" y="148"/>
                  <a:pt x="373" y="148"/>
                </a:cubicBezTo>
                <a:cubicBezTo>
                  <a:pt x="373" y="149"/>
                  <a:pt x="373" y="150"/>
                  <a:pt x="374" y="151"/>
                </a:cubicBezTo>
                <a:cubicBezTo>
                  <a:pt x="374" y="150"/>
                  <a:pt x="375" y="150"/>
                  <a:pt x="375" y="149"/>
                </a:cubicBezTo>
                <a:cubicBezTo>
                  <a:pt x="374" y="149"/>
                  <a:pt x="374" y="149"/>
                  <a:pt x="374" y="148"/>
                </a:cubicBezTo>
                <a:cubicBezTo>
                  <a:pt x="374" y="148"/>
                  <a:pt x="375" y="148"/>
                  <a:pt x="375" y="147"/>
                </a:cubicBezTo>
                <a:cubicBezTo>
                  <a:pt x="375" y="148"/>
                  <a:pt x="374" y="148"/>
                  <a:pt x="374" y="148"/>
                </a:cubicBezTo>
                <a:cubicBezTo>
                  <a:pt x="374" y="148"/>
                  <a:pt x="373" y="147"/>
                  <a:pt x="373" y="147"/>
                </a:cubicBezTo>
                <a:cubicBezTo>
                  <a:pt x="373" y="147"/>
                  <a:pt x="373" y="147"/>
                  <a:pt x="373" y="148"/>
                </a:cubicBezTo>
                <a:close/>
                <a:moveTo>
                  <a:pt x="10" y="164"/>
                </a:moveTo>
                <a:cubicBezTo>
                  <a:pt x="11" y="163"/>
                  <a:pt x="11" y="162"/>
                  <a:pt x="11" y="161"/>
                </a:cubicBezTo>
                <a:cubicBezTo>
                  <a:pt x="11" y="162"/>
                  <a:pt x="10" y="163"/>
                  <a:pt x="10" y="164"/>
                </a:cubicBezTo>
                <a:close/>
                <a:moveTo>
                  <a:pt x="238" y="324"/>
                </a:moveTo>
                <a:cubicBezTo>
                  <a:pt x="237" y="324"/>
                  <a:pt x="237" y="325"/>
                  <a:pt x="236" y="325"/>
                </a:cubicBezTo>
                <a:cubicBezTo>
                  <a:pt x="236" y="326"/>
                  <a:pt x="235" y="326"/>
                  <a:pt x="235" y="327"/>
                </a:cubicBezTo>
                <a:cubicBezTo>
                  <a:pt x="234" y="328"/>
                  <a:pt x="235" y="328"/>
                  <a:pt x="234" y="329"/>
                </a:cubicBezTo>
                <a:cubicBezTo>
                  <a:pt x="234" y="329"/>
                  <a:pt x="233" y="330"/>
                  <a:pt x="234" y="330"/>
                </a:cubicBezTo>
                <a:cubicBezTo>
                  <a:pt x="235" y="330"/>
                  <a:pt x="238" y="328"/>
                  <a:pt x="237" y="328"/>
                </a:cubicBezTo>
                <a:cubicBezTo>
                  <a:pt x="237" y="328"/>
                  <a:pt x="238" y="326"/>
                  <a:pt x="238" y="325"/>
                </a:cubicBezTo>
                <a:cubicBezTo>
                  <a:pt x="238" y="325"/>
                  <a:pt x="238" y="325"/>
                  <a:pt x="238" y="324"/>
                </a:cubicBezTo>
                <a:close/>
                <a:moveTo>
                  <a:pt x="274" y="328"/>
                </a:moveTo>
                <a:cubicBezTo>
                  <a:pt x="273" y="328"/>
                  <a:pt x="272" y="326"/>
                  <a:pt x="273" y="326"/>
                </a:cubicBezTo>
                <a:cubicBezTo>
                  <a:pt x="272" y="326"/>
                  <a:pt x="270" y="327"/>
                  <a:pt x="270" y="327"/>
                </a:cubicBezTo>
                <a:cubicBezTo>
                  <a:pt x="270" y="328"/>
                  <a:pt x="271" y="327"/>
                  <a:pt x="271" y="328"/>
                </a:cubicBezTo>
                <a:cubicBezTo>
                  <a:pt x="270" y="328"/>
                  <a:pt x="270" y="329"/>
                  <a:pt x="270" y="329"/>
                </a:cubicBezTo>
                <a:cubicBezTo>
                  <a:pt x="270" y="329"/>
                  <a:pt x="270" y="329"/>
                  <a:pt x="270" y="330"/>
                </a:cubicBezTo>
                <a:cubicBezTo>
                  <a:pt x="271" y="330"/>
                  <a:pt x="270" y="330"/>
                  <a:pt x="270" y="330"/>
                </a:cubicBezTo>
                <a:cubicBezTo>
                  <a:pt x="270" y="331"/>
                  <a:pt x="270" y="331"/>
                  <a:pt x="270" y="331"/>
                </a:cubicBezTo>
                <a:cubicBezTo>
                  <a:pt x="270" y="331"/>
                  <a:pt x="270" y="331"/>
                  <a:pt x="270" y="331"/>
                </a:cubicBezTo>
                <a:cubicBezTo>
                  <a:pt x="270" y="332"/>
                  <a:pt x="271" y="331"/>
                  <a:pt x="272" y="331"/>
                </a:cubicBezTo>
                <a:cubicBezTo>
                  <a:pt x="272" y="331"/>
                  <a:pt x="273" y="332"/>
                  <a:pt x="272" y="331"/>
                </a:cubicBezTo>
                <a:cubicBezTo>
                  <a:pt x="272" y="331"/>
                  <a:pt x="273" y="331"/>
                  <a:pt x="273" y="331"/>
                </a:cubicBezTo>
                <a:cubicBezTo>
                  <a:pt x="273" y="331"/>
                  <a:pt x="273" y="330"/>
                  <a:pt x="273" y="330"/>
                </a:cubicBezTo>
                <a:cubicBezTo>
                  <a:pt x="273" y="330"/>
                  <a:pt x="272" y="330"/>
                  <a:pt x="272" y="330"/>
                </a:cubicBezTo>
                <a:cubicBezTo>
                  <a:pt x="272" y="330"/>
                  <a:pt x="274" y="328"/>
                  <a:pt x="274" y="328"/>
                </a:cubicBezTo>
                <a:close/>
                <a:moveTo>
                  <a:pt x="276" y="73"/>
                </a:moveTo>
                <a:cubicBezTo>
                  <a:pt x="277" y="73"/>
                  <a:pt x="276" y="72"/>
                  <a:pt x="277" y="72"/>
                </a:cubicBezTo>
                <a:cubicBezTo>
                  <a:pt x="277" y="72"/>
                  <a:pt x="277" y="73"/>
                  <a:pt x="278" y="72"/>
                </a:cubicBezTo>
                <a:cubicBezTo>
                  <a:pt x="278" y="72"/>
                  <a:pt x="278" y="71"/>
                  <a:pt x="278" y="71"/>
                </a:cubicBezTo>
                <a:cubicBezTo>
                  <a:pt x="279" y="72"/>
                  <a:pt x="278" y="71"/>
                  <a:pt x="278" y="71"/>
                </a:cubicBezTo>
                <a:cubicBezTo>
                  <a:pt x="278" y="71"/>
                  <a:pt x="279" y="70"/>
                  <a:pt x="279" y="71"/>
                </a:cubicBezTo>
                <a:cubicBezTo>
                  <a:pt x="279" y="71"/>
                  <a:pt x="279" y="71"/>
                  <a:pt x="279" y="71"/>
                </a:cubicBezTo>
                <a:cubicBezTo>
                  <a:pt x="279" y="71"/>
                  <a:pt x="280" y="71"/>
                  <a:pt x="280" y="71"/>
                </a:cubicBezTo>
                <a:cubicBezTo>
                  <a:pt x="280" y="71"/>
                  <a:pt x="280" y="71"/>
                  <a:pt x="280" y="71"/>
                </a:cubicBezTo>
                <a:cubicBezTo>
                  <a:pt x="280" y="71"/>
                  <a:pt x="280" y="71"/>
                  <a:pt x="280" y="71"/>
                </a:cubicBezTo>
                <a:cubicBezTo>
                  <a:pt x="281" y="71"/>
                  <a:pt x="281" y="70"/>
                  <a:pt x="281" y="70"/>
                </a:cubicBezTo>
                <a:cubicBezTo>
                  <a:pt x="280" y="71"/>
                  <a:pt x="280" y="69"/>
                  <a:pt x="279" y="69"/>
                </a:cubicBezTo>
                <a:cubicBezTo>
                  <a:pt x="279" y="69"/>
                  <a:pt x="278" y="70"/>
                  <a:pt x="278" y="70"/>
                </a:cubicBezTo>
                <a:cubicBezTo>
                  <a:pt x="276" y="70"/>
                  <a:pt x="275" y="71"/>
                  <a:pt x="275" y="72"/>
                </a:cubicBezTo>
                <a:cubicBezTo>
                  <a:pt x="275" y="72"/>
                  <a:pt x="275" y="73"/>
                  <a:pt x="276" y="73"/>
                </a:cubicBezTo>
                <a:close/>
                <a:moveTo>
                  <a:pt x="40" y="119"/>
                </a:moveTo>
                <a:cubicBezTo>
                  <a:pt x="40" y="118"/>
                  <a:pt x="41" y="118"/>
                  <a:pt x="41" y="117"/>
                </a:cubicBezTo>
                <a:cubicBezTo>
                  <a:pt x="41" y="116"/>
                  <a:pt x="40" y="116"/>
                  <a:pt x="40" y="117"/>
                </a:cubicBezTo>
                <a:cubicBezTo>
                  <a:pt x="40" y="117"/>
                  <a:pt x="39" y="118"/>
                  <a:pt x="39" y="118"/>
                </a:cubicBezTo>
                <a:cubicBezTo>
                  <a:pt x="39" y="119"/>
                  <a:pt x="39" y="118"/>
                  <a:pt x="40" y="119"/>
                </a:cubicBezTo>
                <a:close/>
                <a:moveTo>
                  <a:pt x="339" y="89"/>
                </a:moveTo>
                <a:cubicBezTo>
                  <a:pt x="339" y="90"/>
                  <a:pt x="339" y="90"/>
                  <a:pt x="339" y="90"/>
                </a:cubicBezTo>
                <a:cubicBezTo>
                  <a:pt x="339" y="90"/>
                  <a:pt x="338" y="89"/>
                  <a:pt x="338" y="90"/>
                </a:cubicBezTo>
                <a:cubicBezTo>
                  <a:pt x="338" y="91"/>
                  <a:pt x="339" y="91"/>
                  <a:pt x="339" y="91"/>
                </a:cubicBezTo>
                <a:cubicBezTo>
                  <a:pt x="339" y="92"/>
                  <a:pt x="339" y="92"/>
                  <a:pt x="339" y="92"/>
                </a:cubicBezTo>
                <a:cubicBezTo>
                  <a:pt x="340" y="92"/>
                  <a:pt x="340" y="92"/>
                  <a:pt x="340" y="92"/>
                </a:cubicBezTo>
                <a:cubicBezTo>
                  <a:pt x="340" y="92"/>
                  <a:pt x="340" y="91"/>
                  <a:pt x="340" y="91"/>
                </a:cubicBezTo>
                <a:cubicBezTo>
                  <a:pt x="340" y="91"/>
                  <a:pt x="339" y="91"/>
                  <a:pt x="340" y="90"/>
                </a:cubicBezTo>
                <a:cubicBezTo>
                  <a:pt x="340" y="90"/>
                  <a:pt x="339" y="90"/>
                  <a:pt x="339" y="89"/>
                </a:cubicBezTo>
                <a:close/>
                <a:moveTo>
                  <a:pt x="239" y="334"/>
                </a:moveTo>
                <a:cubicBezTo>
                  <a:pt x="239" y="334"/>
                  <a:pt x="238" y="335"/>
                  <a:pt x="238" y="335"/>
                </a:cubicBezTo>
                <a:cubicBezTo>
                  <a:pt x="239" y="335"/>
                  <a:pt x="240" y="334"/>
                  <a:pt x="240" y="333"/>
                </a:cubicBezTo>
                <a:cubicBezTo>
                  <a:pt x="240" y="333"/>
                  <a:pt x="240" y="334"/>
                  <a:pt x="239" y="334"/>
                </a:cubicBezTo>
                <a:cubicBezTo>
                  <a:pt x="239" y="334"/>
                  <a:pt x="239" y="334"/>
                  <a:pt x="239" y="334"/>
                </a:cubicBezTo>
                <a:close/>
                <a:moveTo>
                  <a:pt x="239" y="337"/>
                </a:moveTo>
                <a:cubicBezTo>
                  <a:pt x="239" y="337"/>
                  <a:pt x="239" y="336"/>
                  <a:pt x="240" y="336"/>
                </a:cubicBezTo>
                <a:cubicBezTo>
                  <a:pt x="240" y="336"/>
                  <a:pt x="240" y="336"/>
                  <a:pt x="240" y="336"/>
                </a:cubicBezTo>
                <a:cubicBezTo>
                  <a:pt x="241" y="336"/>
                  <a:pt x="240" y="336"/>
                  <a:pt x="240" y="335"/>
                </a:cubicBezTo>
                <a:cubicBezTo>
                  <a:pt x="239" y="336"/>
                  <a:pt x="239" y="336"/>
                  <a:pt x="239" y="337"/>
                </a:cubicBezTo>
                <a:close/>
                <a:moveTo>
                  <a:pt x="390" y="161"/>
                </a:moveTo>
                <a:cubicBezTo>
                  <a:pt x="390" y="161"/>
                  <a:pt x="390" y="162"/>
                  <a:pt x="389" y="162"/>
                </a:cubicBezTo>
                <a:cubicBezTo>
                  <a:pt x="390" y="162"/>
                  <a:pt x="389" y="164"/>
                  <a:pt x="389" y="165"/>
                </a:cubicBezTo>
                <a:cubicBezTo>
                  <a:pt x="388" y="165"/>
                  <a:pt x="387" y="166"/>
                  <a:pt x="387" y="166"/>
                </a:cubicBezTo>
                <a:cubicBezTo>
                  <a:pt x="386" y="167"/>
                  <a:pt x="387" y="166"/>
                  <a:pt x="387" y="167"/>
                </a:cubicBezTo>
                <a:cubicBezTo>
                  <a:pt x="387" y="167"/>
                  <a:pt x="387" y="167"/>
                  <a:pt x="387" y="168"/>
                </a:cubicBezTo>
                <a:cubicBezTo>
                  <a:pt x="387" y="168"/>
                  <a:pt x="387" y="168"/>
                  <a:pt x="386" y="168"/>
                </a:cubicBezTo>
                <a:cubicBezTo>
                  <a:pt x="386" y="169"/>
                  <a:pt x="386" y="170"/>
                  <a:pt x="385" y="170"/>
                </a:cubicBezTo>
                <a:cubicBezTo>
                  <a:pt x="385" y="170"/>
                  <a:pt x="385" y="173"/>
                  <a:pt x="386" y="173"/>
                </a:cubicBezTo>
                <a:cubicBezTo>
                  <a:pt x="386" y="172"/>
                  <a:pt x="386" y="172"/>
                  <a:pt x="386" y="171"/>
                </a:cubicBezTo>
                <a:cubicBezTo>
                  <a:pt x="386" y="170"/>
                  <a:pt x="387" y="170"/>
                  <a:pt x="387" y="169"/>
                </a:cubicBezTo>
                <a:cubicBezTo>
                  <a:pt x="388" y="168"/>
                  <a:pt x="389" y="167"/>
                  <a:pt x="390" y="166"/>
                </a:cubicBezTo>
                <a:cubicBezTo>
                  <a:pt x="390" y="165"/>
                  <a:pt x="391" y="164"/>
                  <a:pt x="391" y="164"/>
                </a:cubicBezTo>
                <a:cubicBezTo>
                  <a:pt x="390" y="163"/>
                  <a:pt x="390" y="163"/>
                  <a:pt x="390" y="162"/>
                </a:cubicBezTo>
                <a:cubicBezTo>
                  <a:pt x="390" y="162"/>
                  <a:pt x="391" y="161"/>
                  <a:pt x="390" y="161"/>
                </a:cubicBezTo>
                <a:close/>
                <a:moveTo>
                  <a:pt x="144" y="49"/>
                </a:moveTo>
                <a:cubicBezTo>
                  <a:pt x="144" y="49"/>
                  <a:pt x="145" y="49"/>
                  <a:pt x="144" y="48"/>
                </a:cubicBezTo>
                <a:cubicBezTo>
                  <a:pt x="144" y="48"/>
                  <a:pt x="144" y="49"/>
                  <a:pt x="144" y="49"/>
                </a:cubicBezTo>
                <a:cubicBezTo>
                  <a:pt x="143" y="49"/>
                  <a:pt x="143" y="49"/>
                  <a:pt x="143" y="50"/>
                </a:cubicBezTo>
                <a:cubicBezTo>
                  <a:pt x="143" y="50"/>
                  <a:pt x="143" y="50"/>
                  <a:pt x="144" y="50"/>
                </a:cubicBezTo>
                <a:cubicBezTo>
                  <a:pt x="144" y="50"/>
                  <a:pt x="144" y="50"/>
                  <a:pt x="144" y="49"/>
                </a:cubicBezTo>
                <a:close/>
                <a:moveTo>
                  <a:pt x="136" y="59"/>
                </a:moveTo>
                <a:cubicBezTo>
                  <a:pt x="137" y="59"/>
                  <a:pt x="137" y="59"/>
                  <a:pt x="138" y="58"/>
                </a:cubicBezTo>
                <a:cubicBezTo>
                  <a:pt x="137" y="58"/>
                  <a:pt x="137" y="57"/>
                  <a:pt x="137" y="57"/>
                </a:cubicBezTo>
                <a:cubicBezTo>
                  <a:pt x="137" y="57"/>
                  <a:pt x="136" y="57"/>
                  <a:pt x="136" y="58"/>
                </a:cubicBezTo>
                <a:cubicBezTo>
                  <a:pt x="136" y="58"/>
                  <a:pt x="136" y="58"/>
                  <a:pt x="136" y="58"/>
                </a:cubicBezTo>
                <a:cubicBezTo>
                  <a:pt x="136" y="58"/>
                  <a:pt x="137" y="58"/>
                  <a:pt x="137" y="58"/>
                </a:cubicBezTo>
                <a:cubicBezTo>
                  <a:pt x="137" y="58"/>
                  <a:pt x="136" y="59"/>
                  <a:pt x="136" y="59"/>
                </a:cubicBezTo>
                <a:close/>
                <a:moveTo>
                  <a:pt x="256" y="63"/>
                </a:moveTo>
                <a:cubicBezTo>
                  <a:pt x="256" y="63"/>
                  <a:pt x="256" y="63"/>
                  <a:pt x="256" y="63"/>
                </a:cubicBezTo>
                <a:cubicBezTo>
                  <a:pt x="257" y="63"/>
                  <a:pt x="257" y="62"/>
                  <a:pt x="256" y="61"/>
                </a:cubicBezTo>
                <a:cubicBezTo>
                  <a:pt x="256" y="61"/>
                  <a:pt x="256" y="61"/>
                  <a:pt x="256" y="61"/>
                </a:cubicBezTo>
                <a:cubicBezTo>
                  <a:pt x="255" y="61"/>
                  <a:pt x="255" y="62"/>
                  <a:pt x="255" y="62"/>
                </a:cubicBezTo>
                <a:cubicBezTo>
                  <a:pt x="256" y="62"/>
                  <a:pt x="256" y="62"/>
                  <a:pt x="256" y="63"/>
                </a:cubicBezTo>
                <a:close/>
                <a:moveTo>
                  <a:pt x="252" y="40"/>
                </a:moveTo>
                <a:cubicBezTo>
                  <a:pt x="252" y="40"/>
                  <a:pt x="252" y="40"/>
                  <a:pt x="252" y="40"/>
                </a:cubicBezTo>
                <a:cubicBezTo>
                  <a:pt x="251" y="39"/>
                  <a:pt x="251" y="40"/>
                  <a:pt x="251" y="40"/>
                </a:cubicBezTo>
                <a:cubicBezTo>
                  <a:pt x="251" y="40"/>
                  <a:pt x="251" y="40"/>
                  <a:pt x="250" y="40"/>
                </a:cubicBezTo>
                <a:cubicBezTo>
                  <a:pt x="250" y="40"/>
                  <a:pt x="250" y="41"/>
                  <a:pt x="250" y="41"/>
                </a:cubicBezTo>
                <a:cubicBezTo>
                  <a:pt x="250" y="41"/>
                  <a:pt x="251" y="42"/>
                  <a:pt x="251" y="41"/>
                </a:cubicBezTo>
                <a:cubicBezTo>
                  <a:pt x="251" y="41"/>
                  <a:pt x="251" y="40"/>
                  <a:pt x="251" y="41"/>
                </a:cubicBezTo>
                <a:cubicBezTo>
                  <a:pt x="251" y="41"/>
                  <a:pt x="251" y="41"/>
                  <a:pt x="251" y="42"/>
                </a:cubicBezTo>
                <a:cubicBezTo>
                  <a:pt x="252" y="41"/>
                  <a:pt x="252" y="40"/>
                  <a:pt x="252" y="40"/>
                </a:cubicBezTo>
                <a:close/>
                <a:moveTo>
                  <a:pt x="276" y="78"/>
                </a:moveTo>
                <a:cubicBezTo>
                  <a:pt x="277" y="77"/>
                  <a:pt x="277" y="77"/>
                  <a:pt x="277" y="77"/>
                </a:cubicBezTo>
                <a:cubicBezTo>
                  <a:pt x="278" y="77"/>
                  <a:pt x="278" y="76"/>
                  <a:pt x="277" y="76"/>
                </a:cubicBezTo>
                <a:cubicBezTo>
                  <a:pt x="277" y="77"/>
                  <a:pt x="276" y="77"/>
                  <a:pt x="276" y="78"/>
                </a:cubicBezTo>
                <a:close/>
                <a:moveTo>
                  <a:pt x="251" y="38"/>
                </a:moveTo>
                <a:cubicBezTo>
                  <a:pt x="251" y="38"/>
                  <a:pt x="251" y="37"/>
                  <a:pt x="251" y="37"/>
                </a:cubicBezTo>
                <a:cubicBezTo>
                  <a:pt x="252" y="37"/>
                  <a:pt x="252" y="37"/>
                  <a:pt x="252" y="37"/>
                </a:cubicBezTo>
                <a:cubicBezTo>
                  <a:pt x="252" y="37"/>
                  <a:pt x="251" y="36"/>
                  <a:pt x="251" y="36"/>
                </a:cubicBezTo>
                <a:cubicBezTo>
                  <a:pt x="252" y="37"/>
                  <a:pt x="251" y="37"/>
                  <a:pt x="251" y="38"/>
                </a:cubicBezTo>
                <a:close/>
                <a:moveTo>
                  <a:pt x="313" y="8"/>
                </a:moveTo>
                <a:cubicBezTo>
                  <a:pt x="313" y="7"/>
                  <a:pt x="314" y="7"/>
                  <a:pt x="314" y="7"/>
                </a:cubicBezTo>
                <a:cubicBezTo>
                  <a:pt x="314" y="7"/>
                  <a:pt x="314" y="5"/>
                  <a:pt x="313" y="6"/>
                </a:cubicBezTo>
                <a:cubicBezTo>
                  <a:pt x="312" y="6"/>
                  <a:pt x="312" y="7"/>
                  <a:pt x="313" y="8"/>
                </a:cubicBezTo>
                <a:close/>
                <a:moveTo>
                  <a:pt x="241" y="333"/>
                </a:moveTo>
                <a:cubicBezTo>
                  <a:pt x="241" y="333"/>
                  <a:pt x="240" y="334"/>
                  <a:pt x="240" y="334"/>
                </a:cubicBezTo>
                <a:cubicBezTo>
                  <a:pt x="240" y="334"/>
                  <a:pt x="242" y="333"/>
                  <a:pt x="241" y="333"/>
                </a:cubicBezTo>
                <a:close/>
                <a:moveTo>
                  <a:pt x="383" y="191"/>
                </a:moveTo>
                <a:cubicBezTo>
                  <a:pt x="383" y="191"/>
                  <a:pt x="383" y="191"/>
                  <a:pt x="383" y="192"/>
                </a:cubicBezTo>
                <a:cubicBezTo>
                  <a:pt x="383" y="192"/>
                  <a:pt x="382" y="193"/>
                  <a:pt x="382" y="194"/>
                </a:cubicBezTo>
                <a:cubicBezTo>
                  <a:pt x="383" y="194"/>
                  <a:pt x="383" y="193"/>
                  <a:pt x="383" y="192"/>
                </a:cubicBezTo>
                <a:cubicBezTo>
                  <a:pt x="383" y="192"/>
                  <a:pt x="385" y="191"/>
                  <a:pt x="384" y="191"/>
                </a:cubicBezTo>
                <a:cubicBezTo>
                  <a:pt x="384" y="191"/>
                  <a:pt x="384" y="190"/>
                  <a:pt x="383" y="191"/>
                </a:cubicBezTo>
                <a:close/>
                <a:moveTo>
                  <a:pt x="361" y="112"/>
                </a:moveTo>
                <a:cubicBezTo>
                  <a:pt x="361" y="112"/>
                  <a:pt x="361" y="111"/>
                  <a:pt x="361" y="111"/>
                </a:cubicBezTo>
                <a:cubicBezTo>
                  <a:pt x="361" y="111"/>
                  <a:pt x="361" y="112"/>
                  <a:pt x="361" y="112"/>
                </a:cubicBezTo>
                <a:cubicBezTo>
                  <a:pt x="360" y="112"/>
                  <a:pt x="361" y="112"/>
                  <a:pt x="361" y="113"/>
                </a:cubicBezTo>
                <a:cubicBezTo>
                  <a:pt x="361" y="113"/>
                  <a:pt x="362" y="112"/>
                  <a:pt x="362" y="112"/>
                </a:cubicBezTo>
                <a:cubicBezTo>
                  <a:pt x="362" y="113"/>
                  <a:pt x="362" y="112"/>
                  <a:pt x="361" y="112"/>
                </a:cubicBezTo>
                <a:close/>
                <a:moveTo>
                  <a:pt x="252" y="61"/>
                </a:moveTo>
                <a:cubicBezTo>
                  <a:pt x="252" y="60"/>
                  <a:pt x="252" y="60"/>
                  <a:pt x="252" y="60"/>
                </a:cubicBezTo>
                <a:cubicBezTo>
                  <a:pt x="252" y="60"/>
                  <a:pt x="251" y="61"/>
                  <a:pt x="251" y="61"/>
                </a:cubicBezTo>
                <a:cubicBezTo>
                  <a:pt x="252" y="61"/>
                  <a:pt x="252" y="61"/>
                  <a:pt x="252" y="61"/>
                </a:cubicBezTo>
                <a:close/>
                <a:moveTo>
                  <a:pt x="314" y="2"/>
                </a:moveTo>
                <a:cubicBezTo>
                  <a:pt x="315" y="2"/>
                  <a:pt x="315" y="1"/>
                  <a:pt x="315" y="1"/>
                </a:cubicBezTo>
                <a:cubicBezTo>
                  <a:pt x="314" y="1"/>
                  <a:pt x="314" y="1"/>
                  <a:pt x="314" y="2"/>
                </a:cubicBezTo>
                <a:cubicBezTo>
                  <a:pt x="314" y="2"/>
                  <a:pt x="314" y="2"/>
                  <a:pt x="314" y="2"/>
                </a:cubicBezTo>
                <a:close/>
                <a:moveTo>
                  <a:pt x="191" y="273"/>
                </a:moveTo>
                <a:cubicBezTo>
                  <a:pt x="191" y="273"/>
                  <a:pt x="191" y="275"/>
                  <a:pt x="191" y="275"/>
                </a:cubicBezTo>
                <a:cubicBezTo>
                  <a:pt x="191" y="274"/>
                  <a:pt x="191" y="273"/>
                  <a:pt x="191" y="273"/>
                </a:cubicBezTo>
                <a:close/>
                <a:moveTo>
                  <a:pt x="256" y="313"/>
                </a:moveTo>
                <a:cubicBezTo>
                  <a:pt x="256" y="313"/>
                  <a:pt x="256" y="312"/>
                  <a:pt x="256" y="312"/>
                </a:cubicBezTo>
                <a:cubicBezTo>
                  <a:pt x="255" y="312"/>
                  <a:pt x="255" y="312"/>
                  <a:pt x="254" y="313"/>
                </a:cubicBezTo>
                <a:cubicBezTo>
                  <a:pt x="255" y="313"/>
                  <a:pt x="256" y="312"/>
                  <a:pt x="256" y="313"/>
                </a:cubicBezTo>
                <a:close/>
                <a:moveTo>
                  <a:pt x="10" y="166"/>
                </a:moveTo>
                <a:cubicBezTo>
                  <a:pt x="10" y="166"/>
                  <a:pt x="9" y="167"/>
                  <a:pt x="9" y="167"/>
                </a:cubicBezTo>
                <a:cubicBezTo>
                  <a:pt x="10" y="166"/>
                  <a:pt x="10" y="165"/>
                  <a:pt x="10" y="164"/>
                </a:cubicBezTo>
                <a:cubicBezTo>
                  <a:pt x="10" y="164"/>
                  <a:pt x="10" y="165"/>
                  <a:pt x="10" y="166"/>
                </a:cubicBezTo>
                <a:close/>
                <a:moveTo>
                  <a:pt x="255" y="60"/>
                </a:moveTo>
                <a:cubicBezTo>
                  <a:pt x="255" y="60"/>
                  <a:pt x="254" y="61"/>
                  <a:pt x="254" y="61"/>
                </a:cubicBezTo>
                <a:cubicBezTo>
                  <a:pt x="255" y="61"/>
                  <a:pt x="255" y="60"/>
                  <a:pt x="255" y="60"/>
                </a:cubicBezTo>
                <a:close/>
                <a:moveTo>
                  <a:pt x="254" y="357"/>
                </a:moveTo>
                <a:cubicBezTo>
                  <a:pt x="254" y="358"/>
                  <a:pt x="253" y="358"/>
                  <a:pt x="253" y="359"/>
                </a:cubicBezTo>
                <a:cubicBezTo>
                  <a:pt x="253" y="358"/>
                  <a:pt x="254" y="359"/>
                  <a:pt x="254" y="358"/>
                </a:cubicBezTo>
                <a:cubicBezTo>
                  <a:pt x="254" y="358"/>
                  <a:pt x="254" y="358"/>
                  <a:pt x="254" y="358"/>
                </a:cubicBezTo>
                <a:cubicBezTo>
                  <a:pt x="254" y="358"/>
                  <a:pt x="254" y="358"/>
                  <a:pt x="255" y="358"/>
                </a:cubicBezTo>
                <a:cubicBezTo>
                  <a:pt x="255" y="358"/>
                  <a:pt x="255" y="358"/>
                  <a:pt x="255" y="357"/>
                </a:cubicBezTo>
                <a:cubicBezTo>
                  <a:pt x="255" y="357"/>
                  <a:pt x="254" y="357"/>
                  <a:pt x="254" y="357"/>
                </a:cubicBezTo>
                <a:close/>
                <a:moveTo>
                  <a:pt x="366" y="132"/>
                </a:moveTo>
                <a:cubicBezTo>
                  <a:pt x="365" y="132"/>
                  <a:pt x="365" y="133"/>
                  <a:pt x="365" y="134"/>
                </a:cubicBezTo>
                <a:cubicBezTo>
                  <a:pt x="366" y="133"/>
                  <a:pt x="366" y="132"/>
                  <a:pt x="366" y="132"/>
                </a:cubicBezTo>
                <a:close/>
                <a:moveTo>
                  <a:pt x="269" y="335"/>
                </a:moveTo>
                <a:cubicBezTo>
                  <a:pt x="270" y="335"/>
                  <a:pt x="270" y="334"/>
                  <a:pt x="270" y="334"/>
                </a:cubicBezTo>
                <a:cubicBezTo>
                  <a:pt x="270" y="334"/>
                  <a:pt x="269" y="334"/>
                  <a:pt x="269" y="335"/>
                </a:cubicBezTo>
                <a:cubicBezTo>
                  <a:pt x="269" y="335"/>
                  <a:pt x="269" y="335"/>
                  <a:pt x="269" y="335"/>
                </a:cubicBezTo>
                <a:close/>
                <a:moveTo>
                  <a:pt x="181" y="261"/>
                </a:moveTo>
                <a:cubicBezTo>
                  <a:pt x="181" y="260"/>
                  <a:pt x="182" y="260"/>
                  <a:pt x="182" y="260"/>
                </a:cubicBezTo>
                <a:cubicBezTo>
                  <a:pt x="182" y="259"/>
                  <a:pt x="181" y="260"/>
                  <a:pt x="181" y="261"/>
                </a:cubicBezTo>
                <a:close/>
                <a:moveTo>
                  <a:pt x="244" y="363"/>
                </a:moveTo>
                <a:cubicBezTo>
                  <a:pt x="244" y="363"/>
                  <a:pt x="244" y="363"/>
                  <a:pt x="244" y="363"/>
                </a:cubicBezTo>
                <a:cubicBezTo>
                  <a:pt x="244" y="364"/>
                  <a:pt x="243" y="364"/>
                  <a:pt x="243" y="365"/>
                </a:cubicBezTo>
                <a:cubicBezTo>
                  <a:pt x="242" y="365"/>
                  <a:pt x="242" y="365"/>
                  <a:pt x="242" y="365"/>
                </a:cubicBezTo>
                <a:cubicBezTo>
                  <a:pt x="242" y="365"/>
                  <a:pt x="242" y="365"/>
                  <a:pt x="242" y="365"/>
                </a:cubicBezTo>
                <a:cubicBezTo>
                  <a:pt x="242" y="365"/>
                  <a:pt x="241" y="366"/>
                  <a:pt x="241" y="366"/>
                </a:cubicBezTo>
                <a:cubicBezTo>
                  <a:pt x="241" y="366"/>
                  <a:pt x="241" y="366"/>
                  <a:pt x="241" y="366"/>
                </a:cubicBezTo>
                <a:cubicBezTo>
                  <a:pt x="240" y="366"/>
                  <a:pt x="240" y="366"/>
                  <a:pt x="240" y="366"/>
                </a:cubicBezTo>
                <a:cubicBezTo>
                  <a:pt x="241" y="367"/>
                  <a:pt x="241" y="366"/>
                  <a:pt x="241" y="366"/>
                </a:cubicBezTo>
                <a:cubicBezTo>
                  <a:pt x="241" y="366"/>
                  <a:pt x="241" y="367"/>
                  <a:pt x="242" y="367"/>
                </a:cubicBezTo>
                <a:cubicBezTo>
                  <a:pt x="242" y="366"/>
                  <a:pt x="242" y="366"/>
                  <a:pt x="243" y="366"/>
                </a:cubicBezTo>
                <a:cubicBezTo>
                  <a:pt x="243" y="365"/>
                  <a:pt x="243" y="364"/>
                  <a:pt x="244" y="364"/>
                </a:cubicBezTo>
                <a:cubicBezTo>
                  <a:pt x="244" y="364"/>
                  <a:pt x="245" y="364"/>
                  <a:pt x="245" y="364"/>
                </a:cubicBezTo>
                <a:cubicBezTo>
                  <a:pt x="245" y="363"/>
                  <a:pt x="245" y="363"/>
                  <a:pt x="245" y="362"/>
                </a:cubicBezTo>
                <a:cubicBezTo>
                  <a:pt x="245" y="362"/>
                  <a:pt x="245" y="363"/>
                  <a:pt x="244" y="363"/>
                </a:cubicBezTo>
                <a:close/>
                <a:moveTo>
                  <a:pt x="267" y="315"/>
                </a:moveTo>
                <a:cubicBezTo>
                  <a:pt x="266" y="315"/>
                  <a:pt x="264" y="315"/>
                  <a:pt x="265" y="316"/>
                </a:cubicBezTo>
                <a:cubicBezTo>
                  <a:pt x="266" y="315"/>
                  <a:pt x="266" y="315"/>
                  <a:pt x="267" y="315"/>
                </a:cubicBezTo>
                <a:close/>
                <a:moveTo>
                  <a:pt x="8" y="175"/>
                </a:moveTo>
                <a:cubicBezTo>
                  <a:pt x="8" y="176"/>
                  <a:pt x="8" y="176"/>
                  <a:pt x="9" y="177"/>
                </a:cubicBezTo>
                <a:cubicBezTo>
                  <a:pt x="9" y="176"/>
                  <a:pt x="9" y="175"/>
                  <a:pt x="9" y="175"/>
                </a:cubicBezTo>
                <a:cubicBezTo>
                  <a:pt x="9" y="174"/>
                  <a:pt x="8" y="175"/>
                  <a:pt x="8" y="175"/>
                </a:cubicBezTo>
                <a:cubicBezTo>
                  <a:pt x="8" y="174"/>
                  <a:pt x="9" y="174"/>
                  <a:pt x="9" y="174"/>
                </a:cubicBezTo>
                <a:cubicBezTo>
                  <a:pt x="9" y="174"/>
                  <a:pt x="8" y="173"/>
                  <a:pt x="8" y="173"/>
                </a:cubicBezTo>
                <a:cubicBezTo>
                  <a:pt x="8" y="173"/>
                  <a:pt x="8" y="172"/>
                  <a:pt x="8" y="172"/>
                </a:cubicBezTo>
                <a:cubicBezTo>
                  <a:pt x="8" y="171"/>
                  <a:pt x="8" y="170"/>
                  <a:pt x="8" y="170"/>
                </a:cubicBezTo>
                <a:cubicBezTo>
                  <a:pt x="8" y="169"/>
                  <a:pt x="8" y="169"/>
                  <a:pt x="8" y="169"/>
                </a:cubicBezTo>
                <a:cubicBezTo>
                  <a:pt x="7" y="170"/>
                  <a:pt x="7" y="172"/>
                  <a:pt x="7" y="173"/>
                </a:cubicBezTo>
                <a:cubicBezTo>
                  <a:pt x="8" y="174"/>
                  <a:pt x="8" y="175"/>
                  <a:pt x="8" y="175"/>
                </a:cubicBezTo>
                <a:close/>
                <a:moveTo>
                  <a:pt x="343" y="99"/>
                </a:moveTo>
                <a:cubicBezTo>
                  <a:pt x="343" y="99"/>
                  <a:pt x="343" y="99"/>
                  <a:pt x="343" y="99"/>
                </a:cubicBezTo>
                <a:cubicBezTo>
                  <a:pt x="343" y="99"/>
                  <a:pt x="342" y="100"/>
                  <a:pt x="343" y="100"/>
                </a:cubicBezTo>
                <a:cubicBezTo>
                  <a:pt x="343" y="100"/>
                  <a:pt x="343" y="100"/>
                  <a:pt x="343" y="99"/>
                </a:cubicBezTo>
                <a:close/>
                <a:moveTo>
                  <a:pt x="253" y="22"/>
                </a:moveTo>
                <a:cubicBezTo>
                  <a:pt x="254" y="22"/>
                  <a:pt x="254" y="22"/>
                  <a:pt x="255" y="21"/>
                </a:cubicBezTo>
                <a:cubicBezTo>
                  <a:pt x="255" y="21"/>
                  <a:pt x="255" y="21"/>
                  <a:pt x="255" y="21"/>
                </a:cubicBezTo>
                <a:cubicBezTo>
                  <a:pt x="254" y="21"/>
                  <a:pt x="253" y="22"/>
                  <a:pt x="254" y="21"/>
                </a:cubicBezTo>
                <a:cubicBezTo>
                  <a:pt x="254" y="21"/>
                  <a:pt x="253" y="22"/>
                  <a:pt x="253" y="22"/>
                </a:cubicBezTo>
                <a:cubicBezTo>
                  <a:pt x="253" y="21"/>
                  <a:pt x="253" y="21"/>
                  <a:pt x="253" y="21"/>
                </a:cubicBezTo>
                <a:cubicBezTo>
                  <a:pt x="253" y="22"/>
                  <a:pt x="253" y="22"/>
                  <a:pt x="253" y="22"/>
                </a:cubicBezTo>
                <a:close/>
                <a:moveTo>
                  <a:pt x="384" y="187"/>
                </a:moveTo>
                <a:cubicBezTo>
                  <a:pt x="383" y="188"/>
                  <a:pt x="383" y="189"/>
                  <a:pt x="383" y="190"/>
                </a:cubicBezTo>
                <a:cubicBezTo>
                  <a:pt x="384" y="189"/>
                  <a:pt x="384" y="189"/>
                  <a:pt x="384" y="188"/>
                </a:cubicBezTo>
                <a:cubicBezTo>
                  <a:pt x="384" y="187"/>
                  <a:pt x="385" y="187"/>
                  <a:pt x="385" y="187"/>
                </a:cubicBezTo>
                <a:cubicBezTo>
                  <a:pt x="385" y="186"/>
                  <a:pt x="384" y="187"/>
                  <a:pt x="384" y="187"/>
                </a:cubicBezTo>
                <a:close/>
                <a:moveTo>
                  <a:pt x="153" y="42"/>
                </a:moveTo>
                <a:cubicBezTo>
                  <a:pt x="153" y="42"/>
                  <a:pt x="153" y="42"/>
                  <a:pt x="153" y="42"/>
                </a:cubicBezTo>
                <a:cubicBezTo>
                  <a:pt x="153" y="42"/>
                  <a:pt x="153" y="42"/>
                  <a:pt x="153" y="42"/>
                </a:cubicBezTo>
                <a:close/>
                <a:moveTo>
                  <a:pt x="385" y="173"/>
                </a:moveTo>
                <a:cubicBezTo>
                  <a:pt x="385" y="174"/>
                  <a:pt x="385" y="174"/>
                  <a:pt x="384" y="175"/>
                </a:cubicBezTo>
                <a:cubicBezTo>
                  <a:pt x="384" y="174"/>
                  <a:pt x="385" y="174"/>
                  <a:pt x="385" y="173"/>
                </a:cubicBezTo>
                <a:cubicBezTo>
                  <a:pt x="385" y="173"/>
                  <a:pt x="385" y="173"/>
                  <a:pt x="384" y="172"/>
                </a:cubicBezTo>
                <a:cubicBezTo>
                  <a:pt x="384" y="172"/>
                  <a:pt x="384" y="172"/>
                  <a:pt x="384" y="171"/>
                </a:cubicBezTo>
                <a:cubicBezTo>
                  <a:pt x="384" y="171"/>
                  <a:pt x="384" y="170"/>
                  <a:pt x="385" y="170"/>
                </a:cubicBezTo>
                <a:cubicBezTo>
                  <a:pt x="385" y="170"/>
                  <a:pt x="385" y="170"/>
                  <a:pt x="385" y="170"/>
                </a:cubicBezTo>
                <a:cubicBezTo>
                  <a:pt x="386" y="169"/>
                  <a:pt x="385" y="169"/>
                  <a:pt x="385" y="169"/>
                </a:cubicBezTo>
                <a:cubicBezTo>
                  <a:pt x="385" y="169"/>
                  <a:pt x="386" y="167"/>
                  <a:pt x="385" y="167"/>
                </a:cubicBezTo>
                <a:cubicBezTo>
                  <a:pt x="385" y="167"/>
                  <a:pt x="385" y="167"/>
                  <a:pt x="384" y="167"/>
                </a:cubicBezTo>
                <a:cubicBezTo>
                  <a:pt x="384" y="167"/>
                  <a:pt x="384" y="167"/>
                  <a:pt x="384" y="167"/>
                </a:cubicBezTo>
                <a:cubicBezTo>
                  <a:pt x="384" y="167"/>
                  <a:pt x="383" y="166"/>
                  <a:pt x="383" y="166"/>
                </a:cubicBezTo>
                <a:cubicBezTo>
                  <a:pt x="383" y="166"/>
                  <a:pt x="383" y="166"/>
                  <a:pt x="383" y="166"/>
                </a:cubicBezTo>
                <a:cubicBezTo>
                  <a:pt x="383" y="165"/>
                  <a:pt x="383" y="165"/>
                  <a:pt x="383" y="164"/>
                </a:cubicBezTo>
                <a:cubicBezTo>
                  <a:pt x="383" y="163"/>
                  <a:pt x="383" y="162"/>
                  <a:pt x="382" y="161"/>
                </a:cubicBezTo>
                <a:cubicBezTo>
                  <a:pt x="381" y="160"/>
                  <a:pt x="380" y="160"/>
                  <a:pt x="380" y="158"/>
                </a:cubicBezTo>
                <a:cubicBezTo>
                  <a:pt x="379" y="158"/>
                  <a:pt x="380" y="157"/>
                  <a:pt x="379" y="156"/>
                </a:cubicBezTo>
                <a:cubicBezTo>
                  <a:pt x="379" y="156"/>
                  <a:pt x="379" y="155"/>
                  <a:pt x="379" y="155"/>
                </a:cubicBezTo>
                <a:cubicBezTo>
                  <a:pt x="379" y="156"/>
                  <a:pt x="378" y="154"/>
                  <a:pt x="378" y="153"/>
                </a:cubicBezTo>
                <a:cubicBezTo>
                  <a:pt x="378" y="153"/>
                  <a:pt x="378" y="154"/>
                  <a:pt x="378" y="154"/>
                </a:cubicBezTo>
                <a:cubicBezTo>
                  <a:pt x="377" y="153"/>
                  <a:pt x="378" y="154"/>
                  <a:pt x="378" y="153"/>
                </a:cubicBezTo>
                <a:cubicBezTo>
                  <a:pt x="378" y="153"/>
                  <a:pt x="377" y="153"/>
                  <a:pt x="377" y="153"/>
                </a:cubicBezTo>
                <a:cubicBezTo>
                  <a:pt x="377" y="153"/>
                  <a:pt x="378" y="154"/>
                  <a:pt x="377" y="154"/>
                </a:cubicBezTo>
                <a:cubicBezTo>
                  <a:pt x="378" y="154"/>
                  <a:pt x="376" y="154"/>
                  <a:pt x="376" y="154"/>
                </a:cubicBezTo>
                <a:cubicBezTo>
                  <a:pt x="376" y="154"/>
                  <a:pt x="376" y="154"/>
                  <a:pt x="376" y="153"/>
                </a:cubicBezTo>
                <a:cubicBezTo>
                  <a:pt x="376" y="153"/>
                  <a:pt x="375" y="153"/>
                  <a:pt x="375" y="153"/>
                </a:cubicBezTo>
                <a:cubicBezTo>
                  <a:pt x="375" y="152"/>
                  <a:pt x="375" y="152"/>
                  <a:pt x="374" y="151"/>
                </a:cubicBezTo>
                <a:cubicBezTo>
                  <a:pt x="374" y="151"/>
                  <a:pt x="373" y="151"/>
                  <a:pt x="373" y="150"/>
                </a:cubicBezTo>
                <a:cubicBezTo>
                  <a:pt x="373" y="149"/>
                  <a:pt x="373" y="149"/>
                  <a:pt x="373" y="148"/>
                </a:cubicBezTo>
                <a:cubicBezTo>
                  <a:pt x="372" y="148"/>
                  <a:pt x="372" y="148"/>
                  <a:pt x="371" y="148"/>
                </a:cubicBezTo>
                <a:cubicBezTo>
                  <a:pt x="371" y="148"/>
                  <a:pt x="371" y="148"/>
                  <a:pt x="371" y="148"/>
                </a:cubicBezTo>
                <a:cubicBezTo>
                  <a:pt x="372" y="148"/>
                  <a:pt x="371" y="147"/>
                  <a:pt x="371" y="146"/>
                </a:cubicBezTo>
                <a:cubicBezTo>
                  <a:pt x="371" y="146"/>
                  <a:pt x="372" y="145"/>
                  <a:pt x="372" y="145"/>
                </a:cubicBezTo>
                <a:cubicBezTo>
                  <a:pt x="372" y="144"/>
                  <a:pt x="371" y="144"/>
                  <a:pt x="371" y="144"/>
                </a:cubicBezTo>
                <a:cubicBezTo>
                  <a:pt x="371" y="144"/>
                  <a:pt x="371" y="144"/>
                  <a:pt x="371" y="143"/>
                </a:cubicBezTo>
                <a:cubicBezTo>
                  <a:pt x="371" y="143"/>
                  <a:pt x="372" y="142"/>
                  <a:pt x="371" y="141"/>
                </a:cubicBezTo>
                <a:cubicBezTo>
                  <a:pt x="372" y="141"/>
                  <a:pt x="372" y="140"/>
                  <a:pt x="373" y="139"/>
                </a:cubicBezTo>
                <a:cubicBezTo>
                  <a:pt x="373" y="139"/>
                  <a:pt x="373" y="139"/>
                  <a:pt x="373" y="138"/>
                </a:cubicBezTo>
                <a:cubicBezTo>
                  <a:pt x="373" y="138"/>
                  <a:pt x="373" y="137"/>
                  <a:pt x="373" y="137"/>
                </a:cubicBezTo>
                <a:cubicBezTo>
                  <a:pt x="373" y="137"/>
                  <a:pt x="372" y="138"/>
                  <a:pt x="372" y="138"/>
                </a:cubicBezTo>
                <a:cubicBezTo>
                  <a:pt x="372" y="138"/>
                  <a:pt x="372" y="137"/>
                  <a:pt x="372" y="137"/>
                </a:cubicBezTo>
                <a:cubicBezTo>
                  <a:pt x="372" y="137"/>
                  <a:pt x="372" y="137"/>
                  <a:pt x="372" y="137"/>
                </a:cubicBezTo>
                <a:cubicBezTo>
                  <a:pt x="372" y="136"/>
                  <a:pt x="373" y="137"/>
                  <a:pt x="373" y="136"/>
                </a:cubicBezTo>
                <a:cubicBezTo>
                  <a:pt x="373" y="136"/>
                  <a:pt x="372" y="136"/>
                  <a:pt x="372" y="136"/>
                </a:cubicBezTo>
                <a:cubicBezTo>
                  <a:pt x="372" y="136"/>
                  <a:pt x="372" y="135"/>
                  <a:pt x="372" y="135"/>
                </a:cubicBezTo>
                <a:cubicBezTo>
                  <a:pt x="372" y="135"/>
                  <a:pt x="372" y="135"/>
                  <a:pt x="372" y="136"/>
                </a:cubicBezTo>
                <a:cubicBezTo>
                  <a:pt x="371" y="135"/>
                  <a:pt x="372" y="135"/>
                  <a:pt x="372" y="135"/>
                </a:cubicBezTo>
                <a:cubicBezTo>
                  <a:pt x="371" y="135"/>
                  <a:pt x="371" y="135"/>
                  <a:pt x="371" y="135"/>
                </a:cubicBezTo>
                <a:cubicBezTo>
                  <a:pt x="371" y="136"/>
                  <a:pt x="371" y="137"/>
                  <a:pt x="371" y="138"/>
                </a:cubicBezTo>
                <a:cubicBezTo>
                  <a:pt x="370" y="137"/>
                  <a:pt x="370" y="137"/>
                  <a:pt x="369" y="136"/>
                </a:cubicBezTo>
                <a:cubicBezTo>
                  <a:pt x="369" y="136"/>
                  <a:pt x="368" y="136"/>
                  <a:pt x="368" y="135"/>
                </a:cubicBezTo>
                <a:cubicBezTo>
                  <a:pt x="367" y="135"/>
                  <a:pt x="368" y="134"/>
                  <a:pt x="367" y="134"/>
                </a:cubicBezTo>
                <a:cubicBezTo>
                  <a:pt x="367" y="134"/>
                  <a:pt x="367" y="133"/>
                  <a:pt x="367" y="133"/>
                </a:cubicBezTo>
                <a:cubicBezTo>
                  <a:pt x="367" y="132"/>
                  <a:pt x="366" y="133"/>
                  <a:pt x="366" y="133"/>
                </a:cubicBezTo>
                <a:cubicBezTo>
                  <a:pt x="365" y="134"/>
                  <a:pt x="365" y="134"/>
                  <a:pt x="365" y="135"/>
                </a:cubicBezTo>
                <a:cubicBezTo>
                  <a:pt x="365" y="136"/>
                  <a:pt x="365" y="137"/>
                  <a:pt x="366" y="138"/>
                </a:cubicBezTo>
                <a:cubicBezTo>
                  <a:pt x="365" y="138"/>
                  <a:pt x="365" y="137"/>
                  <a:pt x="365" y="137"/>
                </a:cubicBezTo>
                <a:cubicBezTo>
                  <a:pt x="365" y="136"/>
                  <a:pt x="364" y="136"/>
                  <a:pt x="364" y="136"/>
                </a:cubicBezTo>
                <a:cubicBezTo>
                  <a:pt x="364" y="135"/>
                  <a:pt x="363" y="136"/>
                  <a:pt x="362" y="136"/>
                </a:cubicBezTo>
                <a:cubicBezTo>
                  <a:pt x="363" y="136"/>
                  <a:pt x="363" y="135"/>
                  <a:pt x="363" y="135"/>
                </a:cubicBezTo>
                <a:cubicBezTo>
                  <a:pt x="363" y="134"/>
                  <a:pt x="362" y="134"/>
                  <a:pt x="362" y="134"/>
                </a:cubicBezTo>
                <a:cubicBezTo>
                  <a:pt x="362" y="134"/>
                  <a:pt x="362" y="134"/>
                  <a:pt x="362" y="133"/>
                </a:cubicBezTo>
                <a:cubicBezTo>
                  <a:pt x="362" y="133"/>
                  <a:pt x="362" y="132"/>
                  <a:pt x="362" y="131"/>
                </a:cubicBezTo>
                <a:cubicBezTo>
                  <a:pt x="362" y="130"/>
                  <a:pt x="362" y="129"/>
                  <a:pt x="362" y="128"/>
                </a:cubicBezTo>
                <a:cubicBezTo>
                  <a:pt x="363" y="128"/>
                  <a:pt x="362" y="127"/>
                  <a:pt x="362" y="127"/>
                </a:cubicBezTo>
                <a:cubicBezTo>
                  <a:pt x="363" y="127"/>
                  <a:pt x="363" y="127"/>
                  <a:pt x="363" y="126"/>
                </a:cubicBezTo>
                <a:cubicBezTo>
                  <a:pt x="363" y="126"/>
                  <a:pt x="362" y="127"/>
                  <a:pt x="362" y="126"/>
                </a:cubicBezTo>
                <a:cubicBezTo>
                  <a:pt x="362" y="125"/>
                  <a:pt x="362" y="126"/>
                  <a:pt x="361" y="126"/>
                </a:cubicBezTo>
                <a:cubicBezTo>
                  <a:pt x="361" y="125"/>
                  <a:pt x="361" y="125"/>
                  <a:pt x="362" y="125"/>
                </a:cubicBezTo>
                <a:cubicBezTo>
                  <a:pt x="362" y="125"/>
                  <a:pt x="361" y="125"/>
                  <a:pt x="361" y="125"/>
                </a:cubicBezTo>
                <a:cubicBezTo>
                  <a:pt x="362" y="124"/>
                  <a:pt x="362" y="123"/>
                  <a:pt x="362" y="123"/>
                </a:cubicBezTo>
                <a:cubicBezTo>
                  <a:pt x="361" y="123"/>
                  <a:pt x="361" y="123"/>
                  <a:pt x="361" y="123"/>
                </a:cubicBezTo>
                <a:cubicBezTo>
                  <a:pt x="361" y="122"/>
                  <a:pt x="361" y="122"/>
                  <a:pt x="361" y="122"/>
                </a:cubicBezTo>
                <a:cubicBezTo>
                  <a:pt x="362" y="121"/>
                  <a:pt x="361" y="119"/>
                  <a:pt x="360" y="120"/>
                </a:cubicBezTo>
                <a:cubicBezTo>
                  <a:pt x="360" y="120"/>
                  <a:pt x="360" y="119"/>
                  <a:pt x="360" y="119"/>
                </a:cubicBezTo>
                <a:cubicBezTo>
                  <a:pt x="360" y="119"/>
                  <a:pt x="360" y="119"/>
                  <a:pt x="360" y="119"/>
                </a:cubicBezTo>
                <a:cubicBezTo>
                  <a:pt x="361" y="119"/>
                  <a:pt x="360" y="119"/>
                  <a:pt x="360" y="119"/>
                </a:cubicBezTo>
                <a:cubicBezTo>
                  <a:pt x="360" y="119"/>
                  <a:pt x="360" y="119"/>
                  <a:pt x="359" y="119"/>
                </a:cubicBezTo>
                <a:cubicBezTo>
                  <a:pt x="359" y="119"/>
                  <a:pt x="359" y="119"/>
                  <a:pt x="358" y="119"/>
                </a:cubicBezTo>
                <a:cubicBezTo>
                  <a:pt x="358" y="119"/>
                  <a:pt x="359" y="118"/>
                  <a:pt x="359" y="118"/>
                </a:cubicBezTo>
                <a:cubicBezTo>
                  <a:pt x="358" y="117"/>
                  <a:pt x="358" y="117"/>
                  <a:pt x="358" y="117"/>
                </a:cubicBezTo>
                <a:cubicBezTo>
                  <a:pt x="358" y="116"/>
                  <a:pt x="358" y="116"/>
                  <a:pt x="358" y="116"/>
                </a:cubicBezTo>
                <a:cubicBezTo>
                  <a:pt x="357" y="116"/>
                  <a:pt x="357" y="116"/>
                  <a:pt x="357" y="115"/>
                </a:cubicBezTo>
                <a:cubicBezTo>
                  <a:pt x="357" y="115"/>
                  <a:pt x="358" y="115"/>
                  <a:pt x="358" y="115"/>
                </a:cubicBezTo>
                <a:cubicBezTo>
                  <a:pt x="358" y="115"/>
                  <a:pt x="358" y="113"/>
                  <a:pt x="358" y="114"/>
                </a:cubicBezTo>
                <a:cubicBezTo>
                  <a:pt x="358" y="114"/>
                  <a:pt x="359" y="114"/>
                  <a:pt x="359" y="114"/>
                </a:cubicBezTo>
                <a:cubicBezTo>
                  <a:pt x="359" y="114"/>
                  <a:pt x="359" y="114"/>
                  <a:pt x="359" y="114"/>
                </a:cubicBezTo>
                <a:cubicBezTo>
                  <a:pt x="359" y="115"/>
                  <a:pt x="360" y="115"/>
                  <a:pt x="360" y="115"/>
                </a:cubicBezTo>
                <a:cubicBezTo>
                  <a:pt x="360" y="115"/>
                  <a:pt x="360" y="114"/>
                  <a:pt x="360" y="114"/>
                </a:cubicBezTo>
                <a:cubicBezTo>
                  <a:pt x="360" y="114"/>
                  <a:pt x="359" y="114"/>
                  <a:pt x="359" y="113"/>
                </a:cubicBezTo>
                <a:cubicBezTo>
                  <a:pt x="360" y="113"/>
                  <a:pt x="359" y="113"/>
                  <a:pt x="359" y="112"/>
                </a:cubicBezTo>
                <a:cubicBezTo>
                  <a:pt x="359" y="111"/>
                  <a:pt x="358" y="112"/>
                  <a:pt x="358" y="112"/>
                </a:cubicBezTo>
                <a:cubicBezTo>
                  <a:pt x="358" y="111"/>
                  <a:pt x="358" y="111"/>
                  <a:pt x="358" y="111"/>
                </a:cubicBezTo>
                <a:cubicBezTo>
                  <a:pt x="358" y="112"/>
                  <a:pt x="357" y="110"/>
                  <a:pt x="357" y="110"/>
                </a:cubicBezTo>
                <a:cubicBezTo>
                  <a:pt x="357" y="110"/>
                  <a:pt x="357" y="110"/>
                  <a:pt x="357" y="110"/>
                </a:cubicBezTo>
                <a:cubicBezTo>
                  <a:pt x="356" y="110"/>
                  <a:pt x="356" y="110"/>
                  <a:pt x="356" y="110"/>
                </a:cubicBezTo>
                <a:cubicBezTo>
                  <a:pt x="357" y="110"/>
                  <a:pt x="356" y="111"/>
                  <a:pt x="356" y="111"/>
                </a:cubicBezTo>
                <a:cubicBezTo>
                  <a:pt x="356" y="111"/>
                  <a:pt x="356" y="111"/>
                  <a:pt x="356" y="111"/>
                </a:cubicBezTo>
                <a:cubicBezTo>
                  <a:pt x="356" y="111"/>
                  <a:pt x="356" y="111"/>
                  <a:pt x="356" y="111"/>
                </a:cubicBezTo>
                <a:cubicBezTo>
                  <a:pt x="356" y="111"/>
                  <a:pt x="356" y="111"/>
                  <a:pt x="356" y="111"/>
                </a:cubicBezTo>
                <a:cubicBezTo>
                  <a:pt x="356" y="111"/>
                  <a:pt x="355" y="111"/>
                  <a:pt x="355" y="110"/>
                </a:cubicBezTo>
                <a:cubicBezTo>
                  <a:pt x="355" y="110"/>
                  <a:pt x="355" y="109"/>
                  <a:pt x="355" y="109"/>
                </a:cubicBezTo>
                <a:cubicBezTo>
                  <a:pt x="354" y="108"/>
                  <a:pt x="354" y="109"/>
                  <a:pt x="354" y="108"/>
                </a:cubicBezTo>
                <a:cubicBezTo>
                  <a:pt x="353" y="108"/>
                  <a:pt x="353" y="108"/>
                  <a:pt x="353" y="108"/>
                </a:cubicBezTo>
                <a:cubicBezTo>
                  <a:pt x="353" y="108"/>
                  <a:pt x="353" y="108"/>
                  <a:pt x="352" y="108"/>
                </a:cubicBezTo>
                <a:cubicBezTo>
                  <a:pt x="351" y="108"/>
                  <a:pt x="351" y="107"/>
                  <a:pt x="351" y="107"/>
                </a:cubicBezTo>
                <a:cubicBezTo>
                  <a:pt x="351" y="106"/>
                  <a:pt x="351" y="106"/>
                  <a:pt x="351" y="106"/>
                </a:cubicBezTo>
                <a:cubicBezTo>
                  <a:pt x="350" y="106"/>
                  <a:pt x="351" y="107"/>
                  <a:pt x="350" y="107"/>
                </a:cubicBezTo>
                <a:cubicBezTo>
                  <a:pt x="350" y="108"/>
                  <a:pt x="349" y="106"/>
                  <a:pt x="349" y="106"/>
                </a:cubicBezTo>
                <a:cubicBezTo>
                  <a:pt x="350" y="106"/>
                  <a:pt x="349" y="104"/>
                  <a:pt x="349" y="104"/>
                </a:cubicBezTo>
                <a:cubicBezTo>
                  <a:pt x="349" y="103"/>
                  <a:pt x="349" y="103"/>
                  <a:pt x="349" y="102"/>
                </a:cubicBezTo>
                <a:cubicBezTo>
                  <a:pt x="349" y="102"/>
                  <a:pt x="348" y="101"/>
                  <a:pt x="348" y="101"/>
                </a:cubicBezTo>
                <a:cubicBezTo>
                  <a:pt x="348" y="102"/>
                  <a:pt x="349" y="102"/>
                  <a:pt x="348" y="102"/>
                </a:cubicBezTo>
                <a:cubicBezTo>
                  <a:pt x="348" y="103"/>
                  <a:pt x="347" y="103"/>
                  <a:pt x="346" y="103"/>
                </a:cubicBezTo>
                <a:cubicBezTo>
                  <a:pt x="345" y="103"/>
                  <a:pt x="345" y="102"/>
                  <a:pt x="345" y="102"/>
                </a:cubicBezTo>
                <a:cubicBezTo>
                  <a:pt x="345" y="101"/>
                  <a:pt x="345" y="101"/>
                  <a:pt x="345" y="100"/>
                </a:cubicBezTo>
                <a:cubicBezTo>
                  <a:pt x="345" y="101"/>
                  <a:pt x="344" y="101"/>
                  <a:pt x="344" y="101"/>
                </a:cubicBezTo>
                <a:cubicBezTo>
                  <a:pt x="343" y="101"/>
                  <a:pt x="343" y="101"/>
                  <a:pt x="342" y="100"/>
                </a:cubicBezTo>
                <a:cubicBezTo>
                  <a:pt x="342" y="100"/>
                  <a:pt x="341" y="100"/>
                  <a:pt x="341" y="100"/>
                </a:cubicBezTo>
                <a:cubicBezTo>
                  <a:pt x="341" y="100"/>
                  <a:pt x="340" y="99"/>
                  <a:pt x="340" y="99"/>
                </a:cubicBezTo>
                <a:cubicBezTo>
                  <a:pt x="339" y="97"/>
                  <a:pt x="338" y="96"/>
                  <a:pt x="339" y="95"/>
                </a:cubicBezTo>
                <a:cubicBezTo>
                  <a:pt x="339" y="94"/>
                  <a:pt x="340" y="94"/>
                  <a:pt x="340" y="93"/>
                </a:cubicBezTo>
                <a:cubicBezTo>
                  <a:pt x="340" y="93"/>
                  <a:pt x="339" y="93"/>
                  <a:pt x="339" y="93"/>
                </a:cubicBezTo>
                <a:cubicBezTo>
                  <a:pt x="338" y="92"/>
                  <a:pt x="339" y="92"/>
                  <a:pt x="338" y="91"/>
                </a:cubicBezTo>
                <a:cubicBezTo>
                  <a:pt x="337" y="90"/>
                  <a:pt x="337" y="89"/>
                  <a:pt x="338" y="88"/>
                </a:cubicBezTo>
                <a:cubicBezTo>
                  <a:pt x="338" y="87"/>
                  <a:pt x="339" y="87"/>
                  <a:pt x="339" y="85"/>
                </a:cubicBezTo>
                <a:cubicBezTo>
                  <a:pt x="339" y="84"/>
                  <a:pt x="340" y="83"/>
                  <a:pt x="340" y="83"/>
                </a:cubicBezTo>
                <a:cubicBezTo>
                  <a:pt x="339" y="82"/>
                  <a:pt x="339" y="82"/>
                  <a:pt x="339" y="81"/>
                </a:cubicBezTo>
                <a:cubicBezTo>
                  <a:pt x="340" y="81"/>
                  <a:pt x="339" y="80"/>
                  <a:pt x="339" y="80"/>
                </a:cubicBezTo>
                <a:cubicBezTo>
                  <a:pt x="339" y="79"/>
                  <a:pt x="339" y="79"/>
                  <a:pt x="339" y="78"/>
                </a:cubicBezTo>
                <a:cubicBezTo>
                  <a:pt x="339" y="77"/>
                  <a:pt x="338" y="77"/>
                  <a:pt x="338" y="77"/>
                </a:cubicBezTo>
                <a:cubicBezTo>
                  <a:pt x="338" y="76"/>
                  <a:pt x="339" y="76"/>
                  <a:pt x="339" y="75"/>
                </a:cubicBezTo>
                <a:cubicBezTo>
                  <a:pt x="339" y="75"/>
                  <a:pt x="339" y="74"/>
                  <a:pt x="339" y="75"/>
                </a:cubicBezTo>
                <a:cubicBezTo>
                  <a:pt x="339" y="75"/>
                  <a:pt x="339" y="75"/>
                  <a:pt x="339" y="75"/>
                </a:cubicBezTo>
                <a:cubicBezTo>
                  <a:pt x="338" y="75"/>
                  <a:pt x="338" y="75"/>
                  <a:pt x="338" y="75"/>
                </a:cubicBezTo>
                <a:cubicBezTo>
                  <a:pt x="338" y="75"/>
                  <a:pt x="338" y="76"/>
                  <a:pt x="338" y="76"/>
                </a:cubicBezTo>
                <a:cubicBezTo>
                  <a:pt x="337" y="76"/>
                  <a:pt x="338" y="75"/>
                  <a:pt x="338" y="75"/>
                </a:cubicBezTo>
                <a:cubicBezTo>
                  <a:pt x="338" y="74"/>
                  <a:pt x="337" y="74"/>
                  <a:pt x="337" y="73"/>
                </a:cubicBezTo>
                <a:cubicBezTo>
                  <a:pt x="336" y="72"/>
                  <a:pt x="336" y="72"/>
                  <a:pt x="336" y="71"/>
                </a:cubicBezTo>
                <a:cubicBezTo>
                  <a:pt x="335" y="70"/>
                  <a:pt x="335" y="70"/>
                  <a:pt x="335" y="69"/>
                </a:cubicBezTo>
                <a:cubicBezTo>
                  <a:pt x="335" y="69"/>
                  <a:pt x="335" y="69"/>
                  <a:pt x="336" y="68"/>
                </a:cubicBezTo>
                <a:cubicBezTo>
                  <a:pt x="336" y="68"/>
                  <a:pt x="336" y="68"/>
                  <a:pt x="336" y="68"/>
                </a:cubicBezTo>
                <a:cubicBezTo>
                  <a:pt x="336" y="67"/>
                  <a:pt x="336" y="66"/>
                  <a:pt x="336" y="66"/>
                </a:cubicBezTo>
                <a:cubicBezTo>
                  <a:pt x="336" y="65"/>
                  <a:pt x="335" y="64"/>
                  <a:pt x="336" y="64"/>
                </a:cubicBezTo>
                <a:cubicBezTo>
                  <a:pt x="336" y="63"/>
                  <a:pt x="336" y="63"/>
                  <a:pt x="336" y="62"/>
                </a:cubicBezTo>
                <a:cubicBezTo>
                  <a:pt x="336" y="62"/>
                  <a:pt x="336" y="61"/>
                  <a:pt x="336" y="61"/>
                </a:cubicBezTo>
                <a:cubicBezTo>
                  <a:pt x="336" y="61"/>
                  <a:pt x="336" y="60"/>
                  <a:pt x="336" y="60"/>
                </a:cubicBezTo>
                <a:cubicBezTo>
                  <a:pt x="336" y="60"/>
                  <a:pt x="335" y="60"/>
                  <a:pt x="336" y="60"/>
                </a:cubicBezTo>
                <a:cubicBezTo>
                  <a:pt x="336" y="59"/>
                  <a:pt x="336" y="59"/>
                  <a:pt x="335" y="59"/>
                </a:cubicBezTo>
                <a:cubicBezTo>
                  <a:pt x="335" y="59"/>
                  <a:pt x="336" y="58"/>
                  <a:pt x="336" y="57"/>
                </a:cubicBezTo>
                <a:cubicBezTo>
                  <a:pt x="336" y="57"/>
                  <a:pt x="337" y="57"/>
                  <a:pt x="337" y="57"/>
                </a:cubicBezTo>
                <a:cubicBezTo>
                  <a:pt x="336" y="57"/>
                  <a:pt x="336" y="57"/>
                  <a:pt x="336" y="56"/>
                </a:cubicBezTo>
                <a:cubicBezTo>
                  <a:pt x="336" y="55"/>
                  <a:pt x="336" y="55"/>
                  <a:pt x="337" y="54"/>
                </a:cubicBezTo>
                <a:cubicBezTo>
                  <a:pt x="337" y="54"/>
                  <a:pt x="337" y="54"/>
                  <a:pt x="337" y="54"/>
                </a:cubicBezTo>
                <a:cubicBezTo>
                  <a:pt x="337" y="53"/>
                  <a:pt x="337" y="54"/>
                  <a:pt x="337" y="54"/>
                </a:cubicBezTo>
                <a:cubicBezTo>
                  <a:pt x="336" y="53"/>
                  <a:pt x="336" y="53"/>
                  <a:pt x="336" y="52"/>
                </a:cubicBezTo>
                <a:cubicBezTo>
                  <a:pt x="335" y="52"/>
                  <a:pt x="335" y="52"/>
                  <a:pt x="334" y="51"/>
                </a:cubicBezTo>
                <a:cubicBezTo>
                  <a:pt x="334" y="51"/>
                  <a:pt x="334" y="50"/>
                  <a:pt x="333" y="50"/>
                </a:cubicBezTo>
                <a:cubicBezTo>
                  <a:pt x="332" y="50"/>
                  <a:pt x="333" y="49"/>
                  <a:pt x="332" y="49"/>
                </a:cubicBezTo>
                <a:cubicBezTo>
                  <a:pt x="332" y="49"/>
                  <a:pt x="332" y="49"/>
                  <a:pt x="332" y="49"/>
                </a:cubicBezTo>
                <a:cubicBezTo>
                  <a:pt x="331" y="49"/>
                  <a:pt x="331" y="48"/>
                  <a:pt x="332" y="47"/>
                </a:cubicBezTo>
                <a:cubicBezTo>
                  <a:pt x="330" y="47"/>
                  <a:pt x="332" y="46"/>
                  <a:pt x="331" y="45"/>
                </a:cubicBezTo>
                <a:cubicBezTo>
                  <a:pt x="330" y="45"/>
                  <a:pt x="329" y="47"/>
                  <a:pt x="328" y="46"/>
                </a:cubicBezTo>
                <a:cubicBezTo>
                  <a:pt x="328" y="46"/>
                  <a:pt x="327" y="46"/>
                  <a:pt x="327" y="46"/>
                </a:cubicBezTo>
                <a:cubicBezTo>
                  <a:pt x="327" y="47"/>
                  <a:pt x="327" y="47"/>
                  <a:pt x="326" y="48"/>
                </a:cubicBezTo>
                <a:cubicBezTo>
                  <a:pt x="325" y="49"/>
                  <a:pt x="324" y="49"/>
                  <a:pt x="323" y="47"/>
                </a:cubicBezTo>
                <a:cubicBezTo>
                  <a:pt x="323" y="46"/>
                  <a:pt x="323" y="45"/>
                  <a:pt x="323" y="43"/>
                </a:cubicBezTo>
                <a:cubicBezTo>
                  <a:pt x="323" y="43"/>
                  <a:pt x="323" y="43"/>
                  <a:pt x="322" y="43"/>
                </a:cubicBezTo>
                <a:cubicBezTo>
                  <a:pt x="322" y="42"/>
                  <a:pt x="322" y="42"/>
                  <a:pt x="322" y="42"/>
                </a:cubicBezTo>
                <a:cubicBezTo>
                  <a:pt x="322" y="41"/>
                  <a:pt x="322" y="40"/>
                  <a:pt x="322" y="39"/>
                </a:cubicBezTo>
                <a:cubicBezTo>
                  <a:pt x="322" y="38"/>
                  <a:pt x="323" y="38"/>
                  <a:pt x="323" y="37"/>
                </a:cubicBezTo>
                <a:cubicBezTo>
                  <a:pt x="323" y="36"/>
                  <a:pt x="322" y="36"/>
                  <a:pt x="322" y="35"/>
                </a:cubicBezTo>
                <a:cubicBezTo>
                  <a:pt x="322" y="33"/>
                  <a:pt x="323" y="32"/>
                  <a:pt x="323" y="30"/>
                </a:cubicBezTo>
                <a:cubicBezTo>
                  <a:pt x="323" y="31"/>
                  <a:pt x="322" y="30"/>
                  <a:pt x="322" y="31"/>
                </a:cubicBezTo>
                <a:cubicBezTo>
                  <a:pt x="322" y="30"/>
                  <a:pt x="322" y="29"/>
                  <a:pt x="322" y="29"/>
                </a:cubicBezTo>
                <a:cubicBezTo>
                  <a:pt x="322" y="28"/>
                  <a:pt x="322" y="28"/>
                  <a:pt x="322" y="28"/>
                </a:cubicBezTo>
                <a:cubicBezTo>
                  <a:pt x="321" y="27"/>
                  <a:pt x="322" y="26"/>
                  <a:pt x="321" y="25"/>
                </a:cubicBezTo>
                <a:cubicBezTo>
                  <a:pt x="320" y="25"/>
                  <a:pt x="320" y="25"/>
                  <a:pt x="320" y="25"/>
                </a:cubicBezTo>
                <a:cubicBezTo>
                  <a:pt x="320" y="24"/>
                  <a:pt x="320" y="24"/>
                  <a:pt x="320" y="23"/>
                </a:cubicBezTo>
                <a:cubicBezTo>
                  <a:pt x="320" y="23"/>
                  <a:pt x="320" y="22"/>
                  <a:pt x="321" y="22"/>
                </a:cubicBezTo>
                <a:cubicBezTo>
                  <a:pt x="321" y="22"/>
                  <a:pt x="322" y="21"/>
                  <a:pt x="322" y="21"/>
                </a:cubicBezTo>
                <a:cubicBezTo>
                  <a:pt x="322" y="21"/>
                  <a:pt x="321" y="21"/>
                  <a:pt x="321" y="21"/>
                </a:cubicBezTo>
                <a:cubicBezTo>
                  <a:pt x="321" y="21"/>
                  <a:pt x="321" y="20"/>
                  <a:pt x="321" y="20"/>
                </a:cubicBezTo>
                <a:cubicBezTo>
                  <a:pt x="320" y="20"/>
                  <a:pt x="320" y="20"/>
                  <a:pt x="319" y="20"/>
                </a:cubicBezTo>
                <a:cubicBezTo>
                  <a:pt x="319" y="20"/>
                  <a:pt x="319" y="20"/>
                  <a:pt x="318" y="20"/>
                </a:cubicBezTo>
                <a:cubicBezTo>
                  <a:pt x="318" y="19"/>
                  <a:pt x="318" y="19"/>
                  <a:pt x="318" y="18"/>
                </a:cubicBezTo>
                <a:cubicBezTo>
                  <a:pt x="318" y="17"/>
                  <a:pt x="318" y="16"/>
                  <a:pt x="318" y="16"/>
                </a:cubicBezTo>
                <a:cubicBezTo>
                  <a:pt x="318" y="15"/>
                  <a:pt x="319" y="15"/>
                  <a:pt x="319" y="14"/>
                </a:cubicBezTo>
                <a:cubicBezTo>
                  <a:pt x="319" y="14"/>
                  <a:pt x="318" y="13"/>
                  <a:pt x="318" y="13"/>
                </a:cubicBezTo>
                <a:cubicBezTo>
                  <a:pt x="318" y="13"/>
                  <a:pt x="318" y="12"/>
                  <a:pt x="318" y="12"/>
                </a:cubicBezTo>
                <a:cubicBezTo>
                  <a:pt x="318" y="11"/>
                  <a:pt x="318" y="10"/>
                  <a:pt x="318" y="10"/>
                </a:cubicBezTo>
                <a:cubicBezTo>
                  <a:pt x="318" y="10"/>
                  <a:pt x="317" y="10"/>
                  <a:pt x="317" y="10"/>
                </a:cubicBezTo>
                <a:cubicBezTo>
                  <a:pt x="317" y="10"/>
                  <a:pt x="317" y="9"/>
                  <a:pt x="317" y="9"/>
                </a:cubicBezTo>
                <a:cubicBezTo>
                  <a:pt x="317" y="8"/>
                  <a:pt x="316" y="9"/>
                  <a:pt x="316" y="10"/>
                </a:cubicBezTo>
                <a:cubicBezTo>
                  <a:pt x="316" y="9"/>
                  <a:pt x="316" y="9"/>
                  <a:pt x="317" y="8"/>
                </a:cubicBezTo>
                <a:cubicBezTo>
                  <a:pt x="317" y="7"/>
                  <a:pt x="317" y="7"/>
                  <a:pt x="316" y="7"/>
                </a:cubicBezTo>
                <a:cubicBezTo>
                  <a:pt x="316" y="7"/>
                  <a:pt x="316" y="7"/>
                  <a:pt x="316" y="7"/>
                </a:cubicBezTo>
                <a:cubicBezTo>
                  <a:pt x="315" y="7"/>
                  <a:pt x="315" y="8"/>
                  <a:pt x="315" y="8"/>
                </a:cubicBezTo>
                <a:cubicBezTo>
                  <a:pt x="314" y="9"/>
                  <a:pt x="313" y="9"/>
                  <a:pt x="313" y="9"/>
                </a:cubicBezTo>
                <a:cubicBezTo>
                  <a:pt x="312" y="10"/>
                  <a:pt x="312" y="11"/>
                  <a:pt x="312" y="12"/>
                </a:cubicBezTo>
                <a:cubicBezTo>
                  <a:pt x="312" y="13"/>
                  <a:pt x="312" y="13"/>
                  <a:pt x="312" y="14"/>
                </a:cubicBezTo>
                <a:cubicBezTo>
                  <a:pt x="311" y="15"/>
                  <a:pt x="311" y="16"/>
                  <a:pt x="310" y="18"/>
                </a:cubicBezTo>
                <a:cubicBezTo>
                  <a:pt x="310" y="18"/>
                  <a:pt x="309" y="19"/>
                  <a:pt x="309" y="20"/>
                </a:cubicBezTo>
                <a:cubicBezTo>
                  <a:pt x="309" y="20"/>
                  <a:pt x="309" y="21"/>
                  <a:pt x="309" y="21"/>
                </a:cubicBezTo>
                <a:cubicBezTo>
                  <a:pt x="310" y="21"/>
                  <a:pt x="310" y="21"/>
                  <a:pt x="310" y="22"/>
                </a:cubicBezTo>
                <a:cubicBezTo>
                  <a:pt x="310" y="22"/>
                  <a:pt x="309" y="22"/>
                  <a:pt x="309" y="22"/>
                </a:cubicBezTo>
                <a:cubicBezTo>
                  <a:pt x="309" y="22"/>
                  <a:pt x="309" y="22"/>
                  <a:pt x="309" y="22"/>
                </a:cubicBezTo>
                <a:cubicBezTo>
                  <a:pt x="309" y="22"/>
                  <a:pt x="309" y="21"/>
                  <a:pt x="309" y="21"/>
                </a:cubicBezTo>
                <a:cubicBezTo>
                  <a:pt x="309" y="21"/>
                  <a:pt x="308" y="22"/>
                  <a:pt x="308" y="22"/>
                </a:cubicBezTo>
                <a:cubicBezTo>
                  <a:pt x="308" y="22"/>
                  <a:pt x="307" y="23"/>
                  <a:pt x="307" y="23"/>
                </a:cubicBezTo>
                <a:cubicBezTo>
                  <a:pt x="307" y="23"/>
                  <a:pt x="308" y="24"/>
                  <a:pt x="307" y="24"/>
                </a:cubicBezTo>
                <a:cubicBezTo>
                  <a:pt x="307" y="24"/>
                  <a:pt x="307" y="24"/>
                  <a:pt x="306" y="24"/>
                </a:cubicBezTo>
                <a:cubicBezTo>
                  <a:pt x="306" y="25"/>
                  <a:pt x="306" y="25"/>
                  <a:pt x="306" y="26"/>
                </a:cubicBezTo>
                <a:cubicBezTo>
                  <a:pt x="306" y="26"/>
                  <a:pt x="305" y="27"/>
                  <a:pt x="305" y="27"/>
                </a:cubicBezTo>
                <a:cubicBezTo>
                  <a:pt x="305" y="27"/>
                  <a:pt x="306" y="27"/>
                  <a:pt x="306" y="27"/>
                </a:cubicBezTo>
                <a:cubicBezTo>
                  <a:pt x="306" y="27"/>
                  <a:pt x="305" y="27"/>
                  <a:pt x="306" y="26"/>
                </a:cubicBezTo>
                <a:cubicBezTo>
                  <a:pt x="306" y="26"/>
                  <a:pt x="307" y="26"/>
                  <a:pt x="307" y="26"/>
                </a:cubicBezTo>
                <a:cubicBezTo>
                  <a:pt x="306" y="26"/>
                  <a:pt x="306" y="27"/>
                  <a:pt x="306" y="27"/>
                </a:cubicBezTo>
                <a:cubicBezTo>
                  <a:pt x="307" y="27"/>
                  <a:pt x="307" y="28"/>
                  <a:pt x="307" y="28"/>
                </a:cubicBezTo>
                <a:cubicBezTo>
                  <a:pt x="308" y="28"/>
                  <a:pt x="308" y="27"/>
                  <a:pt x="309" y="28"/>
                </a:cubicBezTo>
                <a:cubicBezTo>
                  <a:pt x="308" y="28"/>
                  <a:pt x="307" y="28"/>
                  <a:pt x="307" y="28"/>
                </a:cubicBezTo>
                <a:cubicBezTo>
                  <a:pt x="307" y="29"/>
                  <a:pt x="308" y="29"/>
                  <a:pt x="308" y="29"/>
                </a:cubicBezTo>
                <a:cubicBezTo>
                  <a:pt x="308" y="29"/>
                  <a:pt x="308" y="29"/>
                  <a:pt x="309" y="29"/>
                </a:cubicBezTo>
                <a:cubicBezTo>
                  <a:pt x="308" y="29"/>
                  <a:pt x="308" y="29"/>
                  <a:pt x="308" y="30"/>
                </a:cubicBezTo>
                <a:cubicBezTo>
                  <a:pt x="308" y="30"/>
                  <a:pt x="308" y="31"/>
                  <a:pt x="308" y="31"/>
                </a:cubicBezTo>
                <a:cubicBezTo>
                  <a:pt x="308" y="31"/>
                  <a:pt x="308" y="28"/>
                  <a:pt x="307" y="29"/>
                </a:cubicBezTo>
                <a:cubicBezTo>
                  <a:pt x="307" y="29"/>
                  <a:pt x="307" y="29"/>
                  <a:pt x="307" y="29"/>
                </a:cubicBezTo>
                <a:cubicBezTo>
                  <a:pt x="307" y="29"/>
                  <a:pt x="306" y="32"/>
                  <a:pt x="305" y="31"/>
                </a:cubicBezTo>
                <a:cubicBezTo>
                  <a:pt x="304" y="32"/>
                  <a:pt x="304" y="33"/>
                  <a:pt x="305" y="34"/>
                </a:cubicBezTo>
                <a:cubicBezTo>
                  <a:pt x="305" y="35"/>
                  <a:pt x="304" y="37"/>
                  <a:pt x="303" y="38"/>
                </a:cubicBezTo>
                <a:cubicBezTo>
                  <a:pt x="303" y="39"/>
                  <a:pt x="302" y="40"/>
                  <a:pt x="302" y="41"/>
                </a:cubicBezTo>
                <a:cubicBezTo>
                  <a:pt x="302" y="43"/>
                  <a:pt x="303" y="44"/>
                  <a:pt x="302" y="46"/>
                </a:cubicBezTo>
                <a:cubicBezTo>
                  <a:pt x="302" y="47"/>
                  <a:pt x="302" y="47"/>
                  <a:pt x="301" y="48"/>
                </a:cubicBezTo>
                <a:cubicBezTo>
                  <a:pt x="301" y="49"/>
                  <a:pt x="301" y="50"/>
                  <a:pt x="301" y="51"/>
                </a:cubicBezTo>
                <a:cubicBezTo>
                  <a:pt x="301" y="53"/>
                  <a:pt x="302" y="54"/>
                  <a:pt x="301" y="56"/>
                </a:cubicBezTo>
                <a:cubicBezTo>
                  <a:pt x="300" y="57"/>
                  <a:pt x="300" y="59"/>
                  <a:pt x="299" y="60"/>
                </a:cubicBezTo>
                <a:cubicBezTo>
                  <a:pt x="299" y="61"/>
                  <a:pt x="299" y="61"/>
                  <a:pt x="298" y="62"/>
                </a:cubicBezTo>
                <a:cubicBezTo>
                  <a:pt x="298" y="63"/>
                  <a:pt x="297" y="64"/>
                  <a:pt x="298" y="65"/>
                </a:cubicBezTo>
                <a:cubicBezTo>
                  <a:pt x="298" y="67"/>
                  <a:pt x="296" y="68"/>
                  <a:pt x="296" y="70"/>
                </a:cubicBezTo>
                <a:cubicBezTo>
                  <a:pt x="295" y="71"/>
                  <a:pt x="294" y="73"/>
                  <a:pt x="293" y="74"/>
                </a:cubicBezTo>
                <a:cubicBezTo>
                  <a:pt x="293" y="74"/>
                  <a:pt x="293" y="75"/>
                  <a:pt x="292" y="75"/>
                </a:cubicBezTo>
                <a:cubicBezTo>
                  <a:pt x="292" y="76"/>
                  <a:pt x="291" y="76"/>
                  <a:pt x="291" y="77"/>
                </a:cubicBezTo>
                <a:cubicBezTo>
                  <a:pt x="291" y="78"/>
                  <a:pt x="290" y="79"/>
                  <a:pt x="290" y="80"/>
                </a:cubicBezTo>
                <a:cubicBezTo>
                  <a:pt x="290" y="80"/>
                  <a:pt x="290" y="81"/>
                  <a:pt x="289" y="81"/>
                </a:cubicBezTo>
                <a:cubicBezTo>
                  <a:pt x="288" y="82"/>
                  <a:pt x="286" y="83"/>
                  <a:pt x="285" y="83"/>
                </a:cubicBezTo>
                <a:cubicBezTo>
                  <a:pt x="284" y="84"/>
                  <a:pt x="281" y="85"/>
                  <a:pt x="280" y="83"/>
                </a:cubicBezTo>
                <a:cubicBezTo>
                  <a:pt x="280" y="82"/>
                  <a:pt x="278" y="82"/>
                  <a:pt x="277" y="81"/>
                </a:cubicBezTo>
                <a:cubicBezTo>
                  <a:pt x="277" y="81"/>
                  <a:pt x="276" y="80"/>
                  <a:pt x="275" y="80"/>
                </a:cubicBezTo>
                <a:cubicBezTo>
                  <a:pt x="275" y="80"/>
                  <a:pt x="274" y="80"/>
                  <a:pt x="274" y="79"/>
                </a:cubicBezTo>
                <a:cubicBezTo>
                  <a:pt x="274" y="79"/>
                  <a:pt x="274" y="78"/>
                  <a:pt x="274" y="77"/>
                </a:cubicBezTo>
                <a:cubicBezTo>
                  <a:pt x="274" y="76"/>
                  <a:pt x="274" y="76"/>
                  <a:pt x="273" y="76"/>
                </a:cubicBezTo>
                <a:cubicBezTo>
                  <a:pt x="273" y="75"/>
                  <a:pt x="273" y="75"/>
                  <a:pt x="272" y="75"/>
                </a:cubicBezTo>
                <a:cubicBezTo>
                  <a:pt x="271" y="75"/>
                  <a:pt x="271" y="74"/>
                  <a:pt x="270" y="74"/>
                </a:cubicBezTo>
                <a:cubicBezTo>
                  <a:pt x="270" y="74"/>
                  <a:pt x="269" y="74"/>
                  <a:pt x="268" y="74"/>
                </a:cubicBezTo>
                <a:cubicBezTo>
                  <a:pt x="268" y="74"/>
                  <a:pt x="267" y="73"/>
                  <a:pt x="266" y="73"/>
                </a:cubicBezTo>
                <a:cubicBezTo>
                  <a:pt x="265" y="73"/>
                  <a:pt x="264" y="72"/>
                  <a:pt x="263" y="71"/>
                </a:cubicBezTo>
                <a:cubicBezTo>
                  <a:pt x="263" y="71"/>
                  <a:pt x="263" y="70"/>
                  <a:pt x="263" y="70"/>
                </a:cubicBezTo>
                <a:cubicBezTo>
                  <a:pt x="262" y="69"/>
                  <a:pt x="262" y="67"/>
                  <a:pt x="260" y="67"/>
                </a:cubicBezTo>
                <a:cubicBezTo>
                  <a:pt x="259" y="67"/>
                  <a:pt x="259" y="66"/>
                  <a:pt x="258" y="66"/>
                </a:cubicBezTo>
                <a:cubicBezTo>
                  <a:pt x="258" y="65"/>
                  <a:pt x="257" y="65"/>
                  <a:pt x="256" y="65"/>
                </a:cubicBezTo>
                <a:cubicBezTo>
                  <a:pt x="256" y="64"/>
                  <a:pt x="255" y="63"/>
                  <a:pt x="255" y="64"/>
                </a:cubicBezTo>
                <a:cubicBezTo>
                  <a:pt x="255" y="64"/>
                  <a:pt x="254" y="64"/>
                  <a:pt x="255" y="64"/>
                </a:cubicBezTo>
                <a:cubicBezTo>
                  <a:pt x="255" y="64"/>
                  <a:pt x="252" y="64"/>
                  <a:pt x="253" y="64"/>
                </a:cubicBezTo>
                <a:cubicBezTo>
                  <a:pt x="252" y="64"/>
                  <a:pt x="253" y="64"/>
                  <a:pt x="253" y="63"/>
                </a:cubicBezTo>
                <a:cubicBezTo>
                  <a:pt x="252" y="63"/>
                  <a:pt x="252" y="63"/>
                  <a:pt x="252" y="62"/>
                </a:cubicBezTo>
                <a:cubicBezTo>
                  <a:pt x="252" y="62"/>
                  <a:pt x="252" y="62"/>
                  <a:pt x="252" y="62"/>
                </a:cubicBezTo>
                <a:cubicBezTo>
                  <a:pt x="252" y="62"/>
                  <a:pt x="251" y="62"/>
                  <a:pt x="251" y="62"/>
                </a:cubicBezTo>
                <a:cubicBezTo>
                  <a:pt x="251" y="62"/>
                  <a:pt x="251" y="62"/>
                  <a:pt x="251" y="61"/>
                </a:cubicBezTo>
                <a:cubicBezTo>
                  <a:pt x="250" y="61"/>
                  <a:pt x="249" y="61"/>
                  <a:pt x="249" y="60"/>
                </a:cubicBezTo>
                <a:cubicBezTo>
                  <a:pt x="249" y="59"/>
                  <a:pt x="249" y="59"/>
                  <a:pt x="249" y="58"/>
                </a:cubicBezTo>
                <a:cubicBezTo>
                  <a:pt x="248" y="58"/>
                  <a:pt x="247" y="58"/>
                  <a:pt x="247" y="57"/>
                </a:cubicBezTo>
                <a:cubicBezTo>
                  <a:pt x="246" y="57"/>
                  <a:pt x="246" y="56"/>
                  <a:pt x="245" y="55"/>
                </a:cubicBezTo>
                <a:cubicBezTo>
                  <a:pt x="244" y="55"/>
                  <a:pt x="244" y="55"/>
                  <a:pt x="244" y="55"/>
                </a:cubicBezTo>
                <a:cubicBezTo>
                  <a:pt x="244" y="54"/>
                  <a:pt x="244" y="55"/>
                  <a:pt x="243" y="54"/>
                </a:cubicBezTo>
                <a:cubicBezTo>
                  <a:pt x="243" y="54"/>
                  <a:pt x="242" y="53"/>
                  <a:pt x="242" y="53"/>
                </a:cubicBezTo>
                <a:cubicBezTo>
                  <a:pt x="242" y="52"/>
                  <a:pt x="242" y="51"/>
                  <a:pt x="242" y="51"/>
                </a:cubicBezTo>
                <a:cubicBezTo>
                  <a:pt x="242" y="51"/>
                  <a:pt x="243" y="51"/>
                  <a:pt x="243" y="50"/>
                </a:cubicBezTo>
                <a:cubicBezTo>
                  <a:pt x="244" y="50"/>
                  <a:pt x="244" y="49"/>
                  <a:pt x="244" y="49"/>
                </a:cubicBezTo>
                <a:cubicBezTo>
                  <a:pt x="244" y="49"/>
                  <a:pt x="244" y="48"/>
                  <a:pt x="245" y="48"/>
                </a:cubicBezTo>
                <a:cubicBezTo>
                  <a:pt x="245" y="47"/>
                  <a:pt x="247" y="45"/>
                  <a:pt x="248" y="45"/>
                </a:cubicBezTo>
                <a:cubicBezTo>
                  <a:pt x="248" y="44"/>
                  <a:pt x="248" y="43"/>
                  <a:pt x="249" y="42"/>
                </a:cubicBezTo>
                <a:cubicBezTo>
                  <a:pt x="249" y="42"/>
                  <a:pt x="250" y="39"/>
                  <a:pt x="250" y="39"/>
                </a:cubicBezTo>
                <a:cubicBezTo>
                  <a:pt x="250" y="39"/>
                  <a:pt x="249" y="40"/>
                  <a:pt x="249" y="40"/>
                </a:cubicBezTo>
                <a:cubicBezTo>
                  <a:pt x="249" y="40"/>
                  <a:pt x="248" y="40"/>
                  <a:pt x="248" y="40"/>
                </a:cubicBezTo>
                <a:cubicBezTo>
                  <a:pt x="248" y="40"/>
                  <a:pt x="249" y="40"/>
                  <a:pt x="249" y="40"/>
                </a:cubicBezTo>
                <a:cubicBezTo>
                  <a:pt x="249" y="40"/>
                  <a:pt x="248" y="39"/>
                  <a:pt x="248" y="39"/>
                </a:cubicBezTo>
                <a:cubicBezTo>
                  <a:pt x="248" y="39"/>
                  <a:pt x="248" y="38"/>
                  <a:pt x="248" y="37"/>
                </a:cubicBezTo>
                <a:cubicBezTo>
                  <a:pt x="248" y="37"/>
                  <a:pt x="250" y="38"/>
                  <a:pt x="250" y="37"/>
                </a:cubicBezTo>
                <a:cubicBezTo>
                  <a:pt x="250" y="37"/>
                  <a:pt x="249" y="37"/>
                  <a:pt x="249" y="37"/>
                </a:cubicBezTo>
                <a:cubicBezTo>
                  <a:pt x="249" y="36"/>
                  <a:pt x="249" y="36"/>
                  <a:pt x="249" y="36"/>
                </a:cubicBezTo>
                <a:cubicBezTo>
                  <a:pt x="249" y="35"/>
                  <a:pt x="250" y="35"/>
                  <a:pt x="250" y="35"/>
                </a:cubicBezTo>
                <a:cubicBezTo>
                  <a:pt x="250" y="35"/>
                  <a:pt x="250" y="34"/>
                  <a:pt x="250" y="35"/>
                </a:cubicBezTo>
                <a:cubicBezTo>
                  <a:pt x="251" y="35"/>
                  <a:pt x="250" y="35"/>
                  <a:pt x="250" y="36"/>
                </a:cubicBezTo>
                <a:cubicBezTo>
                  <a:pt x="251" y="35"/>
                  <a:pt x="251" y="33"/>
                  <a:pt x="252" y="34"/>
                </a:cubicBezTo>
                <a:cubicBezTo>
                  <a:pt x="252" y="34"/>
                  <a:pt x="251" y="36"/>
                  <a:pt x="252" y="34"/>
                </a:cubicBezTo>
                <a:cubicBezTo>
                  <a:pt x="252" y="34"/>
                  <a:pt x="252" y="34"/>
                  <a:pt x="253" y="34"/>
                </a:cubicBezTo>
                <a:cubicBezTo>
                  <a:pt x="253" y="33"/>
                  <a:pt x="253" y="34"/>
                  <a:pt x="253" y="34"/>
                </a:cubicBezTo>
                <a:cubicBezTo>
                  <a:pt x="253" y="34"/>
                  <a:pt x="254" y="32"/>
                  <a:pt x="254" y="33"/>
                </a:cubicBezTo>
                <a:cubicBezTo>
                  <a:pt x="254" y="34"/>
                  <a:pt x="254" y="35"/>
                  <a:pt x="254" y="35"/>
                </a:cubicBezTo>
                <a:cubicBezTo>
                  <a:pt x="254" y="35"/>
                  <a:pt x="253" y="35"/>
                  <a:pt x="253" y="36"/>
                </a:cubicBezTo>
                <a:cubicBezTo>
                  <a:pt x="254" y="35"/>
                  <a:pt x="254" y="35"/>
                  <a:pt x="254" y="35"/>
                </a:cubicBezTo>
                <a:cubicBezTo>
                  <a:pt x="254" y="35"/>
                  <a:pt x="254" y="35"/>
                  <a:pt x="255" y="35"/>
                </a:cubicBezTo>
                <a:cubicBezTo>
                  <a:pt x="255" y="35"/>
                  <a:pt x="255" y="34"/>
                  <a:pt x="255" y="34"/>
                </a:cubicBezTo>
                <a:cubicBezTo>
                  <a:pt x="255" y="34"/>
                  <a:pt x="256" y="33"/>
                  <a:pt x="256" y="33"/>
                </a:cubicBezTo>
                <a:cubicBezTo>
                  <a:pt x="255" y="32"/>
                  <a:pt x="255" y="32"/>
                  <a:pt x="256" y="32"/>
                </a:cubicBezTo>
                <a:cubicBezTo>
                  <a:pt x="256" y="32"/>
                  <a:pt x="256" y="32"/>
                  <a:pt x="256" y="32"/>
                </a:cubicBezTo>
                <a:cubicBezTo>
                  <a:pt x="256" y="32"/>
                  <a:pt x="256" y="32"/>
                  <a:pt x="256" y="32"/>
                </a:cubicBezTo>
                <a:cubicBezTo>
                  <a:pt x="256" y="32"/>
                  <a:pt x="257" y="32"/>
                  <a:pt x="257" y="32"/>
                </a:cubicBezTo>
                <a:cubicBezTo>
                  <a:pt x="257" y="32"/>
                  <a:pt x="256" y="31"/>
                  <a:pt x="256" y="31"/>
                </a:cubicBezTo>
                <a:cubicBezTo>
                  <a:pt x="256" y="31"/>
                  <a:pt x="256" y="31"/>
                  <a:pt x="256" y="31"/>
                </a:cubicBezTo>
                <a:cubicBezTo>
                  <a:pt x="256" y="31"/>
                  <a:pt x="255" y="30"/>
                  <a:pt x="255" y="30"/>
                </a:cubicBezTo>
                <a:cubicBezTo>
                  <a:pt x="256" y="30"/>
                  <a:pt x="255" y="30"/>
                  <a:pt x="256" y="30"/>
                </a:cubicBezTo>
                <a:cubicBezTo>
                  <a:pt x="256" y="30"/>
                  <a:pt x="256" y="29"/>
                  <a:pt x="256" y="29"/>
                </a:cubicBezTo>
                <a:cubicBezTo>
                  <a:pt x="256" y="29"/>
                  <a:pt x="256" y="30"/>
                  <a:pt x="256" y="30"/>
                </a:cubicBezTo>
                <a:cubicBezTo>
                  <a:pt x="257" y="30"/>
                  <a:pt x="256" y="29"/>
                  <a:pt x="257" y="29"/>
                </a:cubicBezTo>
                <a:cubicBezTo>
                  <a:pt x="258" y="29"/>
                  <a:pt x="258" y="28"/>
                  <a:pt x="258" y="27"/>
                </a:cubicBezTo>
                <a:cubicBezTo>
                  <a:pt x="259" y="27"/>
                  <a:pt x="258" y="27"/>
                  <a:pt x="259" y="26"/>
                </a:cubicBezTo>
                <a:cubicBezTo>
                  <a:pt x="259" y="26"/>
                  <a:pt x="259" y="27"/>
                  <a:pt x="259" y="27"/>
                </a:cubicBezTo>
                <a:cubicBezTo>
                  <a:pt x="259" y="27"/>
                  <a:pt x="259" y="26"/>
                  <a:pt x="260" y="26"/>
                </a:cubicBezTo>
                <a:cubicBezTo>
                  <a:pt x="260" y="26"/>
                  <a:pt x="261" y="25"/>
                  <a:pt x="261" y="25"/>
                </a:cubicBezTo>
                <a:cubicBezTo>
                  <a:pt x="260" y="25"/>
                  <a:pt x="260" y="24"/>
                  <a:pt x="260" y="24"/>
                </a:cubicBezTo>
                <a:cubicBezTo>
                  <a:pt x="260" y="24"/>
                  <a:pt x="259" y="23"/>
                  <a:pt x="259" y="23"/>
                </a:cubicBezTo>
                <a:cubicBezTo>
                  <a:pt x="259" y="23"/>
                  <a:pt x="258" y="23"/>
                  <a:pt x="258" y="24"/>
                </a:cubicBezTo>
                <a:cubicBezTo>
                  <a:pt x="259" y="24"/>
                  <a:pt x="259" y="24"/>
                  <a:pt x="258" y="24"/>
                </a:cubicBezTo>
                <a:cubicBezTo>
                  <a:pt x="257" y="24"/>
                  <a:pt x="257" y="21"/>
                  <a:pt x="257" y="21"/>
                </a:cubicBezTo>
                <a:cubicBezTo>
                  <a:pt x="256" y="21"/>
                  <a:pt x="257" y="21"/>
                  <a:pt x="257" y="21"/>
                </a:cubicBezTo>
                <a:cubicBezTo>
                  <a:pt x="257" y="21"/>
                  <a:pt x="258" y="20"/>
                  <a:pt x="258" y="20"/>
                </a:cubicBezTo>
                <a:cubicBezTo>
                  <a:pt x="258" y="21"/>
                  <a:pt x="257" y="21"/>
                  <a:pt x="256" y="21"/>
                </a:cubicBezTo>
                <a:cubicBezTo>
                  <a:pt x="256" y="21"/>
                  <a:pt x="255" y="21"/>
                  <a:pt x="255" y="22"/>
                </a:cubicBezTo>
                <a:cubicBezTo>
                  <a:pt x="255" y="22"/>
                  <a:pt x="254" y="22"/>
                  <a:pt x="254" y="22"/>
                </a:cubicBezTo>
                <a:cubicBezTo>
                  <a:pt x="254" y="23"/>
                  <a:pt x="254" y="23"/>
                  <a:pt x="253" y="23"/>
                </a:cubicBezTo>
                <a:cubicBezTo>
                  <a:pt x="253" y="23"/>
                  <a:pt x="255" y="23"/>
                  <a:pt x="255" y="24"/>
                </a:cubicBezTo>
                <a:cubicBezTo>
                  <a:pt x="255" y="25"/>
                  <a:pt x="254" y="26"/>
                  <a:pt x="253" y="26"/>
                </a:cubicBezTo>
                <a:cubicBezTo>
                  <a:pt x="253" y="26"/>
                  <a:pt x="253" y="26"/>
                  <a:pt x="252" y="26"/>
                </a:cubicBezTo>
                <a:cubicBezTo>
                  <a:pt x="252" y="26"/>
                  <a:pt x="252" y="26"/>
                  <a:pt x="251" y="26"/>
                </a:cubicBezTo>
                <a:cubicBezTo>
                  <a:pt x="251" y="26"/>
                  <a:pt x="251" y="26"/>
                  <a:pt x="251" y="25"/>
                </a:cubicBezTo>
                <a:cubicBezTo>
                  <a:pt x="251" y="25"/>
                  <a:pt x="252" y="24"/>
                  <a:pt x="252" y="24"/>
                </a:cubicBezTo>
                <a:cubicBezTo>
                  <a:pt x="253" y="23"/>
                  <a:pt x="251" y="24"/>
                  <a:pt x="251" y="24"/>
                </a:cubicBezTo>
                <a:cubicBezTo>
                  <a:pt x="250" y="23"/>
                  <a:pt x="252" y="23"/>
                  <a:pt x="252" y="22"/>
                </a:cubicBezTo>
                <a:cubicBezTo>
                  <a:pt x="252" y="22"/>
                  <a:pt x="251" y="23"/>
                  <a:pt x="251" y="23"/>
                </a:cubicBezTo>
                <a:cubicBezTo>
                  <a:pt x="251" y="23"/>
                  <a:pt x="251" y="23"/>
                  <a:pt x="250" y="23"/>
                </a:cubicBezTo>
                <a:cubicBezTo>
                  <a:pt x="250" y="23"/>
                  <a:pt x="250" y="23"/>
                  <a:pt x="250" y="24"/>
                </a:cubicBezTo>
                <a:cubicBezTo>
                  <a:pt x="249" y="24"/>
                  <a:pt x="249" y="24"/>
                  <a:pt x="249" y="24"/>
                </a:cubicBezTo>
                <a:cubicBezTo>
                  <a:pt x="249" y="24"/>
                  <a:pt x="248" y="23"/>
                  <a:pt x="249" y="22"/>
                </a:cubicBezTo>
                <a:cubicBezTo>
                  <a:pt x="249" y="22"/>
                  <a:pt x="250" y="22"/>
                  <a:pt x="250" y="21"/>
                </a:cubicBezTo>
                <a:cubicBezTo>
                  <a:pt x="250" y="21"/>
                  <a:pt x="251" y="21"/>
                  <a:pt x="251" y="21"/>
                </a:cubicBezTo>
                <a:cubicBezTo>
                  <a:pt x="250" y="21"/>
                  <a:pt x="250" y="21"/>
                  <a:pt x="249" y="21"/>
                </a:cubicBezTo>
                <a:cubicBezTo>
                  <a:pt x="249" y="21"/>
                  <a:pt x="250" y="20"/>
                  <a:pt x="251" y="20"/>
                </a:cubicBezTo>
                <a:cubicBezTo>
                  <a:pt x="251" y="20"/>
                  <a:pt x="252" y="19"/>
                  <a:pt x="251" y="19"/>
                </a:cubicBezTo>
                <a:cubicBezTo>
                  <a:pt x="251" y="18"/>
                  <a:pt x="251" y="18"/>
                  <a:pt x="251" y="19"/>
                </a:cubicBezTo>
                <a:cubicBezTo>
                  <a:pt x="251" y="19"/>
                  <a:pt x="250" y="20"/>
                  <a:pt x="250" y="20"/>
                </a:cubicBezTo>
                <a:cubicBezTo>
                  <a:pt x="250" y="20"/>
                  <a:pt x="250" y="20"/>
                  <a:pt x="249" y="20"/>
                </a:cubicBezTo>
                <a:cubicBezTo>
                  <a:pt x="249" y="20"/>
                  <a:pt x="249" y="20"/>
                  <a:pt x="249" y="21"/>
                </a:cubicBezTo>
                <a:cubicBezTo>
                  <a:pt x="248" y="21"/>
                  <a:pt x="248" y="21"/>
                  <a:pt x="248" y="21"/>
                </a:cubicBezTo>
                <a:cubicBezTo>
                  <a:pt x="247" y="21"/>
                  <a:pt x="248" y="22"/>
                  <a:pt x="248" y="21"/>
                </a:cubicBezTo>
                <a:cubicBezTo>
                  <a:pt x="248" y="22"/>
                  <a:pt x="248" y="22"/>
                  <a:pt x="247" y="22"/>
                </a:cubicBezTo>
                <a:cubicBezTo>
                  <a:pt x="247" y="22"/>
                  <a:pt x="246" y="23"/>
                  <a:pt x="246" y="22"/>
                </a:cubicBezTo>
                <a:cubicBezTo>
                  <a:pt x="245" y="22"/>
                  <a:pt x="245" y="23"/>
                  <a:pt x="245" y="23"/>
                </a:cubicBezTo>
                <a:cubicBezTo>
                  <a:pt x="244" y="23"/>
                  <a:pt x="245" y="24"/>
                  <a:pt x="245" y="24"/>
                </a:cubicBezTo>
                <a:cubicBezTo>
                  <a:pt x="245" y="24"/>
                  <a:pt x="243" y="23"/>
                  <a:pt x="244" y="24"/>
                </a:cubicBezTo>
                <a:cubicBezTo>
                  <a:pt x="243" y="24"/>
                  <a:pt x="243" y="24"/>
                  <a:pt x="243" y="24"/>
                </a:cubicBezTo>
                <a:cubicBezTo>
                  <a:pt x="242" y="24"/>
                  <a:pt x="242" y="23"/>
                  <a:pt x="241" y="23"/>
                </a:cubicBezTo>
                <a:cubicBezTo>
                  <a:pt x="241" y="22"/>
                  <a:pt x="241" y="22"/>
                  <a:pt x="240" y="22"/>
                </a:cubicBezTo>
                <a:cubicBezTo>
                  <a:pt x="240" y="21"/>
                  <a:pt x="240" y="21"/>
                  <a:pt x="240" y="21"/>
                </a:cubicBezTo>
                <a:cubicBezTo>
                  <a:pt x="240" y="21"/>
                  <a:pt x="240" y="21"/>
                  <a:pt x="239" y="21"/>
                </a:cubicBezTo>
                <a:cubicBezTo>
                  <a:pt x="239" y="21"/>
                  <a:pt x="239" y="21"/>
                  <a:pt x="239" y="21"/>
                </a:cubicBezTo>
                <a:cubicBezTo>
                  <a:pt x="238" y="22"/>
                  <a:pt x="238" y="22"/>
                  <a:pt x="238" y="22"/>
                </a:cubicBezTo>
                <a:cubicBezTo>
                  <a:pt x="237" y="22"/>
                  <a:pt x="236" y="22"/>
                  <a:pt x="236" y="21"/>
                </a:cubicBezTo>
                <a:cubicBezTo>
                  <a:pt x="235" y="21"/>
                  <a:pt x="235" y="21"/>
                  <a:pt x="235" y="21"/>
                </a:cubicBezTo>
                <a:cubicBezTo>
                  <a:pt x="235" y="21"/>
                  <a:pt x="234" y="22"/>
                  <a:pt x="234" y="22"/>
                </a:cubicBezTo>
                <a:cubicBezTo>
                  <a:pt x="234" y="22"/>
                  <a:pt x="234" y="21"/>
                  <a:pt x="234" y="21"/>
                </a:cubicBezTo>
                <a:cubicBezTo>
                  <a:pt x="234" y="21"/>
                  <a:pt x="234" y="21"/>
                  <a:pt x="234" y="21"/>
                </a:cubicBezTo>
                <a:cubicBezTo>
                  <a:pt x="234" y="20"/>
                  <a:pt x="234" y="20"/>
                  <a:pt x="234" y="20"/>
                </a:cubicBezTo>
                <a:cubicBezTo>
                  <a:pt x="234" y="20"/>
                  <a:pt x="233" y="21"/>
                  <a:pt x="233" y="20"/>
                </a:cubicBezTo>
                <a:cubicBezTo>
                  <a:pt x="233" y="19"/>
                  <a:pt x="233" y="20"/>
                  <a:pt x="232" y="20"/>
                </a:cubicBezTo>
                <a:cubicBezTo>
                  <a:pt x="232" y="20"/>
                  <a:pt x="231" y="20"/>
                  <a:pt x="231" y="19"/>
                </a:cubicBezTo>
                <a:cubicBezTo>
                  <a:pt x="231" y="19"/>
                  <a:pt x="232" y="19"/>
                  <a:pt x="232" y="19"/>
                </a:cubicBezTo>
                <a:cubicBezTo>
                  <a:pt x="232" y="18"/>
                  <a:pt x="232" y="18"/>
                  <a:pt x="231" y="18"/>
                </a:cubicBezTo>
                <a:cubicBezTo>
                  <a:pt x="231" y="18"/>
                  <a:pt x="231" y="18"/>
                  <a:pt x="230" y="19"/>
                </a:cubicBezTo>
                <a:cubicBezTo>
                  <a:pt x="230" y="19"/>
                  <a:pt x="230" y="19"/>
                  <a:pt x="230" y="19"/>
                </a:cubicBezTo>
                <a:cubicBezTo>
                  <a:pt x="230" y="19"/>
                  <a:pt x="230" y="19"/>
                  <a:pt x="230" y="19"/>
                </a:cubicBezTo>
                <a:cubicBezTo>
                  <a:pt x="229" y="19"/>
                  <a:pt x="229" y="19"/>
                  <a:pt x="229" y="19"/>
                </a:cubicBezTo>
                <a:cubicBezTo>
                  <a:pt x="229" y="19"/>
                  <a:pt x="228" y="19"/>
                  <a:pt x="228" y="20"/>
                </a:cubicBezTo>
                <a:cubicBezTo>
                  <a:pt x="228" y="19"/>
                  <a:pt x="229" y="18"/>
                  <a:pt x="228" y="19"/>
                </a:cubicBezTo>
                <a:cubicBezTo>
                  <a:pt x="228" y="19"/>
                  <a:pt x="227" y="19"/>
                  <a:pt x="227" y="19"/>
                </a:cubicBezTo>
                <a:cubicBezTo>
                  <a:pt x="227" y="19"/>
                  <a:pt x="227" y="18"/>
                  <a:pt x="227" y="18"/>
                </a:cubicBezTo>
                <a:cubicBezTo>
                  <a:pt x="227" y="18"/>
                  <a:pt x="227" y="19"/>
                  <a:pt x="227" y="19"/>
                </a:cubicBezTo>
                <a:cubicBezTo>
                  <a:pt x="226" y="19"/>
                  <a:pt x="226" y="18"/>
                  <a:pt x="226" y="18"/>
                </a:cubicBezTo>
                <a:cubicBezTo>
                  <a:pt x="227" y="17"/>
                  <a:pt x="225" y="18"/>
                  <a:pt x="225" y="18"/>
                </a:cubicBezTo>
                <a:cubicBezTo>
                  <a:pt x="224" y="18"/>
                  <a:pt x="224" y="16"/>
                  <a:pt x="224" y="15"/>
                </a:cubicBezTo>
                <a:cubicBezTo>
                  <a:pt x="224" y="15"/>
                  <a:pt x="223" y="14"/>
                  <a:pt x="222" y="14"/>
                </a:cubicBezTo>
                <a:cubicBezTo>
                  <a:pt x="223" y="14"/>
                  <a:pt x="223" y="15"/>
                  <a:pt x="222" y="15"/>
                </a:cubicBezTo>
                <a:cubicBezTo>
                  <a:pt x="222" y="14"/>
                  <a:pt x="222" y="15"/>
                  <a:pt x="221" y="15"/>
                </a:cubicBezTo>
                <a:cubicBezTo>
                  <a:pt x="221" y="16"/>
                  <a:pt x="220" y="16"/>
                  <a:pt x="220" y="15"/>
                </a:cubicBezTo>
                <a:cubicBezTo>
                  <a:pt x="220" y="15"/>
                  <a:pt x="219" y="14"/>
                  <a:pt x="219" y="14"/>
                </a:cubicBezTo>
                <a:cubicBezTo>
                  <a:pt x="219" y="14"/>
                  <a:pt x="219" y="13"/>
                  <a:pt x="219" y="13"/>
                </a:cubicBezTo>
                <a:cubicBezTo>
                  <a:pt x="218" y="12"/>
                  <a:pt x="218" y="13"/>
                  <a:pt x="218" y="13"/>
                </a:cubicBezTo>
                <a:cubicBezTo>
                  <a:pt x="218" y="13"/>
                  <a:pt x="218" y="12"/>
                  <a:pt x="217" y="12"/>
                </a:cubicBezTo>
                <a:cubicBezTo>
                  <a:pt x="218" y="12"/>
                  <a:pt x="217" y="12"/>
                  <a:pt x="217" y="12"/>
                </a:cubicBezTo>
                <a:cubicBezTo>
                  <a:pt x="217" y="12"/>
                  <a:pt x="217" y="13"/>
                  <a:pt x="217" y="13"/>
                </a:cubicBezTo>
                <a:cubicBezTo>
                  <a:pt x="217" y="13"/>
                  <a:pt x="216" y="11"/>
                  <a:pt x="216" y="12"/>
                </a:cubicBezTo>
                <a:cubicBezTo>
                  <a:pt x="215" y="12"/>
                  <a:pt x="216" y="12"/>
                  <a:pt x="216" y="13"/>
                </a:cubicBezTo>
                <a:cubicBezTo>
                  <a:pt x="216" y="13"/>
                  <a:pt x="216" y="13"/>
                  <a:pt x="216" y="14"/>
                </a:cubicBezTo>
                <a:cubicBezTo>
                  <a:pt x="216" y="14"/>
                  <a:pt x="217" y="14"/>
                  <a:pt x="216" y="14"/>
                </a:cubicBezTo>
                <a:cubicBezTo>
                  <a:pt x="216" y="14"/>
                  <a:pt x="216" y="14"/>
                  <a:pt x="216" y="14"/>
                </a:cubicBezTo>
                <a:cubicBezTo>
                  <a:pt x="216" y="14"/>
                  <a:pt x="216" y="15"/>
                  <a:pt x="216" y="15"/>
                </a:cubicBezTo>
                <a:cubicBezTo>
                  <a:pt x="215" y="14"/>
                  <a:pt x="216" y="14"/>
                  <a:pt x="215" y="14"/>
                </a:cubicBezTo>
                <a:cubicBezTo>
                  <a:pt x="215" y="14"/>
                  <a:pt x="215" y="14"/>
                  <a:pt x="215" y="14"/>
                </a:cubicBezTo>
                <a:cubicBezTo>
                  <a:pt x="215" y="14"/>
                  <a:pt x="215" y="13"/>
                  <a:pt x="215" y="13"/>
                </a:cubicBezTo>
                <a:cubicBezTo>
                  <a:pt x="215" y="13"/>
                  <a:pt x="214" y="11"/>
                  <a:pt x="214" y="12"/>
                </a:cubicBezTo>
                <a:cubicBezTo>
                  <a:pt x="214" y="12"/>
                  <a:pt x="214" y="12"/>
                  <a:pt x="214" y="13"/>
                </a:cubicBezTo>
                <a:cubicBezTo>
                  <a:pt x="214" y="13"/>
                  <a:pt x="213" y="12"/>
                  <a:pt x="213" y="12"/>
                </a:cubicBezTo>
                <a:cubicBezTo>
                  <a:pt x="213" y="13"/>
                  <a:pt x="213" y="13"/>
                  <a:pt x="212" y="12"/>
                </a:cubicBezTo>
                <a:cubicBezTo>
                  <a:pt x="212" y="12"/>
                  <a:pt x="213" y="13"/>
                  <a:pt x="212" y="13"/>
                </a:cubicBezTo>
                <a:cubicBezTo>
                  <a:pt x="212" y="13"/>
                  <a:pt x="212" y="13"/>
                  <a:pt x="212" y="13"/>
                </a:cubicBezTo>
                <a:cubicBezTo>
                  <a:pt x="212" y="13"/>
                  <a:pt x="212" y="14"/>
                  <a:pt x="212" y="14"/>
                </a:cubicBezTo>
                <a:cubicBezTo>
                  <a:pt x="212" y="14"/>
                  <a:pt x="213" y="14"/>
                  <a:pt x="213" y="14"/>
                </a:cubicBezTo>
                <a:cubicBezTo>
                  <a:pt x="213" y="14"/>
                  <a:pt x="214" y="14"/>
                  <a:pt x="214" y="14"/>
                </a:cubicBezTo>
                <a:cubicBezTo>
                  <a:pt x="214" y="14"/>
                  <a:pt x="213" y="14"/>
                  <a:pt x="214" y="15"/>
                </a:cubicBezTo>
                <a:cubicBezTo>
                  <a:pt x="214" y="15"/>
                  <a:pt x="214" y="15"/>
                  <a:pt x="214" y="15"/>
                </a:cubicBezTo>
                <a:cubicBezTo>
                  <a:pt x="214" y="15"/>
                  <a:pt x="214" y="15"/>
                  <a:pt x="214" y="16"/>
                </a:cubicBezTo>
                <a:cubicBezTo>
                  <a:pt x="214" y="16"/>
                  <a:pt x="215" y="16"/>
                  <a:pt x="215" y="16"/>
                </a:cubicBezTo>
                <a:cubicBezTo>
                  <a:pt x="216" y="16"/>
                  <a:pt x="216" y="15"/>
                  <a:pt x="216" y="15"/>
                </a:cubicBezTo>
                <a:cubicBezTo>
                  <a:pt x="217" y="15"/>
                  <a:pt x="217" y="15"/>
                  <a:pt x="218" y="15"/>
                </a:cubicBezTo>
                <a:cubicBezTo>
                  <a:pt x="218" y="15"/>
                  <a:pt x="219" y="16"/>
                  <a:pt x="219" y="16"/>
                </a:cubicBezTo>
                <a:cubicBezTo>
                  <a:pt x="219" y="17"/>
                  <a:pt x="220" y="17"/>
                  <a:pt x="220" y="18"/>
                </a:cubicBezTo>
                <a:cubicBezTo>
                  <a:pt x="220" y="18"/>
                  <a:pt x="219" y="18"/>
                  <a:pt x="219" y="19"/>
                </a:cubicBezTo>
                <a:cubicBezTo>
                  <a:pt x="220" y="20"/>
                  <a:pt x="219" y="23"/>
                  <a:pt x="220" y="23"/>
                </a:cubicBezTo>
                <a:cubicBezTo>
                  <a:pt x="220" y="23"/>
                  <a:pt x="219" y="23"/>
                  <a:pt x="219" y="22"/>
                </a:cubicBezTo>
                <a:cubicBezTo>
                  <a:pt x="218" y="22"/>
                  <a:pt x="218" y="23"/>
                  <a:pt x="218" y="23"/>
                </a:cubicBezTo>
                <a:cubicBezTo>
                  <a:pt x="217" y="23"/>
                  <a:pt x="217" y="25"/>
                  <a:pt x="216" y="25"/>
                </a:cubicBezTo>
                <a:cubicBezTo>
                  <a:pt x="216" y="25"/>
                  <a:pt x="217" y="24"/>
                  <a:pt x="216" y="23"/>
                </a:cubicBezTo>
                <a:cubicBezTo>
                  <a:pt x="216" y="23"/>
                  <a:pt x="216" y="24"/>
                  <a:pt x="216" y="24"/>
                </a:cubicBezTo>
                <a:cubicBezTo>
                  <a:pt x="216" y="24"/>
                  <a:pt x="216" y="23"/>
                  <a:pt x="215" y="23"/>
                </a:cubicBezTo>
                <a:cubicBezTo>
                  <a:pt x="215" y="23"/>
                  <a:pt x="214" y="25"/>
                  <a:pt x="213" y="24"/>
                </a:cubicBezTo>
                <a:cubicBezTo>
                  <a:pt x="213" y="24"/>
                  <a:pt x="212" y="24"/>
                  <a:pt x="212" y="24"/>
                </a:cubicBezTo>
                <a:cubicBezTo>
                  <a:pt x="212" y="24"/>
                  <a:pt x="212" y="24"/>
                  <a:pt x="212" y="24"/>
                </a:cubicBezTo>
                <a:cubicBezTo>
                  <a:pt x="212" y="23"/>
                  <a:pt x="211" y="24"/>
                  <a:pt x="211" y="24"/>
                </a:cubicBezTo>
                <a:cubicBezTo>
                  <a:pt x="210" y="24"/>
                  <a:pt x="208" y="25"/>
                  <a:pt x="207" y="24"/>
                </a:cubicBezTo>
                <a:cubicBezTo>
                  <a:pt x="206" y="24"/>
                  <a:pt x="207" y="23"/>
                  <a:pt x="206" y="22"/>
                </a:cubicBezTo>
                <a:cubicBezTo>
                  <a:pt x="206" y="22"/>
                  <a:pt x="206" y="24"/>
                  <a:pt x="206" y="24"/>
                </a:cubicBezTo>
                <a:cubicBezTo>
                  <a:pt x="205" y="24"/>
                  <a:pt x="204" y="22"/>
                  <a:pt x="203" y="23"/>
                </a:cubicBezTo>
                <a:cubicBezTo>
                  <a:pt x="203" y="23"/>
                  <a:pt x="203" y="24"/>
                  <a:pt x="203" y="25"/>
                </a:cubicBezTo>
                <a:cubicBezTo>
                  <a:pt x="204" y="25"/>
                  <a:pt x="203" y="25"/>
                  <a:pt x="203" y="25"/>
                </a:cubicBezTo>
                <a:cubicBezTo>
                  <a:pt x="203" y="25"/>
                  <a:pt x="202" y="25"/>
                  <a:pt x="202" y="25"/>
                </a:cubicBezTo>
                <a:cubicBezTo>
                  <a:pt x="202" y="25"/>
                  <a:pt x="201" y="26"/>
                  <a:pt x="201" y="26"/>
                </a:cubicBezTo>
                <a:cubicBezTo>
                  <a:pt x="201" y="26"/>
                  <a:pt x="202" y="26"/>
                  <a:pt x="202" y="26"/>
                </a:cubicBezTo>
                <a:cubicBezTo>
                  <a:pt x="202" y="26"/>
                  <a:pt x="202" y="27"/>
                  <a:pt x="203" y="27"/>
                </a:cubicBezTo>
                <a:cubicBezTo>
                  <a:pt x="202" y="27"/>
                  <a:pt x="202" y="26"/>
                  <a:pt x="202" y="27"/>
                </a:cubicBezTo>
                <a:cubicBezTo>
                  <a:pt x="202" y="28"/>
                  <a:pt x="202" y="27"/>
                  <a:pt x="202" y="28"/>
                </a:cubicBezTo>
                <a:cubicBezTo>
                  <a:pt x="202" y="28"/>
                  <a:pt x="202" y="28"/>
                  <a:pt x="202" y="28"/>
                </a:cubicBezTo>
                <a:cubicBezTo>
                  <a:pt x="201" y="27"/>
                  <a:pt x="201" y="27"/>
                  <a:pt x="201" y="28"/>
                </a:cubicBezTo>
                <a:cubicBezTo>
                  <a:pt x="200" y="27"/>
                  <a:pt x="201" y="26"/>
                  <a:pt x="200" y="26"/>
                </a:cubicBezTo>
                <a:cubicBezTo>
                  <a:pt x="200" y="26"/>
                  <a:pt x="199" y="25"/>
                  <a:pt x="199" y="26"/>
                </a:cubicBezTo>
                <a:cubicBezTo>
                  <a:pt x="199" y="26"/>
                  <a:pt x="199" y="27"/>
                  <a:pt x="199" y="27"/>
                </a:cubicBezTo>
                <a:cubicBezTo>
                  <a:pt x="199" y="27"/>
                  <a:pt x="199" y="27"/>
                  <a:pt x="199" y="27"/>
                </a:cubicBezTo>
                <a:cubicBezTo>
                  <a:pt x="199" y="28"/>
                  <a:pt x="199" y="28"/>
                  <a:pt x="199" y="28"/>
                </a:cubicBezTo>
                <a:cubicBezTo>
                  <a:pt x="199" y="28"/>
                  <a:pt x="199" y="28"/>
                  <a:pt x="198" y="28"/>
                </a:cubicBezTo>
                <a:cubicBezTo>
                  <a:pt x="199" y="28"/>
                  <a:pt x="199" y="29"/>
                  <a:pt x="200" y="29"/>
                </a:cubicBezTo>
                <a:cubicBezTo>
                  <a:pt x="199" y="29"/>
                  <a:pt x="198" y="29"/>
                  <a:pt x="198" y="28"/>
                </a:cubicBezTo>
                <a:cubicBezTo>
                  <a:pt x="198" y="28"/>
                  <a:pt x="198" y="28"/>
                  <a:pt x="198" y="28"/>
                </a:cubicBezTo>
                <a:cubicBezTo>
                  <a:pt x="198" y="28"/>
                  <a:pt x="198" y="28"/>
                  <a:pt x="197" y="28"/>
                </a:cubicBezTo>
                <a:cubicBezTo>
                  <a:pt x="197" y="28"/>
                  <a:pt x="197" y="28"/>
                  <a:pt x="197" y="29"/>
                </a:cubicBezTo>
                <a:cubicBezTo>
                  <a:pt x="197" y="29"/>
                  <a:pt x="196" y="28"/>
                  <a:pt x="196" y="29"/>
                </a:cubicBezTo>
                <a:cubicBezTo>
                  <a:pt x="196" y="30"/>
                  <a:pt x="196" y="32"/>
                  <a:pt x="195" y="31"/>
                </a:cubicBezTo>
                <a:cubicBezTo>
                  <a:pt x="194" y="31"/>
                  <a:pt x="193" y="33"/>
                  <a:pt x="194" y="34"/>
                </a:cubicBezTo>
                <a:cubicBezTo>
                  <a:pt x="194" y="34"/>
                  <a:pt x="194" y="35"/>
                  <a:pt x="195" y="35"/>
                </a:cubicBezTo>
                <a:cubicBezTo>
                  <a:pt x="195" y="35"/>
                  <a:pt x="196" y="36"/>
                  <a:pt x="195" y="36"/>
                </a:cubicBezTo>
                <a:cubicBezTo>
                  <a:pt x="195" y="36"/>
                  <a:pt x="195" y="36"/>
                  <a:pt x="195" y="36"/>
                </a:cubicBezTo>
                <a:cubicBezTo>
                  <a:pt x="195" y="36"/>
                  <a:pt x="194" y="36"/>
                  <a:pt x="194" y="36"/>
                </a:cubicBezTo>
                <a:cubicBezTo>
                  <a:pt x="194" y="37"/>
                  <a:pt x="194" y="37"/>
                  <a:pt x="193" y="37"/>
                </a:cubicBezTo>
                <a:cubicBezTo>
                  <a:pt x="193" y="37"/>
                  <a:pt x="192" y="38"/>
                  <a:pt x="192" y="38"/>
                </a:cubicBezTo>
                <a:cubicBezTo>
                  <a:pt x="191" y="38"/>
                  <a:pt x="191" y="37"/>
                  <a:pt x="191" y="37"/>
                </a:cubicBezTo>
                <a:cubicBezTo>
                  <a:pt x="190" y="37"/>
                  <a:pt x="190" y="40"/>
                  <a:pt x="190" y="40"/>
                </a:cubicBezTo>
                <a:cubicBezTo>
                  <a:pt x="190" y="40"/>
                  <a:pt x="190" y="40"/>
                  <a:pt x="190" y="40"/>
                </a:cubicBezTo>
                <a:cubicBezTo>
                  <a:pt x="190" y="41"/>
                  <a:pt x="189" y="41"/>
                  <a:pt x="189" y="41"/>
                </a:cubicBezTo>
                <a:cubicBezTo>
                  <a:pt x="189" y="42"/>
                  <a:pt x="189" y="42"/>
                  <a:pt x="189" y="42"/>
                </a:cubicBezTo>
                <a:cubicBezTo>
                  <a:pt x="189" y="43"/>
                  <a:pt x="187" y="44"/>
                  <a:pt x="187" y="43"/>
                </a:cubicBezTo>
                <a:cubicBezTo>
                  <a:pt x="187" y="43"/>
                  <a:pt x="188" y="44"/>
                  <a:pt x="187" y="44"/>
                </a:cubicBezTo>
                <a:cubicBezTo>
                  <a:pt x="187" y="44"/>
                  <a:pt x="187" y="44"/>
                  <a:pt x="186" y="44"/>
                </a:cubicBezTo>
                <a:cubicBezTo>
                  <a:pt x="186" y="44"/>
                  <a:pt x="186" y="45"/>
                  <a:pt x="186" y="45"/>
                </a:cubicBezTo>
                <a:cubicBezTo>
                  <a:pt x="186" y="45"/>
                  <a:pt x="185" y="45"/>
                  <a:pt x="185" y="46"/>
                </a:cubicBezTo>
                <a:cubicBezTo>
                  <a:pt x="185" y="46"/>
                  <a:pt x="184" y="47"/>
                  <a:pt x="185" y="48"/>
                </a:cubicBezTo>
                <a:cubicBezTo>
                  <a:pt x="185" y="48"/>
                  <a:pt x="186" y="49"/>
                  <a:pt x="186" y="49"/>
                </a:cubicBezTo>
                <a:cubicBezTo>
                  <a:pt x="187" y="50"/>
                  <a:pt x="188" y="49"/>
                  <a:pt x="188" y="49"/>
                </a:cubicBezTo>
                <a:cubicBezTo>
                  <a:pt x="188" y="50"/>
                  <a:pt x="187" y="49"/>
                  <a:pt x="186" y="50"/>
                </a:cubicBezTo>
                <a:cubicBezTo>
                  <a:pt x="186" y="50"/>
                  <a:pt x="187" y="51"/>
                  <a:pt x="187" y="51"/>
                </a:cubicBezTo>
                <a:cubicBezTo>
                  <a:pt x="187" y="52"/>
                  <a:pt x="188" y="52"/>
                  <a:pt x="188" y="52"/>
                </a:cubicBezTo>
                <a:cubicBezTo>
                  <a:pt x="188" y="52"/>
                  <a:pt x="188" y="52"/>
                  <a:pt x="188" y="52"/>
                </a:cubicBezTo>
                <a:cubicBezTo>
                  <a:pt x="188" y="52"/>
                  <a:pt x="190" y="52"/>
                  <a:pt x="190" y="51"/>
                </a:cubicBezTo>
                <a:cubicBezTo>
                  <a:pt x="190" y="51"/>
                  <a:pt x="190" y="52"/>
                  <a:pt x="190" y="52"/>
                </a:cubicBezTo>
                <a:cubicBezTo>
                  <a:pt x="189" y="51"/>
                  <a:pt x="189" y="52"/>
                  <a:pt x="188" y="52"/>
                </a:cubicBezTo>
                <a:cubicBezTo>
                  <a:pt x="188" y="53"/>
                  <a:pt x="188" y="52"/>
                  <a:pt x="187" y="52"/>
                </a:cubicBezTo>
                <a:cubicBezTo>
                  <a:pt x="186" y="52"/>
                  <a:pt x="186" y="54"/>
                  <a:pt x="186" y="54"/>
                </a:cubicBezTo>
                <a:cubicBezTo>
                  <a:pt x="186" y="55"/>
                  <a:pt x="186" y="55"/>
                  <a:pt x="187" y="56"/>
                </a:cubicBezTo>
                <a:cubicBezTo>
                  <a:pt x="187" y="56"/>
                  <a:pt x="187" y="56"/>
                  <a:pt x="186" y="56"/>
                </a:cubicBezTo>
                <a:cubicBezTo>
                  <a:pt x="186" y="56"/>
                  <a:pt x="186" y="56"/>
                  <a:pt x="186" y="56"/>
                </a:cubicBezTo>
                <a:cubicBezTo>
                  <a:pt x="186" y="56"/>
                  <a:pt x="186" y="56"/>
                  <a:pt x="186" y="56"/>
                </a:cubicBezTo>
                <a:cubicBezTo>
                  <a:pt x="186" y="55"/>
                  <a:pt x="186" y="55"/>
                  <a:pt x="185" y="54"/>
                </a:cubicBezTo>
                <a:cubicBezTo>
                  <a:pt x="185" y="54"/>
                  <a:pt x="185" y="54"/>
                  <a:pt x="185" y="53"/>
                </a:cubicBezTo>
                <a:cubicBezTo>
                  <a:pt x="184" y="53"/>
                  <a:pt x="183" y="52"/>
                  <a:pt x="183" y="53"/>
                </a:cubicBezTo>
                <a:cubicBezTo>
                  <a:pt x="183" y="53"/>
                  <a:pt x="183" y="52"/>
                  <a:pt x="182" y="53"/>
                </a:cubicBezTo>
                <a:cubicBezTo>
                  <a:pt x="182" y="53"/>
                  <a:pt x="182" y="53"/>
                  <a:pt x="182" y="54"/>
                </a:cubicBezTo>
                <a:cubicBezTo>
                  <a:pt x="182" y="55"/>
                  <a:pt x="182" y="56"/>
                  <a:pt x="182" y="57"/>
                </a:cubicBezTo>
                <a:cubicBezTo>
                  <a:pt x="182" y="57"/>
                  <a:pt x="182" y="56"/>
                  <a:pt x="182" y="56"/>
                </a:cubicBezTo>
                <a:cubicBezTo>
                  <a:pt x="182" y="56"/>
                  <a:pt x="181" y="56"/>
                  <a:pt x="181" y="57"/>
                </a:cubicBezTo>
                <a:cubicBezTo>
                  <a:pt x="181" y="56"/>
                  <a:pt x="182" y="56"/>
                  <a:pt x="182" y="55"/>
                </a:cubicBezTo>
                <a:cubicBezTo>
                  <a:pt x="182" y="55"/>
                  <a:pt x="182" y="54"/>
                  <a:pt x="182" y="54"/>
                </a:cubicBezTo>
                <a:cubicBezTo>
                  <a:pt x="181" y="53"/>
                  <a:pt x="180" y="53"/>
                  <a:pt x="179" y="52"/>
                </a:cubicBezTo>
                <a:cubicBezTo>
                  <a:pt x="179" y="52"/>
                  <a:pt x="178" y="52"/>
                  <a:pt x="178" y="52"/>
                </a:cubicBezTo>
                <a:cubicBezTo>
                  <a:pt x="177" y="52"/>
                  <a:pt x="177" y="52"/>
                  <a:pt x="176" y="52"/>
                </a:cubicBezTo>
                <a:cubicBezTo>
                  <a:pt x="176" y="52"/>
                  <a:pt x="175" y="52"/>
                  <a:pt x="175" y="52"/>
                </a:cubicBezTo>
                <a:cubicBezTo>
                  <a:pt x="174" y="52"/>
                  <a:pt x="175" y="52"/>
                  <a:pt x="175" y="53"/>
                </a:cubicBezTo>
                <a:cubicBezTo>
                  <a:pt x="175" y="53"/>
                  <a:pt x="175" y="53"/>
                  <a:pt x="175" y="53"/>
                </a:cubicBezTo>
                <a:cubicBezTo>
                  <a:pt x="175" y="54"/>
                  <a:pt x="175" y="54"/>
                  <a:pt x="175" y="54"/>
                </a:cubicBezTo>
                <a:cubicBezTo>
                  <a:pt x="175" y="55"/>
                  <a:pt x="174" y="53"/>
                  <a:pt x="174" y="55"/>
                </a:cubicBezTo>
                <a:cubicBezTo>
                  <a:pt x="174" y="54"/>
                  <a:pt x="174" y="53"/>
                  <a:pt x="174" y="53"/>
                </a:cubicBezTo>
                <a:cubicBezTo>
                  <a:pt x="173" y="53"/>
                  <a:pt x="173" y="54"/>
                  <a:pt x="172" y="55"/>
                </a:cubicBezTo>
                <a:cubicBezTo>
                  <a:pt x="172" y="55"/>
                  <a:pt x="172" y="55"/>
                  <a:pt x="172" y="56"/>
                </a:cubicBezTo>
                <a:cubicBezTo>
                  <a:pt x="172" y="56"/>
                  <a:pt x="172" y="56"/>
                  <a:pt x="172" y="57"/>
                </a:cubicBezTo>
                <a:cubicBezTo>
                  <a:pt x="173" y="57"/>
                  <a:pt x="173" y="58"/>
                  <a:pt x="173" y="59"/>
                </a:cubicBezTo>
                <a:cubicBezTo>
                  <a:pt x="172" y="58"/>
                  <a:pt x="172" y="57"/>
                  <a:pt x="172" y="56"/>
                </a:cubicBezTo>
                <a:cubicBezTo>
                  <a:pt x="171" y="56"/>
                  <a:pt x="171" y="57"/>
                  <a:pt x="171" y="57"/>
                </a:cubicBezTo>
                <a:cubicBezTo>
                  <a:pt x="171" y="58"/>
                  <a:pt x="171" y="60"/>
                  <a:pt x="170" y="60"/>
                </a:cubicBezTo>
                <a:cubicBezTo>
                  <a:pt x="170" y="59"/>
                  <a:pt x="170" y="59"/>
                  <a:pt x="171" y="59"/>
                </a:cubicBezTo>
                <a:cubicBezTo>
                  <a:pt x="171" y="58"/>
                  <a:pt x="170" y="58"/>
                  <a:pt x="170" y="58"/>
                </a:cubicBezTo>
                <a:cubicBezTo>
                  <a:pt x="171" y="57"/>
                  <a:pt x="171" y="57"/>
                  <a:pt x="171" y="56"/>
                </a:cubicBezTo>
                <a:cubicBezTo>
                  <a:pt x="171" y="56"/>
                  <a:pt x="171" y="55"/>
                  <a:pt x="171" y="55"/>
                </a:cubicBezTo>
                <a:cubicBezTo>
                  <a:pt x="171" y="54"/>
                  <a:pt x="172" y="53"/>
                  <a:pt x="172" y="53"/>
                </a:cubicBezTo>
                <a:cubicBezTo>
                  <a:pt x="172" y="52"/>
                  <a:pt x="172" y="52"/>
                  <a:pt x="172" y="52"/>
                </a:cubicBezTo>
                <a:cubicBezTo>
                  <a:pt x="173" y="52"/>
                  <a:pt x="173" y="52"/>
                  <a:pt x="173" y="52"/>
                </a:cubicBezTo>
                <a:cubicBezTo>
                  <a:pt x="173" y="51"/>
                  <a:pt x="173" y="51"/>
                  <a:pt x="173" y="51"/>
                </a:cubicBezTo>
                <a:cubicBezTo>
                  <a:pt x="173" y="51"/>
                  <a:pt x="172" y="50"/>
                  <a:pt x="172" y="50"/>
                </a:cubicBezTo>
                <a:cubicBezTo>
                  <a:pt x="171" y="49"/>
                  <a:pt x="171" y="50"/>
                  <a:pt x="171" y="49"/>
                </a:cubicBezTo>
                <a:cubicBezTo>
                  <a:pt x="171" y="49"/>
                  <a:pt x="170" y="48"/>
                  <a:pt x="170" y="48"/>
                </a:cubicBezTo>
                <a:cubicBezTo>
                  <a:pt x="170" y="48"/>
                  <a:pt x="170" y="48"/>
                  <a:pt x="170" y="48"/>
                </a:cubicBezTo>
                <a:cubicBezTo>
                  <a:pt x="170" y="48"/>
                  <a:pt x="170" y="48"/>
                  <a:pt x="170" y="48"/>
                </a:cubicBezTo>
                <a:cubicBezTo>
                  <a:pt x="170" y="48"/>
                  <a:pt x="170" y="48"/>
                  <a:pt x="170" y="48"/>
                </a:cubicBezTo>
                <a:cubicBezTo>
                  <a:pt x="170" y="48"/>
                  <a:pt x="170" y="48"/>
                  <a:pt x="170" y="48"/>
                </a:cubicBezTo>
                <a:cubicBezTo>
                  <a:pt x="170" y="47"/>
                  <a:pt x="170" y="47"/>
                  <a:pt x="169" y="47"/>
                </a:cubicBezTo>
                <a:cubicBezTo>
                  <a:pt x="169" y="47"/>
                  <a:pt x="169" y="46"/>
                  <a:pt x="169" y="46"/>
                </a:cubicBezTo>
                <a:cubicBezTo>
                  <a:pt x="168" y="45"/>
                  <a:pt x="169" y="45"/>
                  <a:pt x="168" y="45"/>
                </a:cubicBezTo>
                <a:cubicBezTo>
                  <a:pt x="168" y="45"/>
                  <a:pt x="168" y="44"/>
                  <a:pt x="167" y="44"/>
                </a:cubicBezTo>
                <a:cubicBezTo>
                  <a:pt x="167" y="44"/>
                  <a:pt x="167" y="44"/>
                  <a:pt x="167" y="44"/>
                </a:cubicBezTo>
                <a:cubicBezTo>
                  <a:pt x="167" y="43"/>
                  <a:pt x="167" y="43"/>
                  <a:pt x="167" y="43"/>
                </a:cubicBezTo>
                <a:cubicBezTo>
                  <a:pt x="166" y="43"/>
                  <a:pt x="166" y="42"/>
                  <a:pt x="166" y="42"/>
                </a:cubicBezTo>
                <a:cubicBezTo>
                  <a:pt x="166" y="42"/>
                  <a:pt x="166" y="42"/>
                  <a:pt x="166" y="43"/>
                </a:cubicBezTo>
                <a:cubicBezTo>
                  <a:pt x="165" y="43"/>
                  <a:pt x="165" y="42"/>
                  <a:pt x="165" y="42"/>
                </a:cubicBezTo>
                <a:cubicBezTo>
                  <a:pt x="165" y="42"/>
                  <a:pt x="164" y="43"/>
                  <a:pt x="164" y="43"/>
                </a:cubicBezTo>
                <a:cubicBezTo>
                  <a:pt x="164" y="43"/>
                  <a:pt x="164" y="42"/>
                  <a:pt x="164" y="42"/>
                </a:cubicBezTo>
                <a:cubicBezTo>
                  <a:pt x="164" y="42"/>
                  <a:pt x="164" y="43"/>
                  <a:pt x="164" y="43"/>
                </a:cubicBezTo>
                <a:cubicBezTo>
                  <a:pt x="164" y="43"/>
                  <a:pt x="164" y="42"/>
                  <a:pt x="163" y="42"/>
                </a:cubicBezTo>
                <a:cubicBezTo>
                  <a:pt x="163" y="41"/>
                  <a:pt x="163" y="41"/>
                  <a:pt x="163" y="41"/>
                </a:cubicBezTo>
                <a:cubicBezTo>
                  <a:pt x="163" y="41"/>
                  <a:pt x="162" y="40"/>
                  <a:pt x="162" y="40"/>
                </a:cubicBezTo>
                <a:cubicBezTo>
                  <a:pt x="162" y="40"/>
                  <a:pt x="162" y="40"/>
                  <a:pt x="162" y="40"/>
                </a:cubicBezTo>
                <a:cubicBezTo>
                  <a:pt x="161" y="41"/>
                  <a:pt x="162" y="41"/>
                  <a:pt x="161" y="41"/>
                </a:cubicBezTo>
                <a:cubicBezTo>
                  <a:pt x="161" y="41"/>
                  <a:pt x="161" y="41"/>
                  <a:pt x="161" y="41"/>
                </a:cubicBezTo>
                <a:cubicBezTo>
                  <a:pt x="160" y="40"/>
                  <a:pt x="160" y="41"/>
                  <a:pt x="160" y="42"/>
                </a:cubicBezTo>
                <a:cubicBezTo>
                  <a:pt x="160" y="42"/>
                  <a:pt x="160" y="42"/>
                  <a:pt x="161" y="42"/>
                </a:cubicBezTo>
                <a:cubicBezTo>
                  <a:pt x="161" y="42"/>
                  <a:pt x="161" y="42"/>
                  <a:pt x="161" y="42"/>
                </a:cubicBezTo>
                <a:cubicBezTo>
                  <a:pt x="161" y="43"/>
                  <a:pt x="161" y="43"/>
                  <a:pt x="161" y="43"/>
                </a:cubicBezTo>
                <a:cubicBezTo>
                  <a:pt x="161" y="43"/>
                  <a:pt x="160" y="43"/>
                  <a:pt x="160" y="43"/>
                </a:cubicBezTo>
                <a:cubicBezTo>
                  <a:pt x="160" y="43"/>
                  <a:pt x="160" y="43"/>
                  <a:pt x="159" y="43"/>
                </a:cubicBezTo>
                <a:cubicBezTo>
                  <a:pt x="159" y="43"/>
                  <a:pt x="160" y="43"/>
                  <a:pt x="160" y="43"/>
                </a:cubicBezTo>
                <a:cubicBezTo>
                  <a:pt x="160" y="43"/>
                  <a:pt x="160" y="44"/>
                  <a:pt x="159" y="44"/>
                </a:cubicBezTo>
                <a:cubicBezTo>
                  <a:pt x="159" y="44"/>
                  <a:pt x="159" y="44"/>
                  <a:pt x="159" y="44"/>
                </a:cubicBezTo>
                <a:cubicBezTo>
                  <a:pt x="159" y="44"/>
                  <a:pt x="159" y="45"/>
                  <a:pt x="158" y="45"/>
                </a:cubicBezTo>
                <a:cubicBezTo>
                  <a:pt x="158" y="45"/>
                  <a:pt x="158" y="46"/>
                  <a:pt x="158" y="45"/>
                </a:cubicBezTo>
                <a:cubicBezTo>
                  <a:pt x="158" y="45"/>
                  <a:pt x="158" y="44"/>
                  <a:pt x="158" y="45"/>
                </a:cubicBezTo>
                <a:cubicBezTo>
                  <a:pt x="157" y="45"/>
                  <a:pt x="158" y="44"/>
                  <a:pt x="158" y="44"/>
                </a:cubicBezTo>
                <a:cubicBezTo>
                  <a:pt x="158" y="44"/>
                  <a:pt x="157" y="44"/>
                  <a:pt x="157" y="44"/>
                </a:cubicBezTo>
                <a:cubicBezTo>
                  <a:pt x="157" y="44"/>
                  <a:pt x="158" y="43"/>
                  <a:pt x="158" y="42"/>
                </a:cubicBezTo>
                <a:cubicBezTo>
                  <a:pt x="158" y="42"/>
                  <a:pt x="157" y="43"/>
                  <a:pt x="157" y="43"/>
                </a:cubicBezTo>
                <a:cubicBezTo>
                  <a:pt x="157" y="43"/>
                  <a:pt x="156" y="44"/>
                  <a:pt x="156" y="44"/>
                </a:cubicBezTo>
                <a:cubicBezTo>
                  <a:pt x="156" y="44"/>
                  <a:pt x="155" y="45"/>
                  <a:pt x="156" y="45"/>
                </a:cubicBezTo>
                <a:cubicBezTo>
                  <a:pt x="156" y="45"/>
                  <a:pt x="155" y="45"/>
                  <a:pt x="155" y="46"/>
                </a:cubicBezTo>
                <a:cubicBezTo>
                  <a:pt x="155" y="45"/>
                  <a:pt x="155" y="46"/>
                  <a:pt x="155" y="45"/>
                </a:cubicBezTo>
                <a:cubicBezTo>
                  <a:pt x="155" y="45"/>
                  <a:pt x="155" y="45"/>
                  <a:pt x="155" y="45"/>
                </a:cubicBezTo>
                <a:cubicBezTo>
                  <a:pt x="154" y="45"/>
                  <a:pt x="154" y="45"/>
                  <a:pt x="154" y="45"/>
                </a:cubicBezTo>
                <a:cubicBezTo>
                  <a:pt x="154" y="44"/>
                  <a:pt x="155" y="44"/>
                  <a:pt x="154" y="44"/>
                </a:cubicBezTo>
                <a:cubicBezTo>
                  <a:pt x="154" y="44"/>
                  <a:pt x="155" y="43"/>
                  <a:pt x="154" y="43"/>
                </a:cubicBezTo>
                <a:cubicBezTo>
                  <a:pt x="154" y="43"/>
                  <a:pt x="155" y="43"/>
                  <a:pt x="155" y="43"/>
                </a:cubicBezTo>
                <a:cubicBezTo>
                  <a:pt x="155" y="43"/>
                  <a:pt x="154" y="43"/>
                  <a:pt x="154" y="43"/>
                </a:cubicBezTo>
                <a:cubicBezTo>
                  <a:pt x="154" y="43"/>
                  <a:pt x="154" y="43"/>
                  <a:pt x="154" y="42"/>
                </a:cubicBezTo>
                <a:cubicBezTo>
                  <a:pt x="154" y="43"/>
                  <a:pt x="154" y="42"/>
                  <a:pt x="154" y="42"/>
                </a:cubicBezTo>
                <a:cubicBezTo>
                  <a:pt x="154" y="42"/>
                  <a:pt x="153" y="42"/>
                  <a:pt x="153" y="42"/>
                </a:cubicBezTo>
                <a:cubicBezTo>
                  <a:pt x="153" y="43"/>
                  <a:pt x="154" y="43"/>
                  <a:pt x="154" y="43"/>
                </a:cubicBezTo>
                <a:cubicBezTo>
                  <a:pt x="154" y="44"/>
                  <a:pt x="153" y="43"/>
                  <a:pt x="153" y="43"/>
                </a:cubicBezTo>
                <a:cubicBezTo>
                  <a:pt x="153" y="43"/>
                  <a:pt x="153" y="44"/>
                  <a:pt x="153" y="43"/>
                </a:cubicBezTo>
                <a:cubicBezTo>
                  <a:pt x="153" y="43"/>
                  <a:pt x="153" y="43"/>
                  <a:pt x="152" y="43"/>
                </a:cubicBezTo>
                <a:cubicBezTo>
                  <a:pt x="152" y="44"/>
                  <a:pt x="153" y="44"/>
                  <a:pt x="154" y="44"/>
                </a:cubicBezTo>
                <a:cubicBezTo>
                  <a:pt x="154" y="44"/>
                  <a:pt x="154" y="45"/>
                  <a:pt x="154" y="46"/>
                </a:cubicBezTo>
                <a:cubicBezTo>
                  <a:pt x="153" y="46"/>
                  <a:pt x="153" y="46"/>
                  <a:pt x="153" y="46"/>
                </a:cubicBezTo>
                <a:cubicBezTo>
                  <a:pt x="153" y="46"/>
                  <a:pt x="153" y="47"/>
                  <a:pt x="153" y="47"/>
                </a:cubicBezTo>
                <a:cubicBezTo>
                  <a:pt x="153" y="47"/>
                  <a:pt x="152" y="47"/>
                  <a:pt x="152" y="47"/>
                </a:cubicBezTo>
                <a:cubicBezTo>
                  <a:pt x="152" y="48"/>
                  <a:pt x="152" y="48"/>
                  <a:pt x="152" y="48"/>
                </a:cubicBezTo>
                <a:cubicBezTo>
                  <a:pt x="152" y="48"/>
                  <a:pt x="153" y="49"/>
                  <a:pt x="152" y="49"/>
                </a:cubicBezTo>
                <a:cubicBezTo>
                  <a:pt x="152" y="49"/>
                  <a:pt x="151" y="49"/>
                  <a:pt x="151" y="49"/>
                </a:cubicBezTo>
                <a:cubicBezTo>
                  <a:pt x="151" y="50"/>
                  <a:pt x="151" y="50"/>
                  <a:pt x="150" y="50"/>
                </a:cubicBezTo>
                <a:cubicBezTo>
                  <a:pt x="150" y="49"/>
                  <a:pt x="151" y="49"/>
                  <a:pt x="150" y="48"/>
                </a:cubicBezTo>
                <a:cubicBezTo>
                  <a:pt x="150" y="48"/>
                  <a:pt x="150" y="48"/>
                  <a:pt x="150" y="48"/>
                </a:cubicBezTo>
                <a:cubicBezTo>
                  <a:pt x="150" y="48"/>
                  <a:pt x="150" y="47"/>
                  <a:pt x="149" y="48"/>
                </a:cubicBezTo>
                <a:cubicBezTo>
                  <a:pt x="149" y="48"/>
                  <a:pt x="149" y="49"/>
                  <a:pt x="149" y="49"/>
                </a:cubicBezTo>
                <a:cubicBezTo>
                  <a:pt x="149" y="49"/>
                  <a:pt x="148" y="50"/>
                  <a:pt x="148" y="50"/>
                </a:cubicBezTo>
                <a:cubicBezTo>
                  <a:pt x="148" y="50"/>
                  <a:pt x="149" y="49"/>
                  <a:pt x="149" y="49"/>
                </a:cubicBezTo>
                <a:cubicBezTo>
                  <a:pt x="149" y="48"/>
                  <a:pt x="149" y="48"/>
                  <a:pt x="149" y="47"/>
                </a:cubicBezTo>
                <a:cubicBezTo>
                  <a:pt x="149" y="47"/>
                  <a:pt x="150" y="47"/>
                  <a:pt x="150" y="46"/>
                </a:cubicBezTo>
                <a:cubicBezTo>
                  <a:pt x="149" y="47"/>
                  <a:pt x="149" y="45"/>
                  <a:pt x="149" y="46"/>
                </a:cubicBezTo>
                <a:cubicBezTo>
                  <a:pt x="148" y="46"/>
                  <a:pt x="149" y="47"/>
                  <a:pt x="148" y="48"/>
                </a:cubicBezTo>
                <a:cubicBezTo>
                  <a:pt x="148" y="48"/>
                  <a:pt x="148" y="49"/>
                  <a:pt x="148" y="49"/>
                </a:cubicBezTo>
                <a:cubicBezTo>
                  <a:pt x="148" y="49"/>
                  <a:pt x="147" y="49"/>
                  <a:pt x="147" y="49"/>
                </a:cubicBezTo>
                <a:cubicBezTo>
                  <a:pt x="148" y="49"/>
                  <a:pt x="148" y="49"/>
                  <a:pt x="148" y="49"/>
                </a:cubicBezTo>
                <a:cubicBezTo>
                  <a:pt x="147" y="48"/>
                  <a:pt x="147" y="49"/>
                  <a:pt x="147" y="49"/>
                </a:cubicBezTo>
                <a:cubicBezTo>
                  <a:pt x="147" y="49"/>
                  <a:pt x="147" y="49"/>
                  <a:pt x="147" y="49"/>
                </a:cubicBezTo>
                <a:cubicBezTo>
                  <a:pt x="147" y="49"/>
                  <a:pt x="146" y="50"/>
                  <a:pt x="146" y="50"/>
                </a:cubicBezTo>
                <a:cubicBezTo>
                  <a:pt x="146" y="50"/>
                  <a:pt x="146" y="49"/>
                  <a:pt x="146" y="49"/>
                </a:cubicBezTo>
                <a:cubicBezTo>
                  <a:pt x="146" y="49"/>
                  <a:pt x="146" y="49"/>
                  <a:pt x="146" y="50"/>
                </a:cubicBezTo>
                <a:cubicBezTo>
                  <a:pt x="146" y="49"/>
                  <a:pt x="146" y="49"/>
                  <a:pt x="146" y="49"/>
                </a:cubicBezTo>
                <a:cubicBezTo>
                  <a:pt x="146" y="49"/>
                  <a:pt x="146" y="49"/>
                  <a:pt x="145" y="49"/>
                </a:cubicBezTo>
                <a:cubicBezTo>
                  <a:pt x="145" y="49"/>
                  <a:pt x="145" y="50"/>
                  <a:pt x="145" y="50"/>
                </a:cubicBezTo>
                <a:cubicBezTo>
                  <a:pt x="145" y="50"/>
                  <a:pt x="145" y="50"/>
                  <a:pt x="145" y="50"/>
                </a:cubicBezTo>
                <a:cubicBezTo>
                  <a:pt x="145" y="50"/>
                  <a:pt x="145" y="50"/>
                  <a:pt x="144" y="50"/>
                </a:cubicBezTo>
                <a:cubicBezTo>
                  <a:pt x="144" y="51"/>
                  <a:pt x="144" y="51"/>
                  <a:pt x="144" y="51"/>
                </a:cubicBezTo>
                <a:cubicBezTo>
                  <a:pt x="144" y="51"/>
                  <a:pt x="143" y="51"/>
                  <a:pt x="144" y="52"/>
                </a:cubicBezTo>
                <a:cubicBezTo>
                  <a:pt x="144" y="52"/>
                  <a:pt x="143" y="53"/>
                  <a:pt x="144" y="53"/>
                </a:cubicBezTo>
                <a:cubicBezTo>
                  <a:pt x="145" y="53"/>
                  <a:pt x="145" y="53"/>
                  <a:pt x="145" y="53"/>
                </a:cubicBezTo>
                <a:cubicBezTo>
                  <a:pt x="144" y="54"/>
                  <a:pt x="144" y="53"/>
                  <a:pt x="144" y="53"/>
                </a:cubicBezTo>
                <a:cubicBezTo>
                  <a:pt x="143" y="53"/>
                  <a:pt x="144" y="54"/>
                  <a:pt x="144" y="54"/>
                </a:cubicBezTo>
                <a:cubicBezTo>
                  <a:pt x="144" y="54"/>
                  <a:pt x="145" y="54"/>
                  <a:pt x="145" y="54"/>
                </a:cubicBezTo>
                <a:cubicBezTo>
                  <a:pt x="145" y="54"/>
                  <a:pt x="146" y="54"/>
                  <a:pt x="146" y="54"/>
                </a:cubicBezTo>
                <a:cubicBezTo>
                  <a:pt x="146" y="54"/>
                  <a:pt x="145" y="54"/>
                  <a:pt x="145" y="55"/>
                </a:cubicBezTo>
                <a:cubicBezTo>
                  <a:pt x="145" y="55"/>
                  <a:pt x="145" y="55"/>
                  <a:pt x="145" y="55"/>
                </a:cubicBezTo>
                <a:cubicBezTo>
                  <a:pt x="145" y="55"/>
                  <a:pt x="146" y="55"/>
                  <a:pt x="146" y="56"/>
                </a:cubicBezTo>
                <a:cubicBezTo>
                  <a:pt x="146" y="56"/>
                  <a:pt x="145" y="56"/>
                  <a:pt x="145" y="56"/>
                </a:cubicBezTo>
                <a:cubicBezTo>
                  <a:pt x="144" y="56"/>
                  <a:pt x="144" y="55"/>
                  <a:pt x="144" y="55"/>
                </a:cubicBezTo>
                <a:cubicBezTo>
                  <a:pt x="144" y="55"/>
                  <a:pt x="143" y="55"/>
                  <a:pt x="143" y="54"/>
                </a:cubicBezTo>
                <a:cubicBezTo>
                  <a:pt x="143" y="54"/>
                  <a:pt x="143" y="56"/>
                  <a:pt x="143" y="56"/>
                </a:cubicBezTo>
                <a:cubicBezTo>
                  <a:pt x="143" y="55"/>
                  <a:pt x="143" y="54"/>
                  <a:pt x="142" y="55"/>
                </a:cubicBezTo>
                <a:cubicBezTo>
                  <a:pt x="142" y="54"/>
                  <a:pt x="143" y="54"/>
                  <a:pt x="142" y="54"/>
                </a:cubicBezTo>
                <a:cubicBezTo>
                  <a:pt x="142" y="54"/>
                  <a:pt x="142" y="54"/>
                  <a:pt x="142" y="54"/>
                </a:cubicBezTo>
                <a:cubicBezTo>
                  <a:pt x="142" y="54"/>
                  <a:pt x="142" y="56"/>
                  <a:pt x="141" y="55"/>
                </a:cubicBezTo>
                <a:cubicBezTo>
                  <a:pt x="140" y="55"/>
                  <a:pt x="140" y="56"/>
                  <a:pt x="140" y="56"/>
                </a:cubicBezTo>
                <a:cubicBezTo>
                  <a:pt x="140" y="56"/>
                  <a:pt x="140" y="57"/>
                  <a:pt x="140" y="57"/>
                </a:cubicBezTo>
                <a:cubicBezTo>
                  <a:pt x="140" y="57"/>
                  <a:pt x="141" y="56"/>
                  <a:pt x="141" y="56"/>
                </a:cubicBezTo>
                <a:cubicBezTo>
                  <a:pt x="141" y="56"/>
                  <a:pt x="142" y="56"/>
                  <a:pt x="142" y="56"/>
                </a:cubicBezTo>
                <a:cubicBezTo>
                  <a:pt x="141" y="57"/>
                  <a:pt x="141" y="56"/>
                  <a:pt x="140" y="57"/>
                </a:cubicBezTo>
                <a:cubicBezTo>
                  <a:pt x="140" y="58"/>
                  <a:pt x="141" y="58"/>
                  <a:pt x="141" y="57"/>
                </a:cubicBezTo>
                <a:cubicBezTo>
                  <a:pt x="142" y="57"/>
                  <a:pt x="142" y="57"/>
                  <a:pt x="143" y="58"/>
                </a:cubicBezTo>
                <a:cubicBezTo>
                  <a:pt x="141" y="58"/>
                  <a:pt x="143" y="60"/>
                  <a:pt x="143" y="60"/>
                </a:cubicBezTo>
                <a:cubicBezTo>
                  <a:pt x="142" y="60"/>
                  <a:pt x="142" y="59"/>
                  <a:pt x="142" y="59"/>
                </a:cubicBezTo>
                <a:cubicBezTo>
                  <a:pt x="142" y="59"/>
                  <a:pt x="141" y="59"/>
                  <a:pt x="141" y="60"/>
                </a:cubicBezTo>
                <a:cubicBezTo>
                  <a:pt x="142" y="59"/>
                  <a:pt x="141" y="59"/>
                  <a:pt x="141" y="59"/>
                </a:cubicBezTo>
                <a:cubicBezTo>
                  <a:pt x="141" y="59"/>
                  <a:pt x="141" y="59"/>
                  <a:pt x="141" y="59"/>
                </a:cubicBezTo>
                <a:cubicBezTo>
                  <a:pt x="140" y="58"/>
                  <a:pt x="140" y="58"/>
                  <a:pt x="140" y="58"/>
                </a:cubicBezTo>
                <a:cubicBezTo>
                  <a:pt x="139" y="58"/>
                  <a:pt x="140" y="57"/>
                  <a:pt x="139" y="57"/>
                </a:cubicBezTo>
                <a:cubicBezTo>
                  <a:pt x="139" y="57"/>
                  <a:pt x="139" y="58"/>
                  <a:pt x="139" y="58"/>
                </a:cubicBezTo>
                <a:cubicBezTo>
                  <a:pt x="139" y="58"/>
                  <a:pt x="139" y="57"/>
                  <a:pt x="138" y="57"/>
                </a:cubicBezTo>
                <a:cubicBezTo>
                  <a:pt x="138" y="57"/>
                  <a:pt x="138" y="58"/>
                  <a:pt x="138" y="58"/>
                </a:cubicBezTo>
                <a:cubicBezTo>
                  <a:pt x="138" y="58"/>
                  <a:pt x="138" y="58"/>
                  <a:pt x="138" y="58"/>
                </a:cubicBezTo>
                <a:cubicBezTo>
                  <a:pt x="138" y="58"/>
                  <a:pt x="139" y="58"/>
                  <a:pt x="138" y="58"/>
                </a:cubicBezTo>
                <a:cubicBezTo>
                  <a:pt x="138" y="59"/>
                  <a:pt x="138" y="59"/>
                  <a:pt x="138" y="59"/>
                </a:cubicBezTo>
                <a:cubicBezTo>
                  <a:pt x="137" y="59"/>
                  <a:pt x="138" y="59"/>
                  <a:pt x="138" y="59"/>
                </a:cubicBezTo>
                <a:cubicBezTo>
                  <a:pt x="137" y="59"/>
                  <a:pt x="137" y="60"/>
                  <a:pt x="136" y="59"/>
                </a:cubicBezTo>
                <a:cubicBezTo>
                  <a:pt x="136" y="59"/>
                  <a:pt x="135" y="60"/>
                  <a:pt x="135" y="60"/>
                </a:cubicBezTo>
                <a:cubicBezTo>
                  <a:pt x="135" y="60"/>
                  <a:pt x="135" y="61"/>
                  <a:pt x="135" y="61"/>
                </a:cubicBezTo>
                <a:cubicBezTo>
                  <a:pt x="135" y="61"/>
                  <a:pt x="135" y="61"/>
                  <a:pt x="135" y="61"/>
                </a:cubicBezTo>
                <a:cubicBezTo>
                  <a:pt x="135" y="61"/>
                  <a:pt x="135" y="62"/>
                  <a:pt x="135" y="62"/>
                </a:cubicBezTo>
                <a:cubicBezTo>
                  <a:pt x="135" y="63"/>
                  <a:pt x="135" y="64"/>
                  <a:pt x="135" y="64"/>
                </a:cubicBezTo>
                <a:cubicBezTo>
                  <a:pt x="135" y="64"/>
                  <a:pt x="135" y="63"/>
                  <a:pt x="135" y="63"/>
                </a:cubicBezTo>
                <a:cubicBezTo>
                  <a:pt x="135" y="64"/>
                  <a:pt x="135" y="64"/>
                  <a:pt x="135" y="65"/>
                </a:cubicBezTo>
                <a:cubicBezTo>
                  <a:pt x="136" y="65"/>
                  <a:pt x="136" y="63"/>
                  <a:pt x="137" y="63"/>
                </a:cubicBezTo>
                <a:cubicBezTo>
                  <a:pt x="137" y="63"/>
                  <a:pt x="138" y="63"/>
                  <a:pt x="138" y="63"/>
                </a:cubicBezTo>
                <a:cubicBezTo>
                  <a:pt x="138" y="63"/>
                  <a:pt x="137" y="64"/>
                  <a:pt x="137" y="64"/>
                </a:cubicBezTo>
                <a:cubicBezTo>
                  <a:pt x="137" y="63"/>
                  <a:pt x="136" y="65"/>
                  <a:pt x="136" y="65"/>
                </a:cubicBezTo>
                <a:cubicBezTo>
                  <a:pt x="136" y="65"/>
                  <a:pt x="136" y="66"/>
                  <a:pt x="136" y="66"/>
                </a:cubicBezTo>
                <a:cubicBezTo>
                  <a:pt x="136" y="67"/>
                  <a:pt x="135" y="67"/>
                  <a:pt x="135" y="67"/>
                </a:cubicBezTo>
                <a:cubicBezTo>
                  <a:pt x="135" y="67"/>
                  <a:pt x="135" y="65"/>
                  <a:pt x="135" y="66"/>
                </a:cubicBezTo>
                <a:cubicBezTo>
                  <a:pt x="134" y="67"/>
                  <a:pt x="134" y="67"/>
                  <a:pt x="134" y="68"/>
                </a:cubicBezTo>
                <a:cubicBezTo>
                  <a:pt x="134" y="69"/>
                  <a:pt x="135" y="69"/>
                  <a:pt x="136" y="69"/>
                </a:cubicBezTo>
                <a:cubicBezTo>
                  <a:pt x="136" y="69"/>
                  <a:pt x="138" y="69"/>
                  <a:pt x="138" y="70"/>
                </a:cubicBezTo>
                <a:cubicBezTo>
                  <a:pt x="138" y="70"/>
                  <a:pt x="138" y="70"/>
                  <a:pt x="137" y="69"/>
                </a:cubicBezTo>
                <a:cubicBezTo>
                  <a:pt x="137" y="69"/>
                  <a:pt x="136" y="69"/>
                  <a:pt x="136" y="69"/>
                </a:cubicBezTo>
                <a:cubicBezTo>
                  <a:pt x="135" y="70"/>
                  <a:pt x="135" y="70"/>
                  <a:pt x="134" y="69"/>
                </a:cubicBezTo>
                <a:cubicBezTo>
                  <a:pt x="134" y="69"/>
                  <a:pt x="134" y="69"/>
                  <a:pt x="134" y="69"/>
                </a:cubicBezTo>
                <a:cubicBezTo>
                  <a:pt x="133" y="69"/>
                  <a:pt x="133" y="70"/>
                  <a:pt x="132" y="70"/>
                </a:cubicBezTo>
                <a:cubicBezTo>
                  <a:pt x="132" y="69"/>
                  <a:pt x="132" y="69"/>
                  <a:pt x="132" y="68"/>
                </a:cubicBezTo>
                <a:cubicBezTo>
                  <a:pt x="131" y="68"/>
                  <a:pt x="130" y="68"/>
                  <a:pt x="129" y="68"/>
                </a:cubicBezTo>
                <a:cubicBezTo>
                  <a:pt x="129" y="68"/>
                  <a:pt x="130" y="68"/>
                  <a:pt x="130" y="68"/>
                </a:cubicBezTo>
                <a:cubicBezTo>
                  <a:pt x="130" y="68"/>
                  <a:pt x="129" y="68"/>
                  <a:pt x="130" y="69"/>
                </a:cubicBezTo>
                <a:cubicBezTo>
                  <a:pt x="130" y="69"/>
                  <a:pt x="130" y="69"/>
                  <a:pt x="130" y="69"/>
                </a:cubicBezTo>
                <a:cubicBezTo>
                  <a:pt x="129" y="70"/>
                  <a:pt x="129" y="69"/>
                  <a:pt x="129" y="69"/>
                </a:cubicBezTo>
                <a:cubicBezTo>
                  <a:pt x="129" y="69"/>
                  <a:pt x="129" y="70"/>
                  <a:pt x="128" y="70"/>
                </a:cubicBezTo>
                <a:cubicBezTo>
                  <a:pt x="128" y="69"/>
                  <a:pt x="129" y="69"/>
                  <a:pt x="129" y="69"/>
                </a:cubicBezTo>
                <a:cubicBezTo>
                  <a:pt x="128" y="68"/>
                  <a:pt x="128" y="68"/>
                  <a:pt x="128" y="68"/>
                </a:cubicBezTo>
                <a:cubicBezTo>
                  <a:pt x="128" y="68"/>
                  <a:pt x="129" y="68"/>
                  <a:pt x="128" y="68"/>
                </a:cubicBezTo>
                <a:cubicBezTo>
                  <a:pt x="128" y="68"/>
                  <a:pt x="128" y="68"/>
                  <a:pt x="128" y="67"/>
                </a:cubicBezTo>
                <a:cubicBezTo>
                  <a:pt x="128" y="67"/>
                  <a:pt x="128" y="67"/>
                  <a:pt x="128" y="67"/>
                </a:cubicBezTo>
                <a:cubicBezTo>
                  <a:pt x="128" y="66"/>
                  <a:pt x="127" y="67"/>
                  <a:pt x="126" y="67"/>
                </a:cubicBezTo>
                <a:cubicBezTo>
                  <a:pt x="126" y="67"/>
                  <a:pt x="126" y="68"/>
                  <a:pt x="126" y="68"/>
                </a:cubicBezTo>
                <a:cubicBezTo>
                  <a:pt x="126" y="69"/>
                  <a:pt x="126" y="68"/>
                  <a:pt x="126" y="68"/>
                </a:cubicBezTo>
                <a:cubicBezTo>
                  <a:pt x="127" y="68"/>
                  <a:pt x="127" y="69"/>
                  <a:pt x="127" y="69"/>
                </a:cubicBezTo>
                <a:cubicBezTo>
                  <a:pt x="127" y="69"/>
                  <a:pt x="127" y="69"/>
                  <a:pt x="127" y="69"/>
                </a:cubicBezTo>
                <a:cubicBezTo>
                  <a:pt x="126" y="69"/>
                  <a:pt x="127" y="70"/>
                  <a:pt x="127" y="70"/>
                </a:cubicBezTo>
                <a:cubicBezTo>
                  <a:pt x="127" y="70"/>
                  <a:pt x="125" y="69"/>
                  <a:pt x="125" y="70"/>
                </a:cubicBezTo>
                <a:cubicBezTo>
                  <a:pt x="126" y="70"/>
                  <a:pt x="127" y="71"/>
                  <a:pt x="126" y="71"/>
                </a:cubicBezTo>
                <a:cubicBezTo>
                  <a:pt x="126" y="71"/>
                  <a:pt x="126" y="71"/>
                  <a:pt x="126" y="71"/>
                </a:cubicBezTo>
                <a:cubicBezTo>
                  <a:pt x="126" y="71"/>
                  <a:pt x="125" y="70"/>
                  <a:pt x="125" y="70"/>
                </a:cubicBezTo>
                <a:cubicBezTo>
                  <a:pt x="125" y="71"/>
                  <a:pt x="124" y="70"/>
                  <a:pt x="124" y="71"/>
                </a:cubicBezTo>
                <a:cubicBezTo>
                  <a:pt x="124" y="71"/>
                  <a:pt x="125" y="71"/>
                  <a:pt x="125" y="71"/>
                </a:cubicBezTo>
                <a:cubicBezTo>
                  <a:pt x="125" y="71"/>
                  <a:pt x="125" y="71"/>
                  <a:pt x="126" y="71"/>
                </a:cubicBezTo>
                <a:cubicBezTo>
                  <a:pt x="126" y="71"/>
                  <a:pt x="126" y="71"/>
                  <a:pt x="126" y="71"/>
                </a:cubicBezTo>
                <a:cubicBezTo>
                  <a:pt x="126" y="71"/>
                  <a:pt x="125" y="72"/>
                  <a:pt x="125" y="72"/>
                </a:cubicBezTo>
                <a:cubicBezTo>
                  <a:pt x="126" y="72"/>
                  <a:pt x="126" y="74"/>
                  <a:pt x="127" y="75"/>
                </a:cubicBezTo>
                <a:cubicBezTo>
                  <a:pt x="127" y="76"/>
                  <a:pt x="128" y="74"/>
                  <a:pt x="129" y="74"/>
                </a:cubicBezTo>
                <a:cubicBezTo>
                  <a:pt x="129" y="74"/>
                  <a:pt x="128" y="75"/>
                  <a:pt x="128" y="75"/>
                </a:cubicBezTo>
                <a:cubicBezTo>
                  <a:pt x="127" y="76"/>
                  <a:pt x="127" y="76"/>
                  <a:pt x="128" y="76"/>
                </a:cubicBezTo>
                <a:cubicBezTo>
                  <a:pt x="128" y="76"/>
                  <a:pt x="128" y="76"/>
                  <a:pt x="127" y="76"/>
                </a:cubicBezTo>
                <a:cubicBezTo>
                  <a:pt x="126" y="75"/>
                  <a:pt x="127" y="79"/>
                  <a:pt x="128" y="79"/>
                </a:cubicBezTo>
                <a:cubicBezTo>
                  <a:pt x="127" y="79"/>
                  <a:pt x="127" y="78"/>
                  <a:pt x="127" y="78"/>
                </a:cubicBezTo>
                <a:cubicBezTo>
                  <a:pt x="126" y="77"/>
                  <a:pt x="126" y="77"/>
                  <a:pt x="126" y="77"/>
                </a:cubicBezTo>
                <a:cubicBezTo>
                  <a:pt x="126" y="77"/>
                  <a:pt x="126" y="76"/>
                  <a:pt x="125" y="76"/>
                </a:cubicBezTo>
                <a:cubicBezTo>
                  <a:pt x="125" y="76"/>
                  <a:pt x="125" y="77"/>
                  <a:pt x="125" y="77"/>
                </a:cubicBezTo>
                <a:cubicBezTo>
                  <a:pt x="125" y="77"/>
                  <a:pt x="125" y="78"/>
                  <a:pt x="125" y="78"/>
                </a:cubicBezTo>
                <a:cubicBezTo>
                  <a:pt x="125" y="79"/>
                  <a:pt x="125" y="79"/>
                  <a:pt x="124" y="80"/>
                </a:cubicBezTo>
                <a:cubicBezTo>
                  <a:pt x="124" y="80"/>
                  <a:pt x="124" y="81"/>
                  <a:pt x="124" y="81"/>
                </a:cubicBezTo>
                <a:cubicBezTo>
                  <a:pt x="124" y="82"/>
                  <a:pt x="124" y="82"/>
                  <a:pt x="124" y="83"/>
                </a:cubicBezTo>
                <a:cubicBezTo>
                  <a:pt x="124" y="82"/>
                  <a:pt x="123" y="80"/>
                  <a:pt x="123" y="80"/>
                </a:cubicBezTo>
                <a:cubicBezTo>
                  <a:pt x="123" y="80"/>
                  <a:pt x="122" y="80"/>
                  <a:pt x="122" y="79"/>
                </a:cubicBezTo>
                <a:cubicBezTo>
                  <a:pt x="122" y="79"/>
                  <a:pt x="122" y="79"/>
                  <a:pt x="122" y="78"/>
                </a:cubicBezTo>
                <a:cubicBezTo>
                  <a:pt x="122" y="78"/>
                  <a:pt x="122" y="77"/>
                  <a:pt x="122" y="77"/>
                </a:cubicBezTo>
                <a:cubicBezTo>
                  <a:pt x="122" y="76"/>
                  <a:pt x="121" y="76"/>
                  <a:pt x="121" y="75"/>
                </a:cubicBezTo>
                <a:cubicBezTo>
                  <a:pt x="121" y="75"/>
                  <a:pt x="121" y="75"/>
                  <a:pt x="121" y="74"/>
                </a:cubicBezTo>
                <a:cubicBezTo>
                  <a:pt x="121" y="74"/>
                  <a:pt x="121" y="74"/>
                  <a:pt x="121" y="74"/>
                </a:cubicBezTo>
                <a:cubicBezTo>
                  <a:pt x="121" y="73"/>
                  <a:pt x="121" y="73"/>
                  <a:pt x="121" y="73"/>
                </a:cubicBezTo>
                <a:cubicBezTo>
                  <a:pt x="121" y="73"/>
                  <a:pt x="120" y="73"/>
                  <a:pt x="120" y="73"/>
                </a:cubicBezTo>
                <a:cubicBezTo>
                  <a:pt x="120" y="72"/>
                  <a:pt x="120" y="72"/>
                  <a:pt x="120" y="72"/>
                </a:cubicBezTo>
                <a:cubicBezTo>
                  <a:pt x="120" y="72"/>
                  <a:pt x="120" y="72"/>
                  <a:pt x="120" y="72"/>
                </a:cubicBezTo>
                <a:cubicBezTo>
                  <a:pt x="119" y="72"/>
                  <a:pt x="120" y="70"/>
                  <a:pt x="120" y="70"/>
                </a:cubicBezTo>
                <a:cubicBezTo>
                  <a:pt x="121" y="71"/>
                  <a:pt x="121" y="70"/>
                  <a:pt x="120" y="70"/>
                </a:cubicBezTo>
                <a:cubicBezTo>
                  <a:pt x="120" y="70"/>
                  <a:pt x="121" y="70"/>
                  <a:pt x="120" y="69"/>
                </a:cubicBezTo>
                <a:cubicBezTo>
                  <a:pt x="120" y="69"/>
                  <a:pt x="119" y="71"/>
                  <a:pt x="118" y="71"/>
                </a:cubicBezTo>
                <a:cubicBezTo>
                  <a:pt x="117" y="72"/>
                  <a:pt x="117" y="73"/>
                  <a:pt x="118" y="74"/>
                </a:cubicBezTo>
                <a:cubicBezTo>
                  <a:pt x="117" y="73"/>
                  <a:pt x="117" y="74"/>
                  <a:pt x="117" y="74"/>
                </a:cubicBezTo>
                <a:cubicBezTo>
                  <a:pt x="116" y="74"/>
                  <a:pt x="116" y="74"/>
                  <a:pt x="115" y="74"/>
                </a:cubicBezTo>
                <a:cubicBezTo>
                  <a:pt x="115" y="74"/>
                  <a:pt x="115" y="75"/>
                  <a:pt x="115" y="76"/>
                </a:cubicBezTo>
                <a:cubicBezTo>
                  <a:pt x="115" y="76"/>
                  <a:pt x="114" y="75"/>
                  <a:pt x="114" y="75"/>
                </a:cubicBezTo>
                <a:cubicBezTo>
                  <a:pt x="114" y="75"/>
                  <a:pt x="114" y="76"/>
                  <a:pt x="114" y="76"/>
                </a:cubicBezTo>
                <a:cubicBezTo>
                  <a:pt x="114" y="76"/>
                  <a:pt x="114" y="76"/>
                  <a:pt x="114" y="76"/>
                </a:cubicBezTo>
                <a:cubicBezTo>
                  <a:pt x="112" y="77"/>
                  <a:pt x="110" y="79"/>
                  <a:pt x="110" y="81"/>
                </a:cubicBezTo>
                <a:cubicBezTo>
                  <a:pt x="110" y="82"/>
                  <a:pt x="110" y="83"/>
                  <a:pt x="110" y="84"/>
                </a:cubicBezTo>
                <a:cubicBezTo>
                  <a:pt x="110" y="85"/>
                  <a:pt x="110" y="86"/>
                  <a:pt x="110" y="86"/>
                </a:cubicBezTo>
                <a:cubicBezTo>
                  <a:pt x="110" y="86"/>
                  <a:pt x="110" y="87"/>
                  <a:pt x="110" y="87"/>
                </a:cubicBezTo>
                <a:cubicBezTo>
                  <a:pt x="111" y="86"/>
                  <a:pt x="112" y="88"/>
                  <a:pt x="111" y="89"/>
                </a:cubicBezTo>
                <a:cubicBezTo>
                  <a:pt x="110" y="89"/>
                  <a:pt x="109" y="90"/>
                  <a:pt x="108" y="91"/>
                </a:cubicBezTo>
                <a:cubicBezTo>
                  <a:pt x="107" y="92"/>
                  <a:pt x="107" y="92"/>
                  <a:pt x="106" y="92"/>
                </a:cubicBezTo>
                <a:cubicBezTo>
                  <a:pt x="105" y="92"/>
                  <a:pt x="105" y="92"/>
                  <a:pt x="105" y="93"/>
                </a:cubicBezTo>
                <a:cubicBezTo>
                  <a:pt x="105" y="93"/>
                  <a:pt x="104" y="93"/>
                  <a:pt x="105" y="94"/>
                </a:cubicBezTo>
                <a:cubicBezTo>
                  <a:pt x="105" y="94"/>
                  <a:pt x="104" y="95"/>
                  <a:pt x="104" y="95"/>
                </a:cubicBezTo>
                <a:cubicBezTo>
                  <a:pt x="103" y="95"/>
                  <a:pt x="103" y="95"/>
                  <a:pt x="103" y="96"/>
                </a:cubicBezTo>
                <a:cubicBezTo>
                  <a:pt x="103" y="96"/>
                  <a:pt x="103" y="97"/>
                  <a:pt x="102" y="98"/>
                </a:cubicBezTo>
                <a:cubicBezTo>
                  <a:pt x="101" y="99"/>
                  <a:pt x="101" y="100"/>
                  <a:pt x="99" y="102"/>
                </a:cubicBezTo>
                <a:cubicBezTo>
                  <a:pt x="99" y="102"/>
                  <a:pt x="98" y="103"/>
                  <a:pt x="98" y="103"/>
                </a:cubicBezTo>
                <a:cubicBezTo>
                  <a:pt x="96" y="105"/>
                  <a:pt x="93" y="106"/>
                  <a:pt x="90" y="107"/>
                </a:cubicBezTo>
                <a:cubicBezTo>
                  <a:pt x="88" y="108"/>
                  <a:pt x="87" y="108"/>
                  <a:pt x="85" y="109"/>
                </a:cubicBezTo>
                <a:cubicBezTo>
                  <a:pt x="84" y="109"/>
                  <a:pt x="83" y="109"/>
                  <a:pt x="83" y="109"/>
                </a:cubicBezTo>
                <a:cubicBezTo>
                  <a:pt x="82" y="109"/>
                  <a:pt x="82" y="109"/>
                  <a:pt x="82" y="110"/>
                </a:cubicBezTo>
                <a:cubicBezTo>
                  <a:pt x="81" y="110"/>
                  <a:pt x="81" y="110"/>
                  <a:pt x="80" y="109"/>
                </a:cubicBezTo>
                <a:cubicBezTo>
                  <a:pt x="80" y="109"/>
                  <a:pt x="79" y="109"/>
                  <a:pt x="79" y="109"/>
                </a:cubicBezTo>
                <a:cubicBezTo>
                  <a:pt x="79" y="109"/>
                  <a:pt x="78" y="108"/>
                  <a:pt x="78" y="109"/>
                </a:cubicBezTo>
                <a:cubicBezTo>
                  <a:pt x="77" y="109"/>
                  <a:pt x="77" y="109"/>
                  <a:pt x="77" y="109"/>
                </a:cubicBezTo>
                <a:cubicBezTo>
                  <a:pt x="77" y="109"/>
                  <a:pt x="77" y="109"/>
                  <a:pt x="77" y="109"/>
                </a:cubicBezTo>
                <a:cubicBezTo>
                  <a:pt x="76" y="109"/>
                  <a:pt x="75" y="111"/>
                  <a:pt x="74" y="112"/>
                </a:cubicBezTo>
                <a:cubicBezTo>
                  <a:pt x="73" y="112"/>
                  <a:pt x="72" y="113"/>
                  <a:pt x="72" y="113"/>
                </a:cubicBezTo>
                <a:cubicBezTo>
                  <a:pt x="71" y="112"/>
                  <a:pt x="70" y="113"/>
                  <a:pt x="70" y="113"/>
                </a:cubicBezTo>
                <a:cubicBezTo>
                  <a:pt x="69" y="113"/>
                  <a:pt x="69" y="113"/>
                  <a:pt x="68" y="113"/>
                </a:cubicBezTo>
                <a:cubicBezTo>
                  <a:pt x="68" y="113"/>
                  <a:pt x="68" y="113"/>
                  <a:pt x="67" y="113"/>
                </a:cubicBezTo>
                <a:cubicBezTo>
                  <a:pt x="67" y="113"/>
                  <a:pt x="67" y="113"/>
                  <a:pt x="67" y="113"/>
                </a:cubicBezTo>
                <a:cubicBezTo>
                  <a:pt x="67" y="113"/>
                  <a:pt x="66" y="114"/>
                  <a:pt x="66" y="114"/>
                </a:cubicBezTo>
                <a:cubicBezTo>
                  <a:pt x="65" y="115"/>
                  <a:pt x="64" y="116"/>
                  <a:pt x="62" y="116"/>
                </a:cubicBezTo>
                <a:cubicBezTo>
                  <a:pt x="62" y="117"/>
                  <a:pt x="61" y="116"/>
                  <a:pt x="61" y="117"/>
                </a:cubicBezTo>
                <a:cubicBezTo>
                  <a:pt x="60" y="117"/>
                  <a:pt x="59" y="117"/>
                  <a:pt x="59" y="117"/>
                </a:cubicBezTo>
                <a:cubicBezTo>
                  <a:pt x="58" y="117"/>
                  <a:pt x="58" y="117"/>
                  <a:pt x="57" y="116"/>
                </a:cubicBezTo>
                <a:cubicBezTo>
                  <a:pt x="57" y="116"/>
                  <a:pt x="57" y="115"/>
                  <a:pt x="57" y="116"/>
                </a:cubicBezTo>
                <a:cubicBezTo>
                  <a:pt x="56" y="116"/>
                  <a:pt x="57" y="116"/>
                  <a:pt x="56" y="116"/>
                </a:cubicBezTo>
                <a:cubicBezTo>
                  <a:pt x="56" y="116"/>
                  <a:pt x="56" y="116"/>
                  <a:pt x="55" y="116"/>
                </a:cubicBezTo>
                <a:cubicBezTo>
                  <a:pt x="55" y="117"/>
                  <a:pt x="54" y="117"/>
                  <a:pt x="54" y="117"/>
                </a:cubicBezTo>
                <a:cubicBezTo>
                  <a:pt x="53" y="117"/>
                  <a:pt x="54" y="115"/>
                  <a:pt x="54" y="115"/>
                </a:cubicBezTo>
                <a:cubicBezTo>
                  <a:pt x="54" y="115"/>
                  <a:pt x="53" y="116"/>
                  <a:pt x="53" y="116"/>
                </a:cubicBezTo>
                <a:cubicBezTo>
                  <a:pt x="52" y="117"/>
                  <a:pt x="52" y="117"/>
                  <a:pt x="51" y="117"/>
                </a:cubicBezTo>
                <a:cubicBezTo>
                  <a:pt x="50" y="117"/>
                  <a:pt x="50" y="118"/>
                  <a:pt x="50" y="118"/>
                </a:cubicBezTo>
                <a:cubicBezTo>
                  <a:pt x="49" y="118"/>
                  <a:pt x="48" y="119"/>
                  <a:pt x="48" y="119"/>
                </a:cubicBezTo>
                <a:cubicBezTo>
                  <a:pt x="48" y="119"/>
                  <a:pt x="47" y="118"/>
                  <a:pt x="47" y="119"/>
                </a:cubicBezTo>
                <a:cubicBezTo>
                  <a:pt x="47" y="120"/>
                  <a:pt x="47" y="120"/>
                  <a:pt x="46" y="120"/>
                </a:cubicBezTo>
                <a:cubicBezTo>
                  <a:pt x="46" y="120"/>
                  <a:pt x="45" y="121"/>
                  <a:pt x="44" y="121"/>
                </a:cubicBezTo>
                <a:cubicBezTo>
                  <a:pt x="44" y="122"/>
                  <a:pt x="44" y="122"/>
                  <a:pt x="43" y="123"/>
                </a:cubicBezTo>
                <a:cubicBezTo>
                  <a:pt x="42" y="123"/>
                  <a:pt x="42" y="123"/>
                  <a:pt x="41" y="124"/>
                </a:cubicBezTo>
                <a:cubicBezTo>
                  <a:pt x="41" y="124"/>
                  <a:pt x="40" y="125"/>
                  <a:pt x="40" y="125"/>
                </a:cubicBezTo>
                <a:cubicBezTo>
                  <a:pt x="39" y="126"/>
                  <a:pt x="37" y="127"/>
                  <a:pt x="36" y="127"/>
                </a:cubicBezTo>
                <a:cubicBezTo>
                  <a:pt x="35" y="128"/>
                  <a:pt x="34" y="128"/>
                  <a:pt x="34" y="128"/>
                </a:cubicBezTo>
                <a:cubicBezTo>
                  <a:pt x="33" y="128"/>
                  <a:pt x="33" y="129"/>
                  <a:pt x="32" y="129"/>
                </a:cubicBezTo>
                <a:cubicBezTo>
                  <a:pt x="31" y="129"/>
                  <a:pt x="31" y="129"/>
                  <a:pt x="31" y="130"/>
                </a:cubicBezTo>
                <a:cubicBezTo>
                  <a:pt x="30" y="130"/>
                  <a:pt x="30" y="131"/>
                  <a:pt x="30" y="131"/>
                </a:cubicBezTo>
                <a:cubicBezTo>
                  <a:pt x="30" y="131"/>
                  <a:pt x="30" y="131"/>
                  <a:pt x="29" y="131"/>
                </a:cubicBezTo>
                <a:cubicBezTo>
                  <a:pt x="29" y="131"/>
                  <a:pt x="29" y="133"/>
                  <a:pt x="29" y="133"/>
                </a:cubicBezTo>
                <a:cubicBezTo>
                  <a:pt x="29" y="133"/>
                  <a:pt x="28" y="134"/>
                  <a:pt x="28" y="134"/>
                </a:cubicBezTo>
                <a:cubicBezTo>
                  <a:pt x="28" y="135"/>
                  <a:pt x="27" y="137"/>
                  <a:pt x="27" y="136"/>
                </a:cubicBezTo>
                <a:cubicBezTo>
                  <a:pt x="27" y="136"/>
                  <a:pt x="27" y="136"/>
                  <a:pt x="26" y="136"/>
                </a:cubicBezTo>
                <a:cubicBezTo>
                  <a:pt x="26" y="136"/>
                  <a:pt x="26" y="137"/>
                  <a:pt x="25" y="137"/>
                </a:cubicBezTo>
                <a:cubicBezTo>
                  <a:pt x="24" y="137"/>
                  <a:pt x="26" y="135"/>
                  <a:pt x="26" y="134"/>
                </a:cubicBezTo>
                <a:cubicBezTo>
                  <a:pt x="25" y="134"/>
                  <a:pt x="25" y="135"/>
                  <a:pt x="25" y="135"/>
                </a:cubicBezTo>
                <a:cubicBezTo>
                  <a:pt x="25" y="134"/>
                  <a:pt x="25" y="133"/>
                  <a:pt x="25" y="132"/>
                </a:cubicBezTo>
                <a:cubicBezTo>
                  <a:pt x="26" y="132"/>
                  <a:pt x="26" y="131"/>
                  <a:pt x="26" y="130"/>
                </a:cubicBezTo>
                <a:cubicBezTo>
                  <a:pt x="26" y="130"/>
                  <a:pt x="27" y="129"/>
                  <a:pt x="26" y="129"/>
                </a:cubicBezTo>
                <a:cubicBezTo>
                  <a:pt x="26" y="129"/>
                  <a:pt x="25" y="129"/>
                  <a:pt x="25" y="129"/>
                </a:cubicBezTo>
                <a:cubicBezTo>
                  <a:pt x="24" y="131"/>
                  <a:pt x="23" y="132"/>
                  <a:pt x="23" y="134"/>
                </a:cubicBezTo>
                <a:cubicBezTo>
                  <a:pt x="22" y="135"/>
                  <a:pt x="22" y="135"/>
                  <a:pt x="21" y="136"/>
                </a:cubicBezTo>
                <a:cubicBezTo>
                  <a:pt x="21" y="136"/>
                  <a:pt x="21" y="137"/>
                  <a:pt x="20" y="137"/>
                </a:cubicBezTo>
                <a:cubicBezTo>
                  <a:pt x="20" y="138"/>
                  <a:pt x="20" y="139"/>
                  <a:pt x="20" y="139"/>
                </a:cubicBezTo>
                <a:cubicBezTo>
                  <a:pt x="20" y="139"/>
                  <a:pt x="21" y="139"/>
                  <a:pt x="21" y="139"/>
                </a:cubicBezTo>
                <a:cubicBezTo>
                  <a:pt x="21" y="140"/>
                  <a:pt x="21" y="140"/>
                  <a:pt x="21" y="140"/>
                </a:cubicBezTo>
                <a:cubicBezTo>
                  <a:pt x="21" y="141"/>
                  <a:pt x="21" y="142"/>
                  <a:pt x="21" y="143"/>
                </a:cubicBezTo>
                <a:cubicBezTo>
                  <a:pt x="21" y="143"/>
                  <a:pt x="20" y="143"/>
                  <a:pt x="20" y="144"/>
                </a:cubicBezTo>
                <a:cubicBezTo>
                  <a:pt x="20" y="145"/>
                  <a:pt x="20" y="147"/>
                  <a:pt x="19" y="148"/>
                </a:cubicBezTo>
                <a:cubicBezTo>
                  <a:pt x="19" y="149"/>
                  <a:pt x="18" y="149"/>
                  <a:pt x="18" y="149"/>
                </a:cubicBezTo>
                <a:cubicBezTo>
                  <a:pt x="17" y="150"/>
                  <a:pt x="17" y="150"/>
                  <a:pt x="17" y="150"/>
                </a:cubicBezTo>
                <a:cubicBezTo>
                  <a:pt x="17" y="151"/>
                  <a:pt x="17" y="151"/>
                  <a:pt x="16" y="151"/>
                </a:cubicBezTo>
                <a:cubicBezTo>
                  <a:pt x="16" y="152"/>
                  <a:pt x="16" y="152"/>
                  <a:pt x="16" y="152"/>
                </a:cubicBezTo>
                <a:cubicBezTo>
                  <a:pt x="16" y="153"/>
                  <a:pt x="16" y="153"/>
                  <a:pt x="15" y="154"/>
                </a:cubicBezTo>
                <a:cubicBezTo>
                  <a:pt x="15" y="154"/>
                  <a:pt x="15" y="155"/>
                  <a:pt x="15" y="155"/>
                </a:cubicBezTo>
                <a:cubicBezTo>
                  <a:pt x="15" y="156"/>
                  <a:pt x="14" y="156"/>
                  <a:pt x="14" y="157"/>
                </a:cubicBezTo>
                <a:cubicBezTo>
                  <a:pt x="14" y="158"/>
                  <a:pt x="14" y="159"/>
                  <a:pt x="15" y="159"/>
                </a:cubicBezTo>
                <a:cubicBezTo>
                  <a:pt x="15" y="160"/>
                  <a:pt x="16" y="160"/>
                  <a:pt x="16" y="161"/>
                </a:cubicBezTo>
                <a:cubicBezTo>
                  <a:pt x="16" y="162"/>
                  <a:pt x="15" y="162"/>
                  <a:pt x="16" y="163"/>
                </a:cubicBezTo>
                <a:cubicBezTo>
                  <a:pt x="16" y="163"/>
                  <a:pt x="16" y="163"/>
                  <a:pt x="16" y="164"/>
                </a:cubicBezTo>
                <a:cubicBezTo>
                  <a:pt x="15" y="164"/>
                  <a:pt x="16" y="165"/>
                  <a:pt x="16" y="165"/>
                </a:cubicBezTo>
                <a:cubicBezTo>
                  <a:pt x="17" y="166"/>
                  <a:pt x="17" y="166"/>
                  <a:pt x="17" y="167"/>
                </a:cubicBezTo>
                <a:cubicBezTo>
                  <a:pt x="17" y="168"/>
                  <a:pt x="17" y="170"/>
                  <a:pt x="18" y="171"/>
                </a:cubicBezTo>
                <a:cubicBezTo>
                  <a:pt x="18" y="172"/>
                  <a:pt x="18" y="172"/>
                  <a:pt x="19" y="173"/>
                </a:cubicBezTo>
                <a:cubicBezTo>
                  <a:pt x="19" y="173"/>
                  <a:pt x="19" y="173"/>
                  <a:pt x="19" y="174"/>
                </a:cubicBezTo>
                <a:cubicBezTo>
                  <a:pt x="19" y="174"/>
                  <a:pt x="19" y="174"/>
                  <a:pt x="19" y="175"/>
                </a:cubicBezTo>
                <a:cubicBezTo>
                  <a:pt x="19" y="175"/>
                  <a:pt x="18" y="175"/>
                  <a:pt x="18" y="175"/>
                </a:cubicBezTo>
                <a:cubicBezTo>
                  <a:pt x="19" y="175"/>
                  <a:pt x="18" y="177"/>
                  <a:pt x="18" y="177"/>
                </a:cubicBezTo>
                <a:cubicBezTo>
                  <a:pt x="18" y="178"/>
                  <a:pt x="18" y="178"/>
                  <a:pt x="18" y="179"/>
                </a:cubicBezTo>
                <a:cubicBezTo>
                  <a:pt x="17" y="179"/>
                  <a:pt x="17" y="180"/>
                  <a:pt x="16" y="180"/>
                </a:cubicBezTo>
                <a:cubicBezTo>
                  <a:pt x="16" y="180"/>
                  <a:pt x="15" y="178"/>
                  <a:pt x="15" y="177"/>
                </a:cubicBezTo>
                <a:cubicBezTo>
                  <a:pt x="15" y="177"/>
                  <a:pt x="16" y="175"/>
                  <a:pt x="15" y="174"/>
                </a:cubicBezTo>
                <a:cubicBezTo>
                  <a:pt x="15" y="175"/>
                  <a:pt x="15" y="177"/>
                  <a:pt x="14" y="177"/>
                </a:cubicBezTo>
                <a:cubicBezTo>
                  <a:pt x="13" y="178"/>
                  <a:pt x="13" y="176"/>
                  <a:pt x="13" y="176"/>
                </a:cubicBezTo>
                <a:cubicBezTo>
                  <a:pt x="14" y="175"/>
                  <a:pt x="14" y="174"/>
                  <a:pt x="14" y="174"/>
                </a:cubicBezTo>
                <a:cubicBezTo>
                  <a:pt x="14" y="173"/>
                  <a:pt x="14" y="173"/>
                  <a:pt x="14" y="172"/>
                </a:cubicBezTo>
                <a:cubicBezTo>
                  <a:pt x="13" y="172"/>
                  <a:pt x="13" y="171"/>
                  <a:pt x="13" y="171"/>
                </a:cubicBezTo>
                <a:cubicBezTo>
                  <a:pt x="12" y="170"/>
                  <a:pt x="13" y="170"/>
                  <a:pt x="13" y="170"/>
                </a:cubicBezTo>
                <a:cubicBezTo>
                  <a:pt x="13" y="170"/>
                  <a:pt x="12" y="170"/>
                  <a:pt x="12" y="170"/>
                </a:cubicBezTo>
                <a:cubicBezTo>
                  <a:pt x="12" y="171"/>
                  <a:pt x="11" y="172"/>
                  <a:pt x="12" y="172"/>
                </a:cubicBezTo>
                <a:cubicBezTo>
                  <a:pt x="12" y="173"/>
                  <a:pt x="12" y="175"/>
                  <a:pt x="12" y="176"/>
                </a:cubicBezTo>
                <a:cubicBezTo>
                  <a:pt x="12" y="176"/>
                  <a:pt x="13" y="177"/>
                  <a:pt x="13" y="177"/>
                </a:cubicBezTo>
                <a:cubicBezTo>
                  <a:pt x="14" y="178"/>
                  <a:pt x="14" y="178"/>
                  <a:pt x="14" y="179"/>
                </a:cubicBezTo>
                <a:cubicBezTo>
                  <a:pt x="14" y="180"/>
                  <a:pt x="14" y="181"/>
                  <a:pt x="13" y="182"/>
                </a:cubicBezTo>
                <a:cubicBezTo>
                  <a:pt x="13" y="182"/>
                  <a:pt x="13" y="181"/>
                  <a:pt x="13" y="181"/>
                </a:cubicBezTo>
                <a:cubicBezTo>
                  <a:pt x="13" y="182"/>
                  <a:pt x="12" y="182"/>
                  <a:pt x="12" y="182"/>
                </a:cubicBezTo>
                <a:cubicBezTo>
                  <a:pt x="12" y="182"/>
                  <a:pt x="12" y="183"/>
                  <a:pt x="12" y="182"/>
                </a:cubicBezTo>
                <a:cubicBezTo>
                  <a:pt x="12" y="182"/>
                  <a:pt x="12" y="180"/>
                  <a:pt x="12" y="180"/>
                </a:cubicBezTo>
                <a:cubicBezTo>
                  <a:pt x="11" y="180"/>
                  <a:pt x="11" y="182"/>
                  <a:pt x="11" y="182"/>
                </a:cubicBezTo>
                <a:cubicBezTo>
                  <a:pt x="11" y="182"/>
                  <a:pt x="11" y="179"/>
                  <a:pt x="11" y="178"/>
                </a:cubicBezTo>
                <a:cubicBezTo>
                  <a:pt x="11" y="177"/>
                  <a:pt x="11" y="179"/>
                  <a:pt x="11" y="179"/>
                </a:cubicBezTo>
                <a:cubicBezTo>
                  <a:pt x="11" y="179"/>
                  <a:pt x="11" y="178"/>
                  <a:pt x="11" y="178"/>
                </a:cubicBezTo>
                <a:cubicBezTo>
                  <a:pt x="11" y="178"/>
                  <a:pt x="11" y="176"/>
                  <a:pt x="10" y="177"/>
                </a:cubicBezTo>
                <a:cubicBezTo>
                  <a:pt x="10" y="176"/>
                  <a:pt x="11" y="176"/>
                  <a:pt x="10" y="175"/>
                </a:cubicBezTo>
                <a:cubicBezTo>
                  <a:pt x="10" y="176"/>
                  <a:pt x="10" y="177"/>
                  <a:pt x="10" y="177"/>
                </a:cubicBezTo>
                <a:cubicBezTo>
                  <a:pt x="10" y="178"/>
                  <a:pt x="10" y="179"/>
                  <a:pt x="10" y="179"/>
                </a:cubicBezTo>
                <a:cubicBezTo>
                  <a:pt x="9" y="179"/>
                  <a:pt x="9" y="178"/>
                  <a:pt x="9" y="178"/>
                </a:cubicBezTo>
                <a:cubicBezTo>
                  <a:pt x="9" y="178"/>
                  <a:pt x="10" y="177"/>
                  <a:pt x="10" y="177"/>
                </a:cubicBezTo>
                <a:cubicBezTo>
                  <a:pt x="10" y="176"/>
                  <a:pt x="10" y="175"/>
                  <a:pt x="10" y="175"/>
                </a:cubicBezTo>
                <a:cubicBezTo>
                  <a:pt x="10" y="175"/>
                  <a:pt x="9" y="177"/>
                  <a:pt x="9" y="178"/>
                </a:cubicBezTo>
                <a:cubicBezTo>
                  <a:pt x="9" y="177"/>
                  <a:pt x="9" y="177"/>
                  <a:pt x="8" y="177"/>
                </a:cubicBezTo>
                <a:cubicBezTo>
                  <a:pt x="8" y="177"/>
                  <a:pt x="8" y="177"/>
                  <a:pt x="9" y="178"/>
                </a:cubicBezTo>
                <a:cubicBezTo>
                  <a:pt x="9" y="178"/>
                  <a:pt x="9" y="178"/>
                  <a:pt x="9" y="179"/>
                </a:cubicBezTo>
                <a:cubicBezTo>
                  <a:pt x="9" y="180"/>
                  <a:pt x="10" y="181"/>
                  <a:pt x="10" y="181"/>
                </a:cubicBezTo>
                <a:cubicBezTo>
                  <a:pt x="11" y="183"/>
                  <a:pt x="12" y="185"/>
                  <a:pt x="13" y="187"/>
                </a:cubicBezTo>
                <a:cubicBezTo>
                  <a:pt x="13" y="188"/>
                  <a:pt x="14" y="190"/>
                  <a:pt x="14" y="192"/>
                </a:cubicBezTo>
                <a:cubicBezTo>
                  <a:pt x="14" y="193"/>
                  <a:pt x="14" y="194"/>
                  <a:pt x="13" y="194"/>
                </a:cubicBezTo>
                <a:cubicBezTo>
                  <a:pt x="13" y="195"/>
                  <a:pt x="13" y="196"/>
                  <a:pt x="13" y="197"/>
                </a:cubicBezTo>
                <a:cubicBezTo>
                  <a:pt x="13" y="198"/>
                  <a:pt x="14" y="199"/>
                  <a:pt x="14" y="201"/>
                </a:cubicBezTo>
                <a:cubicBezTo>
                  <a:pt x="14" y="202"/>
                  <a:pt x="15" y="202"/>
                  <a:pt x="15" y="203"/>
                </a:cubicBezTo>
                <a:cubicBezTo>
                  <a:pt x="15" y="204"/>
                  <a:pt x="15" y="205"/>
                  <a:pt x="15" y="205"/>
                </a:cubicBezTo>
                <a:cubicBezTo>
                  <a:pt x="14" y="207"/>
                  <a:pt x="15" y="208"/>
                  <a:pt x="15" y="209"/>
                </a:cubicBezTo>
                <a:cubicBezTo>
                  <a:pt x="15" y="211"/>
                  <a:pt x="15" y="213"/>
                  <a:pt x="15" y="214"/>
                </a:cubicBezTo>
                <a:cubicBezTo>
                  <a:pt x="14" y="215"/>
                  <a:pt x="14" y="216"/>
                  <a:pt x="14" y="217"/>
                </a:cubicBezTo>
                <a:cubicBezTo>
                  <a:pt x="14" y="218"/>
                  <a:pt x="14" y="219"/>
                  <a:pt x="14" y="220"/>
                </a:cubicBezTo>
                <a:cubicBezTo>
                  <a:pt x="14" y="220"/>
                  <a:pt x="14" y="220"/>
                  <a:pt x="14" y="220"/>
                </a:cubicBezTo>
                <a:cubicBezTo>
                  <a:pt x="14" y="221"/>
                  <a:pt x="14" y="221"/>
                  <a:pt x="14" y="221"/>
                </a:cubicBezTo>
                <a:cubicBezTo>
                  <a:pt x="14" y="222"/>
                  <a:pt x="14" y="222"/>
                  <a:pt x="14" y="222"/>
                </a:cubicBezTo>
                <a:cubicBezTo>
                  <a:pt x="14" y="222"/>
                  <a:pt x="14" y="223"/>
                  <a:pt x="14" y="223"/>
                </a:cubicBezTo>
                <a:cubicBezTo>
                  <a:pt x="14" y="224"/>
                  <a:pt x="14" y="225"/>
                  <a:pt x="14" y="226"/>
                </a:cubicBezTo>
                <a:cubicBezTo>
                  <a:pt x="14" y="227"/>
                  <a:pt x="14" y="228"/>
                  <a:pt x="14" y="228"/>
                </a:cubicBezTo>
                <a:cubicBezTo>
                  <a:pt x="15" y="230"/>
                  <a:pt x="15" y="231"/>
                  <a:pt x="15" y="233"/>
                </a:cubicBezTo>
                <a:cubicBezTo>
                  <a:pt x="15" y="235"/>
                  <a:pt x="16" y="237"/>
                  <a:pt x="16" y="238"/>
                </a:cubicBezTo>
                <a:cubicBezTo>
                  <a:pt x="16" y="239"/>
                  <a:pt x="15" y="240"/>
                  <a:pt x="15" y="241"/>
                </a:cubicBezTo>
                <a:cubicBezTo>
                  <a:pt x="15" y="241"/>
                  <a:pt x="15" y="242"/>
                  <a:pt x="15" y="243"/>
                </a:cubicBezTo>
                <a:cubicBezTo>
                  <a:pt x="14" y="244"/>
                  <a:pt x="14" y="244"/>
                  <a:pt x="14" y="244"/>
                </a:cubicBezTo>
                <a:cubicBezTo>
                  <a:pt x="14" y="244"/>
                  <a:pt x="14" y="244"/>
                  <a:pt x="14" y="244"/>
                </a:cubicBezTo>
                <a:cubicBezTo>
                  <a:pt x="14" y="245"/>
                  <a:pt x="14" y="245"/>
                  <a:pt x="14" y="245"/>
                </a:cubicBezTo>
                <a:cubicBezTo>
                  <a:pt x="14" y="246"/>
                  <a:pt x="14" y="246"/>
                  <a:pt x="13" y="247"/>
                </a:cubicBezTo>
                <a:cubicBezTo>
                  <a:pt x="13" y="247"/>
                  <a:pt x="13" y="247"/>
                  <a:pt x="13" y="248"/>
                </a:cubicBezTo>
                <a:cubicBezTo>
                  <a:pt x="13" y="249"/>
                  <a:pt x="12" y="247"/>
                  <a:pt x="12" y="249"/>
                </a:cubicBezTo>
                <a:cubicBezTo>
                  <a:pt x="12" y="249"/>
                  <a:pt x="12" y="250"/>
                  <a:pt x="12" y="249"/>
                </a:cubicBezTo>
                <a:cubicBezTo>
                  <a:pt x="12" y="249"/>
                  <a:pt x="12" y="248"/>
                  <a:pt x="12" y="248"/>
                </a:cubicBezTo>
                <a:cubicBezTo>
                  <a:pt x="12" y="247"/>
                  <a:pt x="13" y="247"/>
                  <a:pt x="13" y="247"/>
                </a:cubicBezTo>
                <a:cubicBezTo>
                  <a:pt x="13" y="247"/>
                  <a:pt x="12" y="248"/>
                  <a:pt x="12" y="248"/>
                </a:cubicBezTo>
                <a:cubicBezTo>
                  <a:pt x="11" y="248"/>
                  <a:pt x="11" y="249"/>
                  <a:pt x="11" y="250"/>
                </a:cubicBezTo>
                <a:cubicBezTo>
                  <a:pt x="11" y="252"/>
                  <a:pt x="11" y="253"/>
                  <a:pt x="10" y="255"/>
                </a:cubicBezTo>
                <a:cubicBezTo>
                  <a:pt x="10" y="255"/>
                  <a:pt x="10" y="254"/>
                  <a:pt x="11" y="254"/>
                </a:cubicBezTo>
                <a:cubicBezTo>
                  <a:pt x="11" y="255"/>
                  <a:pt x="10" y="255"/>
                  <a:pt x="9" y="256"/>
                </a:cubicBezTo>
                <a:cubicBezTo>
                  <a:pt x="9" y="256"/>
                  <a:pt x="8" y="257"/>
                  <a:pt x="8" y="258"/>
                </a:cubicBezTo>
                <a:cubicBezTo>
                  <a:pt x="7" y="258"/>
                  <a:pt x="5" y="260"/>
                  <a:pt x="4" y="259"/>
                </a:cubicBezTo>
                <a:cubicBezTo>
                  <a:pt x="3" y="258"/>
                  <a:pt x="4" y="258"/>
                  <a:pt x="3" y="258"/>
                </a:cubicBezTo>
                <a:cubicBezTo>
                  <a:pt x="3" y="258"/>
                  <a:pt x="3" y="259"/>
                  <a:pt x="2" y="259"/>
                </a:cubicBezTo>
                <a:cubicBezTo>
                  <a:pt x="2" y="260"/>
                  <a:pt x="2" y="260"/>
                  <a:pt x="2" y="261"/>
                </a:cubicBezTo>
                <a:cubicBezTo>
                  <a:pt x="1" y="262"/>
                  <a:pt x="1" y="263"/>
                  <a:pt x="1" y="264"/>
                </a:cubicBezTo>
                <a:cubicBezTo>
                  <a:pt x="1" y="264"/>
                  <a:pt x="0" y="266"/>
                  <a:pt x="1" y="266"/>
                </a:cubicBezTo>
                <a:cubicBezTo>
                  <a:pt x="1" y="267"/>
                  <a:pt x="1" y="266"/>
                  <a:pt x="2" y="266"/>
                </a:cubicBezTo>
                <a:cubicBezTo>
                  <a:pt x="4" y="266"/>
                  <a:pt x="5" y="268"/>
                  <a:pt x="6" y="269"/>
                </a:cubicBezTo>
                <a:cubicBezTo>
                  <a:pt x="6" y="270"/>
                  <a:pt x="7" y="271"/>
                  <a:pt x="7" y="271"/>
                </a:cubicBezTo>
                <a:cubicBezTo>
                  <a:pt x="7" y="272"/>
                  <a:pt x="7" y="272"/>
                  <a:pt x="8" y="272"/>
                </a:cubicBezTo>
                <a:cubicBezTo>
                  <a:pt x="9" y="272"/>
                  <a:pt x="9" y="273"/>
                  <a:pt x="10" y="273"/>
                </a:cubicBezTo>
                <a:cubicBezTo>
                  <a:pt x="10" y="273"/>
                  <a:pt x="11" y="273"/>
                  <a:pt x="11" y="272"/>
                </a:cubicBezTo>
                <a:cubicBezTo>
                  <a:pt x="11" y="273"/>
                  <a:pt x="12" y="273"/>
                  <a:pt x="11" y="273"/>
                </a:cubicBezTo>
                <a:cubicBezTo>
                  <a:pt x="10" y="273"/>
                  <a:pt x="11" y="274"/>
                  <a:pt x="11" y="274"/>
                </a:cubicBezTo>
                <a:cubicBezTo>
                  <a:pt x="12" y="274"/>
                  <a:pt x="13" y="274"/>
                  <a:pt x="14" y="274"/>
                </a:cubicBezTo>
                <a:cubicBezTo>
                  <a:pt x="14" y="274"/>
                  <a:pt x="14" y="275"/>
                  <a:pt x="15" y="274"/>
                </a:cubicBezTo>
                <a:cubicBezTo>
                  <a:pt x="15" y="274"/>
                  <a:pt x="15" y="274"/>
                  <a:pt x="15" y="274"/>
                </a:cubicBezTo>
                <a:cubicBezTo>
                  <a:pt x="16" y="274"/>
                  <a:pt x="16" y="274"/>
                  <a:pt x="17" y="274"/>
                </a:cubicBezTo>
                <a:cubicBezTo>
                  <a:pt x="17" y="274"/>
                  <a:pt x="17" y="274"/>
                  <a:pt x="18" y="274"/>
                </a:cubicBezTo>
                <a:cubicBezTo>
                  <a:pt x="18" y="274"/>
                  <a:pt x="19" y="274"/>
                  <a:pt x="19" y="274"/>
                </a:cubicBezTo>
                <a:cubicBezTo>
                  <a:pt x="19" y="274"/>
                  <a:pt x="21" y="275"/>
                  <a:pt x="21" y="275"/>
                </a:cubicBezTo>
                <a:cubicBezTo>
                  <a:pt x="21" y="275"/>
                  <a:pt x="22" y="274"/>
                  <a:pt x="23" y="275"/>
                </a:cubicBezTo>
                <a:cubicBezTo>
                  <a:pt x="23" y="275"/>
                  <a:pt x="23" y="275"/>
                  <a:pt x="24" y="275"/>
                </a:cubicBezTo>
                <a:cubicBezTo>
                  <a:pt x="24" y="275"/>
                  <a:pt x="24" y="275"/>
                  <a:pt x="24" y="275"/>
                </a:cubicBezTo>
                <a:cubicBezTo>
                  <a:pt x="24" y="275"/>
                  <a:pt x="24" y="275"/>
                  <a:pt x="24" y="275"/>
                </a:cubicBezTo>
                <a:cubicBezTo>
                  <a:pt x="24" y="275"/>
                  <a:pt x="24" y="274"/>
                  <a:pt x="24" y="274"/>
                </a:cubicBezTo>
                <a:cubicBezTo>
                  <a:pt x="24" y="275"/>
                  <a:pt x="24" y="275"/>
                  <a:pt x="24" y="275"/>
                </a:cubicBezTo>
                <a:cubicBezTo>
                  <a:pt x="23" y="274"/>
                  <a:pt x="24" y="274"/>
                  <a:pt x="24" y="274"/>
                </a:cubicBezTo>
                <a:cubicBezTo>
                  <a:pt x="24" y="274"/>
                  <a:pt x="25" y="274"/>
                  <a:pt x="26" y="274"/>
                </a:cubicBezTo>
                <a:cubicBezTo>
                  <a:pt x="26" y="274"/>
                  <a:pt x="26" y="274"/>
                  <a:pt x="27" y="274"/>
                </a:cubicBezTo>
                <a:cubicBezTo>
                  <a:pt x="27" y="274"/>
                  <a:pt x="26" y="274"/>
                  <a:pt x="27" y="274"/>
                </a:cubicBezTo>
                <a:cubicBezTo>
                  <a:pt x="27" y="273"/>
                  <a:pt x="27" y="273"/>
                  <a:pt x="28" y="273"/>
                </a:cubicBezTo>
                <a:cubicBezTo>
                  <a:pt x="28" y="273"/>
                  <a:pt x="29" y="273"/>
                  <a:pt x="29" y="273"/>
                </a:cubicBezTo>
                <a:cubicBezTo>
                  <a:pt x="29" y="272"/>
                  <a:pt x="29" y="272"/>
                  <a:pt x="30" y="271"/>
                </a:cubicBezTo>
                <a:cubicBezTo>
                  <a:pt x="31" y="270"/>
                  <a:pt x="32" y="270"/>
                  <a:pt x="33" y="270"/>
                </a:cubicBezTo>
                <a:cubicBezTo>
                  <a:pt x="33" y="269"/>
                  <a:pt x="34" y="269"/>
                  <a:pt x="34" y="269"/>
                </a:cubicBezTo>
                <a:cubicBezTo>
                  <a:pt x="34" y="269"/>
                  <a:pt x="35" y="269"/>
                  <a:pt x="35" y="268"/>
                </a:cubicBezTo>
                <a:cubicBezTo>
                  <a:pt x="35" y="268"/>
                  <a:pt x="35" y="268"/>
                  <a:pt x="35" y="268"/>
                </a:cubicBezTo>
                <a:cubicBezTo>
                  <a:pt x="35" y="268"/>
                  <a:pt x="36" y="268"/>
                  <a:pt x="37" y="268"/>
                </a:cubicBezTo>
                <a:cubicBezTo>
                  <a:pt x="37" y="268"/>
                  <a:pt x="37" y="268"/>
                  <a:pt x="38" y="268"/>
                </a:cubicBezTo>
                <a:cubicBezTo>
                  <a:pt x="38" y="269"/>
                  <a:pt x="38" y="268"/>
                  <a:pt x="38" y="269"/>
                </a:cubicBezTo>
                <a:cubicBezTo>
                  <a:pt x="38" y="269"/>
                  <a:pt x="39" y="268"/>
                  <a:pt x="39" y="268"/>
                </a:cubicBezTo>
                <a:cubicBezTo>
                  <a:pt x="39" y="268"/>
                  <a:pt x="39" y="269"/>
                  <a:pt x="40" y="268"/>
                </a:cubicBezTo>
                <a:cubicBezTo>
                  <a:pt x="40" y="268"/>
                  <a:pt x="40" y="267"/>
                  <a:pt x="40" y="267"/>
                </a:cubicBezTo>
                <a:cubicBezTo>
                  <a:pt x="41" y="267"/>
                  <a:pt x="41" y="267"/>
                  <a:pt x="41" y="267"/>
                </a:cubicBezTo>
                <a:cubicBezTo>
                  <a:pt x="41" y="267"/>
                  <a:pt x="41" y="267"/>
                  <a:pt x="42" y="267"/>
                </a:cubicBezTo>
                <a:cubicBezTo>
                  <a:pt x="40" y="266"/>
                  <a:pt x="43" y="264"/>
                  <a:pt x="44" y="264"/>
                </a:cubicBezTo>
                <a:cubicBezTo>
                  <a:pt x="44" y="264"/>
                  <a:pt x="45" y="263"/>
                  <a:pt x="46" y="263"/>
                </a:cubicBezTo>
                <a:cubicBezTo>
                  <a:pt x="46" y="262"/>
                  <a:pt x="46" y="263"/>
                  <a:pt x="47" y="262"/>
                </a:cubicBezTo>
                <a:cubicBezTo>
                  <a:pt x="47" y="262"/>
                  <a:pt x="47" y="262"/>
                  <a:pt x="48" y="262"/>
                </a:cubicBezTo>
                <a:cubicBezTo>
                  <a:pt x="48" y="262"/>
                  <a:pt x="48" y="262"/>
                  <a:pt x="49" y="262"/>
                </a:cubicBezTo>
                <a:cubicBezTo>
                  <a:pt x="49" y="262"/>
                  <a:pt x="50" y="262"/>
                  <a:pt x="50" y="262"/>
                </a:cubicBezTo>
                <a:cubicBezTo>
                  <a:pt x="51" y="262"/>
                  <a:pt x="51" y="263"/>
                  <a:pt x="52" y="262"/>
                </a:cubicBezTo>
                <a:cubicBezTo>
                  <a:pt x="52" y="262"/>
                  <a:pt x="53" y="262"/>
                  <a:pt x="53" y="262"/>
                </a:cubicBezTo>
                <a:cubicBezTo>
                  <a:pt x="53" y="262"/>
                  <a:pt x="54" y="262"/>
                  <a:pt x="54" y="262"/>
                </a:cubicBezTo>
                <a:cubicBezTo>
                  <a:pt x="55" y="262"/>
                  <a:pt x="56" y="262"/>
                  <a:pt x="57" y="261"/>
                </a:cubicBezTo>
                <a:cubicBezTo>
                  <a:pt x="57" y="261"/>
                  <a:pt x="58" y="261"/>
                  <a:pt x="58" y="261"/>
                </a:cubicBezTo>
                <a:cubicBezTo>
                  <a:pt x="58" y="262"/>
                  <a:pt x="58" y="261"/>
                  <a:pt x="59" y="261"/>
                </a:cubicBezTo>
                <a:cubicBezTo>
                  <a:pt x="60" y="261"/>
                  <a:pt x="60" y="261"/>
                  <a:pt x="61" y="261"/>
                </a:cubicBezTo>
                <a:cubicBezTo>
                  <a:pt x="61" y="261"/>
                  <a:pt x="62" y="261"/>
                  <a:pt x="62" y="261"/>
                </a:cubicBezTo>
                <a:cubicBezTo>
                  <a:pt x="62" y="261"/>
                  <a:pt x="62" y="261"/>
                  <a:pt x="63" y="262"/>
                </a:cubicBezTo>
                <a:cubicBezTo>
                  <a:pt x="63" y="262"/>
                  <a:pt x="63" y="261"/>
                  <a:pt x="64" y="262"/>
                </a:cubicBezTo>
                <a:cubicBezTo>
                  <a:pt x="65" y="262"/>
                  <a:pt x="66" y="260"/>
                  <a:pt x="67" y="262"/>
                </a:cubicBezTo>
                <a:cubicBezTo>
                  <a:pt x="67" y="262"/>
                  <a:pt x="66" y="263"/>
                  <a:pt x="66" y="263"/>
                </a:cubicBezTo>
                <a:cubicBezTo>
                  <a:pt x="67" y="263"/>
                  <a:pt x="68" y="263"/>
                  <a:pt x="68" y="263"/>
                </a:cubicBezTo>
                <a:cubicBezTo>
                  <a:pt x="68" y="263"/>
                  <a:pt x="68" y="262"/>
                  <a:pt x="68" y="262"/>
                </a:cubicBezTo>
                <a:cubicBezTo>
                  <a:pt x="69" y="262"/>
                  <a:pt x="69" y="262"/>
                  <a:pt x="70" y="262"/>
                </a:cubicBezTo>
                <a:cubicBezTo>
                  <a:pt x="71" y="262"/>
                  <a:pt x="71" y="262"/>
                  <a:pt x="72" y="262"/>
                </a:cubicBezTo>
                <a:cubicBezTo>
                  <a:pt x="72" y="262"/>
                  <a:pt x="73" y="261"/>
                  <a:pt x="73" y="262"/>
                </a:cubicBezTo>
                <a:cubicBezTo>
                  <a:pt x="74" y="262"/>
                  <a:pt x="74" y="262"/>
                  <a:pt x="74" y="262"/>
                </a:cubicBezTo>
                <a:cubicBezTo>
                  <a:pt x="75" y="262"/>
                  <a:pt x="76" y="261"/>
                  <a:pt x="76" y="262"/>
                </a:cubicBezTo>
                <a:cubicBezTo>
                  <a:pt x="76" y="262"/>
                  <a:pt x="76" y="263"/>
                  <a:pt x="76" y="263"/>
                </a:cubicBezTo>
                <a:cubicBezTo>
                  <a:pt x="77" y="263"/>
                  <a:pt x="77" y="263"/>
                  <a:pt x="78" y="262"/>
                </a:cubicBezTo>
                <a:cubicBezTo>
                  <a:pt x="78" y="262"/>
                  <a:pt x="79" y="261"/>
                  <a:pt x="79" y="262"/>
                </a:cubicBezTo>
                <a:cubicBezTo>
                  <a:pt x="80" y="262"/>
                  <a:pt x="80" y="262"/>
                  <a:pt x="80" y="262"/>
                </a:cubicBezTo>
                <a:cubicBezTo>
                  <a:pt x="81" y="261"/>
                  <a:pt x="82" y="261"/>
                  <a:pt x="82" y="261"/>
                </a:cubicBezTo>
                <a:cubicBezTo>
                  <a:pt x="83" y="261"/>
                  <a:pt x="83" y="260"/>
                  <a:pt x="83" y="259"/>
                </a:cubicBezTo>
                <a:cubicBezTo>
                  <a:pt x="84" y="259"/>
                  <a:pt x="84" y="259"/>
                  <a:pt x="85" y="258"/>
                </a:cubicBezTo>
                <a:cubicBezTo>
                  <a:pt x="86" y="258"/>
                  <a:pt x="86" y="257"/>
                  <a:pt x="86" y="256"/>
                </a:cubicBezTo>
                <a:cubicBezTo>
                  <a:pt x="87" y="255"/>
                  <a:pt x="88" y="254"/>
                  <a:pt x="89" y="253"/>
                </a:cubicBezTo>
                <a:cubicBezTo>
                  <a:pt x="91" y="252"/>
                  <a:pt x="92" y="251"/>
                  <a:pt x="94" y="251"/>
                </a:cubicBezTo>
                <a:cubicBezTo>
                  <a:pt x="96" y="251"/>
                  <a:pt x="97" y="250"/>
                  <a:pt x="99" y="249"/>
                </a:cubicBezTo>
                <a:cubicBezTo>
                  <a:pt x="99" y="249"/>
                  <a:pt x="100" y="248"/>
                  <a:pt x="101" y="248"/>
                </a:cubicBezTo>
                <a:cubicBezTo>
                  <a:pt x="101" y="248"/>
                  <a:pt x="102" y="248"/>
                  <a:pt x="103" y="247"/>
                </a:cubicBezTo>
                <a:cubicBezTo>
                  <a:pt x="105" y="246"/>
                  <a:pt x="106" y="245"/>
                  <a:pt x="108" y="244"/>
                </a:cubicBezTo>
                <a:cubicBezTo>
                  <a:pt x="109" y="244"/>
                  <a:pt x="110" y="244"/>
                  <a:pt x="110" y="244"/>
                </a:cubicBezTo>
                <a:cubicBezTo>
                  <a:pt x="111" y="244"/>
                  <a:pt x="111" y="244"/>
                  <a:pt x="112" y="244"/>
                </a:cubicBezTo>
                <a:cubicBezTo>
                  <a:pt x="113" y="244"/>
                  <a:pt x="114" y="244"/>
                  <a:pt x="114" y="244"/>
                </a:cubicBezTo>
                <a:cubicBezTo>
                  <a:pt x="115" y="244"/>
                  <a:pt x="117" y="244"/>
                  <a:pt x="118" y="244"/>
                </a:cubicBezTo>
                <a:cubicBezTo>
                  <a:pt x="119" y="244"/>
                  <a:pt x="121" y="244"/>
                  <a:pt x="123" y="243"/>
                </a:cubicBezTo>
                <a:cubicBezTo>
                  <a:pt x="124" y="243"/>
                  <a:pt x="125" y="243"/>
                  <a:pt x="126" y="242"/>
                </a:cubicBezTo>
                <a:cubicBezTo>
                  <a:pt x="127" y="242"/>
                  <a:pt x="128" y="242"/>
                  <a:pt x="129" y="242"/>
                </a:cubicBezTo>
                <a:cubicBezTo>
                  <a:pt x="130" y="241"/>
                  <a:pt x="132" y="241"/>
                  <a:pt x="134" y="240"/>
                </a:cubicBezTo>
                <a:cubicBezTo>
                  <a:pt x="136" y="239"/>
                  <a:pt x="137" y="238"/>
                  <a:pt x="139" y="238"/>
                </a:cubicBezTo>
                <a:cubicBezTo>
                  <a:pt x="141" y="237"/>
                  <a:pt x="143" y="237"/>
                  <a:pt x="145" y="237"/>
                </a:cubicBezTo>
                <a:cubicBezTo>
                  <a:pt x="147" y="237"/>
                  <a:pt x="149" y="236"/>
                  <a:pt x="151" y="236"/>
                </a:cubicBezTo>
                <a:cubicBezTo>
                  <a:pt x="153" y="236"/>
                  <a:pt x="155" y="237"/>
                  <a:pt x="156" y="237"/>
                </a:cubicBezTo>
                <a:cubicBezTo>
                  <a:pt x="157" y="236"/>
                  <a:pt x="158" y="236"/>
                  <a:pt x="159" y="236"/>
                </a:cubicBezTo>
                <a:cubicBezTo>
                  <a:pt x="160" y="235"/>
                  <a:pt x="160" y="235"/>
                  <a:pt x="161" y="235"/>
                </a:cubicBezTo>
                <a:cubicBezTo>
                  <a:pt x="162" y="236"/>
                  <a:pt x="163" y="237"/>
                  <a:pt x="164" y="238"/>
                </a:cubicBezTo>
                <a:cubicBezTo>
                  <a:pt x="165" y="238"/>
                  <a:pt x="166" y="239"/>
                  <a:pt x="166" y="240"/>
                </a:cubicBezTo>
                <a:cubicBezTo>
                  <a:pt x="167" y="240"/>
                  <a:pt x="167" y="241"/>
                  <a:pt x="167" y="241"/>
                </a:cubicBezTo>
                <a:cubicBezTo>
                  <a:pt x="168" y="241"/>
                  <a:pt x="170" y="241"/>
                  <a:pt x="170" y="241"/>
                </a:cubicBezTo>
                <a:cubicBezTo>
                  <a:pt x="170" y="240"/>
                  <a:pt x="172" y="240"/>
                  <a:pt x="173" y="241"/>
                </a:cubicBezTo>
                <a:cubicBezTo>
                  <a:pt x="174" y="241"/>
                  <a:pt x="174" y="241"/>
                  <a:pt x="174" y="242"/>
                </a:cubicBezTo>
                <a:cubicBezTo>
                  <a:pt x="175" y="242"/>
                  <a:pt x="175" y="242"/>
                  <a:pt x="175" y="242"/>
                </a:cubicBezTo>
                <a:cubicBezTo>
                  <a:pt x="175" y="243"/>
                  <a:pt x="175" y="243"/>
                  <a:pt x="176" y="243"/>
                </a:cubicBezTo>
                <a:cubicBezTo>
                  <a:pt x="176" y="243"/>
                  <a:pt x="176" y="243"/>
                  <a:pt x="176" y="243"/>
                </a:cubicBezTo>
                <a:cubicBezTo>
                  <a:pt x="177" y="243"/>
                  <a:pt x="178" y="243"/>
                  <a:pt x="179" y="243"/>
                </a:cubicBezTo>
                <a:cubicBezTo>
                  <a:pt x="179" y="243"/>
                  <a:pt x="179" y="243"/>
                  <a:pt x="179" y="243"/>
                </a:cubicBezTo>
                <a:cubicBezTo>
                  <a:pt x="178" y="242"/>
                  <a:pt x="179" y="242"/>
                  <a:pt x="179" y="242"/>
                </a:cubicBezTo>
                <a:cubicBezTo>
                  <a:pt x="179" y="242"/>
                  <a:pt x="179" y="243"/>
                  <a:pt x="180" y="243"/>
                </a:cubicBezTo>
                <a:cubicBezTo>
                  <a:pt x="180" y="243"/>
                  <a:pt x="180" y="242"/>
                  <a:pt x="181" y="242"/>
                </a:cubicBezTo>
                <a:cubicBezTo>
                  <a:pt x="181" y="242"/>
                  <a:pt x="181" y="242"/>
                  <a:pt x="181" y="242"/>
                </a:cubicBezTo>
                <a:cubicBezTo>
                  <a:pt x="180" y="243"/>
                  <a:pt x="181" y="243"/>
                  <a:pt x="181" y="243"/>
                </a:cubicBezTo>
                <a:cubicBezTo>
                  <a:pt x="181" y="243"/>
                  <a:pt x="181" y="243"/>
                  <a:pt x="181" y="243"/>
                </a:cubicBezTo>
                <a:cubicBezTo>
                  <a:pt x="181" y="243"/>
                  <a:pt x="181" y="243"/>
                  <a:pt x="181" y="243"/>
                </a:cubicBezTo>
                <a:cubicBezTo>
                  <a:pt x="181" y="244"/>
                  <a:pt x="182" y="244"/>
                  <a:pt x="182" y="244"/>
                </a:cubicBezTo>
                <a:cubicBezTo>
                  <a:pt x="182" y="244"/>
                  <a:pt x="182" y="245"/>
                  <a:pt x="182" y="246"/>
                </a:cubicBezTo>
                <a:cubicBezTo>
                  <a:pt x="182" y="246"/>
                  <a:pt x="181" y="245"/>
                  <a:pt x="181" y="246"/>
                </a:cubicBezTo>
                <a:cubicBezTo>
                  <a:pt x="181" y="246"/>
                  <a:pt x="181" y="247"/>
                  <a:pt x="181" y="247"/>
                </a:cubicBezTo>
                <a:cubicBezTo>
                  <a:pt x="182" y="247"/>
                  <a:pt x="182" y="247"/>
                  <a:pt x="182" y="246"/>
                </a:cubicBezTo>
                <a:cubicBezTo>
                  <a:pt x="183" y="246"/>
                  <a:pt x="183" y="246"/>
                  <a:pt x="183" y="246"/>
                </a:cubicBezTo>
                <a:cubicBezTo>
                  <a:pt x="184" y="246"/>
                  <a:pt x="184" y="247"/>
                  <a:pt x="184" y="247"/>
                </a:cubicBezTo>
                <a:cubicBezTo>
                  <a:pt x="184" y="248"/>
                  <a:pt x="184" y="248"/>
                  <a:pt x="184" y="249"/>
                </a:cubicBezTo>
                <a:cubicBezTo>
                  <a:pt x="184" y="249"/>
                  <a:pt x="183" y="250"/>
                  <a:pt x="183" y="250"/>
                </a:cubicBezTo>
                <a:cubicBezTo>
                  <a:pt x="183" y="250"/>
                  <a:pt x="183" y="249"/>
                  <a:pt x="183" y="249"/>
                </a:cubicBezTo>
                <a:cubicBezTo>
                  <a:pt x="183" y="249"/>
                  <a:pt x="182" y="249"/>
                  <a:pt x="182" y="249"/>
                </a:cubicBezTo>
                <a:cubicBezTo>
                  <a:pt x="182" y="250"/>
                  <a:pt x="182" y="250"/>
                  <a:pt x="182" y="251"/>
                </a:cubicBezTo>
                <a:cubicBezTo>
                  <a:pt x="182" y="251"/>
                  <a:pt x="181" y="251"/>
                  <a:pt x="181" y="251"/>
                </a:cubicBezTo>
                <a:cubicBezTo>
                  <a:pt x="181" y="252"/>
                  <a:pt x="182" y="251"/>
                  <a:pt x="182" y="252"/>
                </a:cubicBezTo>
                <a:cubicBezTo>
                  <a:pt x="182" y="252"/>
                  <a:pt x="181" y="252"/>
                  <a:pt x="182" y="252"/>
                </a:cubicBezTo>
                <a:cubicBezTo>
                  <a:pt x="182" y="253"/>
                  <a:pt x="182" y="253"/>
                  <a:pt x="182" y="254"/>
                </a:cubicBezTo>
                <a:cubicBezTo>
                  <a:pt x="182" y="254"/>
                  <a:pt x="182" y="254"/>
                  <a:pt x="183" y="254"/>
                </a:cubicBezTo>
                <a:cubicBezTo>
                  <a:pt x="183" y="254"/>
                  <a:pt x="183" y="254"/>
                  <a:pt x="184" y="254"/>
                </a:cubicBezTo>
                <a:cubicBezTo>
                  <a:pt x="184" y="254"/>
                  <a:pt x="184" y="254"/>
                  <a:pt x="185" y="254"/>
                </a:cubicBezTo>
                <a:cubicBezTo>
                  <a:pt x="185" y="254"/>
                  <a:pt x="185" y="255"/>
                  <a:pt x="185" y="255"/>
                </a:cubicBezTo>
                <a:cubicBezTo>
                  <a:pt x="186" y="254"/>
                  <a:pt x="184" y="253"/>
                  <a:pt x="185" y="254"/>
                </a:cubicBezTo>
                <a:cubicBezTo>
                  <a:pt x="186" y="254"/>
                  <a:pt x="186" y="254"/>
                  <a:pt x="186" y="255"/>
                </a:cubicBezTo>
                <a:cubicBezTo>
                  <a:pt x="186" y="255"/>
                  <a:pt x="185" y="254"/>
                  <a:pt x="185" y="255"/>
                </a:cubicBezTo>
                <a:cubicBezTo>
                  <a:pt x="186" y="255"/>
                  <a:pt x="186" y="257"/>
                  <a:pt x="186" y="257"/>
                </a:cubicBezTo>
                <a:cubicBezTo>
                  <a:pt x="186" y="258"/>
                  <a:pt x="185" y="259"/>
                  <a:pt x="186" y="259"/>
                </a:cubicBezTo>
                <a:cubicBezTo>
                  <a:pt x="186" y="260"/>
                  <a:pt x="186" y="261"/>
                  <a:pt x="187" y="261"/>
                </a:cubicBezTo>
                <a:cubicBezTo>
                  <a:pt x="187" y="262"/>
                  <a:pt x="187" y="262"/>
                  <a:pt x="187" y="263"/>
                </a:cubicBezTo>
                <a:cubicBezTo>
                  <a:pt x="187" y="263"/>
                  <a:pt x="187" y="264"/>
                  <a:pt x="187" y="264"/>
                </a:cubicBezTo>
                <a:cubicBezTo>
                  <a:pt x="187" y="264"/>
                  <a:pt x="186" y="264"/>
                  <a:pt x="187" y="265"/>
                </a:cubicBezTo>
                <a:cubicBezTo>
                  <a:pt x="187" y="265"/>
                  <a:pt x="187" y="265"/>
                  <a:pt x="187" y="265"/>
                </a:cubicBezTo>
                <a:cubicBezTo>
                  <a:pt x="187" y="266"/>
                  <a:pt x="187" y="266"/>
                  <a:pt x="187" y="267"/>
                </a:cubicBezTo>
                <a:cubicBezTo>
                  <a:pt x="186" y="267"/>
                  <a:pt x="187" y="268"/>
                  <a:pt x="186" y="268"/>
                </a:cubicBezTo>
                <a:cubicBezTo>
                  <a:pt x="186" y="269"/>
                  <a:pt x="186" y="269"/>
                  <a:pt x="186" y="269"/>
                </a:cubicBezTo>
                <a:cubicBezTo>
                  <a:pt x="186" y="269"/>
                  <a:pt x="186" y="269"/>
                  <a:pt x="186" y="269"/>
                </a:cubicBezTo>
                <a:cubicBezTo>
                  <a:pt x="186" y="269"/>
                  <a:pt x="187" y="270"/>
                  <a:pt x="187" y="270"/>
                </a:cubicBezTo>
                <a:cubicBezTo>
                  <a:pt x="187" y="270"/>
                  <a:pt x="186" y="270"/>
                  <a:pt x="185" y="270"/>
                </a:cubicBezTo>
                <a:cubicBezTo>
                  <a:pt x="185" y="269"/>
                  <a:pt x="186" y="269"/>
                  <a:pt x="186" y="269"/>
                </a:cubicBezTo>
                <a:cubicBezTo>
                  <a:pt x="185" y="268"/>
                  <a:pt x="185" y="269"/>
                  <a:pt x="185" y="268"/>
                </a:cubicBezTo>
                <a:cubicBezTo>
                  <a:pt x="185" y="268"/>
                  <a:pt x="185" y="268"/>
                  <a:pt x="185" y="268"/>
                </a:cubicBezTo>
                <a:cubicBezTo>
                  <a:pt x="184" y="268"/>
                  <a:pt x="184" y="269"/>
                  <a:pt x="183" y="269"/>
                </a:cubicBezTo>
                <a:cubicBezTo>
                  <a:pt x="184" y="269"/>
                  <a:pt x="184" y="269"/>
                  <a:pt x="185" y="270"/>
                </a:cubicBezTo>
                <a:cubicBezTo>
                  <a:pt x="185" y="270"/>
                  <a:pt x="185" y="270"/>
                  <a:pt x="185" y="271"/>
                </a:cubicBezTo>
                <a:cubicBezTo>
                  <a:pt x="185" y="271"/>
                  <a:pt x="186" y="271"/>
                  <a:pt x="186" y="271"/>
                </a:cubicBezTo>
                <a:cubicBezTo>
                  <a:pt x="186" y="271"/>
                  <a:pt x="186" y="272"/>
                  <a:pt x="186" y="272"/>
                </a:cubicBezTo>
                <a:cubicBezTo>
                  <a:pt x="187" y="273"/>
                  <a:pt x="186" y="274"/>
                  <a:pt x="187" y="273"/>
                </a:cubicBezTo>
                <a:cubicBezTo>
                  <a:pt x="187" y="273"/>
                  <a:pt x="188" y="272"/>
                  <a:pt x="189" y="273"/>
                </a:cubicBezTo>
                <a:cubicBezTo>
                  <a:pt x="189" y="273"/>
                  <a:pt x="189" y="273"/>
                  <a:pt x="189" y="273"/>
                </a:cubicBezTo>
                <a:cubicBezTo>
                  <a:pt x="189" y="273"/>
                  <a:pt x="189" y="273"/>
                  <a:pt x="189" y="274"/>
                </a:cubicBezTo>
                <a:cubicBezTo>
                  <a:pt x="189" y="274"/>
                  <a:pt x="189" y="274"/>
                  <a:pt x="189" y="274"/>
                </a:cubicBezTo>
                <a:cubicBezTo>
                  <a:pt x="190" y="274"/>
                  <a:pt x="190" y="272"/>
                  <a:pt x="190" y="272"/>
                </a:cubicBezTo>
                <a:cubicBezTo>
                  <a:pt x="190" y="272"/>
                  <a:pt x="191" y="272"/>
                  <a:pt x="191" y="272"/>
                </a:cubicBezTo>
                <a:cubicBezTo>
                  <a:pt x="191" y="272"/>
                  <a:pt x="191" y="271"/>
                  <a:pt x="191" y="271"/>
                </a:cubicBezTo>
                <a:cubicBezTo>
                  <a:pt x="191" y="271"/>
                  <a:pt x="191" y="271"/>
                  <a:pt x="190" y="272"/>
                </a:cubicBezTo>
                <a:cubicBezTo>
                  <a:pt x="190" y="272"/>
                  <a:pt x="190" y="271"/>
                  <a:pt x="190" y="271"/>
                </a:cubicBezTo>
                <a:cubicBezTo>
                  <a:pt x="190" y="272"/>
                  <a:pt x="189" y="272"/>
                  <a:pt x="189" y="272"/>
                </a:cubicBezTo>
                <a:cubicBezTo>
                  <a:pt x="189" y="272"/>
                  <a:pt x="190" y="272"/>
                  <a:pt x="190" y="271"/>
                </a:cubicBezTo>
                <a:cubicBezTo>
                  <a:pt x="190" y="271"/>
                  <a:pt x="190" y="270"/>
                  <a:pt x="190" y="270"/>
                </a:cubicBezTo>
                <a:cubicBezTo>
                  <a:pt x="191" y="270"/>
                  <a:pt x="191" y="270"/>
                  <a:pt x="191" y="270"/>
                </a:cubicBezTo>
                <a:cubicBezTo>
                  <a:pt x="191" y="269"/>
                  <a:pt x="191" y="269"/>
                  <a:pt x="191" y="269"/>
                </a:cubicBezTo>
                <a:cubicBezTo>
                  <a:pt x="192" y="269"/>
                  <a:pt x="192" y="268"/>
                  <a:pt x="193" y="268"/>
                </a:cubicBezTo>
                <a:cubicBezTo>
                  <a:pt x="193" y="268"/>
                  <a:pt x="192" y="269"/>
                  <a:pt x="193" y="269"/>
                </a:cubicBezTo>
                <a:cubicBezTo>
                  <a:pt x="193" y="269"/>
                  <a:pt x="193" y="268"/>
                  <a:pt x="193" y="267"/>
                </a:cubicBezTo>
                <a:cubicBezTo>
                  <a:pt x="194" y="267"/>
                  <a:pt x="194" y="267"/>
                  <a:pt x="195" y="267"/>
                </a:cubicBezTo>
                <a:cubicBezTo>
                  <a:pt x="196" y="266"/>
                  <a:pt x="196" y="264"/>
                  <a:pt x="197" y="264"/>
                </a:cubicBezTo>
                <a:cubicBezTo>
                  <a:pt x="198" y="263"/>
                  <a:pt x="199" y="263"/>
                  <a:pt x="199" y="263"/>
                </a:cubicBezTo>
                <a:cubicBezTo>
                  <a:pt x="200" y="262"/>
                  <a:pt x="200" y="262"/>
                  <a:pt x="201" y="262"/>
                </a:cubicBezTo>
                <a:cubicBezTo>
                  <a:pt x="201" y="261"/>
                  <a:pt x="202" y="261"/>
                  <a:pt x="203" y="261"/>
                </a:cubicBezTo>
                <a:cubicBezTo>
                  <a:pt x="203" y="261"/>
                  <a:pt x="204" y="261"/>
                  <a:pt x="204" y="260"/>
                </a:cubicBezTo>
                <a:cubicBezTo>
                  <a:pt x="204" y="260"/>
                  <a:pt x="203" y="261"/>
                  <a:pt x="203" y="260"/>
                </a:cubicBezTo>
                <a:cubicBezTo>
                  <a:pt x="203" y="260"/>
                  <a:pt x="204" y="259"/>
                  <a:pt x="204" y="259"/>
                </a:cubicBezTo>
                <a:cubicBezTo>
                  <a:pt x="205" y="260"/>
                  <a:pt x="204" y="260"/>
                  <a:pt x="205" y="260"/>
                </a:cubicBezTo>
                <a:cubicBezTo>
                  <a:pt x="205" y="260"/>
                  <a:pt x="206" y="260"/>
                  <a:pt x="206" y="260"/>
                </a:cubicBezTo>
                <a:cubicBezTo>
                  <a:pt x="207" y="259"/>
                  <a:pt x="208" y="258"/>
                  <a:pt x="208" y="258"/>
                </a:cubicBezTo>
                <a:cubicBezTo>
                  <a:pt x="209" y="257"/>
                  <a:pt x="210" y="256"/>
                  <a:pt x="211" y="255"/>
                </a:cubicBezTo>
                <a:cubicBezTo>
                  <a:pt x="211" y="254"/>
                  <a:pt x="211" y="254"/>
                  <a:pt x="211" y="254"/>
                </a:cubicBezTo>
                <a:cubicBezTo>
                  <a:pt x="211" y="253"/>
                  <a:pt x="212" y="253"/>
                  <a:pt x="213" y="253"/>
                </a:cubicBezTo>
                <a:cubicBezTo>
                  <a:pt x="213" y="252"/>
                  <a:pt x="214" y="251"/>
                  <a:pt x="214" y="252"/>
                </a:cubicBezTo>
                <a:cubicBezTo>
                  <a:pt x="215" y="252"/>
                  <a:pt x="215" y="251"/>
                  <a:pt x="215" y="251"/>
                </a:cubicBezTo>
                <a:cubicBezTo>
                  <a:pt x="216" y="250"/>
                  <a:pt x="216" y="250"/>
                  <a:pt x="216" y="249"/>
                </a:cubicBezTo>
                <a:cubicBezTo>
                  <a:pt x="216" y="249"/>
                  <a:pt x="216" y="249"/>
                  <a:pt x="216" y="248"/>
                </a:cubicBezTo>
                <a:cubicBezTo>
                  <a:pt x="216" y="248"/>
                  <a:pt x="216" y="247"/>
                  <a:pt x="217" y="247"/>
                </a:cubicBezTo>
                <a:cubicBezTo>
                  <a:pt x="217" y="247"/>
                  <a:pt x="217" y="248"/>
                  <a:pt x="217" y="249"/>
                </a:cubicBezTo>
                <a:cubicBezTo>
                  <a:pt x="217" y="249"/>
                  <a:pt x="217" y="249"/>
                  <a:pt x="217" y="249"/>
                </a:cubicBezTo>
                <a:cubicBezTo>
                  <a:pt x="217" y="250"/>
                  <a:pt x="217" y="250"/>
                  <a:pt x="217" y="250"/>
                </a:cubicBezTo>
                <a:cubicBezTo>
                  <a:pt x="217" y="251"/>
                  <a:pt x="217" y="252"/>
                  <a:pt x="217" y="252"/>
                </a:cubicBezTo>
                <a:cubicBezTo>
                  <a:pt x="217" y="252"/>
                  <a:pt x="217" y="253"/>
                  <a:pt x="217" y="253"/>
                </a:cubicBezTo>
                <a:cubicBezTo>
                  <a:pt x="216" y="254"/>
                  <a:pt x="216" y="254"/>
                  <a:pt x="215" y="254"/>
                </a:cubicBezTo>
                <a:cubicBezTo>
                  <a:pt x="215" y="254"/>
                  <a:pt x="214" y="255"/>
                  <a:pt x="214" y="255"/>
                </a:cubicBezTo>
                <a:cubicBezTo>
                  <a:pt x="214" y="256"/>
                  <a:pt x="214" y="256"/>
                  <a:pt x="214" y="256"/>
                </a:cubicBezTo>
                <a:cubicBezTo>
                  <a:pt x="214" y="256"/>
                  <a:pt x="214" y="257"/>
                  <a:pt x="214" y="257"/>
                </a:cubicBezTo>
                <a:cubicBezTo>
                  <a:pt x="214" y="259"/>
                  <a:pt x="212" y="259"/>
                  <a:pt x="211" y="260"/>
                </a:cubicBezTo>
                <a:cubicBezTo>
                  <a:pt x="211" y="260"/>
                  <a:pt x="210" y="261"/>
                  <a:pt x="210" y="261"/>
                </a:cubicBezTo>
                <a:cubicBezTo>
                  <a:pt x="209" y="262"/>
                  <a:pt x="209" y="262"/>
                  <a:pt x="209" y="262"/>
                </a:cubicBezTo>
                <a:cubicBezTo>
                  <a:pt x="208" y="263"/>
                  <a:pt x="208" y="263"/>
                  <a:pt x="208" y="264"/>
                </a:cubicBezTo>
                <a:cubicBezTo>
                  <a:pt x="208" y="264"/>
                  <a:pt x="207" y="264"/>
                  <a:pt x="207" y="265"/>
                </a:cubicBezTo>
                <a:cubicBezTo>
                  <a:pt x="207" y="265"/>
                  <a:pt x="207" y="266"/>
                  <a:pt x="206" y="267"/>
                </a:cubicBezTo>
                <a:cubicBezTo>
                  <a:pt x="206" y="267"/>
                  <a:pt x="205" y="267"/>
                  <a:pt x="205" y="268"/>
                </a:cubicBezTo>
                <a:cubicBezTo>
                  <a:pt x="206" y="267"/>
                  <a:pt x="205" y="270"/>
                  <a:pt x="205" y="270"/>
                </a:cubicBezTo>
                <a:cubicBezTo>
                  <a:pt x="204" y="271"/>
                  <a:pt x="204" y="272"/>
                  <a:pt x="204" y="273"/>
                </a:cubicBezTo>
                <a:cubicBezTo>
                  <a:pt x="203" y="273"/>
                  <a:pt x="203" y="273"/>
                  <a:pt x="202" y="273"/>
                </a:cubicBezTo>
                <a:cubicBezTo>
                  <a:pt x="202" y="273"/>
                  <a:pt x="202" y="273"/>
                  <a:pt x="201" y="273"/>
                </a:cubicBezTo>
                <a:cubicBezTo>
                  <a:pt x="201" y="273"/>
                  <a:pt x="201" y="273"/>
                  <a:pt x="200" y="273"/>
                </a:cubicBezTo>
                <a:cubicBezTo>
                  <a:pt x="200" y="273"/>
                  <a:pt x="200" y="273"/>
                  <a:pt x="200" y="273"/>
                </a:cubicBezTo>
                <a:cubicBezTo>
                  <a:pt x="199" y="273"/>
                  <a:pt x="199" y="273"/>
                  <a:pt x="199" y="273"/>
                </a:cubicBezTo>
                <a:cubicBezTo>
                  <a:pt x="199" y="274"/>
                  <a:pt x="198" y="274"/>
                  <a:pt x="198" y="274"/>
                </a:cubicBezTo>
                <a:cubicBezTo>
                  <a:pt x="198" y="274"/>
                  <a:pt x="198" y="275"/>
                  <a:pt x="198" y="275"/>
                </a:cubicBezTo>
                <a:cubicBezTo>
                  <a:pt x="198" y="275"/>
                  <a:pt x="197" y="275"/>
                  <a:pt x="197" y="276"/>
                </a:cubicBezTo>
                <a:cubicBezTo>
                  <a:pt x="197" y="276"/>
                  <a:pt x="196" y="277"/>
                  <a:pt x="196" y="277"/>
                </a:cubicBezTo>
                <a:cubicBezTo>
                  <a:pt x="196" y="278"/>
                  <a:pt x="197" y="277"/>
                  <a:pt x="197" y="277"/>
                </a:cubicBezTo>
                <a:cubicBezTo>
                  <a:pt x="198" y="276"/>
                  <a:pt x="198" y="276"/>
                  <a:pt x="199" y="277"/>
                </a:cubicBezTo>
                <a:cubicBezTo>
                  <a:pt x="199" y="277"/>
                  <a:pt x="199" y="276"/>
                  <a:pt x="200" y="276"/>
                </a:cubicBezTo>
                <a:cubicBezTo>
                  <a:pt x="200" y="276"/>
                  <a:pt x="201" y="276"/>
                  <a:pt x="201" y="276"/>
                </a:cubicBezTo>
                <a:cubicBezTo>
                  <a:pt x="203" y="275"/>
                  <a:pt x="203" y="276"/>
                  <a:pt x="204" y="276"/>
                </a:cubicBezTo>
                <a:cubicBezTo>
                  <a:pt x="205" y="276"/>
                  <a:pt x="206" y="274"/>
                  <a:pt x="206" y="273"/>
                </a:cubicBezTo>
                <a:cubicBezTo>
                  <a:pt x="207" y="272"/>
                  <a:pt x="208" y="271"/>
                  <a:pt x="209" y="270"/>
                </a:cubicBezTo>
                <a:cubicBezTo>
                  <a:pt x="209" y="269"/>
                  <a:pt x="209" y="268"/>
                  <a:pt x="210" y="267"/>
                </a:cubicBezTo>
                <a:cubicBezTo>
                  <a:pt x="211" y="267"/>
                  <a:pt x="211" y="267"/>
                  <a:pt x="211" y="266"/>
                </a:cubicBezTo>
                <a:cubicBezTo>
                  <a:pt x="211" y="266"/>
                  <a:pt x="211" y="266"/>
                  <a:pt x="211" y="266"/>
                </a:cubicBezTo>
                <a:cubicBezTo>
                  <a:pt x="212" y="265"/>
                  <a:pt x="212" y="265"/>
                  <a:pt x="212" y="265"/>
                </a:cubicBezTo>
                <a:cubicBezTo>
                  <a:pt x="213" y="264"/>
                  <a:pt x="213" y="265"/>
                  <a:pt x="213" y="266"/>
                </a:cubicBezTo>
                <a:cubicBezTo>
                  <a:pt x="213" y="266"/>
                  <a:pt x="213" y="266"/>
                  <a:pt x="213" y="266"/>
                </a:cubicBezTo>
                <a:cubicBezTo>
                  <a:pt x="213" y="266"/>
                  <a:pt x="213" y="267"/>
                  <a:pt x="213" y="267"/>
                </a:cubicBezTo>
                <a:cubicBezTo>
                  <a:pt x="213" y="268"/>
                  <a:pt x="213" y="268"/>
                  <a:pt x="213" y="269"/>
                </a:cubicBezTo>
                <a:cubicBezTo>
                  <a:pt x="213" y="269"/>
                  <a:pt x="213" y="269"/>
                  <a:pt x="213" y="270"/>
                </a:cubicBezTo>
                <a:cubicBezTo>
                  <a:pt x="213" y="270"/>
                  <a:pt x="214" y="270"/>
                  <a:pt x="214" y="271"/>
                </a:cubicBezTo>
                <a:cubicBezTo>
                  <a:pt x="214" y="271"/>
                  <a:pt x="214" y="271"/>
                  <a:pt x="214" y="272"/>
                </a:cubicBezTo>
                <a:cubicBezTo>
                  <a:pt x="214" y="271"/>
                  <a:pt x="213" y="273"/>
                  <a:pt x="213" y="273"/>
                </a:cubicBezTo>
                <a:cubicBezTo>
                  <a:pt x="213" y="274"/>
                  <a:pt x="212" y="274"/>
                  <a:pt x="212" y="275"/>
                </a:cubicBezTo>
                <a:cubicBezTo>
                  <a:pt x="211" y="276"/>
                  <a:pt x="211" y="277"/>
                  <a:pt x="210" y="278"/>
                </a:cubicBezTo>
                <a:cubicBezTo>
                  <a:pt x="209" y="278"/>
                  <a:pt x="209" y="279"/>
                  <a:pt x="208" y="279"/>
                </a:cubicBezTo>
                <a:cubicBezTo>
                  <a:pt x="208" y="279"/>
                  <a:pt x="207" y="280"/>
                  <a:pt x="207" y="280"/>
                </a:cubicBezTo>
                <a:cubicBezTo>
                  <a:pt x="206" y="280"/>
                  <a:pt x="205" y="281"/>
                  <a:pt x="206" y="281"/>
                </a:cubicBezTo>
                <a:cubicBezTo>
                  <a:pt x="207" y="281"/>
                  <a:pt x="208" y="281"/>
                  <a:pt x="209" y="281"/>
                </a:cubicBezTo>
                <a:cubicBezTo>
                  <a:pt x="210" y="281"/>
                  <a:pt x="211" y="280"/>
                  <a:pt x="212" y="280"/>
                </a:cubicBezTo>
                <a:cubicBezTo>
                  <a:pt x="212" y="280"/>
                  <a:pt x="213" y="280"/>
                  <a:pt x="213" y="280"/>
                </a:cubicBezTo>
                <a:cubicBezTo>
                  <a:pt x="213" y="280"/>
                  <a:pt x="214" y="280"/>
                  <a:pt x="214" y="280"/>
                </a:cubicBezTo>
                <a:cubicBezTo>
                  <a:pt x="214" y="280"/>
                  <a:pt x="213" y="280"/>
                  <a:pt x="213" y="279"/>
                </a:cubicBezTo>
                <a:cubicBezTo>
                  <a:pt x="213" y="279"/>
                  <a:pt x="213" y="279"/>
                  <a:pt x="213" y="279"/>
                </a:cubicBezTo>
                <a:cubicBezTo>
                  <a:pt x="214" y="279"/>
                  <a:pt x="214" y="280"/>
                  <a:pt x="215" y="280"/>
                </a:cubicBezTo>
                <a:cubicBezTo>
                  <a:pt x="215" y="279"/>
                  <a:pt x="214" y="279"/>
                  <a:pt x="214" y="279"/>
                </a:cubicBezTo>
                <a:cubicBezTo>
                  <a:pt x="214" y="278"/>
                  <a:pt x="217" y="278"/>
                  <a:pt x="217" y="278"/>
                </a:cubicBezTo>
                <a:cubicBezTo>
                  <a:pt x="217" y="277"/>
                  <a:pt x="218" y="277"/>
                  <a:pt x="218" y="278"/>
                </a:cubicBezTo>
                <a:cubicBezTo>
                  <a:pt x="218" y="278"/>
                  <a:pt x="218" y="278"/>
                  <a:pt x="218" y="278"/>
                </a:cubicBezTo>
                <a:cubicBezTo>
                  <a:pt x="218" y="278"/>
                  <a:pt x="218" y="278"/>
                  <a:pt x="218" y="279"/>
                </a:cubicBezTo>
                <a:cubicBezTo>
                  <a:pt x="218" y="279"/>
                  <a:pt x="218" y="279"/>
                  <a:pt x="218" y="279"/>
                </a:cubicBezTo>
                <a:cubicBezTo>
                  <a:pt x="218" y="280"/>
                  <a:pt x="217" y="279"/>
                  <a:pt x="217" y="279"/>
                </a:cubicBezTo>
                <a:cubicBezTo>
                  <a:pt x="216" y="279"/>
                  <a:pt x="217" y="280"/>
                  <a:pt x="217" y="280"/>
                </a:cubicBezTo>
                <a:cubicBezTo>
                  <a:pt x="218" y="281"/>
                  <a:pt x="215" y="282"/>
                  <a:pt x="216" y="281"/>
                </a:cubicBezTo>
                <a:cubicBezTo>
                  <a:pt x="216" y="280"/>
                  <a:pt x="217" y="280"/>
                  <a:pt x="216" y="280"/>
                </a:cubicBezTo>
                <a:cubicBezTo>
                  <a:pt x="215" y="279"/>
                  <a:pt x="215" y="280"/>
                  <a:pt x="215" y="280"/>
                </a:cubicBezTo>
                <a:cubicBezTo>
                  <a:pt x="214" y="280"/>
                  <a:pt x="215" y="281"/>
                  <a:pt x="215" y="281"/>
                </a:cubicBezTo>
                <a:cubicBezTo>
                  <a:pt x="216" y="282"/>
                  <a:pt x="219" y="285"/>
                  <a:pt x="217" y="287"/>
                </a:cubicBezTo>
                <a:cubicBezTo>
                  <a:pt x="217" y="286"/>
                  <a:pt x="217" y="285"/>
                  <a:pt x="216" y="283"/>
                </a:cubicBezTo>
                <a:cubicBezTo>
                  <a:pt x="216" y="283"/>
                  <a:pt x="215" y="282"/>
                  <a:pt x="215" y="282"/>
                </a:cubicBezTo>
                <a:cubicBezTo>
                  <a:pt x="215" y="281"/>
                  <a:pt x="214" y="281"/>
                  <a:pt x="214" y="280"/>
                </a:cubicBezTo>
                <a:cubicBezTo>
                  <a:pt x="214" y="280"/>
                  <a:pt x="214" y="280"/>
                  <a:pt x="214" y="281"/>
                </a:cubicBezTo>
                <a:cubicBezTo>
                  <a:pt x="214" y="281"/>
                  <a:pt x="215" y="282"/>
                  <a:pt x="215" y="282"/>
                </a:cubicBezTo>
                <a:cubicBezTo>
                  <a:pt x="216" y="283"/>
                  <a:pt x="216" y="284"/>
                  <a:pt x="217" y="285"/>
                </a:cubicBezTo>
                <a:cubicBezTo>
                  <a:pt x="217" y="287"/>
                  <a:pt x="217" y="291"/>
                  <a:pt x="216" y="293"/>
                </a:cubicBezTo>
                <a:cubicBezTo>
                  <a:pt x="216" y="294"/>
                  <a:pt x="215" y="294"/>
                  <a:pt x="215" y="295"/>
                </a:cubicBezTo>
                <a:cubicBezTo>
                  <a:pt x="214" y="295"/>
                  <a:pt x="214" y="295"/>
                  <a:pt x="214" y="295"/>
                </a:cubicBezTo>
                <a:cubicBezTo>
                  <a:pt x="213" y="296"/>
                  <a:pt x="214" y="297"/>
                  <a:pt x="213" y="297"/>
                </a:cubicBezTo>
                <a:cubicBezTo>
                  <a:pt x="213" y="298"/>
                  <a:pt x="213" y="297"/>
                  <a:pt x="213" y="298"/>
                </a:cubicBezTo>
                <a:cubicBezTo>
                  <a:pt x="213" y="299"/>
                  <a:pt x="213" y="299"/>
                  <a:pt x="213" y="300"/>
                </a:cubicBezTo>
                <a:cubicBezTo>
                  <a:pt x="213" y="300"/>
                  <a:pt x="213" y="301"/>
                  <a:pt x="214" y="301"/>
                </a:cubicBezTo>
                <a:cubicBezTo>
                  <a:pt x="214" y="301"/>
                  <a:pt x="214" y="301"/>
                  <a:pt x="214" y="301"/>
                </a:cubicBezTo>
                <a:cubicBezTo>
                  <a:pt x="215" y="301"/>
                  <a:pt x="214" y="302"/>
                  <a:pt x="214" y="302"/>
                </a:cubicBezTo>
                <a:cubicBezTo>
                  <a:pt x="214" y="303"/>
                  <a:pt x="215" y="303"/>
                  <a:pt x="215" y="304"/>
                </a:cubicBezTo>
                <a:cubicBezTo>
                  <a:pt x="215" y="305"/>
                  <a:pt x="215" y="306"/>
                  <a:pt x="215" y="306"/>
                </a:cubicBezTo>
                <a:cubicBezTo>
                  <a:pt x="216" y="307"/>
                  <a:pt x="216" y="307"/>
                  <a:pt x="217" y="307"/>
                </a:cubicBezTo>
                <a:cubicBezTo>
                  <a:pt x="217" y="308"/>
                  <a:pt x="218" y="307"/>
                  <a:pt x="219" y="307"/>
                </a:cubicBezTo>
                <a:cubicBezTo>
                  <a:pt x="220" y="307"/>
                  <a:pt x="220" y="308"/>
                  <a:pt x="221" y="309"/>
                </a:cubicBezTo>
                <a:cubicBezTo>
                  <a:pt x="221" y="309"/>
                  <a:pt x="222" y="310"/>
                  <a:pt x="222" y="310"/>
                </a:cubicBezTo>
                <a:cubicBezTo>
                  <a:pt x="222" y="311"/>
                  <a:pt x="221" y="311"/>
                  <a:pt x="221" y="311"/>
                </a:cubicBezTo>
                <a:cubicBezTo>
                  <a:pt x="221" y="311"/>
                  <a:pt x="222" y="311"/>
                  <a:pt x="222" y="311"/>
                </a:cubicBezTo>
                <a:cubicBezTo>
                  <a:pt x="223" y="311"/>
                  <a:pt x="222" y="312"/>
                  <a:pt x="222" y="312"/>
                </a:cubicBezTo>
                <a:cubicBezTo>
                  <a:pt x="223" y="312"/>
                  <a:pt x="223" y="311"/>
                  <a:pt x="223" y="311"/>
                </a:cubicBezTo>
                <a:cubicBezTo>
                  <a:pt x="223" y="311"/>
                  <a:pt x="223" y="311"/>
                  <a:pt x="223" y="311"/>
                </a:cubicBezTo>
                <a:cubicBezTo>
                  <a:pt x="224" y="311"/>
                  <a:pt x="223" y="311"/>
                  <a:pt x="224" y="310"/>
                </a:cubicBezTo>
                <a:cubicBezTo>
                  <a:pt x="224" y="310"/>
                  <a:pt x="226" y="310"/>
                  <a:pt x="226" y="310"/>
                </a:cubicBezTo>
                <a:cubicBezTo>
                  <a:pt x="228" y="310"/>
                  <a:pt x="228" y="311"/>
                  <a:pt x="229" y="311"/>
                </a:cubicBezTo>
                <a:cubicBezTo>
                  <a:pt x="229" y="311"/>
                  <a:pt x="230" y="311"/>
                  <a:pt x="230" y="311"/>
                </a:cubicBezTo>
                <a:cubicBezTo>
                  <a:pt x="231" y="311"/>
                  <a:pt x="231" y="311"/>
                  <a:pt x="231" y="311"/>
                </a:cubicBezTo>
                <a:cubicBezTo>
                  <a:pt x="231" y="311"/>
                  <a:pt x="232" y="313"/>
                  <a:pt x="233" y="313"/>
                </a:cubicBezTo>
                <a:cubicBezTo>
                  <a:pt x="233" y="314"/>
                  <a:pt x="234" y="313"/>
                  <a:pt x="235" y="314"/>
                </a:cubicBezTo>
                <a:cubicBezTo>
                  <a:pt x="235" y="314"/>
                  <a:pt x="235" y="315"/>
                  <a:pt x="236" y="315"/>
                </a:cubicBezTo>
                <a:cubicBezTo>
                  <a:pt x="236" y="315"/>
                  <a:pt x="237" y="315"/>
                  <a:pt x="237" y="315"/>
                </a:cubicBezTo>
                <a:cubicBezTo>
                  <a:pt x="237" y="315"/>
                  <a:pt x="238" y="316"/>
                  <a:pt x="238" y="316"/>
                </a:cubicBezTo>
                <a:cubicBezTo>
                  <a:pt x="238" y="316"/>
                  <a:pt x="239" y="316"/>
                  <a:pt x="239" y="316"/>
                </a:cubicBezTo>
                <a:cubicBezTo>
                  <a:pt x="240" y="315"/>
                  <a:pt x="240" y="315"/>
                  <a:pt x="241" y="315"/>
                </a:cubicBezTo>
                <a:cubicBezTo>
                  <a:pt x="242" y="314"/>
                  <a:pt x="242" y="314"/>
                  <a:pt x="243" y="314"/>
                </a:cubicBezTo>
                <a:cubicBezTo>
                  <a:pt x="244" y="313"/>
                  <a:pt x="245" y="312"/>
                  <a:pt x="246" y="311"/>
                </a:cubicBezTo>
                <a:cubicBezTo>
                  <a:pt x="247" y="311"/>
                  <a:pt x="248" y="310"/>
                  <a:pt x="250" y="310"/>
                </a:cubicBezTo>
                <a:cubicBezTo>
                  <a:pt x="250" y="310"/>
                  <a:pt x="251" y="310"/>
                  <a:pt x="251" y="310"/>
                </a:cubicBezTo>
                <a:cubicBezTo>
                  <a:pt x="252" y="310"/>
                  <a:pt x="253" y="308"/>
                  <a:pt x="252" y="308"/>
                </a:cubicBezTo>
                <a:cubicBezTo>
                  <a:pt x="252" y="308"/>
                  <a:pt x="249" y="309"/>
                  <a:pt x="249" y="308"/>
                </a:cubicBezTo>
                <a:cubicBezTo>
                  <a:pt x="250" y="308"/>
                  <a:pt x="250" y="308"/>
                  <a:pt x="250" y="308"/>
                </a:cubicBezTo>
                <a:cubicBezTo>
                  <a:pt x="251" y="308"/>
                  <a:pt x="251" y="308"/>
                  <a:pt x="252" y="307"/>
                </a:cubicBezTo>
                <a:cubicBezTo>
                  <a:pt x="253" y="307"/>
                  <a:pt x="254" y="307"/>
                  <a:pt x="255" y="306"/>
                </a:cubicBezTo>
                <a:cubicBezTo>
                  <a:pt x="255" y="306"/>
                  <a:pt x="256" y="306"/>
                  <a:pt x="256" y="306"/>
                </a:cubicBezTo>
                <a:cubicBezTo>
                  <a:pt x="256" y="305"/>
                  <a:pt x="256" y="306"/>
                  <a:pt x="256" y="306"/>
                </a:cubicBezTo>
                <a:cubicBezTo>
                  <a:pt x="256" y="306"/>
                  <a:pt x="256" y="307"/>
                  <a:pt x="256" y="307"/>
                </a:cubicBezTo>
                <a:cubicBezTo>
                  <a:pt x="256" y="307"/>
                  <a:pt x="257" y="307"/>
                  <a:pt x="257" y="307"/>
                </a:cubicBezTo>
                <a:cubicBezTo>
                  <a:pt x="257" y="308"/>
                  <a:pt x="256" y="308"/>
                  <a:pt x="256" y="309"/>
                </a:cubicBezTo>
                <a:cubicBezTo>
                  <a:pt x="256" y="309"/>
                  <a:pt x="255" y="309"/>
                  <a:pt x="255" y="310"/>
                </a:cubicBezTo>
                <a:cubicBezTo>
                  <a:pt x="254" y="310"/>
                  <a:pt x="254" y="311"/>
                  <a:pt x="253" y="311"/>
                </a:cubicBezTo>
                <a:cubicBezTo>
                  <a:pt x="253" y="311"/>
                  <a:pt x="252" y="311"/>
                  <a:pt x="252" y="311"/>
                </a:cubicBezTo>
                <a:cubicBezTo>
                  <a:pt x="252" y="311"/>
                  <a:pt x="252" y="310"/>
                  <a:pt x="251" y="310"/>
                </a:cubicBezTo>
                <a:cubicBezTo>
                  <a:pt x="252" y="311"/>
                  <a:pt x="252" y="312"/>
                  <a:pt x="252" y="312"/>
                </a:cubicBezTo>
                <a:cubicBezTo>
                  <a:pt x="253" y="313"/>
                  <a:pt x="254" y="312"/>
                  <a:pt x="254" y="312"/>
                </a:cubicBezTo>
                <a:cubicBezTo>
                  <a:pt x="255" y="311"/>
                  <a:pt x="256" y="312"/>
                  <a:pt x="256" y="311"/>
                </a:cubicBezTo>
                <a:cubicBezTo>
                  <a:pt x="256" y="310"/>
                  <a:pt x="257" y="310"/>
                  <a:pt x="257" y="310"/>
                </a:cubicBezTo>
                <a:cubicBezTo>
                  <a:pt x="257" y="309"/>
                  <a:pt x="258" y="309"/>
                  <a:pt x="259" y="309"/>
                </a:cubicBezTo>
                <a:cubicBezTo>
                  <a:pt x="259" y="310"/>
                  <a:pt x="259" y="310"/>
                  <a:pt x="259" y="311"/>
                </a:cubicBezTo>
                <a:cubicBezTo>
                  <a:pt x="259" y="312"/>
                  <a:pt x="258" y="311"/>
                  <a:pt x="257" y="311"/>
                </a:cubicBezTo>
                <a:cubicBezTo>
                  <a:pt x="257" y="312"/>
                  <a:pt x="257" y="313"/>
                  <a:pt x="256" y="313"/>
                </a:cubicBezTo>
                <a:cubicBezTo>
                  <a:pt x="257" y="313"/>
                  <a:pt x="257" y="313"/>
                  <a:pt x="257" y="314"/>
                </a:cubicBezTo>
                <a:cubicBezTo>
                  <a:pt x="257" y="314"/>
                  <a:pt x="258" y="314"/>
                  <a:pt x="258" y="314"/>
                </a:cubicBezTo>
                <a:cubicBezTo>
                  <a:pt x="259" y="314"/>
                  <a:pt x="260" y="314"/>
                  <a:pt x="260" y="314"/>
                </a:cubicBezTo>
                <a:cubicBezTo>
                  <a:pt x="260" y="315"/>
                  <a:pt x="259" y="314"/>
                  <a:pt x="259" y="314"/>
                </a:cubicBezTo>
                <a:cubicBezTo>
                  <a:pt x="259" y="315"/>
                  <a:pt x="259" y="318"/>
                  <a:pt x="260" y="317"/>
                </a:cubicBezTo>
                <a:cubicBezTo>
                  <a:pt x="260" y="316"/>
                  <a:pt x="261" y="316"/>
                  <a:pt x="261" y="316"/>
                </a:cubicBezTo>
                <a:cubicBezTo>
                  <a:pt x="262" y="316"/>
                  <a:pt x="262" y="317"/>
                  <a:pt x="262" y="317"/>
                </a:cubicBezTo>
                <a:cubicBezTo>
                  <a:pt x="262" y="318"/>
                  <a:pt x="262" y="318"/>
                  <a:pt x="262" y="318"/>
                </a:cubicBezTo>
                <a:cubicBezTo>
                  <a:pt x="262" y="319"/>
                  <a:pt x="262" y="319"/>
                  <a:pt x="262" y="319"/>
                </a:cubicBezTo>
                <a:cubicBezTo>
                  <a:pt x="261" y="319"/>
                  <a:pt x="262" y="319"/>
                  <a:pt x="262" y="319"/>
                </a:cubicBezTo>
                <a:cubicBezTo>
                  <a:pt x="263" y="319"/>
                  <a:pt x="263" y="319"/>
                  <a:pt x="263" y="318"/>
                </a:cubicBezTo>
                <a:cubicBezTo>
                  <a:pt x="263" y="318"/>
                  <a:pt x="263" y="318"/>
                  <a:pt x="263" y="318"/>
                </a:cubicBezTo>
                <a:cubicBezTo>
                  <a:pt x="263" y="318"/>
                  <a:pt x="263" y="317"/>
                  <a:pt x="264" y="317"/>
                </a:cubicBezTo>
                <a:cubicBezTo>
                  <a:pt x="264" y="317"/>
                  <a:pt x="264" y="316"/>
                  <a:pt x="265" y="316"/>
                </a:cubicBezTo>
                <a:cubicBezTo>
                  <a:pt x="265" y="315"/>
                  <a:pt x="264" y="316"/>
                  <a:pt x="264" y="316"/>
                </a:cubicBezTo>
                <a:cubicBezTo>
                  <a:pt x="264" y="316"/>
                  <a:pt x="262" y="317"/>
                  <a:pt x="262" y="317"/>
                </a:cubicBezTo>
                <a:cubicBezTo>
                  <a:pt x="262" y="316"/>
                  <a:pt x="263" y="316"/>
                  <a:pt x="262" y="316"/>
                </a:cubicBezTo>
                <a:cubicBezTo>
                  <a:pt x="262" y="315"/>
                  <a:pt x="263" y="314"/>
                  <a:pt x="264" y="314"/>
                </a:cubicBezTo>
                <a:cubicBezTo>
                  <a:pt x="264" y="314"/>
                  <a:pt x="264" y="315"/>
                  <a:pt x="265" y="315"/>
                </a:cubicBezTo>
                <a:cubicBezTo>
                  <a:pt x="266" y="314"/>
                  <a:pt x="267" y="314"/>
                  <a:pt x="267" y="314"/>
                </a:cubicBezTo>
                <a:cubicBezTo>
                  <a:pt x="267" y="314"/>
                  <a:pt x="269" y="314"/>
                  <a:pt x="269" y="314"/>
                </a:cubicBezTo>
                <a:cubicBezTo>
                  <a:pt x="270" y="314"/>
                  <a:pt x="271" y="313"/>
                  <a:pt x="271" y="312"/>
                </a:cubicBezTo>
                <a:cubicBezTo>
                  <a:pt x="273" y="312"/>
                  <a:pt x="274" y="311"/>
                  <a:pt x="275" y="310"/>
                </a:cubicBezTo>
                <a:cubicBezTo>
                  <a:pt x="277" y="309"/>
                  <a:pt x="279" y="307"/>
                  <a:pt x="282" y="306"/>
                </a:cubicBezTo>
                <a:cubicBezTo>
                  <a:pt x="284" y="305"/>
                  <a:pt x="287" y="305"/>
                  <a:pt x="290" y="305"/>
                </a:cubicBezTo>
                <a:cubicBezTo>
                  <a:pt x="290" y="305"/>
                  <a:pt x="296" y="304"/>
                  <a:pt x="296" y="305"/>
                </a:cubicBezTo>
                <a:cubicBezTo>
                  <a:pt x="296" y="304"/>
                  <a:pt x="297" y="305"/>
                  <a:pt x="298" y="304"/>
                </a:cubicBezTo>
                <a:cubicBezTo>
                  <a:pt x="299" y="304"/>
                  <a:pt x="299" y="304"/>
                  <a:pt x="300" y="304"/>
                </a:cubicBezTo>
                <a:cubicBezTo>
                  <a:pt x="300" y="303"/>
                  <a:pt x="302" y="302"/>
                  <a:pt x="301" y="302"/>
                </a:cubicBezTo>
                <a:cubicBezTo>
                  <a:pt x="302" y="302"/>
                  <a:pt x="302" y="302"/>
                  <a:pt x="302" y="301"/>
                </a:cubicBezTo>
                <a:cubicBezTo>
                  <a:pt x="302" y="302"/>
                  <a:pt x="302" y="302"/>
                  <a:pt x="302" y="302"/>
                </a:cubicBezTo>
                <a:cubicBezTo>
                  <a:pt x="303" y="302"/>
                  <a:pt x="304" y="302"/>
                  <a:pt x="304" y="300"/>
                </a:cubicBezTo>
                <a:cubicBezTo>
                  <a:pt x="304" y="300"/>
                  <a:pt x="305" y="298"/>
                  <a:pt x="306" y="299"/>
                </a:cubicBezTo>
                <a:cubicBezTo>
                  <a:pt x="306" y="299"/>
                  <a:pt x="306" y="298"/>
                  <a:pt x="306" y="298"/>
                </a:cubicBezTo>
                <a:cubicBezTo>
                  <a:pt x="306" y="297"/>
                  <a:pt x="305" y="297"/>
                  <a:pt x="305" y="297"/>
                </a:cubicBezTo>
                <a:cubicBezTo>
                  <a:pt x="305" y="297"/>
                  <a:pt x="306" y="297"/>
                  <a:pt x="306" y="296"/>
                </a:cubicBezTo>
                <a:cubicBezTo>
                  <a:pt x="306" y="296"/>
                  <a:pt x="306" y="296"/>
                  <a:pt x="307" y="295"/>
                </a:cubicBezTo>
                <a:cubicBezTo>
                  <a:pt x="307" y="295"/>
                  <a:pt x="306" y="295"/>
                  <a:pt x="306" y="295"/>
                </a:cubicBezTo>
                <a:cubicBezTo>
                  <a:pt x="306" y="295"/>
                  <a:pt x="307" y="295"/>
                  <a:pt x="307" y="295"/>
                </a:cubicBezTo>
                <a:cubicBezTo>
                  <a:pt x="307" y="294"/>
                  <a:pt x="308" y="294"/>
                  <a:pt x="308" y="293"/>
                </a:cubicBezTo>
                <a:cubicBezTo>
                  <a:pt x="309" y="292"/>
                  <a:pt x="310" y="291"/>
                  <a:pt x="310" y="290"/>
                </a:cubicBezTo>
                <a:cubicBezTo>
                  <a:pt x="311" y="289"/>
                  <a:pt x="312" y="289"/>
                  <a:pt x="312" y="287"/>
                </a:cubicBezTo>
                <a:cubicBezTo>
                  <a:pt x="312" y="287"/>
                  <a:pt x="313" y="286"/>
                  <a:pt x="313" y="286"/>
                </a:cubicBezTo>
                <a:cubicBezTo>
                  <a:pt x="313" y="285"/>
                  <a:pt x="313" y="286"/>
                  <a:pt x="313" y="285"/>
                </a:cubicBezTo>
                <a:cubicBezTo>
                  <a:pt x="314" y="285"/>
                  <a:pt x="314" y="285"/>
                  <a:pt x="314" y="284"/>
                </a:cubicBezTo>
                <a:cubicBezTo>
                  <a:pt x="314" y="284"/>
                  <a:pt x="315" y="283"/>
                  <a:pt x="316" y="283"/>
                </a:cubicBezTo>
                <a:cubicBezTo>
                  <a:pt x="316" y="283"/>
                  <a:pt x="316" y="282"/>
                  <a:pt x="316" y="282"/>
                </a:cubicBezTo>
                <a:cubicBezTo>
                  <a:pt x="316" y="282"/>
                  <a:pt x="316" y="282"/>
                  <a:pt x="316" y="282"/>
                </a:cubicBezTo>
                <a:cubicBezTo>
                  <a:pt x="317" y="281"/>
                  <a:pt x="318" y="281"/>
                  <a:pt x="319" y="280"/>
                </a:cubicBezTo>
                <a:cubicBezTo>
                  <a:pt x="319" y="279"/>
                  <a:pt x="319" y="279"/>
                  <a:pt x="319" y="279"/>
                </a:cubicBezTo>
                <a:cubicBezTo>
                  <a:pt x="320" y="278"/>
                  <a:pt x="320" y="278"/>
                  <a:pt x="320" y="278"/>
                </a:cubicBezTo>
                <a:cubicBezTo>
                  <a:pt x="320" y="277"/>
                  <a:pt x="321" y="277"/>
                  <a:pt x="321" y="277"/>
                </a:cubicBezTo>
                <a:cubicBezTo>
                  <a:pt x="322" y="276"/>
                  <a:pt x="322" y="276"/>
                  <a:pt x="323" y="276"/>
                </a:cubicBezTo>
                <a:cubicBezTo>
                  <a:pt x="323" y="276"/>
                  <a:pt x="323" y="276"/>
                  <a:pt x="323" y="276"/>
                </a:cubicBezTo>
                <a:cubicBezTo>
                  <a:pt x="324" y="276"/>
                  <a:pt x="324" y="276"/>
                  <a:pt x="324" y="275"/>
                </a:cubicBezTo>
                <a:cubicBezTo>
                  <a:pt x="323" y="276"/>
                  <a:pt x="323" y="275"/>
                  <a:pt x="324" y="274"/>
                </a:cubicBezTo>
                <a:cubicBezTo>
                  <a:pt x="324" y="274"/>
                  <a:pt x="325" y="274"/>
                  <a:pt x="325" y="274"/>
                </a:cubicBezTo>
                <a:cubicBezTo>
                  <a:pt x="325" y="274"/>
                  <a:pt x="324" y="275"/>
                  <a:pt x="325" y="275"/>
                </a:cubicBezTo>
                <a:cubicBezTo>
                  <a:pt x="325" y="275"/>
                  <a:pt x="325" y="274"/>
                  <a:pt x="325" y="274"/>
                </a:cubicBezTo>
                <a:cubicBezTo>
                  <a:pt x="324" y="274"/>
                  <a:pt x="325" y="273"/>
                  <a:pt x="325" y="273"/>
                </a:cubicBezTo>
                <a:cubicBezTo>
                  <a:pt x="325" y="273"/>
                  <a:pt x="325" y="273"/>
                  <a:pt x="325" y="273"/>
                </a:cubicBezTo>
                <a:cubicBezTo>
                  <a:pt x="325" y="272"/>
                  <a:pt x="326" y="272"/>
                  <a:pt x="327" y="271"/>
                </a:cubicBezTo>
                <a:cubicBezTo>
                  <a:pt x="327" y="271"/>
                  <a:pt x="327" y="270"/>
                  <a:pt x="328" y="270"/>
                </a:cubicBezTo>
                <a:cubicBezTo>
                  <a:pt x="328" y="269"/>
                  <a:pt x="327" y="269"/>
                  <a:pt x="327" y="269"/>
                </a:cubicBezTo>
                <a:cubicBezTo>
                  <a:pt x="327" y="269"/>
                  <a:pt x="328" y="268"/>
                  <a:pt x="328" y="269"/>
                </a:cubicBezTo>
                <a:cubicBezTo>
                  <a:pt x="328" y="269"/>
                  <a:pt x="328" y="269"/>
                  <a:pt x="328" y="269"/>
                </a:cubicBezTo>
                <a:cubicBezTo>
                  <a:pt x="329" y="269"/>
                  <a:pt x="329" y="268"/>
                  <a:pt x="329" y="267"/>
                </a:cubicBezTo>
                <a:cubicBezTo>
                  <a:pt x="330" y="267"/>
                  <a:pt x="330" y="266"/>
                  <a:pt x="331" y="265"/>
                </a:cubicBezTo>
                <a:cubicBezTo>
                  <a:pt x="331" y="265"/>
                  <a:pt x="333" y="264"/>
                  <a:pt x="333" y="264"/>
                </a:cubicBezTo>
                <a:cubicBezTo>
                  <a:pt x="333" y="264"/>
                  <a:pt x="334" y="263"/>
                  <a:pt x="334" y="263"/>
                </a:cubicBezTo>
                <a:cubicBezTo>
                  <a:pt x="334" y="263"/>
                  <a:pt x="333" y="263"/>
                  <a:pt x="333" y="263"/>
                </a:cubicBezTo>
                <a:cubicBezTo>
                  <a:pt x="333" y="263"/>
                  <a:pt x="334" y="262"/>
                  <a:pt x="334" y="263"/>
                </a:cubicBezTo>
                <a:cubicBezTo>
                  <a:pt x="334" y="263"/>
                  <a:pt x="335" y="262"/>
                  <a:pt x="335" y="261"/>
                </a:cubicBezTo>
                <a:cubicBezTo>
                  <a:pt x="335" y="262"/>
                  <a:pt x="335" y="262"/>
                  <a:pt x="335" y="262"/>
                </a:cubicBezTo>
                <a:cubicBezTo>
                  <a:pt x="335" y="261"/>
                  <a:pt x="336" y="261"/>
                  <a:pt x="336" y="260"/>
                </a:cubicBezTo>
                <a:cubicBezTo>
                  <a:pt x="336" y="260"/>
                  <a:pt x="337" y="259"/>
                  <a:pt x="337" y="259"/>
                </a:cubicBezTo>
                <a:cubicBezTo>
                  <a:pt x="337" y="259"/>
                  <a:pt x="337" y="259"/>
                  <a:pt x="336" y="259"/>
                </a:cubicBezTo>
                <a:cubicBezTo>
                  <a:pt x="336" y="259"/>
                  <a:pt x="337" y="259"/>
                  <a:pt x="337" y="258"/>
                </a:cubicBezTo>
                <a:cubicBezTo>
                  <a:pt x="337" y="258"/>
                  <a:pt x="336" y="259"/>
                  <a:pt x="336" y="259"/>
                </a:cubicBezTo>
                <a:cubicBezTo>
                  <a:pt x="336" y="258"/>
                  <a:pt x="336" y="258"/>
                  <a:pt x="337" y="258"/>
                </a:cubicBezTo>
                <a:cubicBezTo>
                  <a:pt x="336" y="258"/>
                  <a:pt x="338" y="258"/>
                  <a:pt x="338" y="258"/>
                </a:cubicBezTo>
                <a:cubicBezTo>
                  <a:pt x="339" y="258"/>
                  <a:pt x="340" y="256"/>
                  <a:pt x="340" y="256"/>
                </a:cubicBezTo>
                <a:cubicBezTo>
                  <a:pt x="339" y="256"/>
                  <a:pt x="339" y="256"/>
                  <a:pt x="339" y="256"/>
                </a:cubicBezTo>
                <a:cubicBezTo>
                  <a:pt x="340" y="255"/>
                  <a:pt x="340" y="255"/>
                  <a:pt x="341" y="255"/>
                </a:cubicBezTo>
                <a:cubicBezTo>
                  <a:pt x="341" y="255"/>
                  <a:pt x="340" y="255"/>
                  <a:pt x="340" y="256"/>
                </a:cubicBezTo>
                <a:cubicBezTo>
                  <a:pt x="341" y="255"/>
                  <a:pt x="342" y="253"/>
                  <a:pt x="343" y="252"/>
                </a:cubicBezTo>
                <a:cubicBezTo>
                  <a:pt x="345" y="251"/>
                  <a:pt x="346" y="250"/>
                  <a:pt x="348" y="250"/>
                </a:cubicBezTo>
                <a:cubicBezTo>
                  <a:pt x="348" y="250"/>
                  <a:pt x="349" y="250"/>
                  <a:pt x="349" y="249"/>
                </a:cubicBezTo>
                <a:cubicBezTo>
                  <a:pt x="349" y="249"/>
                  <a:pt x="349" y="249"/>
                  <a:pt x="348" y="249"/>
                </a:cubicBezTo>
                <a:cubicBezTo>
                  <a:pt x="348" y="249"/>
                  <a:pt x="349" y="248"/>
                  <a:pt x="349" y="248"/>
                </a:cubicBezTo>
                <a:cubicBezTo>
                  <a:pt x="350" y="248"/>
                  <a:pt x="350" y="249"/>
                  <a:pt x="350" y="248"/>
                </a:cubicBezTo>
                <a:cubicBezTo>
                  <a:pt x="350" y="248"/>
                  <a:pt x="351" y="247"/>
                  <a:pt x="352" y="247"/>
                </a:cubicBezTo>
                <a:cubicBezTo>
                  <a:pt x="352" y="246"/>
                  <a:pt x="353" y="246"/>
                  <a:pt x="354" y="246"/>
                </a:cubicBezTo>
                <a:cubicBezTo>
                  <a:pt x="354" y="245"/>
                  <a:pt x="354" y="245"/>
                  <a:pt x="355" y="244"/>
                </a:cubicBezTo>
                <a:cubicBezTo>
                  <a:pt x="355" y="244"/>
                  <a:pt x="355" y="243"/>
                  <a:pt x="355" y="243"/>
                </a:cubicBezTo>
                <a:cubicBezTo>
                  <a:pt x="355" y="242"/>
                  <a:pt x="357" y="240"/>
                  <a:pt x="358" y="240"/>
                </a:cubicBezTo>
                <a:cubicBezTo>
                  <a:pt x="359" y="239"/>
                  <a:pt x="359" y="238"/>
                  <a:pt x="360" y="237"/>
                </a:cubicBezTo>
                <a:cubicBezTo>
                  <a:pt x="361" y="236"/>
                  <a:pt x="362" y="235"/>
                  <a:pt x="363" y="234"/>
                </a:cubicBezTo>
                <a:cubicBezTo>
                  <a:pt x="363" y="233"/>
                  <a:pt x="363" y="233"/>
                  <a:pt x="364" y="232"/>
                </a:cubicBezTo>
                <a:cubicBezTo>
                  <a:pt x="364" y="232"/>
                  <a:pt x="365" y="231"/>
                  <a:pt x="365" y="230"/>
                </a:cubicBezTo>
                <a:cubicBezTo>
                  <a:pt x="365" y="230"/>
                  <a:pt x="366" y="229"/>
                  <a:pt x="366" y="229"/>
                </a:cubicBezTo>
                <a:cubicBezTo>
                  <a:pt x="366" y="229"/>
                  <a:pt x="365" y="229"/>
                  <a:pt x="366" y="228"/>
                </a:cubicBezTo>
                <a:cubicBezTo>
                  <a:pt x="366" y="227"/>
                  <a:pt x="366" y="227"/>
                  <a:pt x="367" y="226"/>
                </a:cubicBezTo>
                <a:cubicBezTo>
                  <a:pt x="367" y="225"/>
                  <a:pt x="367" y="225"/>
                  <a:pt x="367" y="224"/>
                </a:cubicBezTo>
                <a:cubicBezTo>
                  <a:pt x="368" y="224"/>
                  <a:pt x="369" y="223"/>
                  <a:pt x="369" y="223"/>
                </a:cubicBezTo>
                <a:cubicBezTo>
                  <a:pt x="369" y="222"/>
                  <a:pt x="370" y="222"/>
                  <a:pt x="370" y="221"/>
                </a:cubicBezTo>
                <a:cubicBezTo>
                  <a:pt x="371" y="220"/>
                  <a:pt x="371" y="220"/>
                  <a:pt x="371" y="219"/>
                </a:cubicBezTo>
                <a:cubicBezTo>
                  <a:pt x="371" y="218"/>
                  <a:pt x="372" y="218"/>
                  <a:pt x="372" y="217"/>
                </a:cubicBezTo>
                <a:cubicBezTo>
                  <a:pt x="373" y="216"/>
                  <a:pt x="374" y="214"/>
                  <a:pt x="375" y="212"/>
                </a:cubicBezTo>
                <a:cubicBezTo>
                  <a:pt x="375" y="212"/>
                  <a:pt x="375" y="211"/>
                  <a:pt x="376" y="211"/>
                </a:cubicBezTo>
                <a:cubicBezTo>
                  <a:pt x="376" y="210"/>
                  <a:pt x="377" y="210"/>
                  <a:pt x="377" y="209"/>
                </a:cubicBezTo>
                <a:cubicBezTo>
                  <a:pt x="377" y="208"/>
                  <a:pt x="378" y="208"/>
                  <a:pt x="378" y="207"/>
                </a:cubicBezTo>
                <a:cubicBezTo>
                  <a:pt x="379" y="207"/>
                  <a:pt x="380" y="207"/>
                  <a:pt x="380" y="206"/>
                </a:cubicBezTo>
                <a:cubicBezTo>
                  <a:pt x="380" y="205"/>
                  <a:pt x="380" y="205"/>
                  <a:pt x="380" y="204"/>
                </a:cubicBezTo>
                <a:cubicBezTo>
                  <a:pt x="380" y="203"/>
                  <a:pt x="380" y="203"/>
                  <a:pt x="381" y="202"/>
                </a:cubicBezTo>
                <a:cubicBezTo>
                  <a:pt x="381" y="201"/>
                  <a:pt x="382" y="200"/>
                  <a:pt x="381" y="199"/>
                </a:cubicBezTo>
                <a:cubicBezTo>
                  <a:pt x="381" y="198"/>
                  <a:pt x="382" y="197"/>
                  <a:pt x="381" y="196"/>
                </a:cubicBezTo>
                <a:cubicBezTo>
                  <a:pt x="381" y="196"/>
                  <a:pt x="381" y="197"/>
                  <a:pt x="381" y="197"/>
                </a:cubicBezTo>
                <a:cubicBezTo>
                  <a:pt x="381" y="196"/>
                  <a:pt x="382" y="196"/>
                  <a:pt x="382" y="195"/>
                </a:cubicBezTo>
                <a:cubicBezTo>
                  <a:pt x="381" y="195"/>
                  <a:pt x="382" y="194"/>
                  <a:pt x="382" y="194"/>
                </a:cubicBezTo>
                <a:cubicBezTo>
                  <a:pt x="381" y="193"/>
                  <a:pt x="381" y="193"/>
                  <a:pt x="381" y="192"/>
                </a:cubicBezTo>
                <a:cubicBezTo>
                  <a:pt x="382" y="192"/>
                  <a:pt x="382" y="192"/>
                  <a:pt x="381" y="191"/>
                </a:cubicBezTo>
                <a:cubicBezTo>
                  <a:pt x="381" y="191"/>
                  <a:pt x="381" y="192"/>
                  <a:pt x="381" y="191"/>
                </a:cubicBezTo>
                <a:cubicBezTo>
                  <a:pt x="381" y="190"/>
                  <a:pt x="381" y="190"/>
                  <a:pt x="381" y="190"/>
                </a:cubicBezTo>
                <a:cubicBezTo>
                  <a:pt x="380" y="189"/>
                  <a:pt x="382" y="188"/>
                  <a:pt x="381" y="188"/>
                </a:cubicBezTo>
                <a:cubicBezTo>
                  <a:pt x="380" y="188"/>
                  <a:pt x="381" y="187"/>
                  <a:pt x="381" y="187"/>
                </a:cubicBezTo>
                <a:cubicBezTo>
                  <a:pt x="382" y="187"/>
                  <a:pt x="382" y="187"/>
                  <a:pt x="382" y="187"/>
                </a:cubicBezTo>
                <a:cubicBezTo>
                  <a:pt x="383" y="186"/>
                  <a:pt x="382" y="186"/>
                  <a:pt x="382" y="185"/>
                </a:cubicBezTo>
                <a:cubicBezTo>
                  <a:pt x="383" y="184"/>
                  <a:pt x="383" y="183"/>
                  <a:pt x="383" y="183"/>
                </a:cubicBezTo>
                <a:cubicBezTo>
                  <a:pt x="383" y="182"/>
                  <a:pt x="383" y="182"/>
                  <a:pt x="383" y="182"/>
                </a:cubicBezTo>
                <a:cubicBezTo>
                  <a:pt x="383" y="182"/>
                  <a:pt x="383" y="181"/>
                  <a:pt x="383" y="181"/>
                </a:cubicBezTo>
                <a:cubicBezTo>
                  <a:pt x="383" y="181"/>
                  <a:pt x="384" y="180"/>
                  <a:pt x="384" y="179"/>
                </a:cubicBezTo>
                <a:cubicBezTo>
                  <a:pt x="384" y="179"/>
                  <a:pt x="384" y="178"/>
                  <a:pt x="384" y="178"/>
                </a:cubicBezTo>
                <a:cubicBezTo>
                  <a:pt x="385" y="177"/>
                  <a:pt x="385" y="176"/>
                  <a:pt x="386" y="174"/>
                </a:cubicBezTo>
                <a:cubicBezTo>
                  <a:pt x="385" y="175"/>
                  <a:pt x="386" y="173"/>
                  <a:pt x="385" y="17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5" name="Armenia"/>
          <p:cNvSpPr>
            <a:spLocks noEditPoints="1"/>
          </p:cNvSpPr>
          <p:nvPr/>
        </p:nvSpPr>
        <p:spPr bwMode="auto">
          <a:xfrm>
            <a:off x="7219029" y="3024999"/>
            <a:ext cx="111996" cy="97997"/>
          </a:xfrm>
          <a:custGeom>
            <a:avLst/>
            <a:gdLst/>
            <a:ahLst/>
            <a:cxnLst>
              <a:cxn ang="0">
                <a:pos x="31" y="22"/>
              </a:cxn>
              <a:cxn ang="0">
                <a:pos x="30" y="20"/>
              </a:cxn>
              <a:cxn ang="0">
                <a:pos x="29" y="18"/>
              </a:cxn>
              <a:cxn ang="0">
                <a:pos x="26" y="17"/>
              </a:cxn>
              <a:cxn ang="0">
                <a:pos x="23" y="15"/>
              </a:cxn>
              <a:cxn ang="0">
                <a:pos x="24" y="14"/>
              </a:cxn>
              <a:cxn ang="0">
                <a:pos x="24" y="12"/>
              </a:cxn>
              <a:cxn ang="0">
                <a:pos x="22" y="10"/>
              </a:cxn>
              <a:cxn ang="0">
                <a:pos x="19" y="8"/>
              </a:cxn>
              <a:cxn ang="0">
                <a:pos x="20" y="4"/>
              </a:cxn>
              <a:cxn ang="0">
                <a:pos x="17" y="3"/>
              </a:cxn>
              <a:cxn ang="0">
                <a:pos x="15" y="2"/>
              </a:cxn>
              <a:cxn ang="0">
                <a:pos x="15" y="1"/>
              </a:cxn>
              <a:cxn ang="0">
                <a:pos x="12" y="0"/>
              </a:cxn>
              <a:cxn ang="0">
                <a:pos x="10" y="1"/>
              </a:cxn>
              <a:cxn ang="0">
                <a:pos x="9" y="1"/>
              </a:cxn>
              <a:cxn ang="0">
                <a:pos x="8" y="1"/>
              </a:cxn>
              <a:cxn ang="0">
                <a:pos x="6" y="1"/>
              </a:cxn>
              <a:cxn ang="0">
                <a:pos x="3" y="2"/>
              </a:cxn>
              <a:cxn ang="0">
                <a:pos x="1" y="3"/>
              </a:cxn>
              <a:cxn ang="0">
                <a:pos x="3" y="7"/>
              </a:cxn>
              <a:cxn ang="0">
                <a:pos x="3" y="10"/>
              </a:cxn>
              <a:cxn ang="0">
                <a:pos x="4" y="12"/>
              </a:cxn>
              <a:cxn ang="0">
                <a:pos x="7" y="14"/>
              </a:cxn>
              <a:cxn ang="0">
                <a:pos x="8" y="14"/>
              </a:cxn>
              <a:cxn ang="0">
                <a:pos x="12" y="15"/>
              </a:cxn>
              <a:cxn ang="0">
                <a:pos x="17" y="16"/>
              </a:cxn>
              <a:cxn ang="0">
                <a:pos x="19" y="18"/>
              </a:cxn>
              <a:cxn ang="0">
                <a:pos x="20" y="19"/>
              </a:cxn>
              <a:cxn ang="0">
                <a:pos x="24" y="19"/>
              </a:cxn>
              <a:cxn ang="0">
                <a:pos x="25" y="22"/>
              </a:cxn>
              <a:cxn ang="0">
                <a:pos x="26" y="24"/>
              </a:cxn>
              <a:cxn ang="0">
                <a:pos x="28" y="26"/>
              </a:cxn>
              <a:cxn ang="0">
                <a:pos x="31" y="26"/>
              </a:cxn>
              <a:cxn ang="0">
                <a:pos x="30" y="23"/>
              </a:cxn>
              <a:cxn ang="0">
                <a:pos x="14" y="2"/>
              </a:cxn>
              <a:cxn ang="0">
                <a:pos x="16" y="3"/>
              </a:cxn>
            </a:cxnLst>
            <a:rect l="0" t="0" r="r" b="b"/>
            <a:pathLst>
              <a:path w="31" h="27">
                <a:moveTo>
                  <a:pt x="30" y="23"/>
                </a:moveTo>
                <a:cubicBezTo>
                  <a:pt x="29" y="22"/>
                  <a:pt x="31" y="23"/>
                  <a:pt x="31" y="22"/>
                </a:cubicBezTo>
                <a:cubicBezTo>
                  <a:pt x="31" y="22"/>
                  <a:pt x="30" y="21"/>
                  <a:pt x="29" y="21"/>
                </a:cubicBezTo>
                <a:cubicBezTo>
                  <a:pt x="28" y="20"/>
                  <a:pt x="30" y="20"/>
                  <a:pt x="30" y="20"/>
                </a:cubicBezTo>
                <a:cubicBezTo>
                  <a:pt x="30" y="19"/>
                  <a:pt x="30" y="19"/>
                  <a:pt x="30" y="18"/>
                </a:cubicBezTo>
                <a:cubicBezTo>
                  <a:pt x="29" y="18"/>
                  <a:pt x="29" y="18"/>
                  <a:pt x="29" y="18"/>
                </a:cubicBezTo>
                <a:cubicBezTo>
                  <a:pt x="28" y="18"/>
                  <a:pt x="28" y="19"/>
                  <a:pt x="27" y="18"/>
                </a:cubicBezTo>
                <a:cubicBezTo>
                  <a:pt x="27" y="18"/>
                  <a:pt x="26" y="18"/>
                  <a:pt x="26" y="17"/>
                </a:cubicBezTo>
                <a:cubicBezTo>
                  <a:pt x="25" y="17"/>
                  <a:pt x="25" y="16"/>
                  <a:pt x="24" y="16"/>
                </a:cubicBezTo>
                <a:cubicBezTo>
                  <a:pt x="24" y="16"/>
                  <a:pt x="23" y="16"/>
                  <a:pt x="23" y="15"/>
                </a:cubicBezTo>
                <a:cubicBezTo>
                  <a:pt x="22" y="14"/>
                  <a:pt x="22" y="15"/>
                  <a:pt x="21" y="14"/>
                </a:cubicBezTo>
                <a:cubicBezTo>
                  <a:pt x="20" y="14"/>
                  <a:pt x="23" y="14"/>
                  <a:pt x="24" y="14"/>
                </a:cubicBezTo>
                <a:cubicBezTo>
                  <a:pt x="24" y="13"/>
                  <a:pt x="24" y="13"/>
                  <a:pt x="24" y="13"/>
                </a:cubicBezTo>
                <a:cubicBezTo>
                  <a:pt x="24" y="13"/>
                  <a:pt x="24" y="12"/>
                  <a:pt x="24" y="12"/>
                </a:cubicBezTo>
                <a:cubicBezTo>
                  <a:pt x="24" y="11"/>
                  <a:pt x="24" y="11"/>
                  <a:pt x="23" y="11"/>
                </a:cubicBezTo>
                <a:cubicBezTo>
                  <a:pt x="23" y="11"/>
                  <a:pt x="22" y="10"/>
                  <a:pt x="22" y="10"/>
                </a:cubicBezTo>
                <a:cubicBezTo>
                  <a:pt x="21" y="10"/>
                  <a:pt x="21" y="10"/>
                  <a:pt x="20" y="9"/>
                </a:cubicBezTo>
                <a:cubicBezTo>
                  <a:pt x="20" y="9"/>
                  <a:pt x="19" y="8"/>
                  <a:pt x="19" y="8"/>
                </a:cubicBezTo>
                <a:cubicBezTo>
                  <a:pt x="19" y="7"/>
                  <a:pt x="17" y="7"/>
                  <a:pt x="18" y="6"/>
                </a:cubicBezTo>
                <a:cubicBezTo>
                  <a:pt x="19" y="6"/>
                  <a:pt x="20" y="5"/>
                  <a:pt x="20" y="4"/>
                </a:cubicBezTo>
                <a:cubicBezTo>
                  <a:pt x="19" y="4"/>
                  <a:pt x="18" y="4"/>
                  <a:pt x="18" y="3"/>
                </a:cubicBezTo>
                <a:cubicBezTo>
                  <a:pt x="18" y="3"/>
                  <a:pt x="17" y="3"/>
                  <a:pt x="17" y="3"/>
                </a:cubicBezTo>
                <a:cubicBezTo>
                  <a:pt x="16" y="3"/>
                  <a:pt x="16" y="2"/>
                  <a:pt x="15" y="2"/>
                </a:cubicBezTo>
                <a:cubicBezTo>
                  <a:pt x="15" y="3"/>
                  <a:pt x="14" y="2"/>
                  <a:pt x="15" y="2"/>
                </a:cubicBezTo>
                <a:cubicBezTo>
                  <a:pt x="15" y="2"/>
                  <a:pt x="16" y="2"/>
                  <a:pt x="16" y="1"/>
                </a:cubicBezTo>
                <a:cubicBezTo>
                  <a:pt x="16" y="1"/>
                  <a:pt x="15" y="1"/>
                  <a:pt x="15" y="1"/>
                </a:cubicBezTo>
                <a:cubicBezTo>
                  <a:pt x="14" y="1"/>
                  <a:pt x="14" y="0"/>
                  <a:pt x="14" y="0"/>
                </a:cubicBezTo>
                <a:cubicBezTo>
                  <a:pt x="13" y="0"/>
                  <a:pt x="13" y="0"/>
                  <a:pt x="12" y="0"/>
                </a:cubicBezTo>
                <a:cubicBezTo>
                  <a:pt x="12" y="0"/>
                  <a:pt x="12" y="0"/>
                  <a:pt x="13" y="1"/>
                </a:cubicBezTo>
                <a:cubicBezTo>
                  <a:pt x="12" y="1"/>
                  <a:pt x="11" y="0"/>
                  <a:pt x="10" y="1"/>
                </a:cubicBezTo>
                <a:cubicBezTo>
                  <a:pt x="10" y="1"/>
                  <a:pt x="10" y="1"/>
                  <a:pt x="10" y="1"/>
                </a:cubicBezTo>
                <a:cubicBezTo>
                  <a:pt x="10" y="1"/>
                  <a:pt x="10" y="1"/>
                  <a:pt x="9" y="1"/>
                </a:cubicBezTo>
                <a:cubicBezTo>
                  <a:pt x="9" y="1"/>
                  <a:pt x="9" y="1"/>
                  <a:pt x="9" y="1"/>
                </a:cubicBezTo>
                <a:cubicBezTo>
                  <a:pt x="8" y="1"/>
                  <a:pt x="8" y="1"/>
                  <a:pt x="8" y="1"/>
                </a:cubicBezTo>
                <a:cubicBezTo>
                  <a:pt x="7" y="1"/>
                  <a:pt x="7" y="1"/>
                  <a:pt x="7" y="1"/>
                </a:cubicBezTo>
                <a:cubicBezTo>
                  <a:pt x="7" y="0"/>
                  <a:pt x="7" y="0"/>
                  <a:pt x="6" y="1"/>
                </a:cubicBezTo>
                <a:cubicBezTo>
                  <a:pt x="6" y="1"/>
                  <a:pt x="5" y="1"/>
                  <a:pt x="4" y="1"/>
                </a:cubicBezTo>
                <a:cubicBezTo>
                  <a:pt x="4" y="1"/>
                  <a:pt x="3" y="2"/>
                  <a:pt x="3" y="2"/>
                </a:cubicBezTo>
                <a:cubicBezTo>
                  <a:pt x="2" y="2"/>
                  <a:pt x="0" y="2"/>
                  <a:pt x="0" y="2"/>
                </a:cubicBezTo>
                <a:cubicBezTo>
                  <a:pt x="0" y="2"/>
                  <a:pt x="1" y="3"/>
                  <a:pt x="1" y="3"/>
                </a:cubicBezTo>
                <a:cubicBezTo>
                  <a:pt x="2" y="3"/>
                  <a:pt x="2" y="4"/>
                  <a:pt x="3" y="5"/>
                </a:cubicBezTo>
                <a:cubicBezTo>
                  <a:pt x="3" y="5"/>
                  <a:pt x="3" y="6"/>
                  <a:pt x="3" y="7"/>
                </a:cubicBezTo>
                <a:cubicBezTo>
                  <a:pt x="3" y="7"/>
                  <a:pt x="3" y="8"/>
                  <a:pt x="2" y="8"/>
                </a:cubicBezTo>
                <a:cubicBezTo>
                  <a:pt x="2" y="9"/>
                  <a:pt x="3" y="9"/>
                  <a:pt x="3" y="10"/>
                </a:cubicBezTo>
                <a:cubicBezTo>
                  <a:pt x="3" y="11"/>
                  <a:pt x="3" y="10"/>
                  <a:pt x="3" y="11"/>
                </a:cubicBezTo>
                <a:cubicBezTo>
                  <a:pt x="4" y="11"/>
                  <a:pt x="4" y="12"/>
                  <a:pt x="4" y="12"/>
                </a:cubicBezTo>
                <a:cubicBezTo>
                  <a:pt x="3" y="12"/>
                  <a:pt x="3" y="13"/>
                  <a:pt x="4" y="13"/>
                </a:cubicBezTo>
                <a:cubicBezTo>
                  <a:pt x="5" y="13"/>
                  <a:pt x="6" y="14"/>
                  <a:pt x="7" y="14"/>
                </a:cubicBezTo>
                <a:cubicBezTo>
                  <a:pt x="7" y="14"/>
                  <a:pt x="7" y="14"/>
                  <a:pt x="8" y="13"/>
                </a:cubicBezTo>
                <a:cubicBezTo>
                  <a:pt x="8" y="13"/>
                  <a:pt x="8" y="14"/>
                  <a:pt x="8" y="14"/>
                </a:cubicBezTo>
                <a:cubicBezTo>
                  <a:pt x="9" y="13"/>
                  <a:pt x="9" y="14"/>
                  <a:pt x="10" y="14"/>
                </a:cubicBezTo>
                <a:cubicBezTo>
                  <a:pt x="11" y="14"/>
                  <a:pt x="11" y="15"/>
                  <a:pt x="12" y="15"/>
                </a:cubicBezTo>
                <a:cubicBezTo>
                  <a:pt x="13" y="16"/>
                  <a:pt x="14" y="17"/>
                  <a:pt x="15" y="17"/>
                </a:cubicBezTo>
                <a:cubicBezTo>
                  <a:pt x="16" y="17"/>
                  <a:pt x="16" y="16"/>
                  <a:pt x="17" y="16"/>
                </a:cubicBezTo>
                <a:cubicBezTo>
                  <a:pt x="17" y="17"/>
                  <a:pt x="18" y="17"/>
                  <a:pt x="18" y="18"/>
                </a:cubicBezTo>
                <a:cubicBezTo>
                  <a:pt x="18" y="19"/>
                  <a:pt x="18" y="18"/>
                  <a:pt x="19" y="18"/>
                </a:cubicBezTo>
                <a:cubicBezTo>
                  <a:pt x="19" y="18"/>
                  <a:pt x="19" y="19"/>
                  <a:pt x="19" y="19"/>
                </a:cubicBezTo>
                <a:cubicBezTo>
                  <a:pt x="20" y="19"/>
                  <a:pt x="20" y="19"/>
                  <a:pt x="20" y="19"/>
                </a:cubicBezTo>
                <a:cubicBezTo>
                  <a:pt x="21" y="20"/>
                  <a:pt x="22" y="19"/>
                  <a:pt x="23" y="18"/>
                </a:cubicBezTo>
                <a:cubicBezTo>
                  <a:pt x="23" y="18"/>
                  <a:pt x="24" y="19"/>
                  <a:pt x="24" y="19"/>
                </a:cubicBezTo>
                <a:cubicBezTo>
                  <a:pt x="24" y="20"/>
                  <a:pt x="24" y="20"/>
                  <a:pt x="24" y="21"/>
                </a:cubicBezTo>
                <a:cubicBezTo>
                  <a:pt x="24" y="21"/>
                  <a:pt x="25" y="21"/>
                  <a:pt x="25" y="22"/>
                </a:cubicBezTo>
                <a:cubicBezTo>
                  <a:pt x="26" y="22"/>
                  <a:pt x="25" y="22"/>
                  <a:pt x="26" y="23"/>
                </a:cubicBezTo>
                <a:cubicBezTo>
                  <a:pt x="26" y="23"/>
                  <a:pt x="26" y="24"/>
                  <a:pt x="26" y="24"/>
                </a:cubicBezTo>
                <a:cubicBezTo>
                  <a:pt x="27" y="24"/>
                  <a:pt x="27" y="25"/>
                  <a:pt x="27" y="25"/>
                </a:cubicBezTo>
                <a:cubicBezTo>
                  <a:pt x="27" y="25"/>
                  <a:pt x="28" y="26"/>
                  <a:pt x="28" y="26"/>
                </a:cubicBezTo>
                <a:cubicBezTo>
                  <a:pt x="28" y="27"/>
                  <a:pt x="29" y="26"/>
                  <a:pt x="29" y="26"/>
                </a:cubicBezTo>
                <a:cubicBezTo>
                  <a:pt x="30" y="26"/>
                  <a:pt x="31" y="26"/>
                  <a:pt x="31" y="26"/>
                </a:cubicBezTo>
                <a:cubicBezTo>
                  <a:pt x="31" y="25"/>
                  <a:pt x="31" y="25"/>
                  <a:pt x="31" y="24"/>
                </a:cubicBezTo>
                <a:cubicBezTo>
                  <a:pt x="31" y="23"/>
                  <a:pt x="30" y="23"/>
                  <a:pt x="30" y="23"/>
                </a:cubicBezTo>
                <a:close/>
                <a:moveTo>
                  <a:pt x="14" y="3"/>
                </a:moveTo>
                <a:cubicBezTo>
                  <a:pt x="14" y="3"/>
                  <a:pt x="13" y="2"/>
                  <a:pt x="14" y="2"/>
                </a:cubicBezTo>
                <a:cubicBezTo>
                  <a:pt x="14" y="2"/>
                  <a:pt x="15" y="2"/>
                  <a:pt x="14" y="3"/>
                </a:cubicBezTo>
                <a:close/>
                <a:moveTo>
                  <a:pt x="16" y="3"/>
                </a:moveTo>
                <a:cubicBezTo>
                  <a:pt x="17" y="3"/>
                  <a:pt x="15" y="3"/>
                  <a:pt x="16" y="3"/>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6" name="Argentina"/>
          <p:cNvSpPr>
            <a:spLocks noEditPoints="1"/>
          </p:cNvSpPr>
          <p:nvPr/>
        </p:nvSpPr>
        <p:spPr bwMode="auto">
          <a:xfrm>
            <a:off x="3444171" y="5531904"/>
            <a:ext cx="534980" cy="1304951"/>
          </a:xfrm>
          <a:custGeom>
            <a:avLst/>
            <a:gdLst/>
            <a:ahLst/>
            <a:cxnLst>
              <a:cxn ang="0">
                <a:pos x="140" y="63"/>
              </a:cxn>
              <a:cxn ang="0">
                <a:pos x="132" y="72"/>
              </a:cxn>
              <a:cxn ang="0">
                <a:pos x="124" y="83"/>
              </a:cxn>
              <a:cxn ang="0">
                <a:pos x="117" y="100"/>
              </a:cxn>
              <a:cxn ang="0">
                <a:pos x="117" y="124"/>
              </a:cxn>
              <a:cxn ang="0">
                <a:pos x="122" y="142"/>
              </a:cxn>
              <a:cxn ang="0">
                <a:pos x="141" y="162"/>
              </a:cxn>
              <a:cxn ang="0">
                <a:pos x="106" y="189"/>
              </a:cxn>
              <a:cxn ang="0">
                <a:pos x="98" y="192"/>
              </a:cxn>
              <a:cxn ang="0">
                <a:pos x="100" y="203"/>
              </a:cxn>
              <a:cxn ang="0">
                <a:pos x="88" y="211"/>
              </a:cxn>
              <a:cxn ang="0">
                <a:pos x="82" y="217"/>
              </a:cxn>
              <a:cxn ang="0">
                <a:pos x="92" y="224"/>
              </a:cxn>
              <a:cxn ang="0">
                <a:pos x="92" y="232"/>
              </a:cxn>
              <a:cxn ang="0">
                <a:pos x="90" y="248"/>
              </a:cxn>
              <a:cxn ang="0">
                <a:pos x="83" y="256"/>
              </a:cxn>
              <a:cxn ang="0">
                <a:pos x="84" y="273"/>
              </a:cxn>
              <a:cxn ang="0">
                <a:pos x="100" y="287"/>
              </a:cxn>
              <a:cxn ang="0">
                <a:pos x="89" y="300"/>
              </a:cxn>
              <a:cxn ang="0">
                <a:pos x="84" y="307"/>
              </a:cxn>
              <a:cxn ang="0">
                <a:pos x="86" y="324"/>
              </a:cxn>
              <a:cxn ang="0">
                <a:pos x="78" y="329"/>
              </a:cxn>
              <a:cxn ang="0">
                <a:pos x="59" y="319"/>
              </a:cxn>
              <a:cxn ang="0">
                <a:pos x="43" y="307"/>
              </a:cxn>
              <a:cxn ang="0">
                <a:pos x="43" y="299"/>
              </a:cxn>
              <a:cxn ang="0">
                <a:pos x="42" y="284"/>
              </a:cxn>
              <a:cxn ang="0">
                <a:pos x="44" y="272"/>
              </a:cxn>
              <a:cxn ang="0">
                <a:pos x="41" y="258"/>
              </a:cxn>
              <a:cxn ang="0">
                <a:pos x="40" y="249"/>
              </a:cxn>
              <a:cxn ang="0">
                <a:pos x="29" y="238"/>
              </a:cxn>
              <a:cxn ang="0">
                <a:pos x="24" y="221"/>
              </a:cxn>
              <a:cxn ang="0">
                <a:pos x="17" y="204"/>
              </a:cxn>
              <a:cxn ang="0">
                <a:pos x="17" y="193"/>
              </a:cxn>
              <a:cxn ang="0">
                <a:pos x="12" y="169"/>
              </a:cxn>
              <a:cxn ang="0">
                <a:pos x="13" y="160"/>
              </a:cxn>
              <a:cxn ang="0">
                <a:pos x="11" y="148"/>
              </a:cxn>
              <a:cxn ang="0">
                <a:pos x="13" y="131"/>
              </a:cxn>
              <a:cxn ang="0">
                <a:pos x="4" y="112"/>
              </a:cxn>
              <a:cxn ang="0">
                <a:pos x="1" y="96"/>
              </a:cxn>
              <a:cxn ang="0">
                <a:pos x="0" y="82"/>
              </a:cxn>
              <a:cxn ang="0">
                <a:pos x="4" y="68"/>
              </a:cxn>
              <a:cxn ang="0">
                <a:pos x="8" y="51"/>
              </a:cxn>
              <a:cxn ang="0">
                <a:pos x="14" y="25"/>
              </a:cxn>
              <a:cxn ang="0">
                <a:pos x="25" y="1"/>
              </a:cxn>
              <a:cxn ang="0">
                <a:pos x="43" y="7"/>
              </a:cxn>
              <a:cxn ang="0">
                <a:pos x="64" y="11"/>
              </a:cxn>
              <a:cxn ang="0">
                <a:pos x="79" y="23"/>
              </a:cxn>
              <a:cxn ang="0">
                <a:pos x="104" y="35"/>
              </a:cxn>
              <a:cxn ang="0">
                <a:pos x="106" y="49"/>
              </a:cxn>
              <a:cxn ang="0">
                <a:pos x="102" y="59"/>
              </a:cxn>
              <a:cxn ang="0">
                <a:pos x="127" y="60"/>
              </a:cxn>
              <a:cxn ang="0">
                <a:pos x="138" y="52"/>
              </a:cxn>
              <a:cxn ang="0">
                <a:pos x="142" y="41"/>
              </a:cxn>
              <a:cxn ang="0">
                <a:pos x="148" y="52"/>
              </a:cxn>
              <a:cxn ang="0">
                <a:pos x="111" y="347"/>
              </a:cxn>
              <a:cxn ang="0">
                <a:pos x="112" y="358"/>
              </a:cxn>
              <a:cxn ang="0">
                <a:pos x="136" y="359"/>
              </a:cxn>
              <a:cxn ang="0">
                <a:pos x="142" y="359"/>
              </a:cxn>
            </a:cxnLst>
            <a:rect l="0" t="0" r="r" b="b"/>
            <a:pathLst>
              <a:path w="148" h="361">
                <a:moveTo>
                  <a:pt x="148" y="57"/>
                </a:moveTo>
                <a:cubicBezTo>
                  <a:pt x="148" y="58"/>
                  <a:pt x="148" y="58"/>
                  <a:pt x="148" y="59"/>
                </a:cubicBezTo>
                <a:cubicBezTo>
                  <a:pt x="147" y="58"/>
                  <a:pt x="146" y="60"/>
                  <a:pt x="145" y="60"/>
                </a:cubicBezTo>
                <a:cubicBezTo>
                  <a:pt x="145" y="60"/>
                  <a:pt x="145" y="59"/>
                  <a:pt x="144" y="60"/>
                </a:cubicBezTo>
                <a:cubicBezTo>
                  <a:pt x="144" y="61"/>
                  <a:pt x="144" y="61"/>
                  <a:pt x="144" y="61"/>
                </a:cubicBezTo>
                <a:cubicBezTo>
                  <a:pt x="144" y="62"/>
                  <a:pt x="144" y="61"/>
                  <a:pt x="143" y="61"/>
                </a:cubicBezTo>
                <a:cubicBezTo>
                  <a:pt x="143" y="61"/>
                  <a:pt x="143" y="62"/>
                  <a:pt x="143" y="62"/>
                </a:cubicBezTo>
                <a:cubicBezTo>
                  <a:pt x="143" y="62"/>
                  <a:pt x="142" y="61"/>
                  <a:pt x="142" y="62"/>
                </a:cubicBezTo>
                <a:cubicBezTo>
                  <a:pt x="143" y="62"/>
                  <a:pt x="142" y="63"/>
                  <a:pt x="141" y="62"/>
                </a:cubicBezTo>
                <a:cubicBezTo>
                  <a:pt x="141" y="62"/>
                  <a:pt x="141" y="63"/>
                  <a:pt x="141" y="63"/>
                </a:cubicBezTo>
                <a:cubicBezTo>
                  <a:pt x="141" y="63"/>
                  <a:pt x="140" y="62"/>
                  <a:pt x="140" y="63"/>
                </a:cubicBezTo>
                <a:cubicBezTo>
                  <a:pt x="140" y="63"/>
                  <a:pt x="140" y="63"/>
                  <a:pt x="140" y="63"/>
                </a:cubicBezTo>
                <a:cubicBezTo>
                  <a:pt x="139" y="63"/>
                  <a:pt x="139" y="63"/>
                  <a:pt x="139" y="63"/>
                </a:cubicBezTo>
                <a:cubicBezTo>
                  <a:pt x="139" y="64"/>
                  <a:pt x="138" y="64"/>
                  <a:pt x="138" y="64"/>
                </a:cubicBezTo>
                <a:cubicBezTo>
                  <a:pt x="139" y="65"/>
                  <a:pt x="138" y="66"/>
                  <a:pt x="137" y="66"/>
                </a:cubicBezTo>
                <a:cubicBezTo>
                  <a:pt x="136" y="65"/>
                  <a:pt x="138" y="66"/>
                  <a:pt x="138" y="66"/>
                </a:cubicBezTo>
                <a:cubicBezTo>
                  <a:pt x="138" y="66"/>
                  <a:pt x="137" y="67"/>
                  <a:pt x="137" y="67"/>
                </a:cubicBezTo>
                <a:cubicBezTo>
                  <a:pt x="136" y="67"/>
                  <a:pt x="136" y="66"/>
                  <a:pt x="136" y="67"/>
                </a:cubicBezTo>
                <a:cubicBezTo>
                  <a:pt x="136" y="67"/>
                  <a:pt x="135" y="67"/>
                  <a:pt x="135" y="67"/>
                </a:cubicBezTo>
                <a:cubicBezTo>
                  <a:pt x="135" y="67"/>
                  <a:pt x="135" y="67"/>
                  <a:pt x="135" y="67"/>
                </a:cubicBezTo>
                <a:cubicBezTo>
                  <a:pt x="135" y="68"/>
                  <a:pt x="134" y="69"/>
                  <a:pt x="134" y="69"/>
                </a:cubicBezTo>
                <a:cubicBezTo>
                  <a:pt x="133" y="69"/>
                  <a:pt x="133" y="70"/>
                  <a:pt x="133" y="69"/>
                </a:cubicBezTo>
                <a:cubicBezTo>
                  <a:pt x="133" y="69"/>
                  <a:pt x="132" y="70"/>
                  <a:pt x="132" y="70"/>
                </a:cubicBezTo>
                <a:cubicBezTo>
                  <a:pt x="130" y="71"/>
                  <a:pt x="133" y="71"/>
                  <a:pt x="132" y="72"/>
                </a:cubicBezTo>
                <a:cubicBezTo>
                  <a:pt x="132" y="73"/>
                  <a:pt x="132" y="72"/>
                  <a:pt x="132" y="72"/>
                </a:cubicBezTo>
                <a:cubicBezTo>
                  <a:pt x="131" y="72"/>
                  <a:pt x="131" y="72"/>
                  <a:pt x="130" y="72"/>
                </a:cubicBezTo>
                <a:cubicBezTo>
                  <a:pt x="130" y="72"/>
                  <a:pt x="131" y="73"/>
                  <a:pt x="130" y="73"/>
                </a:cubicBezTo>
                <a:cubicBezTo>
                  <a:pt x="130" y="73"/>
                  <a:pt x="130" y="73"/>
                  <a:pt x="129" y="74"/>
                </a:cubicBezTo>
                <a:cubicBezTo>
                  <a:pt x="129" y="74"/>
                  <a:pt x="130" y="74"/>
                  <a:pt x="130" y="74"/>
                </a:cubicBezTo>
                <a:cubicBezTo>
                  <a:pt x="129" y="75"/>
                  <a:pt x="129" y="76"/>
                  <a:pt x="128" y="76"/>
                </a:cubicBezTo>
                <a:cubicBezTo>
                  <a:pt x="128" y="76"/>
                  <a:pt x="127" y="76"/>
                  <a:pt x="127" y="77"/>
                </a:cubicBezTo>
                <a:cubicBezTo>
                  <a:pt x="127" y="77"/>
                  <a:pt x="127" y="77"/>
                  <a:pt x="127" y="78"/>
                </a:cubicBezTo>
                <a:cubicBezTo>
                  <a:pt x="127" y="78"/>
                  <a:pt x="127" y="78"/>
                  <a:pt x="127" y="78"/>
                </a:cubicBezTo>
                <a:cubicBezTo>
                  <a:pt x="126" y="79"/>
                  <a:pt x="127" y="80"/>
                  <a:pt x="126" y="80"/>
                </a:cubicBezTo>
                <a:cubicBezTo>
                  <a:pt x="126" y="80"/>
                  <a:pt x="125" y="81"/>
                  <a:pt x="125" y="81"/>
                </a:cubicBezTo>
                <a:cubicBezTo>
                  <a:pt x="125" y="82"/>
                  <a:pt x="125" y="82"/>
                  <a:pt x="124" y="83"/>
                </a:cubicBezTo>
                <a:cubicBezTo>
                  <a:pt x="124" y="83"/>
                  <a:pt x="124" y="84"/>
                  <a:pt x="123" y="85"/>
                </a:cubicBezTo>
                <a:cubicBezTo>
                  <a:pt x="123" y="85"/>
                  <a:pt x="122" y="86"/>
                  <a:pt x="122" y="87"/>
                </a:cubicBezTo>
                <a:cubicBezTo>
                  <a:pt x="121" y="88"/>
                  <a:pt x="121" y="87"/>
                  <a:pt x="120" y="88"/>
                </a:cubicBezTo>
                <a:cubicBezTo>
                  <a:pt x="120" y="88"/>
                  <a:pt x="120" y="89"/>
                  <a:pt x="120" y="89"/>
                </a:cubicBezTo>
                <a:cubicBezTo>
                  <a:pt x="120" y="90"/>
                  <a:pt x="119" y="90"/>
                  <a:pt x="119" y="91"/>
                </a:cubicBezTo>
                <a:cubicBezTo>
                  <a:pt x="119" y="92"/>
                  <a:pt x="118" y="92"/>
                  <a:pt x="118" y="92"/>
                </a:cubicBezTo>
                <a:cubicBezTo>
                  <a:pt x="117" y="92"/>
                  <a:pt x="118" y="93"/>
                  <a:pt x="118" y="93"/>
                </a:cubicBezTo>
                <a:cubicBezTo>
                  <a:pt x="118" y="94"/>
                  <a:pt x="117" y="94"/>
                  <a:pt x="117" y="95"/>
                </a:cubicBezTo>
                <a:cubicBezTo>
                  <a:pt x="116" y="95"/>
                  <a:pt x="116" y="95"/>
                  <a:pt x="116" y="96"/>
                </a:cubicBezTo>
                <a:cubicBezTo>
                  <a:pt x="116" y="97"/>
                  <a:pt x="117" y="97"/>
                  <a:pt x="117" y="98"/>
                </a:cubicBezTo>
                <a:cubicBezTo>
                  <a:pt x="117" y="98"/>
                  <a:pt x="118" y="99"/>
                  <a:pt x="117" y="100"/>
                </a:cubicBezTo>
                <a:cubicBezTo>
                  <a:pt x="117" y="100"/>
                  <a:pt x="116" y="100"/>
                  <a:pt x="117" y="100"/>
                </a:cubicBezTo>
                <a:cubicBezTo>
                  <a:pt x="117" y="101"/>
                  <a:pt x="117" y="101"/>
                  <a:pt x="117" y="102"/>
                </a:cubicBezTo>
                <a:cubicBezTo>
                  <a:pt x="117" y="102"/>
                  <a:pt x="117" y="103"/>
                  <a:pt x="117" y="104"/>
                </a:cubicBezTo>
                <a:cubicBezTo>
                  <a:pt x="117" y="104"/>
                  <a:pt x="117" y="105"/>
                  <a:pt x="116" y="106"/>
                </a:cubicBezTo>
                <a:cubicBezTo>
                  <a:pt x="116" y="106"/>
                  <a:pt x="117" y="107"/>
                  <a:pt x="117" y="108"/>
                </a:cubicBezTo>
                <a:cubicBezTo>
                  <a:pt x="117" y="108"/>
                  <a:pt x="117" y="110"/>
                  <a:pt x="117" y="110"/>
                </a:cubicBezTo>
                <a:cubicBezTo>
                  <a:pt x="116" y="110"/>
                  <a:pt x="116" y="111"/>
                  <a:pt x="116" y="112"/>
                </a:cubicBezTo>
                <a:cubicBezTo>
                  <a:pt x="117" y="112"/>
                  <a:pt x="116" y="114"/>
                  <a:pt x="117" y="114"/>
                </a:cubicBezTo>
                <a:cubicBezTo>
                  <a:pt x="118" y="115"/>
                  <a:pt x="117" y="116"/>
                  <a:pt x="117" y="117"/>
                </a:cubicBezTo>
                <a:cubicBezTo>
                  <a:pt x="117" y="118"/>
                  <a:pt x="118" y="119"/>
                  <a:pt x="118" y="120"/>
                </a:cubicBezTo>
                <a:cubicBezTo>
                  <a:pt x="118" y="121"/>
                  <a:pt x="118" y="121"/>
                  <a:pt x="119" y="121"/>
                </a:cubicBezTo>
                <a:cubicBezTo>
                  <a:pt x="119" y="122"/>
                  <a:pt x="119" y="123"/>
                  <a:pt x="119" y="123"/>
                </a:cubicBezTo>
                <a:cubicBezTo>
                  <a:pt x="119" y="125"/>
                  <a:pt x="117" y="123"/>
                  <a:pt x="117" y="124"/>
                </a:cubicBezTo>
                <a:cubicBezTo>
                  <a:pt x="117" y="125"/>
                  <a:pt x="117" y="125"/>
                  <a:pt x="117" y="126"/>
                </a:cubicBezTo>
                <a:cubicBezTo>
                  <a:pt x="117" y="127"/>
                  <a:pt x="117" y="127"/>
                  <a:pt x="117" y="128"/>
                </a:cubicBezTo>
                <a:cubicBezTo>
                  <a:pt x="117" y="128"/>
                  <a:pt x="117" y="129"/>
                  <a:pt x="117" y="130"/>
                </a:cubicBezTo>
                <a:cubicBezTo>
                  <a:pt x="117" y="131"/>
                  <a:pt x="118" y="131"/>
                  <a:pt x="118" y="132"/>
                </a:cubicBezTo>
                <a:cubicBezTo>
                  <a:pt x="118" y="133"/>
                  <a:pt x="118" y="134"/>
                  <a:pt x="119" y="134"/>
                </a:cubicBezTo>
                <a:cubicBezTo>
                  <a:pt x="119" y="134"/>
                  <a:pt x="120" y="135"/>
                  <a:pt x="120" y="136"/>
                </a:cubicBezTo>
                <a:cubicBezTo>
                  <a:pt x="119" y="136"/>
                  <a:pt x="119" y="137"/>
                  <a:pt x="119" y="137"/>
                </a:cubicBezTo>
                <a:cubicBezTo>
                  <a:pt x="119" y="137"/>
                  <a:pt x="118" y="137"/>
                  <a:pt x="118" y="137"/>
                </a:cubicBezTo>
                <a:cubicBezTo>
                  <a:pt x="118" y="137"/>
                  <a:pt x="119" y="137"/>
                  <a:pt x="119" y="138"/>
                </a:cubicBezTo>
                <a:cubicBezTo>
                  <a:pt x="119" y="139"/>
                  <a:pt x="119" y="139"/>
                  <a:pt x="119" y="139"/>
                </a:cubicBezTo>
                <a:cubicBezTo>
                  <a:pt x="120" y="140"/>
                  <a:pt x="120" y="140"/>
                  <a:pt x="121" y="140"/>
                </a:cubicBezTo>
                <a:cubicBezTo>
                  <a:pt x="121" y="141"/>
                  <a:pt x="121" y="141"/>
                  <a:pt x="122" y="142"/>
                </a:cubicBezTo>
                <a:cubicBezTo>
                  <a:pt x="124" y="142"/>
                  <a:pt x="125" y="143"/>
                  <a:pt x="127" y="144"/>
                </a:cubicBezTo>
                <a:cubicBezTo>
                  <a:pt x="128" y="144"/>
                  <a:pt x="129" y="145"/>
                  <a:pt x="129" y="145"/>
                </a:cubicBezTo>
                <a:cubicBezTo>
                  <a:pt x="130" y="146"/>
                  <a:pt x="131" y="146"/>
                  <a:pt x="132" y="147"/>
                </a:cubicBezTo>
                <a:cubicBezTo>
                  <a:pt x="132" y="147"/>
                  <a:pt x="134" y="149"/>
                  <a:pt x="134" y="150"/>
                </a:cubicBezTo>
                <a:cubicBezTo>
                  <a:pt x="134" y="151"/>
                  <a:pt x="134" y="151"/>
                  <a:pt x="133" y="152"/>
                </a:cubicBezTo>
                <a:cubicBezTo>
                  <a:pt x="133" y="153"/>
                  <a:pt x="133" y="153"/>
                  <a:pt x="133" y="154"/>
                </a:cubicBezTo>
                <a:cubicBezTo>
                  <a:pt x="133" y="156"/>
                  <a:pt x="134" y="157"/>
                  <a:pt x="135" y="158"/>
                </a:cubicBezTo>
                <a:cubicBezTo>
                  <a:pt x="136" y="158"/>
                  <a:pt x="136" y="159"/>
                  <a:pt x="137" y="159"/>
                </a:cubicBezTo>
                <a:cubicBezTo>
                  <a:pt x="137" y="159"/>
                  <a:pt x="139" y="159"/>
                  <a:pt x="138" y="160"/>
                </a:cubicBezTo>
                <a:cubicBezTo>
                  <a:pt x="139" y="160"/>
                  <a:pt x="139" y="160"/>
                  <a:pt x="140" y="160"/>
                </a:cubicBezTo>
                <a:cubicBezTo>
                  <a:pt x="139" y="159"/>
                  <a:pt x="140" y="159"/>
                  <a:pt x="140" y="160"/>
                </a:cubicBezTo>
                <a:cubicBezTo>
                  <a:pt x="141" y="160"/>
                  <a:pt x="141" y="161"/>
                  <a:pt x="141" y="162"/>
                </a:cubicBezTo>
                <a:cubicBezTo>
                  <a:pt x="142" y="163"/>
                  <a:pt x="143" y="165"/>
                  <a:pt x="142" y="166"/>
                </a:cubicBezTo>
                <a:cubicBezTo>
                  <a:pt x="141" y="168"/>
                  <a:pt x="141" y="169"/>
                  <a:pt x="140" y="171"/>
                </a:cubicBezTo>
                <a:cubicBezTo>
                  <a:pt x="140" y="172"/>
                  <a:pt x="139" y="174"/>
                  <a:pt x="138" y="175"/>
                </a:cubicBezTo>
                <a:cubicBezTo>
                  <a:pt x="137" y="176"/>
                  <a:pt x="137" y="176"/>
                  <a:pt x="137" y="177"/>
                </a:cubicBezTo>
                <a:cubicBezTo>
                  <a:pt x="137" y="178"/>
                  <a:pt x="138" y="178"/>
                  <a:pt x="138" y="179"/>
                </a:cubicBezTo>
                <a:cubicBezTo>
                  <a:pt x="137" y="180"/>
                  <a:pt x="135" y="182"/>
                  <a:pt x="134" y="182"/>
                </a:cubicBezTo>
                <a:cubicBezTo>
                  <a:pt x="132" y="183"/>
                  <a:pt x="131" y="184"/>
                  <a:pt x="129" y="184"/>
                </a:cubicBezTo>
                <a:cubicBezTo>
                  <a:pt x="127" y="184"/>
                  <a:pt x="126" y="186"/>
                  <a:pt x="124" y="186"/>
                </a:cubicBezTo>
                <a:cubicBezTo>
                  <a:pt x="122" y="186"/>
                  <a:pt x="120" y="187"/>
                  <a:pt x="119" y="187"/>
                </a:cubicBezTo>
                <a:cubicBezTo>
                  <a:pt x="117" y="187"/>
                  <a:pt x="115" y="188"/>
                  <a:pt x="113" y="188"/>
                </a:cubicBezTo>
                <a:cubicBezTo>
                  <a:pt x="112" y="188"/>
                  <a:pt x="110" y="188"/>
                  <a:pt x="108" y="189"/>
                </a:cubicBezTo>
                <a:cubicBezTo>
                  <a:pt x="107" y="189"/>
                  <a:pt x="106" y="189"/>
                  <a:pt x="106" y="189"/>
                </a:cubicBezTo>
                <a:cubicBezTo>
                  <a:pt x="105" y="189"/>
                  <a:pt x="105" y="189"/>
                  <a:pt x="105" y="189"/>
                </a:cubicBezTo>
                <a:cubicBezTo>
                  <a:pt x="104" y="189"/>
                  <a:pt x="103" y="189"/>
                  <a:pt x="103" y="189"/>
                </a:cubicBezTo>
                <a:cubicBezTo>
                  <a:pt x="102" y="188"/>
                  <a:pt x="102" y="189"/>
                  <a:pt x="102" y="189"/>
                </a:cubicBezTo>
                <a:cubicBezTo>
                  <a:pt x="101" y="189"/>
                  <a:pt x="101" y="188"/>
                  <a:pt x="101" y="188"/>
                </a:cubicBezTo>
                <a:cubicBezTo>
                  <a:pt x="100" y="188"/>
                  <a:pt x="99" y="188"/>
                  <a:pt x="99" y="187"/>
                </a:cubicBezTo>
                <a:cubicBezTo>
                  <a:pt x="98" y="187"/>
                  <a:pt x="98" y="187"/>
                  <a:pt x="97" y="187"/>
                </a:cubicBezTo>
                <a:cubicBezTo>
                  <a:pt x="97" y="187"/>
                  <a:pt x="96" y="186"/>
                  <a:pt x="96" y="187"/>
                </a:cubicBezTo>
                <a:cubicBezTo>
                  <a:pt x="96" y="188"/>
                  <a:pt x="97" y="188"/>
                  <a:pt x="97" y="188"/>
                </a:cubicBezTo>
                <a:cubicBezTo>
                  <a:pt x="97" y="188"/>
                  <a:pt x="97" y="188"/>
                  <a:pt x="97" y="189"/>
                </a:cubicBezTo>
                <a:cubicBezTo>
                  <a:pt x="97" y="189"/>
                  <a:pt x="97" y="189"/>
                  <a:pt x="97" y="190"/>
                </a:cubicBezTo>
                <a:cubicBezTo>
                  <a:pt x="97" y="191"/>
                  <a:pt x="98" y="191"/>
                  <a:pt x="99" y="192"/>
                </a:cubicBezTo>
                <a:cubicBezTo>
                  <a:pt x="98" y="192"/>
                  <a:pt x="98" y="191"/>
                  <a:pt x="98" y="192"/>
                </a:cubicBezTo>
                <a:cubicBezTo>
                  <a:pt x="98" y="192"/>
                  <a:pt x="100" y="192"/>
                  <a:pt x="100" y="192"/>
                </a:cubicBezTo>
                <a:cubicBezTo>
                  <a:pt x="100" y="192"/>
                  <a:pt x="102" y="193"/>
                  <a:pt x="101" y="193"/>
                </a:cubicBezTo>
                <a:cubicBezTo>
                  <a:pt x="100" y="193"/>
                  <a:pt x="100" y="192"/>
                  <a:pt x="99" y="192"/>
                </a:cubicBezTo>
                <a:cubicBezTo>
                  <a:pt x="99" y="192"/>
                  <a:pt x="99" y="192"/>
                  <a:pt x="99" y="192"/>
                </a:cubicBezTo>
                <a:cubicBezTo>
                  <a:pt x="98" y="192"/>
                  <a:pt x="99" y="192"/>
                  <a:pt x="99" y="193"/>
                </a:cubicBezTo>
                <a:cubicBezTo>
                  <a:pt x="100" y="193"/>
                  <a:pt x="100" y="193"/>
                  <a:pt x="101" y="194"/>
                </a:cubicBezTo>
                <a:cubicBezTo>
                  <a:pt x="101" y="194"/>
                  <a:pt x="101" y="195"/>
                  <a:pt x="101" y="196"/>
                </a:cubicBezTo>
                <a:cubicBezTo>
                  <a:pt x="101" y="196"/>
                  <a:pt x="102" y="198"/>
                  <a:pt x="102" y="198"/>
                </a:cubicBezTo>
                <a:cubicBezTo>
                  <a:pt x="101" y="198"/>
                  <a:pt x="100" y="198"/>
                  <a:pt x="100" y="198"/>
                </a:cubicBezTo>
                <a:cubicBezTo>
                  <a:pt x="101" y="198"/>
                  <a:pt x="100" y="200"/>
                  <a:pt x="100" y="201"/>
                </a:cubicBezTo>
                <a:cubicBezTo>
                  <a:pt x="101" y="201"/>
                  <a:pt x="101" y="201"/>
                  <a:pt x="101" y="202"/>
                </a:cubicBezTo>
                <a:cubicBezTo>
                  <a:pt x="100" y="202"/>
                  <a:pt x="100" y="203"/>
                  <a:pt x="100" y="203"/>
                </a:cubicBezTo>
                <a:cubicBezTo>
                  <a:pt x="101" y="204"/>
                  <a:pt x="102" y="205"/>
                  <a:pt x="102" y="206"/>
                </a:cubicBezTo>
                <a:cubicBezTo>
                  <a:pt x="103" y="206"/>
                  <a:pt x="103" y="206"/>
                  <a:pt x="103" y="206"/>
                </a:cubicBezTo>
                <a:cubicBezTo>
                  <a:pt x="103" y="207"/>
                  <a:pt x="102" y="206"/>
                  <a:pt x="102" y="206"/>
                </a:cubicBezTo>
                <a:cubicBezTo>
                  <a:pt x="103" y="207"/>
                  <a:pt x="103" y="207"/>
                  <a:pt x="103" y="207"/>
                </a:cubicBezTo>
                <a:cubicBezTo>
                  <a:pt x="104" y="207"/>
                  <a:pt x="103" y="208"/>
                  <a:pt x="103" y="208"/>
                </a:cubicBezTo>
                <a:cubicBezTo>
                  <a:pt x="103" y="210"/>
                  <a:pt x="102" y="212"/>
                  <a:pt x="99" y="212"/>
                </a:cubicBezTo>
                <a:cubicBezTo>
                  <a:pt x="97" y="213"/>
                  <a:pt x="95" y="212"/>
                  <a:pt x="93" y="212"/>
                </a:cubicBezTo>
                <a:cubicBezTo>
                  <a:pt x="92" y="212"/>
                  <a:pt x="91" y="212"/>
                  <a:pt x="90" y="212"/>
                </a:cubicBezTo>
                <a:cubicBezTo>
                  <a:pt x="90" y="212"/>
                  <a:pt x="90" y="211"/>
                  <a:pt x="89" y="211"/>
                </a:cubicBezTo>
                <a:cubicBezTo>
                  <a:pt x="89" y="211"/>
                  <a:pt x="89" y="211"/>
                  <a:pt x="89" y="211"/>
                </a:cubicBezTo>
                <a:cubicBezTo>
                  <a:pt x="88" y="211"/>
                  <a:pt x="88" y="211"/>
                  <a:pt x="88" y="211"/>
                </a:cubicBezTo>
                <a:cubicBezTo>
                  <a:pt x="88" y="211"/>
                  <a:pt x="88" y="211"/>
                  <a:pt x="88" y="211"/>
                </a:cubicBezTo>
                <a:cubicBezTo>
                  <a:pt x="88" y="211"/>
                  <a:pt x="87" y="211"/>
                  <a:pt x="87" y="211"/>
                </a:cubicBezTo>
                <a:cubicBezTo>
                  <a:pt x="86" y="210"/>
                  <a:pt x="85" y="210"/>
                  <a:pt x="84" y="209"/>
                </a:cubicBezTo>
                <a:cubicBezTo>
                  <a:pt x="84" y="209"/>
                  <a:pt x="83" y="209"/>
                  <a:pt x="82" y="209"/>
                </a:cubicBezTo>
                <a:cubicBezTo>
                  <a:pt x="82" y="209"/>
                  <a:pt x="81" y="209"/>
                  <a:pt x="80" y="209"/>
                </a:cubicBezTo>
                <a:cubicBezTo>
                  <a:pt x="80" y="208"/>
                  <a:pt x="82" y="209"/>
                  <a:pt x="81" y="208"/>
                </a:cubicBezTo>
                <a:cubicBezTo>
                  <a:pt x="81" y="208"/>
                  <a:pt x="81" y="208"/>
                  <a:pt x="81" y="208"/>
                </a:cubicBezTo>
                <a:cubicBezTo>
                  <a:pt x="81" y="208"/>
                  <a:pt x="81" y="208"/>
                  <a:pt x="81" y="208"/>
                </a:cubicBezTo>
                <a:cubicBezTo>
                  <a:pt x="80" y="207"/>
                  <a:pt x="80" y="207"/>
                  <a:pt x="79" y="208"/>
                </a:cubicBezTo>
                <a:cubicBezTo>
                  <a:pt x="80" y="208"/>
                  <a:pt x="80" y="208"/>
                  <a:pt x="79" y="208"/>
                </a:cubicBezTo>
                <a:cubicBezTo>
                  <a:pt x="78" y="208"/>
                  <a:pt x="78" y="209"/>
                  <a:pt x="78" y="210"/>
                </a:cubicBezTo>
                <a:cubicBezTo>
                  <a:pt x="78" y="211"/>
                  <a:pt x="80" y="213"/>
                  <a:pt x="81" y="215"/>
                </a:cubicBezTo>
                <a:cubicBezTo>
                  <a:pt x="81" y="215"/>
                  <a:pt x="82" y="216"/>
                  <a:pt x="82" y="217"/>
                </a:cubicBezTo>
                <a:cubicBezTo>
                  <a:pt x="82" y="217"/>
                  <a:pt x="82" y="218"/>
                  <a:pt x="83" y="219"/>
                </a:cubicBezTo>
                <a:cubicBezTo>
                  <a:pt x="83" y="219"/>
                  <a:pt x="83" y="220"/>
                  <a:pt x="83" y="221"/>
                </a:cubicBezTo>
                <a:cubicBezTo>
                  <a:pt x="83" y="222"/>
                  <a:pt x="84" y="223"/>
                  <a:pt x="84" y="223"/>
                </a:cubicBezTo>
                <a:cubicBezTo>
                  <a:pt x="85" y="223"/>
                  <a:pt x="86" y="224"/>
                  <a:pt x="87" y="224"/>
                </a:cubicBezTo>
                <a:cubicBezTo>
                  <a:pt x="87" y="224"/>
                  <a:pt x="89" y="224"/>
                  <a:pt x="89" y="224"/>
                </a:cubicBezTo>
                <a:cubicBezTo>
                  <a:pt x="89" y="224"/>
                  <a:pt x="89" y="226"/>
                  <a:pt x="89" y="226"/>
                </a:cubicBezTo>
                <a:cubicBezTo>
                  <a:pt x="88" y="227"/>
                  <a:pt x="90" y="226"/>
                  <a:pt x="90" y="226"/>
                </a:cubicBezTo>
                <a:cubicBezTo>
                  <a:pt x="90" y="226"/>
                  <a:pt x="91" y="226"/>
                  <a:pt x="92" y="226"/>
                </a:cubicBezTo>
                <a:cubicBezTo>
                  <a:pt x="92" y="226"/>
                  <a:pt x="93" y="226"/>
                  <a:pt x="93" y="225"/>
                </a:cubicBezTo>
                <a:cubicBezTo>
                  <a:pt x="93" y="225"/>
                  <a:pt x="93" y="224"/>
                  <a:pt x="92" y="224"/>
                </a:cubicBezTo>
                <a:cubicBezTo>
                  <a:pt x="92" y="224"/>
                  <a:pt x="90" y="224"/>
                  <a:pt x="90" y="224"/>
                </a:cubicBezTo>
                <a:cubicBezTo>
                  <a:pt x="91" y="224"/>
                  <a:pt x="92" y="224"/>
                  <a:pt x="92" y="224"/>
                </a:cubicBezTo>
                <a:cubicBezTo>
                  <a:pt x="92" y="223"/>
                  <a:pt x="93" y="223"/>
                  <a:pt x="94" y="223"/>
                </a:cubicBezTo>
                <a:cubicBezTo>
                  <a:pt x="95" y="222"/>
                  <a:pt x="95" y="223"/>
                  <a:pt x="96" y="224"/>
                </a:cubicBezTo>
                <a:cubicBezTo>
                  <a:pt x="97" y="225"/>
                  <a:pt x="98" y="226"/>
                  <a:pt x="98" y="227"/>
                </a:cubicBezTo>
                <a:cubicBezTo>
                  <a:pt x="98" y="228"/>
                  <a:pt x="99" y="230"/>
                  <a:pt x="98" y="230"/>
                </a:cubicBezTo>
                <a:cubicBezTo>
                  <a:pt x="96" y="231"/>
                  <a:pt x="94" y="232"/>
                  <a:pt x="93" y="230"/>
                </a:cubicBezTo>
                <a:cubicBezTo>
                  <a:pt x="93" y="229"/>
                  <a:pt x="93" y="229"/>
                  <a:pt x="93" y="228"/>
                </a:cubicBezTo>
                <a:cubicBezTo>
                  <a:pt x="93" y="228"/>
                  <a:pt x="92" y="228"/>
                  <a:pt x="92" y="228"/>
                </a:cubicBezTo>
                <a:cubicBezTo>
                  <a:pt x="91" y="227"/>
                  <a:pt x="89" y="227"/>
                  <a:pt x="88" y="227"/>
                </a:cubicBezTo>
                <a:cubicBezTo>
                  <a:pt x="88" y="228"/>
                  <a:pt x="88" y="228"/>
                  <a:pt x="87" y="228"/>
                </a:cubicBezTo>
                <a:cubicBezTo>
                  <a:pt x="87" y="228"/>
                  <a:pt x="87" y="228"/>
                  <a:pt x="86" y="229"/>
                </a:cubicBezTo>
                <a:cubicBezTo>
                  <a:pt x="86" y="230"/>
                  <a:pt x="87" y="230"/>
                  <a:pt x="88" y="231"/>
                </a:cubicBezTo>
                <a:cubicBezTo>
                  <a:pt x="90" y="231"/>
                  <a:pt x="91" y="232"/>
                  <a:pt x="92" y="232"/>
                </a:cubicBezTo>
                <a:cubicBezTo>
                  <a:pt x="92" y="232"/>
                  <a:pt x="93" y="232"/>
                  <a:pt x="93" y="232"/>
                </a:cubicBezTo>
                <a:cubicBezTo>
                  <a:pt x="94" y="232"/>
                  <a:pt x="92" y="233"/>
                  <a:pt x="92" y="233"/>
                </a:cubicBezTo>
                <a:cubicBezTo>
                  <a:pt x="91" y="234"/>
                  <a:pt x="90" y="234"/>
                  <a:pt x="89" y="235"/>
                </a:cubicBezTo>
                <a:cubicBezTo>
                  <a:pt x="89" y="235"/>
                  <a:pt x="88" y="236"/>
                  <a:pt x="88" y="236"/>
                </a:cubicBezTo>
                <a:cubicBezTo>
                  <a:pt x="89" y="237"/>
                  <a:pt x="88" y="237"/>
                  <a:pt x="88" y="237"/>
                </a:cubicBezTo>
                <a:cubicBezTo>
                  <a:pt x="88" y="238"/>
                  <a:pt x="87" y="239"/>
                  <a:pt x="87" y="239"/>
                </a:cubicBezTo>
                <a:cubicBezTo>
                  <a:pt x="87" y="240"/>
                  <a:pt x="87" y="240"/>
                  <a:pt x="88" y="241"/>
                </a:cubicBezTo>
                <a:cubicBezTo>
                  <a:pt x="88" y="241"/>
                  <a:pt x="89" y="243"/>
                  <a:pt x="89" y="243"/>
                </a:cubicBezTo>
                <a:cubicBezTo>
                  <a:pt x="89" y="244"/>
                  <a:pt x="90" y="244"/>
                  <a:pt x="89" y="245"/>
                </a:cubicBezTo>
                <a:cubicBezTo>
                  <a:pt x="89" y="245"/>
                  <a:pt x="90" y="246"/>
                  <a:pt x="90" y="247"/>
                </a:cubicBezTo>
                <a:cubicBezTo>
                  <a:pt x="90" y="247"/>
                  <a:pt x="89" y="248"/>
                  <a:pt x="90" y="248"/>
                </a:cubicBezTo>
                <a:cubicBezTo>
                  <a:pt x="91" y="248"/>
                  <a:pt x="90" y="248"/>
                  <a:pt x="90" y="248"/>
                </a:cubicBezTo>
                <a:cubicBezTo>
                  <a:pt x="90" y="248"/>
                  <a:pt x="90" y="249"/>
                  <a:pt x="90" y="249"/>
                </a:cubicBezTo>
                <a:cubicBezTo>
                  <a:pt x="90" y="249"/>
                  <a:pt x="90" y="249"/>
                  <a:pt x="89" y="249"/>
                </a:cubicBezTo>
                <a:cubicBezTo>
                  <a:pt x="89" y="249"/>
                  <a:pt x="89" y="249"/>
                  <a:pt x="89" y="250"/>
                </a:cubicBezTo>
                <a:cubicBezTo>
                  <a:pt x="88" y="250"/>
                  <a:pt x="87" y="251"/>
                  <a:pt x="88" y="252"/>
                </a:cubicBezTo>
                <a:cubicBezTo>
                  <a:pt x="89" y="252"/>
                  <a:pt x="89" y="252"/>
                  <a:pt x="90" y="253"/>
                </a:cubicBezTo>
                <a:cubicBezTo>
                  <a:pt x="90" y="253"/>
                  <a:pt x="89" y="253"/>
                  <a:pt x="90" y="254"/>
                </a:cubicBezTo>
                <a:cubicBezTo>
                  <a:pt x="90" y="255"/>
                  <a:pt x="88" y="254"/>
                  <a:pt x="87" y="254"/>
                </a:cubicBezTo>
                <a:cubicBezTo>
                  <a:pt x="87" y="254"/>
                  <a:pt x="87" y="254"/>
                  <a:pt x="87" y="254"/>
                </a:cubicBezTo>
                <a:cubicBezTo>
                  <a:pt x="87" y="254"/>
                  <a:pt x="87" y="254"/>
                  <a:pt x="86" y="254"/>
                </a:cubicBezTo>
                <a:cubicBezTo>
                  <a:pt x="86" y="254"/>
                  <a:pt x="85" y="253"/>
                  <a:pt x="84" y="254"/>
                </a:cubicBezTo>
                <a:cubicBezTo>
                  <a:pt x="84" y="254"/>
                  <a:pt x="83" y="254"/>
                  <a:pt x="83" y="255"/>
                </a:cubicBezTo>
                <a:cubicBezTo>
                  <a:pt x="82" y="255"/>
                  <a:pt x="82" y="255"/>
                  <a:pt x="83" y="256"/>
                </a:cubicBezTo>
                <a:cubicBezTo>
                  <a:pt x="83" y="256"/>
                  <a:pt x="82" y="255"/>
                  <a:pt x="82" y="256"/>
                </a:cubicBezTo>
                <a:cubicBezTo>
                  <a:pt x="82" y="256"/>
                  <a:pt x="83" y="256"/>
                  <a:pt x="82" y="256"/>
                </a:cubicBezTo>
                <a:cubicBezTo>
                  <a:pt x="81" y="256"/>
                  <a:pt x="80" y="256"/>
                  <a:pt x="79" y="257"/>
                </a:cubicBezTo>
                <a:cubicBezTo>
                  <a:pt x="78" y="257"/>
                  <a:pt x="78" y="259"/>
                  <a:pt x="78" y="259"/>
                </a:cubicBezTo>
                <a:cubicBezTo>
                  <a:pt x="78" y="260"/>
                  <a:pt x="78" y="260"/>
                  <a:pt x="77" y="260"/>
                </a:cubicBezTo>
                <a:cubicBezTo>
                  <a:pt x="77" y="261"/>
                  <a:pt x="78" y="262"/>
                  <a:pt x="78" y="262"/>
                </a:cubicBezTo>
                <a:cubicBezTo>
                  <a:pt x="78" y="263"/>
                  <a:pt x="77" y="263"/>
                  <a:pt x="77" y="263"/>
                </a:cubicBezTo>
                <a:cubicBezTo>
                  <a:pt x="77" y="264"/>
                  <a:pt x="77" y="265"/>
                  <a:pt x="77" y="265"/>
                </a:cubicBezTo>
                <a:cubicBezTo>
                  <a:pt x="77" y="267"/>
                  <a:pt x="78" y="268"/>
                  <a:pt x="78" y="269"/>
                </a:cubicBezTo>
                <a:cubicBezTo>
                  <a:pt x="79" y="270"/>
                  <a:pt x="80" y="271"/>
                  <a:pt x="81" y="271"/>
                </a:cubicBezTo>
                <a:cubicBezTo>
                  <a:pt x="81" y="271"/>
                  <a:pt x="81" y="272"/>
                  <a:pt x="82" y="272"/>
                </a:cubicBezTo>
                <a:cubicBezTo>
                  <a:pt x="82" y="272"/>
                  <a:pt x="83" y="273"/>
                  <a:pt x="84" y="273"/>
                </a:cubicBezTo>
                <a:cubicBezTo>
                  <a:pt x="85" y="274"/>
                  <a:pt x="86" y="274"/>
                  <a:pt x="87" y="275"/>
                </a:cubicBezTo>
                <a:cubicBezTo>
                  <a:pt x="87" y="276"/>
                  <a:pt x="88" y="276"/>
                  <a:pt x="89" y="276"/>
                </a:cubicBezTo>
                <a:cubicBezTo>
                  <a:pt x="91" y="276"/>
                  <a:pt x="92" y="277"/>
                  <a:pt x="93" y="276"/>
                </a:cubicBezTo>
                <a:cubicBezTo>
                  <a:pt x="94" y="276"/>
                  <a:pt x="95" y="276"/>
                  <a:pt x="96" y="277"/>
                </a:cubicBezTo>
                <a:cubicBezTo>
                  <a:pt x="98" y="278"/>
                  <a:pt x="99" y="281"/>
                  <a:pt x="99" y="283"/>
                </a:cubicBezTo>
                <a:cubicBezTo>
                  <a:pt x="98" y="284"/>
                  <a:pt x="97" y="283"/>
                  <a:pt x="97" y="284"/>
                </a:cubicBezTo>
                <a:cubicBezTo>
                  <a:pt x="96" y="285"/>
                  <a:pt x="95" y="285"/>
                  <a:pt x="95" y="285"/>
                </a:cubicBezTo>
                <a:cubicBezTo>
                  <a:pt x="95" y="285"/>
                  <a:pt x="97" y="284"/>
                  <a:pt x="98" y="284"/>
                </a:cubicBezTo>
                <a:cubicBezTo>
                  <a:pt x="98" y="284"/>
                  <a:pt x="99" y="284"/>
                  <a:pt x="99" y="285"/>
                </a:cubicBezTo>
                <a:cubicBezTo>
                  <a:pt x="99" y="285"/>
                  <a:pt x="99" y="285"/>
                  <a:pt x="100" y="285"/>
                </a:cubicBezTo>
                <a:cubicBezTo>
                  <a:pt x="101" y="286"/>
                  <a:pt x="99" y="286"/>
                  <a:pt x="99" y="286"/>
                </a:cubicBezTo>
                <a:cubicBezTo>
                  <a:pt x="98" y="286"/>
                  <a:pt x="100" y="287"/>
                  <a:pt x="100" y="287"/>
                </a:cubicBezTo>
                <a:cubicBezTo>
                  <a:pt x="100" y="287"/>
                  <a:pt x="99" y="287"/>
                  <a:pt x="99" y="287"/>
                </a:cubicBezTo>
                <a:cubicBezTo>
                  <a:pt x="98" y="287"/>
                  <a:pt x="98" y="288"/>
                  <a:pt x="98" y="288"/>
                </a:cubicBezTo>
                <a:cubicBezTo>
                  <a:pt x="98" y="289"/>
                  <a:pt x="96" y="289"/>
                  <a:pt x="97" y="290"/>
                </a:cubicBezTo>
                <a:cubicBezTo>
                  <a:pt x="97" y="290"/>
                  <a:pt x="96" y="290"/>
                  <a:pt x="96" y="290"/>
                </a:cubicBezTo>
                <a:cubicBezTo>
                  <a:pt x="96" y="290"/>
                  <a:pt x="96" y="290"/>
                  <a:pt x="96" y="291"/>
                </a:cubicBezTo>
                <a:cubicBezTo>
                  <a:pt x="96" y="291"/>
                  <a:pt x="95" y="291"/>
                  <a:pt x="95" y="291"/>
                </a:cubicBezTo>
                <a:cubicBezTo>
                  <a:pt x="95" y="291"/>
                  <a:pt x="94" y="292"/>
                  <a:pt x="94" y="292"/>
                </a:cubicBezTo>
                <a:cubicBezTo>
                  <a:pt x="94" y="293"/>
                  <a:pt x="93" y="293"/>
                  <a:pt x="92" y="293"/>
                </a:cubicBezTo>
                <a:cubicBezTo>
                  <a:pt x="91" y="294"/>
                  <a:pt x="92" y="295"/>
                  <a:pt x="91" y="295"/>
                </a:cubicBezTo>
                <a:cubicBezTo>
                  <a:pt x="90" y="296"/>
                  <a:pt x="89" y="297"/>
                  <a:pt x="89" y="298"/>
                </a:cubicBezTo>
                <a:cubicBezTo>
                  <a:pt x="90" y="299"/>
                  <a:pt x="90" y="299"/>
                  <a:pt x="90" y="299"/>
                </a:cubicBezTo>
                <a:cubicBezTo>
                  <a:pt x="90" y="300"/>
                  <a:pt x="89" y="300"/>
                  <a:pt x="89" y="300"/>
                </a:cubicBezTo>
                <a:cubicBezTo>
                  <a:pt x="89" y="300"/>
                  <a:pt x="90" y="300"/>
                  <a:pt x="90" y="300"/>
                </a:cubicBezTo>
                <a:cubicBezTo>
                  <a:pt x="89" y="300"/>
                  <a:pt x="89" y="301"/>
                  <a:pt x="89" y="301"/>
                </a:cubicBezTo>
                <a:cubicBezTo>
                  <a:pt x="89" y="301"/>
                  <a:pt x="90" y="301"/>
                  <a:pt x="90" y="301"/>
                </a:cubicBezTo>
                <a:cubicBezTo>
                  <a:pt x="90" y="301"/>
                  <a:pt x="90" y="300"/>
                  <a:pt x="90" y="300"/>
                </a:cubicBezTo>
                <a:cubicBezTo>
                  <a:pt x="90" y="299"/>
                  <a:pt x="90" y="301"/>
                  <a:pt x="90" y="301"/>
                </a:cubicBezTo>
                <a:cubicBezTo>
                  <a:pt x="91" y="303"/>
                  <a:pt x="91" y="304"/>
                  <a:pt x="91" y="305"/>
                </a:cubicBezTo>
                <a:cubicBezTo>
                  <a:pt x="92" y="307"/>
                  <a:pt x="90" y="309"/>
                  <a:pt x="88" y="309"/>
                </a:cubicBezTo>
                <a:cubicBezTo>
                  <a:pt x="86" y="308"/>
                  <a:pt x="85" y="305"/>
                  <a:pt x="83" y="305"/>
                </a:cubicBezTo>
                <a:cubicBezTo>
                  <a:pt x="83" y="305"/>
                  <a:pt x="85" y="306"/>
                  <a:pt x="85" y="307"/>
                </a:cubicBezTo>
                <a:cubicBezTo>
                  <a:pt x="85" y="308"/>
                  <a:pt x="84" y="307"/>
                  <a:pt x="83" y="307"/>
                </a:cubicBezTo>
                <a:cubicBezTo>
                  <a:pt x="83" y="307"/>
                  <a:pt x="81" y="307"/>
                  <a:pt x="82" y="308"/>
                </a:cubicBezTo>
                <a:cubicBezTo>
                  <a:pt x="82" y="308"/>
                  <a:pt x="83" y="307"/>
                  <a:pt x="84" y="307"/>
                </a:cubicBezTo>
                <a:cubicBezTo>
                  <a:pt x="85" y="308"/>
                  <a:pt x="85" y="307"/>
                  <a:pt x="86" y="308"/>
                </a:cubicBezTo>
                <a:cubicBezTo>
                  <a:pt x="87" y="309"/>
                  <a:pt x="87" y="309"/>
                  <a:pt x="88" y="309"/>
                </a:cubicBezTo>
                <a:cubicBezTo>
                  <a:pt x="88" y="310"/>
                  <a:pt x="86" y="310"/>
                  <a:pt x="86" y="310"/>
                </a:cubicBezTo>
                <a:cubicBezTo>
                  <a:pt x="84" y="311"/>
                  <a:pt x="84" y="313"/>
                  <a:pt x="84" y="315"/>
                </a:cubicBezTo>
                <a:cubicBezTo>
                  <a:pt x="84" y="316"/>
                  <a:pt x="85" y="317"/>
                  <a:pt x="85" y="317"/>
                </a:cubicBezTo>
                <a:cubicBezTo>
                  <a:pt x="85" y="318"/>
                  <a:pt x="84" y="318"/>
                  <a:pt x="84" y="319"/>
                </a:cubicBezTo>
                <a:cubicBezTo>
                  <a:pt x="84" y="319"/>
                  <a:pt x="84" y="318"/>
                  <a:pt x="85" y="318"/>
                </a:cubicBezTo>
                <a:cubicBezTo>
                  <a:pt x="85" y="318"/>
                  <a:pt x="86" y="319"/>
                  <a:pt x="86" y="319"/>
                </a:cubicBezTo>
                <a:cubicBezTo>
                  <a:pt x="87" y="321"/>
                  <a:pt x="88" y="322"/>
                  <a:pt x="89" y="324"/>
                </a:cubicBezTo>
                <a:cubicBezTo>
                  <a:pt x="90" y="324"/>
                  <a:pt x="90" y="324"/>
                  <a:pt x="89" y="324"/>
                </a:cubicBezTo>
                <a:cubicBezTo>
                  <a:pt x="89" y="324"/>
                  <a:pt x="89" y="325"/>
                  <a:pt x="88" y="325"/>
                </a:cubicBezTo>
                <a:cubicBezTo>
                  <a:pt x="88" y="325"/>
                  <a:pt x="87" y="324"/>
                  <a:pt x="86" y="324"/>
                </a:cubicBezTo>
                <a:cubicBezTo>
                  <a:pt x="86" y="324"/>
                  <a:pt x="85" y="325"/>
                  <a:pt x="85" y="325"/>
                </a:cubicBezTo>
                <a:cubicBezTo>
                  <a:pt x="86" y="325"/>
                  <a:pt x="86" y="324"/>
                  <a:pt x="87" y="325"/>
                </a:cubicBezTo>
                <a:cubicBezTo>
                  <a:pt x="88" y="325"/>
                  <a:pt x="89" y="325"/>
                  <a:pt x="88" y="325"/>
                </a:cubicBezTo>
                <a:cubicBezTo>
                  <a:pt x="89" y="326"/>
                  <a:pt x="89" y="325"/>
                  <a:pt x="89" y="325"/>
                </a:cubicBezTo>
                <a:cubicBezTo>
                  <a:pt x="90" y="325"/>
                  <a:pt x="90" y="325"/>
                  <a:pt x="91" y="325"/>
                </a:cubicBezTo>
                <a:cubicBezTo>
                  <a:pt x="92" y="326"/>
                  <a:pt x="93" y="328"/>
                  <a:pt x="94" y="328"/>
                </a:cubicBezTo>
                <a:cubicBezTo>
                  <a:pt x="95" y="329"/>
                  <a:pt x="96" y="330"/>
                  <a:pt x="97" y="331"/>
                </a:cubicBezTo>
                <a:cubicBezTo>
                  <a:pt x="97" y="331"/>
                  <a:pt x="99" y="332"/>
                  <a:pt x="98" y="333"/>
                </a:cubicBezTo>
                <a:cubicBezTo>
                  <a:pt x="98" y="332"/>
                  <a:pt x="96" y="332"/>
                  <a:pt x="95" y="332"/>
                </a:cubicBezTo>
                <a:cubicBezTo>
                  <a:pt x="93" y="331"/>
                  <a:pt x="91" y="330"/>
                  <a:pt x="90" y="330"/>
                </a:cubicBezTo>
                <a:cubicBezTo>
                  <a:pt x="88" y="330"/>
                  <a:pt x="86" y="330"/>
                  <a:pt x="84" y="329"/>
                </a:cubicBezTo>
                <a:cubicBezTo>
                  <a:pt x="82" y="329"/>
                  <a:pt x="80" y="329"/>
                  <a:pt x="78" y="329"/>
                </a:cubicBezTo>
                <a:cubicBezTo>
                  <a:pt x="76" y="329"/>
                  <a:pt x="74" y="329"/>
                  <a:pt x="72" y="329"/>
                </a:cubicBezTo>
                <a:cubicBezTo>
                  <a:pt x="71" y="329"/>
                  <a:pt x="70" y="329"/>
                  <a:pt x="69" y="329"/>
                </a:cubicBezTo>
                <a:cubicBezTo>
                  <a:pt x="69" y="329"/>
                  <a:pt x="68" y="329"/>
                  <a:pt x="67" y="329"/>
                </a:cubicBezTo>
                <a:cubicBezTo>
                  <a:pt x="67" y="328"/>
                  <a:pt x="66" y="328"/>
                  <a:pt x="66" y="327"/>
                </a:cubicBezTo>
                <a:cubicBezTo>
                  <a:pt x="65" y="327"/>
                  <a:pt x="65" y="326"/>
                  <a:pt x="64" y="326"/>
                </a:cubicBezTo>
                <a:cubicBezTo>
                  <a:pt x="64" y="326"/>
                  <a:pt x="63" y="326"/>
                  <a:pt x="62" y="325"/>
                </a:cubicBezTo>
                <a:cubicBezTo>
                  <a:pt x="62" y="325"/>
                  <a:pt x="62" y="325"/>
                  <a:pt x="61" y="324"/>
                </a:cubicBezTo>
                <a:cubicBezTo>
                  <a:pt x="61" y="324"/>
                  <a:pt x="61" y="324"/>
                  <a:pt x="61" y="323"/>
                </a:cubicBezTo>
                <a:cubicBezTo>
                  <a:pt x="61" y="323"/>
                  <a:pt x="61" y="322"/>
                  <a:pt x="60" y="321"/>
                </a:cubicBezTo>
                <a:cubicBezTo>
                  <a:pt x="60" y="321"/>
                  <a:pt x="61" y="321"/>
                  <a:pt x="61" y="321"/>
                </a:cubicBezTo>
                <a:cubicBezTo>
                  <a:pt x="61" y="321"/>
                  <a:pt x="60" y="320"/>
                  <a:pt x="60" y="320"/>
                </a:cubicBezTo>
                <a:cubicBezTo>
                  <a:pt x="59" y="320"/>
                  <a:pt x="59" y="320"/>
                  <a:pt x="59" y="319"/>
                </a:cubicBezTo>
                <a:cubicBezTo>
                  <a:pt x="59" y="318"/>
                  <a:pt x="60" y="319"/>
                  <a:pt x="59" y="318"/>
                </a:cubicBezTo>
                <a:cubicBezTo>
                  <a:pt x="59" y="317"/>
                  <a:pt x="59" y="317"/>
                  <a:pt x="58" y="316"/>
                </a:cubicBezTo>
                <a:cubicBezTo>
                  <a:pt x="58" y="316"/>
                  <a:pt x="57" y="316"/>
                  <a:pt x="57" y="315"/>
                </a:cubicBezTo>
                <a:cubicBezTo>
                  <a:pt x="57" y="314"/>
                  <a:pt x="56" y="314"/>
                  <a:pt x="56" y="314"/>
                </a:cubicBezTo>
                <a:cubicBezTo>
                  <a:pt x="56" y="314"/>
                  <a:pt x="55" y="314"/>
                  <a:pt x="55" y="314"/>
                </a:cubicBezTo>
                <a:cubicBezTo>
                  <a:pt x="55" y="314"/>
                  <a:pt x="55" y="315"/>
                  <a:pt x="55" y="315"/>
                </a:cubicBezTo>
                <a:cubicBezTo>
                  <a:pt x="54" y="315"/>
                  <a:pt x="54" y="314"/>
                  <a:pt x="53" y="314"/>
                </a:cubicBezTo>
                <a:cubicBezTo>
                  <a:pt x="52" y="314"/>
                  <a:pt x="52" y="317"/>
                  <a:pt x="50" y="315"/>
                </a:cubicBezTo>
                <a:cubicBezTo>
                  <a:pt x="50" y="314"/>
                  <a:pt x="49" y="313"/>
                  <a:pt x="48" y="312"/>
                </a:cubicBezTo>
                <a:cubicBezTo>
                  <a:pt x="47" y="311"/>
                  <a:pt x="46" y="310"/>
                  <a:pt x="45" y="309"/>
                </a:cubicBezTo>
                <a:cubicBezTo>
                  <a:pt x="44" y="309"/>
                  <a:pt x="44" y="309"/>
                  <a:pt x="44" y="308"/>
                </a:cubicBezTo>
                <a:cubicBezTo>
                  <a:pt x="44" y="307"/>
                  <a:pt x="44" y="308"/>
                  <a:pt x="43" y="307"/>
                </a:cubicBezTo>
                <a:cubicBezTo>
                  <a:pt x="43" y="306"/>
                  <a:pt x="44" y="306"/>
                  <a:pt x="43" y="305"/>
                </a:cubicBezTo>
                <a:cubicBezTo>
                  <a:pt x="43" y="305"/>
                  <a:pt x="42" y="305"/>
                  <a:pt x="42" y="304"/>
                </a:cubicBezTo>
                <a:cubicBezTo>
                  <a:pt x="42" y="304"/>
                  <a:pt x="42" y="304"/>
                  <a:pt x="42" y="303"/>
                </a:cubicBezTo>
                <a:cubicBezTo>
                  <a:pt x="42" y="303"/>
                  <a:pt x="41" y="303"/>
                  <a:pt x="41" y="303"/>
                </a:cubicBezTo>
                <a:cubicBezTo>
                  <a:pt x="41" y="303"/>
                  <a:pt x="41" y="302"/>
                  <a:pt x="41" y="302"/>
                </a:cubicBezTo>
                <a:cubicBezTo>
                  <a:pt x="41" y="302"/>
                  <a:pt x="41" y="302"/>
                  <a:pt x="41" y="302"/>
                </a:cubicBezTo>
                <a:cubicBezTo>
                  <a:pt x="41" y="301"/>
                  <a:pt x="41" y="301"/>
                  <a:pt x="41" y="301"/>
                </a:cubicBezTo>
                <a:cubicBezTo>
                  <a:pt x="41" y="301"/>
                  <a:pt x="41" y="300"/>
                  <a:pt x="41" y="300"/>
                </a:cubicBezTo>
                <a:cubicBezTo>
                  <a:pt x="41" y="300"/>
                  <a:pt x="42" y="300"/>
                  <a:pt x="42" y="300"/>
                </a:cubicBezTo>
                <a:cubicBezTo>
                  <a:pt x="42" y="300"/>
                  <a:pt x="43" y="300"/>
                  <a:pt x="43" y="300"/>
                </a:cubicBezTo>
                <a:cubicBezTo>
                  <a:pt x="44" y="300"/>
                  <a:pt x="44" y="300"/>
                  <a:pt x="44" y="300"/>
                </a:cubicBezTo>
                <a:cubicBezTo>
                  <a:pt x="44" y="300"/>
                  <a:pt x="43" y="300"/>
                  <a:pt x="43" y="299"/>
                </a:cubicBezTo>
                <a:cubicBezTo>
                  <a:pt x="43" y="299"/>
                  <a:pt x="43" y="298"/>
                  <a:pt x="43" y="297"/>
                </a:cubicBezTo>
                <a:cubicBezTo>
                  <a:pt x="43" y="297"/>
                  <a:pt x="44" y="297"/>
                  <a:pt x="44" y="296"/>
                </a:cubicBezTo>
                <a:cubicBezTo>
                  <a:pt x="45" y="296"/>
                  <a:pt x="45" y="296"/>
                  <a:pt x="46" y="295"/>
                </a:cubicBezTo>
                <a:cubicBezTo>
                  <a:pt x="47" y="294"/>
                  <a:pt x="45" y="293"/>
                  <a:pt x="45" y="292"/>
                </a:cubicBezTo>
                <a:cubicBezTo>
                  <a:pt x="44" y="292"/>
                  <a:pt x="44" y="291"/>
                  <a:pt x="45" y="291"/>
                </a:cubicBezTo>
                <a:cubicBezTo>
                  <a:pt x="45" y="291"/>
                  <a:pt x="45" y="291"/>
                  <a:pt x="45" y="291"/>
                </a:cubicBezTo>
                <a:cubicBezTo>
                  <a:pt x="46" y="290"/>
                  <a:pt x="46" y="290"/>
                  <a:pt x="46" y="290"/>
                </a:cubicBezTo>
                <a:cubicBezTo>
                  <a:pt x="47" y="290"/>
                  <a:pt x="46" y="289"/>
                  <a:pt x="46" y="289"/>
                </a:cubicBezTo>
                <a:cubicBezTo>
                  <a:pt x="45" y="288"/>
                  <a:pt x="45" y="287"/>
                  <a:pt x="44" y="287"/>
                </a:cubicBezTo>
                <a:cubicBezTo>
                  <a:pt x="44" y="287"/>
                  <a:pt x="44" y="287"/>
                  <a:pt x="44" y="286"/>
                </a:cubicBezTo>
                <a:cubicBezTo>
                  <a:pt x="44" y="286"/>
                  <a:pt x="43" y="286"/>
                  <a:pt x="43" y="286"/>
                </a:cubicBezTo>
                <a:cubicBezTo>
                  <a:pt x="42" y="286"/>
                  <a:pt x="42" y="285"/>
                  <a:pt x="42" y="284"/>
                </a:cubicBezTo>
                <a:cubicBezTo>
                  <a:pt x="42" y="283"/>
                  <a:pt x="43" y="281"/>
                  <a:pt x="42" y="281"/>
                </a:cubicBezTo>
                <a:cubicBezTo>
                  <a:pt x="41" y="281"/>
                  <a:pt x="42" y="280"/>
                  <a:pt x="42" y="280"/>
                </a:cubicBezTo>
                <a:cubicBezTo>
                  <a:pt x="43" y="280"/>
                  <a:pt x="43" y="280"/>
                  <a:pt x="43" y="279"/>
                </a:cubicBezTo>
                <a:cubicBezTo>
                  <a:pt x="44" y="279"/>
                  <a:pt x="44" y="279"/>
                  <a:pt x="44" y="278"/>
                </a:cubicBezTo>
                <a:cubicBezTo>
                  <a:pt x="43" y="278"/>
                  <a:pt x="43" y="278"/>
                  <a:pt x="44" y="278"/>
                </a:cubicBezTo>
                <a:cubicBezTo>
                  <a:pt x="44" y="278"/>
                  <a:pt x="45" y="278"/>
                  <a:pt x="45" y="278"/>
                </a:cubicBezTo>
                <a:cubicBezTo>
                  <a:pt x="45" y="277"/>
                  <a:pt x="44" y="277"/>
                  <a:pt x="43" y="276"/>
                </a:cubicBezTo>
                <a:cubicBezTo>
                  <a:pt x="43" y="276"/>
                  <a:pt x="44" y="276"/>
                  <a:pt x="44" y="276"/>
                </a:cubicBezTo>
                <a:cubicBezTo>
                  <a:pt x="44" y="275"/>
                  <a:pt x="43" y="275"/>
                  <a:pt x="43" y="275"/>
                </a:cubicBezTo>
                <a:cubicBezTo>
                  <a:pt x="43" y="275"/>
                  <a:pt x="43" y="275"/>
                  <a:pt x="43" y="274"/>
                </a:cubicBezTo>
                <a:cubicBezTo>
                  <a:pt x="43" y="274"/>
                  <a:pt x="42" y="273"/>
                  <a:pt x="43" y="273"/>
                </a:cubicBezTo>
                <a:cubicBezTo>
                  <a:pt x="43" y="273"/>
                  <a:pt x="44" y="272"/>
                  <a:pt x="44" y="272"/>
                </a:cubicBezTo>
                <a:cubicBezTo>
                  <a:pt x="44" y="271"/>
                  <a:pt x="43" y="270"/>
                  <a:pt x="42" y="269"/>
                </a:cubicBezTo>
                <a:cubicBezTo>
                  <a:pt x="42" y="268"/>
                  <a:pt x="42" y="268"/>
                  <a:pt x="41" y="267"/>
                </a:cubicBezTo>
                <a:cubicBezTo>
                  <a:pt x="41" y="267"/>
                  <a:pt x="40" y="267"/>
                  <a:pt x="40" y="266"/>
                </a:cubicBezTo>
                <a:cubicBezTo>
                  <a:pt x="40" y="266"/>
                  <a:pt x="41" y="266"/>
                  <a:pt x="41" y="266"/>
                </a:cubicBezTo>
                <a:cubicBezTo>
                  <a:pt x="41" y="266"/>
                  <a:pt x="42" y="265"/>
                  <a:pt x="42" y="265"/>
                </a:cubicBezTo>
                <a:cubicBezTo>
                  <a:pt x="42" y="264"/>
                  <a:pt x="41" y="264"/>
                  <a:pt x="41" y="264"/>
                </a:cubicBezTo>
                <a:cubicBezTo>
                  <a:pt x="41" y="263"/>
                  <a:pt x="40" y="263"/>
                  <a:pt x="40" y="263"/>
                </a:cubicBezTo>
                <a:cubicBezTo>
                  <a:pt x="40" y="263"/>
                  <a:pt x="40" y="262"/>
                  <a:pt x="39" y="262"/>
                </a:cubicBezTo>
                <a:cubicBezTo>
                  <a:pt x="39" y="262"/>
                  <a:pt x="39" y="261"/>
                  <a:pt x="39" y="261"/>
                </a:cubicBezTo>
                <a:cubicBezTo>
                  <a:pt x="39" y="260"/>
                  <a:pt x="38" y="260"/>
                  <a:pt x="39" y="260"/>
                </a:cubicBezTo>
                <a:cubicBezTo>
                  <a:pt x="39" y="260"/>
                  <a:pt x="41" y="260"/>
                  <a:pt x="41" y="259"/>
                </a:cubicBezTo>
                <a:cubicBezTo>
                  <a:pt x="40" y="258"/>
                  <a:pt x="40" y="258"/>
                  <a:pt x="41" y="258"/>
                </a:cubicBezTo>
                <a:cubicBezTo>
                  <a:pt x="41" y="258"/>
                  <a:pt x="42" y="257"/>
                  <a:pt x="41" y="257"/>
                </a:cubicBezTo>
                <a:cubicBezTo>
                  <a:pt x="41" y="256"/>
                  <a:pt x="40" y="256"/>
                  <a:pt x="40" y="256"/>
                </a:cubicBezTo>
                <a:cubicBezTo>
                  <a:pt x="39" y="255"/>
                  <a:pt x="39" y="254"/>
                  <a:pt x="38" y="254"/>
                </a:cubicBezTo>
                <a:cubicBezTo>
                  <a:pt x="37" y="254"/>
                  <a:pt x="37" y="254"/>
                  <a:pt x="36" y="253"/>
                </a:cubicBezTo>
                <a:cubicBezTo>
                  <a:pt x="36" y="253"/>
                  <a:pt x="35" y="254"/>
                  <a:pt x="35" y="253"/>
                </a:cubicBezTo>
                <a:cubicBezTo>
                  <a:pt x="34" y="253"/>
                  <a:pt x="32" y="253"/>
                  <a:pt x="32" y="251"/>
                </a:cubicBezTo>
                <a:cubicBezTo>
                  <a:pt x="33" y="251"/>
                  <a:pt x="34" y="252"/>
                  <a:pt x="34" y="252"/>
                </a:cubicBezTo>
                <a:cubicBezTo>
                  <a:pt x="34" y="252"/>
                  <a:pt x="34" y="252"/>
                  <a:pt x="35" y="252"/>
                </a:cubicBezTo>
                <a:cubicBezTo>
                  <a:pt x="35" y="252"/>
                  <a:pt x="35" y="251"/>
                  <a:pt x="35" y="251"/>
                </a:cubicBezTo>
                <a:cubicBezTo>
                  <a:pt x="36" y="251"/>
                  <a:pt x="36" y="252"/>
                  <a:pt x="37" y="251"/>
                </a:cubicBezTo>
                <a:cubicBezTo>
                  <a:pt x="38" y="251"/>
                  <a:pt x="38" y="252"/>
                  <a:pt x="39" y="252"/>
                </a:cubicBezTo>
                <a:cubicBezTo>
                  <a:pt x="41" y="252"/>
                  <a:pt x="39" y="250"/>
                  <a:pt x="40" y="249"/>
                </a:cubicBezTo>
                <a:cubicBezTo>
                  <a:pt x="40" y="249"/>
                  <a:pt x="39" y="248"/>
                  <a:pt x="39" y="248"/>
                </a:cubicBezTo>
                <a:cubicBezTo>
                  <a:pt x="39" y="248"/>
                  <a:pt x="38" y="248"/>
                  <a:pt x="37" y="248"/>
                </a:cubicBezTo>
                <a:cubicBezTo>
                  <a:pt x="36" y="247"/>
                  <a:pt x="34" y="248"/>
                  <a:pt x="33" y="248"/>
                </a:cubicBezTo>
                <a:cubicBezTo>
                  <a:pt x="32" y="248"/>
                  <a:pt x="33" y="247"/>
                  <a:pt x="33" y="247"/>
                </a:cubicBezTo>
                <a:cubicBezTo>
                  <a:pt x="33" y="247"/>
                  <a:pt x="32" y="245"/>
                  <a:pt x="32" y="245"/>
                </a:cubicBezTo>
                <a:cubicBezTo>
                  <a:pt x="31" y="244"/>
                  <a:pt x="33" y="244"/>
                  <a:pt x="33" y="243"/>
                </a:cubicBezTo>
                <a:cubicBezTo>
                  <a:pt x="33" y="242"/>
                  <a:pt x="32" y="242"/>
                  <a:pt x="32" y="241"/>
                </a:cubicBezTo>
                <a:cubicBezTo>
                  <a:pt x="31" y="241"/>
                  <a:pt x="31" y="241"/>
                  <a:pt x="31" y="241"/>
                </a:cubicBezTo>
                <a:cubicBezTo>
                  <a:pt x="31" y="241"/>
                  <a:pt x="31" y="241"/>
                  <a:pt x="30" y="241"/>
                </a:cubicBezTo>
                <a:cubicBezTo>
                  <a:pt x="30" y="240"/>
                  <a:pt x="31" y="240"/>
                  <a:pt x="31" y="240"/>
                </a:cubicBezTo>
                <a:cubicBezTo>
                  <a:pt x="31" y="239"/>
                  <a:pt x="31" y="239"/>
                  <a:pt x="30" y="239"/>
                </a:cubicBezTo>
                <a:cubicBezTo>
                  <a:pt x="30" y="238"/>
                  <a:pt x="29" y="238"/>
                  <a:pt x="29" y="238"/>
                </a:cubicBezTo>
                <a:cubicBezTo>
                  <a:pt x="29" y="237"/>
                  <a:pt x="28" y="238"/>
                  <a:pt x="28" y="237"/>
                </a:cubicBezTo>
                <a:cubicBezTo>
                  <a:pt x="28" y="237"/>
                  <a:pt x="28" y="236"/>
                  <a:pt x="28" y="236"/>
                </a:cubicBezTo>
                <a:cubicBezTo>
                  <a:pt x="28" y="235"/>
                  <a:pt x="29" y="236"/>
                  <a:pt x="29" y="236"/>
                </a:cubicBezTo>
                <a:cubicBezTo>
                  <a:pt x="29" y="235"/>
                  <a:pt x="29" y="235"/>
                  <a:pt x="29" y="234"/>
                </a:cubicBezTo>
                <a:cubicBezTo>
                  <a:pt x="28" y="234"/>
                  <a:pt x="27" y="234"/>
                  <a:pt x="27" y="234"/>
                </a:cubicBezTo>
                <a:cubicBezTo>
                  <a:pt x="25" y="234"/>
                  <a:pt x="25" y="233"/>
                  <a:pt x="24" y="231"/>
                </a:cubicBezTo>
                <a:cubicBezTo>
                  <a:pt x="24" y="230"/>
                  <a:pt x="24" y="230"/>
                  <a:pt x="23" y="229"/>
                </a:cubicBezTo>
                <a:cubicBezTo>
                  <a:pt x="23" y="229"/>
                  <a:pt x="22" y="228"/>
                  <a:pt x="23" y="227"/>
                </a:cubicBezTo>
                <a:cubicBezTo>
                  <a:pt x="24" y="226"/>
                  <a:pt x="22" y="225"/>
                  <a:pt x="22" y="225"/>
                </a:cubicBezTo>
                <a:cubicBezTo>
                  <a:pt x="22" y="224"/>
                  <a:pt x="22" y="222"/>
                  <a:pt x="23" y="223"/>
                </a:cubicBezTo>
                <a:cubicBezTo>
                  <a:pt x="23" y="224"/>
                  <a:pt x="25" y="223"/>
                  <a:pt x="24" y="222"/>
                </a:cubicBezTo>
                <a:cubicBezTo>
                  <a:pt x="24" y="222"/>
                  <a:pt x="24" y="222"/>
                  <a:pt x="24" y="221"/>
                </a:cubicBezTo>
                <a:cubicBezTo>
                  <a:pt x="23" y="221"/>
                  <a:pt x="23" y="221"/>
                  <a:pt x="23" y="220"/>
                </a:cubicBezTo>
                <a:cubicBezTo>
                  <a:pt x="23" y="220"/>
                  <a:pt x="22" y="219"/>
                  <a:pt x="22" y="219"/>
                </a:cubicBezTo>
                <a:cubicBezTo>
                  <a:pt x="22" y="218"/>
                  <a:pt x="21" y="218"/>
                  <a:pt x="21" y="218"/>
                </a:cubicBezTo>
                <a:cubicBezTo>
                  <a:pt x="21" y="217"/>
                  <a:pt x="22" y="217"/>
                  <a:pt x="21" y="217"/>
                </a:cubicBezTo>
                <a:cubicBezTo>
                  <a:pt x="21" y="216"/>
                  <a:pt x="20" y="215"/>
                  <a:pt x="20" y="215"/>
                </a:cubicBezTo>
                <a:cubicBezTo>
                  <a:pt x="20" y="214"/>
                  <a:pt x="20" y="214"/>
                  <a:pt x="20" y="214"/>
                </a:cubicBezTo>
                <a:cubicBezTo>
                  <a:pt x="20" y="213"/>
                  <a:pt x="20" y="213"/>
                  <a:pt x="20" y="213"/>
                </a:cubicBezTo>
                <a:cubicBezTo>
                  <a:pt x="19" y="211"/>
                  <a:pt x="19" y="210"/>
                  <a:pt x="18" y="209"/>
                </a:cubicBezTo>
                <a:cubicBezTo>
                  <a:pt x="18" y="209"/>
                  <a:pt x="17" y="208"/>
                  <a:pt x="17" y="207"/>
                </a:cubicBezTo>
                <a:cubicBezTo>
                  <a:pt x="17" y="207"/>
                  <a:pt x="17" y="207"/>
                  <a:pt x="18" y="207"/>
                </a:cubicBezTo>
                <a:cubicBezTo>
                  <a:pt x="18" y="206"/>
                  <a:pt x="17" y="206"/>
                  <a:pt x="17" y="205"/>
                </a:cubicBezTo>
                <a:cubicBezTo>
                  <a:pt x="17" y="205"/>
                  <a:pt x="17" y="204"/>
                  <a:pt x="17" y="204"/>
                </a:cubicBezTo>
                <a:cubicBezTo>
                  <a:pt x="17" y="204"/>
                  <a:pt x="18" y="204"/>
                  <a:pt x="18" y="204"/>
                </a:cubicBezTo>
                <a:cubicBezTo>
                  <a:pt x="18" y="204"/>
                  <a:pt x="18" y="204"/>
                  <a:pt x="18" y="203"/>
                </a:cubicBezTo>
                <a:cubicBezTo>
                  <a:pt x="18" y="202"/>
                  <a:pt x="18" y="203"/>
                  <a:pt x="17" y="203"/>
                </a:cubicBezTo>
                <a:cubicBezTo>
                  <a:pt x="17" y="202"/>
                  <a:pt x="16" y="202"/>
                  <a:pt x="16" y="201"/>
                </a:cubicBezTo>
                <a:cubicBezTo>
                  <a:pt x="16" y="200"/>
                  <a:pt x="16" y="201"/>
                  <a:pt x="17" y="201"/>
                </a:cubicBezTo>
                <a:cubicBezTo>
                  <a:pt x="17" y="201"/>
                  <a:pt x="17" y="200"/>
                  <a:pt x="17" y="200"/>
                </a:cubicBezTo>
                <a:cubicBezTo>
                  <a:pt x="17" y="199"/>
                  <a:pt x="17" y="199"/>
                  <a:pt x="17" y="198"/>
                </a:cubicBezTo>
                <a:cubicBezTo>
                  <a:pt x="16" y="198"/>
                  <a:pt x="16" y="197"/>
                  <a:pt x="16" y="196"/>
                </a:cubicBezTo>
                <a:cubicBezTo>
                  <a:pt x="16" y="196"/>
                  <a:pt x="15" y="195"/>
                  <a:pt x="15" y="195"/>
                </a:cubicBezTo>
                <a:cubicBezTo>
                  <a:pt x="16" y="195"/>
                  <a:pt x="16" y="196"/>
                  <a:pt x="17" y="195"/>
                </a:cubicBezTo>
                <a:cubicBezTo>
                  <a:pt x="17" y="195"/>
                  <a:pt x="16" y="195"/>
                  <a:pt x="17" y="194"/>
                </a:cubicBezTo>
                <a:cubicBezTo>
                  <a:pt x="17" y="194"/>
                  <a:pt x="17" y="193"/>
                  <a:pt x="17" y="193"/>
                </a:cubicBezTo>
                <a:cubicBezTo>
                  <a:pt x="16" y="193"/>
                  <a:pt x="17" y="192"/>
                  <a:pt x="17" y="192"/>
                </a:cubicBezTo>
                <a:cubicBezTo>
                  <a:pt x="16" y="190"/>
                  <a:pt x="14" y="188"/>
                  <a:pt x="17" y="187"/>
                </a:cubicBezTo>
                <a:cubicBezTo>
                  <a:pt x="17" y="186"/>
                  <a:pt x="18" y="186"/>
                  <a:pt x="19" y="186"/>
                </a:cubicBezTo>
                <a:cubicBezTo>
                  <a:pt x="19" y="186"/>
                  <a:pt x="19" y="186"/>
                  <a:pt x="19" y="185"/>
                </a:cubicBezTo>
                <a:cubicBezTo>
                  <a:pt x="19" y="185"/>
                  <a:pt x="19" y="185"/>
                  <a:pt x="19" y="184"/>
                </a:cubicBezTo>
                <a:cubicBezTo>
                  <a:pt x="19" y="183"/>
                  <a:pt x="18" y="183"/>
                  <a:pt x="18" y="183"/>
                </a:cubicBezTo>
                <a:cubicBezTo>
                  <a:pt x="17" y="182"/>
                  <a:pt x="17" y="181"/>
                  <a:pt x="16" y="180"/>
                </a:cubicBezTo>
                <a:cubicBezTo>
                  <a:pt x="16" y="177"/>
                  <a:pt x="14" y="176"/>
                  <a:pt x="13" y="174"/>
                </a:cubicBezTo>
                <a:cubicBezTo>
                  <a:pt x="13" y="174"/>
                  <a:pt x="13" y="173"/>
                  <a:pt x="13" y="173"/>
                </a:cubicBezTo>
                <a:cubicBezTo>
                  <a:pt x="13" y="172"/>
                  <a:pt x="13" y="172"/>
                  <a:pt x="13" y="171"/>
                </a:cubicBezTo>
                <a:cubicBezTo>
                  <a:pt x="12" y="171"/>
                  <a:pt x="12" y="171"/>
                  <a:pt x="12" y="170"/>
                </a:cubicBezTo>
                <a:cubicBezTo>
                  <a:pt x="12" y="170"/>
                  <a:pt x="12" y="170"/>
                  <a:pt x="12" y="169"/>
                </a:cubicBezTo>
                <a:cubicBezTo>
                  <a:pt x="12" y="169"/>
                  <a:pt x="11" y="168"/>
                  <a:pt x="12" y="168"/>
                </a:cubicBezTo>
                <a:cubicBezTo>
                  <a:pt x="12" y="168"/>
                  <a:pt x="11" y="168"/>
                  <a:pt x="11" y="168"/>
                </a:cubicBezTo>
                <a:cubicBezTo>
                  <a:pt x="11" y="167"/>
                  <a:pt x="11" y="167"/>
                  <a:pt x="11" y="167"/>
                </a:cubicBezTo>
                <a:cubicBezTo>
                  <a:pt x="11" y="167"/>
                  <a:pt x="11" y="167"/>
                  <a:pt x="11" y="167"/>
                </a:cubicBezTo>
                <a:cubicBezTo>
                  <a:pt x="11" y="167"/>
                  <a:pt x="11" y="166"/>
                  <a:pt x="11" y="166"/>
                </a:cubicBezTo>
                <a:cubicBezTo>
                  <a:pt x="11" y="166"/>
                  <a:pt x="11" y="166"/>
                  <a:pt x="11" y="166"/>
                </a:cubicBezTo>
                <a:cubicBezTo>
                  <a:pt x="11" y="165"/>
                  <a:pt x="10" y="165"/>
                  <a:pt x="10" y="165"/>
                </a:cubicBezTo>
                <a:cubicBezTo>
                  <a:pt x="10" y="165"/>
                  <a:pt x="10" y="164"/>
                  <a:pt x="10" y="164"/>
                </a:cubicBezTo>
                <a:cubicBezTo>
                  <a:pt x="10" y="163"/>
                  <a:pt x="11" y="164"/>
                  <a:pt x="11" y="163"/>
                </a:cubicBezTo>
                <a:cubicBezTo>
                  <a:pt x="11" y="163"/>
                  <a:pt x="10" y="161"/>
                  <a:pt x="11" y="161"/>
                </a:cubicBezTo>
                <a:cubicBezTo>
                  <a:pt x="11" y="161"/>
                  <a:pt x="12" y="161"/>
                  <a:pt x="12" y="161"/>
                </a:cubicBezTo>
                <a:cubicBezTo>
                  <a:pt x="12" y="160"/>
                  <a:pt x="13" y="161"/>
                  <a:pt x="13" y="160"/>
                </a:cubicBezTo>
                <a:cubicBezTo>
                  <a:pt x="13" y="160"/>
                  <a:pt x="13" y="159"/>
                  <a:pt x="13" y="159"/>
                </a:cubicBezTo>
                <a:cubicBezTo>
                  <a:pt x="13" y="159"/>
                  <a:pt x="14" y="158"/>
                  <a:pt x="14" y="158"/>
                </a:cubicBezTo>
                <a:cubicBezTo>
                  <a:pt x="14" y="157"/>
                  <a:pt x="14" y="158"/>
                  <a:pt x="15" y="158"/>
                </a:cubicBezTo>
                <a:cubicBezTo>
                  <a:pt x="16" y="158"/>
                  <a:pt x="15" y="156"/>
                  <a:pt x="15" y="156"/>
                </a:cubicBezTo>
                <a:cubicBezTo>
                  <a:pt x="14" y="155"/>
                  <a:pt x="15" y="155"/>
                  <a:pt x="15" y="155"/>
                </a:cubicBezTo>
                <a:cubicBezTo>
                  <a:pt x="15" y="155"/>
                  <a:pt x="14" y="155"/>
                  <a:pt x="14" y="155"/>
                </a:cubicBezTo>
                <a:cubicBezTo>
                  <a:pt x="14" y="154"/>
                  <a:pt x="15" y="154"/>
                  <a:pt x="15" y="154"/>
                </a:cubicBezTo>
                <a:cubicBezTo>
                  <a:pt x="14" y="153"/>
                  <a:pt x="14" y="152"/>
                  <a:pt x="13" y="151"/>
                </a:cubicBezTo>
                <a:cubicBezTo>
                  <a:pt x="13" y="151"/>
                  <a:pt x="13" y="151"/>
                  <a:pt x="13" y="150"/>
                </a:cubicBezTo>
                <a:cubicBezTo>
                  <a:pt x="13" y="150"/>
                  <a:pt x="13" y="150"/>
                  <a:pt x="12" y="149"/>
                </a:cubicBezTo>
                <a:cubicBezTo>
                  <a:pt x="12" y="149"/>
                  <a:pt x="13" y="149"/>
                  <a:pt x="12" y="148"/>
                </a:cubicBezTo>
                <a:cubicBezTo>
                  <a:pt x="12" y="148"/>
                  <a:pt x="11" y="148"/>
                  <a:pt x="11" y="148"/>
                </a:cubicBezTo>
                <a:cubicBezTo>
                  <a:pt x="11" y="147"/>
                  <a:pt x="12" y="147"/>
                  <a:pt x="12" y="146"/>
                </a:cubicBezTo>
                <a:cubicBezTo>
                  <a:pt x="12" y="146"/>
                  <a:pt x="12" y="145"/>
                  <a:pt x="12" y="144"/>
                </a:cubicBezTo>
                <a:cubicBezTo>
                  <a:pt x="12" y="144"/>
                  <a:pt x="13" y="143"/>
                  <a:pt x="12" y="142"/>
                </a:cubicBezTo>
                <a:cubicBezTo>
                  <a:pt x="11" y="142"/>
                  <a:pt x="12" y="142"/>
                  <a:pt x="12" y="142"/>
                </a:cubicBezTo>
                <a:cubicBezTo>
                  <a:pt x="12" y="141"/>
                  <a:pt x="12" y="141"/>
                  <a:pt x="12" y="140"/>
                </a:cubicBezTo>
                <a:cubicBezTo>
                  <a:pt x="12" y="140"/>
                  <a:pt x="13" y="139"/>
                  <a:pt x="13" y="139"/>
                </a:cubicBezTo>
                <a:cubicBezTo>
                  <a:pt x="13" y="138"/>
                  <a:pt x="12" y="137"/>
                  <a:pt x="14" y="137"/>
                </a:cubicBezTo>
                <a:cubicBezTo>
                  <a:pt x="14" y="137"/>
                  <a:pt x="15" y="137"/>
                  <a:pt x="15" y="137"/>
                </a:cubicBezTo>
                <a:cubicBezTo>
                  <a:pt x="15" y="136"/>
                  <a:pt x="14" y="136"/>
                  <a:pt x="14" y="135"/>
                </a:cubicBezTo>
                <a:cubicBezTo>
                  <a:pt x="14" y="135"/>
                  <a:pt x="14" y="134"/>
                  <a:pt x="13" y="134"/>
                </a:cubicBezTo>
                <a:cubicBezTo>
                  <a:pt x="13" y="133"/>
                  <a:pt x="13" y="132"/>
                  <a:pt x="13" y="132"/>
                </a:cubicBezTo>
                <a:cubicBezTo>
                  <a:pt x="13" y="131"/>
                  <a:pt x="13" y="131"/>
                  <a:pt x="13" y="131"/>
                </a:cubicBezTo>
                <a:cubicBezTo>
                  <a:pt x="12" y="130"/>
                  <a:pt x="12" y="129"/>
                  <a:pt x="13" y="128"/>
                </a:cubicBezTo>
                <a:cubicBezTo>
                  <a:pt x="13" y="127"/>
                  <a:pt x="13" y="126"/>
                  <a:pt x="12" y="126"/>
                </a:cubicBezTo>
                <a:cubicBezTo>
                  <a:pt x="11" y="125"/>
                  <a:pt x="11" y="126"/>
                  <a:pt x="10" y="126"/>
                </a:cubicBezTo>
                <a:cubicBezTo>
                  <a:pt x="10" y="126"/>
                  <a:pt x="10" y="125"/>
                  <a:pt x="9" y="125"/>
                </a:cubicBezTo>
                <a:cubicBezTo>
                  <a:pt x="9" y="125"/>
                  <a:pt x="9" y="124"/>
                  <a:pt x="9" y="124"/>
                </a:cubicBezTo>
                <a:cubicBezTo>
                  <a:pt x="9" y="123"/>
                  <a:pt x="10" y="122"/>
                  <a:pt x="9" y="121"/>
                </a:cubicBezTo>
                <a:cubicBezTo>
                  <a:pt x="8" y="121"/>
                  <a:pt x="8" y="120"/>
                  <a:pt x="7" y="119"/>
                </a:cubicBezTo>
                <a:cubicBezTo>
                  <a:pt x="7" y="119"/>
                  <a:pt x="7" y="119"/>
                  <a:pt x="7" y="118"/>
                </a:cubicBezTo>
                <a:cubicBezTo>
                  <a:pt x="7" y="118"/>
                  <a:pt x="7" y="118"/>
                  <a:pt x="7" y="117"/>
                </a:cubicBezTo>
                <a:cubicBezTo>
                  <a:pt x="7" y="117"/>
                  <a:pt x="6" y="117"/>
                  <a:pt x="6" y="116"/>
                </a:cubicBezTo>
                <a:cubicBezTo>
                  <a:pt x="5" y="116"/>
                  <a:pt x="6" y="116"/>
                  <a:pt x="5" y="115"/>
                </a:cubicBezTo>
                <a:cubicBezTo>
                  <a:pt x="5" y="115"/>
                  <a:pt x="3" y="113"/>
                  <a:pt x="4" y="112"/>
                </a:cubicBezTo>
                <a:cubicBezTo>
                  <a:pt x="4" y="112"/>
                  <a:pt x="4" y="113"/>
                  <a:pt x="5" y="112"/>
                </a:cubicBezTo>
                <a:cubicBezTo>
                  <a:pt x="5" y="112"/>
                  <a:pt x="5" y="111"/>
                  <a:pt x="4" y="111"/>
                </a:cubicBezTo>
                <a:cubicBezTo>
                  <a:pt x="4" y="111"/>
                  <a:pt x="3" y="111"/>
                  <a:pt x="3" y="111"/>
                </a:cubicBezTo>
                <a:cubicBezTo>
                  <a:pt x="2" y="110"/>
                  <a:pt x="2" y="109"/>
                  <a:pt x="2" y="109"/>
                </a:cubicBezTo>
                <a:cubicBezTo>
                  <a:pt x="1" y="108"/>
                  <a:pt x="1" y="108"/>
                  <a:pt x="0" y="107"/>
                </a:cubicBezTo>
                <a:cubicBezTo>
                  <a:pt x="0" y="106"/>
                  <a:pt x="0" y="105"/>
                  <a:pt x="0" y="105"/>
                </a:cubicBezTo>
                <a:cubicBezTo>
                  <a:pt x="0" y="104"/>
                  <a:pt x="0" y="104"/>
                  <a:pt x="0" y="103"/>
                </a:cubicBezTo>
                <a:cubicBezTo>
                  <a:pt x="0" y="103"/>
                  <a:pt x="0" y="102"/>
                  <a:pt x="1" y="102"/>
                </a:cubicBezTo>
                <a:cubicBezTo>
                  <a:pt x="1" y="103"/>
                  <a:pt x="1" y="101"/>
                  <a:pt x="2" y="101"/>
                </a:cubicBezTo>
                <a:cubicBezTo>
                  <a:pt x="2" y="101"/>
                  <a:pt x="1" y="101"/>
                  <a:pt x="1" y="100"/>
                </a:cubicBezTo>
                <a:cubicBezTo>
                  <a:pt x="1" y="100"/>
                  <a:pt x="1" y="99"/>
                  <a:pt x="1" y="98"/>
                </a:cubicBezTo>
                <a:cubicBezTo>
                  <a:pt x="1" y="98"/>
                  <a:pt x="1" y="97"/>
                  <a:pt x="1" y="96"/>
                </a:cubicBezTo>
                <a:cubicBezTo>
                  <a:pt x="1" y="96"/>
                  <a:pt x="1" y="95"/>
                  <a:pt x="1" y="95"/>
                </a:cubicBezTo>
                <a:cubicBezTo>
                  <a:pt x="2" y="95"/>
                  <a:pt x="2" y="95"/>
                  <a:pt x="2" y="95"/>
                </a:cubicBezTo>
                <a:cubicBezTo>
                  <a:pt x="2" y="95"/>
                  <a:pt x="1" y="94"/>
                  <a:pt x="2" y="94"/>
                </a:cubicBezTo>
                <a:cubicBezTo>
                  <a:pt x="2" y="94"/>
                  <a:pt x="2" y="94"/>
                  <a:pt x="3" y="94"/>
                </a:cubicBezTo>
                <a:cubicBezTo>
                  <a:pt x="4" y="94"/>
                  <a:pt x="4" y="93"/>
                  <a:pt x="4" y="93"/>
                </a:cubicBezTo>
                <a:cubicBezTo>
                  <a:pt x="4" y="92"/>
                  <a:pt x="4" y="91"/>
                  <a:pt x="3" y="91"/>
                </a:cubicBezTo>
                <a:cubicBezTo>
                  <a:pt x="3" y="91"/>
                  <a:pt x="2" y="91"/>
                  <a:pt x="2" y="90"/>
                </a:cubicBezTo>
                <a:cubicBezTo>
                  <a:pt x="3" y="89"/>
                  <a:pt x="3" y="89"/>
                  <a:pt x="2" y="88"/>
                </a:cubicBezTo>
                <a:cubicBezTo>
                  <a:pt x="2" y="87"/>
                  <a:pt x="2" y="87"/>
                  <a:pt x="2" y="86"/>
                </a:cubicBezTo>
                <a:cubicBezTo>
                  <a:pt x="1" y="86"/>
                  <a:pt x="1" y="85"/>
                  <a:pt x="1" y="84"/>
                </a:cubicBezTo>
                <a:cubicBezTo>
                  <a:pt x="1" y="84"/>
                  <a:pt x="0" y="83"/>
                  <a:pt x="0" y="82"/>
                </a:cubicBezTo>
                <a:cubicBezTo>
                  <a:pt x="0" y="82"/>
                  <a:pt x="0" y="82"/>
                  <a:pt x="0" y="82"/>
                </a:cubicBezTo>
                <a:cubicBezTo>
                  <a:pt x="0" y="81"/>
                  <a:pt x="0" y="81"/>
                  <a:pt x="1" y="81"/>
                </a:cubicBezTo>
                <a:cubicBezTo>
                  <a:pt x="1" y="81"/>
                  <a:pt x="1" y="80"/>
                  <a:pt x="1" y="80"/>
                </a:cubicBezTo>
                <a:cubicBezTo>
                  <a:pt x="1" y="80"/>
                  <a:pt x="1" y="80"/>
                  <a:pt x="2" y="80"/>
                </a:cubicBezTo>
                <a:cubicBezTo>
                  <a:pt x="2" y="80"/>
                  <a:pt x="1" y="79"/>
                  <a:pt x="1" y="78"/>
                </a:cubicBezTo>
                <a:cubicBezTo>
                  <a:pt x="2" y="77"/>
                  <a:pt x="2" y="77"/>
                  <a:pt x="1" y="76"/>
                </a:cubicBezTo>
                <a:cubicBezTo>
                  <a:pt x="1" y="75"/>
                  <a:pt x="2" y="75"/>
                  <a:pt x="2" y="74"/>
                </a:cubicBezTo>
                <a:cubicBezTo>
                  <a:pt x="2" y="74"/>
                  <a:pt x="1" y="73"/>
                  <a:pt x="2" y="72"/>
                </a:cubicBezTo>
                <a:cubicBezTo>
                  <a:pt x="2" y="72"/>
                  <a:pt x="2" y="71"/>
                  <a:pt x="3" y="71"/>
                </a:cubicBezTo>
                <a:cubicBezTo>
                  <a:pt x="3" y="71"/>
                  <a:pt x="3" y="70"/>
                  <a:pt x="3" y="70"/>
                </a:cubicBezTo>
                <a:cubicBezTo>
                  <a:pt x="3" y="70"/>
                  <a:pt x="3" y="70"/>
                  <a:pt x="3" y="70"/>
                </a:cubicBezTo>
                <a:cubicBezTo>
                  <a:pt x="4" y="70"/>
                  <a:pt x="4" y="69"/>
                  <a:pt x="4" y="69"/>
                </a:cubicBezTo>
                <a:cubicBezTo>
                  <a:pt x="4" y="69"/>
                  <a:pt x="4" y="68"/>
                  <a:pt x="4" y="68"/>
                </a:cubicBezTo>
                <a:cubicBezTo>
                  <a:pt x="5" y="67"/>
                  <a:pt x="5" y="68"/>
                  <a:pt x="5" y="67"/>
                </a:cubicBezTo>
                <a:cubicBezTo>
                  <a:pt x="5" y="66"/>
                  <a:pt x="5" y="66"/>
                  <a:pt x="5" y="65"/>
                </a:cubicBezTo>
                <a:cubicBezTo>
                  <a:pt x="5" y="65"/>
                  <a:pt x="5" y="64"/>
                  <a:pt x="5" y="64"/>
                </a:cubicBezTo>
                <a:cubicBezTo>
                  <a:pt x="6" y="63"/>
                  <a:pt x="6" y="63"/>
                  <a:pt x="6" y="63"/>
                </a:cubicBezTo>
                <a:cubicBezTo>
                  <a:pt x="6" y="63"/>
                  <a:pt x="6" y="62"/>
                  <a:pt x="6" y="62"/>
                </a:cubicBezTo>
                <a:cubicBezTo>
                  <a:pt x="6" y="62"/>
                  <a:pt x="6" y="61"/>
                  <a:pt x="6" y="61"/>
                </a:cubicBezTo>
                <a:cubicBezTo>
                  <a:pt x="7" y="60"/>
                  <a:pt x="6" y="58"/>
                  <a:pt x="7" y="58"/>
                </a:cubicBezTo>
                <a:cubicBezTo>
                  <a:pt x="8" y="58"/>
                  <a:pt x="9" y="59"/>
                  <a:pt x="9" y="58"/>
                </a:cubicBezTo>
                <a:cubicBezTo>
                  <a:pt x="9" y="58"/>
                  <a:pt x="10" y="58"/>
                  <a:pt x="10" y="58"/>
                </a:cubicBezTo>
                <a:cubicBezTo>
                  <a:pt x="11" y="58"/>
                  <a:pt x="11" y="57"/>
                  <a:pt x="11" y="57"/>
                </a:cubicBezTo>
                <a:cubicBezTo>
                  <a:pt x="11" y="56"/>
                  <a:pt x="11" y="56"/>
                  <a:pt x="10" y="55"/>
                </a:cubicBezTo>
                <a:cubicBezTo>
                  <a:pt x="9" y="53"/>
                  <a:pt x="8" y="52"/>
                  <a:pt x="8" y="51"/>
                </a:cubicBezTo>
                <a:cubicBezTo>
                  <a:pt x="7" y="50"/>
                  <a:pt x="8" y="49"/>
                  <a:pt x="9" y="48"/>
                </a:cubicBezTo>
                <a:cubicBezTo>
                  <a:pt x="9" y="47"/>
                  <a:pt x="8" y="46"/>
                  <a:pt x="8" y="45"/>
                </a:cubicBezTo>
                <a:cubicBezTo>
                  <a:pt x="7" y="43"/>
                  <a:pt x="6" y="41"/>
                  <a:pt x="6" y="39"/>
                </a:cubicBezTo>
                <a:cubicBezTo>
                  <a:pt x="6" y="38"/>
                  <a:pt x="6" y="37"/>
                  <a:pt x="7" y="37"/>
                </a:cubicBezTo>
                <a:cubicBezTo>
                  <a:pt x="8" y="36"/>
                  <a:pt x="7" y="35"/>
                  <a:pt x="7" y="35"/>
                </a:cubicBezTo>
                <a:cubicBezTo>
                  <a:pt x="6" y="34"/>
                  <a:pt x="6" y="34"/>
                  <a:pt x="6" y="34"/>
                </a:cubicBezTo>
                <a:cubicBezTo>
                  <a:pt x="5" y="33"/>
                  <a:pt x="5" y="33"/>
                  <a:pt x="5" y="32"/>
                </a:cubicBezTo>
                <a:cubicBezTo>
                  <a:pt x="5" y="32"/>
                  <a:pt x="5" y="31"/>
                  <a:pt x="5" y="31"/>
                </a:cubicBezTo>
                <a:cubicBezTo>
                  <a:pt x="6" y="30"/>
                  <a:pt x="6" y="31"/>
                  <a:pt x="6" y="31"/>
                </a:cubicBezTo>
                <a:cubicBezTo>
                  <a:pt x="6" y="31"/>
                  <a:pt x="6" y="30"/>
                  <a:pt x="6" y="29"/>
                </a:cubicBezTo>
                <a:cubicBezTo>
                  <a:pt x="7" y="29"/>
                  <a:pt x="7" y="28"/>
                  <a:pt x="8" y="28"/>
                </a:cubicBezTo>
                <a:cubicBezTo>
                  <a:pt x="10" y="27"/>
                  <a:pt x="12" y="26"/>
                  <a:pt x="14" y="25"/>
                </a:cubicBezTo>
                <a:cubicBezTo>
                  <a:pt x="15" y="24"/>
                  <a:pt x="15" y="24"/>
                  <a:pt x="16" y="23"/>
                </a:cubicBezTo>
                <a:cubicBezTo>
                  <a:pt x="16" y="22"/>
                  <a:pt x="16" y="21"/>
                  <a:pt x="16" y="19"/>
                </a:cubicBezTo>
                <a:cubicBezTo>
                  <a:pt x="16" y="18"/>
                  <a:pt x="16" y="17"/>
                  <a:pt x="17" y="16"/>
                </a:cubicBezTo>
                <a:cubicBezTo>
                  <a:pt x="17" y="15"/>
                  <a:pt x="17" y="13"/>
                  <a:pt x="17" y="13"/>
                </a:cubicBezTo>
                <a:cubicBezTo>
                  <a:pt x="16" y="12"/>
                  <a:pt x="14" y="11"/>
                  <a:pt x="16" y="10"/>
                </a:cubicBezTo>
                <a:cubicBezTo>
                  <a:pt x="16" y="9"/>
                  <a:pt x="17" y="9"/>
                  <a:pt x="16" y="9"/>
                </a:cubicBezTo>
                <a:cubicBezTo>
                  <a:pt x="16" y="8"/>
                  <a:pt x="16" y="8"/>
                  <a:pt x="16" y="8"/>
                </a:cubicBezTo>
                <a:cubicBezTo>
                  <a:pt x="17" y="7"/>
                  <a:pt x="18" y="7"/>
                  <a:pt x="18" y="7"/>
                </a:cubicBezTo>
                <a:cubicBezTo>
                  <a:pt x="19" y="6"/>
                  <a:pt x="18" y="5"/>
                  <a:pt x="19" y="4"/>
                </a:cubicBezTo>
                <a:cubicBezTo>
                  <a:pt x="20" y="4"/>
                  <a:pt x="21" y="4"/>
                  <a:pt x="22" y="4"/>
                </a:cubicBezTo>
                <a:cubicBezTo>
                  <a:pt x="23" y="3"/>
                  <a:pt x="22" y="1"/>
                  <a:pt x="23" y="0"/>
                </a:cubicBezTo>
                <a:cubicBezTo>
                  <a:pt x="24" y="0"/>
                  <a:pt x="24" y="0"/>
                  <a:pt x="25" y="1"/>
                </a:cubicBezTo>
                <a:cubicBezTo>
                  <a:pt x="25" y="1"/>
                  <a:pt x="26" y="1"/>
                  <a:pt x="26" y="2"/>
                </a:cubicBezTo>
                <a:cubicBezTo>
                  <a:pt x="27" y="2"/>
                  <a:pt x="27" y="3"/>
                  <a:pt x="28" y="3"/>
                </a:cubicBezTo>
                <a:cubicBezTo>
                  <a:pt x="29" y="3"/>
                  <a:pt x="29" y="3"/>
                  <a:pt x="30" y="3"/>
                </a:cubicBezTo>
                <a:cubicBezTo>
                  <a:pt x="32" y="3"/>
                  <a:pt x="33" y="3"/>
                  <a:pt x="35" y="3"/>
                </a:cubicBezTo>
                <a:cubicBezTo>
                  <a:pt x="36" y="3"/>
                  <a:pt x="39" y="4"/>
                  <a:pt x="40" y="5"/>
                </a:cubicBezTo>
                <a:cubicBezTo>
                  <a:pt x="40" y="5"/>
                  <a:pt x="39" y="5"/>
                  <a:pt x="39" y="6"/>
                </a:cubicBezTo>
                <a:cubicBezTo>
                  <a:pt x="39" y="6"/>
                  <a:pt x="40" y="6"/>
                  <a:pt x="40" y="6"/>
                </a:cubicBezTo>
                <a:cubicBezTo>
                  <a:pt x="40" y="7"/>
                  <a:pt x="41" y="8"/>
                  <a:pt x="41" y="8"/>
                </a:cubicBezTo>
                <a:cubicBezTo>
                  <a:pt x="41" y="9"/>
                  <a:pt x="41" y="9"/>
                  <a:pt x="42" y="10"/>
                </a:cubicBezTo>
                <a:cubicBezTo>
                  <a:pt x="42" y="10"/>
                  <a:pt x="42" y="11"/>
                  <a:pt x="42" y="11"/>
                </a:cubicBezTo>
                <a:cubicBezTo>
                  <a:pt x="43" y="12"/>
                  <a:pt x="43" y="10"/>
                  <a:pt x="43" y="9"/>
                </a:cubicBezTo>
                <a:cubicBezTo>
                  <a:pt x="42" y="9"/>
                  <a:pt x="43" y="8"/>
                  <a:pt x="43" y="7"/>
                </a:cubicBezTo>
                <a:cubicBezTo>
                  <a:pt x="44" y="6"/>
                  <a:pt x="44" y="5"/>
                  <a:pt x="44" y="5"/>
                </a:cubicBezTo>
                <a:cubicBezTo>
                  <a:pt x="45" y="3"/>
                  <a:pt x="44" y="2"/>
                  <a:pt x="46" y="2"/>
                </a:cubicBezTo>
                <a:cubicBezTo>
                  <a:pt x="48" y="2"/>
                  <a:pt x="51" y="2"/>
                  <a:pt x="53" y="2"/>
                </a:cubicBezTo>
                <a:cubicBezTo>
                  <a:pt x="54" y="2"/>
                  <a:pt x="54" y="2"/>
                  <a:pt x="55" y="2"/>
                </a:cubicBezTo>
                <a:cubicBezTo>
                  <a:pt x="56" y="2"/>
                  <a:pt x="56" y="2"/>
                  <a:pt x="56" y="3"/>
                </a:cubicBezTo>
                <a:cubicBezTo>
                  <a:pt x="56" y="3"/>
                  <a:pt x="56" y="4"/>
                  <a:pt x="57" y="4"/>
                </a:cubicBezTo>
                <a:cubicBezTo>
                  <a:pt x="57" y="4"/>
                  <a:pt x="57" y="5"/>
                  <a:pt x="58" y="6"/>
                </a:cubicBezTo>
                <a:cubicBezTo>
                  <a:pt x="58" y="6"/>
                  <a:pt x="59" y="6"/>
                  <a:pt x="59" y="6"/>
                </a:cubicBezTo>
                <a:cubicBezTo>
                  <a:pt x="60" y="6"/>
                  <a:pt x="60" y="7"/>
                  <a:pt x="61" y="7"/>
                </a:cubicBezTo>
                <a:cubicBezTo>
                  <a:pt x="61" y="7"/>
                  <a:pt x="62" y="7"/>
                  <a:pt x="62" y="8"/>
                </a:cubicBezTo>
                <a:cubicBezTo>
                  <a:pt x="62" y="9"/>
                  <a:pt x="62" y="9"/>
                  <a:pt x="62" y="10"/>
                </a:cubicBezTo>
                <a:cubicBezTo>
                  <a:pt x="63" y="10"/>
                  <a:pt x="63" y="11"/>
                  <a:pt x="64" y="11"/>
                </a:cubicBezTo>
                <a:cubicBezTo>
                  <a:pt x="64" y="12"/>
                  <a:pt x="64" y="13"/>
                  <a:pt x="65" y="13"/>
                </a:cubicBezTo>
                <a:cubicBezTo>
                  <a:pt x="65" y="14"/>
                  <a:pt x="66" y="14"/>
                  <a:pt x="66" y="14"/>
                </a:cubicBezTo>
                <a:cubicBezTo>
                  <a:pt x="67" y="15"/>
                  <a:pt x="67" y="15"/>
                  <a:pt x="67" y="15"/>
                </a:cubicBezTo>
                <a:cubicBezTo>
                  <a:pt x="67" y="15"/>
                  <a:pt x="67" y="16"/>
                  <a:pt x="68" y="16"/>
                </a:cubicBezTo>
                <a:cubicBezTo>
                  <a:pt x="68" y="16"/>
                  <a:pt x="69" y="16"/>
                  <a:pt x="69" y="16"/>
                </a:cubicBezTo>
                <a:cubicBezTo>
                  <a:pt x="69" y="17"/>
                  <a:pt x="70" y="17"/>
                  <a:pt x="70" y="17"/>
                </a:cubicBezTo>
                <a:cubicBezTo>
                  <a:pt x="70" y="18"/>
                  <a:pt x="71" y="18"/>
                  <a:pt x="72" y="19"/>
                </a:cubicBezTo>
                <a:cubicBezTo>
                  <a:pt x="72" y="19"/>
                  <a:pt x="73" y="19"/>
                  <a:pt x="73" y="19"/>
                </a:cubicBezTo>
                <a:cubicBezTo>
                  <a:pt x="74" y="20"/>
                  <a:pt x="74" y="21"/>
                  <a:pt x="75" y="21"/>
                </a:cubicBezTo>
                <a:cubicBezTo>
                  <a:pt x="75" y="21"/>
                  <a:pt x="75" y="22"/>
                  <a:pt x="76" y="22"/>
                </a:cubicBezTo>
                <a:cubicBezTo>
                  <a:pt x="76" y="22"/>
                  <a:pt x="77" y="23"/>
                  <a:pt x="77" y="23"/>
                </a:cubicBezTo>
                <a:cubicBezTo>
                  <a:pt x="78" y="23"/>
                  <a:pt x="79" y="23"/>
                  <a:pt x="79" y="23"/>
                </a:cubicBezTo>
                <a:cubicBezTo>
                  <a:pt x="79" y="23"/>
                  <a:pt x="79" y="23"/>
                  <a:pt x="80" y="24"/>
                </a:cubicBezTo>
                <a:cubicBezTo>
                  <a:pt x="80" y="24"/>
                  <a:pt x="80" y="24"/>
                  <a:pt x="80" y="24"/>
                </a:cubicBezTo>
                <a:cubicBezTo>
                  <a:pt x="81" y="24"/>
                  <a:pt x="82" y="24"/>
                  <a:pt x="83" y="24"/>
                </a:cubicBezTo>
                <a:cubicBezTo>
                  <a:pt x="84" y="25"/>
                  <a:pt x="84" y="24"/>
                  <a:pt x="85" y="24"/>
                </a:cubicBezTo>
                <a:cubicBezTo>
                  <a:pt x="86" y="25"/>
                  <a:pt x="86" y="25"/>
                  <a:pt x="87" y="26"/>
                </a:cubicBezTo>
                <a:cubicBezTo>
                  <a:pt x="88" y="27"/>
                  <a:pt x="90" y="28"/>
                  <a:pt x="91" y="29"/>
                </a:cubicBezTo>
                <a:cubicBezTo>
                  <a:pt x="92" y="30"/>
                  <a:pt x="94" y="30"/>
                  <a:pt x="95" y="31"/>
                </a:cubicBezTo>
                <a:cubicBezTo>
                  <a:pt x="96" y="32"/>
                  <a:pt x="97" y="33"/>
                  <a:pt x="98" y="33"/>
                </a:cubicBezTo>
                <a:cubicBezTo>
                  <a:pt x="98" y="33"/>
                  <a:pt x="99" y="33"/>
                  <a:pt x="99" y="33"/>
                </a:cubicBezTo>
                <a:cubicBezTo>
                  <a:pt x="100" y="33"/>
                  <a:pt x="101" y="33"/>
                  <a:pt x="101" y="34"/>
                </a:cubicBezTo>
                <a:cubicBezTo>
                  <a:pt x="102" y="34"/>
                  <a:pt x="102" y="35"/>
                  <a:pt x="103" y="35"/>
                </a:cubicBezTo>
                <a:cubicBezTo>
                  <a:pt x="103" y="34"/>
                  <a:pt x="104" y="35"/>
                  <a:pt x="104" y="35"/>
                </a:cubicBezTo>
                <a:cubicBezTo>
                  <a:pt x="105" y="36"/>
                  <a:pt x="106" y="36"/>
                  <a:pt x="106" y="36"/>
                </a:cubicBezTo>
                <a:cubicBezTo>
                  <a:pt x="108" y="36"/>
                  <a:pt x="108" y="38"/>
                  <a:pt x="109" y="39"/>
                </a:cubicBezTo>
                <a:cubicBezTo>
                  <a:pt x="110" y="40"/>
                  <a:pt x="110" y="40"/>
                  <a:pt x="110" y="40"/>
                </a:cubicBezTo>
                <a:cubicBezTo>
                  <a:pt x="110" y="41"/>
                  <a:pt x="110" y="42"/>
                  <a:pt x="109" y="42"/>
                </a:cubicBezTo>
                <a:cubicBezTo>
                  <a:pt x="109" y="42"/>
                  <a:pt x="109" y="42"/>
                  <a:pt x="109" y="42"/>
                </a:cubicBezTo>
                <a:cubicBezTo>
                  <a:pt x="108" y="43"/>
                  <a:pt x="109" y="43"/>
                  <a:pt x="108" y="43"/>
                </a:cubicBezTo>
                <a:cubicBezTo>
                  <a:pt x="108" y="44"/>
                  <a:pt x="108" y="44"/>
                  <a:pt x="108" y="45"/>
                </a:cubicBezTo>
                <a:cubicBezTo>
                  <a:pt x="107" y="45"/>
                  <a:pt x="108" y="45"/>
                  <a:pt x="108" y="45"/>
                </a:cubicBezTo>
                <a:cubicBezTo>
                  <a:pt x="107" y="46"/>
                  <a:pt x="108" y="46"/>
                  <a:pt x="108" y="46"/>
                </a:cubicBezTo>
                <a:cubicBezTo>
                  <a:pt x="107" y="47"/>
                  <a:pt x="107" y="47"/>
                  <a:pt x="106" y="47"/>
                </a:cubicBezTo>
                <a:cubicBezTo>
                  <a:pt x="106" y="48"/>
                  <a:pt x="106" y="48"/>
                  <a:pt x="106" y="48"/>
                </a:cubicBezTo>
                <a:cubicBezTo>
                  <a:pt x="106" y="48"/>
                  <a:pt x="106" y="49"/>
                  <a:pt x="106" y="49"/>
                </a:cubicBezTo>
                <a:cubicBezTo>
                  <a:pt x="106" y="49"/>
                  <a:pt x="105" y="49"/>
                  <a:pt x="106" y="50"/>
                </a:cubicBezTo>
                <a:cubicBezTo>
                  <a:pt x="106" y="50"/>
                  <a:pt x="105" y="50"/>
                  <a:pt x="105" y="51"/>
                </a:cubicBezTo>
                <a:cubicBezTo>
                  <a:pt x="106" y="51"/>
                  <a:pt x="105" y="52"/>
                  <a:pt x="106" y="52"/>
                </a:cubicBezTo>
                <a:cubicBezTo>
                  <a:pt x="106" y="52"/>
                  <a:pt x="106" y="53"/>
                  <a:pt x="106" y="53"/>
                </a:cubicBezTo>
                <a:cubicBezTo>
                  <a:pt x="105" y="53"/>
                  <a:pt x="106" y="55"/>
                  <a:pt x="105" y="55"/>
                </a:cubicBezTo>
                <a:cubicBezTo>
                  <a:pt x="105" y="55"/>
                  <a:pt x="104" y="55"/>
                  <a:pt x="105" y="55"/>
                </a:cubicBezTo>
                <a:cubicBezTo>
                  <a:pt x="105" y="56"/>
                  <a:pt x="105" y="56"/>
                  <a:pt x="104" y="56"/>
                </a:cubicBezTo>
                <a:cubicBezTo>
                  <a:pt x="104" y="56"/>
                  <a:pt x="104" y="56"/>
                  <a:pt x="104" y="57"/>
                </a:cubicBezTo>
                <a:cubicBezTo>
                  <a:pt x="104" y="57"/>
                  <a:pt x="104" y="58"/>
                  <a:pt x="103" y="58"/>
                </a:cubicBezTo>
                <a:cubicBezTo>
                  <a:pt x="103" y="58"/>
                  <a:pt x="103" y="58"/>
                  <a:pt x="103" y="58"/>
                </a:cubicBezTo>
                <a:cubicBezTo>
                  <a:pt x="103" y="58"/>
                  <a:pt x="103" y="58"/>
                  <a:pt x="103" y="58"/>
                </a:cubicBezTo>
                <a:cubicBezTo>
                  <a:pt x="103" y="58"/>
                  <a:pt x="103" y="58"/>
                  <a:pt x="102" y="59"/>
                </a:cubicBezTo>
                <a:cubicBezTo>
                  <a:pt x="102" y="59"/>
                  <a:pt x="103" y="60"/>
                  <a:pt x="103" y="60"/>
                </a:cubicBezTo>
                <a:cubicBezTo>
                  <a:pt x="105" y="60"/>
                  <a:pt x="106" y="60"/>
                  <a:pt x="108" y="60"/>
                </a:cubicBezTo>
                <a:cubicBezTo>
                  <a:pt x="109" y="60"/>
                  <a:pt x="110" y="60"/>
                  <a:pt x="111" y="60"/>
                </a:cubicBezTo>
                <a:cubicBezTo>
                  <a:pt x="111" y="60"/>
                  <a:pt x="112" y="61"/>
                  <a:pt x="113" y="61"/>
                </a:cubicBezTo>
                <a:cubicBezTo>
                  <a:pt x="114" y="61"/>
                  <a:pt x="114" y="61"/>
                  <a:pt x="115" y="62"/>
                </a:cubicBezTo>
                <a:cubicBezTo>
                  <a:pt x="116" y="62"/>
                  <a:pt x="117" y="62"/>
                  <a:pt x="118" y="62"/>
                </a:cubicBezTo>
                <a:cubicBezTo>
                  <a:pt x="118" y="62"/>
                  <a:pt x="119" y="61"/>
                  <a:pt x="119" y="62"/>
                </a:cubicBezTo>
                <a:cubicBezTo>
                  <a:pt x="120" y="62"/>
                  <a:pt x="121" y="63"/>
                  <a:pt x="121" y="62"/>
                </a:cubicBezTo>
                <a:cubicBezTo>
                  <a:pt x="121" y="62"/>
                  <a:pt x="122" y="62"/>
                  <a:pt x="123" y="62"/>
                </a:cubicBezTo>
                <a:cubicBezTo>
                  <a:pt x="123" y="62"/>
                  <a:pt x="124" y="63"/>
                  <a:pt x="124" y="63"/>
                </a:cubicBezTo>
                <a:cubicBezTo>
                  <a:pt x="125" y="64"/>
                  <a:pt x="125" y="61"/>
                  <a:pt x="126" y="61"/>
                </a:cubicBezTo>
                <a:cubicBezTo>
                  <a:pt x="126" y="61"/>
                  <a:pt x="126" y="60"/>
                  <a:pt x="127" y="60"/>
                </a:cubicBezTo>
                <a:cubicBezTo>
                  <a:pt x="127" y="60"/>
                  <a:pt x="128" y="60"/>
                  <a:pt x="129" y="61"/>
                </a:cubicBezTo>
                <a:cubicBezTo>
                  <a:pt x="129" y="61"/>
                  <a:pt x="129" y="62"/>
                  <a:pt x="130" y="62"/>
                </a:cubicBezTo>
                <a:cubicBezTo>
                  <a:pt x="131" y="62"/>
                  <a:pt x="131" y="61"/>
                  <a:pt x="131" y="60"/>
                </a:cubicBezTo>
                <a:cubicBezTo>
                  <a:pt x="132" y="60"/>
                  <a:pt x="131" y="59"/>
                  <a:pt x="131" y="59"/>
                </a:cubicBezTo>
                <a:cubicBezTo>
                  <a:pt x="131" y="59"/>
                  <a:pt x="131" y="59"/>
                  <a:pt x="131" y="58"/>
                </a:cubicBezTo>
                <a:cubicBezTo>
                  <a:pt x="132" y="58"/>
                  <a:pt x="132" y="58"/>
                  <a:pt x="132" y="58"/>
                </a:cubicBezTo>
                <a:cubicBezTo>
                  <a:pt x="132" y="58"/>
                  <a:pt x="132" y="57"/>
                  <a:pt x="133" y="57"/>
                </a:cubicBezTo>
                <a:cubicBezTo>
                  <a:pt x="133" y="56"/>
                  <a:pt x="134" y="56"/>
                  <a:pt x="134" y="56"/>
                </a:cubicBezTo>
                <a:cubicBezTo>
                  <a:pt x="135" y="57"/>
                  <a:pt x="135" y="57"/>
                  <a:pt x="135" y="56"/>
                </a:cubicBezTo>
                <a:cubicBezTo>
                  <a:pt x="135" y="55"/>
                  <a:pt x="136" y="55"/>
                  <a:pt x="136" y="55"/>
                </a:cubicBezTo>
                <a:cubicBezTo>
                  <a:pt x="137" y="54"/>
                  <a:pt x="136" y="54"/>
                  <a:pt x="137" y="53"/>
                </a:cubicBezTo>
                <a:cubicBezTo>
                  <a:pt x="138" y="53"/>
                  <a:pt x="138" y="53"/>
                  <a:pt x="138" y="52"/>
                </a:cubicBezTo>
                <a:cubicBezTo>
                  <a:pt x="138" y="51"/>
                  <a:pt x="138" y="52"/>
                  <a:pt x="138" y="51"/>
                </a:cubicBezTo>
                <a:cubicBezTo>
                  <a:pt x="139" y="50"/>
                  <a:pt x="138" y="49"/>
                  <a:pt x="138" y="49"/>
                </a:cubicBezTo>
                <a:cubicBezTo>
                  <a:pt x="139" y="48"/>
                  <a:pt x="138" y="47"/>
                  <a:pt x="138" y="47"/>
                </a:cubicBezTo>
                <a:cubicBezTo>
                  <a:pt x="138" y="46"/>
                  <a:pt x="138" y="46"/>
                  <a:pt x="138" y="46"/>
                </a:cubicBezTo>
                <a:cubicBezTo>
                  <a:pt x="139" y="46"/>
                  <a:pt x="138" y="44"/>
                  <a:pt x="138" y="44"/>
                </a:cubicBezTo>
                <a:cubicBezTo>
                  <a:pt x="138" y="44"/>
                  <a:pt x="138" y="43"/>
                  <a:pt x="138" y="42"/>
                </a:cubicBezTo>
                <a:cubicBezTo>
                  <a:pt x="138" y="42"/>
                  <a:pt x="138" y="42"/>
                  <a:pt x="138" y="42"/>
                </a:cubicBezTo>
                <a:cubicBezTo>
                  <a:pt x="138" y="42"/>
                  <a:pt x="138" y="41"/>
                  <a:pt x="138" y="41"/>
                </a:cubicBezTo>
                <a:cubicBezTo>
                  <a:pt x="138" y="41"/>
                  <a:pt x="140" y="42"/>
                  <a:pt x="140" y="42"/>
                </a:cubicBezTo>
                <a:cubicBezTo>
                  <a:pt x="140" y="42"/>
                  <a:pt x="140" y="41"/>
                  <a:pt x="141" y="41"/>
                </a:cubicBezTo>
                <a:cubicBezTo>
                  <a:pt x="141" y="41"/>
                  <a:pt x="141" y="41"/>
                  <a:pt x="141" y="41"/>
                </a:cubicBezTo>
                <a:cubicBezTo>
                  <a:pt x="141" y="41"/>
                  <a:pt x="142" y="41"/>
                  <a:pt x="142" y="41"/>
                </a:cubicBezTo>
                <a:cubicBezTo>
                  <a:pt x="142" y="41"/>
                  <a:pt x="142" y="41"/>
                  <a:pt x="142" y="41"/>
                </a:cubicBezTo>
                <a:cubicBezTo>
                  <a:pt x="142" y="41"/>
                  <a:pt x="142" y="40"/>
                  <a:pt x="143" y="40"/>
                </a:cubicBezTo>
                <a:cubicBezTo>
                  <a:pt x="143" y="41"/>
                  <a:pt x="142" y="41"/>
                  <a:pt x="143" y="41"/>
                </a:cubicBezTo>
                <a:cubicBezTo>
                  <a:pt x="143" y="41"/>
                  <a:pt x="143" y="41"/>
                  <a:pt x="144" y="41"/>
                </a:cubicBezTo>
                <a:cubicBezTo>
                  <a:pt x="144" y="41"/>
                  <a:pt x="144" y="42"/>
                  <a:pt x="145" y="42"/>
                </a:cubicBezTo>
                <a:cubicBezTo>
                  <a:pt x="145" y="42"/>
                  <a:pt x="145" y="42"/>
                  <a:pt x="145" y="43"/>
                </a:cubicBezTo>
                <a:cubicBezTo>
                  <a:pt x="145" y="43"/>
                  <a:pt x="145" y="43"/>
                  <a:pt x="146" y="44"/>
                </a:cubicBezTo>
                <a:cubicBezTo>
                  <a:pt x="146" y="44"/>
                  <a:pt x="146" y="45"/>
                  <a:pt x="146" y="45"/>
                </a:cubicBezTo>
                <a:cubicBezTo>
                  <a:pt x="146" y="46"/>
                  <a:pt x="147" y="46"/>
                  <a:pt x="147" y="46"/>
                </a:cubicBezTo>
                <a:cubicBezTo>
                  <a:pt x="147" y="47"/>
                  <a:pt x="147" y="47"/>
                  <a:pt x="148" y="48"/>
                </a:cubicBezTo>
                <a:cubicBezTo>
                  <a:pt x="148" y="49"/>
                  <a:pt x="148" y="50"/>
                  <a:pt x="148" y="51"/>
                </a:cubicBezTo>
                <a:cubicBezTo>
                  <a:pt x="148" y="51"/>
                  <a:pt x="148" y="52"/>
                  <a:pt x="148" y="52"/>
                </a:cubicBezTo>
                <a:cubicBezTo>
                  <a:pt x="148" y="53"/>
                  <a:pt x="148" y="53"/>
                  <a:pt x="148" y="53"/>
                </a:cubicBezTo>
                <a:cubicBezTo>
                  <a:pt x="148" y="53"/>
                  <a:pt x="148" y="54"/>
                  <a:pt x="148" y="54"/>
                </a:cubicBezTo>
                <a:cubicBezTo>
                  <a:pt x="148" y="55"/>
                  <a:pt x="148" y="55"/>
                  <a:pt x="148" y="56"/>
                </a:cubicBezTo>
                <a:cubicBezTo>
                  <a:pt x="148" y="57"/>
                  <a:pt x="148" y="57"/>
                  <a:pt x="148" y="57"/>
                </a:cubicBezTo>
                <a:close/>
                <a:moveTo>
                  <a:pt x="136" y="357"/>
                </a:moveTo>
                <a:cubicBezTo>
                  <a:pt x="137" y="356"/>
                  <a:pt x="136" y="356"/>
                  <a:pt x="135" y="356"/>
                </a:cubicBezTo>
                <a:cubicBezTo>
                  <a:pt x="134" y="356"/>
                  <a:pt x="133" y="357"/>
                  <a:pt x="132" y="357"/>
                </a:cubicBezTo>
                <a:cubicBezTo>
                  <a:pt x="130" y="356"/>
                  <a:pt x="129" y="356"/>
                  <a:pt x="127" y="355"/>
                </a:cubicBezTo>
                <a:cubicBezTo>
                  <a:pt x="125" y="355"/>
                  <a:pt x="123" y="353"/>
                  <a:pt x="120" y="352"/>
                </a:cubicBezTo>
                <a:cubicBezTo>
                  <a:pt x="119" y="351"/>
                  <a:pt x="117" y="351"/>
                  <a:pt x="115" y="350"/>
                </a:cubicBezTo>
                <a:cubicBezTo>
                  <a:pt x="114" y="350"/>
                  <a:pt x="113" y="349"/>
                  <a:pt x="113" y="348"/>
                </a:cubicBezTo>
                <a:cubicBezTo>
                  <a:pt x="112" y="348"/>
                  <a:pt x="112" y="348"/>
                  <a:pt x="111" y="347"/>
                </a:cubicBezTo>
                <a:cubicBezTo>
                  <a:pt x="111" y="347"/>
                  <a:pt x="110" y="347"/>
                  <a:pt x="110" y="346"/>
                </a:cubicBezTo>
                <a:cubicBezTo>
                  <a:pt x="109" y="346"/>
                  <a:pt x="108" y="345"/>
                  <a:pt x="107" y="344"/>
                </a:cubicBezTo>
                <a:cubicBezTo>
                  <a:pt x="106" y="343"/>
                  <a:pt x="105" y="342"/>
                  <a:pt x="104" y="342"/>
                </a:cubicBezTo>
                <a:cubicBezTo>
                  <a:pt x="103" y="343"/>
                  <a:pt x="102" y="342"/>
                  <a:pt x="101" y="341"/>
                </a:cubicBezTo>
                <a:cubicBezTo>
                  <a:pt x="101" y="341"/>
                  <a:pt x="102" y="339"/>
                  <a:pt x="102" y="339"/>
                </a:cubicBezTo>
                <a:cubicBezTo>
                  <a:pt x="103" y="339"/>
                  <a:pt x="103" y="340"/>
                  <a:pt x="104" y="341"/>
                </a:cubicBezTo>
                <a:cubicBezTo>
                  <a:pt x="103" y="338"/>
                  <a:pt x="100" y="337"/>
                  <a:pt x="98" y="336"/>
                </a:cubicBezTo>
                <a:cubicBezTo>
                  <a:pt x="100" y="340"/>
                  <a:pt x="103" y="345"/>
                  <a:pt x="105" y="350"/>
                </a:cubicBezTo>
                <a:cubicBezTo>
                  <a:pt x="106" y="352"/>
                  <a:pt x="107" y="355"/>
                  <a:pt x="108" y="357"/>
                </a:cubicBezTo>
                <a:cubicBezTo>
                  <a:pt x="109" y="358"/>
                  <a:pt x="109" y="359"/>
                  <a:pt x="110" y="359"/>
                </a:cubicBezTo>
                <a:cubicBezTo>
                  <a:pt x="110" y="359"/>
                  <a:pt x="112" y="359"/>
                  <a:pt x="112" y="358"/>
                </a:cubicBezTo>
                <a:cubicBezTo>
                  <a:pt x="112" y="358"/>
                  <a:pt x="112" y="358"/>
                  <a:pt x="112" y="358"/>
                </a:cubicBezTo>
                <a:cubicBezTo>
                  <a:pt x="114" y="359"/>
                  <a:pt x="116" y="359"/>
                  <a:pt x="118" y="359"/>
                </a:cubicBezTo>
                <a:cubicBezTo>
                  <a:pt x="120" y="359"/>
                  <a:pt x="123" y="359"/>
                  <a:pt x="125" y="360"/>
                </a:cubicBezTo>
                <a:cubicBezTo>
                  <a:pt x="126" y="360"/>
                  <a:pt x="127" y="361"/>
                  <a:pt x="128" y="361"/>
                </a:cubicBezTo>
                <a:cubicBezTo>
                  <a:pt x="128" y="361"/>
                  <a:pt x="128" y="360"/>
                  <a:pt x="128" y="360"/>
                </a:cubicBezTo>
                <a:cubicBezTo>
                  <a:pt x="129" y="360"/>
                  <a:pt x="129" y="360"/>
                  <a:pt x="129" y="360"/>
                </a:cubicBezTo>
                <a:cubicBezTo>
                  <a:pt x="129" y="360"/>
                  <a:pt x="132" y="360"/>
                  <a:pt x="131" y="359"/>
                </a:cubicBezTo>
                <a:cubicBezTo>
                  <a:pt x="132" y="359"/>
                  <a:pt x="132" y="359"/>
                  <a:pt x="133" y="359"/>
                </a:cubicBezTo>
                <a:cubicBezTo>
                  <a:pt x="133" y="359"/>
                  <a:pt x="133" y="360"/>
                  <a:pt x="134" y="360"/>
                </a:cubicBezTo>
                <a:cubicBezTo>
                  <a:pt x="134" y="360"/>
                  <a:pt x="134" y="359"/>
                  <a:pt x="135" y="359"/>
                </a:cubicBezTo>
                <a:cubicBezTo>
                  <a:pt x="135" y="360"/>
                  <a:pt x="135" y="359"/>
                  <a:pt x="135" y="359"/>
                </a:cubicBezTo>
                <a:cubicBezTo>
                  <a:pt x="135" y="359"/>
                  <a:pt x="136" y="359"/>
                  <a:pt x="136" y="359"/>
                </a:cubicBezTo>
                <a:cubicBezTo>
                  <a:pt x="137" y="359"/>
                  <a:pt x="136" y="359"/>
                  <a:pt x="136" y="359"/>
                </a:cubicBezTo>
                <a:cubicBezTo>
                  <a:pt x="136" y="359"/>
                  <a:pt x="136" y="359"/>
                  <a:pt x="137" y="358"/>
                </a:cubicBezTo>
                <a:cubicBezTo>
                  <a:pt x="137" y="358"/>
                  <a:pt x="136" y="357"/>
                  <a:pt x="136" y="357"/>
                </a:cubicBezTo>
                <a:close/>
                <a:moveTo>
                  <a:pt x="147" y="357"/>
                </a:moveTo>
                <a:cubicBezTo>
                  <a:pt x="146" y="357"/>
                  <a:pt x="146" y="358"/>
                  <a:pt x="145" y="357"/>
                </a:cubicBezTo>
                <a:cubicBezTo>
                  <a:pt x="145" y="358"/>
                  <a:pt x="144" y="357"/>
                  <a:pt x="144" y="357"/>
                </a:cubicBezTo>
                <a:cubicBezTo>
                  <a:pt x="143" y="357"/>
                  <a:pt x="143" y="358"/>
                  <a:pt x="143" y="358"/>
                </a:cubicBezTo>
                <a:cubicBezTo>
                  <a:pt x="143" y="358"/>
                  <a:pt x="142" y="357"/>
                  <a:pt x="142" y="357"/>
                </a:cubicBezTo>
                <a:cubicBezTo>
                  <a:pt x="142" y="357"/>
                  <a:pt x="142" y="358"/>
                  <a:pt x="142" y="358"/>
                </a:cubicBezTo>
                <a:cubicBezTo>
                  <a:pt x="142" y="358"/>
                  <a:pt x="142" y="358"/>
                  <a:pt x="141" y="358"/>
                </a:cubicBezTo>
                <a:cubicBezTo>
                  <a:pt x="141" y="358"/>
                  <a:pt x="141" y="358"/>
                  <a:pt x="141" y="358"/>
                </a:cubicBezTo>
                <a:cubicBezTo>
                  <a:pt x="141" y="359"/>
                  <a:pt x="141" y="358"/>
                  <a:pt x="141" y="359"/>
                </a:cubicBezTo>
                <a:cubicBezTo>
                  <a:pt x="141" y="359"/>
                  <a:pt x="142" y="359"/>
                  <a:pt x="142" y="359"/>
                </a:cubicBezTo>
                <a:cubicBezTo>
                  <a:pt x="142" y="359"/>
                  <a:pt x="142" y="359"/>
                  <a:pt x="143" y="359"/>
                </a:cubicBezTo>
                <a:cubicBezTo>
                  <a:pt x="143" y="358"/>
                  <a:pt x="143" y="359"/>
                  <a:pt x="144" y="358"/>
                </a:cubicBezTo>
                <a:cubicBezTo>
                  <a:pt x="144" y="357"/>
                  <a:pt x="144" y="359"/>
                  <a:pt x="145" y="358"/>
                </a:cubicBezTo>
                <a:cubicBezTo>
                  <a:pt x="145" y="358"/>
                  <a:pt x="146" y="357"/>
                  <a:pt x="147" y="358"/>
                </a:cubicBezTo>
                <a:cubicBezTo>
                  <a:pt x="147" y="359"/>
                  <a:pt x="148" y="358"/>
                  <a:pt x="148" y="357"/>
                </a:cubicBezTo>
                <a:cubicBezTo>
                  <a:pt x="148" y="357"/>
                  <a:pt x="147" y="357"/>
                  <a:pt x="147" y="357"/>
                </a:cubicBezTo>
                <a:close/>
                <a:moveTo>
                  <a:pt x="101" y="190"/>
                </a:moveTo>
                <a:cubicBezTo>
                  <a:pt x="101" y="190"/>
                  <a:pt x="100" y="190"/>
                  <a:pt x="100" y="190"/>
                </a:cubicBezTo>
                <a:cubicBezTo>
                  <a:pt x="99" y="190"/>
                  <a:pt x="100" y="191"/>
                  <a:pt x="100" y="191"/>
                </a:cubicBezTo>
                <a:cubicBezTo>
                  <a:pt x="101" y="191"/>
                  <a:pt x="101" y="191"/>
                  <a:pt x="102" y="191"/>
                </a:cubicBezTo>
                <a:cubicBezTo>
                  <a:pt x="102" y="191"/>
                  <a:pt x="102" y="190"/>
                  <a:pt x="101" y="190"/>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7" name="Antigua and Barbuda"/>
          <p:cNvSpPr>
            <a:spLocks noEditPoints="1"/>
          </p:cNvSpPr>
          <p:nvPr/>
        </p:nvSpPr>
        <p:spPr bwMode="auto">
          <a:xfrm>
            <a:off x="3657163" y="3957964"/>
            <a:ext cx="7000" cy="32999"/>
          </a:xfrm>
          <a:custGeom>
            <a:avLst/>
            <a:gdLst/>
            <a:ahLst/>
            <a:cxnLst>
              <a:cxn ang="0">
                <a:pos x="2" y="2"/>
              </a:cxn>
              <a:cxn ang="0">
                <a:pos x="1" y="1"/>
              </a:cxn>
              <a:cxn ang="0">
                <a:pos x="1" y="2"/>
              </a:cxn>
              <a:cxn ang="0">
                <a:pos x="1" y="1"/>
              </a:cxn>
              <a:cxn ang="0">
                <a:pos x="1" y="1"/>
              </a:cxn>
              <a:cxn ang="0">
                <a:pos x="1" y="1"/>
              </a:cxn>
              <a:cxn ang="0">
                <a:pos x="2" y="2"/>
              </a:cxn>
              <a:cxn ang="0">
                <a:pos x="2" y="7"/>
              </a:cxn>
              <a:cxn ang="0">
                <a:pos x="1" y="7"/>
              </a:cxn>
              <a:cxn ang="0">
                <a:pos x="1" y="7"/>
              </a:cxn>
              <a:cxn ang="0">
                <a:pos x="1" y="7"/>
              </a:cxn>
              <a:cxn ang="0">
                <a:pos x="0" y="7"/>
              </a:cxn>
              <a:cxn ang="0">
                <a:pos x="0" y="8"/>
              </a:cxn>
              <a:cxn ang="0">
                <a:pos x="0" y="8"/>
              </a:cxn>
              <a:cxn ang="0">
                <a:pos x="1" y="9"/>
              </a:cxn>
              <a:cxn ang="0">
                <a:pos x="2" y="8"/>
              </a:cxn>
              <a:cxn ang="0">
                <a:pos x="2" y="7"/>
              </a:cxn>
            </a:cxnLst>
            <a:rect l="0" t="0" r="r" b="b"/>
            <a:pathLst>
              <a:path w="2" h="9">
                <a:moveTo>
                  <a:pt x="2" y="2"/>
                </a:moveTo>
                <a:cubicBezTo>
                  <a:pt x="1" y="2"/>
                  <a:pt x="0" y="2"/>
                  <a:pt x="1" y="1"/>
                </a:cubicBezTo>
                <a:cubicBezTo>
                  <a:pt x="1" y="1"/>
                  <a:pt x="1" y="1"/>
                  <a:pt x="1" y="2"/>
                </a:cubicBezTo>
                <a:cubicBezTo>
                  <a:pt x="1" y="1"/>
                  <a:pt x="1" y="1"/>
                  <a:pt x="1" y="1"/>
                </a:cubicBezTo>
                <a:cubicBezTo>
                  <a:pt x="1" y="0"/>
                  <a:pt x="1" y="0"/>
                  <a:pt x="1" y="1"/>
                </a:cubicBezTo>
                <a:cubicBezTo>
                  <a:pt x="1" y="1"/>
                  <a:pt x="1" y="1"/>
                  <a:pt x="1" y="1"/>
                </a:cubicBezTo>
                <a:cubicBezTo>
                  <a:pt x="2" y="1"/>
                  <a:pt x="2" y="2"/>
                  <a:pt x="2" y="2"/>
                </a:cubicBezTo>
                <a:close/>
                <a:moveTo>
                  <a:pt x="2" y="7"/>
                </a:moveTo>
                <a:cubicBezTo>
                  <a:pt x="2" y="7"/>
                  <a:pt x="1" y="7"/>
                  <a:pt x="1" y="7"/>
                </a:cubicBezTo>
                <a:cubicBezTo>
                  <a:pt x="1" y="7"/>
                  <a:pt x="1" y="7"/>
                  <a:pt x="1" y="7"/>
                </a:cubicBezTo>
                <a:cubicBezTo>
                  <a:pt x="1" y="7"/>
                  <a:pt x="1" y="7"/>
                  <a:pt x="1" y="7"/>
                </a:cubicBezTo>
                <a:cubicBezTo>
                  <a:pt x="0" y="6"/>
                  <a:pt x="0" y="7"/>
                  <a:pt x="0" y="7"/>
                </a:cubicBezTo>
                <a:cubicBezTo>
                  <a:pt x="0" y="7"/>
                  <a:pt x="0" y="8"/>
                  <a:pt x="0" y="8"/>
                </a:cubicBezTo>
                <a:cubicBezTo>
                  <a:pt x="0" y="8"/>
                  <a:pt x="0" y="8"/>
                  <a:pt x="0" y="8"/>
                </a:cubicBezTo>
                <a:cubicBezTo>
                  <a:pt x="1" y="8"/>
                  <a:pt x="1" y="8"/>
                  <a:pt x="1" y="9"/>
                </a:cubicBezTo>
                <a:cubicBezTo>
                  <a:pt x="1" y="8"/>
                  <a:pt x="2" y="8"/>
                  <a:pt x="2" y="8"/>
                </a:cubicBezTo>
                <a:cubicBezTo>
                  <a:pt x="2" y="8"/>
                  <a:pt x="2" y="8"/>
                  <a:pt x="2" y="7"/>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8" name="Anguilla"/>
          <p:cNvSpPr>
            <a:spLocks/>
          </p:cNvSpPr>
          <p:nvPr/>
        </p:nvSpPr>
        <p:spPr bwMode="auto">
          <a:xfrm>
            <a:off x="3617164" y="3936965"/>
            <a:ext cx="8000" cy="7000"/>
          </a:xfrm>
          <a:custGeom>
            <a:avLst/>
            <a:gdLst/>
            <a:ahLst/>
            <a:cxnLst>
              <a:cxn ang="0">
                <a:pos x="1" y="1"/>
              </a:cxn>
              <a:cxn ang="0">
                <a:pos x="0" y="2"/>
              </a:cxn>
              <a:cxn ang="0">
                <a:pos x="2" y="1"/>
              </a:cxn>
              <a:cxn ang="0">
                <a:pos x="1" y="1"/>
              </a:cxn>
            </a:cxnLst>
            <a:rect l="0" t="0" r="r" b="b"/>
            <a:pathLst>
              <a:path w="2" h="2">
                <a:moveTo>
                  <a:pt x="1" y="1"/>
                </a:moveTo>
                <a:cubicBezTo>
                  <a:pt x="0" y="1"/>
                  <a:pt x="0" y="2"/>
                  <a:pt x="0" y="2"/>
                </a:cubicBezTo>
                <a:cubicBezTo>
                  <a:pt x="0" y="2"/>
                  <a:pt x="2" y="1"/>
                  <a:pt x="2" y="1"/>
                </a:cubicBezTo>
                <a:cubicBezTo>
                  <a:pt x="2" y="0"/>
                  <a:pt x="1" y="1"/>
                  <a:pt x="1"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19" name="Angola"/>
          <p:cNvSpPr>
            <a:spLocks noEditPoints="1"/>
          </p:cNvSpPr>
          <p:nvPr/>
        </p:nvSpPr>
        <p:spPr bwMode="auto">
          <a:xfrm>
            <a:off x="6204067" y="4836931"/>
            <a:ext cx="429984" cy="545980"/>
          </a:xfrm>
          <a:custGeom>
            <a:avLst/>
            <a:gdLst/>
            <a:ahLst/>
            <a:cxnLst>
              <a:cxn ang="0">
                <a:pos x="9" y="6"/>
              </a:cxn>
              <a:cxn ang="0">
                <a:pos x="8" y="9"/>
              </a:cxn>
              <a:cxn ang="0">
                <a:pos x="4" y="14"/>
              </a:cxn>
              <a:cxn ang="0">
                <a:pos x="4" y="7"/>
              </a:cxn>
              <a:cxn ang="0">
                <a:pos x="6" y="5"/>
              </a:cxn>
              <a:cxn ang="0">
                <a:pos x="10" y="0"/>
              </a:cxn>
              <a:cxn ang="0">
                <a:pos x="119" y="76"/>
              </a:cxn>
              <a:cxn ang="0">
                <a:pos x="115" y="73"/>
              </a:cxn>
              <a:cxn ang="0">
                <a:pos x="107" y="74"/>
              </a:cxn>
              <a:cxn ang="0">
                <a:pos x="102" y="75"/>
              </a:cxn>
              <a:cxn ang="0">
                <a:pos x="102" y="68"/>
              </a:cxn>
              <a:cxn ang="0">
                <a:pos x="100" y="60"/>
              </a:cxn>
              <a:cxn ang="0">
                <a:pos x="98" y="50"/>
              </a:cxn>
              <a:cxn ang="0">
                <a:pos x="97" y="40"/>
              </a:cxn>
              <a:cxn ang="0">
                <a:pos x="93" y="32"/>
              </a:cxn>
              <a:cxn ang="0">
                <a:pos x="84" y="28"/>
              </a:cxn>
              <a:cxn ang="0">
                <a:pos x="75" y="32"/>
              </a:cxn>
              <a:cxn ang="0">
                <a:pos x="74" y="37"/>
              </a:cxn>
              <a:cxn ang="0">
                <a:pos x="68" y="40"/>
              </a:cxn>
              <a:cxn ang="0">
                <a:pos x="62" y="41"/>
              </a:cxn>
              <a:cxn ang="0">
                <a:pos x="56" y="40"/>
              </a:cxn>
              <a:cxn ang="0">
                <a:pos x="53" y="35"/>
              </a:cxn>
              <a:cxn ang="0">
                <a:pos x="51" y="28"/>
              </a:cxn>
              <a:cxn ang="0">
                <a:pos x="48" y="21"/>
              </a:cxn>
              <a:cxn ang="0">
                <a:pos x="43" y="17"/>
              </a:cxn>
              <a:cxn ang="0">
                <a:pos x="22" y="17"/>
              </a:cxn>
              <a:cxn ang="0">
                <a:pos x="16" y="17"/>
              </a:cxn>
              <a:cxn ang="0">
                <a:pos x="9" y="18"/>
              </a:cxn>
              <a:cxn ang="0">
                <a:pos x="7" y="24"/>
              </a:cxn>
              <a:cxn ang="0">
                <a:pos x="12" y="35"/>
              </a:cxn>
              <a:cxn ang="0">
                <a:pos x="16" y="48"/>
              </a:cxn>
              <a:cxn ang="0">
                <a:pos x="14" y="50"/>
              </a:cxn>
              <a:cxn ang="0">
                <a:pos x="13" y="54"/>
              </a:cxn>
              <a:cxn ang="0">
                <a:pos x="16" y="61"/>
              </a:cxn>
              <a:cxn ang="0">
                <a:pos x="18" y="67"/>
              </a:cxn>
              <a:cxn ang="0">
                <a:pos x="20" y="83"/>
              </a:cxn>
              <a:cxn ang="0">
                <a:pos x="16" y="90"/>
              </a:cxn>
              <a:cxn ang="0">
                <a:pos x="14" y="91"/>
              </a:cxn>
              <a:cxn ang="0">
                <a:pos x="10" y="97"/>
              </a:cxn>
              <a:cxn ang="0">
                <a:pos x="7" y="105"/>
              </a:cxn>
              <a:cxn ang="0">
                <a:pos x="5" y="112"/>
              </a:cxn>
              <a:cxn ang="0">
                <a:pos x="3" y="122"/>
              </a:cxn>
              <a:cxn ang="0">
                <a:pos x="1" y="128"/>
              </a:cxn>
              <a:cxn ang="0">
                <a:pos x="1" y="137"/>
              </a:cxn>
              <a:cxn ang="0">
                <a:pos x="5" y="142"/>
              </a:cxn>
              <a:cxn ang="0">
                <a:pos x="13" y="139"/>
              </a:cxn>
              <a:cxn ang="0">
                <a:pos x="19" y="142"/>
              </a:cxn>
              <a:cxn ang="0">
                <a:pos x="25" y="143"/>
              </a:cxn>
              <a:cxn ang="0">
                <a:pos x="64" y="143"/>
              </a:cxn>
              <a:cxn ang="0">
                <a:pos x="71" y="148"/>
              </a:cxn>
              <a:cxn ang="0">
                <a:pos x="84" y="149"/>
              </a:cxn>
              <a:cxn ang="0">
                <a:pos x="91" y="149"/>
              </a:cxn>
              <a:cxn ang="0">
                <a:pos x="112" y="146"/>
              </a:cxn>
              <a:cxn ang="0">
                <a:pos x="100" y="134"/>
              </a:cxn>
              <a:cxn ang="0">
                <a:pos x="99" y="99"/>
              </a:cxn>
              <a:cxn ang="0">
                <a:pos x="114" y="95"/>
              </a:cxn>
              <a:cxn ang="0">
                <a:pos x="119" y="89"/>
              </a:cxn>
              <a:cxn ang="0">
                <a:pos x="118" y="80"/>
              </a:cxn>
              <a:cxn ang="0">
                <a:pos x="14" y="50"/>
              </a:cxn>
              <a:cxn ang="0">
                <a:pos x="13" y="51"/>
              </a:cxn>
            </a:cxnLst>
            <a:rect l="0" t="0" r="r" b="b"/>
            <a:pathLst>
              <a:path w="119" h="151">
                <a:moveTo>
                  <a:pt x="13" y="4"/>
                </a:moveTo>
                <a:cubicBezTo>
                  <a:pt x="13" y="4"/>
                  <a:pt x="12" y="4"/>
                  <a:pt x="11" y="4"/>
                </a:cubicBezTo>
                <a:cubicBezTo>
                  <a:pt x="10" y="4"/>
                  <a:pt x="10" y="6"/>
                  <a:pt x="10" y="6"/>
                </a:cubicBezTo>
                <a:cubicBezTo>
                  <a:pt x="10" y="6"/>
                  <a:pt x="9" y="6"/>
                  <a:pt x="9" y="6"/>
                </a:cubicBezTo>
                <a:cubicBezTo>
                  <a:pt x="9" y="7"/>
                  <a:pt x="9" y="7"/>
                  <a:pt x="9" y="7"/>
                </a:cubicBezTo>
                <a:cubicBezTo>
                  <a:pt x="8" y="7"/>
                  <a:pt x="7" y="8"/>
                  <a:pt x="7" y="8"/>
                </a:cubicBezTo>
                <a:cubicBezTo>
                  <a:pt x="7" y="8"/>
                  <a:pt x="8" y="8"/>
                  <a:pt x="8" y="9"/>
                </a:cubicBezTo>
                <a:cubicBezTo>
                  <a:pt x="8" y="9"/>
                  <a:pt x="8" y="9"/>
                  <a:pt x="8" y="9"/>
                </a:cubicBezTo>
                <a:cubicBezTo>
                  <a:pt x="8" y="10"/>
                  <a:pt x="8" y="11"/>
                  <a:pt x="8" y="12"/>
                </a:cubicBezTo>
                <a:cubicBezTo>
                  <a:pt x="8" y="13"/>
                  <a:pt x="8" y="14"/>
                  <a:pt x="8" y="15"/>
                </a:cubicBezTo>
                <a:cubicBezTo>
                  <a:pt x="8" y="16"/>
                  <a:pt x="6" y="15"/>
                  <a:pt x="5" y="16"/>
                </a:cubicBezTo>
                <a:cubicBezTo>
                  <a:pt x="5" y="15"/>
                  <a:pt x="4" y="14"/>
                  <a:pt x="4" y="14"/>
                </a:cubicBezTo>
                <a:cubicBezTo>
                  <a:pt x="5" y="13"/>
                  <a:pt x="5" y="13"/>
                  <a:pt x="5" y="12"/>
                </a:cubicBezTo>
                <a:cubicBezTo>
                  <a:pt x="5" y="11"/>
                  <a:pt x="5" y="11"/>
                  <a:pt x="4" y="10"/>
                </a:cubicBezTo>
                <a:cubicBezTo>
                  <a:pt x="4" y="9"/>
                  <a:pt x="3" y="8"/>
                  <a:pt x="3" y="8"/>
                </a:cubicBezTo>
                <a:cubicBezTo>
                  <a:pt x="3" y="8"/>
                  <a:pt x="4" y="8"/>
                  <a:pt x="4" y="7"/>
                </a:cubicBezTo>
                <a:cubicBezTo>
                  <a:pt x="4" y="7"/>
                  <a:pt x="3" y="7"/>
                  <a:pt x="3" y="7"/>
                </a:cubicBezTo>
                <a:cubicBezTo>
                  <a:pt x="4" y="7"/>
                  <a:pt x="4" y="6"/>
                  <a:pt x="4" y="6"/>
                </a:cubicBezTo>
                <a:cubicBezTo>
                  <a:pt x="5" y="6"/>
                  <a:pt x="5" y="5"/>
                  <a:pt x="5" y="5"/>
                </a:cubicBezTo>
                <a:cubicBezTo>
                  <a:pt x="5" y="5"/>
                  <a:pt x="6" y="5"/>
                  <a:pt x="6" y="5"/>
                </a:cubicBezTo>
                <a:cubicBezTo>
                  <a:pt x="6" y="5"/>
                  <a:pt x="6" y="4"/>
                  <a:pt x="7" y="4"/>
                </a:cubicBezTo>
                <a:cubicBezTo>
                  <a:pt x="7" y="4"/>
                  <a:pt x="7" y="3"/>
                  <a:pt x="7" y="3"/>
                </a:cubicBezTo>
                <a:cubicBezTo>
                  <a:pt x="8" y="3"/>
                  <a:pt x="8" y="3"/>
                  <a:pt x="9" y="2"/>
                </a:cubicBezTo>
                <a:cubicBezTo>
                  <a:pt x="9" y="2"/>
                  <a:pt x="10" y="1"/>
                  <a:pt x="10" y="0"/>
                </a:cubicBezTo>
                <a:cubicBezTo>
                  <a:pt x="11" y="1"/>
                  <a:pt x="11" y="1"/>
                  <a:pt x="12" y="1"/>
                </a:cubicBezTo>
                <a:cubicBezTo>
                  <a:pt x="12" y="2"/>
                  <a:pt x="12" y="2"/>
                  <a:pt x="13" y="3"/>
                </a:cubicBezTo>
                <a:cubicBezTo>
                  <a:pt x="13" y="3"/>
                  <a:pt x="14" y="3"/>
                  <a:pt x="13" y="4"/>
                </a:cubicBezTo>
                <a:close/>
                <a:moveTo>
                  <a:pt x="119" y="76"/>
                </a:moveTo>
                <a:cubicBezTo>
                  <a:pt x="119" y="75"/>
                  <a:pt x="119" y="75"/>
                  <a:pt x="119" y="74"/>
                </a:cubicBezTo>
                <a:cubicBezTo>
                  <a:pt x="119" y="73"/>
                  <a:pt x="118" y="72"/>
                  <a:pt x="119" y="72"/>
                </a:cubicBezTo>
                <a:cubicBezTo>
                  <a:pt x="118" y="72"/>
                  <a:pt x="118" y="74"/>
                  <a:pt x="117" y="73"/>
                </a:cubicBezTo>
                <a:cubicBezTo>
                  <a:pt x="116" y="73"/>
                  <a:pt x="116" y="73"/>
                  <a:pt x="115" y="73"/>
                </a:cubicBezTo>
                <a:cubicBezTo>
                  <a:pt x="115" y="73"/>
                  <a:pt x="114" y="73"/>
                  <a:pt x="114" y="73"/>
                </a:cubicBezTo>
                <a:cubicBezTo>
                  <a:pt x="112" y="73"/>
                  <a:pt x="111" y="74"/>
                  <a:pt x="110" y="74"/>
                </a:cubicBezTo>
                <a:cubicBezTo>
                  <a:pt x="110" y="74"/>
                  <a:pt x="109" y="74"/>
                  <a:pt x="109" y="74"/>
                </a:cubicBezTo>
                <a:cubicBezTo>
                  <a:pt x="108" y="74"/>
                  <a:pt x="108" y="74"/>
                  <a:pt x="107" y="74"/>
                </a:cubicBezTo>
                <a:cubicBezTo>
                  <a:pt x="107" y="74"/>
                  <a:pt x="106" y="74"/>
                  <a:pt x="105" y="74"/>
                </a:cubicBezTo>
                <a:cubicBezTo>
                  <a:pt x="105" y="74"/>
                  <a:pt x="104" y="73"/>
                  <a:pt x="104" y="74"/>
                </a:cubicBezTo>
                <a:cubicBezTo>
                  <a:pt x="104" y="75"/>
                  <a:pt x="103" y="75"/>
                  <a:pt x="102" y="76"/>
                </a:cubicBezTo>
                <a:cubicBezTo>
                  <a:pt x="102" y="76"/>
                  <a:pt x="102" y="76"/>
                  <a:pt x="102" y="75"/>
                </a:cubicBezTo>
                <a:cubicBezTo>
                  <a:pt x="102" y="74"/>
                  <a:pt x="101" y="73"/>
                  <a:pt x="101" y="72"/>
                </a:cubicBezTo>
                <a:cubicBezTo>
                  <a:pt x="101" y="71"/>
                  <a:pt x="101" y="71"/>
                  <a:pt x="102" y="71"/>
                </a:cubicBezTo>
                <a:cubicBezTo>
                  <a:pt x="103" y="71"/>
                  <a:pt x="103" y="70"/>
                  <a:pt x="102" y="69"/>
                </a:cubicBezTo>
                <a:cubicBezTo>
                  <a:pt x="102" y="69"/>
                  <a:pt x="102" y="68"/>
                  <a:pt x="102" y="68"/>
                </a:cubicBezTo>
                <a:cubicBezTo>
                  <a:pt x="102" y="67"/>
                  <a:pt x="102" y="67"/>
                  <a:pt x="102" y="66"/>
                </a:cubicBezTo>
                <a:cubicBezTo>
                  <a:pt x="102" y="65"/>
                  <a:pt x="102" y="64"/>
                  <a:pt x="101" y="63"/>
                </a:cubicBezTo>
                <a:cubicBezTo>
                  <a:pt x="101" y="63"/>
                  <a:pt x="101" y="62"/>
                  <a:pt x="101" y="61"/>
                </a:cubicBezTo>
                <a:cubicBezTo>
                  <a:pt x="101" y="61"/>
                  <a:pt x="100" y="61"/>
                  <a:pt x="100" y="60"/>
                </a:cubicBezTo>
                <a:cubicBezTo>
                  <a:pt x="99" y="60"/>
                  <a:pt x="99" y="59"/>
                  <a:pt x="98" y="59"/>
                </a:cubicBezTo>
                <a:cubicBezTo>
                  <a:pt x="98" y="58"/>
                  <a:pt x="97" y="56"/>
                  <a:pt x="98" y="55"/>
                </a:cubicBezTo>
                <a:cubicBezTo>
                  <a:pt x="98" y="54"/>
                  <a:pt x="98" y="53"/>
                  <a:pt x="98" y="52"/>
                </a:cubicBezTo>
                <a:cubicBezTo>
                  <a:pt x="98" y="52"/>
                  <a:pt x="98" y="51"/>
                  <a:pt x="98" y="50"/>
                </a:cubicBezTo>
                <a:cubicBezTo>
                  <a:pt x="98" y="48"/>
                  <a:pt x="99" y="46"/>
                  <a:pt x="99" y="45"/>
                </a:cubicBezTo>
                <a:cubicBezTo>
                  <a:pt x="99" y="45"/>
                  <a:pt x="99" y="43"/>
                  <a:pt x="99" y="43"/>
                </a:cubicBezTo>
                <a:cubicBezTo>
                  <a:pt x="98" y="43"/>
                  <a:pt x="98" y="42"/>
                  <a:pt x="98" y="42"/>
                </a:cubicBezTo>
                <a:cubicBezTo>
                  <a:pt x="98" y="41"/>
                  <a:pt x="97" y="40"/>
                  <a:pt x="97" y="40"/>
                </a:cubicBezTo>
                <a:cubicBezTo>
                  <a:pt x="97" y="39"/>
                  <a:pt x="97" y="38"/>
                  <a:pt x="98" y="37"/>
                </a:cubicBezTo>
                <a:cubicBezTo>
                  <a:pt x="98" y="36"/>
                  <a:pt x="99" y="34"/>
                  <a:pt x="98" y="33"/>
                </a:cubicBezTo>
                <a:cubicBezTo>
                  <a:pt x="97" y="32"/>
                  <a:pt x="96" y="32"/>
                  <a:pt x="96" y="32"/>
                </a:cubicBezTo>
                <a:cubicBezTo>
                  <a:pt x="95" y="32"/>
                  <a:pt x="94" y="32"/>
                  <a:pt x="93" y="32"/>
                </a:cubicBezTo>
                <a:cubicBezTo>
                  <a:pt x="91" y="32"/>
                  <a:pt x="89" y="32"/>
                  <a:pt x="87" y="32"/>
                </a:cubicBezTo>
                <a:cubicBezTo>
                  <a:pt x="85" y="32"/>
                  <a:pt x="85" y="31"/>
                  <a:pt x="86" y="30"/>
                </a:cubicBezTo>
                <a:cubicBezTo>
                  <a:pt x="86" y="30"/>
                  <a:pt x="87" y="28"/>
                  <a:pt x="86" y="28"/>
                </a:cubicBezTo>
                <a:cubicBezTo>
                  <a:pt x="86" y="28"/>
                  <a:pt x="85" y="28"/>
                  <a:pt x="84" y="28"/>
                </a:cubicBezTo>
                <a:cubicBezTo>
                  <a:pt x="84" y="28"/>
                  <a:pt x="83" y="28"/>
                  <a:pt x="83" y="29"/>
                </a:cubicBezTo>
                <a:cubicBezTo>
                  <a:pt x="83" y="29"/>
                  <a:pt x="82" y="29"/>
                  <a:pt x="82" y="29"/>
                </a:cubicBezTo>
                <a:cubicBezTo>
                  <a:pt x="80" y="29"/>
                  <a:pt x="78" y="29"/>
                  <a:pt x="76" y="29"/>
                </a:cubicBezTo>
                <a:cubicBezTo>
                  <a:pt x="76" y="30"/>
                  <a:pt x="75" y="31"/>
                  <a:pt x="75" y="32"/>
                </a:cubicBezTo>
                <a:cubicBezTo>
                  <a:pt x="75" y="33"/>
                  <a:pt x="76" y="33"/>
                  <a:pt x="76" y="34"/>
                </a:cubicBezTo>
                <a:cubicBezTo>
                  <a:pt x="76" y="34"/>
                  <a:pt x="75" y="35"/>
                  <a:pt x="75" y="35"/>
                </a:cubicBezTo>
                <a:cubicBezTo>
                  <a:pt x="75" y="36"/>
                  <a:pt x="74" y="35"/>
                  <a:pt x="74" y="36"/>
                </a:cubicBezTo>
                <a:cubicBezTo>
                  <a:pt x="74" y="36"/>
                  <a:pt x="74" y="36"/>
                  <a:pt x="74" y="37"/>
                </a:cubicBezTo>
                <a:cubicBezTo>
                  <a:pt x="74" y="37"/>
                  <a:pt x="74" y="38"/>
                  <a:pt x="74" y="39"/>
                </a:cubicBezTo>
                <a:cubicBezTo>
                  <a:pt x="74" y="39"/>
                  <a:pt x="74" y="40"/>
                  <a:pt x="74" y="40"/>
                </a:cubicBezTo>
                <a:cubicBezTo>
                  <a:pt x="73" y="40"/>
                  <a:pt x="71" y="40"/>
                  <a:pt x="69" y="40"/>
                </a:cubicBezTo>
                <a:cubicBezTo>
                  <a:pt x="69" y="40"/>
                  <a:pt x="68" y="40"/>
                  <a:pt x="68" y="40"/>
                </a:cubicBezTo>
                <a:cubicBezTo>
                  <a:pt x="68" y="39"/>
                  <a:pt x="67" y="39"/>
                  <a:pt x="67" y="39"/>
                </a:cubicBezTo>
                <a:cubicBezTo>
                  <a:pt x="67" y="39"/>
                  <a:pt x="66" y="39"/>
                  <a:pt x="66" y="40"/>
                </a:cubicBezTo>
                <a:cubicBezTo>
                  <a:pt x="66" y="40"/>
                  <a:pt x="65" y="40"/>
                  <a:pt x="64" y="40"/>
                </a:cubicBezTo>
                <a:cubicBezTo>
                  <a:pt x="64" y="40"/>
                  <a:pt x="62" y="40"/>
                  <a:pt x="62" y="41"/>
                </a:cubicBezTo>
                <a:cubicBezTo>
                  <a:pt x="61" y="41"/>
                  <a:pt x="61" y="41"/>
                  <a:pt x="60" y="41"/>
                </a:cubicBezTo>
                <a:cubicBezTo>
                  <a:pt x="59" y="41"/>
                  <a:pt x="59" y="41"/>
                  <a:pt x="58" y="41"/>
                </a:cubicBezTo>
                <a:cubicBezTo>
                  <a:pt x="58" y="41"/>
                  <a:pt x="57" y="41"/>
                  <a:pt x="57" y="41"/>
                </a:cubicBezTo>
                <a:cubicBezTo>
                  <a:pt x="56" y="41"/>
                  <a:pt x="57" y="41"/>
                  <a:pt x="56" y="40"/>
                </a:cubicBezTo>
                <a:cubicBezTo>
                  <a:pt x="56" y="40"/>
                  <a:pt x="55" y="39"/>
                  <a:pt x="55" y="38"/>
                </a:cubicBezTo>
                <a:cubicBezTo>
                  <a:pt x="55" y="38"/>
                  <a:pt x="55" y="38"/>
                  <a:pt x="54" y="37"/>
                </a:cubicBezTo>
                <a:cubicBezTo>
                  <a:pt x="54" y="37"/>
                  <a:pt x="54" y="37"/>
                  <a:pt x="54" y="36"/>
                </a:cubicBezTo>
                <a:cubicBezTo>
                  <a:pt x="54" y="36"/>
                  <a:pt x="53" y="36"/>
                  <a:pt x="53" y="35"/>
                </a:cubicBezTo>
                <a:cubicBezTo>
                  <a:pt x="53" y="34"/>
                  <a:pt x="53" y="34"/>
                  <a:pt x="52" y="34"/>
                </a:cubicBezTo>
                <a:cubicBezTo>
                  <a:pt x="52" y="34"/>
                  <a:pt x="52" y="33"/>
                  <a:pt x="52" y="33"/>
                </a:cubicBezTo>
                <a:cubicBezTo>
                  <a:pt x="51" y="32"/>
                  <a:pt x="50" y="31"/>
                  <a:pt x="51" y="30"/>
                </a:cubicBezTo>
                <a:cubicBezTo>
                  <a:pt x="51" y="29"/>
                  <a:pt x="51" y="29"/>
                  <a:pt x="51" y="28"/>
                </a:cubicBezTo>
                <a:cubicBezTo>
                  <a:pt x="51" y="28"/>
                  <a:pt x="50" y="28"/>
                  <a:pt x="50" y="27"/>
                </a:cubicBezTo>
                <a:cubicBezTo>
                  <a:pt x="50" y="27"/>
                  <a:pt x="49" y="26"/>
                  <a:pt x="49" y="26"/>
                </a:cubicBezTo>
                <a:cubicBezTo>
                  <a:pt x="49" y="25"/>
                  <a:pt x="49" y="24"/>
                  <a:pt x="49" y="24"/>
                </a:cubicBezTo>
                <a:cubicBezTo>
                  <a:pt x="48" y="23"/>
                  <a:pt x="48" y="22"/>
                  <a:pt x="48" y="21"/>
                </a:cubicBezTo>
                <a:cubicBezTo>
                  <a:pt x="48" y="20"/>
                  <a:pt x="48" y="20"/>
                  <a:pt x="48" y="19"/>
                </a:cubicBezTo>
                <a:cubicBezTo>
                  <a:pt x="48" y="19"/>
                  <a:pt x="47" y="18"/>
                  <a:pt x="47" y="18"/>
                </a:cubicBezTo>
                <a:cubicBezTo>
                  <a:pt x="48" y="17"/>
                  <a:pt x="46" y="17"/>
                  <a:pt x="45" y="17"/>
                </a:cubicBezTo>
                <a:cubicBezTo>
                  <a:pt x="45" y="16"/>
                  <a:pt x="44" y="17"/>
                  <a:pt x="43" y="17"/>
                </a:cubicBezTo>
                <a:cubicBezTo>
                  <a:pt x="42" y="17"/>
                  <a:pt x="41" y="17"/>
                  <a:pt x="40" y="17"/>
                </a:cubicBezTo>
                <a:cubicBezTo>
                  <a:pt x="37" y="17"/>
                  <a:pt x="33" y="16"/>
                  <a:pt x="29" y="17"/>
                </a:cubicBezTo>
                <a:cubicBezTo>
                  <a:pt x="28" y="17"/>
                  <a:pt x="26" y="17"/>
                  <a:pt x="24" y="17"/>
                </a:cubicBezTo>
                <a:cubicBezTo>
                  <a:pt x="24" y="17"/>
                  <a:pt x="23" y="17"/>
                  <a:pt x="22" y="17"/>
                </a:cubicBezTo>
                <a:cubicBezTo>
                  <a:pt x="22" y="16"/>
                  <a:pt x="21" y="17"/>
                  <a:pt x="20" y="17"/>
                </a:cubicBezTo>
                <a:cubicBezTo>
                  <a:pt x="20" y="17"/>
                  <a:pt x="19" y="17"/>
                  <a:pt x="18" y="17"/>
                </a:cubicBezTo>
                <a:cubicBezTo>
                  <a:pt x="18" y="17"/>
                  <a:pt x="17" y="17"/>
                  <a:pt x="17" y="17"/>
                </a:cubicBezTo>
                <a:cubicBezTo>
                  <a:pt x="17" y="17"/>
                  <a:pt x="16" y="17"/>
                  <a:pt x="16" y="17"/>
                </a:cubicBezTo>
                <a:cubicBezTo>
                  <a:pt x="15" y="17"/>
                  <a:pt x="15" y="16"/>
                  <a:pt x="14" y="17"/>
                </a:cubicBezTo>
                <a:cubicBezTo>
                  <a:pt x="13" y="17"/>
                  <a:pt x="13" y="17"/>
                  <a:pt x="12" y="17"/>
                </a:cubicBezTo>
                <a:cubicBezTo>
                  <a:pt x="12" y="17"/>
                  <a:pt x="12" y="18"/>
                  <a:pt x="11" y="18"/>
                </a:cubicBezTo>
                <a:cubicBezTo>
                  <a:pt x="10" y="18"/>
                  <a:pt x="10" y="18"/>
                  <a:pt x="9" y="18"/>
                </a:cubicBezTo>
                <a:cubicBezTo>
                  <a:pt x="8" y="19"/>
                  <a:pt x="7" y="19"/>
                  <a:pt x="6" y="19"/>
                </a:cubicBezTo>
                <a:cubicBezTo>
                  <a:pt x="6" y="19"/>
                  <a:pt x="5" y="19"/>
                  <a:pt x="6" y="19"/>
                </a:cubicBezTo>
                <a:cubicBezTo>
                  <a:pt x="5" y="19"/>
                  <a:pt x="6" y="20"/>
                  <a:pt x="6" y="20"/>
                </a:cubicBezTo>
                <a:cubicBezTo>
                  <a:pt x="7" y="21"/>
                  <a:pt x="7" y="23"/>
                  <a:pt x="7" y="24"/>
                </a:cubicBezTo>
                <a:cubicBezTo>
                  <a:pt x="8" y="25"/>
                  <a:pt x="8" y="26"/>
                  <a:pt x="9" y="26"/>
                </a:cubicBezTo>
                <a:cubicBezTo>
                  <a:pt x="9" y="27"/>
                  <a:pt x="10" y="29"/>
                  <a:pt x="11" y="28"/>
                </a:cubicBezTo>
                <a:cubicBezTo>
                  <a:pt x="11" y="29"/>
                  <a:pt x="11" y="31"/>
                  <a:pt x="11" y="32"/>
                </a:cubicBezTo>
                <a:cubicBezTo>
                  <a:pt x="12" y="33"/>
                  <a:pt x="12" y="34"/>
                  <a:pt x="12" y="35"/>
                </a:cubicBezTo>
                <a:cubicBezTo>
                  <a:pt x="13" y="37"/>
                  <a:pt x="14" y="39"/>
                  <a:pt x="15" y="42"/>
                </a:cubicBezTo>
                <a:cubicBezTo>
                  <a:pt x="15" y="43"/>
                  <a:pt x="16" y="43"/>
                  <a:pt x="16" y="44"/>
                </a:cubicBezTo>
                <a:cubicBezTo>
                  <a:pt x="16" y="45"/>
                  <a:pt x="16" y="46"/>
                  <a:pt x="16" y="47"/>
                </a:cubicBezTo>
                <a:cubicBezTo>
                  <a:pt x="16" y="47"/>
                  <a:pt x="17" y="48"/>
                  <a:pt x="16" y="48"/>
                </a:cubicBezTo>
                <a:cubicBezTo>
                  <a:pt x="16" y="49"/>
                  <a:pt x="16" y="48"/>
                  <a:pt x="15" y="49"/>
                </a:cubicBezTo>
                <a:cubicBezTo>
                  <a:pt x="15" y="49"/>
                  <a:pt x="15" y="49"/>
                  <a:pt x="14" y="49"/>
                </a:cubicBezTo>
                <a:cubicBezTo>
                  <a:pt x="15" y="49"/>
                  <a:pt x="15" y="49"/>
                  <a:pt x="15" y="49"/>
                </a:cubicBezTo>
                <a:cubicBezTo>
                  <a:pt x="14" y="49"/>
                  <a:pt x="14" y="50"/>
                  <a:pt x="14" y="50"/>
                </a:cubicBezTo>
                <a:cubicBezTo>
                  <a:pt x="14" y="51"/>
                  <a:pt x="13" y="51"/>
                  <a:pt x="13" y="51"/>
                </a:cubicBezTo>
                <a:cubicBezTo>
                  <a:pt x="13" y="51"/>
                  <a:pt x="13" y="52"/>
                  <a:pt x="13" y="52"/>
                </a:cubicBezTo>
                <a:cubicBezTo>
                  <a:pt x="12" y="52"/>
                  <a:pt x="12" y="52"/>
                  <a:pt x="13" y="51"/>
                </a:cubicBezTo>
                <a:cubicBezTo>
                  <a:pt x="12" y="52"/>
                  <a:pt x="13" y="53"/>
                  <a:pt x="13" y="54"/>
                </a:cubicBezTo>
                <a:cubicBezTo>
                  <a:pt x="14" y="55"/>
                  <a:pt x="14" y="56"/>
                  <a:pt x="14" y="57"/>
                </a:cubicBezTo>
                <a:cubicBezTo>
                  <a:pt x="14" y="58"/>
                  <a:pt x="15" y="58"/>
                  <a:pt x="15" y="59"/>
                </a:cubicBezTo>
                <a:cubicBezTo>
                  <a:pt x="14" y="59"/>
                  <a:pt x="14" y="59"/>
                  <a:pt x="14" y="59"/>
                </a:cubicBezTo>
                <a:cubicBezTo>
                  <a:pt x="15" y="60"/>
                  <a:pt x="16" y="60"/>
                  <a:pt x="16" y="61"/>
                </a:cubicBezTo>
                <a:cubicBezTo>
                  <a:pt x="16" y="62"/>
                  <a:pt x="15" y="62"/>
                  <a:pt x="16" y="62"/>
                </a:cubicBezTo>
                <a:cubicBezTo>
                  <a:pt x="16" y="63"/>
                  <a:pt x="16" y="63"/>
                  <a:pt x="16" y="63"/>
                </a:cubicBezTo>
                <a:cubicBezTo>
                  <a:pt x="17" y="64"/>
                  <a:pt x="17" y="65"/>
                  <a:pt x="17" y="65"/>
                </a:cubicBezTo>
                <a:cubicBezTo>
                  <a:pt x="18" y="66"/>
                  <a:pt x="18" y="67"/>
                  <a:pt x="18" y="67"/>
                </a:cubicBezTo>
                <a:cubicBezTo>
                  <a:pt x="19" y="68"/>
                  <a:pt x="20" y="69"/>
                  <a:pt x="20" y="70"/>
                </a:cubicBezTo>
                <a:cubicBezTo>
                  <a:pt x="20" y="71"/>
                  <a:pt x="19" y="71"/>
                  <a:pt x="20" y="72"/>
                </a:cubicBezTo>
                <a:cubicBezTo>
                  <a:pt x="21" y="73"/>
                  <a:pt x="20" y="75"/>
                  <a:pt x="20" y="77"/>
                </a:cubicBezTo>
                <a:cubicBezTo>
                  <a:pt x="20" y="79"/>
                  <a:pt x="20" y="81"/>
                  <a:pt x="20" y="83"/>
                </a:cubicBezTo>
                <a:cubicBezTo>
                  <a:pt x="19" y="84"/>
                  <a:pt x="19" y="85"/>
                  <a:pt x="19" y="86"/>
                </a:cubicBezTo>
                <a:cubicBezTo>
                  <a:pt x="19" y="87"/>
                  <a:pt x="18" y="88"/>
                  <a:pt x="18" y="88"/>
                </a:cubicBezTo>
                <a:cubicBezTo>
                  <a:pt x="18" y="88"/>
                  <a:pt x="18" y="88"/>
                  <a:pt x="18" y="88"/>
                </a:cubicBezTo>
                <a:cubicBezTo>
                  <a:pt x="17" y="88"/>
                  <a:pt x="17" y="89"/>
                  <a:pt x="16" y="90"/>
                </a:cubicBezTo>
                <a:cubicBezTo>
                  <a:pt x="16" y="90"/>
                  <a:pt x="16" y="91"/>
                  <a:pt x="16" y="91"/>
                </a:cubicBezTo>
                <a:cubicBezTo>
                  <a:pt x="15" y="91"/>
                  <a:pt x="15" y="90"/>
                  <a:pt x="15" y="91"/>
                </a:cubicBezTo>
                <a:cubicBezTo>
                  <a:pt x="15" y="91"/>
                  <a:pt x="15" y="91"/>
                  <a:pt x="15" y="91"/>
                </a:cubicBezTo>
                <a:cubicBezTo>
                  <a:pt x="14" y="91"/>
                  <a:pt x="14" y="91"/>
                  <a:pt x="14" y="91"/>
                </a:cubicBezTo>
                <a:cubicBezTo>
                  <a:pt x="14" y="91"/>
                  <a:pt x="13" y="91"/>
                  <a:pt x="13" y="92"/>
                </a:cubicBezTo>
                <a:cubicBezTo>
                  <a:pt x="13" y="92"/>
                  <a:pt x="12" y="93"/>
                  <a:pt x="12" y="93"/>
                </a:cubicBezTo>
                <a:cubicBezTo>
                  <a:pt x="11" y="94"/>
                  <a:pt x="12" y="95"/>
                  <a:pt x="11" y="95"/>
                </a:cubicBezTo>
                <a:cubicBezTo>
                  <a:pt x="11" y="96"/>
                  <a:pt x="10" y="97"/>
                  <a:pt x="10" y="97"/>
                </a:cubicBezTo>
                <a:cubicBezTo>
                  <a:pt x="9" y="98"/>
                  <a:pt x="9" y="99"/>
                  <a:pt x="8" y="99"/>
                </a:cubicBezTo>
                <a:cubicBezTo>
                  <a:pt x="8" y="100"/>
                  <a:pt x="8" y="100"/>
                  <a:pt x="8" y="101"/>
                </a:cubicBezTo>
                <a:cubicBezTo>
                  <a:pt x="8" y="102"/>
                  <a:pt x="8" y="103"/>
                  <a:pt x="8" y="104"/>
                </a:cubicBezTo>
                <a:cubicBezTo>
                  <a:pt x="7" y="105"/>
                  <a:pt x="7" y="104"/>
                  <a:pt x="7" y="105"/>
                </a:cubicBezTo>
                <a:cubicBezTo>
                  <a:pt x="6" y="105"/>
                  <a:pt x="6" y="106"/>
                  <a:pt x="6" y="106"/>
                </a:cubicBezTo>
                <a:cubicBezTo>
                  <a:pt x="6" y="107"/>
                  <a:pt x="6" y="107"/>
                  <a:pt x="6" y="107"/>
                </a:cubicBezTo>
                <a:cubicBezTo>
                  <a:pt x="6" y="108"/>
                  <a:pt x="6" y="108"/>
                  <a:pt x="6" y="109"/>
                </a:cubicBezTo>
                <a:cubicBezTo>
                  <a:pt x="6" y="110"/>
                  <a:pt x="6" y="111"/>
                  <a:pt x="5" y="112"/>
                </a:cubicBezTo>
                <a:cubicBezTo>
                  <a:pt x="5" y="113"/>
                  <a:pt x="5" y="114"/>
                  <a:pt x="5" y="115"/>
                </a:cubicBezTo>
                <a:cubicBezTo>
                  <a:pt x="5" y="116"/>
                  <a:pt x="3" y="118"/>
                  <a:pt x="4" y="119"/>
                </a:cubicBezTo>
                <a:cubicBezTo>
                  <a:pt x="4" y="119"/>
                  <a:pt x="3" y="119"/>
                  <a:pt x="3" y="120"/>
                </a:cubicBezTo>
                <a:cubicBezTo>
                  <a:pt x="3" y="121"/>
                  <a:pt x="3" y="121"/>
                  <a:pt x="3" y="122"/>
                </a:cubicBezTo>
                <a:cubicBezTo>
                  <a:pt x="3" y="123"/>
                  <a:pt x="3" y="124"/>
                  <a:pt x="2" y="124"/>
                </a:cubicBezTo>
                <a:cubicBezTo>
                  <a:pt x="2" y="124"/>
                  <a:pt x="2" y="125"/>
                  <a:pt x="1" y="126"/>
                </a:cubicBezTo>
                <a:cubicBezTo>
                  <a:pt x="1" y="126"/>
                  <a:pt x="0" y="126"/>
                  <a:pt x="0" y="126"/>
                </a:cubicBezTo>
                <a:cubicBezTo>
                  <a:pt x="0" y="127"/>
                  <a:pt x="1" y="127"/>
                  <a:pt x="1" y="128"/>
                </a:cubicBezTo>
                <a:cubicBezTo>
                  <a:pt x="1" y="129"/>
                  <a:pt x="1" y="129"/>
                  <a:pt x="1" y="130"/>
                </a:cubicBezTo>
                <a:cubicBezTo>
                  <a:pt x="1" y="131"/>
                  <a:pt x="1" y="132"/>
                  <a:pt x="1" y="133"/>
                </a:cubicBezTo>
                <a:cubicBezTo>
                  <a:pt x="1" y="134"/>
                  <a:pt x="1" y="135"/>
                  <a:pt x="1" y="136"/>
                </a:cubicBezTo>
                <a:cubicBezTo>
                  <a:pt x="1" y="136"/>
                  <a:pt x="1" y="137"/>
                  <a:pt x="1" y="137"/>
                </a:cubicBezTo>
                <a:cubicBezTo>
                  <a:pt x="0" y="137"/>
                  <a:pt x="0" y="137"/>
                  <a:pt x="0" y="138"/>
                </a:cubicBezTo>
                <a:cubicBezTo>
                  <a:pt x="1" y="139"/>
                  <a:pt x="0" y="140"/>
                  <a:pt x="0" y="142"/>
                </a:cubicBezTo>
                <a:cubicBezTo>
                  <a:pt x="0" y="143"/>
                  <a:pt x="2" y="141"/>
                  <a:pt x="3" y="141"/>
                </a:cubicBezTo>
                <a:cubicBezTo>
                  <a:pt x="4" y="140"/>
                  <a:pt x="4" y="142"/>
                  <a:pt x="5" y="142"/>
                </a:cubicBezTo>
                <a:cubicBezTo>
                  <a:pt x="6" y="142"/>
                  <a:pt x="7" y="141"/>
                  <a:pt x="7" y="142"/>
                </a:cubicBezTo>
                <a:cubicBezTo>
                  <a:pt x="7" y="142"/>
                  <a:pt x="8" y="142"/>
                  <a:pt x="8" y="142"/>
                </a:cubicBezTo>
                <a:cubicBezTo>
                  <a:pt x="10" y="141"/>
                  <a:pt x="11" y="140"/>
                  <a:pt x="12" y="139"/>
                </a:cubicBezTo>
                <a:cubicBezTo>
                  <a:pt x="12" y="139"/>
                  <a:pt x="13" y="139"/>
                  <a:pt x="13" y="139"/>
                </a:cubicBezTo>
                <a:cubicBezTo>
                  <a:pt x="14" y="139"/>
                  <a:pt x="14" y="139"/>
                  <a:pt x="15" y="139"/>
                </a:cubicBezTo>
                <a:cubicBezTo>
                  <a:pt x="15" y="139"/>
                  <a:pt x="16" y="139"/>
                  <a:pt x="16" y="139"/>
                </a:cubicBezTo>
                <a:cubicBezTo>
                  <a:pt x="17" y="139"/>
                  <a:pt x="17" y="140"/>
                  <a:pt x="17" y="140"/>
                </a:cubicBezTo>
                <a:cubicBezTo>
                  <a:pt x="17" y="141"/>
                  <a:pt x="18" y="141"/>
                  <a:pt x="19" y="142"/>
                </a:cubicBezTo>
                <a:cubicBezTo>
                  <a:pt x="19" y="142"/>
                  <a:pt x="20" y="142"/>
                  <a:pt x="21" y="143"/>
                </a:cubicBezTo>
                <a:cubicBezTo>
                  <a:pt x="21" y="143"/>
                  <a:pt x="21" y="144"/>
                  <a:pt x="22" y="144"/>
                </a:cubicBezTo>
                <a:cubicBezTo>
                  <a:pt x="22" y="144"/>
                  <a:pt x="23" y="144"/>
                  <a:pt x="23" y="144"/>
                </a:cubicBezTo>
                <a:cubicBezTo>
                  <a:pt x="24" y="144"/>
                  <a:pt x="24" y="143"/>
                  <a:pt x="25" y="143"/>
                </a:cubicBezTo>
                <a:cubicBezTo>
                  <a:pt x="26" y="143"/>
                  <a:pt x="28" y="143"/>
                  <a:pt x="30" y="143"/>
                </a:cubicBezTo>
                <a:cubicBezTo>
                  <a:pt x="32" y="143"/>
                  <a:pt x="34" y="143"/>
                  <a:pt x="36" y="143"/>
                </a:cubicBezTo>
                <a:cubicBezTo>
                  <a:pt x="44" y="143"/>
                  <a:pt x="53" y="143"/>
                  <a:pt x="61" y="143"/>
                </a:cubicBezTo>
                <a:cubicBezTo>
                  <a:pt x="62" y="143"/>
                  <a:pt x="63" y="143"/>
                  <a:pt x="64" y="143"/>
                </a:cubicBezTo>
                <a:cubicBezTo>
                  <a:pt x="65" y="144"/>
                  <a:pt x="65" y="145"/>
                  <a:pt x="65" y="145"/>
                </a:cubicBezTo>
                <a:cubicBezTo>
                  <a:pt x="66" y="146"/>
                  <a:pt x="66" y="146"/>
                  <a:pt x="67" y="147"/>
                </a:cubicBezTo>
                <a:cubicBezTo>
                  <a:pt x="67" y="147"/>
                  <a:pt x="68" y="148"/>
                  <a:pt x="69" y="148"/>
                </a:cubicBezTo>
                <a:cubicBezTo>
                  <a:pt x="70" y="148"/>
                  <a:pt x="70" y="148"/>
                  <a:pt x="71" y="148"/>
                </a:cubicBezTo>
                <a:cubicBezTo>
                  <a:pt x="73" y="148"/>
                  <a:pt x="74" y="149"/>
                  <a:pt x="76" y="148"/>
                </a:cubicBezTo>
                <a:cubicBezTo>
                  <a:pt x="76" y="148"/>
                  <a:pt x="77" y="149"/>
                  <a:pt x="77" y="149"/>
                </a:cubicBezTo>
                <a:cubicBezTo>
                  <a:pt x="78" y="148"/>
                  <a:pt x="79" y="149"/>
                  <a:pt x="79" y="149"/>
                </a:cubicBezTo>
                <a:cubicBezTo>
                  <a:pt x="81" y="149"/>
                  <a:pt x="83" y="148"/>
                  <a:pt x="84" y="149"/>
                </a:cubicBezTo>
                <a:cubicBezTo>
                  <a:pt x="84" y="150"/>
                  <a:pt x="85" y="150"/>
                  <a:pt x="86" y="150"/>
                </a:cubicBezTo>
                <a:cubicBezTo>
                  <a:pt x="86" y="150"/>
                  <a:pt x="86" y="150"/>
                  <a:pt x="87" y="150"/>
                </a:cubicBezTo>
                <a:cubicBezTo>
                  <a:pt x="87" y="151"/>
                  <a:pt x="88" y="150"/>
                  <a:pt x="88" y="150"/>
                </a:cubicBezTo>
                <a:cubicBezTo>
                  <a:pt x="89" y="149"/>
                  <a:pt x="90" y="149"/>
                  <a:pt x="91" y="149"/>
                </a:cubicBezTo>
                <a:cubicBezTo>
                  <a:pt x="91" y="150"/>
                  <a:pt x="92" y="150"/>
                  <a:pt x="93" y="150"/>
                </a:cubicBezTo>
                <a:cubicBezTo>
                  <a:pt x="93" y="150"/>
                  <a:pt x="94" y="150"/>
                  <a:pt x="95" y="150"/>
                </a:cubicBezTo>
                <a:cubicBezTo>
                  <a:pt x="96" y="149"/>
                  <a:pt x="98" y="149"/>
                  <a:pt x="100" y="149"/>
                </a:cubicBezTo>
                <a:cubicBezTo>
                  <a:pt x="104" y="148"/>
                  <a:pt x="108" y="147"/>
                  <a:pt x="112" y="146"/>
                </a:cubicBezTo>
                <a:cubicBezTo>
                  <a:pt x="112" y="145"/>
                  <a:pt x="111" y="145"/>
                  <a:pt x="110" y="144"/>
                </a:cubicBezTo>
                <a:cubicBezTo>
                  <a:pt x="109" y="144"/>
                  <a:pt x="109" y="143"/>
                  <a:pt x="108" y="142"/>
                </a:cubicBezTo>
                <a:cubicBezTo>
                  <a:pt x="107" y="141"/>
                  <a:pt x="106" y="140"/>
                  <a:pt x="104" y="138"/>
                </a:cubicBezTo>
                <a:cubicBezTo>
                  <a:pt x="103" y="137"/>
                  <a:pt x="101" y="135"/>
                  <a:pt x="100" y="134"/>
                </a:cubicBezTo>
                <a:cubicBezTo>
                  <a:pt x="100" y="133"/>
                  <a:pt x="100" y="132"/>
                  <a:pt x="100" y="132"/>
                </a:cubicBezTo>
                <a:cubicBezTo>
                  <a:pt x="99" y="131"/>
                  <a:pt x="99" y="130"/>
                  <a:pt x="99" y="130"/>
                </a:cubicBezTo>
                <a:cubicBezTo>
                  <a:pt x="99" y="121"/>
                  <a:pt x="99" y="113"/>
                  <a:pt x="99" y="105"/>
                </a:cubicBezTo>
                <a:cubicBezTo>
                  <a:pt x="99" y="103"/>
                  <a:pt x="99" y="101"/>
                  <a:pt x="99" y="99"/>
                </a:cubicBezTo>
                <a:cubicBezTo>
                  <a:pt x="99" y="98"/>
                  <a:pt x="99" y="95"/>
                  <a:pt x="99" y="95"/>
                </a:cubicBezTo>
                <a:cubicBezTo>
                  <a:pt x="100" y="95"/>
                  <a:pt x="102" y="95"/>
                  <a:pt x="102" y="95"/>
                </a:cubicBezTo>
                <a:cubicBezTo>
                  <a:pt x="104" y="95"/>
                  <a:pt x="106" y="95"/>
                  <a:pt x="108" y="95"/>
                </a:cubicBezTo>
                <a:cubicBezTo>
                  <a:pt x="110" y="95"/>
                  <a:pt x="112" y="95"/>
                  <a:pt x="114" y="95"/>
                </a:cubicBezTo>
                <a:cubicBezTo>
                  <a:pt x="116" y="95"/>
                  <a:pt x="117" y="95"/>
                  <a:pt x="118" y="95"/>
                </a:cubicBezTo>
                <a:cubicBezTo>
                  <a:pt x="119" y="95"/>
                  <a:pt x="117" y="93"/>
                  <a:pt x="117" y="93"/>
                </a:cubicBezTo>
                <a:cubicBezTo>
                  <a:pt x="117" y="92"/>
                  <a:pt x="118" y="91"/>
                  <a:pt x="118" y="90"/>
                </a:cubicBezTo>
                <a:cubicBezTo>
                  <a:pt x="118" y="90"/>
                  <a:pt x="119" y="89"/>
                  <a:pt x="119" y="89"/>
                </a:cubicBezTo>
                <a:cubicBezTo>
                  <a:pt x="119" y="88"/>
                  <a:pt x="119" y="87"/>
                  <a:pt x="118" y="87"/>
                </a:cubicBezTo>
                <a:cubicBezTo>
                  <a:pt x="118" y="86"/>
                  <a:pt x="118" y="85"/>
                  <a:pt x="118" y="85"/>
                </a:cubicBezTo>
                <a:cubicBezTo>
                  <a:pt x="118" y="84"/>
                  <a:pt x="119" y="83"/>
                  <a:pt x="119" y="82"/>
                </a:cubicBezTo>
                <a:cubicBezTo>
                  <a:pt x="119" y="82"/>
                  <a:pt x="118" y="81"/>
                  <a:pt x="118" y="80"/>
                </a:cubicBezTo>
                <a:cubicBezTo>
                  <a:pt x="118" y="79"/>
                  <a:pt x="119" y="78"/>
                  <a:pt x="119" y="78"/>
                </a:cubicBezTo>
                <a:cubicBezTo>
                  <a:pt x="119" y="77"/>
                  <a:pt x="119" y="76"/>
                  <a:pt x="119" y="76"/>
                </a:cubicBezTo>
                <a:close/>
                <a:moveTo>
                  <a:pt x="13" y="51"/>
                </a:moveTo>
                <a:cubicBezTo>
                  <a:pt x="13" y="51"/>
                  <a:pt x="14" y="50"/>
                  <a:pt x="14" y="50"/>
                </a:cubicBezTo>
                <a:cubicBezTo>
                  <a:pt x="13" y="50"/>
                  <a:pt x="13" y="51"/>
                  <a:pt x="13" y="51"/>
                </a:cubicBezTo>
                <a:close/>
                <a:moveTo>
                  <a:pt x="13" y="51"/>
                </a:moveTo>
                <a:cubicBezTo>
                  <a:pt x="13" y="51"/>
                  <a:pt x="13" y="51"/>
                  <a:pt x="13" y="51"/>
                </a:cubicBezTo>
                <a:cubicBezTo>
                  <a:pt x="13" y="51"/>
                  <a:pt x="13" y="51"/>
                  <a:pt x="13" y="5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0" name="Andorra"/>
          <p:cNvSpPr>
            <a:spLocks/>
          </p:cNvSpPr>
          <p:nvPr/>
        </p:nvSpPr>
        <p:spPr bwMode="auto">
          <a:xfrm>
            <a:off x="5871080" y="2971001"/>
            <a:ext cx="11000" cy="7000"/>
          </a:xfrm>
          <a:custGeom>
            <a:avLst/>
            <a:gdLst/>
            <a:ahLst/>
            <a:cxnLst>
              <a:cxn ang="0">
                <a:pos x="3" y="1"/>
              </a:cxn>
              <a:cxn ang="0">
                <a:pos x="2" y="0"/>
              </a:cxn>
              <a:cxn ang="0">
                <a:pos x="2" y="0"/>
              </a:cxn>
              <a:cxn ang="0">
                <a:pos x="1" y="0"/>
              </a:cxn>
              <a:cxn ang="0">
                <a:pos x="0" y="0"/>
              </a:cxn>
              <a:cxn ang="0">
                <a:pos x="0" y="0"/>
              </a:cxn>
              <a:cxn ang="0">
                <a:pos x="0" y="1"/>
              </a:cxn>
              <a:cxn ang="0">
                <a:pos x="0" y="2"/>
              </a:cxn>
              <a:cxn ang="0">
                <a:pos x="0" y="2"/>
              </a:cxn>
              <a:cxn ang="0">
                <a:pos x="0" y="2"/>
              </a:cxn>
              <a:cxn ang="0">
                <a:pos x="1" y="2"/>
              </a:cxn>
              <a:cxn ang="0">
                <a:pos x="1" y="2"/>
              </a:cxn>
              <a:cxn ang="0">
                <a:pos x="2" y="2"/>
              </a:cxn>
              <a:cxn ang="0">
                <a:pos x="2" y="2"/>
              </a:cxn>
              <a:cxn ang="0">
                <a:pos x="2" y="2"/>
              </a:cxn>
              <a:cxn ang="0">
                <a:pos x="3" y="1"/>
              </a:cxn>
              <a:cxn ang="0">
                <a:pos x="3" y="1"/>
              </a:cxn>
            </a:cxnLst>
            <a:rect l="0" t="0" r="r" b="b"/>
            <a:pathLst>
              <a:path w="3" h="2">
                <a:moveTo>
                  <a:pt x="3" y="1"/>
                </a:moveTo>
                <a:cubicBezTo>
                  <a:pt x="2" y="1"/>
                  <a:pt x="3" y="0"/>
                  <a:pt x="2" y="0"/>
                </a:cubicBezTo>
                <a:cubicBezTo>
                  <a:pt x="2" y="0"/>
                  <a:pt x="2" y="0"/>
                  <a:pt x="2" y="0"/>
                </a:cubicBezTo>
                <a:cubicBezTo>
                  <a:pt x="1" y="0"/>
                  <a:pt x="1" y="0"/>
                  <a:pt x="1" y="0"/>
                </a:cubicBezTo>
                <a:cubicBezTo>
                  <a:pt x="1" y="0"/>
                  <a:pt x="1" y="0"/>
                  <a:pt x="0" y="0"/>
                </a:cubicBezTo>
                <a:cubicBezTo>
                  <a:pt x="0" y="0"/>
                  <a:pt x="0" y="0"/>
                  <a:pt x="0" y="0"/>
                </a:cubicBezTo>
                <a:cubicBezTo>
                  <a:pt x="0" y="1"/>
                  <a:pt x="0" y="1"/>
                  <a:pt x="0" y="1"/>
                </a:cubicBezTo>
                <a:cubicBezTo>
                  <a:pt x="0" y="1"/>
                  <a:pt x="0" y="1"/>
                  <a:pt x="0" y="2"/>
                </a:cubicBezTo>
                <a:cubicBezTo>
                  <a:pt x="0" y="2"/>
                  <a:pt x="0" y="2"/>
                  <a:pt x="0" y="2"/>
                </a:cubicBezTo>
                <a:cubicBezTo>
                  <a:pt x="0" y="2"/>
                  <a:pt x="0" y="2"/>
                  <a:pt x="0" y="2"/>
                </a:cubicBezTo>
                <a:cubicBezTo>
                  <a:pt x="0" y="2"/>
                  <a:pt x="1" y="2"/>
                  <a:pt x="1" y="2"/>
                </a:cubicBezTo>
                <a:cubicBezTo>
                  <a:pt x="1" y="2"/>
                  <a:pt x="1" y="2"/>
                  <a:pt x="1" y="2"/>
                </a:cubicBezTo>
                <a:cubicBezTo>
                  <a:pt x="1" y="2"/>
                  <a:pt x="2" y="2"/>
                  <a:pt x="2" y="2"/>
                </a:cubicBezTo>
                <a:cubicBezTo>
                  <a:pt x="2" y="2"/>
                  <a:pt x="2" y="2"/>
                  <a:pt x="2" y="2"/>
                </a:cubicBezTo>
                <a:cubicBezTo>
                  <a:pt x="2" y="2"/>
                  <a:pt x="2" y="2"/>
                  <a:pt x="2" y="2"/>
                </a:cubicBezTo>
                <a:cubicBezTo>
                  <a:pt x="2" y="1"/>
                  <a:pt x="3" y="1"/>
                  <a:pt x="3" y="1"/>
                </a:cubicBezTo>
                <a:cubicBezTo>
                  <a:pt x="3" y="1"/>
                  <a:pt x="3" y="1"/>
                  <a:pt x="3" y="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1" name="Akrotiri and Dhedelia (U.K)"/>
          <p:cNvSpPr>
            <a:spLocks noEditPoints="1"/>
          </p:cNvSpPr>
          <p:nvPr/>
        </p:nvSpPr>
        <p:spPr bwMode="auto">
          <a:xfrm>
            <a:off x="6897041" y="3267989"/>
            <a:ext cx="35999" cy="21000"/>
          </a:xfrm>
          <a:custGeom>
            <a:avLst/>
            <a:gdLst/>
            <a:ahLst/>
            <a:cxnLst>
              <a:cxn ang="0">
                <a:pos x="3" y="6"/>
              </a:cxn>
              <a:cxn ang="0">
                <a:pos x="2" y="6"/>
              </a:cxn>
              <a:cxn ang="0">
                <a:pos x="1" y="5"/>
              </a:cxn>
              <a:cxn ang="0">
                <a:pos x="0" y="5"/>
              </a:cxn>
              <a:cxn ang="0">
                <a:pos x="1" y="5"/>
              </a:cxn>
              <a:cxn ang="0">
                <a:pos x="2" y="5"/>
              </a:cxn>
              <a:cxn ang="0">
                <a:pos x="2" y="5"/>
              </a:cxn>
              <a:cxn ang="0">
                <a:pos x="2" y="6"/>
              </a:cxn>
              <a:cxn ang="0">
                <a:pos x="3" y="6"/>
              </a:cxn>
              <a:cxn ang="0">
                <a:pos x="10" y="2"/>
              </a:cxn>
              <a:cxn ang="0">
                <a:pos x="9" y="1"/>
              </a:cxn>
              <a:cxn ang="0">
                <a:pos x="10" y="1"/>
              </a:cxn>
              <a:cxn ang="0">
                <a:pos x="10" y="0"/>
              </a:cxn>
              <a:cxn ang="0">
                <a:pos x="9" y="1"/>
              </a:cxn>
              <a:cxn ang="0">
                <a:pos x="9" y="1"/>
              </a:cxn>
              <a:cxn ang="0">
                <a:pos x="8" y="1"/>
              </a:cxn>
              <a:cxn ang="0">
                <a:pos x="8" y="1"/>
              </a:cxn>
              <a:cxn ang="0">
                <a:pos x="8" y="2"/>
              </a:cxn>
              <a:cxn ang="0">
                <a:pos x="10" y="2"/>
              </a:cxn>
              <a:cxn ang="0">
                <a:pos x="10" y="2"/>
              </a:cxn>
            </a:cxnLst>
            <a:rect l="0" t="0" r="r" b="b"/>
            <a:pathLst>
              <a:path w="10" h="6">
                <a:moveTo>
                  <a:pt x="3" y="6"/>
                </a:moveTo>
                <a:cubicBezTo>
                  <a:pt x="2" y="6"/>
                  <a:pt x="2" y="6"/>
                  <a:pt x="2" y="6"/>
                </a:cubicBezTo>
                <a:cubicBezTo>
                  <a:pt x="1" y="6"/>
                  <a:pt x="1" y="5"/>
                  <a:pt x="1" y="5"/>
                </a:cubicBezTo>
                <a:cubicBezTo>
                  <a:pt x="1" y="5"/>
                  <a:pt x="0" y="5"/>
                  <a:pt x="0" y="5"/>
                </a:cubicBezTo>
                <a:cubicBezTo>
                  <a:pt x="0" y="5"/>
                  <a:pt x="1" y="5"/>
                  <a:pt x="1" y="5"/>
                </a:cubicBezTo>
                <a:cubicBezTo>
                  <a:pt x="1" y="5"/>
                  <a:pt x="1" y="5"/>
                  <a:pt x="2" y="5"/>
                </a:cubicBezTo>
                <a:cubicBezTo>
                  <a:pt x="2" y="5"/>
                  <a:pt x="2" y="5"/>
                  <a:pt x="2" y="5"/>
                </a:cubicBezTo>
                <a:cubicBezTo>
                  <a:pt x="2" y="5"/>
                  <a:pt x="1" y="6"/>
                  <a:pt x="2" y="6"/>
                </a:cubicBezTo>
                <a:cubicBezTo>
                  <a:pt x="2" y="6"/>
                  <a:pt x="2" y="6"/>
                  <a:pt x="3" y="6"/>
                </a:cubicBezTo>
                <a:close/>
                <a:moveTo>
                  <a:pt x="10" y="2"/>
                </a:moveTo>
                <a:cubicBezTo>
                  <a:pt x="10" y="2"/>
                  <a:pt x="9" y="1"/>
                  <a:pt x="9" y="1"/>
                </a:cubicBezTo>
                <a:cubicBezTo>
                  <a:pt x="9" y="1"/>
                  <a:pt x="10" y="1"/>
                  <a:pt x="10" y="1"/>
                </a:cubicBezTo>
                <a:cubicBezTo>
                  <a:pt x="10" y="1"/>
                  <a:pt x="10" y="0"/>
                  <a:pt x="10" y="0"/>
                </a:cubicBezTo>
                <a:cubicBezTo>
                  <a:pt x="10" y="1"/>
                  <a:pt x="10" y="1"/>
                  <a:pt x="9" y="1"/>
                </a:cubicBezTo>
                <a:cubicBezTo>
                  <a:pt x="9" y="1"/>
                  <a:pt x="9" y="1"/>
                  <a:pt x="9" y="1"/>
                </a:cubicBezTo>
                <a:cubicBezTo>
                  <a:pt x="9" y="1"/>
                  <a:pt x="9" y="1"/>
                  <a:pt x="8" y="1"/>
                </a:cubicBezTo>
                <a:cubicBezTo>
                  <a:pt x="9" y="1"/>
                  <a:pt x="8" y="1"/>
                  <a:pt x="8" y="1"/>
                </a:cubicBezTo>
                <a:cubicBezTo>
                  <a:pt x="8" y="1"/>
                  <a:pt x="8" y="2"/>
                  <a:pt x="8" y="2"/>
                </a:cubicBezTo>
                <a:cubicBezTo>
                  <a:pt x="9" y="2"/>
                  <a:pt x="10" y="3"/>
                  <a:pt x="10" y="2"/>
                </a:cubicBezTo>
                <a:cubicBezTo>
                  <a:pt x="10" y="2"/>
                  <a:pt x="10" y="2"/>
                  <a:pt x="10" y="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2" name="Algeria"/>
          <p:cNvSpPr>
            <a:spLocks/>
          </p:cNvSpPr>
          <p:nvPr/>
        </p:nvSpPr>
        <p:spPr bwMode="auto">
          <a:xfrm>
            <a:off x="5510093" y="3187992"/>
            <a:ext cx="700974" cy="722974"/>
          </a:xfrm>
          <a:custGeom>
            <a:avLst/>
            <a:gdLst/>
            <a:ahLst/>
            <a:cxnLst>
              <a:cxn ang="0">
                <a:pos x="187" y="140"/>
              </a:cxn>
              <a:cxn ang="0">
                <a:pos x="178" y="138"/>
              </a:cxn>
              <a:cxn ang="0">
                <a:pos x="175" y="129"/>
              </a:cxn>
              <a:cxn ang="0">
                <a:pos x="175" y="115"/>
              </a:cxn>
              <a:cxn ang="0">
                <a:pos x="174" y="105"/>
              </a:cxn>
              <a:cxn ang="0">
                <a:pos x="174" y="88"/>
              </a:cxn>
              <a:cxn ang="0">
                <a:pos x="171" y="74"/>
              </a:cxn>
              <a:cxn ang="0">
                <a:pos x="163" y="53"/>
              </a:cxn>
              <a:cxn ang="0">
                <a:pos x="159" y="45"/>
              </a:cxn>
              <a:cxn ang="0">
                <a:pos x="154" y="40"/>
              </a:cxn>
              <a:cxn ang="0">
                <a:pos x="155" y="32"/>
              </a:cxn>
              <a:cxn ang="0">
                <a:pos x="159" y="27"/>
              </a:cxn>
              <a:cxn ang="0">
                <a:pos x="161" y="21"/>
              </a:cxn>
              <a:cxn ang="0">
                <a:pos x="160" y="11"/>
              </a:cxn>
              <a:cxn ang="0">
                <a:pos x="160" y="6"/>
              </a:cxn>
              <a:cxn ang="0">
                <a:pos x="163" y="2"/>
              </a:cxn>
              <a:cxn ang="0">
                <a:pos x="153" y="1"/>
              </a:cxn>
              <a:cxn ang="0">
                <a:pos x="150" y="2"/>
              </a:cxn>
              <a:cxn ang="0">
                <a:pos x="142" y="2"/>
              </a:cxn>
              <a:cxn ang="0">
                <a:pos x="131" y="4"/>
              </a:cxn>
              <a:cxn ang="0">
                <a:pos x="125" y="2"/>
              </a:cxn>
              <a:cxn ang="0">
                <a:pos x="114" y="3"/>
              </a:cxn>
              <a:cxn ang="0">
                <a:pos x="108" y="6"/>
              </a:cxn>
              <a:cxn ang="0">
                <a:pos x="98" y="6"/>
              </a:cxn>
              <a:cxn ang="0">
                <a:pos x="90" y="9"/>
              </a:cxn>
              <a:cxn ang="0">
                <a:pos x="81" y="13"/>
              </a:cxn>
              <a:cxn ang="0">
                <a:pos x="77" y="15"/>
              </a:cxn>
              <a:cxn ang="0">
                <a:pos x="71" y="20"/>
              </a:cxn>
              <a:cxn ang="0">
                <a:pos x="64" y="23"/>
              </a:cxn>
              <a:cxn ang="0">
                <a:pos x="68" y="26"/>
              </a:cxn>
              <a:cxn ang="0">
                <a:pos x="68" y="32"/>
              </a:cxn>
              <a:cxn ang="0">
                <a:pos x="68" y="38"/>
              </a:cxn>
              <a:cxn ang="0">
                <a:pos x="70" y="45"/>
              </a:cxn>
              <a:cxn ang="0">
                <a:pos x="73" y="52"/>
              </a:cxn>
              <a:cxn ang="0">
                <a:pos x="70" y="56"/>
              </a:cxn>
              <a:cxn ang="0">
                <a:pos x="54" y="59"/>
              </a:cxn>
              <a:cxn ang="0">
                <a:pos x="47" y="62"/>
              </a:cxn>
              <a:cxn ang="0">
                <a:pos x="48" y="66"/>
              </a:cxn>
              <a:cxn ang="0">
                <a:pos x="44" y="69"/>
              </a:cxn>
              <a:cxn ang="0">
                <a:pos x="36" y="74"/>
              </a:cxn>
              <a:cxn ang="0">
                <a:pos x="26" y="80"/>
              </a:cxn>
              <a:cxn ang="0">
                <a:pos x="21" y="83"/>
              </a:cxn>
              <a:cxn ang="0">
                <a:pos x="13" y="85"/>
              </a:cxn>
              <a:cxn ang="0">
                <a:pos x="6" y="89"/>
              </a:cxn>
              <a:cxn ang="0">
                <a:pos x="0" y="99"/>
              </a:cxn>
              <a:cxn ang="0">
                <a:pos x="80" y="168"/>
              </a:cxn>
              <a:cxn ang="0">
                <a:pos x="93" y="180"/>
              </a:cxn>
              <a:cxn ang="0">
                <a:pos x="96" y="184"/>
              </a:cxn>
              <a:cxn ang="0">
                <a:pos x="99" y="186"/>
              </a:cxn>
              <a:cxn ang="0">
                <a:pos x="104" y="188"/>
              </a:cxn>
              <a:cxn ang="0">
                <a:pos x="111" y="192"/>
              </a:cxn>
              <a:cxn ang="0">
                <a:pos x="111" y="197"/>
              </a:cxn>
              <a:cxn ang="0">
                <a:pos x="127" y="196"/>
              </a:cxn>
              <a:cxn ang="0">
                <a:pos x="146" y="184"/>
              </a:cxn>
              <a:cxn ang="0">
                <a:pos x="191" y="152"/>
              </a:cxn>
            </a:cxnLst>
            <a:rect l="0" t="0" r="r" b="b"/>
            <a:pathLst>
              <a:path w="194" h="200">
                <a:moveTo>
                  <a:pt x="194" y="148"/>
                </a:moveTo>
                <a:cubicBezTo>
                  <a:pt x="193" y="147"/>
                  <a:pt x="193" y="147"/>
                  <a:pt x="193" y="146"/>
                </a:cubicBezTo>
                <a:cubicBezTo>
                  <a:pt x="192" y="145"/>
                  <a:pt x="191" y="143"/>
                  <a:pt x="191" y="142"/>
                </a:cubicBezTo>
                <a:cubicBezTo>
                  <a:pt x="190" y="141"/>
                  <a:pt x="189" y="141"/>
                  <a:pt x="187" y="140"/>
                </a:cubicBezTo>
                <a:cubicBezTo>
                  <a:pt x="187" y="140"/>
                  <a:pt x="185" y="140"/>
                  <a:pt x="185" y="139"/>
                </a:cubicBezTo>
                <a:cubicBezTo>
                  <a:pt x="184" y="139"/>
                  <a:pt x="183" y="138"/>
                  <a:pt x="182" y="138"/>
                </a:cubicBezTo>
                <a:cubicBezTo>
                  <a:pt x="182" y="138"/>
                  <a:pt x="181" y="139"/>
                  <a:pt x="180" y="139"/>
                </a:cubicBezTo>
                <a:cubicBezTo>
                  <a:pt x="179" y="139"/>
                  <a:pt x="179" y="139"/>
                  <a:pt x="178" y="138"/>
                </a:cubicBezTo>
                <a:cubicBezTo>
                  <a:pt x="178" y="138"/>
                  <a:pt x="178" y="137"/>
                  <a:pt x="177" y="137"/>
                </a:cubicBezTo>
                <a:cubicBezTo>
                  <a:pt x="177" y="136"/>
                  <a:pt x="177" y="136"/>
                  <a:pt x="176" y="135"/>
                </a:cubicBezTo>
                <a:cubicBezTo>
                  <a:pt x="176" y="134"/>
                  <a:pt x="176" y="133"/>
                  <a:pt x="176" y="132"/>
                </a:cubicBezTo>
                <a:cubicBezTo>
                  <a:pt x="176" y="131"/>
                  <a:pt x="176" y="130"/>
                  <a:pt x="175" y="129"/>
                </a:cubicBezTo>
                <a:cubicBezTo>
                  <a:pt x="174" y="127"/>
                  <a:pt x="173" y="125"/>
                  <a:pt x="172" y="124"/>
                </a:cubicBezTo>
                <a:cubicBezTo>
                  <a:pt x="171" y="123"/>
                  <a:pt x="170" y="121"/>
                  <a:pt x="170" y="120"/>
                </a:cubicBezTo>
                <a:cubicBezTo>
                  <a:pt x="170" y="119"/>
                  <a:pt x="171" y="118"/>
                  <a:pt x="172" y="118"/>
                </a:cubicBezTo>
                <a:cubicBezTo>
                  <a:pt x="174" y="117"/>
                  <a:pt x="175" y="117"/>
                  <a:pt x="175" y="115"/>
                </a:cubicBezTo>
                <a:cubicBezTo>
                  <a:pt x="175" y="114"/>
                  <a:pt x="175" y="113"/>
                  <a:pt x="174" y="113"/>
                </a:cubicBezTo>
                <a:cubicBezTo>
                  <a:pt x="174" y="112"/>
                  <a:pt x="174" y="112"/>
                  <a:pt x="174" y="111"/>
                </a:cubicBezTo>
                <a:cubicBezTo>
                  <a:pt x="173" y="110"/>
                  <a:pt x="173" y="109"/>
                  <a:pt x="173" y="107"/>
                </a:cubicBezTo>
                <a:cubicBezTo>
                  <a:pt x="174" y="107"/>
                  <a:pt x="174" y="106"/>
                  <a:pt x="174" y="105"/>
                </a:cubicBezTo>
                <a:cubicBezTo>
                  <a:pt x="174" y="105"/>
                  <a:pt x="174" y="105"/>
                  <a:pt x="175" y="103"/>
                </a:cubicBezTo>
                <a:cubicBezTo>
                  <a:pt x="175" y="102"/>
                  <a:pt x="175" y="101"/>
                  <a:pt x="174" y="100"/>
                </a:cubicBezTo>
                <a:cubicBezTo>
                  <a:pt x="173" y="98"/>
                  <a:pt x="174" y="97"/>
                  <a:pt x="174" y="95"/>
                </a:cubicBezTo>
                <a:cubicBezTo>
                  <a:pt x="174" y="93"/>
                  <a:pt x="174" y="90"/>
                  <a:pt x="174" y="88"/>
                </a:cubicBezTo>
                <a:cubicBezTo>
                  <a:pt x="174" y="85"/>
                  <a:pt x="172" y="81"/>
                  <a:pt x="170" y="78"/>
                </a:cubicBezTo>
                <a:cubicBezTo>
                  <a:pt x="169" y="78"/>
                  <a:pt x="169" y="77"/>
                  <a:pt x="170" y="77"/>
                </a:cubicBezTo>
                <a:cubicBezTo>
                  <a:pt x="170" y="77"/>
                  <a:pt x="171" y="76"/>
                  <a:pt x="171" y="76"/>
                </a:cubicBezTo>
                <a:cubicBezTo>
                  <a:pt x="172" y="75"/>
                  <a:pt x="171" y="74"/>
                  <a:pt x="171" y="74"/>
                </a:cubicBezTo>
                <a:cubicBezTo>
                  <a:pt x="170" y="73"/>
                  <a:pt x="170" y="72"/>
                  <a:pt x="170" y="71"/>
                </a:cubicBezTo>
                <a:cubicBezTo>
                  <a:pt x="169" y="67"/>
                  <a:pt x="168" y="63"/>
                  <a:pt x="168" y="59"/>
                </a:cubicBezTo>
                <a:cubicBezTo>
                  <a:pt x="167" y="58"/>
                  <a:pt x="167" y="56"/>
                  <a:pt x="166" y="55"/>
                </a:cubicBezTo>
                <a:cubicBezTo>
                  <a:pt x="166" y="54"/>
                  <a:pt x="164" y="53"/>
                  <a:pt x="163" y="53"/>
                </a:cubicBezTo>
                <a:cubicBezTo>
                  <a:pt x="162" y="52"/>
                  <a:pt x="161" y="52"/>
                  <a:pt x="160" y="51"/>
                </a:cubicBezTo>
                <a:cubicBezTo>
                  <a:pt x="160" y="50"/>
                  <a:pt x="160" y="49"/>
                  <a:pt x="160" y="49"/>
                </a:cubicBezTo>
                <a:cubicBezTo>
                  <a:pt x="160" y="48"/>
                  <a:pt x="160" y="48"/>
                  <a:pt x="160" y="47"/>
                </a:cubicBezTo>
                <a:cubicBezTo>
                  <a:pt x="159" y="46"/>
                  <a:pt x="159" y="46"/>
                  <a:pt x="159" y="45"/>
                </a:cubicBezTo>
                <a:cubicBezTo>
                  <a:pt x="158" y="44"/>
                  <a:pt x="158" y="45"/>
                  <a:pt x="157" y="44"/>
                </a:cubicBezTo>
                <a:cubicBezTo>
                  <a:pt x="157" y="44"/>
                  <a:pt x="156" y="44"/>
                  <a:pt x="155" y="43"/>
                </a:cubicBezTo>
                <a:cubicBezTo>
                  <a:pt x="155" y="43"/>
                  <a:pt x="154" y="43"/>
                  <a:pt x="154" y="42"/>
                </a:cubicBezTo>
                <a:cubicBezTo>
                  <a:pt x="154" y="41"/>
                  <a:pt x="154" y="40"/>
                  <a:pt x="154" y="40"/>
                </a:cubicBezTo>
                <a:cubicBezTo>
                  <a:pt x="154" y="39"/>
                  <a:pt x="153" y="38"/>
                  <a:pt x="153" y="37"/>
                </a:cubicBezTo>
                <a:cubicBezTo>
                  <a:pt x="152" y="36"/>
                  <a:pt x="153" y="35"/>
                  <a:pt x="153" y="34"/>
                </a:cubicBezTo>
                <a:cubicBezTo>
                  <a:pt x="153" y="33"/>
                  <a:pt x="153" y="33"/>
                  <a:pt x="154" y="33"/>
                </a:cubicBezTo>
                <a:cubicBezTo>
                  <a:pt x="154" y="32"/>
                  <a:pt x="155" y="32"/>
                  <a:pt x="155" y="32"/>
                </a:cubicBezTo>
                <a:cubicBezTo>
                  <a:pt x="156" y="31"/>
                  <a:pt x="155" y="30"/>
                  <a:pt x="156" y="30"/>
                </a:cubicBezTo>
                <a:cubicBezTo>
                  <a:pt x="156" y="29"/>
                  <a:pt x="158" y="29"/>
                  <a:pt x="158" y="29"/>
                </a:cubicBezTo>
                <a:cubicBezTo>
                  <a:pt x="159" y="28"/>
                  <a:pt x="159" y="28"/>
                  <a:pt x="159" y="28"/>
                </a:cubicBezTo>
                <a:cubicBezTo>
                  <a:pt x="159" y="27"/>
                  <a:pt x="159" y="27"/>
                  <a:pt x="159" y="27"/>
                </a:cubicBezTo>
                <a:cubicBezTo>
                  <a:pt x="159" y="27"/>
                  <a:pt x="160" y="27"/>
                  <a:pt x="160" y="26"/>
                </a:cubicBezTo>
                <a:cubicBezTo>
                  <a:pt x="160" y="26"/>
                  <a:pt x="160" y="25"/>
                  <a:pt x="160" y="24"/>
                </a:cubicBezTo>
                <a:cubicBezTo>
                  <a:pt x="160" y="23"/>
                  <a:pt x="160" y="22"/>
                  <a:pt x="161" y="22"/>
                </a:cubicBezTo>
                <a:cubicBezTo>
                  <a:pt x="161" y="21"/>
                  <a:pt x="161" y="21"/>
                  <a:pt x="161" y="21"/>
                </a:cubicBezTo>
                <a:cubicBezTo>
                  <a:pt x="161" y="21"/>
                  <a:pt x="161" y="20"/>
                  <a:pt x="160" y="20"/>
                </a:cubicBezTo>
                <a:cubicBezTo>
                  <a:pt x="160" y="20"/>
                  <a:pt x="160" y="18"/>
                  <a:pt x="160" y="18"/>
                </a:cubicBezTo>
                <a:cubicBezTo>
                  <a:pt x="161" y="17"/>
                  <a:pt x="160" y="16"/>
                  <a:pt x="160" y="16"/>
                </a:cubicBezTo>
                <a:cubicBezTo>
                  <a:pt x="159" y="14"/>
                  <a:pt x="160" y="13"/>
                  <a:pt x="160" y="11"/>
                </a:cubicBezTo>
                <a:cubicBezTo>
                  <a:pt x="160" y="10"/>
                  <a:pt x="160" y="10"/>
                  <a:pt x="161" y="9"/>
                </a:cubicBezTo>
                <a:cubicBezTo>
                  <a:pt x="161" y="8"/>
                  <a:pt x="161" y="8"/>
                  <a:pt x="160" y="8"/>
                </a:cubicBezTo>
                <a:cubicBezTo>
                  <a:pt x="160" y="8"/>
                  <a:pt x="159" y="8"/>
                  <a:pt x="159" y="7"/>
                </a:cubicBezTo>
                <a:cubicBezTo>
                  <a:pt x="159" y="7"/>
                  <a:pt x="160" y="6"/>
                  <a:pt x="160" y="6"/>
                </a:cubicBezTo>
                <a:cubicBezTo>
                  <a:pt x="161" y="6"/>
                  <a:pt x="161" y="5"/>
                  <a:pt x="162" y="5"/>
                </a:cubicBezTo>
                <a:cubicBezTo>
                  <a:pt x="162" y="4"/>
                  <a:pt x="161" y="4"/>
                  <a:pt x="161" y="4"/>
                </a:cubicBezTo>
                <a:cubicBezTo>
                  <a:pt x="161" y="4"/>
                  <a:pt x="163" y="4"/>
                  <a:pt x="163" y="4"/>
                </a:cubicBezTo>
                <a:cubicBezTo>
                  <a:pt x="163" y="3"/>
                  <a:pt x="163" y="2"/>
                  <a:pt x="163" y="2"/>
                </a:cubicBezTo>
                <a:cubicBezTo>
                  <a:pt x="162" y="2"/>
                  <a:pt x="161" y="2"/>
                  <a:pt x="160" y="2"/>
                </a:cubicBezTo>
                <a:cubicBezTo>
                  <a:pt x="160" y="2"/>
                  <a:pt x="159" y="2"/>
                  <a:pt x="159" y="2"/>
                </a:cubicBezTo>
                <a:cubicBezTo>
                  <a:pt x="157" y="3"/>
                  <a:pt x="155" y="4"/>
                  <a:pt x="155" y="1"/>
                </a:cubicBezTo>
                <a:cubicBezTo>
                  <a:pt x="155" y="2"/>
                  <a:pt x="154" y="2"/>
                  <a:pt x="153" y="1"/>
                </a:cubicBezTo>
                <a:cubicBezTo>
                  <a:pt x="153" y="1"/>
                  <a:pt x="153" y="1"/>
                  <a:pt x="152" y="1"/>
                </a:cubicBezTo>
                <a:cubicBezTo>
                  <a:pt x="152" y="1"/>
                  <a:pt x="152" y="0"/>
                  <a:pt x="152" y="0"/>
                </a:cubicBezTo>
                <a:cubicBezTo>
                  <a:pt x="151" y="1"/>
                  <a:pt x="150" y="0"/>
                  <a:pt x="150" y="1"/>
                </a:cubicBezTo>
                <a:cubicBezTo>
                  <a:pt x="151" y="2"/>
                  <a:pt x="150" y="2"/>
                  <a:pt x="150" y="2"/>
                </a:cubicBezTo>
                <a:cubicBezTo>
                  <a:pt x="149" y="2"/>
                  <a:pt x="148" y="3"/>
                  <a:pt x="147" y="2"/>
                </a:cubicBezTo>
                <a:cubicBezTo>
                  <a:pt x="146" y="1"/>
                  <a:pt x="145" y="2"/>
                  <a:pt x="145" y="1"/>
                </a:cubicBezTo>
                <a:cubicBezTo>
                  <a:pt x="144" y="1"/>
                  <a:pt x="144" y="0"/>
                  <a:pt x="143" y="0"/>
                </a:cubicBezTo>
                <a:cubicBezTo>
                  <a:pt x="142" y="1"/>
                  <a:pt x="142" y="1"/>
                  <a:pt x="142" y="2"/>
                </a:cubicBezTo>
                <a:cubicBezTo>
                  <a:pt x="141" y="3"/>
                  <a:pt x="138" y="3"/>
                  <a:pt x="137" y="3"/>
                </a:cubicBezTo>
                <a:cubicBezTo>
                  <a:pt x="136" y="3"/>
                  <a:pt x="135" y="4"/>
                  <a:pt x="135" y="4"/>
                </a:cubicBezTo>
                <a:cubicBezTo>
                  <a:pt x="134" y="5"/>
                  <a:pt x="133" y="5"/>
                  <a:pt x="133" y="5"/>
                </a:cubicBezTo>
                <a:cubicBezTo>
                  <a:pt x="132" y="5"/>
                  <a:pt x="131" y="5"/>
                  <a:pt x="131" y="4"/>
                </a:cubicBezTo>
                <a:cubicBezTo>
                  <a:pt x="131" y="4"/>
                  <a:pt x="131" y="4"/>
                  <a:pt x="131" y="4"/>
                </a:cubicBezTo>
                <a:cubicBezTo>
                  <a:pt x="131" y="4"/>
                  <a:pt x="130" y="3"/>
                  <a:pt x="130" y="3"/>
                </a:cubicBezTo>
                <a:cubicBezTo>
                  <a:pt x="129" y="3"/>
                  <a:pt x="129" y="3"/>
                  <a:pt x="128" y="2"/>
                </a:cubicBezTo>
                <a:cubicBezTo>
                  <a:pt x="127" y="2"/>
                  <a:pt x="126" y="3"/>
                  <a:pt x="125" y="2"/>
                </a:cubicBezTo>
                <a:cubicBezTo>
                  <a:pt x="124" y="2"/>
                  <a:pt x="122" y="3"/>
                  <a:pt x="120" y="2"/>
                </a:cubicBezTo>
                <a:cubicBezTo>
                  <a:pt x="119" y="2"/>
                  <a:pt x="119" y="3"/>
                  <a:pt x="118" y="3"/>
                </a:cubicBezTo>
                <a:cubicBezTo>
                  <a:pt x="117" y="4"/>
                  <a:pt x="116" y="4"/>
                  <a:pt x="115" y="4"/>
                </a:cubicBezTo>
                <a:cubicBezTo>
                  <a:pt x="115" y="4"/>
                  <a:pt x="114" y="3"/>
                  <a:pt x="114" y="3"/>
                </a:cubicBezTo>
                <a:cubicBezTo>
                  <a:pt x="114" y="3"/>
                  <a:pt x="114" y="4"/>
                  <a:pt x="114" y="4"/>
                </a:cubicBezTo>
                <a:cubicBezTo>
                  <a:pt x="114" y="4"/>
                  <a:pt x="113" y="4"/>
                  <a:pt x="113" y="4"/>
                </a:cubicBezTo>
                <a:cubicBezTo>
                  <a:pt x="111" y="3"/>
                  <a:pt x="111" y="4"/>
                  <a:pt x="110" y="5"/>
                </a:cubicBezTo>
                <a:cubicBezTo>
                  <a:pt x="109" y="5"/>
                  <a:pt x="108" y="6"/>
                  <a:pt x="108" y="6"/>
                </a:cubicBezTo>
                <a:cubicBezTo>
                  <a:pt x="107" y="6"/>
                  <a:pt x="107" y="6"/>
                  <a:pt x="106" y="5"/>
                </a:cubicBezTo>
                <a:cubicBezTo>
                  <a:pt x="106" y="5"/>
                  <a:pt x="105" y="6"/>
                  <a:pt x="104" y="6"/>
                </a:cubicBezTo>
                <a:cubicBezTo>
                  <a:pt x="103" y="6"/>
                  <a:pt x="103" y="6"/>
                  <a:pt x="102" y="6"/>
                </a:cubicBezTo>
                <a:cubicBezTo>
                  <a:pt x="101" y="6"/>
                  <a:pt x="100" y="6"/>
                  <a:pt x="98" y="6"/>
                </a:cubicBezTo>
                <a:cubicBezTo>
                  <a:pt x="98" y="7"/>
                  <a:pt x="97" y="6"/>
                  <a:pt x="96" y="7"/>
                </a:cubicBezTo>
                <a:cubicBezTo>
                  <a:pt x="95" y="7"/>
                  <a:pt x="94" y="7"/>
                  <a:pt x="94" y="7"/>
                </a:cubicBezTo>
                <a:cubicBezTo>
                  <a:pt x="93" y="7"/>
                  <a:pt x="93" y="8"/>
                  <a:pt x="92" y="8"/>
                </a:cubicBezTo>
                <a:cubicBezTo>
                  <a:pt x="91" y="8"/>
                  <a:pt x="90" y="9"/>
                  <a:pt x="90" y="9"/>
                </a:cubicBezTo>
                <a:cubicBezTo>
                  <a:pt x="89" y="10"/>
                  <a:pt x="88" y="10"/>
                  <a:pt x="88" y="10"/>
                </a:cubicBezTo>
                <a:cubicBezTo>
                  <a:pt x="87" y="11"/>
                  <a:pt x="85" y="11"/>
                  <a:pt x="85" y="13"/>
                </a:cubicBezTo>
                <a:cubicBezTo>
                  <a:pt x="85" y="14"/>
                  <a:pt x="83" y="15"/>
                  <a:pt x="82" y="14"/>
                </a:cubicBezTo>
                <a:cubicBezTo>
                  <a:pt x="81" y="14"/>
                  <a:pt x="82" y="13"/>
                  <a:pt x="81" y="13"/>
                </a:cubicBezTo>
                <a:cubicBezTo>
                  <a:pt x="81" y="13"/>
                  <a:pt x="80" y="14"/>
                  <a:pt x="80" y="14"/>
                </a:cubicBezTo>
                <a:cubicBezTo>
                  <a:pt x="80" y="14"/>
                  <a:pt x="80" y="14"/>
                  <a:pt x="80" y="15"/>
                </a:cubicBezTo>
                <a:cubicBezTo>
                  <a:pt x="79" y="15"/>
                  <a:pt x="79" y="15"/>
                  <a:pt x="79" y="15"/>
                </a:cubicBezTo>
                <a:cubicBezTo>
                  <a:pt x="78" y="15"/>
                  <a:pt x="78" y="15"/>
                  <a:pt x="77" y="15"/>
                </a:cubicBezTo>
                <a:cubicBezTo>
                  <a:pt x="77" y="15"/>
                  <a:pt x="77" y="15"/>
                  <a:pt x="76" y="15"/>
                </a:cubicBezTo>
                <a:cubicBezTo>
                  <a:pt x="75" y="16"/>
                  <a:pt x="75" y="16"/>
                  <a:pt x="74" y="16"/>
                </a:cubicBezTo>
                <a:cubicBezTo>
                  <a:pt x="74" y="17"/>
                  <a:pt x="73" y="17"/>
                  <a:pt x="73" y="18"/>
                </a:cubicBezTo>
                <a:cubicBezTo>
                  <a:pt x="73" y="19"/>
                  <a:pt x="72" y="19"/>
                  <a:pt x="71" y="20"/>
                </a:cubicBezTo>
                <a:cubicBezTo>
                  <a:pt x="71" y="20"/>
                  <a:pt x="70" y="20"/>
                  <a:pt x="70" y="21"/>
                </a:cubicBezTo>
                <a:cubicBezTo>
                  <a:pt x="69" y="21"/>
                  <a:pt x="68" y="22"/>
                  <a:pt x="68" y="22"/>
                </a:cubicBezTo>
                <a:cubicBezTo>
                  <a:pt x="67" y="22"/>
                  <a:pt x="66" y="23"/>
                  <a:pt x="65" y="22"/>
                </a:cubicBezTo>
                <a:cubicBezTo>
                  <a:pt x="65" y="22"/>
                  <a:pt x="64" y="22"/>
                  <a:pt x="64" y="23"/>
                </a:cubicBezTo>
                <a:cubicBezTo>
                  <a:pt x="64" y="23"/>
                  <a:pt x="64" y="24"/>
                  <a:pt x="65" y="24"/>
                </a:cubicBezTo>
                <a:cubicBezTo>
                  <a:pt x="65" y="24"/>
                  <a:pt x="65" y="24"/>
                  <a:pt x="65" y="24"/>
                </a:cubicBezTo>
                <a:cubicBezTo>
                  <a:pt x="66" y="25"/>
                  <a:pt x="66" y="25"/>
                  <a:pt x="66" y="25"/>
                </a:cubicBezTo>
                <a:cubicBezTo>
                  <a:pt x="66" y="25"/>
                  <a:pt x="67" y="26"/>
                  <a:pt x="68" y="26"/>
                </a:cubicBezTo>
                <a:cubicBezTo>
                  <a:pt x="68" y="27"/>
                  <a:pt x="67" y="27"/>
                  <a:pt x="67" y="28"/>
                </a:cubicBezTo>
                <a:cubicBezTo>
                  <a:pt x="67" y="28"/>
                  <a:pt x="68" y="29"/>
                  <a:pt x="68" y="29"/>
                </a:cubicBezTo>
                <a:cubicBezTo>
                  <a:pt x="68" y="29"/>
                  <a:pt x="68" y="30"/>
                  <a:pt x="67" y="30"/>
                </a:cubicBezTo>
                <a:cubicBezTo>
                  <a:pt x="67" y="31"/>
                  <a:pt x="68" y="31"/>
                  <a:pt x="68" y="32"/>
                </a:cubicBezTo>
                <a:cubicBezTo>
                  <a:pt x="68" y="32"/>
                  <a:pt x="68" y="33"/>
                  <a:pt x="68" y="34"/>
                </a:cubicBezTo>
                <a:cubicBezTo>
                  <a:pt x="68" y="34"/>
                  <a:pt x="68" y="35"/>
                  <a:pt x="68" y="35"/>
                </a:cubicBezTo>
                <a:cubicBezTo>
                  <a:pt x="68" y="36"/>
                  <a:pt x="68" y="37"/>
                  <a:pt x="68" y="37"/>
                </a:cubicBezTo>
                <a:cubicBezTo>
                  <a:pt x="68" y="37"/>
                  <a:pt x="67" y="38"/>
                  <a:pt x="68" y="38"/>
                </a:cubicBezTo>
                <a:cubicBezTo>
                  <a:pt x="69" y="38"/>
                  <a:pt x="69" y="39"/>
                  <a:pt x="69" y="40"/>
                </a:cubicBezTo>
                <a:cubicBezTo>
                  <a:pt x="68" y="41"/>
                  <a:pt x="68" y="42"/>
                  <a:pt x="68" y="43"/>
                </a:cubicBezTo>
                <a:cubicBezTo>
                  <a:pt x="68" y="44"/>
                  <a:pt x="69" y="44"/>
                  <a:pt x="69" y="44"/>
                </a:cubicBezTo>
                <a:cubicBezTo>
                  <a:pt x="69" y="45"/>
                  <a:pt x="70" y="45"/>
                  <a:pt x="70" y="45"/>
                </a:cubicBezTo>
                <a:cubicBezTo>
                  <a:pt x="70" y="46"/>
                  <a:pt x="69" y="46"/>
                  <a:pt x="69" y="47"/>
                </a:cubicBezTo>
                <a:cubicBezTo>
                  <a:pt x="69" y="47"/>
                  <a:pt x="70" y="47"/>
                  <a:pt x="70" y="48"/>
                </a:cubicBezTo>
                <a:cubicBezTo>
                  <a:pt x="70" y="49"/>
                  <a:pt x="71" y="49"/>
                  <a:pt x="72" y="49"/>
                </a:cubicBezTo>
                <a:cubicBezTo>
                  <a:pt x="73" y="50"/>
                  <a:pt x="74" y="51"/>
                  <a:pt x="73" y="52"/>
                </a:cubicBezTo>
                <a:cubicBezTo>
                  <a:pt x="72" y="52"/>
                  <a:pt x="72" y="52"/>
                  <a:pt x="72" y="53"/>
                </a:cubicBezTo>
                <a:cubicBezTo>
                  <a:pt x="72" y="54"/>
                  <a:pt x="71" y="55"/>
                  <a:pt x="71" y="55"/>
                </a:cubicBezTo>
                <a:cubicBezTo>
                  <a:pt x="72" y="55"/>
                  <a:pt x="72" y="55"/>
                  <a:pt x="72" y="55"/>
                </a:cubicBezTo>
                <a:cubicBezTo>
                  <a:pt x="71" y="56"/>
                  <a:pt x="70" y="56"/>
                  <a:pt x="70" y="56"/>
                </a:cubicBezTo>
                <a:cubicBezTo>
                  <a:pt x="69" y="55"/>
                  <a:pt x="68" y="55"/>
                  <a:pt x="67" y="55"/>
                </a:cubicBezTo>
                <a:cubicBezTo>
                  <a:pt x="65" y="55"/>
                  <a:pt x="62" y="55"/>
                  <a:pt x="59" y="55"/>
                </a:cubicBezTo>
                <a:cubicBezTo>
                  <a:pt x="58" y="56"/>
                  <a:pt x="56" y="55"/>
                  <a:pt x="56" y="57"/>
                </a:cubicBezTo>
                <a:cubicBezTo>
                  <a:pt x="56" y="58"/>
                  <a:pt x="55" y="58"/>
                  <a:pt x="54" y="59"/>
                </a:cubicBezTo>
                <a:cubicBezTo>
                  <a:pt x="53" y="59"/>
                  <a:pt x="52" y="59"/>
                  <a:pt x="52" y="60"/>
                </a:cubicBezTo>
                <a:cubicBezTo>
                  <a:pt x="51" y="60"/>
                  <a:pt x="51" y="60"/>
                  <a:pt x="50" y="60"/>
                </a:cubicBezTo>
                <a:cubicBezTo>
                  <a:pt x="49" y="60"/>
                  <a:pt x="48" y="59"/>
                  <a:pt x="47" y="61"/>
                </a:cubicBezTo>
                <a:cubicBezTo>
                  <a:pt x="47" y="61"/>
                  <a:pt x="47" y="62"/>
                  <a:pt x="47" y="62"/>
                </a:cubicBezTo>
                <a:cubicBezTo>
                  <a:pt x="47" y="63"/>
                  <a:pt x="48" y="63"/>
                  <a:pt x="48" y="63"/>
                </a:cubicBezTo>
                <a:cubicBezTo>
                  <a:pt x="47" y="64"/>
                  <a:pt x="47" y="64"/>
                  <a:pt x="47" y="65"/>
                </a:cubicBezTo>
                <a:cubicBezTo>
                  <a:pt x="47" y="65"/>
                  <a:pt x="47" y="66"/>
                  <a:pt x="47" y="66"/>
                </a:cubicBezTo>
                <a:cubicBezTo>
                  <a:pt x="48" y="66"/>
                  <a:pt x="48" y="65"/>
                  <a:pt x="48" y="66"/>
                </a:cubicBezTo>
                <a:cubicBezTo>
                  <a:pt x="48" y="66"/>
                  <a:pt x="48" y="66"/>
                  <a:pt x="48" y="66"/>
                </a:cubicBezTo>
                <a:cubicBezTo>
                  <a:pt x="49" y="66"/>
                  <a:pt x="49" y="67"/>
                  <a:pt x="49" y="67"/>
                </a:cubicBezTo>
                <a:cubicBezTo>
                  <a:pt x="49" y="68"/>
                  <a:pt x="47" y="68"/>
                  <a:pt x="46" y="68"/>
                </a:cubicBezTo>
                <a:cubicBezTo>
                  <a:pt x="45" y="68"/>
                  <a:pt x="45" y="69"/>
                  <a:pt x="44" y="69"/>
                </a:cubicBezTo>
                <a:cubicBezTo>
                  <a:pt x="44" y="70"/>
                  <a:pt x="43" y="70"/>
                  <a:pt x="42" y="71"/>
                </a:cubicBezTo>
                <a:cubicBezTo>
                  <a:pt x="42" y="71"/>
                  <a:pt x="41" y="71"/>
                  <a:pt x="40" y="72"/>
                </a:cubicBezTo>
                <a:cubicBezTo>
                  <a:pt x="39" y="72"/>
                  <a:pt x="39" y="72"/>
                  <a:pt x="38" y="73"/>
                </a:cubicBezTo>
                <a:cubicBezTo>
                  <a:pt x="37" y="73"/>
                  <a:pt x="36" y="73"/>
                  <a:pt x="36" y="74"/>
                </a:cubicBezTo>
                <a:cubicBezTo>
                  <a:pt x="36" y="75"/>
                  <a:pt x="35" y="75"/>
                  <a:pt x="35" y="76"/>
                </a:cubicBezTo>
                <a:cubicBezTo>
                  <a:pt x="34" y="77"/>
                  <a:pt x="33" y="78"/>
                  <a:pt x="31" y="79"/>
                </a:cubicBezTo>
                <a:cubicBezTo>
                  <a:pt x="30" y="80"/>
                  <a:pt x="29" y="80"/>
                  <a:pt x="29" y="80"/>
                </a:cubicBezTo>
                <a:cubicBezTo>
                  <a:pt x="28" y="80"/>
                  <a:pt x="27" y="80"/>
                  <a:pt x="26" y="80"/>
                </a:cubicBezTo>
                <a:cubicBezTo>
                  <a:pt x="25" y="80"/>
                  <a:pt x="25" y="80"/>
                  <a:pt x="24" y="81"/>
                </a:cubicBezTo>
                <a:cubicBezTo>
                  <a:pt x="24" y="81"/>
                  <a:pt x="23" y="81"/>
                  <a:pt x="22" y="81"/>
                </a:cubicBezTo>
                <a:cubicBezTo>
                  <a:pt x="22" y="80"/>
                  <a:pt x="22" y="80"/>
                  <a:pt x="22" y="81"/>
                </a:cubicBezTo>
                <a:cubicBezTo>
                  <a:pt x="21" y="82"/>
                  <a:pt x="22" y="83"/>
                  <a:pt x="21" y="83"/>
                </a:cubicBezTo>
                <a:cubicBezTo>
                  <a:pt x="20" y="83"/>
                  <a:pt x="20" y="83"/>
                  <a:pt x="19" y="83"/>
                </a:cubicBezTo>
                <a:cubicBezTo>
                  <a:pt x="18" y="83"/>
                  <a:pt x="18" y="83"/>
                  <a:pt x="17" y="83"/>
                </a:cubicBezTo>
                <a:cubicBezTo>
                  <a:pt x="16" y="83"/>
                  <a:pt x="16" y="83"/>
                  <a:pt x="15" y="83"/>
                </a:cubicBezTo>
                <a:cubicBezTo>
                  <a:pt x="14" y="84"/>
                  <a:pt x="14" y="84"/>
                  <a:pt x="13" y="85"/>
                </a:cubicBezTo>
                <a:cubicBezTo>
                  <a:pt x="13" y="85"/>
                  <a:pt x="12" y="85"/>
                  <a:pt x="12" y="85"/>
                </a:cubicBezTo>
                <a:cubicBezTo>
                  <a:pt x="11" y="85"/>
                  <a:pt x="11" y="85"/>
                  <a:pt x="10" y="86"/>
                </a:cubicBezTo>
                <a:cubicBezTo>
                  <a:pt x="10" y="86"/>
                  <a:pt x="9" y="87"/>
                  <a:pt x="8" y="87"/>
                </a:cubicBezTo>
                <a:cubicBezTo>
                  <a:pt x="8" y="88"/>
                  <a:pt x="7" y="88"/>
                  <a:pt x="6" y="89"/>
                </a:cubicBezTo>
                <a:cubicBezTo>
                  <a:pt x="5" y="90"/>
                  <a:pt x="4" y="91"/>
                  <a:pt x="3" y="92"/>
                </a:cubicBezTo>
                <a:cubicBezTo>
                  <a:pt x="2" y="92"/>
                  <a:pt x="2" y="92"/>
                  <a:pt x="1" y="93"/>
                </a:cubicBezTo>
                <a:cubicBezTo>
                  <a:pt x="1" y="93"/>
                  <a:pt x="1" y="93"/>
                  <a:pt x="1" y="94"/>
                </a:cubicBezTo>
                <a:cubicBezTo>
                  <a:pt x="1" y="96"/>
                  <a:pt x="1" y="97"/>
                  <a:pt x="0" y="99"/>
                </a:cubicBezTo>
                <a:cubicBezTo>
                  <a:pt x="0" y="101"/>
                  <a:pt x="0" y="103"/>
                  <a:pt x="0" y="105"/>
                </a:cubicBezTo>
                <a:cubicBezTo>
                  <a:pt x="0" y="106"/>
                  <a:pt x="0" y="108"/>
                  <a:pt x="0" y="108"/>
                </a:cubicBezTo>
                <a:cubicBezTo>
                  <a:pt x="14" y="118"/>
                  <a:pt x="27" y="127"/>
                  <a:pt x="40" y="137"/>
                </a:cubicBezTo>
                <a:cubicBezTo>
                  <a:pt x="54" y="147"/>
                  <a:pt x="67" y="157"/>
                  <a:pt x="80" y="168"/>
                </a:cubicBezTo>
                <a:cubicBezTo>
                  <a:pt x="83" y="170"/>
                  <a:pt x="86" y="172"/>
                  <a:pt x="89" y="175"/>
                </a:cubicBezTo>
                <a:cubicBezTo>
                  <a:pt x="91" y="176"/>
                  <a:pt x="92" y="176"/>
                  <a:pt x="92" y="178"/>
                </a:cubicBezTo>
                <a:cubicBezTo>
                  <a:pt x="92" y="179"/>
                  <a:pt x="91" y="179"/>
                  <a:pt x="91" y="180"/>
                </a:cubicBezTo>
                <a:cubicBezTo>
                  <a:pt x="91" y="181"/>
                  <a:pt x="92" y="180"/>
                  <a:pt x="93" y="180"/>
                </a:cubicBezTo>
                <a:cubicBezTo>
                  <a:pt x="93" y="181"/>
                  <a:pt x="93" y="181"/>
                  <a:pt x="93" y="181"/>
                </a:cubicBezTo>
                <a:cubicBezTo>
                  <a:pt x="94" y="181"/>
                  <a:pt x="94" y="181"/>
                  <a:pt x="94" y="181"/>
                </a:cubicBezTo>
                <a:cubicBezTo>
                  <a:pt x="95" y="182"/>
                  <a:pt x="95" y="182"/>
                  <a:pt x="96" y="182"/>
                </a:cubicBezTo>
                <a:cubicBezTo>
                  <a:pt x="96" y="183"/>
                  <a:pt x="96" y="183"/>
                  <a:pt x="96" y="184"/>
                </a:cubicBezTo>
                <a:cubicBezTo>
                  <a:pt x="96" y="184"/>
                  <a:pt x="97" y="185"/>
                  <a:pt x="97" y="185"/>
                </a:cubicBezTo>
                <a:cubicBezTo>
                  <a:pt x="97" y="185"/>
                  <a:pt x="98" y="185"/>
                  <a:pt x="98" y="185"/>
                </a:cubicBezTo>
                <a:cubicBezTo>
                  <a:pt x="98" y="185"/>
                  <a:pt x="98" y="186"/>
                  <a:pt x="98" y="186"/>
                </a:cubicBezTo>
                <a:cubicBezTo>
                  <a:pt x="99" y="186"/>
                  <a:pt x="99" y="186"/>
                  <a:pt x="99" y="186"/>
                </a:cubicBezTo>
                <a:cubicBezTo>
                  <a:pt x="99" y="186"/>
                  <a:pt x="99" y="186"/>
                  <a:pt x="100" y="186"/>
                </a:cubicBezTo>
                <a:cubicBezTo>
                  <a:pt x="100" y="186"/>
                  <a:pt x="100" y="186"/>
                  <a:pt x="101" y="185"/>
                </a:cubicBezTo>
                <a:cubicBezTo>
                  <a:pt x="102" y="185"/>
                  <a:pt x="102" y="186"/>
                  <a:pt x="103" y="187"/>
                </a:cubicBezTo>
                <a:cubicBezTo>
                  <a:pt x="103" y="187"/>
                  <a:pt x="103" y="188"/>
                  <a:pt x="104" y="188"/>
                </a:cubicBezTo>
                <a:cubicBezTo>
                  <a:pt x="105" y="188"/>
                  <a:pt x="105" y="188"/>
                  <a:pt x="106" y="189"/>
                </a:cubicBezTo>
                <a:cubicBezTo>
                  <a:pt x="107" y="189"/>
                  <a:pt x="108" y="189"/>
                  <a:pt x="108" y="189"/>
                </a:cubicBezTo>
                <a:cubicBezTo>
                  <a:pt x="109" y="189"/>
                  <a:pt x="110" y="190"/>
                  <a:pt x="110" y="190"/>
                </a:cubicBezTo>
                <a:cubicBezTo>
                  <a:pt x="111" y="191"/>
                  <a:pt x="111" y="191"/>
                  <a:pt x="111" y="192"/>
                </a:cubicBezTo>
                <a:cubicBezTo>
                  <a:pt x="111" y="192"/>
                  <a:pt x="111" y="193"/>
                  <a:pt x="111" y="194"/>
                </a:cubicBezTo>
                <a:cubicBezTo>
                  <a:pt x="111" y="194"/>
                  <a:pt x="111" y="195"/>
                  <a:pt x="111" y="195"/>
                </a:cubicBezTo>
                <a:cubicBezTo>
                  <a:pt x="111" y="195"/>
                  <a:pt x="111" y="195"/>
                  <a:pt x="111" y="196"/>
                </a:cubicBezTo>
                <a:cubicBezTo>
                  <a:pt x="111" y="196"/>
                  <a:pt x="111" y="196"/>
                  <a:pt x="111" y="197"/>
                </a:cubicBezTo>
                <a:cubicBezTo>
                  <a:pt x="110" y="197"/>
                  <a:pt x="109" y="198"/>
                  <a:pt x="110" y="198"/>
                </a:cubicBezTo>
                <a:cubicBezTo>
                  <a:pt x="110" y="199"/>
                  <a:pt x="111" y="199"/>
                  <a:pt x="111" y="199"/>
                </a:cubicBezTo>
                <a:cubicBezTo>
                  <a:pt x="112" y="200"/>
                  <a:pt x="115" y="199"/>
                  <a:pt x="116" y="199"/>
                </a:cubicBezTo>
                <a:cubicBezTo>
                  <a:pt x="120" y="198"/>
                  <a:pt x="124" y="197"/>
                  <a:pt x="127" y="196"/>
                </a:cubicBezTo>
                <a:cubicBezTo>
                  <a:pt x="130" y="196"/>
                  <a:pt x="132" y="195"/>
                  <a:pt x="134" y="195"/>
                </a:cubicBezTo>
                <a:cubicBezTo>
                  <a:pt x="134" y="195"/>
                  <a:pt x="135" y="195"/>
                  <a:pt x="136" y="194"/>
                </a:cubicBezTo>
                <a:cubicBezTo>
                  <a:pt x="136" y="194"/>
                  <a:pt x="137" y="193"/>
                  <a:pt x="137" y="193"/>
                </a:cubicBezTo>
                <a:cubicBezTo>
                  <a:pt x="140" y="190"/>
                  <a:pt x="143" y="187"/>
                  <a:pt x="146" y="184"/>
                </a:cubicBezTo>
                <a:cubicBezTo>
                  <a:pt x="149" y="181"/>
                  <a:pt x="152" y="179"/>
                  <a:pt x="155" y="176"/>
                </a:cubicBezTo>
                <a:cubicBezTo>
                  <a:pt x="158" y="174"/>
                  <a:pt x="162" y="172"/>
                  <a:pt x="165" y="169"/>
                </a:cubicBezTo>
                <a:cubicBezTo>
                  <a:pt x="172" y="165"/>
                  <a:pt x="179" y="160"/>
                  <a:pt x="186" y="156"/>
                </a:cubicBezTo>
                <a:cubicBezTo>
                  <a:pt x="187" y="154"/>
                  <a:pt x="189" y="153"/>
                  <a:pt x="191" y="152"/>
                </a:cubicBezTo>
                <a:cubicBezTo>
                  <a:pt x="192" y="151"/>
                  <a:pt x="193" y="151"/>
                  <a:pt x="193" y="150"/>
                </a:cubicBezTo>
                <a:cubicBezTo>
                  <a:pt x="194" y="150"/>
                  <a:pt x="194" y="150"/>
                  <a:pt x="194" y="150"/>
                </a:cubicBezTo>
                <a:cubicBezTo>
                  <a:pt x="194" y="149"/>
                  <a:pt x="194" y="149"/>
                  <a:pt x="194" y="148"/>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3" name="Albania"/>
          <p:cNvSpPr>
            <a:spLocks/>
          </p:cNvSpPr>
          <p:nvPr/>
        </p:nvSpPr>
        <p:spPr bwMode="auto">
          <a:xfrm>
            <a:off x="6442058" y="2971001"/>
            <a:ext cx="57998" cy="118996"/>
          </a:xfrm>
          <a:custGeom>
            <a:avLst/>
            <a:gdLst/>
            <a:ahLst/>
            <a:cxnLst>
              <a:cxn ang="0">
                <a:pos x="15" y="20"/>
              </a:cxn>
              <a:cxn ang="0">
                <a:pos x="13" y="18"/>
              </a:cxn>
              <a:cxn ang="0">
                <a:pos x="11" y="16"/>
              </a:cxn>
              <a:cxn ang="0">
                <a:pos x="11" y="13"/>
              </a:cxn>
              <a:cxn ang="0">
                <a:pos x="11" y="11"/>
              </a:cxn>
              <a:cxn ang="0">
                <a:pos x="11" y="8"/>
              </a:cxn>
              <a:cxn ang="0">
                <a:pos x="10" y="5"/>
              </a:cxn>
              <a:cxn ang="0">
                <a:pos x="8" y="3"/>
              </a:cxn>
              <a:cxn ang="0">
                <a:pos x="4" y="1"/>
              </a:cxn>
              <a:cxn ang="0">
                <a:pos x="2" y="1"/>
              </a:cxn>
              <a:cxn ang="0">
                <a:pos x="1" y="3"/>
              </a:cxn>
              <a:cxn ang="0">
                <a:pos x="1" y="6"/>
              </a:cxn>
              <a:cxn ang="0">
                <a:pos x="0" y="9"/>
              </a:cxn>
              <a:cxn ang="0">
                <a:pos x="2" y="10"/>
              </a:cxn>
              <a:cxn ang="0">
                <a:pos x="2" y="12"/>
              </a:cxn>
              <a:cxn ang="0">
                <a:pos x="2" y="13"/>
              </a:cxn>
              <a:cxn ang="0">
                <a:pos x="1" y="14"/>
              </a:cxn>
              <a:cxn ang="0">
                <a:pos x="2" y="16"/>
              </a:cxn>
              <a:cxn ang="0">
                <a:pos x="2" y="18"/>
              </a:cxn>
              <a:cxn ang="0">
                <a:pos x="2" y="19"/>
              </a:cxn>
              <a:cxn ang="0">
                <a:pos x="1" y="21"/>
              </a:cxn>
              <a:cxn ang="0">
                <a:pos x="2" y="23"/>
              </a:cxn>
              <a:cxn ang="0">
                <a:pos x="2" y="24"/>
              </a:cxn>
              <a:cxn ang="0">
                <a:pos x="1" y="24"/>
              </a:cxn>
              <a:cxn ang="0">
                <a:pos x="2" y="26"/>
              </a:cxn>
              <a:cxn ang="0">
                <a:pos x="6" y="28"/>
              </a:cxn>
              <a:cxn ang="0">
                <a:pos x="7" y="31"/>
              </a:cxn>
              <a:cxn ang="0">
                <a:pos x="8" y="33"/>
              </a:cxn>
              <a:cxn ang="0">
                <a:pos x="10" y="31"/>
              </a:cxn>
              <a:cxn ang="0">
                <a:pos x="10" y="29"/>
              </a:cxn>
              <a:cxn ang="0">
                <a:pos x="11" y="28"/>
              </a:cxn>
              <a:cxn ang="0">
                <a:pos x="13" y="27"/>
              </a:cxn>
              <a:cxn ang="0">
                <a:pos x="13" y="26"/>
              </a:cxn>
              <a:cxn ang="0">
                <a:pos x="15" y="24"/>
              </a:cxn>
            </a:cxnLst>
            <a:rect l="0" t="0" r="r" b="b"/>
            <a:pathLst>
              <a:path w="16" h="33">
                <a:moveTo>
                  <a:pt x="16" y="21"/>
                </a:moveTo>
                <a:cubicBezTo>
                  <a:pt x="16" y="21"/>
                  <a:pt x="15" y="21"/>
                  <a:pt x="15" y="20"/>
                </a:cubicBezTo>
                <a:cubicBezTo>
                  <a:pt x="15" y="19"/>
                  <a:pt x="15" y="19"/>
                  <a:pt x="15" y="19"/>
                </a:cubicBezTo>
                <a:cubicBezTo>
                  <a:pt x="14" y="18"/>
                  <a:pt x="13" y="20"/>
                  <a:pt x="13" y="18"/>
                </a:cubicBezTo>
                <a:cubicBezTo>
                  <a:pt x="13" y="18"/>
                  <a:pt x="13" y="17"/>
                  <a:pt x="12" y="17"/>
                </a:cubicBezTo>
                <a:cubicBezTo>
                  <a:pt x="11" y="17"/>
                  <a:pt x="12" y="16"/>
                  <a:pt x="11" y="16"/>
                </a:cubicBezTo>
                <a:cubicBezTo>
                  <a:pt x="11" y="15"/>
                  <a:pt x="11" y="14"/>
                  <a:pt x="11" y="14"/>
                </a:cubicBezTo>
                <a:cubicBezTo>
                  <a:pt x="11" y="14"/>
                  <a:pt x="11" y="13"/>
                  <a:pt x="11" y="13"/>
                </a:cubicBezTo>
                <a:cubicBezTo>
                  <a:pt x="11" y="13"/>
                  <a:pt x="10" y="12"/>
                  <a:pt x="10" y="12"/>
                </a:cubicBezTo>
                <a:cubicBezTo>
                  <a:pt x="11" y="12"/>
                  <a:pt x="11" y="12"/>
                  <a:pt x="11" y="11"/>
                </a:cubicBezTo>
                <a:cubicBezTo>
                  <a:pt x="11" y="11"/>
                  <a:pt x="11" y="10"/>
                  <a:pt x="11" y="9"/>
                </a:cubicBezTo>
                <a:cubicBezTo>
                  <a:pt x="11" y="9"/>
                  <a:pt x="11" y="9"/>
                  <a:pt x="11" y="8"/>
                </a:cubicBezTo>
                <a:cubicBezTo>
                  <a:pt x="11" y="8"/>
                  <a:pt x="11" y="7"/>
                  <a:pt x="11" y="6"/>
                </a:cubicBezTo>
                <a:cubicBezTo>
                  <a:pt x="11" y="6"/>
                  <a:pt x="11" y="5"/>
                  <a:pt x="10" y="5"/>
                </a:cubicBezTo>
                <a:cubicBezTo>
                  <a:pt x="10" y="4"/>
                  <a:pt x="9" y="4"/>
                  <a:pt x="9" y="3"/>
                </a:cubicBezTo>
                <a:cubicBezTo>
                  <a:pt x="8" y="3"/>
                  <a:pt x="8" y="3"/>
                  <a:pt x="8" y="3"/>
                </a:cubicBezTo>
                <a:cubicBezTo>
                  <a:pt x="7" y="2"/>
                  <a:pt x="7" y="1"/>
                  <a:pt x="6" y="1"/>
                </a:cubicBezTo>
                <a:cubicBezTo>
                  <a:pt x="5" y="1"/>
                  <a:pt x="4" y="2"/>
                  <a:pt x="4" y="1"/>
                </a:cubicBezTo>
                <a:cubicBezTo>
                  <a:pt x="3" y="1"/>
                  <a:pt x="4" y="0"/>
                  <a:pt x="3" y="0"/>
                </a:cubicBezTo>
                <a:cubicBezTo>
                  <a:pt x="3" y="0"/>
                  <a:pt x="2" y="1"/>
                  <a:pt x="2" y="1"/>
                </a:cubicBezTo>
                <a:cubicBezTo>
                  <a:pt x="2" y="1"/>
                  <a:pt x="2" y="2"/>
                  <a:pt x="1" y="2"/>
                </a:cubicBezTo>
                <a:cubicBezTo>
                  <a:pt x="1" y="3"/>
                  <a:pt x="1" y="3"/>
                  <a:pt x="1" y="3"/>
                </a:cubicBezTo>
                <a:cubicBezTo>
                  <a:pt x="0" y="4"/>
                  <a:pt x="0" y="4"/>
                  <a:pt x="0" y="5"/>
                </a:cubicBezTo>
                <a:cubicBezTo>
                  <a:pt x="0" y="6"/>
                  <a:pt x="1" y="6"/>
                  <a:pt x="1" y="6"/>
                </a:cubicBezTo>
                <a:cubicBezTo>
                  <a:pt x="1" y="7"/>
                  <a:pt x="1" y="7"/>
                  <a:pt x="0" y="7"/>
                </a:cubicBezTo>
                <a:cubicBezTo>
                  <a:pt x="0" y="8"/>
                  <a:pt x="1" y="8"/>
                  <a:pt x="0" y="9"/>
                </a:cubicBezTo>
                <a:cubicBezTo>
                  <a:pt x="1" y="8"/>
                  <a:pt x="2" y="9"/>
                  <a:pt x="2" y="9"/>
                </a:cubicBezTo>
                <a:cubicBezTo>
                  <a:pt x="3" y="9"/>
                  <a:pt x="2" y="10"/>
                  <a:pt x="2" y="10"/>
                </a:cubicBezTo>
                <a:cubicBezTo>
                  <a:pt x="2" y="11"/>
                  <a:pt x="3" y="11"/>
                  <a:pt x="3" y="11"/>
                </a:cubicBezTo>
                <a:cubicBezTo>
                  <a:pt x="2" y="11"/>
                  <a:pt x="2" y="12"/>
                  <a:pt x="2" y="12"/>
                </a:cubicBezTo>
                <a:cubicBezTo>
                  <a:pt x="2" y="12"/>
                  <a:pt x="2" y="12"/>
                  <a:pt x="1" y="12"/>
                </a:cubicBezTo>
                <a:cubicBezTo>
                  <a:pt x="1" y="12"/>
                  <a:pt x="2" y="12"/>
                  <a:pt x="2" y="13"/>
                </a:cubicBezTo>
                <a:cubicBezTo>
                  <a:pt x="2" y="13"/>
                  <a:pt x="1" y="14"/>
                  <a:pt x="1" y="14"/>
                </a:cubicBezTo>
                <a:cubicBezTo>
                  <a:pt x="1" y="14"/>
                  <a:pt x="1" y="14"/>
                  <a:pt x="1" y="14"/>
                </a:cubicBezTo>
                <a:cubicBezTo>
                  <a:pt x="1" y="15"/>
                  <a:pt x="1" y="14"/>
                  <a:pt x="2" y="15"/>
                </a:cubicBezTo>
                <a:cubicBezTo>
                  <a:pt x="2" y="15"/>
                  <a:pt x="2" y="16"/>
                  <a:pt x="2" y="16"/>
                </a:cubicBezTo>
                <a:cubicBezTo>
                  <a:pt x="1" y="17"/>
                  <a:pt x="2" y="18"/>
                  <a:pt x="2" y="19"/>
                </a:cubicBezTo>
                <a:cubicBezTo>
                  <a:pt x="2" y="18"/>
                  <a:pt x="2" y="18"/>
                  <a:pt x="2" y="18"/>
                </a:cubicBezTo>
                <a:cubicBezTo>
                  <a:pt x="2" y="18"/>
                  <a:pt x="3" y="19"/>
                  <a:pt x="2" y="19"/>
                </a:cubicBezTo>
                <a:cubicBezTo>
                  <a:pt x="1" y="19"/>
                  <a:pt x="1" y="19"/>
                  <a:pt x="2" y="19"/>
                </a:cubicBezTo>
                <a:cubicBezTo>
                  <a:pt x="1" y="19"/>
                  <a:pt x="1" y="19"/>
                  <a:pt x="1" y="20"/>
                </a:cubicBezTo>
                <a:cubicBezTo>
                  <a:pt x="1" y="20"/>
                  <a:pt x="1" y="20"/>
                  <a:pt x="1" y="21"/>
                </a:cubicBezTo>
                <a:cubicBezTo>
                  <a:pt x="1" y="22"/>
                  <a:pt x="0" y="22"/>
                  <a:pt x="1" y="23"/>
                </a:cubicBezTo>
                <a:cubicBezTo>
                  <a:pt x="1" y="22"/>
                  <a:pt x="2" y="23"/>
                  <a:pt x="2" y="23"/>
                </a:cubicBezTo>
                <a:cubicBezTo>
                  <a:pt x="2" y="24"/>
                  <a:pt x="1" y="23"/>
                  <a:pt x="1" y="23"/>
                </a:cubicBezTo>
                <a:cubicBezTo>
                  <a:pt x="1" y="24"/>
                  <a:pt x="2" y="24"/>
                  <a:pt x="2" y="24"/>
                </a:cubicBezTo>
                <a:cubicBezTo>
                  <a:pt x="2" y="25"/>
                  <a:pt x="2" y="26"/>
                  <a:pt x="2" y="25"/>
                </a:cubicBezTo>
                <a:cubicBezTo>
                  <a:pt x="1" y="25"/>
                  <a:pt x="1" y="24"/>
                  <a:pt x="1" y="24"/>
                </a:cubicBezTo>
                <a:cubicBezTo>
                  <a:pt x="0" y="24"/>
                  <a:pt x="1" y="25"/>
                  <a:pt x="1" y="25"/>
                </a:cubicBezTo>
                <a:cubicBezTo>
                  <a:pt x="1" y="25"/>
                  <a:pt x="2" y="26"/>
                  <a:pt x="2" y="26"/>
                </a:cubicBezTo>
                <a:cubicBezTo>
                  <a:pt x="3" y="27"/>
                  <a:pt x="3" y="27"/>
                  <a:pt x="4" y="27"/>
                </a:cubicBezTo>
                <a:cubicBezTo>
                  <a:pt x="4" y="28"/>
                  <a:pt x="5" y="28"/>
                  <a:pt x="6" y="28"/>
                </a:cubicBezTo>
                <a:cubicBezTo>
                  <a:pt x="6" y="29"/>
                  <a:pt x="7" y="29"/>
                  <a:pt x="6" y="30"/>
                </a:cubicBezTo>
                <a:cubicBezTo>
                  <a:pt x="7" y="30"/>
                  <a:pt x="7" y="30"/>
                  <a:pt x="7" y="31"/>
                </a:cubicBezTo>
                <a:cubicBezTo>
                  <a:pt x="7" y="31"/>
                  <a:pt x="7" y="32"/>
                  <a:pt x="7" y="32"/>
                </a:cubicBezTo>
                <a:cubicBezTo>
                  <a:pt x="7" y="32"/>
                  <a:pt x="8" y="32"/>
                  <a:pt x="8" y="33"/>
                </a:cubicBezTo>
                <a:cubicBezTo>
                  <a:pt x="9" y="33"/>
                  <a:pt x="9" y="33"/>
                  <a:pt x="9" y="32"/>
                </a:cubicBezTo>
                <a:cubicBezTo>
                  <a:pt x="10" y="32"/>
                  <a:pt x="10" y="32"/>
                  <a:pt x="10" y="31"/>
                </a:cubicBezTo>
                <a:cubicBezTo>
                  <a:pt x="10" y="31"/>
                  <a:pt x="10" y="31"/>
                  <a:pt x="10" y="31"/>
                </a:cubicBezTo>
                <a:cubicBezTo>
                  <a:pt x="11" y="31"/>
                  <a:pt x="10" y="29"/>
                  <a:pt x="10" y="29"/>
                </a:cubicBezTo>
                <a:cubicBezTo>
                  <a:pt x="10" y="29"/>
                  <a:pt x="10" y="29"/>
                  <a:pt x="10" y="29"/>
                </a:cubicBezTo>
                <a:cubicBezTo>
                  <a:pt x="11" y="29"/>
                  <a:pt x="11" y="28"/>
                  <a:pt x="11" y="28"/>
                </a:cubicBezTo>
                <a:cubicBezTo>
                  <a:pt x="11" y="28"/>
                  <a:pt x="12" y="28"/>
                  <a:pt x="12" y="28"/>
                </a:cubicBezTo>
                <a:cubicBezTo>
                  <a:pt x="13" y="28"/>
                  <a:pt x="13" y="27"/>
                  <a:pt x="13" y="27"/>
                </a:cubicBezTo>
                <a:cubicBezTo>
                  <a:pt x="13" y="27"/>
                  <a:pt x="13" y="27"/>
                  <a:pt x="13" y="26"/>
                </a:cubicBezTo>
                <a:cubicBezTo>
                  <a:pt x="13" y="26"/>
                  <a:pt x="13" y="26"/>
                  <a:pt x="13" y="26"/>
                </a:cubicBezTo>
                <a:cubicBezTo>
                  <a:pt x="14" y="25"/>
                  <a:pt x="14" y="25"/>
                  <a:pt x="14" y="24"/>
                </a:cubicBezTo>
                <a:cubicBezTo>
                  <a:pt x="14" y="24"/>
                  <a:pt x="14" y="24"/>
                  <a:pt x="15" y="24"/>
                </a:cubicBezTo>
                <a:cubicBezTo>
                  <a:pt x="16" y="24"/>
                  <a:pt x="16" y="22"/>
                  <a:pt x="16" y="21"/>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4" name="Afghanistan"/>
          <p:cNvSpPr>
            <a:spLocks/>
          </p:cNvSpPr>
          <p:nvPr/>
        </p:nvSpPr>
        <p:spPr bwMode="auto">
          <a:xfrm>
            <a:off x="7818007" y="3136994"/>
            <a:ext cx="451983" cy="358987"/>
          </a:xfrm>
          <a:custGeom>
            <a:avLst/>
            <a:gdLst/>
            <a:ahLst/>
            <a:cxnLst>
              <a:cxn ang="0">
                <a:pos x="118" y="12"/>
              </a:cxn>
              <a:cxn ang="0">
                <a:pos x="114" y="11"/>
              </a:cxn>
              <a:cxn ang="0">
                <a:pos x="109" y="11"/>
              </a:cxn>
              <a:cxn ang="0">
                <a:pos x="106" y="13"/>
              </a:cxn>
              <a:cxn ang="0">
                <a:pos x="96" y="19"/>
              </a:cxn>
              <a:cxn ang="0">
                <a:pos x="93" y="8"/>
              </a:cxn>
              <a:cxn ang="0">
                <a:pos x="90" y="4"/>
              </a:cxn>
              <a:cxn ang="0">
                <a:pos x="86" y="0"/>
              </a:cxn>
              <a:cxn ang="0">
                <a:pos x="83" y="1"/>
              </a:cxn>
              <a:cxn ang="0">
                <a:pos x="80" y="5"/>
              </a:cxn>
              <a:cxn ang="0">
                <a:pos x="78" y="9"/>
              </a:cxn>
              <a:cxn ang="0">
                <a:pos x="74" y="11"/>
              </a:cxn>
              <a:cxn ang="0">
                <a:pos x="70" y="12"/>
              </a:cxn>
              <a:cxn ang="0">
                <a:pos x="68" y="13"/>
              </a:cxn>
              <a:cxn ang="0">
                <a:pos x="63" y="16"/>
              </a:cxn>
              <a:cxn ang="0">
                <a:pos x="58" y="13"/>
              </a:cxn>
              <a:cxn ang="0">
                <a:pos x="54" y="12"/>
              </a:cxn>
              <a:cxn ang="0">
                <a:pos x="46" y="12"/>
              </a:cxn>
              <a:cxn ang="0">
                <a:pos x="40" y="10"/>
              </a:cxn>
              <a:cxn ang="0">
                <a:pos x="34" y="14"/>
              </a:cxn>
              <a:cxn ang="0">
                <a:pos x="32" y="24"/>
              </a:cxn>
              <a:cxn ang="0">
                <a:pos x="26" y="27"/>
              </a:cxn>
              <a:cxn ang="0">
                <a:pos x="21" y="28"/>
              </a:cxn>
              <a:cxn ang="0">
                <a:pos x="20" y="33"/>
              </a:cxn>
              <a:cxn ang="0">
                <a:pos x="14" y="35"/>
              </a:cxn>
              <a:cxn ang="0">
                <a:pos x="5" y="31"/>
              </a:cxn>
              <a:cxn ang="0">
                <a:pos x="4" y="35"/>
              </a:cxn>
              <a:cxn ang="0">
                <a:pos x="3" y="42"/>
              </a:cxn>
              <a:cxn ang="0">
                <a:pos x="2" y="45"/>
              </a:cxn>
              <a:cxn ang="0">
                <a:pos x="2" y="53"/>
              </a:cxn>
              <a:cxn ang="0">
                <a:pos x="4" y="55"/>
              </a:cxn>
              <a:cxn ang="0">
                <a:pos x="7" y="72"/>
              </a:cxn>
              <a:cxn ang="0">
                <a:pos x="13" y="77"/>
              </a:cxn>
              <a:cxn ang="0">
                <a:pos x="18" y="83"/>
              </a:cxn>
              <a:cxn ang="0">
                <a:pos x="26" y="99"/>
              </a:cxn>
              <a:cxn ang="0">
                <a:pos x="42" y="99"/>
              </a:cxn>
              <a:cxn ang="0">
                <a:pos x="57" y="96"/>
              </a:cxn>
              <a:cxn ang="0">
                <a:pos x="60" y="87"/>
              </a:cxn>
              <a:cxn ang="0">
                <a:pos x="63" y="80"/>
              </a:cxn>
              <a:cxn ang="0">
                <a:pos x="68" y="79"/>
              </a:cxn>
              <a:cxn ang="0">
                <a:pos x="70" y="76"/>
              </a:cxn>
              <a:cxn ang="0">
                <a:pos x="76" y="73"/>
              </a:cxn>
              <a:cxn ang="0">
                <a:pos x="78" y="72"/>
              </a:cxn>
              <a:cxn ang="0">
                <a:pos x="83" y="74"/>
              </a:cxn>
              <a:cxn ang="0">
                <a:pos x="85" y="69"/>
              </a:cxn>
              <a:cxn ang="0">
                <a:pos x="85" y="63"/>
              </a:cxn>
              <a:cxn ang="0">
                <a:pos x="89" y="58"/>
              </a:cxn>
              <a:cxn ang="0">
                <a:pos x="91" y="54"/>
              </a:cxn>
              <a:cxn ang="0">
                <a:pos x="87" y="49"/>
              </a:cxn>
              <a:cxn ang="0">
                <a:pos x="96" y="49"/>
              </a:cxn>
              <a:cxn ang="0">
                <a:pos x="98" y="47"/>
              </a:cxn>
              <a:cxn ang="0">
                <a:pos x="96" y="42"/>
              </a:cxn>
              <a:cxn ang="0">
                <a:pos x="99" y="38"/>
              </a:cxn>
              <a:cxn ang="0">
                <a:pos x="99" y="32"/>
              </a:cxn>
              <a:cxn ang="0">
                <a:pos x="94" y="25"/>
              </a:cxn>
              <a:cxn ang="0">
                <a:pos x="98" y="22"/>
              </a:cxn>
              <a:cxn ang="0">
                <a:pos x="101" y="20"/>
              </a:cxn>
              <a:cxn ang="0">
                <a:pos x="108" y="17"/>
              </a:cxn>
              <a:cxn ang="0">
                <a:pos x="118" y="18"/>
              </a:cxn>
              <a:cxn ang="0">
                <a:pos x="122" y="16"/>
              </a:cxn>
              <a:cxn ang="0">
                <a:pos x="123" y="13"/>
              </a:cxn>
            </a:cxnLst>
            <a:rect l="0" t="0" r="r" b="b"/>
            <a:pathLst>
              <a:path w="125" h="99">
                <a:moveTo>
                  <a:pt x="123" y="12"/>
                </a:moveTo>
                <a:cubicBezTo>
                  <a:pt x="122" y="11"/>
                  <a:pt x="121" y="11"/>
                  <a:pt x="120" y="11"/>
                </a:cubicBezTo>
                <a:cubicBezTo>
                  <a:pt x="120" y="11"/>
                  <a:pt x="119" y="11"/>
                  <a:pt x="119" y="11"/>
                </a:cubicBezTo>
                <a:cubicBezTo>
                  <a:pt x="118" y="11"/>
                  <a:pt x="119" y="11"/>
                  <a:pt x="118" y="12"/>
                </a:cubicBezTo>
                <a:cubicBezTo>
                  <a:pt x="118" y="12"/>
                  <a:pt x="117" y="12"/>
                  <a:pt x="116" y="12"/>
                </a:cubicBezTo>
                <a:cubicBezTo>
                  <a:pt x="116" y="13"/>
                  <a:pt x="115" y="13"/>
                  <a:pt x="115" y="13"/>
                </a:cubicBezTo>
                <a:cubicBezTo>
                  <a:pt x="114" y="13"/>
                  <a:pt x="112" y="13"/>
                  <a:pt x="114" y="12"/>
                </a:cubicBezTo>
                <a:cubicBezTo>
                  <a:pt x="114" y="12"/>
                  <a:pt x="114" y="12"/>
                  <a:pt x="114" y="11"/>
                </a:cubicBezTo>
                <a:cubicBezTo>
                  <a:pt x="114" y="11"/>
                  <a:pt x="113" y="11"/>
                  <a:pt x="113" y="11"/>
                </a:cubicBezTo>
                <a:cubicBezTo>
                  <a:pt x="112" y="11"/>
                  <a:pt x="111" y="10"/>
                  <a:pt x="111" y="11"/>
                </a:cubicBezTo>
                <a:cubicBezTo>
                  <a:pt x="110" y="11"/>
                  <a:pt x="110" y="11"/>
                  <a:pt x="110" y="11"/>
                </a:cubicBezTo>
                <a:cubicBezTo>
                  <a:pt x="109" y="11"/>
                  <a:pt x="109" y="11"/>
                  <a:pt x="109" y="11"/>
                </a:cubicBezTo>
                <a:cubicBezTo>
                  <a:pt x="109" y="11"/>
                  <a:pt x="109" y="11"/>
                  <a:pt x="108" y="11"/>
                </a:cubicBezTo>
                <a:cubicBezTo>
                  <a:pt x="108" y="12"/>
                  <a:pt x="108" y="12"/>
                  <a:pt x="108" y="12"/>
                </a:cubicBezTo>
                <a:cubicBezTo>
                  <a:pt x="108" y="12"/>
                  <a:pt x="107" y="12"/>
                  <a:pt x="107" y="13"/>
                </a:cubicBezTo>
                <a:cubicBezTo>
                  <a:pt x="107" y="13"/>
                  <a:pt x="106" y="13"/>
                  <a:pt x="106" y="13"/>
                </a:cubicBezTo>
                <a:cubicBezTo>
                  <a:pt x="105" y="14"/>
                  <a:pt x="106" y="15"/>
                  <a:pt x="104" y="15"/>
                </a:cubicBezTo>
                <a:cubicBezTo>
                  <a:pt x="103" y="16"/>
                  <a:pt x="103" y="16"/>
                  <a:pt x="102" y="16"/>
                </a:cubicBezTo>
                <a:cubicBezTo>
                  <a:pt x="101" y="16"/>
                  <a:pt x="101" y="17"/>
                  <a:pt x="100" y="17"/>
                </a:cubicBezTo>
                <a:cubicBezTo>
                  <a:pt x="99" y="18"/>
                  <a:pt x="98" y="20"/>
                  <a:pt x="96" y="19"/>
                </a:cubicBezTo>
                <a:cubicBezTo>
                  <a:pt x="95" y="18"/>
                  <a:pt x="94" y="16"/>
                  <a:pt x="94" y="14"/>
                </a:cubicBezTo>
                <a:cubicBezTo>
                  <a:pt x="94" y="14"/>
                  <a:pt x="94" y="13"/>
                  <a:pt x="94" y="12"/>
                </a:cubicBezTo>
                <a:cubicBezTo>
                  <a:pt x="93" y="11"/>
                  <a:pt x="94" y="10"/>
                  <a:pt x="93" y="10"/>
                </a:cubicBezTo>
                <a:cubicBezTo>
                  <a:pt x="93" y="9"/>
                  <a:pt x="93" y="8"/>
                  <a:pt x="93" y="8"/>
                </a:cubicBezTo>
                <a:cubicBezTo>
                  <a:pt x="93" y="7"/>
                  <a:pt x="93" y="7"/>
                  <a:pt x="93" y="6"/>
                </a:cubicBezTo>
                <a:cubicBezTo>
                  <a:pt x="93" y="6"/>
                  <a:pt x="93" y="5"/>
                  <a:pt x="92" y="5"/>
                </a:cubicBezTo>
                <a:cubicBezTo>
                  <a:pt x="91" y="6"/>
                  <a:pt x="91" y="6"/>
                  <a:pt x="90" y="6"/>
                </a:cubicBezTo>
                <a:cubicBezTo>
                  <a:pt x="90" y="5"/>
                  <a:pt x="90" y="4"/>
                  <a:pt x="90" y="4"/>
                </a:cubicBezTo>
                <a:cubicBezTo>
                  <a:pt x="90" y="2"/>
                  <a:pt x="90" y="2"/>
                  <a:pt x="89" y="1"/>
                </a:cubicBezTo>
                <a:cubicBezTo>
                  <a:pt x="88" y="1"/>
                  <a:pt x="88" y="0"/>
                  <a:pt x="87" y="0"/>
                </a:cubicBezTo>
                <a:cubicBezTo>
                  <a:pt x="87" y="0"/>
                  <a:pt x="86" y="0"/>
                  <a:pt x="86" y="0"/>
                </a:cubicBezTo>
                <a:cubicBezTo>
                  <a:pt x="86" y="0"/>
                  <a:pt x="86" y="0"/>
                  <a:pt x="86" y="0"/>
                </a:cubicBezTo>
                <a:cubicBezTo>
                  <a:pt x="86" y="0"/>
                  <a:pt x="85" y="0"/>
                  <a:pt x="85" y="0"/>
                </a:cubicBezTo>
                <a:cubicBezTo>
                  <a:pt x="85" y="0"/>
                  <a:pt x="84" y="0"/>
                  <a:pt x="83" y="0"/>
                </a:cubicBezTo>
                <a:cubicBezTo>
                  <a:pt x="83" y="0"/>
                  <a:pt x="84" y="1"/>
                  <a:pt x="84" y="1"/>
                </a:cubicBezTo>
                <a:cubicBezTo>
                  <a:pt x="83" y="1"/>
                  <a:pt x="83" y="1"/>
                  <a:pt x="83" y="1"/>
                </a:cubicBezTo>
                <a:cubicBezTo>
                  <a:pt x="83" y="1"/>
                  <a:pt x="83" y="2"/>
                  <a:pt x="83" y="2"/>
                </a:cubicBezTo>
                <a:cubicBezTo>
                  <a:pt x="83" y="3"/>
                  <a:pt x="82" y="3"/>
                  <a:pt x="82" y="4"/>
                </a:cubicBezTo>
                <a:cubicBezTo>
                  <a:pt x="82" y="4"/>
                  <a:pt x="81" y="5"/>
                  <a:pt x="81" y="5"/>
                </a:cubicBezTo>
                <a:cubicBezTo>
                  <a:pt x="81" y="6"/>
                  <a:pt x="81" y="5"/>
                  <a:pt x="80" y="5"/>
                </a:cubicBezTo>
                <a:cubicBezTo>
                  <a:pt x="80" y="6"/>
                  <a:pt x="81" y="6"/>
                  <a:pt x="81" y="7"/>
                </a:cubicBezTo>
                <a:cubicBezTo>
                  <a:pt x="81" y="7"/>
                  <a:pt x="82" y="7"/>
                  <a:pt x="82" y="8"/>
                </a:cubicBezTo>
                <a:cubicBezTo>
                  <a:pt x="82" y="9"/>
                  <a:pt x="81" y="10"/>
                  <a:pt x="80" y="10"/>
                </a:cubicBezTo>
                <a:cubicBezTo>
                  <a:pt x="80" y="10"/>
                  <a:pt x="79" y="9"/>
                  <a:pt x="78" y="9"/>
                </a:cubicBezTo>
                <a:cubicBezTo>
                  <a:pt x="78" y="9"/>
                  <a:pt x="78" y="9"/>
                  <a:pt x="77" y="9"/>
                </a:cubicBezTo>
                <a:cubicBezTo>
                  <a:pt x="77" y="9"/>
                  <a:pt x="76" y="9"/>
                  <a:pt x="76" y="9"/>
                </a:cubicBezTo>
                <a:cubicBezTo>
                  <a:pt x="75" y="9"/>
                  <a:pt x="75" y="9"/>
                  <a:pt x="75" y="10"/>
                </a:cubicBezTo>
                <a:cubicBezTo>
                  <a:pt x="75" y="10"/>
                  <a:pt x="74" y="11"/>
                  <a:pt x="74" y="11"/>
                </a:cubicBezTo>
                <a:cubicBezTo>
                  <a:pt x="75" y="12"/>
                  <a:pt x="75" y="12"/>
                  <a:pt x="75" y="13"/>
                </a:cubicBezTo>
                <a:cubicBezTo>
                  <a:pt x="75" y="13"/>
                  <a:pt x="75" y="14"/>
                  <a:pt x="74" y="14"/>
                </a:cubicBezTo>
                <a:cubicBezTo>
                  <a:pt x="74" y="15"/>
                  <a:pt x="73" y="14"/>
                  <a:pt x="73" y="14"/>
                </a:cubicBezTo>
                <a:cubicBezTo>
                  <a:pt x="72" y="13"/>
                  <a:pt x="71" y="12"/>
                  <a:pt x="70" y="12"/>
                </a:cubicBezTo>
                <a:cubicBezTo>
                  <a:pt x="70" y="12"/>
                  <a:pt x="71" y="13"/>
                  <a:pt x="70" y="13"/>
                </a:cubicBezTo>
                <a:cubicBezTo>
                  <a:pt x="70" y="13"/>
                  <a:pt x="69" y="12"/>
                  <a:pt x="69" y="12"/>
                </a:cubicBezTo>
                <a:cubicBezTo>
                  <a:pt x="69" y="12"/>
                  <a:pt x="70" y="13"/>
                  <a:pt x="70" y="13"/>
                </a:cubicBezTo>
                <a:cubicBezTo>
                  <a:pt x="69" y="12"/>
                  <a:pt x="68" y="13"/>
                  <a:pt x="68" y="13"/>
                </a:cubicBezTo>
                <a:cubicBezTo>
                  <a:pt x="68" y="14"/>
                  <a:pt x="66" y="14"/>
                  <a:pt x="66" y="14"/>
                </a:cubicBezTo>
                <a:cubicBezTo>
                  <a:pt x="66" y="15"/>
                  <a:pt x="65" y="14"/>
                  <a:pt x="65" y="15"/>
                </a:cubicBezTo>
                <a:cubicBezTo>
                  <a:pt x="66" y="16"/>
                  <a:pt x="65" y="15"/>
                  <a:pt x="64" y="16"/>
                </a:cubicBezTo>
                <a:cubicBezTo>
                  <a:pt x="64" y="16"/>
                  <a:pt x="63" y="17"/>
                  <a:pt x="63" y="16"/>
                </a:cubicBezTo>
                <a:cubicBezTo>
                  <a:pt x="62" y="15"/>
                  <a:pt x="62" y="15"/>
                  <a:pt x="61" y="15"/>
                </a:cubicBezTo>
                <a:cubicBezTo>
                  <a:pt x="60" y="14"/>
                  <a:pt x="61" y="13"/>
                  <a:pt x="60" y="13"/>
                </a:cubicBezTo>
                <a:cubicBezTo>
                  <a:pt x="59" y="13"/>
                  <a:pt x="59" y="13"/>
                  <a:pt x="59" y="13"/>
                </a:cubicBezTo>
                <a:cubicBezTo>
                  <a:pt x="58" y="13"/>
                  <a:pt x="58" y="13"/>
                  <a:pt x="58" y="13"/>
                </a:cubicBezTo>
                <a:cubicBezTo>
                  <a:pt x="58" y="12"/>
                  <a:pt x="57" y="13"/>
                  <a:pt x="57" y="13"/>
                </a:cubicBezTo>
                <a:cubicBezTo>
                  <a:pt x="56" y="13"/>
                  <a:pt x="56" y="14"/>
                  <a:pt x="56" y="14"/>
                </a:cubicBezTo>
                <a:cubicBezTo>
                  <a:pt x="55" y="14"/>
                  <a:pt x="55" y="13"/>
                  <a:pt x="55" y="13"/>
                </a:cubicBezTo>
                <a:cubicBezTo>
                  <a:pt x="55" y="13"/>
                  <a:pt x="54" y="13"/>
                  <a:pt x="54" y="12"/>
                </a:cubicBezTo>
                <a:cubicBezTo>
                  <a:pt x="54" y="12"/>
                  <a:pt x="54" y="12"/>
                  <a:pt x="53" y="12"/>
                </a:cubicBezTo>
                <a:cubicBezTo>
                  <a:pt x="53" y="11"/>
                  <a:pt x="51" y="12"/>
                  <a:pt x="50" y="12"/>
                </a:cubicBezTo>
                <a:cubicBezTo>
                  <a:pt x="49" y="12"/>
                  <a:pt x="49" y="12"/>
                  <a:pt x="48" y="12"/>
                </a:cubicBezTo>
                <a:cubicBezTo>
                  <a:pt x="48" y="12"/>
                  <a:pt x="46" y="12"/>
                  <a:pt x="46" y="12"/>
                </a:cubicBezTo>
                <a:cubicBezTo>
                  <a:pt x="46" y="11"/>
                  <a:pt x="45" y="12"/>
                  <a:pt x="45" y="11"/>
                </a:cubicBezTo>
                <a:cubicBezTo>
                  <a:pt x="44" y="11"/>
                  <a:pt x="44" y="11"/>
                  <a:pt x="44" y="11"/>
                </a:cubicBezTo>
                <a:cubicBezTo>
                  <a:pt x="43" y="10"/>
                  <a:pt x="42" y="10"/>
                  <a:pt x="41" y="9"/>
                </a:cubicBezTo>
                <a:cubicBezTo>
                  <a:pt x="41" y="9"/>
                  <a:pt x="41" y="10"/>
                  <a:pt x="40" y="10"/>
                </a:cubicBezTo>
                <a:cubicBezTo>
                  <a:pt x="40" y="11"/>
                  <a:pt x="41" y="11"/>
                  <a:pt x="41" y="12"/>
                </a:cubicBezTo>
                <a:cubicBezTo>
                  <a:pt x="40" y="13"/>
                  <a:pt x="39" y="13"/>
                  <a:pt x="37" y="13"/>
                </a:cubicBezTo>
                <a:cubicBezTo>
                  <a:pt x="37" y="13"/>
                  <a:pt x="36" y="13"/>
                  <a:pt x="35" y="13"/>
                </a:cubicBezTo>
                <a:cubicBezTo>
                  <a:pt x="35" y="14"/>
                  <a:pt x="34" y="14"/>
                  <a:pt x="34" y="14"/>
                </a:cubicBezTo>
                <a:cubicBezTo>
                  <a:pt x="33" y="15"/>
                  <a:pt x="34" y="16"/>
                  <a:pt x="34" y="17"/>
                </a:cubicBezTo>
                <a:cubicBezTo>
                  <a:pt x="33" y="18"/>
                  <a:pt x="33" y="19"/>
                  <a:pt x="33" y="19"/>
                </a:cubicBezTo>
                <a:cubicBezTo>
                  <a:pt x="33" y="20"/>
                  <a:pt x="33" y="21"/>
                  <a:pt x="33" y="21"/>
                </a:cubicBezTo>
                <a:cubicBezTo>
                  <a:pt x="33" y="22"/>
                  <a:pt x="33" y="24"/>
                  <a:pt x="32" y="24"/>
                </a:cubicBezTo>
                <a:cubicBezTo>
                  <a:pt x="31" y="24"/>
                  <a:pt x="31" y="25"/>
                  <a:pt x="30" y="25"/>
                </a:cubicBezTo>
                <a:cubicBezTo>
                  <a:pt x="29" y="25"/>
                  <a:pt x="29" y="26"/>
                  <a:pt x="29" y="27"/>
                </a:cubicBezTo>
                <a:cubicBezTo>
                  <a:pt x="29" y="26"/>
                  <a:pt x="28" y="26"/>
                  <a:pt x="28" y="26"/>
                </a:cubicBezTo>
                <a:cubicBezTo>
                  <a:pt x="27" y="27"/>
                  <a:pt x="27" y="27"/>
                  <a:pt x="26" y="27"/>
                </a:cubicBezTo>
                <a:cubicBezTo>
                  <a:pt x="25" y="27"/>
                  <a:pt x="25" y="27"/>
                  <a:pt x="25" y="27"/>
                </a:cubicBezTo>
                <a:cubicBezTo>
                  <a:pt x="25" y="28"/>
                  <a:pt x="24" y="28"/>
                  <a:pt x="24" y="28"/>
                </a:cubicBezTo>
                <a:cubicBezTo>
                  <a:pt x="23" y="28"/>
                  <a:pt x="23" y="28"/>
                  <a:pt x="22" y="28"/>
                </a:cubicBezTo>
                <a:cubicBezTo>
                  <a:pt x="22" y="28"/>
                  <a:pt x="21" y="28"/>
                  <a:pt x="21" y="28"/>
                </a:cubicBezTo>
                <a:cubicBezTo>
                  <a:pt x="21" y="28"/>
                  <a:pt x="22" y="30"/>
                  <a:pt x="22" y="30"/>
                </a:cubicBezTo>
                <a:cubicBezTo>
                  <a:pt x="22" y="30"/>
                  <a:pt x="21" y="31"/>
                  <a:pt x="21" y="31"/>
                </a:cubicBezTo>
                <a:cubicBezTo>
                  <a:pt x="21" y="31"/>
                  <a:pt x="21" y="31"/>
                  <a:pt x="22" y="32"/>
                </a:cubicBezTo>
                <a:cubicBezTo>
                  <a:pt x="22" y="33"/>
                  <a:pt x="21" y="33"/>
                  <a:pt x="20" y="33"/>
                </a:cubicBezTo>
                <a:cubicBezTo>
                  <a:pt x="19" y="34"/>
                  <a:pt x="19" y="35"/>
                  <a:pt x="18" y="35"/>
                </a:cubicBezTo>
                <a:cubicBezTo>
                  <a:pt x="17" y="35"/>
                  <a:pt x="16" y="34"/>
                  <a:pt x="16" y="35"/>
                </a:cubicBezTo>
                <a:cubicBezTo>
                  <a:pt x="15" y="35"/>
                  <a:pt x="15" y="36"/>
                  <a:pt x="15" y="36"/>
                </a:cubicBezTo>
                <a:cubicBezTo>
                  <a:pt x="15" y="36"/>
                  <a:pt x="14" y="35"/>
                  <a:pt x="14" y="35"/>
                </a:cubicBezTo>
                <a:cubicBezTo>
                  <a:pt x="14" y="34"/>
                  <a:pt x="13" y="34"/>
                  <a:pt x="13" y="33"/>
                </a:cubicBezTo>
                <a:cubicBezTo>
                  <a:pt x="12" y="33"/>
                  <a:pt x="11" y="33"/>
                  <a:pt x="10" y="33"/>
                </a:cubicBezTo>
                <a:cubicBezTo>
                  <a:pt x="9" y="33"/>
                  <a:pt x="8" y="33"/>
                  <a:pt x="7" y="32"/>
                </a:cubicBezTo>
                <a:cubicBezTo>
                  <a:pt x="7" y="32"/>
                  <a:pt x="5" y="30"/>
                  <a:pt x="5" y="31"/>
                </a:cubicBezTo>
                <a:cubicBezTo>
                  <a:pt x="4" y="31"/>
                  <a:pt x="5" y="31"/>
                  <a:pt x="5" y="32"/>
                </a:cubicBezTo>
                <a:cubicBezTo>
                  <a:pt x="5" y="32"/>
                  <a:pt x="4" y="33"/>
                  <a:pt x="4" y="33"/>
                </a:cubicBezTo>
                <a:cubicBezTo>
                  <a:pt x="4" y="33"/>
                  <a:pt x="4" y="34"/>
                  <a:pt x="4" y="34"/>
                </a:cubicBezTo>
                <a:cubicBezTo>
                  <a:pt x="4" y="34"/>
                  <a:pt x="4" y="35"/>
                  <a:pt x="4" y="35"/>
                </a:cubicBezTo>
                <a:cubicBezTo>
                  <a:pt x="4" y="36"/>
                  <a:pt x="4" y="36"/>
                  <a:pt x="4" y="37"/>
                </a:cubicBezTo>
                <a:cubicBezTo>
                  <a:pt x="4" y="38"/>
                  <a:pt x="4" y="39"/>
                  <a:pt x="4" y="40"/>
                </a:cubicBezTo>
                <a:cubicBezTo>
                  <a:pt x="4" y="41"/>
                  <a:pt x="4" y="41"/>
                  <a:pt x="3" y="42"/>
                </a:cubicBezTo>
                <a:cubicBezTo>
                  <a:pt x="3" y="42"/>
                  <a:pt x="3" y="42"/>
                  <a:pt x="3" y="42"/>
                </a:cubicBezTo>
                <a:cubicBezTo>
                  <a:pt x="2" y="43"/>
                  <a:pt x="1" y="43"/>
                  <a:pt x="2" y="43"/>
                </a:cubicBezTo>
                <a:cubicBezTo>
                  <a:pt x="3" y="44"/>
                  <a:pt x="3" y="44"/>
                  <a:pt x="4" y="45"/>
                </a:cubicBezTo>
                <a:cubicBezTo>
                  <a:pt x="3" y="45"/>
                  <a:pt x="2" y="45"/>
                  <a:pt x="2" y="45"/>
                </a:cubicBezTo>
                <a:cubicBezTo>
                  <a:pt x="1" y="45"/>
                  <a:pt x="2" y="45"/>
                  <a:pt x="2" y="45"/>
                </a:cubicBezTo>
                <a:cubicBezTo>
                  <a:pt x="1" y="46"/>
                  <a:pt x="1" y="46"/>
                  <a:pt x="1" y="46"/>
                </a:cubicBezTo>
                <a:cubicBezTo>
                  <a:pt x="0" y="47"/>
                  <a:pt x="1" y="48"/>
                  <a:pt x="1" y="49"/>
                </a:cubicBezTo>
                <a:cubicBezTo>
                  <a:pt x="1" y="50"/>
                  <a:pt x="2" y="51"/>
                  <a:pt x="1" y="51"/>
                </a:cubicBezTo>
                <a:cubicBezTo>
                  <a:pt x="1" y="52"/>
                  <a:pt x="1" y="52"/>
                  <a:pt x="2" y="53"/>
                </a:cubicBezTo>
                <a:cubicBezTo>
                  <a:pt x="3" y="54"/>
                  <a:pt x="4" y="53"/>
                  <a:pt x="5" y="54"/>
                </a:cubicBezTo>
                <a:cubicBezTo>
                  <a:pt x="6" y="54"/>
                  <a:pt x="5" y="54"/>
                  <a:pt x="5" y="54"/>
                </a:cubicBezTo>
                <a:cubicBezTo>
                  <a:pt x="5" y="54"/>
                  <a:pt x="5" y="55"/>
                  <a:pt x="5" y="55"/>
                </a:cubicBezTo>
                <a:cubicBezTo>
                  <a:pt x="5" y="55"/>
                  <a:pt x="4" y="55"/>
                  <a:pt x="4" y="55"/>
                </a:cubicBezTo>
                <a:cubicBezTo>
                  <a:pt x="3" y="56"/>
                  <a:pt x="3" y="58"/>
                  <a:pt x="3" y="59"/>
                </a:cubicBezTo>
                <a:cubicBezTo>
                  <a:pt x="4" y="62"/>
                  <a:pt x="5" y="65"/>
                  <a:pt x="7" y="67"/>
                </a:cubicBezTo>
                <a:cubicBezTo>
                  <a:pt x="7" y="68"/>
                  <a:pt x="7" y="69"/>
                  <a:pt x="7" y="70"/>
                </a:cubicBezTo>
                <a:cubicBezTo>
                  <a:pt x="7" y="71"/>
                  <a:pt x="7" y="72"/>
                  <a:pt x="7" y="72"/>
                </a:cubicBezTo>
                <a:cubicBezTo>
                  <a:pt x="7" y="73"/>
                  <a:pt x="7" y="74"/>
                  <a:pt x="8" y="75"/>
                </a:cubicBezTo>
                <a:cubicBezTo>
                  <a:pt x="8" y="75"/>
                  <a:pt x="8" y="76"/>
                  <a:pt x="8" y="76"/>
                </a:cubicBezTo>
                <a:cubicBezTo>
                  <a:pt x="8" y="76"/>
                  <a:pt x="10" y="76"/>
                  <a:pt x="10" y="76"/>
                </a:cubicBezTo>
                <a:cubicBezTo>
                  <a:pt x="11" y="77"/>
                  <a:pt x="12" y="77"/>
                  <a:pt x="13" y="77"/>
                </a:cubicBezTo>
                <a:cubicBezTo>
                  <a:pt x="14" y="77"/>
                  <a:pt x="16" y="77"/>
                  <a:pt x="17" y="78"/>
                </a:cubicBezTo>
                <a:cubicBezTo>
                  <a:pt x="17" y="78"/>
                  <a:pt x="17" y="79"/>
                  <a:pt x="18" y="80"/>
                </a:cubicBezTo>
                <a:cubicBezTo>
                  <a:pt x="18" y="81"/>
                  <a:pt x="18" y="82"/>
                  <a:pt x="18" y="82"/>
                </a:cubicBezTo>
                <a:cubicBezTo>
                  <a:pt x="18" y="82"/>
                  <a:pt x="18" y="83"/>
                  <a:pt x="18" y="83"/>
                </a:cubicBezTo>
                <a:cubicBezTo>
                  <a:pt x="17" y="84"/>
                  <a:pt x="17" y="85"/>
                  <a:pt x="17" y="85"/>
                </a:cubicBezTo>
                <a:cubicBezTo>
                  <a:pt x="15" y="88"/>
                  <a:pt x="13" y="91"/>
                  <a:pt x="11" y="94"/>
                </a:cubicBezTo>
                <a:cubicBezTo>
                  <a:pt x="14" y="95"/>
                  <a:pt x="17" y="96"/>
                  <a:pt x="20" y="97"/>
                </a:cubicBezTo>
                <a:cubicBezTo>
                  <a:pt x="22" y="98"/>
                  <a:pt x="24" y="98"/>
                  <a:pt x="26" y="99"/>
                </a:cubicBezTo>
                <a:cubicBezTo>
                  <a:pt x="27" y="99"/>
                  <a:pt x="29" y="99"/>
                  <a:pt x="31" y="99"/>
                </a:cubicBezTo>
                <a:cubicBezTo>
                  <a:pt x="33" y="98"/>
                  <a:pt x="35" y="98"/>
                  <a:pt x="37" y="98"/>
                </a:cubicBezTo>
                <a:cubicBezTo>
                  <a:pt x="38" y="98"/>
                  <a:pt x="38" y="98"/>
                  <a:pt x="39" y="99"/>
                </a:cubicBezTo>
                <a:cubicBezTo>
                  <a:pt x="40" y="99"/>
                  <a:pt x="41" y="99"/>
                  <a:pt x="42" y="99"/>
                </a:cubicBezTo>
                <a:cubicBezTo>
                  <a:pt x="42" y="99"/>
                  <a:pt x="42" y="98"/>
                  <a:pt x="43" y="98"/>
                </a:cubicBezTo>
                <a:cubicBezTo>
                  <a:pt x="44" y="98"/>
                  <a:pt x="44" y="97"/>
                  <a:pt x="45" y="97"/>
                </a:cubicBezTo>
                <a:cubicBezTo>
                  <a:pt x="47" y="97"/>
                  <a:pt x="49" y="98"/>
                  <a:pt x="51" y="97"/>
                </a:cubicBezTo>
                <a:cubicBezTo>
                  <a:pt x="53" y="97"/>
                  <a:pt x="55" y="96"/>
                  <a:pt x="57" y="96"/>
                </a:cubicBezTo>
                <a:cubicBezTo>
                  <a:pt x="57" y="95"/>
                  <a:pt x="58" y="95"/>
                  <a:pt x="59" y="95"/>
                </a:cubicBezTo>
                <a:cubicBezTo>
                  <a:pt x="60" y="95"/>
                  <a:pt x="61" y="94"/>
                  <a:pt x="61" y="94"/>
                </a:cubicBezTo>
                <a:cubicBezTo>
                  <a:pt x="63" y="93"/>
                  <a:pt x="60" y="92"/>
                  <a:pt x="61" y="91"/>
                </a:cubicBezTo>
                <a:cubicBezTo>
                  <a:pt x="61" y="90"/>
                  <a:pt x="61" y="88"/>
                  <a:pt x="60" y="87"/>
                </a:cubicBezTo>
                <a:cubicBezTo>
                  <a:pt x="60" y="86"/>
                  <a:pt x="60" y="85"/>
                  <a:pt x="60" y="84"/>
                </a:cubicBezTo>
                <a:cubicBezTo>
                  <a:pt x="60" y="84"/>
                  <a:pt x="60" y="83"/>
                  <a:pt x="60" y="82"/>
                </a:cubicBezTo>
                <a:cubicBezTo>
                  <a:pt x="61" y="82"/>
                  <a:pt x="62" y="82"/>
                  <a:pt x="62" y="82"/>
                </a:cubicBezTo>
                <a:cubicBezTo>
                  <a:pt x="63" y="81"/>
                  <a:pt x="63" y="81"/>
                  <a:pt x="63" y="80"/>
                </a:cubicBezTo>
                <a:cubicBezTo>
                  <a:pt x="63" y="79"/>
                  <a:pt x="63" y="79"/>
                  <a:pt x="64" y="79"/>
                </a:cubicBezTo>
                <a:cubicBezTo>
                  <a:pt x="64" y="78"/>
                  <a:pt x="65" y="78"/>
                  <a:pt x="65" y="78"/>
                </a:cubicBezTo>
                <a:cubicBezTo>
                  <a:pt x="66" y="78"/>
                  <a:pt x="66" y="79"/>
                  <a:pt x="66" y="79"/>
                </a:cubicBezTo>
                <a:cubicBezTo>
                  <a:pt x="67" y="79"/>
                  <a:pt x="68" y="79"/>
                  <a:pt x="68" y="79"/>
                </a:cubicBezTo>
                <a:cubicBezTo>
                  <a:pt x="69" y="79"/>
                  <a:pt x="70" y="79"/>
                  <a:pt x="71" y="78"/>
                </a:cubicBezTo>
                <a:cubicBezTo>
                  <a:pt x="72" y="78"/>
                  <a:pt x="73" y="78"/>
                  <a:pt x="73" y="77"/>
                </a:cubicBezTo>
                <a:cubicBezTo>
                  <a:pt x="73" y="77"/>
                  <a:pt x="72" y="77"/>
                  <a:pt x="71" y="77"/>
                </a:cubicBezTo>
                <a:cubicBezTo>
                  <a:pt x="71" y="77"/>
                  <a:pt x="71" y="76"/>
                  <a:pt x="70" y="76"/>
                </a:cubicBezTo>
                <a:cubicBezTo>
                  <a:pt x="71" y="76"/>
                  <a:pt x="72" y="76"/>
                  <a:pt x="72" y="75"/>
                </a:cubicBezTo>
                <a:cubicBezTo>
                  <a:pt x="73" y="74"/>
                  <a:pt x="73" y="75"/>
                  <a:pt x="74" y="74"/>
                </a:cubicBezTo>
                <a:cubicBezTo>
                  <a:pt x="75" y="74"/>
                  <a:pt x="75" y="73"/>
                  <a:pt x="75" y="73"/>
                </a:cubicBezTo>
                <a:cubicBezTo>
                  <a:pt x="75" y="72"/>
                  <a:pt x="76" y="73"/>
                  <a:pt x="76" y="73"/>
                </a:cubicBezTo>
                <a:cubicBezTo>
                  <a:pt x="77" y="73"/>
                  <a:pt x="77" y="73"/>
                  <a:pt x="78" y="73"/>
                </a:cubicBezTo>
                <a:cubicBezTo>
                  <a:pt x="78" y="73"/>
                  <a:pt x="78" y="74"/>
                  <a:pt x="79" y="73"/>
                </a:cubicBezTo>
                <a:cubicBezTo>
                  <a:pt x="79" y="73"/>
                  <a:pt x="79" y="73"/>
                  <a:pt x="79" y="73"/>
                </a:cubicBezTo>
                <a:cubicBezTo>
                  <a:pt x="78" y="73"/>
                  <a:pt x="78" y="73"/>
                  <a:pt x="78" y="72"/>
                </a:cubicBezTo>
                <a:cubicBezTo>
                  <a:pt x="79" y="72"/>
                  <a:pt x="80" y="73"/>
                  <a:pt x="80" y="73"/>
                </a:cubicBezTo>
                <a:cubicBezTo>
                  <a:pt x="81" y="73"/>
                  <a:pt x="80" y="73"/>
                  <a:pt x="81" y="74"/>
                </a:cubicBezTo>
                <a:cubicBezTo>
                  <a:pt x="81" y="74"/>
                  <a:pt x="81" y="74"/>
                  <a:pt x="81" y="74"/>
                </a:cubicBezTo>
                <a:cubicBezTo>
                  <a:pt x="82" y="75"/>
                  <a:pt x="82" y="75"/>
                  <a:pt x="83" y="74"/>
                </a:cubicBezTo>
                <a:cubicBezTo>
                  <a:pt x="83" y="74"/>
                  <a:pt x="84" y="74"/>
                  <a:pt x="84" y="74"/>
                </a:cubicBezTo>
                <a:cubicBezTo>
                  <a:pt x="84" y="74"/>
                  <a:pt x="84" y="74"/>
                  <a:pt x="84" y="73"/>
                </a:cubicBezTo>
                <a:cubicBezTo>
                  <a:pt x="85" y="73"/>
                  <a:pt x="85" y="72"/>
                  <a:pt x="86" y="71"/>
                </a:cubicBezTo>
                <a:cubicBezTo>
                  <a:pt x="86" y="71"/>
                  <a:pt x="85" y="70"/>
                  <a:pt x="85" y="69"/>
                </a:cubicBezTo>
                <a:cubicBezTo>
                  <a:pt x="85" y="68"/>
                  <a:pt x="85" y="68"/>
                  <a:pt x="85" y="67"/>
                </a:cubicBezTo>
                <a:cubicBezTo>
                  <a:pt x="84" y="66"/>
                  <a:pt x="84" y="66"/>
                  <a:pt x="84" y="65"/>
                </a:cubicBezTo>
                <a:cubicBezTo>
                  <a:pt x="84" y="65"/>
                  <a:pt x="85" y="64"/>
                  <a:pt x="85" y="64"/>
                </a:cubicBezTo>
                <a:cubicBezTo>
                  <a:pt x="86" y="64"/>
                  <a:pt x="86" y="63"/>
                  <a:pt x="85" y="63"/>
                </a:cubicBezTo>
                <a:cubicBezTo>
                  <a:pt x="85" y="62"/>
                  <a:pt x="85" y="62"/>
                  <a:pt x="85" y="61"/>
                </a:cubicBezTo>
                <a:cubicBezTo>
                  <a:pt x="86" y="61"/>
                  <a:pt x="85" y="59"/>
                  <a:pt x="86" y="59"/>
                </a:cubicBezTo>
                <a:cubicBezTo>
                  <a:pt x="86" y="58"/>
                  <a:pt x="87" y="59"/>
                  <a:pt x="87" y="58"/>
                </a:cubicBezTo>
                <a:cubicBezTo>
                  <a:pt x="88" y="58"/>
                  <a:pt x="88" y="59"/>
                  <a:pt x="89" y="58"/>
                </a:cubicBezTo>
                <a:cubicBezTo>
                  <a:pt x="89" y="58"/>
                  <a:pt x="90" y="58"/>
                  <a:pt x="90" y="58"/>
                </a:cubicBezTo>
                <a:cubicBezTo>
                  <a:pt x="90" y="57"/>
                  <a:pt x="91" y="57"/>
                  <a:pt x="91" y="57"/>
                </a:cubicBezTo>
                <a:cubicBezTo>
                  <a:pt x="92" y="57"/>
                  <a:pt x="92" y="56"/>
                  <a:pt x="92" y="55"/>
                </a:cubicBezTo>
                <a:cubicBezTo>
                  <a:pt x="92" y="55"/>
                  <a:pt x="91" y="55"/>
                  <a:pt x="91" y="54"/>
                </a:cubicBezTo>
                <a:cubicBezTo>
                  <a:pt x="90" y="54"/>
                  <a:pt x="91" y="53"/>
                  <a:pt x="90" y="52"/>
                </a:cubicBezTo>
                <a:cubicBezTo>
                  <a:pt x="90" y="52"/>
                  <a:pt x="90" y="52"/>
                  <a:pt x="89" y="52"/>
                </a:cubicBezTo>
                <a:cubicBezTo>
                  <a:pt x="88" y="51"/>
                  <a:pt x="88" y="51"/>
                  <a:pt x="87" y="50"/>
                </a:cubicBezTo>
                <a:cubicBezTo>
                  <a:pt x="87" y="50"/>
                  <a:pt x="87" y="50"/>
                  <a:pt x="87" y="49"/>
                </a:cubicBezTo>
                <a:cubicBezTo>
                  <a:pt x="87" y="48"/>
                  <a:pt x="88" y="48"/>
                  <a:pt x="89" y="48"/>
                </a:cubicBezTo>
                <a:cubicBezTo>
                  <a:pt x="90" y="49"/>
                  <a:pt x="91" y="49"/>
                  <a:pt x="92" y="49"/>
                </a:cubicBezTo>
                <a:cubicBezTo>
                  <a:pt x="93" y="49"/>
                  <a:pt x="93" y="49"/>
                  <a:pt x="94" y="49"/>
                </a:cubicBezTo>
                <a:cubicBezTo>
                  <a:pt x="95" y="49"/>
                  <a:pt x="96" y="49"/>
                  <a:pt x="96" y="49"/>
                </a:cubicBezTo>
                <a:cubicBezTo>
                  <a:pt x="96" y="49"/>
                  <a:pt x="96" y="49"/>
                  <a:pt x="96" y="49"/>
                </a:cubicBezTo>
                <a:cubicBezTo>
                  <a:pt x="96" y="48"/>
                  <a:pt x="97" y="48"/>
                  <a:pt x="97" y="48"/>
                </a:cubicBezTo>
                <a:cubicBezTo>
                  <a:pt x="97" y="48"/>
                  <a:pt x="98" y="48"/>
                  <a:pt x="98" y="47"/>
                </a:cubicBezTo>
                <a:cubicBezTo>
                  <a:pt x="97" y="47"/>
                  <a:pt x="98" y="47"/>
                  <a:pt x="98" y="47"/>
                </a:cubicBezTo>
                <a:cubicBezTo>
                  <a:pt x="98" y="46"/>
                  <a:pt x="98" y="46"/>
                  <a:pt x="97" y="45"/>
                </a:cubicBezTo>
                <a:cubicBezTo>
                  <a:pt x="97" y="45"/>
                  <a:pt x="98" y="45"/>
                  <a:pt x="97" y="44"/>
                </a:cubicBezTo>
                <a:cubicBezTo>
                  <a:pt x="97" y="44"/>
                  <a:pt x="96" y="44"/>
                  <a:pt x="96" y="43"/>
                </a:cubicBezTo>
                <a:cubicBezTo>
                  <a:pt x="95" y="43"/>
                  <a:pt x="96" y="42"/>
                  <a:pt x="96" y="42"/>
                </a:cubicBezTo>
                <a:cubicBezTo>
                  <a:pt x="97" y="42"/>
                  <a:pt x="96" y="41"/>
                  <a:pt x="96" y="41"/>
                </a:cubicBezTo>
                <a:cubicBezTo>
                  <a:pt x="97" y="41"/>
                  <a:pt x="97" y="41"/>
                  <a:pt x="97" y="40"/>
                </a:cubicBezTo>
                <a:cubicBezTo>
                  <a:pt x="98" y="40"/>
                  <a:pt x="98" y="39"/>
                  <a:pt x="98" y="39"/>
                </a:cubicBezTo>
                <a:cubicBezTo>
                  <a:pt x="98" y="38"/>
                  <a:pt x="99" y="39"/>
                  <a:pt x="99" y="38"/>
                </a:cubicBezTo>
                <a:cubicBezTo>
                  <a:pt x="100" y="37"/>
                  <a:pt x="99" y="37"/>
                  <a:pt x="100" y="36"/>
                </a:cubicBezTo>
                <a:cubicBezTo>
                  <a:pt x="101" y="36"/>
                  <a:pt x="100" y="35"/>
                  <a:pt x="100" y="35"/>
                </a:cubicBezTo>
                <a:cubicBezTo>
                  <a:pt x="99" y="34"/>
                  <a:pt x="99" y="34"/>
                  <a:pt x="99" y="33"/>
                </a:cubicBezTo>
                <a:cubicBezTo>
                  <a:pt x="100" y="33"/>
                  <a:pt x="99" y="32"/>
                  <a:pt x="99" y="32"/>
                </a:cubicBezTo>
                <a:cubicBezTo>
                  <a:pt x="99" y="31"/>
                  <a:pt x="98" y="31"/>
                  <a:pt x="98" y="31"/>
                </a:cubicBezTo>
                <a:cubicBezTo>
                  <a:pt x="98" y="30"/>
                  <a:pt x="98" y="30"/>
                  <a:pt x="98" y="29"/>
                </a:cubicBezTo>
                <a:cubicBezTo>
                  <a:pt x="97" y="29"/>
                  <a:pt x="97" y="28"/>
                  <a:pt x="96" y="27"/>
                </a:cubicBezTo>
                <a:cubicBezTo>
                  <a:pt x="95" y="27"/>
                  <a:pt x="93" y="26"/>
                  <a:pt x="94" y="25"/>
                </a:cubicBezTo>
                <a:cubicBezTo>
                  <a:pt x="94" y="25"/>
                  <a:pt x="95" y="24"/>
                  <a:pt x="95" y="24"/>
                </a:cubicBezTo>
                <a:cubicBezTo>
                  <a:pt x="96" y="24"/>
                  <a:pt x="96" y="23"/>
                  <a:pt x="96" y="23"/>
                </a:cubicBezTo>
                <a:cubicBezTo>
                  <a:pt x="97" y="23"/>
                  <a:pt x="97" y="22"/>
                  <a:pt x="97" y="22"/>
                </a:cubicBezTo>
                <a:cubicBezTo>
                  <a:pt x="97" y="21"/>
                  <a:pt x="97" y="22"/>
                  <a:pt x="98" y="22"/>
                </a:cubicBezTo>
                <a:cubicBezTo>
                  <a:pt x="98" y="22"/>
                  <a:pt x="99" y="22"/>
                  <a:pt x="99" y="22"/>
                </a:cubicBezTo>
                <a:cubicBezTo>
                  <a:pt x="99" y="22"/>
                  <a:pt x="98" y="21"/>
                  <a:pt x="99" y="21"/>
                </a:cubicBezTo>
                <a:cubicBezTo>
                  <a:pt x="100" y="21"/>
                  <a:pt x="100" y="21"/>
                  <a:pt x="101" y="20"/>
                </a:cubicBezTo>
                <a:cubicBezTo>
                  <a:pt x="101" y="20"/>
                  <a:pt x="101" y="20"/>
                  <a:pt x="101" y="20"/>
                </a:cubicBezTo>
                <a:cubicBezTo>
                  <a:pt x="102" y="19"/>
                  <a:pt x="101" y="19"/>
                  <a:pt x="101" y="19"/>
                </a:cubicBezTo>
                <a:cubicBezTo>
                  <a:pt x="102" y="18"/>
                  <a:pt x="103" y="18"/>
                  <a:pt x="103" y="18"/>
                </a:cubicBezTo>
                <a:cubicBezTo>
                  <a:pt x="104" y="18"/>
                  <a:pt x="105" y="18"/>
                  <a:pt x="105" y="18"/>
                </a:cubicBezTo>
                <a:cubicBezTo>
                  <a:pt x="106" y="17"/>
                  <a:pt x="107" y="18"/>
                  <a:pt x="108" y="17"/>
                </a:cubicBezTo>
                <a:cubicBezTo>
                  <a:pt x="108" y="17"/>
                  <a:pt x="109" y="17"/>
                  <a:pt x="109" y="17"/>
                </a:cubicBezTo>
                <a:cubicBezTo>
                  <a:pt x="110" y="17"/>
                  <a:pt x="110" y="17"/>
                  <a:pt x="111" y="17"/>
                </a:cubicBezTo>
                <a:cubicBezTo>
                  <a:pt x="113" y="17"/>
                  <a:pt x="114" y="17"/>
                  <a:pt x="116" y="17"/>
                </a:cubicBezTo>
                <a:cubicBezTo>
                  <a:pt x="117" y="17"/>
                  <a:pt x="117" y="18"/>
                  <a:pt x="118" y="18"/>
                </a:cubicBezTo>
                <a:cubicBezTo>
                  <a:pt x="119" y="18"/>
                  <a:pt x="119" y="17"/>
                  <a:pt x="119" y="17"/>
                </a:cubicBezTo>
                <a:cubicBezTo>
                  <a:pt x="119" y="17"/>
                  <a:pt x="120" y="17"/>
                  <a:pt x="120" y="17"/>
                </a:cubicBezTo>
                <a:cubicBezTo>
                  <a:pt x="120" y="17"/>
                  <a:pt x="120" y="16"/>
                  <a:pt x="120" y="16"/>
                </a:cubicBezTo>
                <a:cubicBezTo>
                  <a:pt x="121" y="16"/>
                  <a:pt x="121" y="15"/>
                  <a:pt x="122" y="16"/>
                </a:cubicBezTo>
                <a:cubicBezTo>
                  <a:pt x="122" y="16"/>
                  <a:pt x="123" y="16"/>
                  <a:pt x="122" y="15"/>
                </a:cubicBezTo>
                <a:cubicBezTo>
                  <a:pt x="122" y="15"/>
                  <a:pt x="121" y="15"/>
                  <a:pt x="121" y="14"/>
                </a:cubicBezTo>
                <a:cubicBezTo>
                  <a:pt x="120" y="14"/>
                  <a:pt x="121" y="14"/>
                  <a:pt x="121" y="13"/>
                </a:cubicBezTo>
                <a:cubicBezTo>
                  <a:pt x="121" y="13"/>
                  <a:pt x="122" y="13"/>
                  <a:pt x="123" y="13"/>
                </a:cubicBezTo>
                <a:cubicBezTo>
                  <a:pt x="123" y="13"/>
                  <a:pt x="123" y="12"/>
                  <a:pt x="123" y="13"/>
                </a:cubicBezTo>
                <a:cubicBezTo>
                  <a:pt x="124" y="13"/>
                  <a:pt x="124" y="13"/>
                  <a:pt x="125" y="13"/>
                </a:cubicBezTo>
                <a:cubicBezTo>
                  <a:pt x="124" y="13"/>
                  <a:pt x="124" y="12"/>
                  <a:pt x="123" y="12"/>
                </a:cubicBezTo>
                <a:close/>
              </a:path>
            </a:pathLst>
          </a:custGeom>
          <a:solidFill>
            <a:schemeClr val="tx1"/>
          </a:solidFill>
          <a:ln w="3175">
            <a:solidFill>
              <a:srgbClr val="FFFFFF"/>
            </a:solidFill>
            <a:round/>
            <a:headEnd/>
            <a:tailEnd/>
          </a:ln>
        </p:spPr>
        <p:txBody>
          <a:bodyPr vert="horz" wrap="square" lIns="93260" tIns="46630" rIns="93260" bIns="46630" numCol="1" anchor="t" anchorCtr="0" compatLnSpc="1">
            <a:prstTxWarp prst="textNoShape">
              <a:avLst/>
            </a:prstTxWarp>
          </a:bodyPr>
          <a:lstStyle/>
          <a:p>
            <a:pPr marL="0" marR="0" lvl="0" indent="0" defTabSz="1865118" eaLnBrk="1" fontAlgn="auto" latinLnBrk="0" hangingPunct="1">
              <a:lnSpc>
                <a:spcPct val="100000"/>
              </a:lnSpc>
              <a:spcBef>
                <a:spcPts val="0"/>
              </a:spcBef>
              <a:spcAft>
                <a:spcPts val="0"/>
              </a:spcAft>
              <a:buClrTx/>
              <a:buSzTx/>
              <a:buFontTx/>
              <a:buNone/>
              <a:tabLst/>
              <a:defRPr/>
            </a:pPr>
            <a:endParaRPr kumimoji="0" lang="en-US" sz="3672" b="0" i="0" u="none" strike="noStrike" kern="0" cap="none" spc="0" normalizeH="0" baseline="0" noProof="0" dirty="0">
              <a:ln>
                <a:noFill/>
              </a:ln>
              <a:solidFill>
                <a:srgbClr val="FFFFFF"/>
              </a:solidFill>
              <a:effectLst/>
              <a:uLnTx/>
              <a:uFillTx/>
              <a:latin typeface="Segoe UI" pitchFamily="34" charset="0"/>
            </a:endParaRPr>
          </a:p>
        </p:txBody>
      </p:sp>
      <p:sp>
        <p:nvSpPr>
          <p:cNvPr id="227" name="Title 1"/>
          <p:cNvSpPr>
            <a:spLocks noGrp="1"/>
          </p:cNvSpPr>
          <p:nvPr>
            <p:ph type="title"/>
          </p:nvPr>
        </p:nvSpPr>
        <p:spPr>
          <a:xfrm>
            <a:off x="46037" y="68262"/>
            <a:ext cx="11889564" cy="917575"/>
          </a:xfrm>
        </p:spPr>
        <p:txBody>
          <a:bodyPr/>
          <a:lstStyle/>
          <a:p>
            <a:r>
              <a:rPr lang="en-US" dirty="0"/>
              <a:t>Service availability</a:t>
            </a:r>
          </a:p>
        </p:txBody>
      </p:sp>
      <p:sp>
        <p:nvSpPr>
          <p:cNvPr id="228" name="TextBox 227"/>
          <p:cNvSpPr txBox="1"/>
          <p:nvPr/>
        </p:nvSpPr>
        <p:spPr>
          <a:xfrm>
            <a:off x="7818437" y="6488112"/>
            <a:ext cx="4616038" cy="461665"/>
          </a:xfrm>
          <a:prstGeom prst="rect">
            <a:avLst/>
          </a:prstGeom>
          <a:noFill/>
        </p:spPr>
        <p:txBody>
          <a:bodyPr wrap="square" lIns="182880" tIns="146304" rIns="182880" bIns="146304" rtlCol="0">
            <a:sp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solidFill>
                  <a:srgbClr val="00B0F0"/>
                </a:solidFill>
                <a:effectLst/>
                <a:uLnTx/>
                <a:uFillTx/>
              </a:rPr>
              <a:t>https://azure.microsoft.com/en-us/regions/#services</a:t>
            </a:r>
          </a:p>
        </p:txBody>
      </p:sp>
      <p:sp>
        <p:nvSpPr>
          <p:cNvPr id="229" name="Oval 228"/>
          <p:cNvSpPr/>
          <p:nvPr/>
        </p:nvSpPr>
        <p:spPr bwMode="auto">
          <a:xfrm>
            <a:off x="1752667" y="3077321"/>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0" name="Oval 229"/>
          <p:cNvSpPr/>
          <p:nvPr/>
        </p:nvSpPr>
        <p:spPr bwMode="auto">
          <a:xfrm>
            <a:off x="2743434" y="2863417"/>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1" name="Oval 230"/>
          <p:cNvSpPr/>
          <p:nvPr/>
        </p:nvSpPr>
        <p:spPr bwMode="auto">
          <a:xfrm>
            <a:off x="3123232" y="3101027"/>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2" name="Oval 231"/>
          <p:cNvSpPr/>
          <p:nvPr/>
        </p:nvSpPr>
        <p:spPr bwMode="auto">
          <a:xfrm>
            <a:off x="2326085" y="3195905"/>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3" name="Oval 232"/>
          <p:cNvSpPr/>
          <p:nvPr/>
        </p:nvSpPr>
        <p:spPr bwMode="auto">
          <a:xfrm>
            <a:off x="5898221" y="2472845"/>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4" name="Oval 233"/>
          <p:cNvSpPr/>
          <p:nvPr/>
        </p:nvSpPr>
        <p:spPr bwMode="auto">
          <a:xfrm>
            <a:off x="5581955" y="2434257"/>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5" name="Oval 234"/>
          <p:cNvSpPr/>
          <p:nvPr/>
        </p:nvSpPr>
        <p:spPr bwMode="auto">
          <a:xfrm>
            <a:off x="10675636" y="5878426"/>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6" name="Oval 235"/>
          <p:cNvSpPr/>
          <p:nvPr/>
        </p:nvSpPr>
        <p:spPr bwMode="auto">
          <a:xfrm>
            <a:off x="10517730" y="6054952"/>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7" name="Oval 236"/>
          <p:cNvSpPr/>
          <p:nvPr/>
        </p:nvSpPr>
        <p:spPr bwMode="auto">
          <a:xfrm>
            <a:off x="9621768" y="3663143"/>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8" name="Oval 237"/>
          <p:cNvSpPr/>
          <p:nvPr/>
        </p:nvSpPr>
        <p:spPr bwMode="auto">
          <a:xfrm>
            <a:off x="9342437" y="4414359"/>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39" name="TextBox 238"/>
          <p:cNvSpPr txBox="1"/>
          <p:nvPr/>
        </p:nvSpPr>
        <p:spPr>
          <a:xfrm>
            <a:off x="350837" y="2590463"/>
            <a:ext cx="1683367" cy="1572738"/>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mj-lt"/>
              </a:rPr>
              <a:t>West U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mj-lt"/>
              </a:rPr>
              <a:t>East U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mj-lt"/>
              </a:rPr>
              <a:t>East US2</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mj-lt"/>
              </a:rPr>
              <a:t>Central U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mj-lt"/>
              </a:rPr>
              <a:t>South central US</a:t>
            </a:r>
          </a:p>
        </p:txBody>
      </p:sp>
      <p:sp>
        <p:nvSpPr>
          <p:cNvPr id="240" name="TextBox 239"/>
          <p:cNvSpPr txBox="1"/>
          <p:nvPr/>
        </p:nvSpPr>
        <p:spPr>
          <a:xfrm>
            <a:off x="4282139" y="2285442"/>
            <a:ext cx="1441804" cy="760208"/>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b="1">
                <a:solidFill>
                  <a:srgbClr val="00B050"/>
                </a:solidFill>
                <a:latin typeface="+mj-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rPr>
              <a:t>North Europe</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rPr>
              <a:t>West Europe</a:t>
            </a:r>
          </a:p>
        </p:txBody>
      </p:sp>
      <p:sp>
        <p:nvSpPr>
          <p:cNvPr id="241" name="TextBox 240"/>
          <p:cNvSpPr txBox="1"/>
          <p:nvPr/>
        </p:nvSpPr>
        <p:spPr>
          <a:xfrm>
            <a:off x="8392986" y="5419911"/>
            <a:ext cx="1698788" cy="954107"/>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b="1">
                <a:solidFill>
                  <a:srgbClr val="00B050"/>
                </a:solidFill>
                <a:latin typeface="+mj-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rPr>
              <a:t>Australia East</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rPr>
              <a:t>Australia Southeast</a:t>
            </a:r>
          </a:p>
        </p:txBody>
      </p:sp>
      <p:sp>
        <p:nvSpPr>
          <p:cNvPr id="242" name="TextBox 241"/>
          <p:cNvSpPr txBox="1"/>
          <p:nvPr/>
        </p:nvSpPr>
        <p:spPr>
          <a:xfrm>
            <a:off x="10024902" y="3552498"/>
            <a:ext cx="1755935" cy="760208"/>
          </a:xfrm>
          <a:prstGeom prst="rect">
            <a:avLst/>
          </a:prstGeom>
          <a:noFill/>
        </p:spPr>
        <p:txBody>
          <a:bodyPr wrap="square" lIns="182880" tIns="146304" rIns="182880" bIns="146304" rtlCol="0">
            <a:spAutoFit/>
          </a:bodyPr>
          <a:lstStyle>
            <a:defPPr>
              <a:defRPr lang="en-US"/>
            </a:defPPr>
            <a:lvl1pPr>
              <a:lnSpc>
                <a:spcPct val="90000"/>
              </a:lnSpc>
              <a:spcAft>
                <a:spcPts val="600"/>
              </a:spcAft>
              <a:defRPr sz="1400" b="1">
                <a:solidFill>
                  <a:srgbClr val="00B050"/>
                </a:solidFill>
                <a:latin typeface="+mj-lt"/>
              </a:defRPr>
            </a:lvl1p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rPr>
              <a:t>East Asia</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mj-lt"/>
              </a:rPr>
              <a:t>Southeast Asia</a:t>
            </a:r>
          </a:p>
        </p:txBody>
      </p:sp>
      <p:sp>
        <p:nvSpPr>
          <p:cNvPr id="243" name="Oval 242"/>
          <p:cNvSpPr/>
          <p:nvPr/>
        </p:nvSpPr>
        <p:spPr bwMode="auto">
          <a:xfrm>
            <a:off x="3163230" y="3128232"/>
            <a:ext cx="201168" cy="201168"/>
          </a:xfrm>
          <a:prstGeom prst="ellipse">
            <a:avLst/>
          </a:prstGeom>
          <a:solidFill>
            <a:srgbClr val="60A503"/>
          </a:solidFill>
          <a:ln w="381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Tree>
    <p:extLst>
      <p:ext uri="{BB962C8B-B14F-4D97-AF65-F5344CB8AC3E}">
        <p14:creationId xmlns:p14="http://schemas.microsoft.com/office/powerpoint/2010/main" val="27412810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66329" y="184894"/>
            <a:ext cx="11889564" cy="917575"/>
          </a:xfrm>
        </p:spPr>
        <p:txBody>
          <a:bodyPr/>
          <a:lstStyle/>
          <a:p>
            <a:r>
              <a:rPr lang="en-US" dirty="0"/>
              <a:t>Networking considerations (1)</a:t>
            </a:r>
            <a:br>
              <a:rPr lang="en-US" dirty="0"/>
            </a:br>
            <a:r>
              <a:rPr lang="en-US" sz="3600" i="1" dirty="0">
                <a:solidFill>
                  <a:schemeClr val="accent1"/>
                </a:solidFill>
              </a:rPr>
              <a:t>Use your managed domain in multiple classic virtual networks</a:t>
            </a:r>
          </a:p>
        </p:txBody>
      </p:sp>
      <p:pic>
        <p:nvPicPr>
          <p:cNvPr id="4" name="Picture 3"/>
          <p:cNvPicPr>
            <a:picLocks noChangeAspect="1"/>
          </p:cNvPicPr>
          <p:nvPr/>
        </p:nvPicPr>
        <p:blipFill>
          <a:blip r:embed="rId2"/>
          <a:stretch>
            <a:fillRect/>
          </a:stretch>
        </p:blipFill>
        <p:spPr>
          <a:xfrm>
            <a:off x="-7126" y="1971427"/>
            <a:ext cx="12436475" cy="3735635"/>
          </a:xfrm>
          <a:prstGeom prst="rect">
            <a:avLst/>
          </a:prstGeom>
        </p:spPr>
      </p:pic>
    </p:spTree>
    <p:extLst>
      <p:ext uri="{BB962C8B-B14F-4D97-AF65-F5344CB8AC3E}">
        <p14:creationId xmlns:p14="http://schemas.microsoft.com/office/powerpoint/2010/main" val="120344470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Networking considerations (2)</a:t>
            </a:r>
            <a:br>
              <a:rPr lang="en-US" dirty="0"/>
            </a:br>
            <a:r>
              <a:rPr lang="en-US" sz="3600" i="1" dirty="0">
                <a:solidFill>
                  <a:schemeClr val="accent1"/>
                </a:solidFill>
              </a:rPr>
              <a:t>Use your managed domain in Resource Manager virtual networks</a:t>
            </a:r>
          </a:p>
        </p:txBody>
      </p:sp>
      <p:pic>
        <p:nvPicPr>
          <p:cNvPr id="2" name="Picture 1"/>
          <p:cNvPicPr>
            <a:picLocks noChangeAspect="1"/>
          </p:cNvPicPr>
          <p:nvPr/>
        </p:nvPicPr>
        <p:blipFill>
          <a:blip r:embed="rId2"/>
          <a:stretch>
            <a:fillRect/>
          </a:stretch>
        </p:blipFill>
        <p:spPr>
          <a:xfrm>
            <a:off x="0" y="1884729"/>
            <a:ext cx="12436475" cy="3669933"/>
          </a:xfrm>
          <a:prstGeom prst="rect">
            <a:avLst/>
          </a:prstGeom>
        </p:spPr>
      </p:pic>
    </p:spTree>
    <p:extLst>
      <p:ext uri="{BB962C8B-B14F-4D97-AF65-F5344CB8AC3E}">
        <p14:creationId xmlns:p14="http://schemas.microsoft.com/office/powerpoint/2010/main" val="65181175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Networking</a:t>
            </a:r>
            <a:r>
              <a:rPr lang="en-US" sz="4000" dirty="0">
                <a:solidFill>
                  <a:schemeClr val="accent1"/>
                </a:solidFill>
              </a:rPr>
              <a:t> </a:t>
            </a:r>
            <a:r>
              <a:rPr lang="en-US" dirty="0"/>
              <a:t>considerations (3)</a:t>
            </a:r>
            <a:br>
              <a:rPr lang="en-US" sz="4000" dirty="0">
                <a:solidFill>
                  <a:schemeClr val="accent1"/>
                </a:solidFill>
              </a:rPr>
            </a:br>
            <a:r>
              <a:rPr lang="en-US" sz="3600" i="1" dirty="0">
                <a:solidFill>
                  <a:schemeClr val="accent1"/>
                </a:solidFill>
              </a:rPr>
              <a:t>Subnets and Network Security Groups</a:t>
            </a:r>
          </a:p>
        </p:txBody>
      </p:sp>
      <p:pic>
        <p:nvPicPr>
          <p:cNvPr id="4" name="Picture 3"/>
          <p:cNvPicPr>
            <a:picLocks noChangeAspect="1"/>
          </p:cNvPicPr>
          <p:nvPr/>
        </p:nvPicPr>
        <p:blipFill>
          <a:blip r:embed="rId2"/>
          <a:stretch>
            <a:fillRect/>
          </a:stretch>
        </p:blipFill>
        <p:spPr>
          <a:xfrm>
            <a:off x="370285" y="1744662"/>
            <a:ext cx="5620534" cy="4906060"/>
          </a:xfrm>
          <a:prstGeom prst="rect">
            <a:avLst/>
          </a:prstGeom>
        </p:spPr>
      </p:pic>
      <p:sp>
        <p:nvSpPr>
          <p:cNvPr id="5" name="TextBox 4"/>
          <p:cNvSpPr txBox="1"/>
          <p:nvPr/>
        </p:nvSpPr>
        <p:spPr>
          <a:xfrm>
            <a:off x="6294437" y="2139372"/>
            <a:ext cx="5867400" cy="388106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eploy Azure AD Domain Services to a dedicated subnet</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o not deploy to the Gateway subnet.</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o not apply NSGs to your AAD-DS subnet.</a:t>
            </a:r>
          </a:p>
          <a:p>
            <a:pPr marL="809271" marR="0" lvl="1"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This prevents Microsoft from being able to manage &amp; update your domain.</a:t>
            </a:r>
          </a:p>
          <a:p>
            <a:pPr marL="809271" marR="0" lvl="1"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It also breaks synchronization with your Azure AD tenant.</a:t>
            </a: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Tree>
    <p:extLst>
      <p:ext uri="{BB962C8B-B14F-4D97-AF65-F5344CB8AC3E}">
        <p14:creationId xmlns:p14="http://schemas.microsoft.com/office/powerpoint/2010/main" val="5468156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014" y="472926"/>
            <a:ext cx="11672947" cy="2119277"/>
          </a:xfrm>
        </p:spPr>
        <p:txBody>
          <a:bodyPr/>
          <a:lstStyle/>
          <a:p>
            <a:r>
              <a:rPr lang="en-NZ" dirty="0"/>
              <a:t>What can Azure AD Domain Services do for you?</a:t>
            </a:r>
          </a:p>
        </p:txBody>
      </p:sp>
      <p:sp>
        <p:nvSpPr>
          <p:cNvPr id="3" name="Text Placeholder 2"/>
          <p:cNvSpPr>
            <a:spLocks noGrp="1"/>
          </p:cNvSpPr>
          <p:nvPr>
            <p:ph type="body" sz="quarter" idx="12"/>
          </p:nvPr>
        </p:nvSpPr>
        <p:spPr/>
        <p:txBody>
          <a:bodyPr/>
          <a:lstStyle/>
          <a:p>
            <a:r>
              <a:rPr lang="en-NZ" dirty="0"/>
              <a:t>Tony Murray</a:t>
            </a:r>
          </a:p>
        </p:txBody>
      </p:sp>
      <p:sp>
        <p:nvSpPr>
          <p:cNvPr id="4" name="Text Placeholder 3"/>
          <p:cNvSpPr>
            <a:spLocks noGrp="1"/>
          </p:cNvSpPr>
          <p:nvPr>
            <p:ph type="body" sz="quarter" idx="13"/>
          </p:nvPr>
        </p:nvSpPr>
        <p:spPr/>
        <p:txBody>
          <a:bodyPr/>
          <a:lstStyle/>
          <a:p>
            <a:r>
              <a:rPr lang="en-NZ" dirty="0"/>
              <a:t>M248</a:t>
            </a:r>
          </a:p>
        </p:txBody>
      </p:sp>
    </p:spTree>
    <p:extLst>
      <p:ext uri="{BB962C8B-B14F-4D97-AF65-F5344CB8AC3E}">
        <p14:creationId xmlns:p14="http://schemas.microsoft.com/office/powerpoint/2010/main" val="183008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Deployment scenarios</a:t>
            </a:r>
          </a:p>
        </p:txBody>
      </p:sp>
      <p:sp>
        <p:nvSpPr>
          <p:cNvPr id="5" name="TextBox 4"/>
          <p:cNvSpPr txBox="1"/>
          <p:nvPr/>
        </p:nvSpPr>
        <p:spPr>
          <a:xfrm>
            <a:off x="63499" y="1019174"/>
            <a:ext cx="10441962"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1. Secure, streamlined administration of Azure virtual machines</a:t>
            </a:r>
            <a:endPar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grpSp>
        <p:nvGrpSpPr>
          <p:cNvPr id="176" name="Group 175"/>
          <p:cNvGrpSpPr/>
          <p:nvPr/>
        </p:nvGrpSpPr>
        <p:grpSpPr>
          <a:xfrm>
            <a:off x="579437" y="2278062"/>
            <a:ext cx="4102123" cy="2422065"/>
            <a:chOff x="1036637" y="3744912"/>
            <a:chExt cx="4102123" cy="2422065"/>
          </a:xfrm>
        </p:grpSpPr>
        <p:sp>
          <p:nvSpPr>
            <p:cNvPr id="8" name="Rectangle 7"/>
            <p:cNvSpPr/>
            <p:nvPr/>
          </p:nvSpPr>
          <p:spPr bwMode="auto">
            <a:xfrm>
              <a:off x="1036637" y="374491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9" name="Group 8"/>
            <p:cNvGrpSpPr/>
            <p:nvPr/>
          </p:nvGrpSpPr>
          <p:grpSpPr>
            <a:xfrm>
              <a:off x="4156185" y="4964112"/>
              <a:ext cx="458002" cy="468411"/>
              <a:chOff x="8047037" y="3712007"/>
              <a:chExt cx="609600" cy="623455"/>
            </a:xfrm>
          </p:grpSpPr>
          <p:sp>
            <p:nvSpPr>
              <p:cNvPr id="174" name="Hexagon 173"/>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75" name="Rectangle 174"/>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grpSp>
          <p:nvGrpSpPr>
            <p:cNvPr id="10" name="Group 9"/>
            <p:cNvGrpSpPr/>
            <p:nvPr/>
          </p:nvGrpSpPr>
          <p:grpSpPr bwMode="black">
            <a:xfrm>
              <a:off x="3388989" y="4328790"/>
              <a:ext cx="589950" cy="455404"/>
              <a:chOff x="7010400" y="2133600"/>
              <a:chExt cx="1379538" cy="1065213"/>
            </a:xfrm>
            <a:solidFill>
              <a:srgbClr val="505050"/>
            </a:solidFill>
          </p:grpSpPr>
          <p:sp>
            <p:nvSpPr>
              <p:cNvPr id="127" name="Freeform 126"/>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0" name="Freeform 129"/>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1" name="Freeform 130"/>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3" name="Freeform 132"/>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4" name="Freeform 133"/>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5" name="Freeform 134"/>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6" name="Freeform 135"/>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7" name="Freeform 136"/>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8" name="Freeform 137"/>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0" name="Freeform 139"/>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1" name="Freeform 140"/>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2" name="Freeform 141"/>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3" name="Freeform 142"/>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4" name="Freeform 143"/>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5" name="Freeform 144"/>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5" name="Freeform 154"/>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6" name="Freeform 155"/>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7" name="Freeform 156"/>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8" name="Freeform 157"/>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9" name="Freeform 158"/>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0" name="Freeform 159"/>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1" name="Freeform 160"/>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2" name="Freeform 161"/>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3" name="Freeform 162"/>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4" name="Freeform 163"/>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5" name="Freeform 164"/>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6" name="Freeform 165"/>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7" name="Freeform 166"/>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8" name="Freeform 167"/>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9" name="Freeform 168"/>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0" name="Freeform 169"/>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1" name="Freeform 170"/>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2" name="Freeform 171"/>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3" name="Freeform 172"/>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11" name="Group 10"/>
            <p:cNvGrpSpPr/>
            <p:nvPr/>
          </p:nvGrpSpPr>
          <p:grpSpPr>
            <a:xfrm>
              <a:off x="2325700" y="4342092"/>
              <a:ext cx="692137" cy="496267"/>
              <a:chOff x="1492615" y="2860796"/>
              <a:chExt cx="572014" cy="410138"/>
            </a:xfrm>
          </p:grpSpPr>
          <p:grpSp>
            <p:nvGrpSpPr>
              <p:cNvPr id="78" name="Group 77"/>
              <p:cNvGrpSpPr/>
              <p:nvPr/>
            </p:nvGrpSpPr>
            <p:grpSpPr bwMode="black">
              <a:xfrm>
                <a:off x="1492615" y="2860796"/>
                <a:ext cx="487562" cy="376367"/>
                <a:chOff x="7010400" y="2133600"/>
                <a:chExt cx="1379538" cy="1065213"/>
              </a:xfrm>
              <a:solidFill>
                <a:srgbClr val="505050"/>
              </a:solidFill>
            </p:grpSpPr>
            <p:sp>
              <p:nvSpPr>
                <p:cNvPr id="80" name="Freeform 79"/>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1" name="Freeform 80"/>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2" name="Freeform 81"/>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3" name="Freeform 82"/>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4" name="Freeform 83"/>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5" name="Freeform 84"/>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6" name="Freeform 85"/>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7" name="Freeform 86"/>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8" name="Freeform 87"/>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9" name="Freeform 88"/>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0" name="Freeform 89"/>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1" name="Freeform 90"/>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2" name="Freeform 91"/>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3" name="Freeform 92"/>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4" name="Freeform 93"/>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5" name="Freeform 94"/>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6" name="Freeform 95"/>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7" name="Freeform 96"/>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8" name="Freeform 97"/>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9" name="Freeform 98"/>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0" name="Freeform 99"/>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100"/>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2" name="Freeform 101"/>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3" name="Freeform 102"/>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4" name="Freeform 103"/>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5" name="Freeform 104"/>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6" name="Freeform 105"/>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7" name="Freeform 106"/>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8" name="Freeform 107"/>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9" name="Freeform 108"/>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0" name="Freeform 109"/>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1" name="Freeform 110"/>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2" name="Freeform 111"/>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3" name="Freeform 112"/>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4" name="Freeform 113"/>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5" name="Freeform 114"/>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6" name="Freeform 115"/>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7" name="Freeform 116"/>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9" name="Freeform 118"/>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grpSp>
          <p:sp>
            <p:nvSpPr>
              <p:cNvPr id="79" name="Freeform 78"/>
              <p:cNvSpPr>
                <a:spLocks noChangeAspect="1"/>
              </p:cNvSpPr>
              <p:nvPr/>
            </p:nvSpPr>
            <p:spPr bwMode="black">
              <a:xfrm>
                <a:off x="1866552" y="3074252"/>
                <a:ext cx="198077" cy="196682"/>
              </a:xfrm>
              <a:custGeom>
                <a:avLst/>
                <a:gdLst>
                  <a:gd name="connsiteX0" fmla="*/ 0 w 1208341"/>
                  <a:gd name="connsiteY0" fmla="*/ 445145 h 1199827"/>
                  <a:gd name="connsiteX1" fmla="*/ 16338 w 1208341"/>
                  <a:gd name="connsiteY1" fmla="*/ 458290 h 1199827"/>
                  <a:gd name="connsiteX2" fmla="*/ 604170 w 1208341"/>
                  <a:gd name="connsiteY2" fmla="*/ 593891 h 1199827"/>
                  <a:gd name="connsiteX3" fmla="*/ 1192003 w 1208341"/>
                  <a:gd name="connsiteY3" fmla="*/ 458290 h 1199827"/>
                  <a:gd name="connsiteX4" fmla="*/ 1208341 w 1208341"/>
                  <a:gd name="connsiteY4" fmla="*/ 445145 h 1199827"/>
                  <a:gd name="connsiteX5" fmla="*/ 1208341 w 1208341"/>
                  <a:gd name="connsiteY5" fmla="*/ 965655 h 1199827"/>
                  <a:gd name="connsiteX6" fmla="*/ 1208341 w 1208341"/>
                  <a:gd name="connsiteY6" fmla="*/ 965659 h 1199827"/>
                  <a:gd name="connsiteX7" fmla="*/ 604170 w 1208341"/>
                  <a:gd name="connsiteY7" fmla="*/ 1199827 h 1199827"/>
                  <a:gd name="connsiteX8" fmla="*/ 0 w 1208341"/>
                  <a:gd name="connsiteY8" fmla="*/ 965659 h 1199827"/>
                  <a:gd name="connsiteX9" fmla="*/ 603170 w 1208341"/>
                  <a:gd name="connsiteY9" fmla="*/ 0 h 1199827"/>
                  <a:gd name="connsiteX10" fmla="*/ 1206340 w 1208341"/>
                  <a:gd name="connsiteY10" fmla="*/ 259109 h 1199827"/>
                  <a:gd name="connsiteX11" fmla="*/ 603170 w 1208341"/>
                  <a:gd name="connsiteY11" fmla="*/ 518218 h 1199827"/>
                  <a:gd name="connsiteX12" fmla="*/ 0 w 1208341"/>
                  <a:gd name="connsiteY12" fmla="*/ 259109 h 1199827"/>
                  <a:gd name="connsiteX13" fmla="*/ 603170 w 1208341"/>
                  <a:gd name="connsiteY13" fmla="*/ 0 h 11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8341" h="1199827">
                    <a:moveTo>
                      <a:pt x="0" y="445145"/>
                    </a:moveTo>
                    <a:lnTo>
                      <a:pt x="16338" y="458290"/>
                    </a:lnTo>
                    <a:cubicBezTo>
                      <a:pt x="129544" y="539061"/>
                      <a:pt x="350335" y="593891"/>
                      <a:pt x="604170" y="593891"/>
                    </a:cubicBezTo>
                    <a:cubicBezTo>
                      <a:pt x="858005" y="593891"/>
                      <a:pt x="1078797" y="539061"/>
                      <a:pt x="1192003" y="458290"/>
                    </a:cubicBezTo>
                    <a:lnTo>
                      <a:pt x="1208341" y="445145"/>
                    </a:lnTo>
                    <a:lnTo>
                      <a:pt x="1208341" y="965655"/>
                    </a:lnTo>
                    <a:lnTo>
                      <a:pt x="1208341" y="965659"/>
                    </a:lnTo>
                    <a:cubicBezTo>
                      <a:pt x="1208341" y="1094988"/>
                      <a:pt x="937845" y="1199827"/>
                      <a:pt x="604170" y="1199827"/>
                    </a:cubicBezTo>
                    <a:cubicBezTo>
                      <a:pt x="270495" y="1199827"/>
                      <a:pt x="0" y="1094988"/>
                      <a:pt x="0" y="965659"/>
                    </a:cubicBezTo>
                    <a:close/>
                    <a:moveTo>
                      <a:pt x="603170" y="0"/>
                    </a:moveTo>
                    <a:cubicBezTo>
                      <a:pt x="936291" y="0"/>
                      <a:pt x="1206340" y="116007"/>
                      <a:pt x="1206340" y="259109"/>
                    </a:cubicBezTo>
                    <a:cubicBezTo>
                      <a:pt x="1206340" y="402211"/>
                      <a:pt x="936291" y="518218"/>
                      <a:pt x="603170" y="518218"/>
                    </a:cubicBezTo>
                    <a:cubicBezTo>
                      <a:pt x="270049" y="518218"/>
                      <a:pt x="0" y="402211"/>
                      <a:pt x="0" y="259109"/>
                    </a:cubicBezTo>
                    <a:cubicBezTo>
                      <a:pt x="0" y="116007"/>
                      <a:pt x="270049" y="0"/>
                      <a:pt x="603170" y="0"/>
                    </a:cubicBezTo>
                    <a:close/>
                  </a:path>
                </a:pathLst>
              </a:cu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1820" tIns="105456" rIns="131820" bIns="105456" numCol="1" spcCol="0" rtlCol="0" fromWordArt="0" anchor="t" anchorCtr="0" forceAA="0" compatLnSpc="1">
                <a:prstTxWarp prst="textNoShape">
                  <a:avLst/>
                </a:prstTxWarp>
                <a:noAutofit/>
              </a:bodyPr>
              <a:lstStyle/>
              <a:p>
                <a:pPr marL="0" marR="0" lvl="0" indent="0" algn="ctr" defTabSz="672139" eaLnBrk="1" fontAlgn="base" latinLnBrk="0" hangingPunct="1">
                  <a:lnSpc>
                    <a:spcPct val="90000"/>
                  </a:lnSpc>
                  <a:spcBef>
                    <a:spcPct val="0"/>
                  </a:spcBef>
                  <a:spcAft>
                    <a:spcPct val="0"/>
                  </a:spcAft>
                  <a:buClrTx/>
                  <a:buSzTx/>
                  <a:buFontTx/>
                  <a:buNone/>
                  <a:tabLst/>
                  <a:defRPr/>
                </a:pPr>
                <a:endParaRPr kumimoji="0" lang="en-US" sz="173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 name="Group 11"/>
            <p:cNvGrpSpPr/>
            <p:nvPr/>
          </p:nvGrpSpPr>
          <p:grpSpPr bwMode="black">
            <a:xfrm>
              <a:off x="1217668" y="4395302"/>
              <a:ext cx="589950" cy="455404"/>
              <a:chOff x="7010400" y="2133600"/>
              <a:chExt cx="1379538" cy="1065213"/>
            </a:xfrm>
            <a:solidFill>
              <a:srgbClr val="505050"/>
            </a:solidFill>
          </p:grpSpPr>
          <p:sp>
            <p:nvSpPr>
              <p:cNvPr id="31" name="Freeform 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6" name="Freeform 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7" name="Freeform 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9714" y="3899585"/>
              <a:ext cx="889046" cy="588277"/>
            </a:xfrm>
            <a:prstGeom prst="rect">
              <a:avLst/>
            </a:prstGeom>
          </p:spPr>
        </p:pic>
        <p:grpSp>
          <p:nvGrpSpPr>
            <p:cNvPr id="16" name="Group 15"/>
            <p:cNvGrpSpPr/>
            <p:nvPr/>
          </p:nvGrpSpPr>
          <p:grpSpPr>
            <a:xfrm>
              <a:off x="1587660" y="3973512"/>
              <a:ext cx="2652937" cy="372556"/>
              <a:chOff x="1587660" y="4261331"/>
              <a:chExt cx="2652937" cy="548147"/>
            </a:xfrm>
          </p:grpSpPr>
          <p:cxnSp>
            <p:nvCxnSpPr>
              <p:cNvPr id="28" name="Elbow Connector 27"/>
              <p:cNvCxnSpPr/>
              <p:nvPr/>
            </p:nvCxnSpPr>
            <p:spPr>
              <a:xfrm flipV="1">
                <a:off x="1587660" y="4274587"/>
                <a:ext cx="2652937" cy="534891"/>
              </a:xfrm>
              <a:prstGeom prst="bentConnector3">
                <a:avLst>
                  <a:gd name="adj1" fmla="val -265"/>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2644098" y="4278506"/>
                <a:ext cx="7316" cy="394462"/>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3716890" y="4261331"/>
                <a:ext cx="1" cy="441593"/>
              </a:xfrm>
              <a:prstGeom prst="line">
                <a:avLst/>
              </a:prstGeom>
              <a:ln>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1036637" y="5649912"/>
              <a:ext cx="3953076"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Contoso’s workloads/apps in Azure IaaS</a:t>
              </a:r>
            </a:p>
          </p:txBody>
        </p:sp>
        <p:sp>
          <p:nvSpPr>
            <p:cNvPr id="21" name="TextBox 20"/>
            <p:cNvSpPr txBox="1"/>
            <p:nvPr/>
          </p:nvSpPr>
          <p:spPr>
            <a:xfrm>
              <a:off x="3334030" y="5268912"/>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22" name="Freeform 54"/>
            <p:cNvSpPr>
              <a:spLocks noChangeAspect="1" noEditPoints="1"/>
            </p:cNvSpPr>
            <p:nvPr/>
          </p:nvSpPr>
          <p:spPr bwMode="black">
            <a:xfrm>
              <a:off x="1673113" y="4612169"/>
              <a:ext cx="230299" cy="23029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177" name="TextBox 176"/>
          <p:cNvSpPr txBox="1"/>
          <p:nvPr/>
        </p:nvSpPr>
        <p:spPr>
          <a:xfrm>
            <a:off x="4853266" y="2139372"/>
            <a:ext cx="7308571" cy="3250121"/>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j</a:t>
            </a:r>
            <a:r>
              <a:rPr kumimoji="0" lang="en-US" sz="2000" b="0" i="0" u="none" strike="noStrike" kern="0" cap="none" spc="0" normalizeH="0" baseline="0" noProof="0" dirty="0" err="1">
                <a:ln>
                  <a:noFill/>
                </a:ln>
                <a:gradFill>
                  <a:gsLst>
                    <a:gs pos="2917">
                      <a:schemeClr val="tx1"/>
                    </a:gs>
                    <a:gs pos="30000">
                      <a:schemeClr val="tx1"/>
                    </a:gs>
                  </a:gsLst>
                  <a:lin ang="5400000" scaled="0"/>
                </a:gradFill>
                <a:effectLst/>
                <a:uLnTx/>
                <a:uFillTx/>
                <a:latin typeface="+mj-lt"/>
              </a:rPr>
              <a:t>oin</a:t>
            </a: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 your Azure IaaS virtual machines – Windows Server and Linux</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Use your corporate credentials to log-in to VMs </a:t>
            </a:r>
          </a:p>
          <a:p>
            <a:pPr marL="809271" marR="0" lvl="1"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No need for local administrator account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Use Group Policy (built-in GPO for computers container) to manage &amp; secure domain joined VM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178" name="TextBox 177"/>
          <p:cNvSpPr txBox="1"/>
          <p:nvPr/>
        </p:nvSpPr>
        <p:spPr>
          <a:xfrm>
            <a:off x="1652172" y="2169697"/>
            <a:ext cx="1716818"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 join/ GP</a:t>
            </a:r>
          </a:p>
        </p:txBody>
      </p:sp>
    </p:spTree>
    <p:extLst>
      <p:ext uri="{BB962C8B-B14F-4D97-AF65-F5344CB8AC3E}">
        <p14:creationId xmlns:p14="http://schemas.microsoft.com/office/powerpoint/2010/main" val="384330278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Deployment scenarios</a:t>
            </a:r>
          </a:p>
        </p:txBody>
      </p:sp>
      <p:sp>
        <p:nvSpPr>
          <p:cNvPr id="5" name="TextBox 4"/>
          <p:cNvSpPr txBox="1"/>
          <p:nvPr/>
        </p:nvSpPr>
        <p:spPr>
          <a:xfrm>
            <a:off x="63499" y="1019174"/>
            <a:ext cx="10441962"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2. Lift-and-shift applications that use LDAP bind for authentication</a:t>
            </a:r>
            <a:endPar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8" name="Rectangle 7"/>
          <p:cNvSpPr/>
          <p:nvPr/>
        </p:nvSpPr>
        <p:spPr bwMode="auto">
          <a:xfrm>
            <a:off x="579437" y="227806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9" name="Group 8"/>
          <p:cNvGrpSpPr/>
          <p:nvPr/>
        </p:nvGrpSpPr>
        <p:grpSpPr>
          <a:xfrm>
            <a:off x="3698985" y="3497262"/>
            <a:ext cx="458002" cy="468411"/>
            <a:chOff x="8047037" y="3712007"/>
            <a:chExt cx="609600" cy="623455"/>
          </a:xfrm>
        </p:grpSpPr>
        <p:sp>
          <p:nvSpPr>
            <p:cNvPr id="174" name="Hexagon 173"/>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75" name="Rectangle 174"/>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grpSp>
        <p:nvGrpSpPr>
          <p:cNvPr id="12" name="Group 11"/>
          <p:cNvGrpSpPr/>
          <p:nvPr/>
        </p:nvGrpSpPr>
        <p:grpSpPr bwMode="black">
          <a:xfrm>
            <a:off x="760468" y="2928452"/>
            <a:ext cx="589950" cy="455404"/>
            <a:chOff x="7010400" y="2133600"/>
            <a:chExt cx="1379538" cy="1065213"/>
          </a:xfrm>
          <a:solidFill>
            <a:srgbClr val="505050"/>
          </a:solidFill>
        </p:grpSpPr>
        <p:sp>
          <p:nvSpPr>
            <p:cNvPr id="31" name="Freeform 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6" name="Freeform 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7" name="Freeform 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2514" y="2432735"/>
            <a:ext cx="889046" cy="588277"/>
          </a:xfrm>
          <a:prstGeom prst="rect">
            <a:avLst/>
          </a:prstGeom>
        </p:spPr>
      </p:pic>
      <p:cxnSp>
        <p:nvCxnSpPr>
          <p:cNvPr id="28" name="Elbow Connector 27"/>
          <p:cNvCxnSpPr>
            <a:endCxn id="15" idx="1"/>
          </p:cNvCxnSpPr>
          <p:nvPr/>
        </p:nvCxnSpPr>
        <p:spPr>
          <a:xfrm flipV="1">
            <a:off x="1130460" y="2726874"/>
            <a:ext cx="2662054" cy="152341"/>
          </a:xfrm>
          <a:prstGeom prst="bentConnector3">
            <a:avLst>
              <a:gd name="adj1" fmla="val -93"/>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876830" y="3802062"/>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22" name="Freeform 54"/>
          <p:cNvSpPr>
            <a:spLocks noChangeAspect="1" noEditPoints="1"/>
          </p:cNvSpPr>
          <p:nvPr/>
        </p:nvSpPr>
        <p:spPr bwMode="black">
          <a:xfrm>
            <a:off x="1215913" y="3145319"/>
            <a:ext cx="230299" cy="23029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7" name="TextBox 176"/>
          <p:cNvSpPr txBox="1"/>
          <p:nvPr/>
        </p:nvSpPr>
        <p:spPr>
          <a:xfrm>
            <a:off x="4853266" y="2139372"/>
            <a:ext cx="7308571" cy="4588949"/>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nsider the following web-app:</a:t>
            </a:r>
          </a:p>
          <a:p>
            <a:pPr marL="0" marR="0" lvl="1"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n LOB application uses a web-form to collect user credentials and authenticates users via LDAP bind to the directory.</a:t>
            </a: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This application can be migrated &amp; deployed in Azure VM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End-users sign in using their existing corporate credential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The app is deployed in Azure, transparent to end-user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This app pattern is often used by organizations to grant access to vendors or partners to their applications.</a:t>
            </a:r>
          </a:p>
        </p:txBody>
      </p:sp>
      <p:sp>
        <p:nvSpPr>
          <p:cNvPr id="178" name="TextBox 177"/>
          <p:cNvSpPr txBox="1"/>
          <p:nvPr/>
        </p:nvSpPr>
        <p:spPr>
          <a:xfrm>
            <a:off x="1841434" y="2714637"/>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LDAP bind</a:t>
            </a:r>
          </a:p>
        </p:txBody>
      </p:sp>
      <p:sp>
        <p:nvSpPr>
          <p:cNvPr id="179" name="Freeform 178"/>
          <p:cNvSpPr>
            <a:spLocks noEditPoints="1"/>
          </p:cNvSpPr>
          <p:nvPr/>
        </p:nvSpPr>
        <p:spPr bwMode="auto">
          <a:xfrm>
            <a:off x="2330630" y="2379440"/>
            <a:ext cx="223757" cy="298672"/>
          </a:xfrm>
          <a:custGeom>
            <a:avLst/>
            <a:gdLst>
              <a:gd name="T0" fmla="*/ 48 w 96"/>
              <a:gd name="T1" fmla="*/ 0 h 128"/>
              <a:gd name="T2" fmla="*/ 12 w 96"/>
              <a:gd name="T3" fmla="*/ 36 h 128"/>
              <a:gd name="T4" fmla="*/ 12 w 96"/>
              <a:gd name="T5" fmla="*/ 56 h 128"/>
              <a:gd name="T6" fmla="*/ 0 w 96"/>
              <a:gd name="T7" fmla="*/ 56 h 128"/>
              <a:gd name="T8" fmla="*/ 0 w 96"/>
              <a:gd name="T9" fmla="*/ 128 h 128"/>
              <a:gd name="T10" fmla="*/ 96 w 96"/>
              <a:gd name="T11" fmla="*/ 128 h 128"/>
              <a:gd name="T12" fmla="*/ 96 w 96"/>
              <a:gd name="T13" fmla="*/ 56 h 128"/>
              <a:gd name="T14" fmla="*/ 84 w 96"/>
              <a:gd name="T15" fmla="*/ 56 h 128"/>
              <a:gd name="T16" fmla="*/ 84 w 96"/>
              <a:gd name="T17" fmla="*/ 36 h 128"/>
              <a:gd name="T18" fmla="*/ 48 w 96"/>
              <a:gd name="T19" fmla="*/ 0 h 128"/>
              <a:gd name="T20" fmla="*/ 20 w 96"/>
              <a:gd name="T21" fmla="*/ 36 h 128"/>
              <a:gd name="T22" fmla="*/ 48 w 96"/>
              <a:gd name="T23" fmla="*/ 8 h 128"/>
              <a:gd name="T24" fmla="*/ 76 w 96"/>
              <a:gd name="T25" fmla="*/ 36 h 128"/>
              <a:gd name="T26" fmla="*/ 76 w 96"/>
              <a:gd name="T27" fmla="*/ 56 h 128"/>
              <a:gd name="T28" fmla="*/ 20 w 96"/>
              <a:gd name="T29" fmla="*/ 56 h 128"/>
              <a:gd name="T30" fmla="*/ 20 w 96"/>
              <a:gd name="T31" fmla="*/ 36 h 128"/>
              <a:gd name="T32" fmla="*/ 88 w 96"/>
              <a:gd name="T33" fmla="*/ 64 h 128"/>
              <a:gd name="T34" fmla="*/ 88 w 96"/>
              <a:gd name="T35" fmla="*/ 120 h 128"/>
              <a:gd name="T36" fmla="*/ 8 w 96"/>
              <a:gd name="T37" fmla="*/ 120 h 128"/>
              <a:gd name="T38" fmla="*/ 8 w 96"/>
              <a:gd name="T39" fmla="*/ 64 h 128"/>
              <a:gd name="T40" fmla="*/ 88 w 96"/>
              <a:gd name="T41"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28">
                <a:moveTo>
                  <a:pt x="48" y="0"/>
                </a:moveTo>
                <a:cubicBezTo>
                  <a:pt x="28" y="0"/>
                  <a:pt x="12" y="16"/>
                  <a:pt x="12" y="36"/>
                </a:cubicBezTo>
                <a:cubicBezTo>
                  <a:pt x="12" y="56"/>
                  <a:pt x="12" y="56"/>
                  <a:pt x="12" y="56"/>
                </a:cubicBezTo>
                <a:cubicBezTo>
                  <a:pt x="0" y="56"/>
                  <a:pt x="0" y="56"/>
                  <a:pt x="0" y="56"/>
                </a:cubicBezTo>
                <a:cubicBezTo>
                  <a:pt x="0" y="128"/>
                  <a:pt x="0" y="128"/>
                  <a:pt x="0" y="128"/>
                </a:cubicBezTo>
                <a:cubicBezTo>
                  <a:pt x="96" y="128"/>
                  <a:pt x="96" y="128"/>
                  <a:pt x="96" y="128"/>
                </a:cubicBezTo>
                <a:cubicBezTo>
                  <a:pt x="96" y="56"/>
                  <a:pt x="96" y="56"/>
                  <a:pt x="96" y="56"/>
                </a:cubicBezTo>
                <a:cubicBezTo>
                  <a:pt x="84" y="56"/>
                  <a:pt x="84" y="56"/>
                  <a:pt x="84" y="56"/>
                </a:cubicBezTo>
                <a:cubicBezTo>
                  <a:pt x="84" y="36"/>
                  <a:pt x="84" y="36"/>
                  <a:pt x="84" y="36"/>
                </a:cubicBezTo>
                <a:cubicBezTo>
                  <a:pt x="84" y="16"/>
                  <a:pt x="68" y="0"/>
                  <a:pt x="48" y="0"/>
                </a:cubicBezTo>
                <a:close/>
                <a:moveTo>
                  <a:pt x="20" y="36"/>
                </a:moveTo>
                <a:cubicBezTo>
                  <a:pt x="20" y="20"/>
                  <a:pt x="32" y="8"/>
                  <a:pt x="48" y="8"/>
                </a:cubicBezTo>
                <a:cubicBezTo>
                  <a:pt x="63" y="8"/>
                  <a:pt x="76" y="20"/>
                  <a:pt x="76" y="36"/>
                </a:cubicBezTo>
                <a:cubicBezTo>
                  <a:pt x="76" y="56"/>
                  <a:pt x="76" y="56"/>
                  <a:pt x="76" y="56"/>
                </a:cubicBezTo>
                <a:cubicBezTo>
                  <a:pt x="20" y="56"/>
                  <a:pt x="20" y="56"/>
                  <a:pt x="20" y="56"/>
                </a:cubicBezTo>
                <a:lnTo>
                  <a:pt x="20" y="36"/>
                </a:lnTo>
                <a:close/>
                <a:moveTo>
                  <a:pt x="88" y="64"/>
                </a:moveTo>
                <a:cubicBezTo>
                  <a:pt x="88" y="120"/>
                  <a:pt x="88" y="120"/>
                  <a:pt x="88" y="120"/>
                </a:cubicBezTo>
                <a:cubicBezTo>
                  <a:pt x="8" y="120"/>
                  <a:pt x="8" y="120"/>
                  <a:pt x="8" y="120"/>
                </a:cubicBezTo>
                <a:cubicBezTo>
                  <a:pt x="8" y="64"/>
                  <a:pt x="8" y="64"/>
                  <a:pt x="8" y="64"/>
                </a:cubicBezTo>
                <a:lnTo>
                  <a:pt x="88" y="6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7826080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Deployment scenarios</a:t>
            </a:r>
          </a:p>
        </p:txBody>
      </p:sp>
      <p:sp>
        <p:nvSpPr>
          <p:cNvPr id="5" name="TextBox 4"/>
          <p:cNvSpPr txBox="1"/>
          <p:nvPr/>
        </p:nvSpPr>
        <p:spPr>
          <a:xfrm>
            <a:off x="63499" y="1019174"/>
            <a:ext cx="10441962"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3. Lift-and-shift server applications that use Windows Integrated Authentication</a:t>
            </a:r>
            <a:endPar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8" name="Rectangle 7"/>
          <p:cNvSpPr/>
          <p:nvPr/>
        </p:nvSpPr>
        <p:spPr bwMode="auto">
          <a:xfrm>
            <a:off x="579437" y="227806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9" name="Group 8"/>
          <p:cNvGrpSpPr/>
          <p:nvPr/>
        </p:nvGrpSpPr>
        <p:grpSpPr>
          <a:xfrm>
            <a:off x="3698985" y="3497262"/>
            <a:ext cx="458002" cy="468411"/>
            <a:chOff x="8047037" y="3712007"/>
            <a:chExt cx="609600" cy="623455"/>
          </a:xfrm>
        </p:grpSpPr>
        <p:sp>
          <p:nvSpPr>
            <p:cNvPr id="174" name="Hexagon 173"/>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75" name="Rectangle 174"/>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grpSp>
        <p:nvGrpSpPr>
          <p:cNvPr id="12" name="Group 11"/>
          <p:cNvGrpSpPr/>
          <p:nvPr/>
        </p:nvGrpSpPr>
        <p:grpSpPr bwMode="black">
          <a:xfrm>
            <a:off x="760468" y="2928452"/>
            <a:ext cx="589950" cy="455404"/>
            <a:chOff x="7010400" y="2133600"/>
            <a:chExt cx="1379538" cy="1065213"/>
          </a:xfrm>
          <a:solidFill>
            <a:srgbClr val="505050"/>
          </a:solidFill>
        </p:grpSpPr>
        <p:sp>
          <p:nvSpPr>
            <p:cNvPr id="31" name="Freeform 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6" name="Freeform 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7" name="Freeform 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2514" y="2432735"/>
            <a:ext cx="889046" cy="588277"/>
          </a:xfrm>
          <a:prstGeom prst="rect">
            <a:avLst/>
          </a:prstGeom>
        </p:spPr>
      </p:pic>
      <p:cxnSp>
        <p:nvCxnSpPr>
          <p:cNvPr id="28" name="Elbow Connector 27"/>
          <p:cNvCxnSpPr>
            <a:endCxn id="15" idx="1"/>
          </p:cNvCxnSpPr>
          <p:nvPr/>
        </p:nvCxnSpPr>
        <p:spPr>
          <a:xfrm flipV="1">
            <a:off x="1130460" y="2726874"/>
            <a:ext cx="2662054" cy="152341"/>
          </a:xfrm>
          <a:prstGeom prst="bentConnector3">
            <a:avLst>
              <a:gd name="adj1" fmla="val -93"/>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876830" y="3802062"/>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22" name="Freeform 54"/>
          <p:cNvSpPr>
            <a:spLocks noChangeAspect="1" noEditPoints="1"/>
          </p:cNvSpPr>
          <p:nvPr/>
        </p:nvSpPr>
        <p:spPr bwMode="black">
          <a:xfrm>
            <a:off x="1215913" y="3145319"/>
            <a:ext cx="230299" cy="23029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77" name="TextBox 176"/>
          <p:cNvSpPr txBox="1"/>
          <p:nvPr/>
        </p:nvSpPr>
        <p:spPr>
          <a:xfrm>
            <a:off x="4853266" y="2139372"/>
            <a:ext cx="7308571" cy="4588949"/>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Consider the following application:</a:t>
            </a:r>
          </a:p>
          <a:p>
            <a:pPr marL="0" marR="0" lvl="1"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n application uses an AD service account for its web front-end to authenticate access to a backend server.</a:t>
            </a: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endParaRP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This application can be migrated &amp; deployed in Azure VM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You can create custom OUs &amp; provision service accounts within those OU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You can assign custom password policies (</a:t>
            </a:r>
            <a:r>
              <a:rPr kumimoji="0" lang="en-US" sz="2000" b="0" i="0" u="none" strike="noStrike" kern="0" cap="none" spc="0" normalizeH="0" baseline="0" noProof="0" dirty="0" err="1">
                <a:ln>
                  <a:noFill/>
                </a:ln>
                <a:gradFill>
                  <a:gsLst>
                    <a:gs pos="2917">
                      <a:schemeClr val="tx1"/>
                    </a:gs>
                    <a:gs pos="30000">
                      <a:schemeClr val="tx1"/>
                    </a:gs>
                  </a:gsLst>
                  <a:lin ang="5400000" scaled="0"/>
                </a:gradFill>
                <a:effectLst/>
                <a:uLnTx/>
                <a:uFillTx/>
                <a:latin typeface="+mj-lt"/>
              </a:rPr>
              <a:t>eg</a:t>
            </a: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 password-never-expires) to service account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GMSAs (Group Managed Service Accounts) work as well.</a:t>
            </a:r>
          </a:p>
        </p:txBody>
      </p:sp>
      <p:sp>
        <p:nvSpPr>
          <p:cNvPr id="80" name="TextBox 79"/>
          <p:cNvSpPr txBox="1"/>
          <p:nvPr/>
        </p:nvSpPr>
        <p:spPr>
          <a:xfrm>
            <a:off x="2003708" y="2322113"/>
            <a:ext cx="861729"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WIA</a:t>
            </a:r>
          </a:p>
        </p:txBody>
      </p:sp>
      <p:cxnSp>
        <p:nvCxnSpPr>
          <p:cNvPr id="4" name="Straight Arrow Connector 3"/>
          <p:cNvCxnSpPr/>
          <p:nvPr/>
        </p:nvCxnSpPr>
        <p:spPr>
          <a:xfrm>
            <a:off x="1512887" y="3188708"/>
            <a:ext cx="340554" cy="0"/>
          </a:xfrm>
          <a:prstGeom prst="straightConnector1">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921364" y="3393553"/>
            <a:ext cx="292613" cy="384017"/>
            <a:chOff x="1521736" y="4980145"/>
            <a:chExt cx="292613" cy="384017"/>
          </a:xfrm>
        </p:grpSpPr>
        <p:sp>
          <p:nvSpPr>
            <p:cNvPr id="179" name="Freeform 178"/>
            <p:cNvSpPr>
              <a:spLocks noEditPoints="1"/>
            </p:cNvSpPr>
            <p:nvPr/>
          </p:nvSpPr>
          <p:spPr bwMode="auto">
            <a:xfrm>
              <a:off x="1646237" y="5139766"/>
              <a:ext cx="168112" cy="224396"/>
            </a:xfrm>
            <a:custGeom>
              <a:avLst/>
              <a:gdLst>
                <a:gd name="T0" fmla="*/ 48 w 96"/>
                <a:gd name="T1" fmla="*/ 0 h 128"/>
                <a:gd name="T2" fmla="*/ 12 w 96"/>
                <a:gd name="T3" fmla="*/ 36 h 128"/>
                <a:gd name="T4" fmla="*/ 12 w 96"/>
                <a:gd name="T5" fmla="*/ 56 h 128"/>
                <a:gd name="T6" fmla="*/ 0 w 96"/>
                <a:gd name="T7" fmla="*/ 56 h 128"/>
                <a:gd name="T8" fmla="*/ 0 w 96"/>
                <a:gd name="T9" fmla="*/ 128 h 128"/>
                <a:gd name="T10" fmla="*/ 96 w 96"/>
                <a:gd name="T11" fmla="*/ 128 h 128"/>
                <a:gd name="T12" fmla="*/ 96 w 96"/>
                <a:gd name="T13" fmla="*/ 56 h 128"/>
                <a:gd name="T14" fmla="*/ 84 w 96"/>
                <a:gd name="T15" fmla="*/ 56 h 128"/>
                <a:gd name="T16" fmla="*/ 84 w 96"/>
                <a:gd name="T17" fmla="*/ 36 h 128"/>
                <a:gd name="T18" fmla="*/ 48 w 96"/>
                <a:gd name="T19" fmla="*/ 0 h 128"/>
                <a:gd name="T20" fmla="*/ 20 w 96"/>
                <a:gd name="T21" fmla="*/ 36 h 128"/>
                <a:gd name="T22" fmla="*/ 48 w 96"/>
                <a:gd name="T23" fmla="*/ 8 h 128"/>
                <a:gd name="T24" fmla="*/ 76 w 96"/>
                <a:gd name="T25" fmla="*/ 36 h 128"/>
                <a:gd name="T26" fmla="*/ 76 w 96"/>
                <a:gd name="T27" fmla="*/ 56 h 128"/>
                <a:gd name="T28" fmla="*/ 20 w 96"/>
                <a:gd name="T29" fmla="*/ 56 h 128"/>
                <a:gd name="T30" fmla="*/ 20 w 96"/>
                <a:gd name="T31" fmla="*/ 36 h 128"/>
                <a:gd name="T32" fmla="*/ 88 w 96"/>
                <a:gd name="T33" fmla="*/ 64 h 128"/>
                <a:gd name="T34" fmla="*/ 88 w 96"/>
                <a:gd name="T35" fmla="*/ 120 h 128"/>
                <a:gd name="T36" fmla="*/ 8 w 96"/>
                <a:gd name="T37" fmla="*/ 120 h 128"/>
                <a:gd name="T38" fmla="*/ 8 w 96"/>
                <a:gd name="T39" fmla="*/ 64 h 128"/>
                <a:gd name="T40" fmla="*/ 88 w 96"/>
                <a:gd name="T41"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28">
                  <a:moveTo>
                    <a:pt x="48" y="0"/>
                  </a:moveTo>
                  <a:cubicBezTo>
                    <a:pt x="28" y="0"/>
                    <a:pt x="12" y="16"/>
                    <a:pt x="12" y="36"/>
                  </a:cubicBezTo>
                  <a:cubicBezTo>
                    <a:pt x="12" y="56"/>
                    <a:pt x="12" y="56"/>
                    <a:pt x="12" y="56"/>
                  </a:cubicBezTo>
                  <a:cubicBezTo>
                    <a:pt x="0" y="56"/>
                    <a:pt x="0" y="56"/>
                    <a:pt x="0" y="56"/>
                  </a:cubicBezTo>
                  <a:cubicBezTo>
                    <a:pt x="0" y="128"/>
                    <a:pt x="0" y="128"/>
                    <a:pt x="0" y="128"/>
                  </a:cubicBezTo>
                  <a:cubicBezTo>
                    <a:pt x="96" y="128"/>
                    <a:pt x="96" y="128"/>
                    <a:pt x="96" y="128"/>
                  </a:cubicBezTo>
                  <a:cubicBezTo>
                    <a:pt x="96" y="56"/>
                    <a:pt x="96" y="56"/>
                    <a:pt x="96" y="56"/>
                  </a:cubicBezTo>
                  <a:cubicBezTo>
                    <a:pt x="84" y="56"/>
                    <a:pt x="84" y="56"/>
                    <a:pt x="84" y="56"/>
                  </a:cubicBezTo>
                  <a:cubicBezTo>
                    <a:pt x="84" y="36"/>
                    <a:pt x="84" y="36"/>
                    <a:pt x="84" y="36"/>
                  </a:cubicBezTo>
                  <a:cubicBezTo>
                    <a:pt x="84" y="16"/>
                    <a:pt x="68" y="0"/>
                    <a:pt x="48" y="0"/>
                  </a:cubicBezTo>
                  <a:close/>
                  <a:moveTo>
                    <a:pt x="20" y="36"/>
                  </a:moveTo>
                  <a:cubicBezTo>
                    <a:pt x="20" y="20"/>
                    <a:pt x="32" y="8"/>
                    <a:pt x="48" y="8"/>
                  </a:cubicBezTo>
                  <a:cubicBezTo>
                    <a:pt x="63" y="8"/>
                    <a:pt x="76" y="20"/>
                    <a:pt x="76" y="36"/>
                  </a:cubicBezTo>
                  <a:cubicBezTo>
                    <a:pt x="76" y="56"/>
                    <a:pt x="76" y="56"/>
                    <a:pt x="76" y="56"/>
                  </a:cubicBezTo>
                  <a:cubicBezTo>
                    <a:pt x="20" y="56"/>
                    <a:pt x="20" y="56"/>
                    <a:pt x="20" y="56"/>
                  </a:cubicBezTo>
                  <a:lnTo>
                    <a:pt x="20" y="36"/>
                  </a:lnTo>
                  <a:close/>
                  <a:moveTo>
                    <a:pt x="88" y="64"/>
                  </a:moveTo>
                  <a:cubicBezTo>
                    <a:pt x="88" y="120"/>
                    <a:pt x="88" y="120"/>
                    <a:pt x="88" y="120"/>
                  </a:cubicBezTo>
                  <a:cubicBezTo>
                    <a:pt x="8" y="120"/>
                    <a:pt x="8" y="120"/>
                    <a:pt x="8" y="120"/>
                  </a:cubicBezTo>
                  <a:cubicBezTo>
                    <a:pt x="8" y="64"/>
                    <a:pt x="8" y="64"/>
                    <a:pt x="8" y="64"/>
                  </a:cubicBezTo>
                  <a:lnTo>
                    <a:pt x="88" y="6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81" name="Freeform 80"/>
            <p:cNvSpPr>
              <a:spLocks noChangeAspect="1" noEditPoints="1"/>
            </p:cNvSpPr>
            <p:nvPr/>
          </p:nvSpPr>
          <p:spPr bwMode="auto">
            <a:xfrm>
              <a:off x="1521736" y="4980145"/>
              <a:ext cx="247414" cy="242485"/>
            </a:xfrm>
            <a:custGeom>
              <a:avLst/>
              <a:gdLst>
                <a:gd name="T0" fmla="*/ 37 w 106"/>
                <a:gd name="T1" fmla="*/ 104 h 104"/>
                <a:gd name="T2" fmla="*/ 25 w 106"/>
                <a:gd name="T3" fmla="*/ 87 h 104"/>
                <a:gd name="T4" fmla="*/ 0 w 106"/>
                <a:gd name="T5" fmla="*/ 65 h 104"/>
                <a:gd name="T6" fmla="*/ 9 w 106"/>
                <a:gd name="T7" fmla="*/ 52 h 104"/>
                <a:gd name="T8" fmla="*/ 0 w 106"/>
                <a:gd name="T9" fmla="*/ 40 h 104"/>
                <a:gd name="T10" fmla="*/ 25 w 106"/>
                <a:gd name="T11" fmla="*/ 18 h 104"/>
                <a:gd name="T12" fmla="*/ 37 w 106"/>
                <a:gd name="T13" fmla="*/ 0 h 104"/>
                <a:gd name="T14" fmla="*/ 69 w 106"/>
                <a:gd name="T15" fmla="*/ 11 h 104"/>
                <a:gd name="T16" fmla="*/ 90 w 106"/>
                <a:gd name="T17" fmla="*/ 13 h 104"/>
                <a:gd name="T18" fmla="*/ 96 w 106"/>
                <a:gd name="T19" fmla="*/ 46 h 104"/>
                <a:gd name="T20" fmla="*/ 96 w 106"/>
                <a:gd name="T21" fmla="*/ 59 h 104"/>
                <a:gd name="T22" fmla="*/ 90 w 106"/>
                <a:gd name="T23" fmla="*/ 92 h 104"/>
                <a:gd name="T24" fmla="*/ 69 w 106"/>
                <a:gd name="T25" fmla="*/ 93 h 104"/>
                <a:gd name="T26" fmla="*/ 45 w 106"/>
                <a:gd name="T27" fmla="*/ 96 h 104"/>
                <a:gd name="T28" fmla="*/ 61 w 106"/>
                <a:gd name="T29" fmla="*/ 88 h 104"/>
                <a:gd name="T30" fmla="*/ 77 w 106"/>
                <a:gd name="T31" fmla="*/ 79 h 104"/>
                <a:gd name="T32" fmla="*/ 87 w 106"/>
                <a:gd name="T33" fmla="*/ 81 h 104"/>
                <a:gd name="T34" fmla="*/ 87 w 106"/>
                <a:gd name="T35" fmla="*/ 63 h 104"/>
                <a:gd name="T36" fmla="*/ 89 w 106"/>
                <a:gd name="T37" fmla="*/ 52 h 104"/>
                <a:gd name="T38" fmla="*/ 87 w 106"/>
                <a:gd name="T39" fmla="*/ 42 h 104"/>
                <a:gd name="T40" fmla="*/ 87 w 106"/>
                <a:gd name="T41" fmla="*/ 24 h 104"/>
                <a:gd name="T42" fmla="*/ 77 w 106"/>
                <a:gd name="T43" fmla="*/ 26 h 104"/>
                <a:gd name="T44" fmla="*/ 61 w 106"/>
                <a:gd name="T45" fmla="*/ 17 h 104"/>
                <a:gd name="T46" fmla="*/ 45 w 106"/>
                <a:gd name="T47" fmla="*/ 8 h 104"/>
                <a:gd name="T48" fmla="*/ 42 w 106"/>
                <a:gd name="T49" fmla="*/ 18 h 104"/>
                <a:gd name="T50" fmla="*/ 26 w 106"/>
                <a:gd name="T51" fmla="*/ 28 h 104"/>
                <a:gd name="T52" fmla="*/ 11 w 106"/>
                <a:gd name="T53" fmla="*/ 37 h 104"/>
                <a:gd name="T54" fmla="*/ 18 w 106"/>
                <a:gd name="T55" fmla="*/ 45 h 104"/>
                <a:gd name="T56" fmla="*/ 18 w 106"/>
                <a:gd name="T57" fmla="*/ 60 h 104"/>
                <a:gd name="T58" fmla="*/ 11 w 106"/>
                <a:gd name="T59" fmla="*/ 68 h 104"/>
                <a:gd name="T60" fmla="*/ 26 w 106"/>
                <a:gd name="T61" fmla="*/ 77 h 104"/>
                <a:gd name="T62" fmla="*/ 42 w 106"/>
                <a:gd name="T63" fmla="*/ 87 h 104"/>
                <a:gd name="T64" fmla="*/ 45 w 106"/>
                <a:gd name="T65" fmla="*/ 96 h 104"/>
                <a:gd name="T66" fmla="*/ 25 w 106"/>
                <a:gd name="T67" fmla="*/ 52 h 104"/>
                <a:gd name="T68" fmla="*/ 81 w 106"/>
                <a:gd name="T69" fmla="*/ 52 h 104"/>
                <a:gd name="T70" fmla="*/ 53 w 106"/>
                <a:gd name="T71" fmla="*/ 32 h 104"/>
                <a:gd name="T72" fmla="*/ 53 w 106"/>
                <a:gd name="T73" fmla="*/ 72 h 104"/>
                <a:gd name="T74" fmla="*/ 53 w 106"/>
                <a:gd name="T75"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4">
                  <a:moveTo>
                    <a:pt x="69" y="104"/>
                  </a:moveTo>
                  <a:cubicBezTo>
                    <a:pt x="37" y="104"/>
                    <a:pt x="37" y="104"/>
                    <a:pt x="37" y="104"/>
                  </a:cubicBezTo>
                  <a:cubicBezTo>
                    <a:pt x="37" y="93"/>
                    <a:pt x="37" y="93"/>
                    <a:pt x="37" y="93"/>
                  </a:cubicBezTo>
                  <a:cubicBezTo>
                    <a:pt x="33" y="92"/>
                    <a:pt x="29" y="90"/>
                    <a:pt x="25" y="87"/>
                  </a:cubicBezTo>
                  <a:cubicBezTo>
                    <a:pt x="16" y="92"/>
                    <a:pt x="16" y="92"/>
                    <a:pt x="16" y="92"/>
                  </a:cubicBezTo>
                  <a:cubicBezTo>
                    <a:pt x="0" y="65"/>
                    <a:pt x="0" y="65"/>
                    <a:pt x="0" y="65"/>
                  </a:cubicBezTo>
                  <a:cubicBezTo>
                    <a:pt x="9" y="59"/>
                    <a:pt x="9" y="59"/>
                    <a:pt x="9" y="59"/>
                  </a:cubicBezTo>
                  <a:cubicBezTo>
                    <a:pt x="9" y="57"/>
                    <a:pt x="9" y="55"/>
                    <a:pt x="9" y="52"/>
                  </a:cubicBezTo>
                  <a:cubicBezTo>
                    <a:pt x="9" y="50"/>
                    <a:pt x="9" y="48"/>
                    <a:pt x="9" y="46"/>
                  </a:cubicBezTo>
                  <a:cubicBezTo>
                    <a:pt x="0" y="40"/>
                    <a:pt x="0" y="40"/>
                    <a:pt x="0" y="40"/>
                  </a:cubicBezTo>
                  <a:cubicBezTo>
                    <a:pt x="16" y="13"/>
                    <a:pt x="16" y="13"/>
                    <a:pt x="16" y="13"/>
                  </a:cubicBezTo>
                  <a:cubicBezTo>
                    <a:pt x="25" y="18"/>
                    <a:pt x="25" y="18"/>
                    <a:pt x="25"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3"/>
                    <a:pt x="90" y="13"/>
                    <a:pt x="90" y="13"/>
                  </a:cubicBezTo>
                  <a:cubicBezTo>
                    <a:pt x="106" y="40"/>
                    <a:pt x="106" y="40"/>
                    <a:pt x="106" y="40"/>
                  </a:cubicBezTo>
                  <a:cubicBezTo>
                    <a:pt x="96" y="46"/>
                    <a:pt x="96" y="46"/>
                    <a:pt x="96" y="46"/>
                  </a:cubicBezTo>
                  <a:cubicBezTo>
                    <a:pt x="97" y="48"/>
                    <a:pt x="97" y="50"/>
                    <a:pt x="97" y="52"/>
                  </a:cubicBezTo>
                  <a:cubicBezTo>
                    <a:pt x="97" y="55"/>
                    <a:pt x="97" y="57"/>
                    <a:pt x="96" y="59"/>
                  </a:cubicBezTo>
                  <a:cubicBezTo>
                    <a:pt x="106" y="65"/>
                    <a:pt x="106" y="65"/>
                    <a:pt x="106" y="65"/>
                  </a:cubicBezTo>
                  <a:cubicBezTo>
                    <a:pt x="90" y="92"/>
                    <a:pt x="90" y="92"/>
                    <a:pt x="90" y="92"/>
                  </a:cubicBezTo>
                  <a:cubicBezTo>
                    <a:pt x="80" y="87"/>
                    <a:pt x="80" y="87"/>
                    <a:pt x="80" y="87"/>
                  </a:cubicBezTo>
                  <a:cubicBezTo>
                    <a:pt x="77" y="90"/>
                    <a:pt x="73" y="92"/>
                    <a:pt x="69" y="93"/>
                  </a:cubicBezTo>
                  <a:lnTo>
                    <a:pt x="69" y="104"/>
                  </a:lnTo>
                  <a:close/>
                  <a:moveTo>
                    <a:pt x="45" y="96"/>
                  </a:moveTo>
                  <a:cubicBezTo>
                    <a:pt x="61" y="96"/>
                    <a:pt x="61" y="96"/>
                    <a:pt x="61" y="96"/>
                  </a:cubicBezTo>
                  <a:cubicBezTo>
                    <a:pt x="61" y="88"/>
                    <a:pt x="61" y="88"/>
                    <a:pt x="61" y="88"/>
                  </a:cubicBezTo>
                  <a:cubicBezTo>
                    <a:pt x="64" y="87"/>
                    <a:pt x="64" y="87"/>
                    <a:pt x="64" y="87"/>
                  </a:cubicBezTo>
                  <a:cubicBezTo>
                    <a:pt x="69" y="85"/>
                    <a:pt x="73" y="83"/>
                    <a:pt x="77" y="79"/>
                  </a:cubicBezTo>
                  <a:cubicBezTo>
                    <a:pt x="79" y="77"/>
                    <a:pt x="79" y="77"/>
                    <a:pt x="79" y="77"/>
                  </a:cubicBezTo>
                  <a:cubicBezTo>
                    <a:pt x="87" y="81"/>
                    <a:pt x="87" y="81"/>
                    <a:pt x="87" y="81"/>
                  </a:cubicBezTo>
                  <a:cubicBezTo>
                    <a:pt x="95" y="68"/>
                    <a:pt x="95" y="68"/>
                    <a:pt x="95" y="68"/>
                  </a:cubicBezTo>
                  <a:cubicBezTo>
                    <a:pt x="87" y="63"/>
                    <a:pt x="87" y="63"/>
                    <a:pt x="87" y="63"/>
                  </a:cubicBezTo>
                  <a:cubicBezTo>
                    <a:pt x="88" y="60"/>
                    <a:pt x="88" y="60"/>
                    <a:pt x="88" y="60"/>
                  </a:cubicBezTo>
                  <a:cubicBezTo>
                    <a:pt x="88" y="58"/>
                    <a:pt x="89" y="55"/>
                    <a:pt x="89" y="52"/>
                  </a:cubicBezTo>
                  <a:cubicBezTo>
                    <a:pt x="89" y="50"/>
                    <a:pt x="88" y="47"/>
                    <a:pt x="88" y="45"/>
                  </a:cubicBezTo>
                  <a:cubicBezTo>
                    <a:pt x="87" y="42"/>
                    <a:pt x="87" y="42"/>
                    <a:pt x="87" y="42"/>
                  </a:cubicBezTo>
                  <a:cubicBezTo>
                    <a:pt x="95" y="37"/>
                    <a:pt x="95" y="37"/>
                    <a:pt x="95" y="37"/>
                  </a:cubicBezTo>
                  <a:cubicBezTo>
                    <a:pt x="87" y="24"/>
                    <a:pt x="87" y="24"/>
                    <a:pt x="87" y="24"/>
                  </a:cubicBezTo>
                  <a:cubicBezTo>
                    <a:pt x="79" y="28"/>
                    <a:pt x="79" y="28"/>
                    <a:pt x="79" y="28"/>
                  </a:cubicBezTo>
                  <a:cubicBezTo>
                    <a:pt x="77" y="26"/>
                    <a:pt x="77" y="26"/>
                    <a:pt x="77" y="26"/>
                  </a:cubicBezTo>
                  <a:cubicBezTo>
                    <a:pt x="73" y="22"/>
                    <a:pt x="69" y="20"/>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20"/>
                    <a:pt x="32" y="22"/>
                    <a:pt x="28" y="26"/>
                  </a:cubicBezTo>
                  <a:cubicBezTo>
                    <a:pt x="26" y="28"/>
                    <a:pt x="26" y="28"/>
                    <a:pt x="26" y="28"/>
                  </a:cubicBezTo>
                  <a:cubicBezTo>
                    <a:pt x="19" y="24"/>
                    <a:pt x="19" y="24"/>
                    <a:pt x="19" y="24"/>
                  </a:cubicBezTo>
                  <a:cubicBezTo>
                    <a:pt x="11" y="37"/>
                    <a:pt x="11" y="37"/>
                    <a:pt x="11" y="37"/>
                  </a:cubicBezTo>
                  <a:cubicBezTo>
                    <a:pt x="18" y="42"/>
                    <a:pt x="18" y="42"/>
                    <a:pt x="18" y="42"/>
                  </a:cubicBezTo>
                  <a:cubicBezTo>
                    <a:pt x="18" y="45"/>
                    <a:pt x="18" y="45"/>
                    <a:pt x="18" y="45"/>
                  </a:cubicBezTo>
                  <a:cubicBezTo>
                    <a:pt x="17" y="47"/>
                    <a:pt x="17" y="50"/>
                    <a:pt x="17" y="52"/>
                  </a:cubicBezTo>
                  <a:cubicBezTo>
                    <a:pt x="17" y="55"/>
                    <a:pt x="17" y="58"/>
                    <a:pt x="18" y="60"/>
                  </a:cubicBezTo>
                  <a:cubicBezTo>
                    <a:pt x="18" y="63"/>
                    <a:pt x="18" y="63"/>
                    <a:pt x="18" y="63"/>
                  </a:cubicBezTo>
                  <a:cubicBezTo>
                    <a:pt x="11" y="68"/>
                    <a:pt x="11" y="68"/>
                    <a:pt x="11" y="68"/>
                  </a:cubicBezTo>
                  <a:cubicBezTo>
                    <a:pt x="19" y="81"/>
                    <a:pt x="19" y="81"/>
                    <a:pt x="19" y="81"/>
                  </a:cubicBezTo>
                  <a:cubicBezTo>
                    <a:pt x="26" y="77"/>
                    <a:pt x="26" y="77"/>
                    <a:pt x="26" y="77"/>
                  </a:cubicBezTo>
                  <a:cubicBezTo>
                    <a:pt x="28" y="79"/>
                    <a:pt x="28" y="79"/>
                    <a:pt x="28" y="79"/>
                  </a:cubicBezTo>
                  <a:cubicBezTo>
                    <a:pt x="32" y="83"/>
                    <a:pt x="37" y="85"/>
                    <a:pt x="42" y="87"/>
                  </a:cubicBezTo>
                  <a:cubicBezTo>
                    <a:pt x="45" y="88"/>
                    <a:pt x="45" y="88"/>
                    <a:pt x="45" y="88"/>
                  </a:cubicBezTo>
                  <a:lnTo>
                    <a:pt x="45" y="96"/>
                  </a:lnTo>
                  <a:close/>
                  <a:moveTo>
                    <a:pt x="53" y="80"/>
                  </a:moveTo>
                  <a:cubicBezTo>
                    <a:pt x="37" y="80"/>
                    <a:pt x="25" y="68"/>
                    <a:pt x="25" y="52"/>
                  </a:cubicBezTo>
                  <a:cubicBezTo>
                    <a:pt x="25" y="37"/>
                    <a:pt x="37" y="24"/>
                    <a:pt x="53" y="24"/>
                  </a:cubicBezTo>
                  <a:cubicBezTo>
                    <a:pt x="68" y="24"/>
                    <a:pt x="81" y="37"/>
                    <a:pt x="81" y="52"/>
                  </a:cubicBezTo>
                  <a:cubicBezTo>
                    <a:pt x="81" y="68"/>
                    <a:pt x="68" y="80"/>
                    <a:pt x="53" y="80"/>
                  </a:cubicBezTo>
                  <a:close/>
                  <a:moveTo>
                    <a:pt x="53" y="32"/>
                  </a:moveTo>
                  <a:cubicBezTo>
                    <a:pt x="42" y="32"/>
                    <a:pt x="33" y="41"/>
                    <a:pt x="33" y="52"/>
                  </a:cubicBezTo>
                  <a:cubicBezTo>
                    <a:pt x="33" y="64"/>
                    <a:pt x="42" y="72"/>
                    <a:pt x="53" y="72"/>
                  </a:cubicBezTo>
                  <a:cubicBezTo>
                    <a:pt x="64" y="72"/>
                    <a:pt x="73" y="64"/>
                    <a:pt x="73" y="52"/>
                  </a:cubicBezTo>
                  <a:cubicBezTo>
                    <a:pt x="73" y="41"/>
                    <a:pt x="64" y="32"/>
                    <a:pt x="53" y="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grpSp>
      <p:sp>
        <p:nvSpPr>
          <p:cNvPr id="82" name="TextBox 81"/>
          <p:cNvSpPr txBox="1"/>
          <p:nvPr/>
        </p:nvSpPr>
        <p:spPr>
          <a:xfrm>
            <a:off x="503237" y="3661041"/>
            <a:ext cx="1231864"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service acct</a:t>
            </a:r>
          </a:p>
        </p:txBody>
      </p:sp>
      <p:grpSp>
        <p:nvGrpSpPr>
          <p:cNvPr id="79" name="Group 78"/>
          <p:cNvGrpSpPr/>
          <p:nvPr/>
        </p:nvGrpSpPr>
        <p:grpSpPr bwMode="black">
          <a:xfrm>
            <a:off x="1934117" y="2988177"/>
            <a:ext cx="589950" cy="455404"/>
            <a:chOff x="7010400" y="2133600"/>
            <a:chExt cx="1379538" cy="1065213"/>
          </a:xfrm>
          <a:solidFill>
            <a:srgbClr val="505050"/>
          </a:solidFill>
        </p:grpSpPr>
        <p:sp>
          <p:nvSpPr>
            <p:cNvPr id="83" name="Freeform 82"/>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4" name="Freeform 83"/>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5" name="Freeform 84"/>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6" name="Freeform 85"/>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7" name="Freeform 86"/>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8" name="Freeform 87"/>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9" name="Freeform 88"/>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0" name="Freeform 89"/>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1" name="Freeform 90"/>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2" name="Freeform 91"/>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3" name="Freeform 92"/>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4" name="Freeform 93"/>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5" name="Freeform 94"/>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6" name="Freeform 95"/>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7" name="Freeform 96"/>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8" name="Freeform 97"/>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9" name="Freeform 98"/>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0" name="Freeform 99"/>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100"/>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2" name="Freeform 101"/>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3" name="Freeform 102"/>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4" name="Freeform 103"/>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5" name="Freeform 104"/>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6" name="Freeform 105"/>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7" name="Freeform 106"/>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8" name="Freeform 107"/>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9" name="Freeform 108"/>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0" name="Freeform 109"/>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1" name="Freeform 110"/>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2" name="Freeform 111"/>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3" name="Freeform 112"/>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4" name="Freeform 113"/>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5" name="Freeform 114"/>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6" name="Freeform 115"/>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7" name="Freeform 116"/>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9" name="Freeform 118"/>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spTree>
    <p:extLst>
      <p:ext uri="{BB962C8B-B14F-4D97-AF65-F5344CB8AC3E}">
        <p14:creationId xmlns:p14="http://schemas.microsoft.com/office/powerpoint/2010/main" val="229505193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Deployment scenarios</a:t>
            </a:r>
          </a:p>
        </p:txBody>
      </p:sp>
      <p:sp>
        <p:nvSpPr>
          <p:cNvPr id="5" name="TextBox 4"/>
          <p:cNvSpPr txBox="1"/>
          <p:nvPr/>
        </p:nvSpPr>
        <p:spPr>
          <a:xfrm>
            <a:off x="63499" y="1019174"/>
            <a:ext cx="10441962"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4. VDI – Lift-and-shift (Remote Desktop in Azure VMs)</a:t>
            </a:r>
            <a:endPar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8" name="Rectangle 7"/>
          <p:cNvSpPr/>
          <p:nvPr/>
        </p:nvSpPr>
        <p:spPr bwMode="auto">
          <a:xfrm>
            <a:off x="579437" y="227806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9" name="Group 8"/>
          <p:cNvGrpSpPr/>
          <p:nvPr/>
        </p:nvGrpSpPr>
        <p:grpSpPr>
          <a:xfrm>
            <a:off x="3698985" y="3497262"/>
            <a:ext cx="458002" cy="468411"/>
            <a:chOff x="8047037" y="3712007"/>
            <a:chExt cx="609600" cy="623455"/>
          </a:xfrm>
        </p:grpSpPr>
        <p:sp>
          <p:nvSpPr>
            <p:cNvPr id="174" name="Hexagon 173"/>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75" name="Rectangle 174"/>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grpSp>
        <p:nvGrpSpPr>
          <p:cNvPr id="12" name="Group 11"/>
          <p:cNvGrpSpPr/>
          <p:nvPr/>
        </p:nvGrpSpPr>
        <p:grpSpPr bwMode="black">
          <a:xfrm>
            <a:off x="760468" y="2928452"/>
            <a:ext cx="589950" cy="455404"/>
            <a:chOff x="7010400" y="2133600"/>
            <a:chExt cx="1379538" cy="1065213"/>
          </a:xfrm>
          <a:solidFill>
            <a:srgbClr val="505050"/>
          </a:solidFill>
        </p:grpSpPr>
        <p:sp>
          <p:nvSpPr>
            <p:cNvPr id="31" name="Freeform 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6" name="Freeform 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7" name="Freeform 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2514" y="2432735"/>
            <a:ext cx="889046" cy="588277"/>
          </a:xfrm>
          <a:prstGeom prst="rect">
            <a:avLst/>
          </a:prstGeom>
        </p:spPr>
      </p:pic>
      <p:sp>
        <p:nvSpPr>
          <p:cNvPr id="21" name="TextBox 20"/>
          <p:cNvSpPr txBox="1"/>
          <p:nvPr/>
        </p:nvSpPr>
        <p:spPr>
          <a:xfrm>
            <a:off x="2876830" y="3802062"/>
            <a:ext cx="1518065"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irtual network</a:t>
            </a:r>
          </a:p>
        </p:txBody>
      </p:sp>
      <p:sp>
        <p:nvSpPr>
          <p:cNvPr id="177" name="TextBox 176"/>
          <p:cNvSpPr txBox="1"/>
          <p:nvPr/>
        </p:nvSpPr>
        <p:spPr>
          <a:xfrm>
            <a:off x="4853266" y="2139372"/>
            <a:ext cx="7308571" cy="3958007"/>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eploy domain joined Remote Desktop VMs for VDI in the cloud.</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Use group policy to manage/secure Remote Desktop VM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Known issue: Remote Desktop Licensing server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AD-DS does not support the ability to add computer accounts to the TS licensing group.</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Workaround : track licensing outside of AAD-D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82" name="TextBox 81"/>
          <p:cNvSpPr txBox="1"/>
          <p:nvPr/>
        </p:nvSpPr>
        <p:spPr>
          <a:xfrm>
            <a:off x="512762" y="3388897"/>
            <a:ext cx="2304694" cy="6832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Remote desktop server VMs</a:t>
            </a:r>
          </a:p>
        </p:txBody>
      </p:sp>
      <p:grpSp>
        <p:nvGrpSpPr>
          <p:cNvPr id="79" name="Group 78"/>
          <p:cNvGrpSpPr/>
          <p:nvPr/>
        </p:nvGrpSpPr>
        <p:grpSpPr bwMode="black">
          <a:xfrm>
            <a:off x="1523876" y="2899733"/>
            <a:ext cx="589950" cy="455404"/>
            <a:chOff x="7010400" y="2133600"/>
            <a:chExt cx="1379538" cy="1065213"/>
          </a:xfrm>
          <a:solidFill>
            <a:srgbClr val="505050"/>
          </a:solidFill>
        </p:grpSpPr>
        <p:sp>
          <p:nvSpPr>
            <p:cNvPr id="83" name="Freeform 82"/>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4" name="Freeform 83"/>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5" name="Freeform 84"/>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6" name="Freeform 85"/>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7" name="Freeform 86"/>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8" name="Freeform 87"/>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9" name="Freeform 88"/>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0" name="Freeform 89"/>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1" name="Freeform 90"/>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2" name="Freeform 91"/>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3" name="Freeform 92"/>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4" name="Freeform 93"/>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5" name="Freeform 94"/>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6" name="Freeform 95"/>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7" name="Freeform 96"/>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8" name="Freeform 97"/>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9" name="Freeform 98"/>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0" name="Freeform 99"/>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100"/>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2" name="Freeform 101"/>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3" name="Freeform 102"/>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4" name="Freeform 103"/>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5" name="Freeform 104"/>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6" name="Freeform 105"/>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7" name="Freeform 106"/>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8" name="Freeform 107"/>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9" name="Freeform 108"/>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0" name="Freeform 109"/>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1" name="Freeform 110"/>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2" name="Freeform 111"/>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3" name="Freeform 112"/>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4" name="Freeform 113"/>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5" name="Freeform 114"/>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6" name="Freeform 115"/>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7" name="Freeform 116"/>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9" name="Freeform 118"/>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130" name="Group 129"/>
          <p:cNvGrpSpPr/>
          <p:nvPr/>
        </p:nvGrpSpPr>
        <p:grpSpPr bwMode="black">
          <a:xfrm>
            <a:off x="2628225" y="2910545"/>
            <a:ext cx="589950" cy="455404"/>
            <a:chOff x="7010400" y="2133600"/>
            <a:chExt cx="1379538" cy="1065213"/>
          </a:xfrm>
          <a:solidFill>
            <a:srgbClr val="505050"/>
          </a:solidFill>
        </p:grpSpPr>
        <p:sp>
          <p:nvSpPr>
            <p:cNvPr id="131" name="Freeform 1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3" name="Freeform 1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4" name="Freeform 1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5" name="Freeform 1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6" name="Freeform 1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7" name="Freeform 1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8" name="Freeform 1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0" name="Freeform 1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1" name="Freeform 1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2" name="Freeform 1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3" name="Freeform 1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4" name="Freeform 1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5" name="Freeform 1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5" name="Freeform 1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6" name="Freeform 1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7" name="Freeform 1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8" name="Freeform 1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9" name="Freeform 1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0" name="Freeform 1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1" name="Freeform 1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2" name="Freeform 1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3" name="Freeform 1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4" name="Freeform 1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5" name="Freeform 1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6" name="Freeform 1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7" name="Freeform 1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8" name="Freeform 1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9" name="Freeform 1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0" name="Freeform 1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1" name="Freeform 1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2" name="Freeform 1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3" name="Freeform 1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6" name="Freeform 175"/>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8" name="Freeform 177"/>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80" name="Freeform 179"/>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81" name="Freeform 180"/>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82" name="TextBox 181"/>
          <p:cNvSpPr txBox="1"/>
          <p:nvPr/>
        </p:nvSpPr>
        <p:spPr>
          <a:xfrm>
            <a:off x="2104140" y="2865725"/>
            <a:ext cx="552117" cy="4893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a:t>
            </a:r>
          </a:p>
        </p:txBody>
      </p:sp>
      <p:sp>
        <p:nvSpPr>
          <p:cNvPr id="2" name="Rectangle 1"/>
          <p:cNvSpPr/>
          <p:nvPr/>
        </p:nvSpPr>
        <p:spPr bwMode="auto">
          <a:xfrm>
            <a:off x="655637" y="2820400"/>
            <a:ext cx="2819400" cy="641560"/>
          </a:xfrm>
          <a:prstGeom prst="rect">
            <a:avLst/>
          </a:prstGeom>
          <a:noFill/>
          <a:ln>
            <a:solidFill>
              <a:schemeClr val="tx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cxnSp>
        <p:nvCxnSpPr>
          <p:cNvPr id="183" name="Elbow Connector 182"/>
          <p:cNvCxnSpPr/>
          <p:nvPr/>
        </p:nvCxnSpPr>
        <p:spPr>
          <a:xfrm flipV="1">
            <a:off x="1416003" y="2594228"/>
            <a:ext cx="2662054" cy="152341"/>
          </a:xfrm>
          <a:prstGeom prst="bentConnector3">
            <a:avLst>
              <a:gd name="adj1" fmla="val -93"/>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1490135" y="2246064"/>
            <a:ext cx="2304694" cy="4893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 join</a:t>
            </a:r>
          </a:p>
        </p:txBody>
      </p:sp>
    </p:spTree>
    <p:extLst>
      <p:ext uri="{BB962C8B-B14F-4D97-AF65-F5344CB8AC3E}">
        <p14:creationId xmlns:p14="http://schemas.microsoft.com/office/powerpoint/2010/main" val="2814043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r>
              <a:rPr lang="en-US" dirty="0"/>
              <a:t>Deployment scenarios</a:t>
            </a:r>
          </a:p>
        </p:txBody>
      </p:sp>
      <p:sp>
        <p:nvSpPr>
          <p:cNvPr id="5" name="TextBox 4"/>
          <p:cNvSpPr txBox="1"/>
          <p:nvPr/>
        </p:nvSpPr>
        <p:spPr>
          <a:xfrm>
            <a:off x="63499" y="1019174"/>
            <a:ext cx="10441962"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5. HD Insights Secure Hadoop</a:t>
            </a:r>
            <a:endParaRPr kumimoji="0" lang="en-US" sz="2400" b="1"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8" name="Rectangle 7"/>
          <p:cNvSpPr/>
          <p:nvPr/>
        </p:nvSpPr>
        <p:spPr bwMode="auto">
          <a:xfrm>
            <a:off x="579437" y="227806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9" name="Group 8"/>
          <p:cNvGrpSpPr/>
          <p:nvPr/>
        </p:nvGrpSpPr>
        <p:grpSpPr>
          <a:xfrm>
            <a:off x="3698985" y="3497262"/>
            <a:ext cx="458002" cy="468411"/>
            <a:chOff x="8047037" y="3712007"/>
            <a:chExt cx="609600" cy="623455"/>
          </a:xfrm>
        </p:grpSpPr>
        <p:sp>
          <p:nvSpPr>
            <p:cNvPr id="174" name="Hexagon 173"/>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75" name="Rectangle 174"/>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2514" y="2432735"/>
            <a:ext cx="889046" cy="588277"/>
          </a:xfrm>
          <a:prstGeom prst="rect">
            <a:avLst/>
          </a:prstGeom>
        </p:spPr>
      </p:pic>
      <p:sp>
        <p:nvSpPr>
          <p:cNvPr id="21" name="TextBox 20"/>
          <p:cNvSpPr txBox="1"/>
          <p:nvPr/>
        </p:nvSpPr>
        <p:spPr>
          <a:xfrm>
            <a:off x="2332038" y="3802062"/>
            <a:ext cx="2062858"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Classic Virtual network</a:t>
            </a:r>
          </a:p>
        </p:txBody>
      </p:sp>
      <p:sp>
        <p:nvSpPr>
          <p:cNvPr id="177" name="TextBox 176"/>
          <p:cNvSpPr txBox="1"/>
          <p:nvPr/>
        </p:nvSpPr>
        <p:spPr>
          <a:xfrm>
            <a:off x="4853266" y="2139372"/>
            <a:ext cx="7308571" cy="1911292"/>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HD Insights Hadoop clusters can be integrated with AAD Domain Services for secure Hadoop deployment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Feature currently in public preview</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grpSp>
        <p:nvGrpSpPr>
          <p:cNvPr id="6" name="Group 5"/>
          <p:cNvGrpSpPr/>
          <p:nvPr/>
        </p:nvGrpSpPr>
        <p:grpSpPr>
          <a:xfrm>
            <a:off x="771629" y="4793701"/>
            <a:ext cx="2932008" cy="1057862"/>
            <a:chOff x="512762" y="2820400"/>
            <a:chExt cx="2932008" cy="1057862"/>
          </a:xfrm>
        </p:grpSpPr>
        <p:grpSp>
          <p:nvGrpSpPr>
            <p:cNvPr id="12" name="Group 11"/>
            <p:cNvGrpSpPr/>
            <p:nvPr/>
          </p:nvGrpSpPr>
          <p:grpSpPr bwMode="black">
            <a:xfrm>
              <a:off x="760468" y="2928452"/>
              <a:ext cx="589950" cy="455404"/>
              <a:chOff x="7010400" y="2133600"/>
              <a:chExt cx="1379538" cy="1065213"/>
            </a:xfrm>
            <a:solidFill>
              <a:srgbClr val="505050"/>
            </a:solidFill>
          </p:grpSpPr>
          <p:sp>
            <p:nvSpPr>
              <p:cNvPr id="31" name="Freeform 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2" name="Freeform 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3" name="Freeform 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4" name="Freeform 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5" name="Freeform 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6" name="Freeform 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7" name="Freeform 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8" name="Freeform 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39" name="Freeform 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0" name="Freeform 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1" name="Freeform 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2" name="Freeform 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3" name="Freeform 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4" name="Freeform 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5" name="Freeform 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6" name="Freeform 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7" name="Freeform 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8" name="Freeform 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49" name="Freeform 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0" name="Freeform 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1" name="Freeform 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2" name="Freeform 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3" name="Freeform 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4" name="Freeform 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5" name="Freeform 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6" name="Freeform 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7" name="Freeform 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8" name="Freeform 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59" name="Freeform 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0" name="Freeform 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1" name="Freeform 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2" name="Freeform 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3" name="Freeform 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4" name="Freeform 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5" name="Freeform 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6" name="Freeform 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7" name="Freeform 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8" name="Freeform 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69" name="Freeform 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0" name="Freeform 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1" name="Freeform 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2" name="Freeform 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3" name="Freeform 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4" name="Freeform 73"/>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5" name="Freeform 74"/>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6" name="Freeform 75"/>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77" name="Freeform 76"/>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82" name="TextBox 81"/>
            <p:cNvSpPr txBox="1"/>
            <p:nvPr/>
          </p:nvSpPr>
          <p:spPr>
            <a:xfrm>
              <a:off x="512762" y="3388897"/>
              <a:ext cx="2304694"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HD Insights cluster</a:t>
              </a:r>
            </a:p>
          </p:txBody>
        </p:sp>
        <p:grpSp>
          <p:nvGrpSpPr>
            <p:cNvPr id="79" name="Group 78"/>
            <p:cNvGrpSpPr/>
            <p:nvPr/>
          </p:nvGrpSpPr>
          <p:grpSpPr bwMode="black">
            <a:xfrm>
              <a:off x="1493609" y="2899733"/>
              <a:ext cx="589950" cy="455404"/>
              <a:chOff x="7010400" y="2133600"/>
              <a:chExt cx="1379538" cy="1065213"/>
            </a:xfrm>
            <a:solidFill>
              <a:srgbClr val="505050"/>
            </a:solidFill>
          </p:grpSpPr>
          <p:sp>
            <p:nvSpPr>
              <p:cNvPr id="83" name="Freeform 82"/>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4" name="Freeform 83"/>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5" name="Freeform 84"/>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6" name="Freeform 85"/>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7" name="Freeform 86"/>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8" name="Freeform 87"/>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89" name="Freeform 88"/>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0" name="Freeform 89"/>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1" name="Freeform 90"/>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2" name="Freeform 91"/>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3" name="Freeform 92"/>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4" name="Freeform 93"/>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5" name="Freeform 94"/>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6" name="Freeform 95"/>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7" name="Freeform 96"/>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8" name="Freeform 97"/>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99" name="Freeform 98"/>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0" name="Freeform 99"/>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100"/>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2" name="Freeform 101"/>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3" name="Freeform 102"/>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4" name="Freeform 103"/>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5" name="Freeform 104"/>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6" name="Freeform 105"/>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7" name="Freeform 106"/>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8" name="Freeform 107"/>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09" name="Freeform 108"/>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0" name="Freeform 109"/>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1" name="Freeform 110"/>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2" name="Freeform 111"/>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3" name="Freeform 112"/>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4" name="Freeform 113"/>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5" name="Freeform 114"/>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6" name="Freeform 115"/>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7" name="Freeform 116"/>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8" name="Freeform 117"/>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19" name="Freeform 118"/>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0" name="Freeform 119"/>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1" name="Freeform 120"/>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2" name="Freeform 121"/>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3" name="Freeform 122"/>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4" name="Freeform 123"/>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5" name="Freeform 124"/>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6" name="Freeform 125"/>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7" name="Freeform 126"/>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8" name="Freeform 127"/>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29" name="Freeform 128"/>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grpSp>
          <p:nvGrpSpPr>
            <p:cNvPr id="130" name="Group 129"/>
            <p:cNvGrpSpPr/>
            <p:nvPr/>
          </p:nvGrpSpPr>
          <p:grpSpPr bwMode="black">
            <a:xfrm>
              <a:off x="2597958" y="2910545"/>
              <a:ext cx="589950" cy="455404"/>
              <a:chOff x="7010400" y="2133600"/>
              <a:chExt cx="1379538" cy="1065213"/>
            </a:xfrm>
            <a:solidFill>
              <a:srgbClr val="505050"/>
            </a:solidFill>
          </p:grpSpPr>
          <p:sp>
            <p:nvSpPr>
              <p:cNvPr id="131" name="Freeform 13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2" name="Freeform 13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3" name="Freeform 13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4" name="Freeform 13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5" name="Freeform 13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6" name="Freeform 13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7" name="Freeform 13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8" name="Freeform 13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39" name="Freeform 13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0" name="Freeform 13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1" name="Freeform 14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2" name="Freeform 14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3" name="Freeform 14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4" name="Freeform 14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5" name="Freeform 14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6" name="Freeform 14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7" name="Freeform 14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8" name="Freeform 14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49" name="Freeform 14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0" name="Freeform 14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1" name="Freeform 15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2" name="Freeform 15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3" name="Freeform 15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4" name="Freeform 15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5" name="Freeform 15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6" name="Freeform 15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7" name="Freeform 15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8" name="Freeform 15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59" name="Freeform 15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0" name="Freeform 15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1" name="Freeform 16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2" name="Freeform 16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3" name="Freeform 16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4" name="Freeform 16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5" name="Freeform 16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6" name="Freeform 16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7" name="Freeform 16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8" name="Freeform 16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69" name="Freeform 16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0" name="Freeform 16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1" name="Freeform 17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2" name="Freeform 17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3" name="Freeform 17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6" name="Freeform 175"/>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78" name="Freeform 177"/>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80" name="Freeform 179"/>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a:ln>
                    <a:noFill/>
                  </a:ln>
                  <a:solidFill>
                    <a:schemeClr val="tx1"/>
                  </a:solidFill>
                  <a:effectLst/>
                  <a:uLnTx/>
                  <a:uFillTx/>
                  <a:latin typeface="+mn-lt"/>
                  <a:ea typeface="+mn-ea"/>
                  <a:cs typeface="+mn-cs"/>
                </a:endParaRPr>
              </a:p>
            </p:txBody>
          </p:sp>
          <p:sp>
            <p:nvSpPr>
              <p:cNvPr id="181" name="Freeform 180"/>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17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82" name="TextBox 181"/>
            <p:cNvSpPr txBox="1"/>
            <p:nvPr/>
          </p:nvSpPr>
          <p:spPr>
            <a:xfrm>
              <a:off x="2073873" y="2865725"/>
              <a:ext cx="552117" cy="4893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a:t>
              </a:r>
            </a:p>
          </p:txBody>
        </p:sp>
        <p:sp>
          <p:nvSpPr>
            <p:cNvPr id="2" name="Rectangle 1"/>
            <p:cNvSpPr/>
            <p:nvPr/>
          </p:nvSpPr>
          <p:spPr bwMode="auto">
            <a:xfrm>
              <a:off x="625370" y="2820400"/>
              <a:ext cx="2819400" cy="641560"/>
            </a:xfrm>
            <a:prstGeom prst="rect">
              <a:avLst/>
            </a:prstGeom>
            <a:noFill/>
            <a:ln>
              <a:solidFill>
                <a:schemeClr val="tx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cxnSp>
        <p:nvCxnSpPr>
          <p:cNvPr id="183" name="Elbow Connector 182"/>
          <p:cNvCxnSpPr>
            <a:stCxn id="2" idx="0"/>
            <a:endCxn id="15" idx="1"/>
          </p:cNvCxnSpPr>
          <p:nvPr/>
        </p:nvCxnSpPr>
        <p:spPr>
          <a:xfrm rot="5400000" flipH="1" flipV="1">
            <a:off x="2009812" y="3011000"/>
            <a:ext cx="2066827" cy="1498577"/>
          </a:xfrm>
          <a:prstGeom prst="bentConnector2">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84" name="TextBox 183"/>
          <p:cNvSpPr txBox="1"/>
          <p:nvPr/>
        </p:nvSpPr>
        <p:spPr>
          <a:xfrm>
            <a:off x="1036637" y="2659062"/>
            <a:ext cx="1542151"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 join, Kerberos etc.</a:t>
            </a:r>
          </a:p>
        </p:txBody>
      </p:sp>
      <p:sp>
        <p:nvSpPr>
          <p:cNvPr id="4" name="TextBox 3"/>
          <p:cNvSpPr txBox="1"/>
          <p:nvPr/>
        </p:nvSpPr>
        <p:spPr>
          <a:xfrm rot="20511970">
            <a:off x="-422329" y="6206831"/>
            <a:ext cx="2054450"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0" i="1" u="none" strike="noStrike" kern="0" cap="none" spc="0" normalizeH="0" baseline="0" noProof="0" dirty="0">
                <a:ln>
                  <a:noFill/>
                </a:ln>
                <a:solidFill>
                  <a:srgbClr val="F78C1F"/>
                </a:solidFill>
                <a:effectLst/>
                <a:uLnTx/>
                <a:uFillTx/>
              </a:rPr>
              <a:t>Preview</a:t>
            </a:r>
          </a:p>
        </p:txBody>
      </p:sp>
      <p:sp>
        <p:nvSpPr>
          <p:cNvPr id="179" name="Rectangle 178"/>
          <p:cNvSpPr/>
          <p:nvPr/>
        </p:nvSpPr>
        <p:spPr bwMode="auto">
          <a:xfrm>
            <a:off x="579437" y="457014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85" name="TextBox 184"/>
          <p:cNvSpPr txBox="1"/>
          <p:nvPr/>
        </p:nvSpPr>
        <p:spPr>
          <a:xfrm>
            <a:off x="2461395" y="6082012"/>
            <a:ext cx="2062858"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ARM Virtual network</a:t>
            </a:r>
          </a:p>
        </p:txBody>
      </p:sp>
      <p:sp>
        <p:nvSpPr>
          <p:cNvPr id="7" name="Up-Down Arrow 6"/>
          <p:cNvSpPr/>
          <p:nvPr/>
        </p:nvSpPr>
        <p:spPr bwMode="auto">
          <a:xfrm>
            <a:off x="2179400" y="4170201"/>
            <a:ext cx="228600" cy="393861"/>
          </a:xfrm>
          <a:prstGeom prst="upDown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86" name="TextBox 185"/>
          <p:cNvSpPr txBox="1"/>
          <p:nvPr/>
        </p:nvSpPr>
        <p:spPr>
          <a:xfrm>
            <a:off x="345142" y="4134025"/>
            <a:ext cx="2062858" cy="4616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1" u="none" strike="noStrike" kern="0" cap="none" spc="0" normalizeH="0" baseline="0" noProof="0" dirty="0" err="1">
                <a:ln>
                  <a:noFill/>
                </a:ln>
                <a:gradFill>
                  <a:gsLst>
                    <a:gs pos="2917">
                      <a:schemeClr val="tx1"/>
                    </a:gs>
                    <a:gs pos="30000">
                      <a:schemeClr val="tx1"/>
                    </a:gs>
                  </a:gsLst>
                  <a:lin ang="5400000" scaled="0"/>
                </a:gradFill>
                <a:effectLst/>
                <a:uLnTx/>
                <a:uFillTx/>
                <a:latin typeface="+mj-lt"/>
              </a:rPr>
              <a:t>VNet</a:t>
            </a:r>
            <a:r>
              <a:rPr kumimoji="0" lang="en-US" sz="12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 to </a:t>
            </a:r>
            <a:r>
              <a:rPr kumimoji="0" lang="en-US" sz="1200" b="0" i="1" u="none" strike="noStrike" kern="0" cap="none" spc="0" normalizeH="0" baseline="0" noProof="0" dirty="0" err="1">
                <a:ln>
                  <a:noFill/>
                </a:ln>
                <a:gradFill>
                  <a:gsLst>
                    <a:gs pos="2917">
                      <a:schemeClr val="tx1"/>
                    </a:gs>
                    <a:gs pos="30000">
                      <a:schemeClr val="tx1"/>
                    </a:gs>
                  </a:gsLst>
                  <a:lin ang="5400000" scaled="0"/>
                </a:gradFill>
                <a:effectLst/>
                <a:uLnTx/>
                <a:uFillTx/>
                <a:latin typeface="+mj-lt"/>
              </a:rPr>
              <a:t>VNet</a:t>
            </a:r>
            <a:r>
              <a:rPr kumimoji="0" lang="en-US" sz="12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 connection</a:t>
            </a:r>
          </a:p>
        </p:txBody>
      </p:sp>
      <p:grpSp>
        <p:nvGrpSpPr>
          <p:cNvPr id="187" name="Group 186"/>
          <p:cNvGrpSpPr/>
          <p:nvPr/>
        </p:nvGrpSpPr>
        <p:grpSpPr>
          <a:xfrm>
            <a:off x="3693642" y="5789750"/>
            <a:ext cx="458002" cy="468411"/>
            <a:chOff x="8047037" y="3712007"/>
            <a:chExt cx="609600" cy="623455"/>
          </a:xfrm>
        </p:grpSpPr>
        <p:sp>
          <p:nvSpPr>
            <p:cNvPr id="188" name="Hexagon 187"/>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189" name="Rectangle 188"/>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spTree>
    <p:extLst>
      <p:ext uri="{BB962C8B-B14F-4D97-AF65-F5344CB8AC3E}">
        <p14:creationId xmlns:p14="http://schemas.microsoft.com/office/powerpoint/2010/main" val="24906236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6037" y="682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fontAlgn="auto">
              <a:spcAft>
                <a:spcPts val="0"/>
              </a:spcAft>
              <a:buClrTx/>
              <a:buSzTx/>
              <a:tabLst/>
              <a:defRPr/>
            </a:pPr>
            <a:r>
              <a:rPr lang="en-US" dirty="0"/>
              <a:t>Deciding when not to ‘DIY’ your AD deployment</a:t>
            </a:r>
          </a:p>
        </p:txBody>
      </p:sp>
      <p:graphicFrame>
        <p:nvGraphicFramePr>
          <p:cNvPr id="6" name="Table 5"/>
          <p:cNvGraphicFramePr>
            <a:graphicFrameLocks noGrp="1"/>
          </p:cNvGraphicFramePr>
          <p:nvPr>
            <p:extLst/>
          </p:nvPr>
        </p:nvGraphicFramePr>
        <p:xfrm>
          <a:off x="274637" y="906462"/>
          <a:ext cx="11963399" cy="5557949"/>
        </p:xfrm>
        <a:graphic>
          <a:graphicData uri="http://schemas.openxmlformats.org/drawingml/2006/table">
            <a:tbl>
              <a:tblPr>
                <a:tableStyleId>{775DCB02-9BB8-47FD-8907-85C794F793BA}</a:tableStyleId>
              </a:tblPr>
              <a:tblGrid>
                <a:gridCol w="5150908">
                  <a:extLst>
                    <a:ext uri="{9D8B030D-6E8A-4147-A177-3AD203B41FA5}">
                      <a16:colId xmlns:a16="http://schemas.microsoft.com/office/drawing/2014/main" val="812840867"/>
                    </a:ext>
                  </a:extLst>
                </a:gridCol>
                <a:gridCol w="3002492">
                  <a:extLst>
                    <a:ext uri="{9D8B030D-6E8A-4147-A177-3AD203B41FA5}">
                      <a16:colId xmlns:a16="http://schemas.microsoft.com/office/drawing/2014/main" val="2973971094"/>
                    </a:ext>
                  </a:extLst>
                </a:gridCol>
                <a:gridCol w="3809999">
                  <a:extLst>
                    <a:ext uri="{9D8B030D-6E8A-4147-A177-3AD203B41FA5}">
                      <a16:colId xmlns:a16="http://schemas.microsoft.com/office/drawing/2014/main" val="2304726372"/>
                    </a:ext>
                  </a:extLst>
                </a:gridCol>
              </a:tblGrid>
              <a:tr h="368177">
                <a:tc>
                  <a:txBody>
                    <a:bodyPr/>
                    <a:lstStyle/>
                    <a:p>
                      <a:pPr marL="0" algn="l" defTabSz="932742" rtl="0" eaLnBrk="1" latinLnBrk="0" hangingPunct="1"/>
                      <a:r>
                        <a:rPr lang="en-US" sz="1800" kern="1200" dirty="0">
                          <a:solidFill>
                            <a:schemeClr val="bg1"/>
                          </a:solidFill>
                        </a:rPr>
                        <a:t>Feature</a:t>
                      </a:r>
                      <a:endParaRPr lang="en-US" sz="1800" b="0" kern="1200" dirty="0">
                        <a:solidFill>
                          <a:schemeClr val="bg1"/>
                        </a:solidFill>
                        <a:latin typeface="+mn-lt"/>
                        <a:ea typeface="+mn-ea"/>
                        <a:cs typeface="+mn-cs"/>
                      </a:endParaRPr>
                    </a:p>
                  </a:txBody>
                  <a:tcPr marL="32190" marR="32190" marT="16095" marB="16095" anchor="ctr">
                    <a:solidFill>
                      <a:srgbClr val="00B0F0"/>
                    </a:solidFill>
                  </a:tcPr>
                </a:tc>
                <a:tc>
                  <a:txBody>
                    <a:bodyPr/>
                    <a:lstStyle/>
                    <a:p>
                      <a:pPr marL="0" algn="l" defTabSz="932742" rtl="0" eaLnBrk="1" latinLnBrk="0" hangingPunct="1"/>
                      <a:r>
                        <a:rPr lang="en-US" sz="1800" kern="1200" dirty="0">
                          <a:solidFill>
                            <a:schemeClr val="bg1"/>
                          </a:solidFill>
                        </a:rPr>
                        <a:t>Azure AD Domain Services</a:t>
                      </a:r>
                      <a:endParaRPr lang="en-US" sz="1800" b="0" kern="1200" dirty="0">
                        <a:solidFill>
                          <a:schemeClr val="bg1"/>
                        </a:solidFill>
                        <a:latin typeface="+mn-lt"/>
                        <a:ea typeface="+mn-ea"/>
                        <a:cs typeface="+mn-cs"/>
                      </a:endParaRPr>
                    </a:p>
                  </a:txBody>
                  <a:tcPr marL="32190" marR="32190" marT="16095" marB="16095" anchor="ctr">
                    <a:solidFill>
                      <a:srgbClr val="00B0F0"/>
                    </a:solidFill>
                  </a:tcPr>
                </a:tc>
                <a:tc>
                  <a:txBody>
                    <a:bodyPr/>
                    <a:lstStyle/>
                    <a:p>
                      <a:pPr marL="0" algn="l" defTabSz="932742" rtl="0" eaLnBrk="1" latinLnBrk="0" hangingPunct="1"/>
                      <a:r>
                        <a:rPr lang="en-US" sz="1800" kern="1200" dirty="0">
                          <a:solidFill>
                            <a:schemeClr val="bg1"/>
                          </a:solidFill>
                        </a:rPr>
                        <a:t>'Do-it-yourself' AD in Azure VMs</a:t>
                      </a:r>
                      <a:endParaRPr lang="en-US" sz="1800" b="0" kern="1200" dirty="0">
                        <a:solidFill>
                          <a:schemeClr val="bg1"/>
                        </a:solidFill>
                        <a:latin typeface="+mn-lt"/>
                        <a:ea typeface="+mn-ea"/>
                        <a:cs typeface="+mn-cs"/>
                      </a:endParaRPr>
                    </a:p>
                  </a:txBody>
                  <a:tcPr marL="32190" marR="32190" marT="16095" marB="16095" anchor="ctr">
                    <a:solidFill>
                      <a:srgbClr val="00B0F0"/>
                    </a:solidFill>
                  </a:tcPr>
                </a:tc>
                <a:extLst>
                  <a:ext uri="{0D108BD9-81ED-4DB2-BD59-A6C34878D82A}">
                    <a16:rowId xmlns:a16="http://schemas.microsoft.com/office/drawing/2014/main" val="472477480"/>
                  </a:ext>
                </a:extLst>
              </a:tr>
              <a:tr h="368177">
                <a:tc>
                  <a:txBody>
                    <a:bodyPr/>
                    <a:lstStyle/>
                    <a:p>
                      <a:pPr marL="0" algn="l" defTabSz="932742" rtl="0" eaLnBrk="1" latinLnBrk="0" hangingPunct="1"/>
                      <a:r>
                        <a:rPr lang="en-US" sz="1600" kern="1200" dirty="0"/>
                        <a:t>Managed service</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a:t>No</a:t>
                      </a:r>
                      <a:endParaRPr lang="en-US" sz="1600" b="0" kern="1200">
                        <a:solidFill>
                          <a:schemeClr val="tx1"/>
                        </a:solidFill>
                        <a:latin typeface="+mn-lt"/>
                        <a:ea typeface="+mn-ea"/>
                        <a:cs typeface="+mn-cs"/>
                      </a:endParaRPr>
                    </a:p>
                  </a:txBody>
                  <a:tcPr marL="32190" marR="32190" marT="16095" marB="16095" anchor="ctr"/>
                </a:tc>
                <a:extLst>
                  <a:ext uri="{0D108BD9-81ED-4DB2-BD59-A6C34878D82A}">
                    <a16:rowId xmlns:a16="http://schemas.microsoft.com/office/drawing/2014/main" val="2395345644"/>
                  </a:ext>
                </a:extLst>
              </a:tr>
              <a:tr h="403471">
                <a:tc>
                  <a:txBody>
                    <a:bodyPr/>
                    <a:lstStyle/>
                    <a:p>
                      <a:pPr marL="0" algn="l" defTabSz="932742" rtl="0" eaLnBrk="1" latinLnBrk="0" hangingPunct="1"/>
                      <a:r>
                        <a:rPr lang="en-US" sz="1600" kern="1200" dirty="0"/>
                        <a:t>Secured &amp; locked-down deployment</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b="0" kern="1200" dirty="0">
                          <a:solidFill>
                            <a:schemeClr val="dk1"/>
                          </a:solidFill>
                          <a:latin typeface="+mn-lt"/>
                          <a:ea typeface="+mn-ea"/>
                          <a:cs typeface="+mn-cs"/>
                        </a:rPr>
                        <a:t>Needs</a:t>
                      </a:r>
                      <a:r>
                        <a:rPr lang="en-US" sz="1600" b="0" kern="1200" baseline="0" dirty="0">
                          <a:solidFill>
                            <a:schemeClr val="dk1"/>
                          </a:solidFill>
                          <a:latin typeface="+mn-lt"/>
                          <a:ea typeface="+mn-ea"/>
                          <a:cs typeface="+mn-cs"/>
                        </a:rPr>
                        <a:t> to be secured</a:t>
                      </a:r>
                      <a:endParaRPr lang="en-US" sz="1600" b="0" kern="1200" dirty="0">
                        <a:solidFill>
                          <a:schemeClr val="tx1"/>
                        </a:solidFill>
                        <a:latin typeface="+mn-lt"/>
                        <a:ea typeface="+mn-ea"/>
                        <a:cs typeface="+mn-cs"/>
                      </a:endParaRPr>
                    </a:p>
                  </a:txBody>
                  <a:tcPr marL="32190" marR="32190" marT="16095" marB="16095" anchor="ctr"/>
                </a:tc>
                <a:extLst>
                  <a:ext uri="{0D108BD9-81ED-4DB2-BD59-A6C34878D82A}">
                    <a16:rowId xmlns:a16="http://schemas.microsoft.com/office/drawing/2014/main" val="186928567"/>
                  </a:ext>
                </a:extLst>
              </a:tr>
              <a:tr h="368177">
                <a:tc>
                  <a:txBody>
                    <a:bodyPr/>
                    <a:lstStyle/>
                    <a:p>
                      <a:pPr marL="0" algn="l" defTabSz="932742" rtl="0" eaLnBrk="1" latinLnBrk="0" hangingPunct="1"/>
                      <a:r>
                        <a:rPr lang="en-US" sz="1600" kern="1200" dirty="0"/>
                        <a:t>DNS server</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 (managed service)</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3380615525"/>
                  </a:ext>
                </a:extLst>
              </a:tr>
              <a:tr h="368177">
                <a:tc>
                  <a:txBody>
                    <a:bodyPr/>
                    <a:lstStyle/>
                    <a:p>
                      <a:pPr marL="0" algn="l" defTabSz="932742" rtl="0" eaLnBrk="1" latinLnBrk="0" hangingPunct="1"/>
                      <a:r>
                        <a:rPr lang="en-US" sz="1600" kern="1200" dirty="0"/>
                        <a:t>Domain or Enterprise administrator privileges</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No</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3547044465"/>
                  </a:ext>
                </a:extLst>
              </a:tr>
              <a:tr h="368177">
                <a:tc>
                  <a:txBody>
                    <a:bodyPr/>
                    <a:lstStyle/>
                    <a:p>
                      <a:pPr marL="0" algn="l" defTabSz="932742" rtl="0" eaLnBrk="1" latinLnBrk="0" hangingPunct="1"/>
                      <a:r>
                        <a:rPr lang="en-US" sz="1600" kern="1200" dirty="0"/>
                        <a:t>Domain join</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 </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3543034840"/>
                  </a:ext>
                </a:extLst>
              </a:tr>
              <a:tr h="368177">
                <a:tc>
                  <a:txBody>
                    <a:bodyPr/>
                    <a:lstStyle/>
                    <a:p>
                      <a:pPr marL="0" algn="l" defTabSz="932742" rtl="0" eaLnBrk="1" latinLnBrk="0" hangingPunct="1"/>
                      <a:r>
                        <a:rPr lang="en-US" sz="1600" kern="1200" dirty="0"/>
                        <a:t>Domain authentication using NTLM and Kerberos</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4123485469"/>
                  </a:ext>
                </a:extLst>
              </a:tr>
              <a:tr h="368177">
                <a:tc>
                  <a:txBody>
                    <a:bodyPr/>
                    <a:lstStyle/>
                    <a:p>
                      <a:pPr marL="0" algn="l" defTabSz="932742" rtl="0" eaLnBrk="1" latinLnBrk="0" hangingPunct="1"/>
                      <a:r>
                        <a:rPr lang="en-US" sz="1600" kern="1200" dirty="0"/>
                        <a:t>Custom OU structure</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2530156719"/>
                  </a:ext>
                </a:extLst>
              </a:tr>
              <a:tr h="368177">
                <a:tc>
                  <a:txBody>
                    <a:bodyPr/>
                    <a:lstStyle/>
                    <a:p>
                      <a:pPr marL="0" algn="l" defTabSz="932742" rtl="0" eaLnBrk="1" latinLnBrk="0" hangingPunct="1"/>
                      <a:r>
                        <a:rPr lang="en-US" sz="1600" kern="1200" dirty="0"/>
                        <a:t>Schema extensions</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No</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3622352733"/>
                  </a:ext>
                </a:extLst>
              </a:tr>
              <a:tr h="368177">
                <a:tc>
                  <a:txBody>
                    <a:bodyPr/>
                    <a:lstStyle/>
                    <a:p>
                      <a:pPr marL="0" algn="l" defTabSz="932742" rtl="0" eaLnBrk="1" latinLnBrk="0" hangingPunct="1"/>
                      <a:r>
                        <a:rPr lang="en-US" sz="1600" kern="1200" dirty="0"/>
                        <a:t>AD domain/forest trusts</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No</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3176416554"/>
                  </a:ext>
                </a:extLst>
              </a:tr>
              <a:tr h="368177">
                <a:tc>
                  <a:txBody>
                    <a:bodyPr/>
                    <a:lstStyle/>
                    <a:p>
                      <a:pPr marL="0" algn="l" defTabSz="932742" rtl="0" eaLnBrk="1" latinLnBrk="0" hangingPunct="1"/>
                      <a:r>
                        <a:rPr lang="en-US" sz="1600" kern="1200" dirty="0"/>
                        <a:t>LDAP read</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4101776681"/>
                  </a:ext>
                </a:extLst>
              </a:tr>
              <a:tr h="368177">
                <a:tc>
                  <a:txBody>
                    <a:bodyPr/>
                    <a:lstStyle/>
                    <a:p>
                      <a:pPr marL="0" algn="l" defTabSz="932742" rtl="0" eaLnBrk="1" latinLnBrk="0" hangingPunct="1"/>
                      <a:r>
                        <a:rPr lang="en-US" sz="1600" kern="1200" dirty="0"/>
                        <a:t>Secure LDAP (LDAPS)</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3945585873"/>
                  </a:ext>
                </a:extLst>
              </a:tr>
              <a:tr h="368177">
                <a:tc>
                  <a:txBody>
                    <a:bodyPr/>
                    <a:lstStyle/>
                    <a:p>
                      <a:pPr marL="0" algn="l" defTabSz="932742" rtl="0" eaLnBrk="1" latinLnBrk="0" hangingPunct="1"/>
                      <a:r>
                        <a:rPr lang="en-US" sz="1600" kern="1200" dirty="0"/>
                        <a:t>LDAP write</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No</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502099673"/>
                  </a:ext>
                </a:extLst>
              </a:tr>
              <a:tr h="368177">
                <a:tc>
                  <a:txBody>
                    <a:bodyPr/>
                    <a:lstStyle/>
                    <a:p>
                      <a:pPr marL="0" algn="l" defTabSz="932742" rtl="0" eaLnBrk="1" latinLnBrk="0" hangingPunct="1"/>
                      <a:r>
                        <a:rPr lang="en-US" sz="1600" kern="1200" dirty="0"/>
                        <a:t>Group Policy</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Simple</a:t>
                      </a:r>
                      <a:endParaRPr lang="en-US" sz="1600" b="0" kern="1200" dirty="0">
                        <a:solidFill>
                          <a:schemeClr val="tx1"/>
                        </a:solidFill>
                        <a:latin typeface="+mn-lt"/>
                        <a:ea typeface="+mn-ea"/>
                        <a:cs typeface="+mn-cs"/>
                      </a:endParaRPr>
                    </a:p>
                  </a:txBody>
                  <a:tcPr marL="32190" marR="32190" marT="16095" marB="16095" anchor="ctr">
                    <a:solidFill>
                      <a:srgbClr val="BAD80A"/>
                    </a:solidFill>
                  </a:tcPr>
                </a:tc>
                <a:tc>
                  <a:txBody>
                    <a:bodyPr/>
                    <a:lstStyle/>
                    <a:p>
                      <a:pPr marL="0" algn="l" defTabSz="932742" rtl="0" eaLnBrk="1" latinLnBrk="0" hangingPunct="1"/>
                      <a:r>
                        <a:rPr lang="en-US" sz="1600" kern="1200" dirty="0"/>
                        <a:t>Full</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1522883037"/>
                  </a:ext>
                </a:extLst>
              </a:tr>
              <a:tr h="368177">
                <a:tc>
                  <a:txBody>
                    <a:bodyPr/>
                    <a:lstStyle/>
                    <a:p>
                      <a:pPr marL="0" algn="l" defTabSz="932742" rtl="0" eaLnBrk="1" latinLnBrk="0" hangingPunct="1"/>
                      <a:r>
                        <a:rPr lang="en-US" sz="1600" kern="1200" dirty="0"/>
                        <a:t>Geo-dispersed deployments</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No</a:t>
                      </a:r>
                      <a:endParaRPr lang="en-US" sz="1600" b="0" kern="1200" dirty="0">
                        <a:solidFill>
                          <a:schemeClr val="tx1"/>
                        </a:solidFill>
                        <a:latin typeface="+mn-lt"/>
                        <a:ea typeface="+mn-ea"/>
                        <a:cs typeface="+mn-cs"/>
                      </a:endParaRPr>
                    </a:p>
                  </a:txBody>
                  <a:tcPr marL="32190" marR="32190" marT="16095" marB="16095" anchor="ctr"/>
                </a:tc>
                <a:tc>
                  <a:txBody>
                    <a:bodyPr/>
                    <a:lstStyle/>
                    <a:p>
                      <a:pPr marL="0" algn="l" defTabSz="932742" rtl="0" eaLnBrk="1" latinLnBrk="0" hangingPunct="1"/>
                      <a:r>
                        <a:rPr lang="en-US" sz="1600" kern="1200" dirty="0"/>
                        <a:t>Yes</a:t>
                      </a:r>
                      <a:endParaRPr lang="en-US" sz="1600" b="0" kern="1200" dirty="0">
                        <a:solidFill>
                          <a:schemeClr val="tx1"/>
                        </a:solidFill>
                        <a:latin typeface="+mn-lt"/>
                        <a:ea typeface="+mn-ea"/>
                        <a:cs typeface="+mn-cs"/>
                      </a:endParaRPr>
                    </a:p>
                  </a:txBody>
                  <a:tcPr marL="32190" marR="32190" marT="16095" marB="16095" anchor="ctr">
                    <a:solidFill>
                      <a:srgbClr val="BAD80A"/>
                    </a:solidFill>
                  </a:tcPr>
                </a:tc>
                <a:extLst>
                  <a:ext uri="{0D108BD9-81ED-4DB2-BD59-A6C34878D82A}">
                    <a16:rowId xmlns:a16="http://schemas.microsoft.com/office/drawing/2014/main" val="1862435052"/>
                  </a:ext>
                </a:extLst>
              </a:tr>
            </a:tbl>
          </a:graphicData>
        </a:graphic>
      </p:graphicFrame>
      <p:sp>
        <p:nvSpPr>
          <p:cNvPr id="4" name="TextBox 3"/>
          <p:cNvSpPr txBox="1"/>
          <p:nvPr/>
        </p:nvSpPr>
        <p:spPr>
          <a:xfrm>
            <a:off x="122237" y="6431294"/>
            <a:ext cx="12192000"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More information: </a:t>
            </a: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hlinkClick r:id="rId2"/>
              </a:rPr>
              <a:t>https://azure.microsoft.com/en-us/documentation/articles/active-directory-ds-comparison</a:t>
            </a: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 </a:t>
            </a: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Tree>
    <p:extLst>
      <p:ext uri="{BB962C8B-B14F-4D97-AF65-F5344CB8AC3E}">
        <p14:creationId xmlns:p14="http://schemas.microsoft.com/office/powerpoint/2010/main" val="317332036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6037" y="6826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dirty="0"/>
              <a:t>What about client workstations?</a:t>
            </a:r>
          </a:p>
        </p:txBody>
      </p:sp>
      <p:sp>
        <p:nvSpPr>
          <p:cNvPr id="5" name="Rectangle 4"/>
          <p:cNvSpPr/>
          <p:nvPr/>
        </p:nvSpPr>
        <p:spPr bwMode="auto">
          <a:xfrm>
            <a:off x="427037" y="1211262"/>
            <a:ext cx="3657600" cy="1901952"/>
          </a:xfrm>
          <a:prstGeom prst="rect">
            <a:avLst/>
          </a:prstGeom>
          <a:noFill/>
          <a:ln w="19050">
            <a:solidFill>
              <a:srgbClr val="00B0F0"/>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6" name="Group 5"/>
          <p:cNvGrpSpPr/>
          <p:nvPr/>
        </p:nvGrpSpPr>
        <p:grpSpPr>
          <a:xfrm>
            <a:off x="3546585" y="2430462"/>
            <a:ext cx="458002" cy="468411"/>
            <a:chOff x="8047037" y="3712007"/>
            <a:chExt cx="609600" cy="623455"/>
          </a:xfrm>
        </p:grpSpPr>
        <p:sp>
          <p:nvSpPr>
            <p:cNvPr id="7" name="Hexagon 6"/>
            <p:cNvSpPr/>
            <p:nvPr/>
          </p:nvSpPr>
          <p:spPr bwMode="auto">
            <a:xfrm>
              <a:off x="8047037" y="3802062"/>
              <a:ext cx="609600" cy="457200"/>
            </a:xfrm>
            <a:prstGeom prst="hexagon">
              <a:avLst/>
            </a:prstGeom>
            <a:noFill/>
            <a:ln w="28575">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useBgFill="1">
          <p:nvSpPr>
            <p:cNvPr id="8" name="Rectangle 7"/>
            <p:cNvSpPr/>
            <p:nvPr/>
          </p:nvSpPr>
          <p:spPr bwMode="auto">
            <a:xfrm>
              <a:off x="8176884" y="3712007"/>
              <a:ext cx="355928" cy="62345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00B0F0"/>
                  </a:solidFill>
                  <a:effectLst/>
                  <a:uLnTx/>
                  <a:uFillTx/>
                </a:rPr>
                <a:t>…</a:t>
              </a: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srgbClr val="00B0F0"/>
                </a:solidFill>
                <a:effectLst/>
                <a:uLnTx/>
                <a:uFillTx/>
              </a:endParaRPr>
            </a:p>
          </p:txBody>
        </p:sp>
      </p:gr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0114" y="1365935"/>
            <a:ext cx="889046" cy="588277"/>
          </a:xfrm>
          <a:prstGeom prst="rect">
            <a:avLst/>
          </a:prstGeom>
        </p:spPr>
      </p:pic>
      <p:sp>
        <p:nvSpPr>
          <p:cNvPr id="10" name="TextBox 9"/>
          <p:cNvSpPr txBox="1"/>
          <p:nvPr/>
        </p:nvSpPr>
        <p:spPr>
          <a:xfrm>
            <a:off x="2179638" y="2735262"/>
            <a:ext cx="2062858" cy="4893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           Virtual network</a:t>
            </a:r>
          </a:p>
        </p:txBody>
      </p:sp>
      <p:sp>
        <p:nvSpPr>
          <p:cNvPr id="11" name="TextBox 10"/>
          <p:cNvSpPr txBox="1"/>
          <p:nvPr/>
        </p:nvSpPr>
        <p:spPr>
          <a:xfrm>
            <a:off x="953123" y="1646923"/>
            <a:ext cx="1542151" cy="6832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domain join, Kerberos etc.</a:t>
            </a:r>
          </a:p>
        </p:txBody>
      </p:sp>
      <p:sp>
        <p:nvSpPr>
          <p:cNvPr id="12" name="Oval 11"/>
          <p:cNvSpPr/>
          <p:nvPr>
            <p:custDataLst>
              <p:tags r:id="rId1"/>
            </p:custDataLst>
          </p:nvPr>
        </p:nvSpPr>
        <p:spPr bwMode="auto">
          <a:xfrm>
            <a:off x="339920" y="4965706"/>
            <a:ext cx="3831833" cy="1537937"/>
          </a:xfrm>
          <a:prstGeom prst="ellipse">
            <a:avLst/>
          </a:prstGeom>
          <a:solidFill>
            <a:schemeClr val="bg1">
              <a:lumMod val="75000"/>
            </a:schemeClr>
          </a:solidFill>
          <a:ln w="3175" cap="flat" cmpd="sng" algn="ctr">
            <a:solidFill>
              <a:schemeClr val="tx1"/>
            </a:solidFill>
            <a:prstDash val="solid"/>
            <a:headEnd type="none" w="med" len="med"/>
            <a:tailEnd type="none" w="med" len="med"/>
          </a:ln>
          <a:effectLst/>
        </p:spPr>
        <p:txBody>
          <a:bodyPr vert="horz" wrap="square" lIns="82259" tIns="41129" rIns="82259" bIns="41129" numCol="1" rtlCol="0" anchor="ctr" anchorCtr="0" compatLnSpc="1">
            <a:prstTxWarp prst="textNoShape">
              <a:avLst/>
            </a:prstTxWarp>
          </a:bodyPr>
          <a:lstStyle/>
          <a:p>
            <a:pPr marL="0" marR="0" lvl="0" indent="0" algn="ctr" defTabSz="822425" eaLnBrk="1" fontAlgn="base" latinLnBrk="0" hangingPunct="1">
              <a:lnSpc>
                <a:spcPct val="100000"/>
              </a:lnSpc>
              <a:spcBef>
                <a:spcPct val="0"/>
              </a:spcBef>
              <a:spcAft>
                <a:spcPct val="0"/>
              </a:spcAft>
              <a:buClrTx/>
              <a:buSzTx/>
              <a:buFontTx/>
              <a:buNone/>
              <a:tabLst/>
              <a:defRPr/>
            </a:pPr>
            <a:endParaRPr kumimoji="0" lang="en-US" sz="2024" b="0" i="0" u="none" strike="noStrike" kern="0" cap="none" spc="0" normalizeH="0" baseline="0" noProof="0" dirty="0">
              <a:ln>
                <a:noFill/>
              </a:ln>
              <a:solidFill>
                <a:srgbClr val="595959"/>
              </a:solidFill>
              <a:effectLst/>
              <a:uLnTx/>
              <a:uFillTx/>
              <a:latin typeface="Segoe UI"/>
            </a:endParaRPr>
          </a:p>
        </p:txBody>
      </p:sp>
      <p:sp>
        <p:nvSpPr>
          <p:cNvPr id="13" name="Can 12"/>
          <p:cNvSpPr/>
          <p:nvPr/>
        </p:nvSpPr>
        <p:spPr bwMode="auto">
          <a:xfrm>
            <a:off x="2179637" y="3092571"/>
            <a:ext cx="152400" cy="1873135"/>
          </a:xfrm>
          <a:prstGeom prst="can">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6" name="Freeform 15"/>
          <p:cNvSpPr>
            <a:spLocks noEditPoints="1"/>
          </p:cNvSpPr>
          <p:nvPr/>
        </p:nvSpPr>
        <p:spPr bwMode="auto">
          <a:xfrm>
            <a:off x="1037548" y="5402262"/>
            <a:ext cx="598487" cy="484981"/>
          </a:xfrm>
          <a:custGeom>
            <a:avLst/>
            <a:gdLst>
              <a:gd name="T0" fmla="*/ 0 w 116"/>
              <a:gd name="T1" fmla="*/ 96 h 96"/>
              <a:gd name="T2" fmla="*/ 78 w 116"/>
              <a:gd name="T3" fmla="*/ 80 h 96"/>
              <a:gd name="T4" fmla="*/ 112 w 116"/>
              <a:gd name="T5" fmla="*/ 80 h 96"/>
              <a:gd name="T6" fmla="*/ 116 w 116"/>
              <a:gd name="T7" fmla="*/ 8 h 96"/>
              <a:gd name="T8" fmla="*/ 108 w 116"/>
              <a:gd name="T9" fmla="*/ 0 h 96"/>
              <a:gd name="T10" fmla="*/ 64 w 116"/>
              <a:gd name="T11" fmla="*/ 0 h 96"/>
              <a:gd name="T12" fmla="*/ 64 w 116"/>
              <a:gd name="T13" fmla="*/ 16 h 96"/>
              <a:gd name="T14" fmla="*/ 8 w 116"/>
              <a:gd name="T15" fmla="*/ 20 h 96"/>
              <a:gd name="T16" fmla="*/ 8 w 116"/>
              <a:gd name="T17" fmla="*/ 56 h 96"/>
              <a:gd name="T18" fmla="*/ 16 w 116"/>
              <a:gd name="T19" fmla="*/ 64 h 96"/>
              <a:gd name="T20" fmla="*/ 40 w 116"/>
              <a:gd name="T21" fmla="*/ 72 h 96"/>
              <a:gd name="T22" fmla="*/ 108 w 116"/>
              <a:gd name="T23" fmla="*/ 72 h 96"/>
              <a:gd name="T24" fmla="*/ 72 w 116"/>
              <a:gd name="T25" fmla="*/ 64 h 96"/>
              <a:gd name="T26" fmla="*/ 80 w 116"/>
              <a:gd name="T27" fmla="*/ 56 h 96"/>
              <a:gd name="T28" fmla="*/ 108 w 116"/>
              <a:gd name="T29" fmla="*/ 72 h 96"/>
              <a:gd name="T30" fmla="*/ 80 w 116"/>
              <a:gd name="T31" fmla="*/ 48 h 96"/>
              <a:gd name="T32" fmla="*/ 108 w 116"/>
              <a:gd name="T33" fmla="*/ 32 h 96"/>
              <a:gd name="T34" fmla="*/ 72 w 116"/>
              <a:gd name="T35" fmla="*/ 8 h 96"/>
              <a:gd name="T36" fmla="*/ 108 w 116"/>
              <a:gd name="T37" fmla="*/ 24 h 96"/>
              <a:gd name="T38" fmla="*/ 80 w 116"/>
              <a:gd name="T39" fmla="*/ 20 h 96"/>
              <a:gd name="T40" fmla="*/ 72 w 116"/>
              <a:gd name="T41" fmla="*/ 16 h 96"/>
              <a:gd name="T42" fmla="*/ 16 w 116"/>
              <a:gd name="T43" fmla="*/ 56 h 96"/>
              <a:gd name="T44" fmla="*/ 72 w 116"/>
              <a:gd name="T45" fmla="*/ 24 h 96"/>
              <a:gd name="T46" fmla="*/ 64 w 116"/>
              <a:gd name="T47" fmla="*/ 56 h 96"/>
              <a:gd name="T48" fmla="*/ 64 w 116"/>
              <a:gd name="T49" fmla="*/ 64 h 96"/>
              <a:gd name="T50" fmla="*/ 48 w 116"/>
              <a:gd name="T51" fmla="*/ 72 h 96"/>
              <a:gd name="T52" fmla="*/ 64 w 116"/>
              <a:gd name="T53" fmla="*/ 64 h 96"/>
              <a:gd name="T54" fmla="*/ 64 w 116"/>
              <a:gd name="T55" fmla="*/ 80 h 96"/>
              <a:gd name="T56" fmla="*/ 73 w 116"/>
              <a:gd name="T57" fmla="*/ 88 h 96"/>
              <a:gd name="T58" fmla="*/ 20 w 116"/>
              <a:gd name="T59" fmla="*/ 80 h 96"/>
              <a:gd name="T60" fmla="*/ 48 w 116"/>
              <a:gd name="T61" fmla="*/ 80 h 96"/>
              <a:gd name="T62" fmla="*/ 96 w 116"/>
              <a:gd name="T63" fmla="*/ 96 h 96"/>
              <a:gd name="T64" fmla="*/ 112 w 116"/>
              <a:gd name="T65" fmla="*/ 96 h 96"/>
              <a:gd name="T66" fmla="*/ 96 w 116"/>
              <a:gd name="T67" fmla="*/ 20 h 96"/>
              <a:gd name="T68" fmla="*/ 104 w 116"/>
              <a:gd name="T6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96">
                <a:moveTo>
                  <a:pt x="16" y="72"/>
                </a:moveTo>
                <a:cubicBezTo>
                  <a:pt x="0" y="96"/>
                  <a:pt x="0" y="96"/>
                  <a:pt x="0" y="96"/>
                </a:cubicBezTo>
                <a:cubicBezTo>
                  <a:pt x="88" y="96"/>
                  <a:pt x="88" y="96"/>
                  <a:pt x="88" y="96"/>
                </a:cubicBezTo>
                <a:cubicBezTo>
                  <a:pt x="78" y="80"/>
                  <a:pt x="78" y="80"/>
                  <a:pt x="78" y="80"/>
                </a:cubicBezTo>
                <a:cubicBezTo>
                  <a:pt x="108" y="80"/>
                  <a:pt x="108" y="80"/>
                  <a:pt x="108" y="80"/>
                </a:cubicBezTo>
                <a:cubicBezTo>
                  <a:pt x="112" y="80"/>
                  <a:pt x="112" y="80"/>
                  <a:pt x="112" y="80"/>
                </a:cubicBezTo>
                <a:cubicBezTo>
                  <a:pt x="116" y="80"/>
                  <a:pt x="116" y="80"/>
                  <a:pt x="116" y="80"/>
                </a:cubicBezTo>
                <a:cubicBezTo>
                  <a:pt x="116" y="8"/>
                  <a:pt x="116" y="8"/>
                  <a:pt x="116" y="8"/>
                </a:cubicBezTo>
                <a:cubicBezTo>
                  <a:pt x="116" y="0"/>
                  <a:pt x="116" y="0"/>
                  <a:pt x="116" y="0"/>
                </a:cubicBezTo>
                <a:cubicBezTo>
                  <a:pt x="108" y="0"/>
                  <a:pt x="108" y="0"/>
                  <a:pt x="108" y="0"/>
                </a:cubicBezTo>
                <a:cubicBezTo>
                  <a:pt x="72" y="0"/>
                  <a:pt x="72" y="0"/>
                  <a:pt x="72" y="0"/>
                </a:cubicBezTo>
                <a:cubicBezTo>
                  <a:pt x="64" y="0"/>
                  <a:pt x="64" y="0"/>
                  <a:pt x="64" y="0"/>
                </a:cubicBezTo>
                <a:cubicBezTo>
                  <a:pt x="64" y="8"/>
                  <a:pt x="64" y="8"/>
                  <a:pt x="64" y="8"/>
                </a:cubicBezTo>
                <a:cubicBezTo>
                  <a:pt x="64" y="16"/>
                  <a:pt x="64" y="16"/>
                  <a:pt x="64" y="16"/>
                </a:cubicBezTo>
                <a:cubicBezTo>
                  <a:pt x="8" y="16"/>
                  <a:pt x="8" y="16"/>
                  <a:pt x="8" y="16"/>
                </a:cubicBezTo>
                <a:cubicBezTo>
                  <a:pt x="8" y="20"/>
                  <a:pt x="8" y="20"/>
                  <a:pt x="8" y="20"/>
                </a:cubicBezTo>
                <a:cubicBezTo>
                  <a:pt x="8" y="24"/>
                  <a:pt x="8" y="24"/>
                  <a:pt x="8" y="24"/>
                </a:cubicBezTo>
                <a:cubicBezTo>
                  <a:pt x="8" y="56"/>
                  <a:pt x="8" y="56"/>
                  <a:pt x="8" y="56"/>
                </a:cubicBezTo>
                <a:cubicBezTo>
                  <a:pt x="8" y="64"/>
                  <a:pt x="8" y="64"/>
                  <a:pt x="8" y="64"/>
                </a:cubicBezTo>
                <a:cubicBezTo>
                  <a:pt x="16" y="64"/>
                  <a:pt x="16" y="64"/>
                  <a:pt x="16" y="64"/>
                </a:cubicBezTo>
                <a:cubicBezTo>
                  <a:pt x="40" y="64"/>
                  <a:pt x="40" y="64"/>
                  <a:pt x="40" y="64"/>
                </a:cubicBezTo>
                <a:cubicBezTo>
                  <a:pt x="40" y="72"/>
                  <a:pt x="40" y="72"/>
                  <a:pt x="40" y="72"/>
                </a:cubicBezTo>
                <a:lnTo>
                  <a:pt x="16" y="72"/>
                </a:lnTo>
                <a:close/>
                <a:moveTo>
                  <a:pt x="108" y="72"/>
                </a:moveTo>
                <a:cubicBezTo>
                  <a:pt x="72" y="72"/>
                  <a:pt x="72" y="72"/>
                  <a:pt x="72" y="72"/>
                </a:cubicBezTo>
                <a:cubicBezTo>
                  <a:pt x="72" y="64"/>
                  <a:pt x="72" y="64"/>
                  <a:pt x="72" y="64"/>
                </a:cubicBezTo>
                <a:cubicBezTo>
                  <a:pt x="80" y="64"/>
                  <a:pt x="80" y="64"/>
                  <a:pt x="80" y="64"/>
                </a:cubicBezTo>
                <a:cubicBezTo>
                  <a:pt x="80" y="56"/>
                  <a:pt x="80" y="56"/>
                  <a:pt x="80" y="56"/>
                </a:cubicBezTo>
                <a:cubicBezTo>
                  <a:pt x="108" y="56"/>
                  <a:pt x="108" y="56"/>
                  <a:pt x="108" y="56"/>
                </a:cubicBezTo>
                <a:lnTo>
                  <a:pt x="108" y="72"/>
                </a:lnTo>
                <a:close/>
                <a:moveTo>
                  <a:pt x="108" y="48"/>
                </a:moveTo>
                <a:cubicBezTo>
                  <a:pt x="80" y="48"/>
                  <a:pt x="80" y="48"/>
                  <a:pt x="80" y="48"/>
                </a:cubicBezTo>
                <a:cubicBezTo>
                  <a:pt x="80" y="32"/>
                  <a:pt x="80" y="32"/>
                  <a:pt x="80" y="32"/>
                </a:cubicBezTo>
                <a:cubicBezTo>
                  <a:pt x="108" y="32"/>
                  <a:pt x="108" y="32"/>
                  <a:pt x="108" y="32"/>
                </a:cubicBezTo>
                <a:lnTo>
                  <a:pt x="108" y="48"/>
                </a:lnTo>
                <a:close/>
                <a:moveTo>
                  <a:pt x="72" y="8"/>
                </a:moveTo>
                <a:cubicBezTo>
                  <a:pt x="108" y="8"/>
                  <a:pt x="108" y="8"/>
                  <a:pt x="108" y="8"/>
                </a:cubicBezTo>
                <a:cubicBezTo>
                  <a:pt x="108" y="24"/>
                  <a:pt x="108" y="24"/>
                  <a:pt x="108" y="24"/>
                </a:cubicBezTo>
                <a:cubicBezTo>
                  <a:pt x="80" y="24"/>
                  <a:pt x="80" y="24"/>
                  <a:pt x="80" y="24"/>
                </a:cubicBezTo>
                <a:cubicBezTo>
                  <a:pt x="80" y="20"/>
                  <a:pt x="80" y="20"/>
                  <a:pt x="80" y="20"/>
                </a:cubicBezTo>
                <a:cubicBezTo>
                  <a:pt x="80" y="16"/>
                  <a:pt x="80" y="16"/>
                  <a:pt x="80" y="16"/>
                </a:cubicBezTo>
                <a:cubicBezTo>
                  <a:pt x="72" y="16"/>
                  <a:pt x="72" y="16"/>
                  <a:pt x="72" y="16"/>
                </a:cubicBezTo>
                <a:lnTo>
                  <a:pt x="72" y="8"/>
                </a:lnTo>
                <a:close/>
                <a:moveTo>
                  <a:pt x="16" y="56"/>
                </a:moveTo>
                <a:cubicBezTo>
                  <a:pt x="16" y="24"/>
                  <a:pt x="16" y="24"/>
                  <a:pt x="16" y="24"/>
                </a:cubicBezTo>
                <a:cubicBezTo>
                  <a:pt x="72" y="24"/>
                  <a:pt x="72" y="24"/>
                  <a:pt x="72" y="24"/>
                </a:cubicBezTo>
                <a:cubicBezTo>
                  <a:pt x="72" y="56"/>
                  <a:pt x="72" y="56"/>
                  <a:pt x="72" y="56"/>
                </a:cubicBezTo>
                <a:cubicBezTo>
                  <a:pt x="64" y="56"/>
                  <a:pt x="64" y="56"/>
                  <a:pt x="64" y="56"/>
                </a:cubicBezTo>
                <a:lnTo>
                  <a:pt x="16" y="56"/>
                </a:lnTo>
                <a:close/>
                <a:moveTo>
                  <a:pt x="64" y="64"/>
                </a:moveTo>
                <a:cubicBezTo>
                  <a:pt x="64" y="72"/>
                  <a:pt x="64" y="72"/>
                  <a:pt x="64" y="72"/>
                </a:cubicBezTo>
                <a:cubicBezTo>
                  <a:pt x="48" y="72"/>
                  <a:pt x="48" y="72"/>
                  <a:pt x="48" y="72"/>
                </a:cubicBezTo>
                <a:cubicBezTo>
                  <a:pt x="48" y="64"/>
                  <a:pt x="48" y="64"/>
                  <a:pt x="48" y="64"/>
                </a:cubicBezTo>
                <a:lnTo>
                  <a:pt x="64" y="64"/>
                </a:lnTo>
                <a:close/>
                <a:moveTo>
                  <a:pt x="48" y="80"/>
                </a:moveTo>
                <a:cubicBezTo>
                  <a:pt x="64" y="80"/>
                  <a:pt x="64" y="80"/>
                  <a:pt x="64" y="80"/>
                </a:cubicBezTo>
                <a:cubicBezTo>
                  <a:pt x="68" y="80"/>
                  <a:pt x="68" y="80"/>
                  <a:pt x="68" y="80"/>
                </a:cubicBezTo>
                <a:cubicBezTo>
                  <a:pt x="73" y="88"/>
                  <a:pt x="73" y="88"/>
                  <a:pt x="73" y="88"/>
                </a:cubicBezTo>
                <a:cubicBezTo>
                  <a:pt x="15" y="88"/>
                  <a:pt x="15" y="88"/>
                  <a:pt x="15" y="88"/>
                </a:cubicBezTo>
                <a:cubicBezTo>
                  <a:pt x="20" y="80"/>
                  <a:pt x="20" y="80"/>
                  <a:pt x="20" y="80"/>
                </a:cubicBezTo>
                <a:cubicBezTo>
                  <a:pt x="40" y="80"/>
                  <a:pt x="40" y="80"/>
                  <a:pt x="40" y="80"/>
                </a:cubicBezTo>
                <a:lnTo>
                  <a:pt x="48" y="80"/>
                </a:lnTo>
                <a:close/>
                <a:moveTo>
                  <a:pt x="112" y="96"/>
                </a:moveTo>
                <a:cubicBezTo>
                  <a:pt x="96" y="96"/>
                  <a:pt x="96" y="96"/>
                  <a:pt x="96" y="96"/>
                </a:cubicBezTo>
                <a:cubicBezTo>
                  <a:pt x="96" y="91"/>
                  <a:pt x="100" y="88"/>
                  <a:pt x="104" y="88"/>
                </a:cubicBezTo>
                <a:cubicBezTo>
                  <a:pt x="109" y="88"/>
                  <a:pt x="112" y="91"/>
                  <a:pt x="112" y="96"/>
                </a:cubicBezTo>
                <a:close/>
                <a:moveTo>
                  <a:pt x="104" y="20"/>
                </a:moveTo>
                <a:cubicBezTo>
                  <a:pt x="96" y="20"/>
                  <a:pt x="96" y="20"/>
                  <a:pt x="96" y="20"/>
                </a:cubicBezTo>
                <a:cubicBezTo>
                  <a:pt x="96" y="12"/>
                  <a:pt x="96" y="12"/>
                  <a:pt x="96" y="12"/>
                </a:cubicBezTo>
                <a:cubicBezTo>
                  <a:pt x="104" y="12"/>
                  <a:pt x="104" y="12"/>
                  <a:pt x="104" y="12"/>
                </a:cubicBezTo>
                <a:lnTo>
                  <a:pt x="104"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7" name="Freeform 16"/>
          <p:cNvSpPr>
            <a:spLocks noEditPoints="1"/>
          </p:cNvSpPr>
          <p:nvPr/>
        </p:nvSpPr>
        <p:spPr bwMode="auto">
          <a:xfrm>
            <a:off x="3211067" y="5402262"/>
            <a:ext cx="598487" cy="484981"/>
          </a:xfrm>
          <a:custGeom>
            <a:avLst/>
            <a:gdLst>
              <a:gd name="T0" fmla="*/ 0 w 116"/>
              <a:gd name="T1" fmla="*/ 96 h 96"/>
              <a:gd name="T2" fmla="*/ 78 w 116"/>
              <a:gd name="T3" fmla="*/ 80 h 96"/>
              <a:gd name="T4" fmla="*/ 112 w 116"/>
              <a:gd name="T5" fmla="*/ 80 h 96"/>
              <a:gd name="T6" fmla="*/ 116 w 116"/>
              <a:gd name="T7" fmla="*/ 8 h 96"/>
              <a:gd name="T8" fmla="*/ 108 w 116"/>
              <a:gd name="T9" fmla="*/ 0 h 96"/>
              <a:gd name="T10" fmla="*/ 64 w 116"/>
              <a:gd name="T11" fmla="*/ 0 h 96"/>
              <a:gd name="T12" fmla="*/ 64 w 116"/>
              <a:gd name="T13" fmla="*/ 16 h 96"/>
              <a:gd name="T14" fmla="*/ 8 w 116"/>
              <a:gd name="T15" fmla="*/ 20 h 96"/>
              <a:gd name="T16" fmla="*/ 8 w 116"/>
              <a:gd name="T17" fmla="*/ 56 h 96"/>
              <a:gd name="T18" fmla="*/ 16 w 116"/>
              <a:gd name="T19" fmla="*/ 64 h 96"/>
              <a:gd name="T20" fmla="*/ 40 w 116"/>
              <a:gd name="T21" fmla="*/ 72 h 96"/>
              <a:gd name="T22" fmla="*/ 108 w 116"/>
              <a:gd name="T23" fmla="*/ 72 h 96"/>
              <a:gd name="T24" fmla="*/ 72 w 116"/>
              <a:gd name="T25" fmla="*/ 64 h 96"/>
              <a:gd name="T26" fmla="*/ 80 w 116"/>
              <a:gd name="T27" fmla="*/ 56 h 96"/>
              <a:gd name="T28" fmla="*/ 108 w 116"/>
              <a:gd name="T29" fmla="*/ 72 h 96"/>
              <a:gd name="T30" fmla="*/ 80 w 116"/>
              <a:gd name="T31" fmla="*/ 48 h 96"/>
              <a:gd name="T32" fmla="*/ 108 w 116"/>
              <a:gd name="T33" fmla="*/ 32 h 96"/>
              <a:gd name="T34" fmla="*/ 72 w 116"/>
              <a:gd name="T35" fmla="*/ 8 h 96"/>
              <a:gd name="T36" fmla="*/ 108 w 116"/>
              <a:gd name="T37" fmla="*/ 24 h 96"/>
              <a:gd name="T38" fmla="*/ 80 w 116"/>
              <a:gd name="T39" fmla="*/ 20 h 96"/>
              <a:gd name="T40" fmla="*/ 72 w 116"/>
              <a:gd name="T41" fmla="*/ 16 h 96"/>
              <a:gd name="T42" fmla="*/ 16 w 116"/>
              <a:gd name="T43" fmla="*/ 56 h 96"/>
              <a:gd name="T44" fmla="*/ 72 w 116"/>
              <a:gd name="T45" fmla="*/ 24 h 96"/>
              <a:gd name="T46" fmla="*/ 64 w 116"/>
              <a:gd name="T47" fmla="*/ 56 h 96"/>
              <a:gd name="T48" fmla="*/ 64 w 116"/>
              <a:gd name="T49" fmla="*/ 64 h 96"/>
              <a:gd name="T50" fmla="*/ 48 w 116"/>
              <a:gd name="T51" fmla="*/ 72 h 96"/>
              <a:gd name="T52" fmla="*/ 64 w 116"/>
              <a:gd name="T53" fmla="*/ 64 h 96"/>
              <a:gd name="T54" fmla="*/ 64 w 116"/>
              <a:gd name="T55" fmla="*/ 80 h 96"/>
              <a:gd name="T56" fmla="*/ 73 w 116"/>
              <a:gd name="T57" fmla="*/ 88 h 96"/>
              <a:gd name="T58" fmla="*/ 20 w 116"/>
              <a:gd name="T59" fmla="*/ 80 h 96"/>
              <a:gd name="T60" fmla="*/ 48 w 116"/>
              <a:gd name="T61" fmla="*/ 80 h 96"/>
              <a:gd name="T62" fmla="*/ 96 w 116"/>
              <a:gd name="T63" fmla="*/ 96 h 96"/>
              <a:gd name="T64" fmla="*/ 112 w 116"/>
              <a:gd name="T65" fmla="*/ 96 h 96"/>
              <a:gd name="T66" fmla="*/ 96 w 116"/>
              <a:gd name="T67" fmla="*/ 20 h 96"/>
              <a:gd name="T68" fmla="*/ 104 w 116"/>
              <a:gd name="T6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96">
                <a:moveTo>
                  <a:pt x="16" y="72"/>
                </a:moveTo>
                <a:cubicBezTo>
                  <a:pt x="0" y="96"/>
                  <a:pt x="0" y="96"/>
                  <a:pt x="0" y="96"/>
                </a:cubicBezTo>
                <a:cubicBezTo>
                  <a:pt x="88" y="96"/>
                  <a:pt x="88" y="96"/>
                  <a:pt x="88" y="96"/>
                </a:cubicBezTo>
                <a:cubicBezTo>
                  <a:pt x="78" y="80"/>
                  <a:pt x="78" y="80"/>
                  <a:pt x="78" y="80"/>
                </a:cubicBezTo>
                <a:cubicBezTo>
                  <a:pt x="108" y="80"/>
                  <a:pt x="108" y="80"/>
                  <a:pt x="108" y="80"/>
                </a:cubicBezTo>
                <a:cubicBezTo>
                  <a:pt x="112" y="80"/>
                  <a:pt x="112" y="80"/>
                  <a:pt x="112" y="80"/>
                </a:cubicBezTo>
                <a:cubicBezTo>
                  <a:pt x="116" y="80"/>
                  <a:pt x="116" y="80"/>
                  <a:pt x="116" y="80"/>
                </a:cubicBezTo>
                <a:cubicBezTo>
                  <a:pt x="116" y="8"/>
                  <a:pt x="116" y="8"/>
                  <a:pt x="116" y="8"/>
                </a:cubicBezTo>
                <a:cubicBezTo>
                  <a:pt x="116" y="0"/>
                  <a:pt x="116" y="0"/>
                  <a:pt x="116" y="0"/>
                </a:cubicBezTo>
                <a:cubicBezTo>
                  <a:pt x="108" y="0"/>
                  <a:pt x="108" y="0"/>
                  <a:pt x="108" y="0"/>
                </a:cubicBezTo>
                <a:cubicBezTo>
                  <a:pt x="72" y="0"/>
                  <a:pt x="72" y="0"/>
                  <a:pt x="72" y="0"/>
                </a:cubicBezTo>
                <a:cubicBezTo>
                  <a:pt x="64" y="0"/>
                  <a:pt x="64" y="0"/>
                  <a:pt x="64" y="0"/>
                </a:cubicBezTo>
                <a:cubicBezTo>
                  <a:pt x="64" y="8"/>
                  <a:pt x="64" y="8"/>
                  <a:pt x="64" y="8"/>
                </a:cubicBezTo>
                <a:cubicBezTo>
                  <a:pt x="64" y="16"/>
                  <a:pt x="64" y="16"/>
                  <a:pt x="64" y="16"/>
                </a:cubicBezTo>
                <a:cubicBezTo>
                  <a:pt x="8" y="16"/>
                  <a:pt x="8" y="16"/>
                  <a:pt x="8" y="16"/>
                </a:cubicBezTo>
                <a:cubicBezTo>
                  <a:pt x="8" y="20"/>
                  <a:pt x="8" y="20"/>
                  <a:pt x="8" y="20"/>
                </a:cubicBezTo>
                <a:cubicBezTo>
                  <a:pt x="8" y="24"/>
                  <a:pt x="8" y="24"/>
                  <a:pt x="8" y="24"/>
                </a:cubicBezTo>
                <a:cubicBezTo>
                  <a:pt x="8" y="56"/>
                  <a:pt x="8" y="56"/>
                  <a:pt x="8" y="56"/>
                </a:cubicBezTo>
                <a:cubicBezTo>
                  <a:pt x="8" y="64"/>
                  <a:pt x="8" y="64"/>
                  <a:pt x="8" y="64"/>
                </a:cubicBezTo>
                <a:cubicBezTo>
                  <a:pt x="16" y="64"/>
                  <a:pt x="16" y="64"/>
                  <a:pt x="16" y="64"/>
                </a:cubicBezTo>
                <a:cubicBezTo>
                  <a:pt x="40" y="64"/>
                  <a:pt x="40" y="64"/>
                  <a:pt x="40" y="64"/>
                </a:cubicBezTo>
                <a:cubicBezTo>
                  <a:pt x="40" y="72"/>
                  <a:pt x="40" y="72"/>
                  <a:pt x="40" y="72"/>
                </a:cubicBezTo>
                <a:lnTo>
                  <a:pt x="16" y="72"/>
                </a:lnTo>
                <a:close/>
                <a:moveTo>
                  <a:pt x="108" y="72"/>
                </a:moveTo>
                <a:cubicBezTo>
                  <a:pt x="72" y="72"/>
                  <a:pt x="72" y="72"/>
                  <a:pt x="72" y="72"/>
                </a:cubicBezTo>
                <a:cubicBezTo>
                  <a:pt x="72" y="64"/>
                  <a:pt x="72" y="64"/>
                  <a:pt x="72" y="64"/>
                </a:cubicBezTo>
                <a:cubicBezTo>
                  <a:pt x="80" y="64"/>
                  <a:pt x="80" y="64"/>
                  <a:pt x="80" y="64"/>
                </a:cubicBezTo>
                <a:cubicBezTo>
                  <a:pt x="80" y="56"/>
                  <a:pt x="80" y="56"/>
                  <a:pt x="80" y="56"/>
                </a:cubicBezTo>
                <a:cubicBezTo>
                  <a:pt x="108" y="56"/>
                  <a:pt x="108" y="56"/>
                  <a:pt x="108" y="56"/>
                </a:cubicBezTo>
                <a:lnTo>
                  <a:pt x="108" y="72"/>
                </a:lnTo>
                <a:close/>
                <a:moveTo>
                  <a:pt x="108" y="48"/>
                </a:moveTo>
                <a:cubicBezTo>
                  <a:pt x="80" y="48"/>
                  <a:pt x="80" y="48"/>
                  <a:pt x="80" y="48"/>
                </a:cubicBezTo>
                <a:cubicBezTo>
                  <a:pt x="80" y="32"/>
                  <a:pt x="80" y="32"/>
                  <a:pt x="80" y="32"/>
                </a:cubicBezTo>
                <a:cubicBezTo>
                  <a:pt x="108" y="32"/>
                  <a:pt x="108" y="32"/>
                  <a:pt x="108" y="32"/>
                </a:cubicBezTo>
                <a:lnTo>
                  <a:pt x="108" y="48"/>
                </a:lnTo>
                <a:close/>
                <a:moveTo>
                  <a:pt x="72" y="8"/>
                </a:moveTo>
                <a:cubicBezTo>
                  <a:pt x="108" y="8"/>
                  <a:pt x="108" y="8"/>
                  <a:pt x="108" y="8"/>
                </a:cubicBezTo>
                <a:cubicBezTo>
                  <a:pt x="108" y="24"/>
                  <a:pt x="108" y="24"/>
                  <a:pt x="108" y="24"/>
                </a:cubicBezTo>
                <a:cubicBezTo>
                  <a:pt x="80" y="24"/>
                  <a:pt x="80" y="24"/>
                  <a:pt x="80" y="24"/>
                </a:cubicBezTo>
                <a:cubicBezTo>
                  <a:pt x="80" y="20"/>
                  <a:pt x="80" y="20"/>
                  <a:pt x="80" y="20"/>
                </a:cubicBezTo>
                <a:cubicBezTo>
                  <a:pt x="80" y="16"/>
                  <a:pt x="80" y="16"/>
                  <a:pt x="80" y="16"/>
                </a:cubicBezTo>
                <a:cubicBezTo>
                  <a:pt x="72" y="16"/>
                  <a:pt x="72" y="16"/>
                  <a:pt x="72" y="16"/>
                </a:cubicBezTo>
                <a:lnTo>
                  <a:pt x="72" y="8"/>
                </a:lnTo>
                <a:close/>
                <a:moveTo>
                  <a:pt x="16" y="56"/>
                </a:moveTo>
                <a:cubicBezTo>
                  <a:pt x="16" y="24"/>
                  <a:pt x="16" y="24"/>
                  <a:pt x="16" y="24"/>
                </a:cubicBezTo>
                <a:cubicBezTo>
                  <a:pt x="72" y="24"/>
                  <a:pt x="72" y="24"/>
                  <a:pt x="72" y="24"/>
                </a:cubicBezTo>
                <a:cubicBezTo>
                  <a:pt x="72" y="56"/>
                  <a:pt x="72" y="56"/>
                  <a:pt x="72" y="56"/>
                </a:cubicBezTo>
                <a:cubicBezTo>
                  <a:pt x="64" y="56"/>
                  <a:pt x="64" y="56"/>
                  <a:pt x="64" y="56"/>
                </a:cubicBezTo>
                <a:lnTo>
                  <a:pt x="16" y="56"/>
                </a:lnTo>
                <a:close/>
                <a:moveTo>
                  <a:pt x="64" y="64"/>
                </a:moveTo>
                <a:cubicBezTo>
                  <a:pt x="64" y="72"/>
                  <a:pt x="64" y="72"/>
                  <a:pt x="64" y="72"/>
                </a:cubicBezTo>
                <a:cubicBezTo>
                  <a:pt x="48" y="72"/>
                  <a:pt x="48" y="72"/>
                  <a:pt x="48" y="72"/>
                </a:cubicBezTo>
                <a:cubicBezTo>
                  <a:pt x="48" y="64"/>
                  <a:pt x="48" y="64"/>
                  <a:pt x="48" y="64"/>
                </a:cubicBezTo>
                <a:lnTo>
                  <a:pt x="64" y="64"/>
                </a:lnTo>
                <a:close/>
                <a:moveTo>
                  <a:pt x="48" y="80"/>
                </a:moveTo>
                <a:cubicBezTo>
                  <a:pt x="64" y="80"/>
                  <a:pt x="64" y="80"/>
                  <a:pt x="64" y="80"/>
                </a:cubicBezTo>
                <a:cubicBezTo>
                  <a:pt x="68" y="80"/>
                  <a:pt x="68" y="80"/>
                  <a:pt x="68" y="80"/>
                </a:cubicBezTo>
                <a:cubicBezTo>
                  <a:pt x="73" y="88"/>
                  <a:pt x="73" y="88"/>
                  <a:pt x="73" y="88"/>
                </a:cubicBezTo>
                <a:cubicBezTo>
                  <a:pt x="15" y="88"/>
                  <a:pt x="15" y="88"/>
                  <a:pt x="15" y="88"/>
                </a:cubicBezTo>
                <a:cubicBezTo>
                  <a:pt x="20" y="80"/>
                  <a:pt x="20" y="80"/>
                  <a:pt x="20" y="80"/>
                </a:cubicBezTo>
                <a:cubicBezTo>
                  <a:pt x="40" y="80"/>
                  <a:pt x="40" y="80"/>
                  <a:pt x="40" y="80"/>
                </a:cubicBezTo>
                <a:lnTo>
                  <a:pt x="48" y="80"/>
                </a:lnTo>
                <a:close/>
                <a:moveTo>
                  <a:pt x="112" y="96"/>
                </a:moveTo>
                <a:cubicBezTo>
                  <a:pt x="96" y="96"/>
                  <a:pt x="96" y="96"/>
                  <a:pt x="96" y="96"/>
                </a:cubicBezTo>
                <a:cubicBezTo>
                  <a:pt x="96" y="91"/>
                  <a:pt x="100" y="88"/>
                  <a:pt x="104" y="88"/>
                </a:cubicBezTo>
                <a:cubicBezTo>
                  <a:pt x="109" y="88"/>
                  <a:pt x="112" y="91"/>
                  <a:pt x="112" y="96"/>
                </a:cubicBezTo>
                <a:close/>
                <a:moveTo>
                  <a:pt x="104" y="20"/>
                </a:moveTo>
                <a:cubicBezTo>
                  <a:pt x="96" y="20"/>
                  <a:pt x="96" y="20"/>
                  <a:pt x="96" y="20"/>
                </a:cubicBezTo>
                <a:cubicBezTo>
                  <a:pt x="96" y="12"/>
                  <a:pt x="96" y="12"/>
                  <a:pt x="96" y="12"/>
                </a:cubicBezTo>
                <a:cubicBezTo>
                  <a:pt x="104" y="12"/>
                  <a:pt x="104" y="12"/>
                  <a:pt x="104" y="12"/>
                </a:cubicBezTo>
                <a:lnTo>
                  <a:pt x="104"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8" name="Freeform 17"/>
          <p:cNvSpPr>
            <a:spLocks noEditPoints="1"/>
          </p:cNvSpPr>
          <p:nvPr/>
        </p:nvSpPr>
        <p:spPr bwMode="auto">
          <a:xfrm>
            <a:off x="1827901" y="5388881"/>
            <a:ext cx="598487" cy="484981"/>
          </a:xfrm>
          <a:custGeom>
            <a:avLst/>
            <a:gdLst>
              <a:gd name="T0" fmla="*/ 0 w 116"/>
              <a:gd name="T1" fmla="*/ 96 h 96"/>
              <a:gd name="T2" fmla="*/ 78 w 116"/>
              <a:gd name="T3" fmla="*/ 80 h 96"/>
              <a:gd name="T4" fmla="*/ 112 w 116"/>
              <a:gd name="T5" fmla="*/ 80 h 96"/>
              <a:gd name="T6" fmla="*/ 116 w 116"/>
              <a:gd name="T7" fmla="*/ 8 h 96"/>
              <a:gd name="T8" fmla="*/ 108 w 116"/>
              <a:gd name="T9" fmla="*/ 0 h 96"/>
              <a:gd name="T10" fmla="*/ 64 w 116"/>
              <a:gd name="T11" fmla="*/ 0 h 96"/>
              <a:gd name="T12" fmla="*/ 64 w 116"/>
              <a:gd name="T13" fmla="*/ 16 h 96"/>
              <a:gd name="T14" fmla="*/ 8 w 116"/>
              <a:gd name="T15" fmla="*/ 20 h 96"/>
              <a:gd name="T16" fmla="*/ 8 w 116"/>
              <a:gd name="T17" fmla="*/ 56 h 96"/>
              <a:gd name="T18" fmla="*/ 16 w 116"/>
              <a:gd name="T19" fmla="*/ 64 h 96"/>
              <a:gd name="T20" fmla="*/ 40 w 116"/>
              <a:gd name="T21" fmla="*/ 72 h 96"/>
              <a:gd name="T22" fmla="*/ 108 w 116"/>
              <a:gd name="T23" fmla="*/ 72 h 96"/>
              <a:gd name="T24" fmla="*/ 72 w 116"/>
              <a:gd name="T25" fmla="*/ 64 h 96"/>
              <a:gd name="T26" fmla="*/ 80 w 116"/>
              <a:gd name="T27" fmla="*/ 56 h 96"/>
              <a:gd name="T28" fmla="*/ 108 w 116"/>
              <a:gd name="T29" fmla="*/ 72 h 96"/>
              <a:gd name="T30" fmla="*/ 80 w 116"/>
              <a:gd name="T31" fmla="*/ 48 h 96"/>
              <a:gd name="T32" fmla="*/ 108 w 116"/>
              <a:gd name="T33" fmla="*/ 32 h 96"/>
              <a:gd name="T34" fmla="*/ 72 w 116"/>
              <a:gd name="T35" fmla="*/ 8 h 96"/>
              <a:gd name="T36" fmla="*/ 108 w 116"/>
              <a:gd name="T37" fmla="*/ 24 h 96"/>
              <a:gd name="T38" fmla="*/ 80 w 116"/>
              <a:gd name="T39" fmla="*/ 20 h 96"/>
              <a:gd name="T40" fmla="*/ 72 w 116"/>
              <a:gd name="T41" fmla="*/ 16 h 96"/>
              <a:gd name="T42" fmla="*/ 16 w 116"/>
              <a:gd name="T43" fmla="*/ 56 h 96"/>
              <a:gd name="T44" fmla="*/ 72 w 116"/>
              <a:gd name="T45" fmla="*/ 24 h 96"/>
              <a:gd name="T46" fmla="*/ 64 w 116"/>
              <a:gd name="T47" fmla="*/ 56 h 96"/>
              <a:gd name="T48" fmla="*/ 64 w 116"/>
              <a:gd name="T49" fmla="*/ 64 h 96"/>
              <a:gd name="T50" fmla="*/ 48 w 116"/>
              <a:gd name="T51" fmla="*/ 72 h 96"/>
              <a:gd name="T52" fmla="*/ 64 w 116"/>
              <a:gd name="T53" fmla="*/ 64 h 96"/>
              <a:gd name="T54" fmla="*/ 64 w 116"/>
              <a:gd name="T55" fmla="*/ 80 h 96"/>
              <a:gd name="T56" fmla="*/ 73 w 116"/>
              <a:gd name="T57" fmla="*/ 88 h 96"/>
              <a:gd name="T58" fmla="*/ 20 w 116"/>
              <a:gd name="T59" fmla="*/ 80 h 96"/>
              <a:gd name="T60" fmla="*/ 48 w 116"/>
              <a:gd name="T61" fmla="*/ 80 h 96"/>
              <a:gd name="T62" fmla="*/ 96 w 116"/>
              <a:gd name="T63" fmla="*/ 96 h 96"/>
              <a:gd name="T64" fmla="*/ 112 w 116"/>
              <a:gd name="T65" fmla="*/ 96 h 96"/>
              <a:gd name="T66" fmla="*/ 96 w 116"/>
              <a:gd name="T67" fmla="*/ 20 h 96"/>
              <a:gd name="T68" fmla="*/ 104 w 116"/>
              <a:gd name="T6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96">
                <a:moveTo>
                  <a:pt x="16" y="72"/>
                </a:moveTo>
                <a:cubicBezTo>
                  <a:pt x="0" y="96"/>
                  <a:pt x="0" y="96"/>
                  <a:pt x="0" y="96"/>
                </a:cubicBezTo>
                <a:cubicBezTo>
                  <a:pt x="88" y="96"/>
                  <a:pt x="88" y="96"/>
                  <a:pt x="88" y="96"/>
                </a:cubicBezTo>
                <a:cubicBezTo>
                  <a:pt x="78" y="80"/>
                  <a:pt x="78" y="80"/>
                  <a:pt x="78" y="80"/>
                </a:cubicBezTo>
                <a:cubicBezTo>
                  <a:pt x="108" y="80"/>
                  <a:pt x="108" y="80"/>
                  <a:pt x="108" y="80"/>
                </a:cubicBezTo>
                <a:cubicBezTo>
                  <a:pt x="112" y="80"/>
                  <a:pt x="112" y="80"/>
                  <a:pt x="112" y="80"/>
                </a:cubicBezTo>
                <a:cubicBezTo>
                  <a:pt x="116" y="80"/>
                  <a:pt x="116" y="80"/>
                  <a:pt x="116" y="80"/>
                </a:cubicBezTo>
                <a:cubicBezTo>
                  <a:pt x="116" y="8"/>
                  <a:pt x="116" y="8"/>
                  <a:pt x="116" y="8"/>
                </a:cubicBezTo>
                <a:cubicBezTo>
                  <a:pt x="116" y="0"/>
                  <a:pt x="116" y="0"/>
                  <a:pt x="116" y="0"/>
                </a:cubicBezTo>
                <a:cubicBezTo>
                  <a:pt x="108" y="0"/>
                  <a:pt x="108" y="0"/>
                  <a:pt x="108" y="0"/>
                </a:cubicBezTo>
                <a:cubicBezTo>
                  <a:pt x="72" y="0"/>
                  <a:pt x="72" y="0"/>
                  <a:pt x="72" y="0"/>
                </a:cubicBezTo>
                <a:cubicBezTo>
                  <a:pt x="64" y="0"/>
                  <a:pt x="64" y="0"/>
                  <a:pt x="64" y="0"/>
                </a:cubicBezTo>
                <a:cubicBezTo>
                  <a:pt x="64" y="8"/>
                  <a:pt x="64" y="8"/>
                  <a:pt x="64" y="8"/>
                </a:cubicBezTo>
                <a:cubicBezTo>
                  <a:pt x="64" y="16"/>
                  <a:pt x="64" y="16"/>
                  <a:pt x="64" y="16"/>
                </a:cubicBezTo>
                <a:cubicBezTo>
                  <a:pt x="8" y="16"/>
                  <a:pt x="8" y="16"/>
                  <a:pt x="8" y="16"/>
                </a:cubicBezTo>
                <a:cubicBezTo>
                  <a:pt x="8" y="20"/>
                  <a:pt x="8" y="20"/>
                  <a:pt x="8" y="20"/>
                </a:cubicBezTo>
                <a:cubicBezTo>
                  <a:pt x="8" y="24"/>
                  <a:pt x="8" y="24"/>
                  <a:pt x="8" y="24"/>
                </a:cubicBezTo>
                <a:cubicBezTo>
                  <a:pt x="8" y="56"/>
                  <a:pt x="8" y="56"/>
                  <a:pt x="8" y="56"/>
                </a:cubicBezTo>
                <a:cubicBezTo>
                  <a:pt x="8" y="64"/>
                  <a:pt x="8" y="64"/>
                  <a:pt x="8" y="64"/>
                </a:cubicBezTo>
                <a:cubicBezTo>
                  <a:pt x="16" y="64"/>
                  <a:pt x="16" y="64"/>
                  <a:pt x="16" y="64"/>
                </a:cubicBezTo>
                <a:cubicBezTo>
                  <a:pt x="40" y="64"/>
                  <a:pt x="40" y="64"/>
                  <a:pt x="40" y="64"/>
                </a:cubicBezTo>
                <a:cubicBezTo>
                  <a:pt x="40" y="72"/>
                  <a:pt x="40" y="72"/>
                  <a:pt x="40" y="72"/>
                </a:cubicBezTo>
                <a:lnTo>
                  <a:pt x="16" y="72"/>
                </a:lnTo>
                <a:close/>
                <a:moveTo>
                  <a:pt x="108" y="72"/>
                </a:moveTo>
                <a:cubicBezTo>
                  <a:pt x="72" y="72"/>
                  <a:pt x="72" y="72"/>
                  <a:pt x="72" y="72"/>
                </a:cubicBezTo>
                <a:cubicBezTo>
                  <a:pt x="72" y="64"/>
                  <a:pt x="72" y="64"/>
                  <a:pt x="72" y="64"/>
                </a:cubicBezTo>
                <a:cubicBezTo>
                  <a:pt x="80" y="64"/>
                  <a:pt x="80" y="64"/>
                  <a:pt x="80" y="64"/>
                </a:cubicBezTo>
                <a:cubicBezTo>
                  <a:pt x="80" y="56"/>
                  <a:pt x="80" y="56"/>
                  <a:pt x="80" y="56"/>
                </a:cubicBezTo>
                <a:cubicBezTo>
                  <a:pt x="108" y="56"/>
                  <a:pt x="108" y="56"/>
                  <a:pt x="108" y="56"/>
                </a:cubicBezTo>
                <a:lnTo>
                  <a:pt x="108" y="72"/>
                </a:lnTo>
                <a:close/>
                <a:moveTo>
                  <a:pt x="108" y="48"/>
                </a:moveTo>
                <a:cubicBezTo>
                  <a:pt x="80" y="48"/>
                  <a:pt x="80" y="48"/>
                  <a:pt x="80" y="48"/>
                </a:cubicBezTo>
                <a:cubicBezTo>
                  <a:pt x="80" y="32"/>
                  <a:pt x="80" y="32"/>
                  <a:pt x="80" y="32"/>
                </a:cubicBezTo>
                <a:cubicBezTo>
                  <a:pt x="108" y="32"/>
                  <a:pt x="108" y="32"/>
                  <a:pt x="108" y="32"/>
                </a:cubicBezTo>
                <a:lnTo>
                  <a:pt x="108" y="48"/>
                </a:lnTo>
                <a:close/>
                <a:moveTo>
                  <a:pt x="72" y="8"/>
                </a:moveTo>
                <a:cubicBezTo>
                  <a:pt x="108" y="8"/>
                  <a:pt x="108" y="8"/>
                  <a:pt x="108" y="8"/>
                </a:cubicBezTo>
                <a:cubicBezTo>
                  <a:pt x="108" y="24"/>
                  <a:pt x="108" y="24"/>
                  <a:pt x="108" y="24"/>
                </a:cubicBezTo>
                <a:cubicBezTo>
                  <a:pt x="80" y="24"/>
                  <a:pt x="80" y="24"/>
                  <a:pt x="80" y="24"/>
                </a:cubicBezTo>
                <a:cubicBezTo>
                  <a:pt x="80" y="20"/>
                  <a:pt x="80" y="20"/>
                  <a:pt x="80" y="20"/>
                </a:cubicBezTo>
                <a:cubicBezTo>
                  <a:pt x="80" y="16"/>
                  <a:pt x="80" y="16"/>
                  <a:pt x="80" y="16"/>
                </a:cubicBezTo>
                <a:cubicBezTo>
                  <a:pt x="72" y="16"/>
                  <a:pt x="72" y="16"/>
                  <a:pt x="72" y="16"/>
                </a:cubicBezTo>
                <a:lnTo>
                  <a:pt x="72" y="8"/>
                </a:lnTo>
                <a:close/>
                <a:moveTo>
                  <a:pt x="16" y="56"/>
                </a:moveTo>
                <a:cubicBezTo>
                  <a:pt x="16" y="24"/>
                  <a:pt x="16" y="24"/>
                  <a:pt x="16" y="24"/>
                </a:cubicBezTo>
                <a:cubicBezTo>
                  <a:pt x="72" y="24"/>
                  <a:pt x="72" y="24"/>
                  <a:pt x="72" y="24"/>
                </a:cubicBezTo>
                <a:cubicBezTo>
                  <a:pt x="72" y="56"/>
                  <a:pt x="72" y="56"/>
                  <a:pt x="72" y="56"/>
                </a:cubicBezTo>
                <a:cubicBezTo>
                  <a:pt x="64" y="56"/>
                  <a:pt x="64" y="56"/>
                  <a:pt x="64" y="56"/>
                </a:cubicBezTo>
                <a:lnTo>
                  <a:pt x="16" y="56"/>
                </a:lnTo>
                <a:close/>
                <a:moveTo>
                  <a:pt x="64" y="64"/>
                </a:moveTo>
                <a:cubicBezTo>
                  <a:pt x="64" y="72"/>
                  <a:pt x="64" y="72"/>
                  <a:pt x="64" y="72"/>
                </a:cubicBezTo>
                <a:cubicBezTo>
                  <a:pt x="48" y="72"/>
                  <a:pt x="48" y="72"/>
                  <a:pt x="48" y="72"/>
                </a:cubicBezTo>
                <a:cubicBezTo>
                  <a:pt x="48" y="64"/>
                  <a:pt x="48" y="64"/>
                  <a:pt x="48" y="64"/>
                </a:cubicBezTo>
                <a:lnTo>
                  <a:pt x="64" y="64"/>
                </a:lnTo>
                <a:close/>
                <a:moveTo>
                  <a:pt x="48" y="80"/>
                </a:moveTo>
                <a:cubicBezTo>
                  <a:pt x="64" y="80"/>
                  <a:pt x="64" y="80"/>
                  <a:pt x="64" y="80"/>
                </a:cubicBezTo>
                <a:cubicBezTo>
                  <a:pt x="68" y="80"/>
                  <a:pt x="68" y="80"/>
                  <a:pt x="68" y="80"/>
                </a:cubicBezTo>
                <a:cubicBezTo>
                  <a:pt x="73" y="88"/>
                  <a:pt x="73" y="88"/>
                  <a:pt x="73" y="88"/>
                </a:cubicBezTo>
                <a:cubicBezTo>
                  <a:pt x="15" y="88"/>
                  <a:pt x="15" y="88"/>
                  <a:pt x="15" y="88"/>
                </a:cubicBezTo>
                <a:cubicBezTo>
                  <a:pt x="20" y="80"/>
                  <a:pt x="20" y="80"/>
                  <a:pt x="20" y="80"/>
                </a:cubicBezTo>
                <a:cubicBezTo>
                  <a:pt x="40" y="80"/>
                  <a:pt x="40" y="80"/>
                  <a:pt x="40" y="80"/>
                </a:cubicBezTo>
                <a:lnTo>
                  <a:pt x="48" y="80"/>
                </a:lnTo>
                <a:close/>
                <a:moveTo>
                  <a:pt x="112" y="96"/>
                </a:moveTo>
                <a:cubicBezTo>
                  <a:pt x="96" y="96"/>
                  <a:pt x="96" y="96"/>
                  <a:pt x="96" y="96"/>
                </a:cubicBezTo>
                <a:cubicBezTo>
                  <a:pt x="96" y="91"/>
                  <a:pt x="100" y="88"/>
                  <a:pt x="104" y="88"/>
                </a:cubicBezTo>
                <a:cubicBezTo>
                  <a:pt x="109" y="88"/>
                  <a:pt x="112" y="91"/>
                  <a:pt x="112" y="96"/>
                </a:cubicBezTo>
                <a:close/>
                <a:moveTo>
                  <a:pt x="104" y="20"/>
                </a:moveTo>
                <a:cubicBezTo>
                  <a:pt x="96" y="20"/>
                  <a:pt x="96" y="20"/>
                  <a:pt x="96" y="20"/>
                </a:cubicBezTo>
                <a:cubicBezTo>
                  <a:pt x="96" y="12"/>
                  <a:pt x="96" y="12"/>
                  <a:pt x="96" y="12"/>
                </a:cubicBezTo>
                <a:cubicBezTo>
                  <a:pt x="104" y="12"/>
                  <a:pt x="104" y="12"/>
                  <a:pt x="104" y="12"/>
                </a:cubicBezTo>
                <a:lnTo>
                  <a:pt x="104" y="2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9" name="TextBox 18"/>
          <p:cNvSpPr txBox="1"/>
          <p:nvPr/>
        </p:nvSpPr>
        <p:spPr>
          <a:xfrm>
            <a:off x="2560637" y="5478462"/>
            <a:ext cx="381000" cy="6278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a:t>
            </a:r>
          </a:p>
        </p:txBody>
      </p:sp>
      <p:sp>
        <p:nvSpPr>
          <p:cNvPr id="20" name="TextBox 19"/>
          <p:cNvSpPr txBox="1"/>
          <p:nvPr/>
        </p:nvSpPr>
        <p:spPr>
          <a:xfrm>
            <a:off x="884236" y="3642121"/>
            <a:ext cx="1542151" cy="760208"/>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VPN/</a:t>
            </a:r>
          </a:p>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1" u="none" strike="noStrike" kern="0" cap="none" spc="0" normalizeH="0" baseline="0" noProof="0" dirty="0">
                <a:ln>
                  <a:noFill/>
                </a:ln>
                <a:gradFill>
                  <a:gsLst>
                    <a:gs pos="2917">
                      <a:schemeClr val="tx1"/>
                    </a:gs>
                    <a:gs pos="30000">
                      <a:schemeClr val="tx1"/>
                    </a:gs>
                  </a:gsLst>
                  <a:lin ang="5400000" scaled="0"/>
                </a:gradFill>
                <a:effectLst/>
                <a:uLnTx/>
                <a:uFillTx/>
                <a:latin typeface="+mj-lt"/>
              </a:rPr>
              <a:t>ExpressRoute</a:t>
            </a:r>
          </a:p>
        </p:txBody>
      </p:sp>
      <p:cxnSp>
        <p:nvCxnSpPr>
          <p:cNvPr id="21" name="Elbow Connector 20"/>
          <p:cNvCxnSpPr>
            <a:endCxn id="9" idx="1"/>
          </p:cNvCxnSpPr>
          <p:nvPr/>
        </p:nvCxnSpPr>
        <p:spPr>
          <a:xfrm rot="5400000" flipH="1" flipV="1">
            <a:off x="1083571" y="2832341"/>
            <a:ext cx="3728809" cy="1384277"/>
          </a:xfrm>
          <a:prstGeom prst="bentConnector2">
            <a:avLst/>
          </a:prstGeom>
          <a:ln>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922837" y="982662"/>
            <a:ext cx="7308571" cy="5142946"/>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Microsoft </a:t>
            </a:r>
            <a:r>
              <a:rPr kumimoji="0" lang="en-US" sz="2000" b="0" i="0" u="sng" strike="noStrike" kern="0" cap="none" spc="0" normalizeH="0" baseline="0" noProof="0" dirty="0">
                <a:ln>
                  <a:noFill/>
                </a:ln>
                <a:gradFill>
                  <a:gsLst>
                    <a:gs pos="2917">
                      <a:schemeClr val="tx1"/>
                    </a:gs>
                    <a:gs pos="30000">
                      <a:schemeClr val="tx1"/>
                    </a:gs>
                  </a:gsLst>
                  <a:lin ang="5400000" scaled="0"/>
                </a:gradFill>
                <a:effectLst/>
                <a:uLnTx/>
                <a:uFillTx/>
                <a:latin typeface="+mj-lt"/>
              </a:rPr>
              <a:t>does not recommend</a:t>
            </a: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 this deployment with AAD Domain Services</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For Windows 10 devices, we recommend </a:t>
            </a:r>
            <a:r>
              <a:rPr kumimoji="0" lang="en-US" sz="2000" b="1" i="0" u="none" strike="noStrike" kern="0" cap="none" spc="0" normalizeH="0" baseline="0" noProof="0" dirty="0">
                <a:ln>
                  <a:noFill/>
                </a:ln>
                <a:solidFill>
                  <a:srgbClr val="00B0F0"/>
                </a:solidFill>
                <a:effectLst/>
                <a:uLnTx/>
                <a:uFillTx/>
                <a:latin typeface="+mj-lt"/>
              </a:rPr>
              <a:t>Azure AD Join</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zure AD Join is better suited for mobile clients (e.g.. tablets, laptop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upports BYO devic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Devices are managed using MDM (Intune)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Works even in the absence of VPN/ExpressRoute connection. More resilient to VPN/ExpressRoute outag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More information: </a:t>
            </a: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hlinkClick r:id="rId4"/>
              </a:rPr>
              <a:t>https://azure.microsoft.com/en-us/documentation/articles/active-directory-azureadjoin-overview/</a:t>
            </a: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Light"/>
              </a:rPr>
              <a:t> </a:t>
            </a: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p:txBody>
      </p:sp>
      <p:sp>
        <p:nvSpPr>
          <p:cNvPr id="25" name="Multiply 24"/>
          <p:cNvSpPr/>
          <p:nvPr/>
        </p:nvSpPr>
        <p:spPr bwMode="auto">
          <a:xfrm>
            <a:off x="3703637" y="3725862"/>
            <a:ext cx="731219" cy="742678"/>
          </a:xfrm>
          <a:prstGeom prst="mathMultiply">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340093039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solidFill>
                  <a:schemeClr val="accent1"/>
                </a:solidFill>
              </a:rPr>
              <a:t>How much does it cost?</a:t>
            </a:r>
          </a:p>
        </p:txBody>
      </p:sp>
      <p:pic>
        <p:nvPicPr>
          <p:cNvPr id="3" name="Picture 2"/>
          <p:cNvPicPr>
            <a:picLocks noChangeAspect="1"/>
          </p:cNvPicPr>
          <p:nvPr/>
        </p:nvPicPr>
        <p:blipFill>
          <a:blip r:embed="rId3"/>
          <a:stretch>
            <a:fillRect/>
          </a:stretch>
        </p:blipFill>
        <p:spPr>
          <a:xfrm>
            <a:off x="603250" y="1982786"/>
            <a:ext cx="11221424" cy="3026643"/>
          </a:xfrm>
          <a:prstGeom prst="rect">
            <a:avLst/>
          </a:prstGeom>
        </p:spPr>
      </p:pic>
    </p:spTree>
    <p:extLst>
      <p:ext uri="{BB962C8B-B14F-4D97-AF65-F5344CB8AC3E}">
        <p14:creationId xmlns:p14="http://schemas.microsoft.com/office/powerpoint/2010/main" val="158666525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Azure AD Domain Services</a:t>
            </a:r>
          </a:p>
        </p:txBody>
      </p:sp>
    </p:spTree>
    <p:extLst>
      <p:ext uri="{BB962C8B-B14F-4D97-AF65-F5344CB8AC3E}">
        <p14:creationId xmlns:p14="http://schemas.microsoft.com/office/powerpoint/2010/main" val="30401120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037" y="68262"/>
            <a:ext cx="11889564" cy="917575"/>
          </a:xfrm>
        </p:spPr>
        <p:txBody>
          <a:bodyPr/>
          <a:lstStyle/>
          <a:p>
            <a:pPr>
              <a:defRPr/>
            </a:pPr>
            <a:r>
              <a:rPr lang="en-US" dirty="0"/>
              <a:t>Roadmap</a:t>
            </a:r>
          </a:p>
        </p:txBody>
      </p:sp>
      <p:sp>
        <p:nvSpPr>
          <p:cNvPr id="4" name="TextBox 3"/>
          <p:cNvSpPr txBox="1"/>
          <p:nvPr/>
        </p:nvSpPr>
        <p:spPr>
          <a:xfrm>
            <a:off x="427037" y="1058862"/>
            <a:ext cx="10441962" cy="4665893"/>
          </a:xfrm>
          <a:prstGeom prst="rect">
            <a:avLst/>
          </a:prstGeom>
          <a:noFill/>
        </p:spPr>
        <p:txBody>
          <a:bodyPr wrap="square" lIns="182880" tIns="146304" rIns="182880" bIns="146304" rtlCol="0">
            <a:spAutoFit/>
          </a:bodyPr>
          <a:lstStyle/>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zure Resource Manager (ARM) support</a:t>
            </a:r>
          </a:p>
          <a:p>
            <a:pPr marL="809271" marR="0" lvl="1"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upport for new Azure portal  (portal.azure.com) </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Resource forest deployment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chema extensions support</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upport for LDAP writes</a:t>
            </a: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endParaRPr>
          </a:p>
          <a:p>
            <a:pPr marL="342900" marR="0" lvl="0" indent="-342900"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latin typeface="+mj-lt"/>
              </a:rPr>
              <a:t>Sophisticated Group Policy support – including custom GPOs.</a:t>
            </a:r>
          </a:p>
        </p:txBody>
      </p:sp>
    </p:spTree>
    <p:extLst>
      <p:ext uri="{BB962C8B-B14F-4D97-AF65-F5344CB8AC3E}">
        <p14:creationId xmlns:p14="http://schemas.microsoft.com/office/powerpoint/2010/main" val="100524980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160017"/>
            <a:ext cx="11887200" cy="3360920"/>
          </a:xfrm>
        </p:spPr>
        <p:txBody>
          <a:bodyPr/>
          <a:lstStyle/>
          <a:p>
            <a:r>
              <a:rPr lang="en-US" sz="2400" dirty="0"/>
              <a:t>Introduce Azure AD Domain Services</a:t>
            </a:r>
          </a:p>
          <a:p>
            <a:pPr marL="571500" indent="-571500">
              <a:buFont typeface="Arial" panose="020B0604020202020204" pitchFamily="34" charset="0"/>
              <a:buChar char="•"/>
            </a:pPr>
            <a:r>
              <a:rPr lang="en-US" sz="2400" dirty="0"/>
              <a:t>Understand how it works &amp; its benefits</a:t>
            </a:r>
          </a:p>
          <a:p>
            <a:pPr marL="571500" indent="-571500">
              <a:buFont typeface="Arial" panose="020B0604020202020204" pitchFamily="34" charset="0"/>
              <a:buChar char="•"/>
            </a:pPr>
            <a:r>
              <a:rPr lang="en-US" sz="2400" dirty="0"/>
              <a:t>See the available GA features</a:t>
            </a:r>
          </a:p>
          <a:p>
            <a:pPr marL="571500" indent="-571500">
              <a:buFont typeface="Arial" panose="020B0604020202020204" pitchFamily="34" charset="0"/>
              <a:buChar char="•"/>
            </a:pPr>
            <a:r>
              <a:rPr lang="en-US" sz="2400" dirty="0"/>
              <a:t>Identify usage scenarios</a:t>
            </a:r>
          </a:p>
          <a:p>
            <a:pPr marL="571500" indent="-571500">
              <a:buFont typeface="Arial" panose="020B0604020202020204" pitchFamily="34" charset="0"/>
              <a:buChar char="•"/>
            </a:pPr>
            <a:r>
              <a:rPr lang="en-US" sz="2400" dirty="0"/>
              <a:t>Understand the product roadmap</a:t>
            </a:r>
          </a:p>
          <a:p>
            <a:endParaRPr lang="en-US" sz="2400" dirty="0"/>
          </a:p>
          <a:p>
            <a:r>
              <a:rPr lang="en-US" sz="2400" dirty="0"/>
              <a:t>Key takeaway:</a:t>
            </a:r>
          </a:p>
          <a:p>
            <a:pPr marL="571500" indent="-571500">
              <a:buFont typeface="Arial" panose="020B0604020202020204" pitchFamily="34" charset="0"/>
              <a:buChar char="•"/>
            </a:pPr>
            <a:r>
              <a:rPr lang="en-US" sz="2400" dirty="0"/>
              <a:t>Learn when to use Azure AD Domain Services in preference to alternatives</a:t>
            </a:r>
          </a:p>
        </p:txBody>
      </p:sp>
      <p:sp>
        <p:nvSpPr>
          <p:cNvPr id="6" name="Title 16"/>
          <p:cNvSpPr txBox="1">
            <a:spLocks/>
          </p:cNvSpPr>
          <p:nvPr/>
        </p:nvSpPr>
        <p:spPr>
          <a:xfrm>
            <a:off x="27865" y="49627"/>
            <a:ext cx="11887878" cy="77016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dirty="0"/>
              <a:t>Session objectives &amp; takeaways</a:t>
            </a:r>
          </a:p>
        </p:txBody>
      </p:sp>
    </p:spTree>
    <p:extLst>
      <p:ext uri="{BB962C8B-B14F-4D97-AF65-F5344CB8AC3E}">
        <p14:creationId xmlns:p14="http://schemas.microsoft.com/office/powerpoint/2010/main" val="211301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160017"/>
            <a:ext cx="11887200" cy="3360920"/>
          </a:xfrm>
        </p:spPr>
        <p:txBody>
          <a:bodyPr/>
          <a:lstStyle/>
          <a:p>
            <a:r>
              <a:rPr lang="en-US" sz="2400" dirty="0"/>
              <a:t>Introduce Azure AD Domain Services.</a:t>
            </a:r>
          </a:p>
          <a:p>
            <a:pPr marL="571500" indent="-571500">
              <a:buFont typeface="Arial" panose="020B0604020202020204" pitchFamily="34" charset="0"/>
              <a:buChar char="•"/>
            </a:pPr>
            <a:r>
              <a:rPr lang="en-US" sz="2400" dirty="0"/>
              <a:t>Understand how it works &amp; its benefits</a:t>
            </a:r>
          </a:p>
          <a:p>
            <a:pPr marL="571500" indent="-571500">
              <a:buFont typeface="Arial" panose="020B0604020202020204" pitchFamily="34" charset="0"/>
              <a:buChar char="•"/>
            </a:pPr>
            <a:r>
              <a:rPr lang="en-US" sz="2400" dirty="0"/>
              <a:t>See the available GA features</a:t>
            </a:r>
          </a:p>
          <a:p>
            <a:pPr marL="571500" indent="-571500">
              <a:buFont typeface="Arial" panose="020B0604020202020204" pitchFamily="34" charset="0"/>
              <a:buChar char="•"/>
            </a:pPr>
            <a:r>
              <a:rPr lang="en-US" sz="2400" dirty="0"/>
              <a:t>Identify usage scenarios</a:t>
            </a:r>
          </a:p>
          <a:p>
            <a:pPr marL="571500" indent="-571500">
              <a:buFont typeface="Arial" panose="020B0604020202020204" pitchFamily="34" charset="0"/>
              <a:buChar char="•"/>
            </a:pPr>
            <a:r>
              <a:rPr lang="en-US" sz="2400" dirty="0"/>
              <a:t>Explore the product roadmap</a:t>
            </a:r>
          </a:p>
          <a:p>
            <a:endParaRPr lang="en-US" sz="2400" dirty="0"/>
          </a:p>
          <a:p>
            <a:r>
              <a:rPr lang="en-US" sz="2400" dirty="0"/>
              <a:t>Key takeaway:</a:t>
            </a:r>
          </a:p>
          <a:p>
            <a:pPr marL="571500" indent="-571500">
              <a:buFont typeface="Arial" panose="020B0604020202020204" pitchFamily="34" charset="0"/>
              <a:buChar char="•"/>
            </a:pPr>
            <a:r>
              <a:rPr lang="en-US" sz="2400" dirty="0"/>
              <a:t>Learn when to use Azure AD Domain Services in preference to alternatives</a:t>
            </a:r>
          </a:p>
        </p:txBody>
      </p:sp>
      <p:sp>
        <p:nvSpPr>
          <p:cNvPr id="6" name="Title 16"/>
          <p:cNvSpPr txBox="1">
            <a:spLocks/>
          </p:cNvSpPr>
          <p:nvPr/>
        </p:nvSpPr>
        <p:spPr>
          <a:xfrm>
            <a:off x="27865" y="49627"/>
            <a:ext cx="11887878" cy="770161"/>
          </a:xfrm>
          <a:prstGeom prst="rect">
            <a:avLst/>
          </a:prstGeom>
        </p:spPr>
        <p:txBody>
          <a:bodyPr vert="horz" wrap="square" lIns="146283" tIns="91427" rIns="146283" bIns="91427"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fontAlgn="auto">
              <a:spcAft>
                <a:spcPts val="0"/>
              </a:spcAft>
              <a:buClrTx/>
              <a:buSzTx/>
              <a:tabLst/>
              <a:defRPr/>
            </a:pPr>
            <a:r>
              <a:rPr lang="en-US" dirty="0"/>
              <a:t>In review: Session objectives &amp; takeaways</a:t>
            </a:r>
          </a:p>
        </p:txBody>
      </p:sp>
    </p:spTree>
    <p:extLst>
      <p:ext uri="{BB962C8B-B14F-4D97-AF65-F5344CB8AC3E}">
        <p14:creationId xmlns:p14="http://schemas.microsoft.com/office/powerpoint/2010/main" val="391434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Differences in Directory Offerings</a:t>
            </a:r>
          </a:p>
        </p:txBody>
      </p:sp>
      <p:sp>
        <p:nvSpPr>
          <p:cNvPr id="3" name="Text Placeholder 2"/>
          <p:cNvSpPr>
            <a:spLocks noGrp="1"/>
          </p:cNvSpPr>
          <p:nvPr>
            <p:ph type="body" sz="quarter" idx="10"/>
          </p:nvPr>
        </p:nvSpPr>
        <p:spPr>
          <a:xfrm>
            <a:off x="2179909" y="1735364"/>
            <a:ext cx="11887200" cy="2794611"/>
          </a:xfrm>
        </p:spPr>
        <p:txBody>
          <a:bodyPr/>
          <a:lstStyle/>
          <a:p>
            <a:r>
              <a:rPr lang="en-NZ" sz="3200" dirty="0"/>
              <a:t> </a:t>
            </a:r>
            <a:r>
              <a:rPr lang="en-NZ" sz="3200" dirty="0">
                <a:solidFill>
                  <a:srgbClr val="0000FF"/>
                </a:solidFill>
                <a:latin typeface="Lucida Console" panose="020B0609040504020204" pitchFamily="49" charset="0"/>
              </a:rPr>
              <a:t>AADDS</a:t>
            </a:r>
            <a:r>
              <a:rPr lang="en-NZ" sz="3200" dirty="0">
                <a:solidFill>
                  <a:prstClr val="black"/>
                </a:solidFill>
                <a:latin typeface="Lucida Console" panose="020B0609040504020204" pitchFamily="49" charset="0"/>
              </a:rPr>
              <a:t> </a:t>
            </a:r>
            <a:r>
              <a:rPr lang="en-NZ" sz="3200" dirty="0">
                <a:solidFill>
                  <a:srgbClr val="000080"/>
                </a:solidFill>
                <a:latin typeface="Lucida Console" panose="020B0609040504020204" pitchFamily="49" charset="0"/>
              </a:rPr>
              <a:t>–ne</a:t>
            </a:r>
            <a:r>
              <a:rPr lang="en-NZ" sz="3200" dirty="0">
                <a:solidFill>
                  <a:prstClr val="black"/>
                </a:solidFill>
                <a:latin typeface="Lucida Console" panose="020B0609040504020204" pitchFamily="49" charset="0"/>
              </a:rPr>
              <a:t> </a:t>
            </a:r>
            <a:r>
              <a:rPr lang="en-NZ" sz="3200" dirty="0">
                <a:solidFill>
                  <a:srgbClr val="8A2BE2"/>
                </a:solidFill>
                <a:latin typeface="Lucida Console" panose="020B0609040504020204" pitchFamily="49" charset="0"/>
              </a:rPr>
              <a:t>AAD</a:t>
            </a:r>
            <a:endParaRPr lang="en-NZ" sz="3200" dirty="0">
              <a:solidFill>
                <a:prstClr val="black"/>
              </a:solidFill>
              <a:latin typeface="Lucida Console" panose="020B0609040504020204" pitchFamily="49" charset="0"/>
            </a:endParaRPr>
          </a:p>
          <a:p>
            <a:endParaRPr lang="en-NZ" sz="3200" dirty="0">
              <a:solidFill>
                <a:prstClr val="black"/>
              </a:solidFill>
              <a:latin typeface="Lucida Console" panose="020B0609040504020204" pitchFamily="49" charset="0"/>
            </a:endParaRPr>
          </a:p>
          <a:p>
            <a:endParaRPr lang="en-NZ" sz="3200" dirty="0">
              <a:solidFill>
                <a:prstClr val="black"/>
              </a:solidFill>
              <a:latin typeface="Lucida Console" panose="020B0609040504020204" pitchFamily="49" charset="0"/>
            </a:endParaRPr>
          </a:p>
          <a:p>
            <a:r>
              <a:rPr lang="en-NZ" sz="3200" dirty="0">
                <a:solidFill>
                  <a:srgbClr val="0000FF"/>
                </a:solidFill>
                <a:latin typeface="Lucida Console" panose="020B0609040504020204" pitchFamily="49" charset="0"/>
              </a:rPr>
              <a:t>AADDS</a:t>
            </a:r>
            <a:r>
              <a:rPr lang="en-NZ" sz="3200" dirty="0">
                <a:solidFill>
                  <a:prstClr val="black"/>
                </a:solidFill>
                <a:latin typeface="Lucida Console" panose="020B0609040504020204" pitchFamily="49" charset="0"/>
              </a:rPr>
              <a:t> </a:t>
            </a:r>
            <a:r>
              <a:rPr lang="en-NZ" sz="3200" dirty="0">
                <a:solidFill>
                  <a:srgbClr val="000080"/>
                </a:solidFill>
                <a:latin typeface="Lucida Console" panose="020B0609040504020204" pitchFamily="49" charset="0"/>
              </a:rPr>
              <a:t>–ne</a:t>
            </a:r>
            <a:r>
              <a:rPr lang="en-NZ" sz="3200" dirty="0">
                <a:solidFill>
                  <a:prstClr val="black"/>
                </a:solidFill>
                <a:latin typeface="Lucida Console" panose="020B0609040504020204" pitchFamily="49" charset="0"/>
              </a:rPr>
              <a:t> </a:t>
            </a:r>
            <a:r>
              <a:rPr lang="en-NZ" sz="3200" dirty="0">
                <a:solidFill>
                  <a:srgbClr val="8A2BE2"/>
                </a:solidFill>
                <a:latin typeface="Lucida Console" panose="020B0609040504020204" pitchFamily="49" charset="0"/>
              </a:rPr>
              <a:t>ADDS </a:t>
            </a:r>
          </a:p>
          <a:p>
            <a:endParaRPr lang="en-US" sz="3200" dirty="0">
              <a:solidFill>
                <a:schemeClr val="accent1"/>
              </a:solidFill>
            </a:endParaRPr>
          </a:p>
        </p:txBody>
      </p:sp>
      <p:grpSp>
        <p:nvGrpSpPr>
          <p:cNvPr id="5" name="Group 4"/>
          <p:cNvGrpSpPr/>
          <p:nvPr/>
        </p:nvGrpSpPr>
        <p:grpSpPr>
          <a:xfrm>
            <a:off x="6219421" y="1441464"/>
            <a:ext cx="3779532" cy="1691205"/>
            <a:chOff x="3902455" y="4352743"/>
            <a:chExt cx="4480651" cy="2095935"/>
          </a:xfrm>
        </p:grpSpPr>
        <p:sp>
          <p:nvSpPr>
            <p:cNvPr id="7" name="Freeform 38"/>
            <p:cNvSpPr>
              <a:spLocks/>
            </p:cNvSpPr>
            <p:nvPr/>
          </p:nvSpPr>
          <p:spPr bwMode="auto">
            <a:xfrm>
              <a:off x="5010363" y="4352743"/>
              <a:ext cx="2200704" cy="144708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nvGrpSpPr>
            <p:cNvPr id="8" name="Group 7"/>
            <p:cNvGrpSpPr/>
            <p:nvPr/>
          </p:nvGrpSpPr>
          <p:grpSpPr>
            <a:xfrm>
              <a:off x="3902455" y="4751829"/>
              <a:ext cx="4480651" cy="1696849"/>
              <a:chOff x="3980707" y="4707599"/>
              <a:chExt cx="4570497" cy="1730873"/>
            </a:xfrm>
          </p:grpSpPr>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36042" y="4707599"/>
                <a:ext cx="869145" cy="869145"/>
              </a:xfrm>
              <a:prstGeom prst="rect">
                <a:avLst/>
              </a:prstGeom>
            </p:spPr>
          </p:pic>
          <p:sp>
            <p:nvSpPr>
              <p:cNvPr id="10" name="TextBox 9"/>
              <p:cNvSpPr txBox="1"/>
              <p:nvPr/>
            </p:nvSpPr>
            <p:spPr>
              <a:xfrm>
                <a:off x="3980707" y="6088299"/>
                <a:ext cx="4570497" cy="350173"/>
              </a:xfrm>
              <a:prstGeom prst="rect">
                <a:avLst/>
              </a:prstGeom>
            </p:spPr>
            <p:txBody>
              <a:bodyPr wrap="square" lIns="0" tIns="0" rIns="0" bIns="0" rtlCol="0">
                <a:spAutoFit/>
              </a:bodyPr>
              <a:lstStyle/>
              <a:p>
                <a:pPr marL="0" marR="0" lvl="0" indent="0" algn="ctr" defTabSz="913572" eaLnBrk="1" fontAlgn="base" latinLnBrk="0" hangingPunct="1">
                  <a:lnSpc>
                    <a:spcPct val="90000"/>
                  </a:lnSpc>
                  <a:spcBef>
                    <a:spcPct val="0"/>
                  </a:spcBef>
                  <a:spcAft>
                    <a:spcPct val="0"/>
                  </a:spcAft>
                  <a:buClrTx/>
                  <a:buSzPct val="80000"/>
                  <a:buFontTx/>
                  <a:buNone/>
                  <a:tabLst/>
                  <a:defRPr/>
                </a:pPr>
                <a:endParaRPr kumimoji="0" lang="en-US" sz="2000" b="0" i="0" u="none" strike="noStrike" kern="0" cap="none" spc="0" normalizeH="0" baseline="0" noProof="0" dirty="0">
                  <a:ln>
                    <a:noFill/>
                  </a:ln>
                  <a:solidFill>
                    <a:srgbClr val="F8F8F8"/>
                  </a:solidFill>
                  <a:effectLst/>
                  <a:uLnTx/>
                  <a:uFillTx/>
                  <a:latin typeface="Segoe UI Light"/>
                  <a:ea typeface="ＭＳ Ｐゴシック" charset="0"/>
                  <a:cs typeface="Segoe UI Semibold" panose="020B0702040204020203" pitchFamily="34" charset="0"/>
                </a:endParaRPr>
              </a:p>
            </p:txBody>
          </p:sp>
        </p:grpSp>
      </p:gr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3967" y="3242981"/>
            <a:ext cx="2098358" cy="972875"/>
          </a:xfrm>
          <a:prstGeom prst="rect">
            <a:avLst/>
          </a:prstGeom>
        </p:spPr>
      </p:pic>
    </p:spTree>
    <p:extLst>
      <p:ext uri="{BB962C8B-B14F-4D97-AF65-F5344CB8AC3E}">
        <p14:creationId xmlns:p14="http://schemas.microsoft.com/office/powerpoint/2010/main" val="287043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98437" y="119285"/>
            <a:ext cx="11889564" cy="917575"/>
          </a:xfrm>
        </p:spPr>
        <p:txBody>
          <a:bodyPr/>
          <a:lstStyle/>
          <a:p>
            <a:pPr>
              <a:defRPr/>
            </a:pPr>
            <a:r>
              <a:rPr lang="en-US" dirty="0"/>
              <a:t>The wider context: </a:t>
            </a:r>
            <a:br>
              <a:rPr lang="en-US" dirty="0"/>
            </a:br>
            <a:r>
              <a:rPr lang="en-US" sz="4000" dirty="0">
                <a:solidFill>
                  <a:schemeClr val="accent1"/>
                </a:solidFill>
              </a:rPr>
              <a:t>Azure Active Directory</a:t>
            </a:r>
          </a:p>
        </p:txBody>
      </p:sp>
      <p:sp>
        <p:nvSpPr>
          <p:cNvPr id="6" name="Rectangle 5"/>
          <p:cNvSpPr/>
          <p:nvPr/>
        </p:nvSpPr>
        <p:spPr bwMode="auto">
          <a:xfrm>
            <a:off x="2701923" y="3771816"/>
            <a:ext cx="2107269" cy="209624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93207" rIns="186415" bIns="149133" numCol="1" spcCol="0" rtlCol="0" fromWordArt="0" anchor="t" anchorCtr="0" forceAA="0" compatLnSpc="1">
            <a:prstTxWarp prst="textNoShape">
              <a:avLst/>
            </a:prstTxWarp>
            <a:noAutofit/>
          </a:bodyPr>
          <a:lstStyle/>
          <a:p>
            <a:pPr marL="0" marR="0" lvl="0" indent="0" defTabSz="685307" eaLnBrk="1" fontAlgn="base" latinLnBrk="0" hangingPunct="1">
              <a:lnSpc>
                <a:spcPct val="100000"/>
              </a:lnSpc>
              <a:spcBef>
                <a:spcPct val="0"/>
              </a:spcBef>
              <a:spcAft>
                <a:spcPct val="0"/>
              </a:spcAft>
              <a:buClrTx/>
              <a:buSzTx/>
              <a:buFontTx/>
              <a:buNone/>
              <a:tabLst/>
              <a:defRPr/>
            </a:pPr>
            <a:r>
              <a:rPr kumimoji="0" lang="en-US" sz="3876" b="0" i="0" u="none" strike="noStrike" kern="0" cap="none" spc="0" normalizeH="0" baseline="0" noProof="0" dirty="0">
                <a:ln>
                  <a:noFill/>
                </a:ln>
                <a:solidFill>
                  <a:srgbClr val="FFFFFF"/>
                </a:solidFill>
                <a:effectLst/>
                <a:uLnTx/>
                <a:uFillTx/>
                <a:latin typeface="Segoe UI Light"/>
              </a:rPr>
              <a:t>33,000</a:t>
            </a:r>
          </a:p>
          <a:p>
            <a:pPr marL="0" marR="0" lvl="0" indent="0" defTabSz="685307" eaLnBrk="1" fontAlgn="base" latinLnBrk="0" hangingPunct="1">
              <a:lnSpc>
                <a:spcPct val="100000"/>
              </a:lnSpc>
              <a:spcBef>
                <a:spcPct val="0"/>
              </a:spcBef>
              <a:spcAft>
                <a:spcPct val="0"/>
              </a:spcAft>
              <a:buClrTx/>
              <a:buSzTx/>
              <a:buFontTx/>
              <a:buNone/>
              <a:tabLst/>
              <a:defRPr/>
            </a:pPr>
            <a:r>
              <a:rPr kumimoji="0" lang="en-US" sz="1399" b="0" i="0" u="none" strike="noStrike" kern="0" cap="none" spc="0" normalizeH="0" baseline="0" noProof="0" dirty="0">
                <a:ln>
                  <a:noFill/>
                </a:ln>
                <a:solidFill>
                  <a:srgbClr val="FFFFFF"/>
                </a:solidFill>
                <a:effectLst/>
                <a:uLnTx/>
                <a:uFillTx/>
                <a:latin typeface="Segoe UI Light"/>
              </a:rPr>
              <a:t>Enterprise Mobility + Security | Azure AD Premium enterprise customers</a:t>
            </a:r>
            <a:endParaRPr kumimoji="0" lang="en-US" sz="1399" b="0" i="1" u="none" strike="noStrike" kern="0" cap="none" spc="0" normalizeH="0" baseline="0" noProof="0" dirty="0">
              <a:ln>
                <a:noFill/>
              </a:ln>
              <a:solidFill>
                <a:srgbClr val="FFFFFF"/>
              </a:solidFill>
              <a:effectLst/>
              <a:uLnTx/>
              <a:uFillTx/>
              <a:latin typeface="Segoe UI Light"/>
            </a:endParaRPr>
          </a:p>
        </p:txBody>
      </p:sp>
      <p:sp>
        <p:nvSpPr>
          <p:cNvPr id="7" name="Rectangle 6"/>
          <p:cNvSpPr/>
          <p:nvPr/>
        </p:nvSpPr>
        <p:spPr bwMode="auto">
          <a:xfrm>
            <a:off x="4842266" y="3771815"/>
            <a:ext cx="2107269" cy="210171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93207" rIns="186415" bIns="149133" numCol="1" spcCol="0" rtlCol="0" fromWordArt="0" anchor="t" anchorCtr="0" forceAA="0" compatLnSpc="1">
            <a:prstTxWarp prst="textNoShape">
              <a:avLst/>
            </a:prstTxWarp>
            <a:noAutofit/>
          </a:bodyPr>
          <a:lstStyle/>
          <a:p>
            <a:pPr marL="0" marR="0" lvl="0" indent="0" defTabSz="671935" eaLnBrk="1" fontAlgn="base" latinLnBrk="0" hangingPunct="1">
              <a:lnSpc>
                <a:spcPct val="100000"/>
              </a:lnSpc>
              <a:spcBef>
                <a:spcPct val="0"/>
              </a:spcBef>
              <a:spcAft>
                <a:spcPct val="0"/>
              </a:spcAft>
              <a:buClrTx/>
              <a:buSzTx/>
              <a:buFontTx/>
              <a:buNone/>
              <a:tabLst/>
              <a:defRPr/>
            </a:pPr>
            <a:r>
              <a:rPr kumimoji="0" lang="en-US" sz="3997" b="0" i="0" u="none" strike="noStrike" kern="0" cap="none" spc="0" normalizeH="0" baseline="0" noProof="0" dirty="0">
                <a:ln>
                  <a:noFill/>
                </a:ln>
                <a:solidFill>
                  <a:srgbClr val="FFFFFF"/>
                </a:solidFill>
                <a:effectLst/>
                <a:uLnTx/>
                <a:uFillTx/>
                <a:latin typeface="Segoe UI Light"/>
              </a:rPr>
              <a:t>&gt;110k</a:t>
            </a:r>
            <a:br>
              <a:rPr kumimoji="0" lang="en-US" sz="3997" b="0" i="0" u="none" strike="noStrike" kern="0" cap="none" spc="0" normalizeH="0" baseline="0" noProof="0" dirty="0">
                <a:ln>
                  <a:noFill/>
                </a:ln>
                <a:solidFill>
                  <a:srgbClr val="FFFFFF"/>
                </a:solidFill>
                <a:effectLst/>
                <a:uLnTx/>
                <a:uFillTx/>
                <a:latin typeface="Segoe UI Light"/>
              </a:rPr>
            </a:br>
            <a:r>
              <a:rPr kumimoji="0" lang="en-US" sz="1800" b="0" i="0" u="none" strike="noStrike" kern="0" cap="none" spc="0" normalizeH="0" baseline="0" noProof="0" dirty="0">
                <a:ln>
                  <a:noFill/>
                </a:ln>
                <a:solidFill>
                  <a:srgbClr val="FFFFFF"/>
                </a:solidFill>
                <a:effectLst/>
                <a:uLnTx/>
                <a:uFillTx/>
                <a:latin typeface="Segoe UI Light"/>
              </a:rPr>
              <a:t>third-party applications used with Azure AD each month</a:t>
            </a:r>
            <a:endParaRPr kumimoji="0" lang="en-US" sz="800" b="0" i="0" u="none" strike="noStrike" kern="0" cap="none" spc="0" normalizeH="0" baseline="0" noProof="0" dirty="0">
              <a:ln>
                <a:noFill/>
              </a:ln>
              <a:solidFill>
                <a:srgbClr val="FFFFFF"/>
              </a:solidFill>
              <a:effectLst/>
              <a:uLnTx/>
              <a:uFillTx/>
              <a:latin typeface="Segoe UI"/>
            </a:endParaRPr>
          </a:p>
        </p:txBody>
      </p:sp>
      <p:sp>
        <p:nvSpPr>
          <p:cNvPr id="8" name="Rectangle 7"/>
          <p:cNvSpPr/>
          <p:nvPr/>
        </p:nvSpPr>
        <p:spPr bwMode="auto">
          <a:xfrm>
            <a:off x="6991288" y="3774185"/>
            <a:ext cx="2107269" cy="209387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93207" rIns="186415" bIns="149133" numCol="1" spcCol="0" rtlCol="0" fromWordArt="0" anchor="t" anchorCtr="0" forceAA="0" compatLnSpc="1">
            <a:prstTxWarp prst="textNoShape">
              <a:avLst/>
            </a:prstTxWarp>
            <a:noAutofit/>
          </a:bodyPr>
          <a:lstStyle/>
          <a:p>
            <a:pPr marL="0" marR="0" lvl="0" indent="0" defTabSz="685307" eaLnBrk="1" fontAlgn="base" latinLnBrk="0" hangingPunct="1">
              <a:lnSpc>
                <a:spcPct val="100000"/>
              </a:lnSpc>
              <a:spcBef>
                <a:spcPct val="0"/>
              </a:spcBef>
              <a:spcAft>
                <a:spcPct val="0"/>
              </a:spcAft>
              <a:buClrTx/>
              <a:buSzTx/>
              <a:buFontTx/>
              <a:buNone/>
              <a:tabLst/>
              <a:defRPr/>
            </a:pPr>
            <a:r>
              <a:rPr kumimoji="0" lang="en-US" sz="3672" b="0" i="0" u="none" strike="noStrike" kern="0" cap="none" spc="-102" normalizeH="0" baseline="0" noProof="0" dirty="0">
                <a:ln>
                  <a:noFill/>
                </a:ln>
                <a:solidFill>
                  <a:srgbClr val="FFFFFF"/>
                </a:solidFill>
                <a:effectLst/>
                <a:uLnTx/>
                <a:uFillTx/>
                <a:latin typeface="Segoe UI Light"/>
              </a:rPr>
              <a:t>&gt;1.3 billion </a:t>
            </a:r>
            <a:r>
              <a:rPr kumimoji="0" lang="en-US" sz="1632" b="0" i="0" u="none" strike="noStrike" kern="0" cap="none" spc="-102" normalizeH="0" baseline="0" noProof="0" dirty="0">
                <a:ln>
                  <a:noFill/>
                </a:ln>
                <a:solidFill>
                  <a:srgbClr val="FFFFFF"/>
                </a:solidFill>
                <a:effectLst/>
                <a:uLnTx/>
                <a:uFillTx/>
                <a:latin typeface="Segoe UI Light"/>
              </a:rPr>
              <a:t>authentications every day on Azure AD</a:t>
            </a:r>
            <a:endParaRPr kumimoji="0" lang="en-US" sz="1632" b="0" i="0" u="none" strike="noStrike" kern="0" cap="none" spc="0" normalizeH="0" baseline="0" noProof="0" dirty="0">
              <a:ln>
                <a:noFill/>
              </a:ln>
              <a:solidFill>
                <a:srgbClr val="FFFFFF"/>
              </a:solidFill>
              <a:effectLst/>
              <a:uLnTx/>
              <a:uFillTx/>
              <a:latin typeface="Segoe UI"/>
            </a:endParaRPr>
          </a:p>
        </p:txBody>
      </p:sp>
      <p:sp>
        <p:nvSpPr>
          <p:cNvPr id="9" name="Rectangle 8"/>
          <p:cNvSpPr/>
          <p:nvPr/>
        </p:nvSpPr>
        <p:spPr bwMode="auto">
          <a:xfrm>
            <a:off x="6991288" y="1633448"/>
            <a:ext cx="2107269" cy="210800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372829" rIns="186415" bIns="149133" numCol="1" spcCol="0" rtlCol="0" fromWordArt="0" anchor="t" anchorCtr="0" forceAA="0" compatLnSpc="1">
            <a:prstTxWarp prst="textNoShape">
              <a:avLst/>
            </a:prstTxWarp>
            <a:noAutofit/>
          </a:bodyPr>
          <a:lstStyle/>
          <a:p>
            <a:pPr marL="0" marR="0" lvl="0" indent="0" defTabSz="671935"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Light"/>
              </a:rPr>
              <a:t>More than </a:t>
            </a:r>
          </a:p>
          <a:p>
            <a:pPr marL="0" marR="0" lvl="0" indent="0" defTabSz="671935" eaLnBrk="1" fontAlgn="base" latinLnBrk="0" hangingPunct="1">
              <a:lnSpc>
                <a:spcPct val="100000"/>
              </a:lnSpc>
              <a:spcBef>
                <a:spcPct val="0"/>
              </a:spcBef>
              <a:spcAft>
                <a:spcPct val="0"/>
              </a:spcAft>
              <a:buClrTx/>
              <a:buSzTx/>
              <a:buFontTx/>
              <a:buNone/>
              <a:tabLst/>
              <a:defRPr/>
            </a:pPr>
            <a:r>
              <a:rPr kumimoji="0" lang="en-US" sz="3997" b="0" i="0" u="none" strike="noStrike" kern="0" cap="none" spc="0" normalizeH="0" baseline="0" noProof="0" dirty="0">
                <a:ln>
                  <a:noFill/>
                </a:ln>
                <a:solidFill>
                  <a:srgbClr val="FFFFFF"/>
                </a:solidFill>
                <a:effectLst/>
                <a:uLnTx/>
                <a:uFillTx/>
                <a:latin typeface="Segoe UI Light"/>
              </a:rPr>
              <a:t>750 M</a:t>
            </a:r>
            <a:r>
              <a:rPr kumimoji="0" lang="en-US" sz="1397" b="0" i="0" u="none" strike="noStrike" kern="0" cap="none" spc="0" normalizeH="0" baseline="0" noProof="0" dirty="0">
                <a:ln>
                  <a:noFill/>
                </a:ln>
                <a:solidFill>
                  <a:srgbClr val="FFFFFF"/>
                </a:solidFill>
                <a:effectLst/>
                <a:uLnTx/>
                <a:uFillTx/>
                <a:latin typeface="Segoe UI Light"/>
              </a:rPr>
              <a:t> </a:t>
            </a:r>
            <a:r>
              <a:rPr kumimoji="0" lang="en-US" sz="1632" b="0" i="0" u="none" strike="noStrike" kern="0" cap="none" spc="0" normalizeH="0" baseline="0" noProof="0" dirty="0">
                <a:ln>
                  <a:noFill/>
                </a:ln>
                <a:solidFill>
                  <a:srgbClr val="FFFFFF"/>
                </a:solidFill>
                <a:effectLst/>
                <a:uLnTx/>
                <a:uFillTx/>
                <a:latin typeface="Segoe UI Light"/>
              </a:rPr>
              <a:t>user accounts on Azure AD</a:t>
            </a:r>
          </a:p>
        </p:txBody>
      </p:sp>
      <p:sp>
        <p:nvSpPr>
          <p:cNvPr id="11" name="Rectangle 10"/>
          <p:cNvSpPr/>
          <p:nvPr/>
        </p:nvSpPr>
        <p:spPr bwMode="auto">
          <a:xfrm>
            <a:off x="4842266" y="1639743"/>
            <a:ext cx="2107269" cy="2101712"/>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372829" rIns="186415" bIns="149133" numCol="1" spcCol="0" rtlCol="0" fromWordArt="0" anchor="t" anchorCtr="0" forceAA="0" compatLnSpc="1">
            <a:prstTxWarp prst="textNoShape">
              <a:avLst/>
            </a:prstTxWarp>
            <a:noAutofit/>
          </a:bodyPr>
          <a:lstStyle/>
          <a:p>
            <a:pPr marL="0" marR="0" lvl="0" indent="0" defTabSz="685307" eaLnBrk="1" fontAlgn="base" latinLnBrk="0" hangingPunct="1">
              <a:lnSpc>
                <a:spcPct val="100000"/>
              </a:lnSpc>
              <a:spcBef>
                <a:spcPct val="0"/>
              </a:spcBef>
              <a:spcAft>
                <a:spcPct val="0"/>
              </a:spcAft>
              <a:buClrTx/>
              <a:buSzTx/>
              <a:buFontTx/>
              <a:buNone/>
              <a:tabLst/>
              <a:defRPr/>
            </a:pPr>
            <a:r>
              <a:rPr kumimoji="0" lang="en-US" sz="1836" b="0" i="0" u="none" strike="noStrike" kern="0" cap="none" spc="0" normalizeH="0" baseline="0" noProof="0" dirty="0">
                <a:ln>
                  <a:noFill/>
                </a:ln>
                <a:solidFill>
                  <a:srgbClr val="FFFFFF"/>
                </a:solidFill>
                <a:effectLst/>
                <a:uLnTx/>
                <a:uFillTx/>
                <a:latin typeface="Segoe UI Light"/>
              </a:rPr>
              <a:t>Azure AD Directories</a:t>
            </a:r>
          </a:p>
          <a:p>
            <a:pPr marL="0" marR="0" lvl="0" indent="0" defTabSz="685307" eaLnBrk="1" fontAlgn="base" latinLnBrk="0" hangingPunct="1">
              <a:lnSpc>
                <a:spcPct val="100000"/>
              </a:lnSpc>
              <a:spcBef>
                <a:spcPct val="0"/>
              </a:spcBef>
              <a:spcAft>
                <a:spcPct val="0"/>
              </a:spcAft>
              <a:buClrTx/>
              <a:buSzTx/>
              <a:buFontTx/>
              <a:buNone/>
              <a:tabLst/>
              <a:defRPr/>
            </a:pPr>
            <a:r>
              <a:rPr kumimoji="0" lang="en-US" sz="3264" b="0" i="0" u="none" strike="noStrike" kern="0" cap="none" spc="0" normalizeH="0" baseline="0" noProof="0" dirty="0">
                <a:ln>
                  <a:noFill/>
                </a:ln>
                <a:solidFill>
                  <a:srgbClr val="FFFFFF"/>
                </a:solidFill>
                <a:effectLst/>
                <a:uLnTx/>
                <a:uFillTx/>
                <a:latin typeface="Segoe UI Light"/>
              </a:rPr>
              <a:t>&gt;10 M</a:t>
            </a:r>
            <a:endParaRPr kumimoji="0" lang="en-US" sz="1428" b="0" i="0" u="none" strike="noStrike" kern="0" cap="none" spc="0" normalizeH="0" baseline="0" noProof="0" dirty="0">
              <a:ln>
                <a:noFill/>
              </a:ln>
              <a:solidFill>
                <a:srgbClr val="FFFFFF"/>
              </a:solidFill>
              <a:effectLst/>
              <a:uLnTx/>
              <a:uFillTx/>
              <a:latin typeface="Segoe UI Light"/>
            </a:endParaRPr>
          </a:p>
        </p:txBody>
      </p:sp>
      <p:sp>
        <p:nvSpPr>
          <p:cNvPr id="13" name="Rectangle 12"/>
          <p:cNvSpPr/>
          <p:nvPr/>
        </p:nvSpPr>
        <p:spPr bwMode="auto">
          <a:xfrm>
            <a:off x="2701923" y="1639743"/>
            <a:ext cx="2107269" cy="210171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15" tIns="372829" rIns="186415" bIns="149133" numCol="1" spcCol="0" rtlCol="0" fromWordArt="0" anchor="b" anchorCtr="0" forceAA="0" compatLnSpc="1">
            <a:prstTxWarp prst="textNoShape">
              <a:avLst/>
            </a:prstTxWarp>
            <a:noAutofit/>
          </a:bodyPr>
          <a:lstStyle/>
          <a:p>
            <a:pPr marL="0" marR="0" lvl="0" indent="0" defTabSz="685307" eaLnBrk="1" fontAlgn="base" latinLnBrk="0" hangingPunct="1">
              <a:lnSpc>
                <a:spcPct val="100000"/>
              </a:lnSpc>
              <a:spcBef>
                <a:spcPct val="0"/>
              </a:spcBef>
              <a:spcAft>
                <a:spcPct val="0"/>
              </a:spcAft>
              <a:buClrTx/>
              <a:buSzTx/>
              <a:buFontTx/>
              <a:buNone/>
              <a:tabLst/>
              <a:defRPr/>
            </a:pPr>
            <a:endParaRPr kumimoji="0" lang="en-US" sz="4896" b="0" i="0" u="none" strike="noStrike" kern="0" cap="none" spc="0" normalizeH="0" baseline="0" noProof="0" dirty="0">
              <a:ln>
                <a:noFill/>
              </a:ln>
              <a:solidFill>
                <a:srgbClr val="FFFFFF"/>
              </a:solidFill>
              <a:effectLst/>
              <a:uLnTx/>
              <a:uFillTx/>
              <a:latin typeface="Calibri" panose="020F0502020204030204"/>
            </a:endParaRPr>
          </a:p>
          <a:p>
            <a:pPr marL="0" marR="0" lvl="0" indent="0" defTabSz="685307" eaLnBrk="1" fontAlgn="base" latinLnBrk="0" hangingPunct="1">
              <a:lnSpc>
                <a:spcPct val="100000"/>
              </a:lnSpc>
              <a:spcBef>
                <a:spcPct val="0"/>
              </a:spcBef>
              <a:spcAft>
                <a:spcPct val="0"/>
              </a:spcAft>
              <a:buClrTx/>
              <a:buSzTx/>
              <a:buFontTx/>
              <a:buNone/>
              <a:tabLst/>
              <a:defRPr/>
            </a:pPr>
            <a:endParaRPr kumimoji="0" lang="en-US" sz="4896" b="0" i="0" u="none" strike="noStrike" kern="0" cap="none" spc="0" normalizeH="0" baseline="0" noProof="0" dirty="0">
              <a:ln>
                <a:noFill/>
              </a:ln>
              <a:solidFill>
                <a:srgbClr val="FFFFFF"/>
              </a:solidFill>
              <a:effectLst/>
              <a:uLnTx/>
              <a:uFillTx/>
              <a:latin typeface="Calibri" panose="020F0502020204030204"/>
            </a:endParaRPr>
          </a:p>
          <a:p>
            <a:pPr marL="0" marR="0" lvl="0" indent="0" defTabSz="685307" eaLnBrk="1" fontAlgn="base" latinLnBrk="0" hangingPunct="1">
              <a:lnSpc>
                <a:spcPct val="100000"/>
              </a:lnSpc>
              <a:spcBef>
                <a:spcPct val="0"/>
              </a:spcBef>
              <a:spcAft>
                <a:spcPct val="0"/>
              </a:spcAft>
              <a:buClrTx/>
              <a:buSzTx/>
              <a:buFontTx/>
              <a:buNone/>
              <a:tabLst/>
              <a:defRPr/>
            </a:pPr>
            <a:endParaRPr kumimoji="0" lang="en-US" sz="4896" b="0" i="0" u="none" strike="noStrike" kern="0" cap="none" spc="0" normalizeH="0" baseline="0" noProof="0" dirty="0">
              <a:ln>
                <a:noFill/>
              </a:ln>
              <a:solidFill>
                <a:srgbClr val="FFFFFF"/>
              </a:solidFill>
              <a:effectLst/>
              <a:uLnTx/>
              <a:uFillTx/>
              <a:latin typeface="Calibri" panose="020F0502020204030204"/>
            </a:endParaRPr>
          </a:p>
          <a:p>
            <a:pPr marL="0" marR="0" lvl="0" indent="0" defTabSz="685307" eaLnBrk="1" fontAlgn="base" latinLnBrk="0" hangingPunct="1">
              <a:lnSpc>
                <a:spcPct val="100000"/>
              </a:lnSpc>
              <a:spcBef>
                <a:spcPct val="0"/>
              </a:spcBef>
              <a:spcAft>
                <a:spcPct val="0"/>
              </a:spcAft>
              <a:buClrTx/>
              <a:buSzTx/>
              <a:buFontTx/>
              <a:buNone/>
              <a:tabLst/>
              <a:defRPr/>
            </a:pPr>
            <a:endParaRPr kumimoji="0" lang="en-US" sz="4896" b="0" i="0" u="none" strike="noStrike" kern="0" cap="none" spc="0" normalizeH="0" baseline="0" noProof="0" dirty="0">
              <a:ln>
                <a:noFill/>
              </a:ln>
              <a:solidFill>
                <a:srgbClr val="FFFFFF"/>
              </a:solidFill>
              <a:effectLst/>
              <a:uLnTx/>
              <a:uFillTx/>
              <a:latin typeface="Calibri" panose="020F0502020204030204"/>
            </a:endParaRPr>
          </a:p>
          <a:p>
            <a:pPr marL="0" marR="0" lvl="0" indent="0" defTabSz="685307" eaLnBrk="1" fontAlgn="base" latinLnBrk="0" hangingPunct="1">
              <a:lnSpc>
                <a:spcPct val="100000"/>
              </a:lnSpc>
              <a:spcBef>
                <a:spcPct val="0"/>
              </a:spcBef>
              <a:spcAft>
                <a:spcPct val="0"/>
              </a:spcAft>
              <a:buClrTx/>
              <a:buSzTx/>
              <a:buFontTx/>
              <a:buNone/>
              <a:tabLst/>
              <a:defRPr/>
            </a:pPr>
            <a:r>
              <a:rPr kumimoji="0" lang="en-US" sz="4080" b="0" i="0" u="none" strike="noStrike" kern="0" cap="none" spc="0" normalizeH="0" baseline="0" noProof="0" dirty="0">
                <a:ln>
                  <a:noFill/>
                </a:ln>
                <a:solidFill>
                  <a:srgbClr val="FFFFFF"/>
                </a:solidFill>
                <a:effectLst/>
                <a:uLnTx/>
                <a:uFillTx/>
                <a:latin typeface="Segoe UI Light"/>
              </a:rPr>
              <a:t>90% </a:t>
            </a:r>
          </a:p>
          <a:p>
            <a:pPr marL="0" marR="0" lvl="0" indent="0" defTabSz="685307" eaLnBrk="1" fontAlgn="base" latinLnBrk="0" hangingPunct="1">
              <a:lnSpc>
                <a:spcPct val="100000"/>
              </a:lnSpc>
              <a:spcBef>
                <a:spcPct val="0"/>
              </a:spcBef>
              <a:spcAft>
                <a:spcPct val="0"/>
              </a:spcAft>
              <a:buClrTx/>
              <a:buSzTx/>
              <a:buFontTx/>
              <a:buNone/>
              <a:tabLst/>
              <a:defRPr/>
            </a:pPr>
            <a:r>
              <a:rPr kumimoji="0" lang="en-US" sz="1397" b="0" i="0" u="none" strike="noStrike" kern="0" cap="none" spc="0" normalizeH="0" baseline="0" noProof="0" dirty="0">
                <a:ln>
                  <a:noFill/>
                </a:ln>
                <a:solidFill>
                  <a:srgbClr val="FFFFFF"/>
                </a:solidFill>
                <a:effectLst/>
                <a:uLnTx/>
                <a:uFillTx/>
                <a:latin typeface="Segoe UI Light"/>
              </a:rPr>
              <a:t>of Fortune 500 companies use Microsoft Cloud (Azure, O365, CRM Online, and </a:t>
            </a:r>
            <a:r>
              <a:rPr kumimoji="0" lang="en-US" sz="1397" b="0" i="0" u="none" strike="noStrike" kern="0" cap="none" spc="0" normalizeH="0" baseline="0" noProof="0" dirty="0" err="1">
                <a:ln>
                  <a:noFill/>
                </a:ln>
                <a:solidFill>
                  <a:srgbClr val="FFFFFF"/>
                </a:solidFill>
                <a:effectLst/>
                <a:uLnTx/>
                <a:uFillTx/>
                <a:latin typeface="Segoe UI Light"/>
              </a:rPr>
              <a:t>PowerBI</a:t>
            </a:r>
            <a:r>
              <a:rPr kumimoji="0" lang="en-US" sz="1397" b="0" i="0" u="none" strike="noStrike" kern="0" cap="none" spc="0" normalizeH="0" baseline="0" noProof="0" dirty="0">
                <a:ln>
                  <a:noFill/>
                </a:ln>
                <a:solidFill>
                  <a:srgbClr val="FFFFFF"/>
                </a:solidFill>
                <a:effectLst/>
                <a:uLnTx/>
                <a:uFillTx/>
                <a:latin typeface="Calibri" panose="020F0502020204030204"/>
              </a:rPr>
              <a:t>)</a:t>
            </a:r>
          </a:p>
          <a:p>
            <a:pPr marL="0" marR="0" lvl="0" indent="0" defTabSz="685307" eaLnBrk="1" fontAlgn="base" latinLnBrk="0" hangingPunct="1">
              <a:lnSpc>
                <a:spcPct val="100000"/>
              </a:lnSpc>
              <a:spcBef>
                <a:spcPct val="0"/>
              </a:spcBef>
              <a:spcAft>
                <a:spcPct val="0"/>
              </a:spcAft>
              <a:buClrTx/>
              <a:buSzTx/>
              <a:buFontTx/>
              <a:buNone/>
              <a:tabLst/>
              <a:defRPr/>
            </a:pPr>
            <a:endParaRPr kumimoji="0" lang="en-US" sz="1071" b="0" i="0" u="none" strike="noStrike" kern="0" cap="none" spc="0" normalizeH="0" baseline="0" noProof="0" dirty="0">
              <a:ln>
                <a:noFill/>
              </a:ln>
              <a:solidFill>
                <a:srgbClr val="FFFFFF"/>
              </a:solidFill>
              <a:effectLst/>
              <a:uLnTx/>
              <a:uFillTx/>
              <a:latin typeface="Segoe UI"/>
            </a:endParaRPr>
          </a:p>
        </p:txBody>
      </p:sp>
      <p:sp>
        <p:nvSpPr>
          <p:cNvPr id="46" name="TextBox 45"/>
          <p:cNvSpPr txBox="1"/>
          <p:nvPr/>
        </p:nvSpPr>
        <p:spPr>
          <a:xfrm>
            <a:off x="372008" y="5977105"/>
            <a:ext cx="11203736" cy="634307"/>
          </a:xfrm>
          <a:prstGeom prst="rect">
            <a:avLst/>
          </a:prstGeom>
          <a:noFill/>
        </p:spPr>
        <p:txBody>
          <a:bodyPr wrap="square" lIns="182802" tIns="146241" rIns="182802" bIns="146241" rtlCol="0">
            <a:spAutoFit/>
          </a:bodyPr>
          <a:lstStyle/>
          <a:p>
            <a:pPr marL="0" marR="0" lvl="0" indent="0" algn="ctr" defTabSz="932205"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solidFill>
                  <a:srgbClr val="D83B01"/>
                </a:solidFill>
                <a:effectLst/>
                <a:uLnTx/>
                <a:uFillTx/>
                <a:latin typeface="Segoe UI Light" panose="020B0502040204020203" pitchFamily="34" charset="0"/>
                <a:ea typeface="ＭＳ Ｐゴシック" charset="0"/>
                <a:cs typeface="Segoe UI Light" panose="020B0502040204020203" pitchFamily="34" charset="0"/>
              </a:rPr>
              <a:t>Every Office 365 and Microsoft Azure customer uses Azure Active Directory</a:t>
            </a:r>
          </a:p>
        </p:txBody>
      </p:sp>
    </p:spTree>
    <p:extLst>
      <p:ext uri="{BB962C8B-B14F-4D97-AF65-F5344CB8AC3E}">
        <p14:creationId xmlns:p14="http://schemas.microsoft.com/office/powerpoint/2010/main" val="3477799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5043" y="0"/>
            <a:ext cx="11888787" cy="1420273"/>
          </a:xfrm>
        </p:spPr>
        <p:txBody>
          <a:bodyPr/>
          <a:lstStyle/>
          <a:p>
            <a:r>
              <a:rPr lang="en-US" sz="4800" dirty="0"/>
              <a:t>The wider context:</a:t>
            </a:r>
            <a:br>
              <a:rPr lang="en-US" sz="4800" dirty="0"/>
            </a:br>
            <a:r>
              <a:rPr lang="en-US" sz="4000" dirty="0">
                <a:solidFill>
                  <a:schemeClr val="accent1"/>
                </a:solidFill>
              </a:rPr>
              <a:t>Identity as the core of enterprise mobility</a:t>
            </a:r>
          </a:p>
        </p:txBody>
      </p:sp>
      <p:sp>
        <p:nvSpPr>
          <p:cNvPr id="185" name="Oval 184"/>
          <p:cNvSpPr/>
          <p:nvPr/>
        </p:nvSpPr>
        <p:spPr bwMode="auto">
          <a:xfrm>
            <a:off x="4706385" y="2174170"/>
            <a:ext cx="3217021" cy="3217018"/>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cxnSp>
        <p:nvCxnSpPr>
          <p:cNvPr id="265" name="Straight Arrow Connector 264"/>
          <p:cNvCxnSpPr/>
          <p:nvPr/>
        </p:nvCxnSpPr>
        <p:spPr>
          <a:xfrm flipH="1">
            <a:off x="2489387" y="5361325"/>
            <a:ext cx="2559940" cy="0"/>
          </a:xfrm>
          <a:prstGeom prst="straightConnector1">
            <a:avLst/>
          </a:prstGeom>
          <a:ln w="28575" cap="rnd">
            <a:solidFill>
              <a:schemeClr val="bg1"/>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p:cNvCxnSpPr/>
          <p:nvPr/>
        </p:nvCxnSpPr>
        <p:spPr>
          <a:xfrm flipH="1">
            <a:off x="7524652" y="5465391"/>
            <a:ext cx="1025891" cy="0"/>
          </a:xfrm>
          <a:prstGeom prst="straightConnector1">
            <a:avLst/>
          </a:prstGeom>
          <a:ln w="28575" cap="rnd">
            <a:solidFill>
              <a:schemeClr val="bg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p:cNvCxnSpPr/>
          <p:nvPr/>
        </p:nvCxnSpPr>
        <p:spPr>
          <a:xfrm>
            <a:off x="7370632" y="5230705"/>
            <a:ext cx="1319027" cy="0"/>
          </a:xfrm>
          <a:prstGeom prst="straightConnector1">
            <a:avLst/>
          </a:prstGeom>
          <a:ln w="28575" cap="rnd">
            <a:solidFill>
              <a:schemeClr val="bg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flipH="1">
            <a:off x="3388099" y="5111722"/>
            <a:ext cx="1661227" cy="2853"/>
          </a:xfrm>
          <a:prstGeom prst="straightConnector1">
            <a:avLst/>
          </a:prstGeom>
          <a:ln w="28575" cap="rnd">
            <a:solidFill>
              <a:schemeClr val="bg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5646905" y="3451506"/>
            <a:ext cx="2531588" cy="1098127"/>
            <a:chOff x="5535740" y="3384130"/>
            <a:chExt cx="2482526" cy="1076846"/>
          </a:xfrm>
        </p:grpSpPr>
        <p:sp>
          <p:nvSpPr>
            <p:cNvPr id="197" name="Rectangle 196"/>
            <p:cNvSpPr/>
            <p:nvPr/>
          </p:nvSpPr>
          <p:spPr bwMode="auto">
            <a:xfrm>
              <a:off x="5535740" y="3706940"/>
              <a:ext cx="2482526" cy="75403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93" tIns="182793" rIns="0" bIns="46614"/>
            <a:lstStyle/>
            <a:p>
              <a:pPr marL="0" marR="0" lvl="0" indent="0" algn="ctr" defTabSz="931847" eaLnBrk="1" fontAlgn="base" latinLnBrk="0" hangingPunct="1">
                <a:lnSpc>
                  <a:spcPct val="90000"/>
                </a:lnSpc>
                <a:spcBef>
                  <a:spcPct val="0"/>
                </a:spcBef>
                <a:spcAft>
                  <a:spcPct val="0"/>
                </a:spcAft>
                <a:buClrTx/>
                <a:buSzTx/>
                <a:buFontTx/>
                <a:buNone/>
                <a:tabLst/>
                <a:defRPr/>
              </a:pPr>
              <a:r>
                <a:rPr kumimoji="0" lang="en-US" sz="1530" b="0" i="0" u="none" strike="noStrike" kern="0" cap="none" spc="0" normalizeH="0" baseline="0" noProof="0" dirty="0">
                  <a:ln>
                    <a:noFill/>
                  </a:ln>
                  <a:solidFill>
                    <a:srgbClr val="F8F8F8"/>
                  </a:solidFill>
                  <a:effectLst/>
                  <a:uLnTx/>
                  <a:uFillTx/>
                </a:rPr>
                <a:t>Single sign-on</a:t>
              </a:r>
            </a:p>
          </p:txBody>
        </p:sp>
        <p:pic>
          <p:nvPicPr>
            <p:cNvPr id="269" name="Picture 26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481303" y="3384130"/>
              <a:ext cx="703068" cy="336744"/>
            </a:xfrm>
            <a:prstGeom prst="rect">
              <a:avLst/>
            </a:prstGeom>
          </p:spPr>
        </p:pic>
      </p:grpSp>
      <p:grpSp>
        <p:nvGrpSpPr>
          <p:cNvPr id="351" name="Group 350"/>
          <p:cNvGrpSpPr/>
          <p:nvPr/>
        </p:nvGrpSpPr>
        <p:grpSpPr>
          <a:xfrm>
            <a:off x="2654287" y="4805376"/>
            <a:ext cx="671990" cy="400289"/>
            <a:chOff x="10227446" y="2986117"/>
            <a:chExt cx="658968" cy="392532"/>
          </a:xfrm>
          <a:solidFill>
            <a:srgbClr val="F8F8F8"/>
          </a:solidFill>
        </p:grpSpPr>
        <p:grpSp>
          <p:nvGrpSpPr>
            <p:cNvPr id="352" name="Group 351"/>
            <p:cNvGrpSpPr/>
            <p:nvPr/>
          </p:nvGrpSpPr>
          <p:grpSpPr>
            <a:xfrm>
              <a:off x="10227446" y="2986117"/>
              <a:ext cx="658968" cy="392532"/>
              <a:chOff x="6002760" y="3291875"/>
              <a:chExt cx="3471152" cy="1658849"/>
            </a:xfrm>
            <a:grpFill/>
          </p:grpSpPr>
          <p:sp>
            <p:nvSpPr>
              <p:cNvPr id="354" name="Rectangle 353"/>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55" name="Rectangle 354"/>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sp>
          <p:nvSpPr>
            <p:cNvPr id="353"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2"/>
            </a:solidFill>
            <a:ln>
              <a:noFill/>
            </a:ln>
            <a:extLst/>
          </p:spPr>
          <p:txBody>
            <a:bodyPr/>
            <a:lstStyle/>
            <a:p>
              <a:pPr marL="0" marR="0" lvl="0" indent="0" defTabSz="93123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ea typeface="ＭＳ Ｐゴシック" charset="0"/>
              </a:endParaRPr>
            </a:p>
          </p:txBody>
        </p:sp>
      </p:grpSp>
      <p:grpSp>
        <p:nvGrpSpPr>
          <p:cNvPr id="11" name="Group 10"/>
          <p:cNvGrpSpPr/>
          <p:nvPr/>
        </p:nvGrpSpPr>
        <p:grpSpPr>
          <a:xfrm>
            <a:off x="4148160" y="3475790"/>
            <a:ext cx="2531588" cy="1074387"/>
            <a:chOff x="4066040" y="3407943"/>
            <a:chExt cx="2482526" cy="1053565"/>
          </a:xfrm>
        </p:grpSpPr>
        <p:sp>
          <p:nvSpPr>
            <p:cNvPr id="195" name="Rectangle 194"/>
            <p:cNvSpPr/>
            <p:nvPr/>
          </p:nvSpPr>
          <p:spPr bwMode="auto">
            <a:xfrm>
              <a:off x="4066040" y="3714836"/>
              <a:ext cx="2482526" cy="7466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93" tIns="182793" rIns="0" bIns="46614"/>
            <a:lstStyle/>
            <a:p>
              <a:pPr marL="0" marR="0" lvl="0" indent="0" algn="ctr" defTabSz="931847" eaLnBrk="1" fontAlgn="base" latinLnBrk="0" hangingPunct="1">
                <a:lnSpc>
                  <a:spcPct val="90000"/>
                </a:lnSpc>
                <a:spcBef>
                  <a:spcPct val="0"/>
                </a:spcBef>
                <a:spcAft>
                  <a:spcPct val="0"/>
                </a:spcAft>
                <a:buClrTx/>
                <a:buSzTx/>
                <a:buFontTx/>
                <a:buNone/>
                <a:tabLst/>
                <a:defRPr/>
              </a:pPr>
              <a:r>
                <a:rPr kumimoji="0" lang="en-US" sz="1530" b="0" i="0" u="none" strike="noStrike" kern="0" cap="none" spc="0" normalizeH="0" baseline="0" noProof="0" dirty="0">
                  <a:ln>
                    <a:noFill/>
                  </a:ln>
                  <a:solidFill>
                    <a:srgbClr val="F8F8F8"/>
                  </a:solidFill>
                  <a:effectLst/>
                  <a:uLnTx/>
                  <a:uFillTx/>
                </a:rPr>
                <a:t>Self-service</a:t>
              </a:r>
            </a:p>
          </p:txBody>
        </p:sp>
        <p:pic>
          <p:nvPicPr>
            <p:cNvPr id="356" name="Picture 355"/>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111166" y="3407943"/>
              <a:ext cx="577152" cy="328378"/>
            </a:xfrm>
            <a:prstGeom prst="rect">
              <a:avLst/>
            </a:prstGeom>
          </p:spPr>
        </p:pic>
      </p:grpSp>
      <p:grpSp>
        <p:nvGrpSpPr>
          <p:cNvPr id="9" name="Group 8"/>
          <p:cNvGrpSpPr/>
          <p:nvPr/>
        </p:nvGrpSpPr>
        <p:grpSpPr>
          <a:xfrm>
            <a:off x="4907303" y="2339514"/>
            <a:ext cx="2531588" cy="1235816"/>
            <a:chOff x="4810472" y="2293688"/>
            <a:chExt cx="2482526" cy="1211866"/>
          </a:xfrm>
        </p:grpSpPr>
        <p:sp>
          <p:nvSpPr>
            <p:cNvPr id="198" name="Rectangle 197"/>
            <p:cNvSpPr/>
            <p:nvPr/>
          </p:nvSpPr>
          <p:spPr bwMode="auto">
            <a:xfrm>
              <a:off x="4810472" y="2758882"/>
              <a:ext cx="2482526" cy="7466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93" tIns="182793" rIns="0" bIns="46614"/>
            <a:lstStyle/>
            <a:p>
              <a:pPr marL="0" marR="0" lvl="0" indent="0" algn="ctr" defTabSz="931847" eaLnBrk="1" fontAlgn="base" latinLnBrk="0" hangingPunct="1">
                <a:lnSpc>
                  <a:spcPct val="90000"/>
                </a:lnSpc>
                <a:spcBef>
                  <a:spcPct val="0"/>
                </a:spcBef>
                <a:spcAft>
                  <a:spcPct val="0"/>
                </a:spcAft>
                <a:buClrTx/>
                <a:buSzTx/>
                <a:buFontTx/>
                <a:buNone/>
                <a:tabLst/>
                <a:defRPr/>
              </a:pPr>
              <a:r>
                <a:rPr kumimoji="0" lang="en-US" sz="1530" b="0" i="0" u="none" strike="noStrike" kern="0" cap="none" spc="0" normalizeH="0" baseline="0" noProof="0" dirty="0">
                  <a:ln>
                    <a:noFill/>
                  </a:ln>
                  <a:solidFill>
                    <a:srgbClr val="F8F8F8"/>
                  </a:solidFill>
                  <a:effectLst/>
                  <a:uLnTx/>
                  <a:uFillTx/>
                </a:rPr>
                <a:t>Simple connection</a:t>
              </a:r>
            </a:p>
          </p:txBody>
        </p:sp>
        <p:sp>
          <p:nvSpPr>
            <p:cNvPr id="357" name="Freeform 31"/>
            <p:cNvSpPr>
              <a:spLocks noEditPoints="1"/>
            </p:cNvSpPr>
            <p:nvPr/>
          </p:nvSpPr>
          <p:spPr bwMode="auto">
            <a:xfrm rot="900000">
              <a:off x="5829628" y="2293688"/>
              <a:ext cx="661166" cy="55063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F8F8F8"/>
            </a:solidFill>
            <a:ln>
              <a:noFill/>
            </a:ln>
          </p:spPr>
          <p:txBody>
            <a:bodyPr vert="horz" wrap="square" lIns="91401" tIns="45700" rIns="91401" bIns="45700" numCol="1" anchor="t" anchorCtr="0" compatLnSpc="1">
              <a:prstTxWarp prst="textNoShape">
                <a:avLst/>
              </a:prstTxWarp>
            </a:bodyPr>
            <a:lstStyle/>
            <a:p>
              <a:pPr marL="0" marR="0" lvl="0" indent="0" defTabSz="93196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a typeface="ＭＳ Ｐゴシック" charset="0"/>
              </a:endParaRPr>
            </a:p>
          </p:txBody>
        </p:sp>
      </p:grpSp>
      <p:grpSp>
        <p:nvGrpSpPr>
          <p:cNvPr id="2" name="Group 1"/>
          <p:cNvGrpSpPr/>
          <p:nvPr/>
        </p:nvGrpSpPr>
        <p:grpSpPr>
          <a:xfrm>
            <a:off x="528772" y="2728089"/>
            <a:ext cx="2697964" cy="4292735"/>
            <a:chOff x="516794" y="2674733"/>
            <a:chExt cx="2645679" cy="4209543"/>
          </a:xfrm>
        </p:grpSpPr>
        <p:sp>
          <p:nvSpPr>
            <p:cNvPr id="189" name="Oval 188"/>
            <p:cNvSpPr/>
            <p:nvPr/>
          </p:nvSpPr>
          <p:spPr bwMode="auto">
            <a:xfrm>
              <a:off x="516794" y="2674733"/>
              <a:ext cx="2328151" cy="2328151"/>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199" name="Picture 19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9591" y="3066395"/>
              <a:ext cx="600294" cy="397377"/>
            </a:xfrm>
            <a:prstGeom prst="rect">
              <a:avLst/>
            </a:prstGeom>
          </p:spPr>
        </p:pic>
        <p:pic>
          <p:nvPicPr>
            <p:cNvPr id="200" name="Picture 19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8484" y="3714836"/>
              <a:ext cx="359302" cy="503826"/>
            </a:xfrm>
            <a:prstGeom prst="rect">
              <a:avLst/>
            </a:prstGeom>
          </p:spPr>
        </p:pic>
        <p:sp>
          <p:nvSpPr>
            <p:cNvPr id="279" name="Rectangle 278"/>
            <p:cNvSpPr/>
            <p:nvPr/>
          </p:nvSpPr>
          <p:spPr bwMode="auto">
            <a:xfrm>
              <a:off x="772953" y="5913960"/>
              <a:ext cx="1668410" cy="9703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93" tIns="182793" rIns="0" bIns="46614"/>
            <a:lstStyle/>
            <a:p>
              <a:pPr marL="0" marR="0" lvl="0" indent="0" algn="ctr" defTabSz="931847"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Light"/>
                </a:rPr>
                <a:t>On-premises</a:t>
              </a:r>
            </a:p>
          </p:txBody>
        </p:sp>
        <p:sp>
          <p:nvSpPr>
            <p:cNvPr id="349" name="Rectangle 348"/>
            <p:cNvSpPr/>
            <p:nvPr/>
          </p:nvSpPr>
          <p:spPr bwMode="auto">
            <a:xfrm>
              <a:off x="1320422" y="3806646"/>
              <a:ext cx="1465429" cy="471160"/>
            </a:xfrm>
            <a:prstGeom prst="rect">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2" tIns="146241" rIns="182802" bIns="146241" numCol="1" spcCol="0" rtlCol="0" fromWordArt="0" anchor="b" anchorCtr="0" forceAA="0" compatLnSpc="1">
              <a:prstTxWarp prst="textNoShape">
                <a:avLst/>
              </a:prstTxWarp>
              <a:noAutofit/>
            </a:bodyPr>
            <a:lstStyle/>
            <a:p>
              <a:pPr marL="0" marR="0" lvl="0" indent="0" defTabSz="9135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endParaRPr>
            </a:p>
            <a:p>
              <a:pPr marL="0" marR="0" lvl="0" indent="0" defTabSz="9135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solidFill>
                  <a:schemeClr val="bg1"/>
                </a:solidFill>
                <a:effectLst/>
                <a:uLnTx/>
                <a:uFillTx/>
              </a:endParaRPr>
            </a:p>
            <a:p>
              <a:pPr marL="0" marR="0" lvl="0" indent="0" defTabSz="913572" eaLnBrk="1" fontAlgn="base" latinLnBrk="0" hangingPunct="1">
                <a:lnSpc>
                  <a:spcPct val="90000"/>
                </a:lnSpc>
                <a:spcBef>
                  <a:spcPct val="0"/>
                </a:spcBef>
                <a:spcAft>
                  <a:spcPct val="0"/>
                </a:spcAft>
                <a:buClrTx/>
                <a:buSzPct val="80000"/>
                <a:buFontTx/>
                <a:buNone/>
                <a:tabLst/>
                <a:defRPr/>
              </a:pPr>
              <a:r>
                <a:rPr kumimoji="0" lang="en-US" sz="1099" b="0" i="0" u="none" strike="noStrike" kern="0" cap="none" spc="0" normalizeH="0" baseline="0" noProof="0" dirty="0">
                  <a:ln>
                    <a:noFill/>
                  </a:ln>
                  <a:solidFill>
                    <a:schemeClr val="bg1"/>
                  </a:solidFill>
                  <a:effectLst/>
                  <a:uLnTx/>
                  <a:uFillTx/>
                  <a:ea typeface="ＭＳ Ｐゴシック" charset="0"/>
                </a:rPr>
                <a:t>Other </a:t>
              </a:r>
              <a:br>
                <a:rPr kumimoji="0" lang="en-US" sz="1099" b="0" i="0" u="none" strike="noStrike" kern="0" cap="none" spc="0" normalizeH="0" baseline="0" noProof="0" dirty="0">
                  <a:ln>
                    <a:noFill/>
                  </a:ln>
                  <a:solidFill>
                    <a:schemeClr val="bg1"/>
                  </a:solidFill>
                  <a:effectLst/>
                  <a:uLnTx/>
                  <a:uFillTx/>
                  <a:ea typeface="ＭＳ Ｐゴシック" charset="0"/>
                </a:rPr>
              </a:br>
              <a:r>
                <a:rPr kumimoji="0" lang="en-US" sz="1099" b="0" i="0" u="none" strike="noStrike" kern="0" cap="none" spc="0" normalizeH="0" baseline="0" noProof="0" dirty="0">
                  <a:ln>
                    <a:noFill/>
                  </a:ln>
                  <a:solidFill>
                    <a:schemeClr val="bg1"/>
                  </a:solidFill>
                  <a:effectLst/>
                  <a:uLnTx/>
                  <a:uFillTx/>
                  <a:ea typeface="ＭＳ Ｐゴシック" charset="0"/>
                </a:rPr>
                <a:t>directories</a:t>
              </a:r>
            </a:p>
          </p:txBody>
        </p:sp>
        <p:sp>
          <p:nvSpPr>
            <p:cNvPr id="350" name="Rectangle 349"/>
            <p:cNvSpPr/>
            <p:nvPr/>
          </p:nvSpPr>
          <p:spPr>
            <a:xfrm>
              <a:off x="1497182" y="3161233"/>
              <a:ext cx="1665291" cy="304485"/>
            </a:xfrm>
            <a:prstGeom prst="rect">
              <a:avLst/>
            </a:prstGeom>
            <a:ln>
              <a:noFill/>
            </a:ln>
          </p:spPr>
          <p:txBody>
            <a:bodyPr wrap="square" lIns="0" tIns="0" rIns="0" bIns="0" anchor="ctr">
              <a:spAutoFit/>
            </a:bodyPr>
            <a:lstStyle/>
            <a:p>
              <a:pPr marL="0" marR="0" lvl="0" indent="0" defTabSz="913572" eaLnBrk="1" fontAlgn="base" latinLnBrk="0" hangingPunct="1">
                <a:lnSpc>
                  <a:spcPct val="90000"/>
                </a:lnSpc>
                <a:spcBef>
                  <a:spcPct val="0"/>
                </a:spcBef>
                <a:spcAft>
                  <a:spcPct val="0"/>
                </a:spcAft>
                <a:buClrTx/>
                <a:buSzPct val="80000"/>
                <a:buFontTx/>
                <a:buNone/>
                <a:tabLst/>
                <a:defRPr/>
              </a:pPr>
              <a:r>
                <a:rPr kumimoji="0" lang="en-US" sz="1099" b="0" i="0" u="none" strike="noStrike" kern="0" cap="none" spc="0" normalizeH="0" baseline="0" noProof="0" dirty="0">
                  <a:ln>
                    <a:noFill/>
                  </a:ln>
                  <a:solidFill>
                    <a:schemeClr val="bg1"/>
                  </a:solidFill>
                  <a:effectLst/>
                  <a:uLnTx/>
                  <a:uFillTx/>
                  <a:ea typeface="ＭＳ Ｐゴシック" charset="0"/>
                </a:rPr>
                <a:t>Windows Server</a:t>
              </a:r>
            </a:p>
            <a:p>
              <a:pPr marL="0" marR="0" lvl="0" indent="0" defTabSz="913572" eaLnBrk="1" fontAlgn="base" latinLnBrk="0" hangingPunct="1">
                <a:lnSpc>
                  <a:spcPct val="90000"/>
                </a:lnSpc>
                <a:spcBef>
                  <a:spcPct val="0"/>
                </a:spcBef>
                <a:spcAft>
                  <a:spcPct val="0"/>
                </a:spcAft>
                <a:buClrTx/>
                <a:buSzPct val="80000"/>
                <a:buFontTx/>
                <a:buNone/>
                <a:tabLst/>
                <a:defRPr/>
              </a:pPr>
              <a:r>
                <a:rPr kumimoji="0" lang="en-US" sz="1099" b="0" i="0" u="none" strike="noStrike" kern="0" cap="none" spc="0" normalizeH="0" baseline="0" noProof="0" dirty="0">
                  <a:ln>
                    <a:noFill/>
                  </a:ln>
                  <a:solidFill>
                    <a:schemeClr val="bg1"/>
                  </a:solidFill>
                  <a:effectLst/>
                  <a:uLnTx/>
                  <a:uFillTx/>
                  <a:ea typeface="ＭＳ Ｐゴシック" charset="0"/>
                </a:rPr>
                <a:t>Active Directory</a:t>
              </a:r>
            </a:p>
          </p:txBody>
        </p:sp>
        <p:grpSp>
          <p:nvGrpSpPr>
            <p:cNvPr id="358" name="Group 357"/>
            <p:cNvGrpSpPr/>
            <p:nvPr/>
          </p:nvGrpSpPr>
          <p:grpSpPr>
            <a:xfrm>
              <a:off x="1206753" y="4400600"/>
              <a:ext cx="1021440" cy="1410074"/>
              <a:chOff x="12679481" y="-2476193"/>
              <a:chExt cx="7318375" cy="10102850"/>
            </a:xfrm>
            <a:solidFill>
              <a:schemeClr val="bg1"/>
            </a:solidFill>
          </p:grpSpPr>
          <p:sp>
            <p:nvSpPr>
              <p:cNvPr id="359" name="Freeform 47"/>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60" name="Rectangle 48"/>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61" name="Rectangle 49"/>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362" name="Group 361"/>
            <p:cNvGrpSpPr/>
            <p:nvPr/>
          </p:nvGrpSpPr>
          <p:grpSpPr>
            <a:xfrm>
              <a:off x="609600" y="4569276"/>
              <a:ext cx="307630" cy="307524"/>
              <a:chOff x="-133735" y="-444418"/>
              <a:chExt cx="9232900" cy="9229725"/>
            </a:xfrm>
            <a:solidFill>
              <a:schemeClr val="bg1"/>
            </a:solidFill>
          </p:grpSpPr>
          <p:sp>
            <p:nvSpPr>
              <p:cNvPr id="363" name="Freeform 9"/>
              <p:cNvSpPr>
                <a:spLocks/>
              </p:cNvSpPr>
              <p:nvPr/>
            </p:nvSpPr>
            <p:spPr bwMode="auto">
              <a:xfrm>
                <a:off x="2074472" y="1871747"/>
                <a:ext cx="2589222" cy="2587633"/>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64" name="Freeform 10"/>
              <p:cNvSpPr>
                <a:spLocks noEditPoints="1"/>
              </p:cNvSpPr>
              <p:nvPr/>
            </p:nvSpPr>
            <p:spPr bwMode="auto">
              <a:xfrm>
                <a:off x="-133735" y="-444418"/>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365" name="Group 364"/>
            <p:cNvGrpSpPr/>
            <p:nvPr/>
          </p:nvGrpSpPr>
          <p:grpSpPr>
            <a:xfrm>
              <a:off x="2365838" y="4277213"/>
              <a:ext cx="307630" cy="307524"/>
              <a:chOff x="1477963" y="-1187450"/>
              <a:chExt cx="9232900" cy="9229725"/>
            </a:xfrm>
            <a:solidFill>
              <a:schemeClr val="bg1"/>
            </a:solidFill>
          </p:grpSpPr>
          <p:sp>
            <p:nvSpPr>
              <p:cNvPr id="366" name="Freeform 365"/>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67" name="Freeform 366"/>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grpSp>
        <p:nvGrpSpPr>
          <p:cNvPr id="3" name="Group 2"/>
          <p:cNvGrpSpPr/>
          <p:nvPr/>
        </p:nvGrpSpPr>
        <p:grpSpPr>
          <a:xfrm>
            <a:off x="8562975" y="2668697"/>
            <a:ext cx="3167496" cy="3813963"/>
            <a:chOff x="8395298" y="2616490"/>
            <a:chExt cx="3106110" cy="3740050"/>
          </a:xfrm>
        </p:grpSpPr>
        <p:grpSp>
          <p:nvGrpSpPr>
            <p:cNvPr id="7" name="Group 6"/>
            <p:cNvGrpSpPr/>
            <p:nvPr/>
          </p:nvGrpSpPr>
          <p:grpSpPr>
            <a:xfrm>
              <a:off x="8395298" y="2616490"/>
              <a:ext cx="3106110" cy="3740050"/>
              <a:chOff x="8395298" y="2616490"/>
              <a:chExt cx="3106110" cy="3740050"/>
            </a:xfrm>
          </p:grpSpPr>
          <p:sp>
            <p:nvSpPr>
              <p:cNvPr id="190" name="Oval 189"/>
              <p:cNvSpPr/>
              <p:nvPr/>
            </p:nvSpPr>
            <p:spPr bwMode="auto">
              <a:xfrm>
                <a:off x="8784033" y="2674733"/>
                <a:ext cx="2328151" cy="2328151"/>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91" name="Freeform 38"/>
              <p:cNvSpPr>
                <a:spLocks/>
              </p:cNvSpPr>
              <p:nvPr/>
            </p:nvSpPr>
            <p:spPr bwMode="auto">
              <a:xfrm>
                <a:off x="8536373" y="4065139"/>
                <a:ext cx="1458066" cy="95876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2"/>
                </a:solid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92" name="Freeform 38"/>
              <p:cNvSpPr>
                <a:spLocks/>
              </p:cNvSpPr>
              <p:nvPr/>
            </p:nvSpPr>
            <p:spPr bwMode="auto">
              <a:xfrm>
                <a:off x="9672791" y="4037980"/>
                <a:ext cx="1458066" cy="95876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2"/>
                </a:solid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1" name="Freeform 38"/>
              <p:cNvSpPr>
                <a:spLocks/>
              </p:cNvSpPr>
              <p:nvPr/>
            </p:nvSpPr>
            <p:spPr bwMode="auto">
              <a:xfrm>
                <a:off x="10043342" y="4517360"/>
                <a:ext cx="1458066" cy="958760"/>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2"/>
                </a:solid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2" name="Freeform 38"/>
              <p:cNvSpPr>
                <a:spLocks/>
              </p:cNvSpPr>
              <p:nvPr/>
            </p:nvSpPr>
            <p:spPr bwMode="auto">
              <a:xfrm>
                <a:off x="8537840" y="4624730"/>
                <a:ext cx="1827337" cy="120157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2"/>
                </a:solid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73" name="TextBox 272"/>
              <p:cNvSpPr txBox="1"/>
              <p:nvPr/>
            </p:nvSpPr>
            <p:spPr>
              <a:xfrm>
                <a:off x="9662728" y="4378870"/>
                <a:ext cx="1366797" cy="197774"/>
              </a:xfrm>
              <a:prstGeom prst="rect">
                <a:avLst/>
              </a:prstGeom>
            </p:spPr>
            <p:txBody>
              <a:bodyPr wrap="square" lIns="0" tIns="0" rIns="0" bIns="0" rtlCol="0">
                <a:spAutoFit/>
              </a:bodyPr>
              <a:lstStyle/>
              <a:p>
                <a:pPr marL="0" marR="0" lvl="0" indent="0" algn="ctr" defTabSz="913572"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dirty="0">
                    <a:ln>
                      <a:noFill/>
                    </a:ln>
                    <a:solidFill>
                      <a:schemeClr val="accent2"/>
                    </a:solidFill>
                    <a:effectLst/>
                    <a:uLnTx/>
                    <a:uFillTx/>
                    <a:ea typeface="ＭＳ Ｐゴシック" charset="0"/>
                    <a:cs typeface="Segoe UI Light"/>
                  </a:rPr>
                  <a:t>SaaS</a:t>
                </a:r>
              </a:p>
            </p:txBody>
          </p:sp>
          <p:sp>
            <p:nvSpPr>
              <p:cNvPr id="274" name="TextBox 273"/>
              <p:cNvSpPr txBox="1"/>
              <p:nvPr/>
            </p:nvSpPr>
            <p:spPr>
              <a:xfrm>
                <a:off x="8395298" y="4391551"/>
                <a:ext cx="1542464" cy="197774"/>
              </a:xfrm>
              <a:prstGeom prst="rect">
                <a:avLst/>
              </a:prstGeom>
            </p:spPr>
            <p:txBody>
              <a:bodyPr wrap="square" lIns="0" tIns="0" rIns="0" bIns="0" rtlCol="0">
                <a:spAutoFit/>
              </a:bodyPr>
              <a:lstStyle/>
              <a:p>
                <a:pPr marL="0" marR="0" lvl="0" indent="0" algn="ctr" defTabSz="913572"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dirty="0">
                    <a:ln>
                      <a:noFill/>
                    </a:ln>
                    <a:solidFill>
                      <a:schemeClr val="accent2"/>
                    </a:solidFill>
                    <a:effectLst/>
                    <a:uLnTx/>
                    <a:uFillTx/>
                    <a:ea typeface="ＭＳ Ｐゴシック" charset="0"/>
                    <a:cs typeface="Segoe UI Light"/>
                  </a:rPr>
                  <a:t>Azure</a:t>
                </a:r>
              </a:p>
            </p:txBody>
          </p:sp>
          <p:sp>
            <p:nvSpPr>
              <p:cNvPr id="276" name="TextBox 275"/>
              <p:cNvSpPr txBox="1"/>
              <p:nvPr/>
            </p:nvSpPr>
            <p:spPr>
              <a:xfrm>
                <a:off x="8992701" y="5122519"/>
                <a:ext cx="857117" cy="395549"/>
              </a:xfrm>
              <a:prstGeom prst="rect">
                <a:avLst/>
              </a:prstGeom>
            </p:spPr>
            <p:txBody>
              <a:bodyPr wrap="square" lIns="0" tIns="0" rIns="0" bIns="0" rtlCol="0">
                <a:spAutoFit/>
              </a:bodyPr>
              <a:lstStyle/>
              <a:p>
                <a:pPr marL="0" marR="0" lvl="0" indent="0" algn="ctr" defTabSz="913572"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dirty="0">
                    <a:ln>
                      <a:noFill/>
                    </a:ln>
                    <a:solidFill>
                      <a:schemeClr val="accent2"/>
                    </a:solidFill>
                    <a:effectLst/>
                    <a:uLnTx/>
                    <a:uFillTx/>
                    <a:ea typeface="ＭＳ Ｐゴシック" charset="0"/>
                    <a:cs typeface="Segoe UI Light"/>
                  </a:rPr>
                  <a:t>Public</a:t>
                </a:r>
              </a:p>
              <a:p>
                <a:pPr marL="0" marR="0" lvl="0" indent="0" algn="ctr" defTabSz="913572" eaLnBrk="1" fontAlgn="base" latinLnBrk="0" hangingPunct="1">
                  <a:lnSpc>
                    <a:spcPct val="90000"/>
                  </a:lnSpc>
                  <a:spcBef>
                    <a:spcPct val="0"/>
                  </a:spcBef>
                  <a:spcAft>
                    <a:spcPct val="0"/>
                  </a:spcAft>
                  <a:buClrTx/>
                  <a:buSzPct val="80000"/>
                  <a:buFontTx/>
                  <a:buNone/>
                  <a:tabLst/>
                  <a:defRPr/>
                </a:pPr>
                <a:r>
                  <a:rPr kumimoji="0" lang="en-US" sz="1428" b="0" i="0" u="none" strike="noStrike" kern="0" cap="none" spc="0" normalizeH="0" baseline="0" noProof="0" dirty="0">
                    <a:ln>
                      <a:noFill/>
                    </a:ln>
                    <a:solidFill>
                      <a:schemeClr val="accent2"/>
                    </a:solidFill>
                    <a:effectLst/>
                    <a:uLnTx/>
                    <a:uFillTx/>
                    <a:ea typeface="ＭＳ Ｐゴシック" charset="0"/>
                    <a:cs typeface="Segoe UI Light"/>
                  </a:rPr>
                  <a:t>cloud</a:t>
                </a:r>
              </a:p>
            </p:txBody>
          </p:sp>
          <p:sp>
            <p:nvSpPr>
              <p:cNvPr id="277" name="TextBox 276"/>
              <p:cNvSpPr txBox="1"/>
              <p:nvPr/>
            </p:nvSpPr>
            <p:spPr>
              <a:xfrm>
                <a:off x="8915401" y="6079502"/>
                <a:ext cx="2260150" cy="277038"/>
              </a:xfrm>
              <a:prstGeom prst="rect">
                <a:avLst/>
              </a:prstGeom>
            </p:spPr>
            <p:txBody>
              <a:bodyPr wrap="square" lIns="0" tIns="0" rIns="0" bIns="0" rtlCol="0">
                <a:spAutoFit/>
              </a:bodyPr>
              <a:lstStyle/>
              <a:p>
                <a:pPr marL="0" marR="0" lvl="0" indent="0" algn="ctr" defTabSz="913572" eaLnBrk="1" fontAlgn="base" latinLnBrk="0" hangingPunct="1">
                  <a:lnSpc>
                    <a:spcPct val="90000"/>
                  </a:lnSpc>
                  <a:spcBef>
                    <a:spcPct val="0"/>
                  </a:spcBef>
                  <a:spcAft>
                    <a:spcPct val="0"/>
                  </a:spcAft>
                  <a:buClrTx/>
                  <a:buSzPct val="80000"/>
                  <a:buFontTx/>
                  <a:buNone/>
                  <a:tabLst/>
                  <a:defRPr/>
                </a:pPr>
                <a:r>
                  <a:rPr kumimoji="0" lang="en-US" sz="2000" b="0" i="0" u="none" strike="noStrike" kern="0" cap="none" spc="0" normalizeH="0" baseline="0" noProof="0" dirty="0">
                    <a:ln>
                      <a:noFill/>
                    </a:ln>
                    <a:solidFill>
                      <a:srgbClr val="F8F8F8"/>
                    </a:solidFill>
                    <a:effectLst/>
                    <a:uLnTx/>
                    <a:uFillTx/>
                    <a:latin typeface="Segoe UI Light"/>
                    <a:ea typeface="ＭＳ Ｐゴシック" charset="0"/>
                    <a:cs typeface="Segoe UI Semibold" panose="020B0702040204020203" pitchFamily="34" charset="0"/>
                  </a:rPr>
                  <a:t>Cloud</a:t>
                </a:r>
              </a:p>
            </p:txBody>
          </p:sp>
          <p:grpSp>
            <p:nvGrpSpPr>
              <p:cNvPr id="280" name="Group 279"/>
              <p:cNvGrpSpPr/>
              <p:nvPr/>
            </p:nvGrpSpPr>
            <p:grpSpPr>
              <a:xfrm>
                <a:off x="10939964" y="3805815"/>
                <a:ext cx="307630" cy="307524"/>
                <a:chOff x="1477963" y="-1187450"/>
                <a:chExt cx="9232900" cy="9229725"/>
              </a:xfrm>
              <a:solidFill>
                <a:schemeClr val="bg1"/>
              </a:solidFill>
            </p:grpSpPr>
            <p:sp>
              <p:nvSpPr>
                <p:cNvPr id="282"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83"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284" name="Group 283"/>
              <p:cNvGrpSpPr/>
              <p:nvPr/>
            </p:nvGrpSpPr>
            <p:grpSpPr>
              <a:xfrm>
                <a:off x="9820516" y="3679832"/>
                <a:ext cx="307630" cy="307524"/>
                <a:chOff x="1477963" y="-1187450"/>
                <a:chExt cx="9232900" cy="9229725"/>
              </a:xfrm>
              <a:solidFill>
                <a:schemeClr val="bg1"/>
              </a:solidFill>
            </p:grpSpPr>
            <p:sp>
              <p:nvSpPr>
                <p:cNvPr id="286"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98"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300" name="Group 299"/>
              <p:cNvGrpSpPr/>
              <p:nvPr/>
            </p:nvGrpSpPr>
            <p:grpSpPr>
              <a:xfrm>
                <a:off x="10481076" y="2616490"/>
                <a:ext cx="307630" cy="307524"/>
                <a:chOff x="1477963" y="-1187450"/>
                <a:chExt cx="9232900" cy="9229725"/>
              </a:xfrm>
              <a:solidFill>
                <a:schemeClr val="bg1"/>
              </a:solidFill>
            </p:grpSpPr>
            <p:sp>
              <p:nvSpPr>
                <p:cNvPr id="301"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02"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303" name="Group 302"/>
              <p:cNvGrpSpPr/>
              <p:nvPr/>
            </p:nvGrpSpPr>
            <p:grpSpPr>
              <a:xfrm>
                <a:off x="9002667" y="2908259"/>
                <a:ext cx="307630" cy="307524"/>
                <a:chOff x="1477963" y="-1187450"/>
                <a:chExt cx="9232900" cy="9229725"/>
              </a:xfrm>
              <a:solidFill>
                <a:schemeClr val="bg1"/>
              </a:solidFill>
            </p:grpSpPr>
            <p:sp>
              <p:nvSpPr>
                <p:cNvPr id="304" name="Freeform 9"/>
                <p:cNvSpPr>
                  <a:spLocks/>
                </p:cNvSpPr>
                <p:nvPr/>
              </p:nvSpPr>
              <p:spPr bwMode="auto">
                <a:xfrm>
                  <a:off x="3686180" y="1128706"/>
                  <a:ext cx="2589211" cy="2587622"/>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05"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grpSp>
            <p:nvGrpSpPr>
              <p:cNvPr id="306" name="Group 305"/>
              <p:cNvGrpSpPr/>
              <p:nvPr/>
            </p:nvGrpSpPr>
            <p:grpSpPr>
              <a:xfrm>
                <a:off x="10568695" y="3173527"/>
                <a:ext cx="658968" cy="392532"/>
                <a:chOff x="10227446" y="2986117"/>
                <a:chExt cx="658968" cy="392532"/>
              </a:xfrm>
            </p:grpSpPr>
            <p:grpSp>
              <p:nvGrpSpPr>
                <p:cNvPr id="307" name="Group 306"/>
                <p:cNvGrpSpPr/>
                <p:nvPr/>
              </p:nvGrpSpPr>
              <p:grpSpPr>
                <a:xfrm>
                  <a:off x="10227446" y="2986117"/>
                  <a:ext cx="658968" cy="392532"/>
                  <a:chOff x="6002760" y="3291875"/>
                  <a:chExt cx="3471152" cy="1658849"/>
                </a:xfrm>
              </p:grpSpPr>
              <p:sp>
                <p:nvSpPr>
                  <p:cNvPr id="309" name="Rectangle 308"/>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10" name="Rectangle 309"/>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sp>
              <p:nvSpPr>
                <p:cNvPr id="308"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2"/>
                </a:solidFill>
                <a:ln>
                  <a:noFill/>
                </a:ln>
                <a:extLst/>
              </p:spPr>
              <p:txBody>
                <a:bodyPr/>
                <a:lstStyle/>
                <a:p>
                  <a:pPr marL="0" marR="0" lvl="0" indent="0" defTabSz="93123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ea typeface="ＭＳ Ｐゴシック" charset="0"/>
                  </a:endParaRPr>
                </a:p>
              </p:txBody>
            </p:sp>
          </p:grpSp>
          <p:grpSp>
            <p:nvGrpSpPr>
              <p:cNvPr id="311" name="Group 310"/>
              <p:cNvGrpSpPr/>
              <p:nvPr/>
            </p:nvGrpSpPr>
            <p:grpSpPr>
              <a:xfrm>
                <a:off x="8585917" y="3478764"/>
                <a:ext cx="658968" cy="392532"/>
                <a:chOff x="10227446" y="2986117"/>
                <a:chExt cx="658968" cy="392532"/>
              </a:xfrm>
            </p:grpSpPr>
            <p:grpSp>
              <p:nvGrpSpPr>
                <p:cNvPr id="337" name="Group 336"/>
                <p:cNvGrpSpPr/>
                <p:nvPr/>
              </p:nvGrpSpPr>
              <p:grpSpPr>
                <a:xfrm>
                  <a:off x="10227446" y="2986117"/>
                  <a:ext cx="658968" cy="392532"/>
                  <a:chOff x="6002760" y="3291875"/>
                  <a:chExt cx="3471152" cy="1658849"/>
                </a:xfrm>
              </p:grpSpPr>
              <p:sp>
                <p:nvSpPr>
                  <p:cNvPr id="342" name="Rectangle 341"/>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43" name="Rectangle 342"/>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sp>
              <p:nvSpPr>
                <p:cNvPr id="341"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2"/>
                </a:solidFill>
                <a:ln>
                  <a:noFill/>
                </a:ln>
                <a:extLst/>
              </p:spPr>
              <p:txBody>
                <a:bodyPr/>
                <a:lstStyle/>
                <a:p>
                  <a:pPr marL="0" marR="0" lvl="0" indent="0" defTabSz="93123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ea typeface="ＭＳ Ｐゴシック" charset="0"/>
                  </a:endParaRPr>
                </a:p>
              </p:txBody>
            </p:sp>
          </p:grpSp>
          <p:grpSp>
            <p:nvGrpSpPr>
              <p:cNvPr id="344" name="Group 343"/>
              <p:cNvGrpSpPr/>
              <p:nvPr/>
            </p:nvGrpSpPr>
            <p:grpSpPr>
              <a:xfrm>
                <a:off x="9559004" y="2941930"/>
                <a:ext cx="658968" cy="392532"/>
                <a:chOff x="10227446" y="2986117"/>
                <a:chExt cx="658968" cy="392532"/>
              </a:xfrm>
            </p:grpSpPr>
            <p:grpSp>
              <p:nvGrpSpPr>
                <p:cNvPr id="345" name="Group 344"/>
                <p:cNvGrpSpPr/>
                <p:nvPr/>
              </p:nvGrpSpPr>
              <p:grpSpPr>
                <a:xfrm>
                  <a:off x="10227446" y="2986117"/>
                  <a:ext cx="658968" cy="392532"/>
                  <a:chOff x="6002760" y="3291875"/>
                  <a:chExt cx="3471152" cy="1658849"/>
                </a:xfrm>
              </p:grpSpPr>
              <p:sp>
                <p:nvSpPr>
                  <p:cNvPr id="347" name="Rectangle 346"/>
                  <p:cNvSpPr/>
                  <p:nvPr/>
                </p:nvSpPr>
                <p:spPr bwMode="auto">
                  <a:xfrm>
                    <a:off x="6002760" y="3291875"/>
                    <a:ext cx="3471152" cy="1574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48" name="Rectangle 347"/>
                  <p:cNvSpPr/>
                  <p:nvPr/>
                </p:nvSpPr>
                <p:spPr bwMode="auto">
                  <a:xfrm>
                    <a:off x="6002760" y="3489197"/>
                    <a:ext cx="3471152" cy="146152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grpSp>
            <p:sp>
              <p:nvSpPr>
                <p:cNvPr id="346" name="icon GEARS"/>
                <p:cNvSpPr>
                  <a:spLocks noEditPoints="1"/>
                </p:cNvSpPr>
                <p:nvPr/>
              </p:nvSpPr>
              <p:spPr bwMode="auto">
                <a:xfrm>
                  <a:off x="10417230" y="3079596"/>
                  <a:ext cx="314270" cy="262388"/>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accent2"/>
                </a:solidFill>
                <a:ln>
                  <a:noFill/>
                </a:ln>
                <a:extLst/>
              </p:spPr>
              <p:txBody>
                <a:bodyPr/>
                <a:lstStyle/>
                <a:p>
                  <a:pPr marL="0" marR="0" lvl="0" indent="0" defTabSz="93123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ea typeface="ＭＳ Ｐゴシック" charset="0"/>
                  </a:endParaRPr>
                </a:p>
              </p:txBody>
            </p:sp>
          </p:grpSp>
        </p:grpSp>
        <p:pic>
          <p:nvPicPr>
            <p:cNvPr id="85" name="Picture 8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323123" y="5027999"/>
              <a:ext cx="965253" cy="213870"/>
            </a:xfrm>
            <a:prstGeom prst="rect">
              <a:avLst/>
            </a:prstGeom>
          </p:spPr>
        </p:pic>
      </p:grpSp>
      <p:grpSp>
        <p:nvGrpSpPr>
          <p:cNvPr id="8" name="Group 7"/>
          <p:cNvGrpSpPr/>
          <p:nvPr/>
        </p:nvGrpSpPr>
        <p:grpSpPr>
          <a:xfrm>
            <a:off x="3981344" y="4349538"/>
            <a:ext cx="4569200" cy="2159517"/>
            <a:chOff x="3902455" y="4264758"/>
            <a:chExt cx="4480651" cy="2117667"/>
          </a:xfrm>
        </p:grpSpPr>
        <p:sp>
          <p:nvSpPr>
            <p:cNvPr id="193" name="Freeform 38"/>
            <p:cNvSpPr>
              <a:spLocks/>
            </p:cNvSpPr>
            <p:nvPr/>
          </p:nvSpPr>
          <p:spPr bwMode="auto">
            <a:xfrm>
              <a:off x="5010363" y="4352743"/>
              <a:ext cx="2200704" cy="144708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nvGrpSpPr>
            <p:cNvPr id="201" name="Group 200"/>
            <p:cNvGrpSpPr/>
            <p:nvPr/>
          </p:nvGrpSpPr>
          <p:grpSpPr>
            <a:xfrm>
              <a:off x="3902455" y="4264758"/>
              <a:ext cx="4480651" cy="2117667"/>
              <a:chOff x="3980707" y="4210763"/>
              <a:chExt cx="4570497" cy="2160130"/>
            </a:xfrm>
          </p:grpSpPr>
          <p:grpSp>
            <p:nvGrpSpPr>
              <p:cNvPr id="212" name="Group 211"/>
              <p:cNvGrpSpPr/>
              <p:nvPr/>
            </p:nvGrpSpPr>
            <p:grpSpPr>
              <a:xfrm>
                <a:off x="5836042" y="4210763"/>
                <a:ext cx="1525266" cy="1365981"/>
                <a:chOff x="5840939" y="4210763"/>
                <a:chExt cx="1525266" cy="1365981"/>
              </a:xfrm>
            </p:grpSpPr>
            <p:sp>
              <p:nvSpPr>
                <p:cNvPr id="261" name="Oval 260"/>
                <p:cNvSpPr/>
                <p:nvPr/>
              </p:nvSpPr>
              <p:spPr bwMode="auto">
                <a:xfrm>
                  <a:off x="6631819" y="4210763"/>
                  <a:ext cx="734386" cy="734383"/>
                </a:xfrm>
                <a:prstGeom prst="ellipse">
                  <a:avLst/>
                </a:prstGeom>
                <a:solidFill>
                  <a:schemeClr val="bg1"/>
                </a:solidFill>
                <a:ln w="19050">
                  <a:solidFill>
                    <a:schemeClr val="accent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46616" rIns="0" bIns="46616" anchor="ctr"/>
                <a:lstStyle/>
                <a:p>
                  <a:pPr marL="0" marR="0" lvl="0" indent="0" algn="ctr" defTabSz="931935"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63" name="Picture 26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40939" y="4707599"/>
                  <a:ext cx="869145" cy="869145"/>
                </a:xfrm>
                <a:prstGeom prst="rect">
                  <a:avLst/>
                </a:prstGeom>
              </p:spPr>
            </p:pic>
          </p:grpSp>
          <p:sp>
            <p:nvSpPr>
              <p:cNvPr id="239" name="TextBox 238"/>
              <p:cNvSpPr txBox="1"/>
              <p:nvPr/>
            </p:nvSpPr>
            <p:spPr>
              <a:xfrm>
                <a:off x="3980707" y="6088299"/>
                <a:ext cx="4570497" cy="282594"/>
              </a:xfrm>
              <a:prstGeom prst="rect">
                <a:avLst/>
              </a:prstGeom>
            </p:spPr>
            <p:txBody>
              <a:bodyPr wrap="square" lIns="0" tIns="0" rIns="0" bIns="0" rtlCol="0">
                <a:spAutoFit/>
              </a:bodyPr>
              <a:lstStyle/>
              <a:p>
                <a:pPr marL="0" marR="0" lvl="0" indent="0" algn="ctr" defTabSz="913572" eaLnBrk="1" fontAlgn="base" latinLnBrk="0" hangingPunct="1">
                  <a:lnSpc>
                    <a:spcPct val="90000"/>
                  </a:lnSpc>
                  <a:spcBef>
                    <a:spcPct val="0"/>
                  </a:spcBef>
                  <a:spcAft>
                    <a:spcPct val="0"/>
                  </a:spcAft>
                  <a:buClrTx/>
                  <a:buSzPct val="80000"/>
                  <a:buFontTx/>
                  <a:buNone/>
                  <a:tabLst/>
                  <a:defRPr/>
                </a:pPr>
                <a:r>
                  <a:rPr kumimoji="0" lang="en-US" sz="2000" b="0" i="0" u="none" strike="noStrike" kern="0" cap="none" spc="0" normalizeH="0" baseline="0" noProof="0" dirty="0">
                    <a:ln>
                      <a:noFill/>
                    </a:ln>
                    <a:solidFill>
                      <a:srgbClr val="F8F8F8"/>
                    </a:solidFill>
                    <a:effectLst/>
                    <a:uLnTx/>
                    <a:uFillTx/>
                    <a:latin typeface="Segoe UI Light"/>
                    <a:ea typeface="ＭＳ Ｐゴシック" charset="0"/>
                    <a:cs typeface="Segoe UI Semibold" panose="020B0702040204020203" pitchFamily="34" charset="0"/>
                  </a:rPr>
                  <a:t>Microsoft Azure Active Directory</a:t>
                </a:r>
              </a:p>
            </p:txBody>
          </p:sp>
        </p:grpSp>
      </p:grpSp>
      <p:grpSp>
        <p:nvGrpSpPr>
          <p:cNvPr id="25" name="Group 24"/>
          <p:cNvGrpSpPr/>
          <p:nvPr/>
        </p:nvGrpSpPr>
        <p:grpSpPr>
          <a:xfrm>
            <a:off x="6837540" y="4434404"/>
            <a:ext cx="320136" cy="564162"/>
            <a:chOff x="6045200" y="966788"/>
            <a:chExt cx="420688" cy="741362"/>
          </a:xfrm>
        </p:grpSpPr>
        <p:sp>
          <p:nvSpPr>
            <p:cNvPr id="14" name="Freeform 5"/>
            <p:cNvSpPr>
              <a:spLocks/>
            </p:cNvSpPr>
            <p:nvPr/>
          </p:nvSpPr>
          <p:spPr bwMode="auto">
            <a:xfrm>
              <a:off x="6045200" y="1273175"/>
              <a:ext cx="420688" cy="434975"/>
            </a:xfrm>
            <a:custGeom>
              <a:avLst/>
              <a:gdLst>
                <a:gd name="T0" fmla="*/ 349 w 349"/>
                <a:gd name="T1" fmla="*/ 146 h 362"/>
                <a:gd name="T2" fmla="*/ 349 w 349"/>
                <a:gd name="T3" fmla="*/ 54 h 362"/>
                <a:gd name="T4" fmla="*/ 349 w 349"/>
                <a:gd name="T5" fmla="*/ 0 h 362"/>
                <a:gd name="T6" fmla="*/ 296 w 349"/>
                <a:gd name="T7" fmla="*/ 0 h 362"/>
                <a:gd name="T8" fmla="*/ 55 w 349"/>
                <a:gd name="T9" fmla="*/ 0 h 362"/>
                <a:gd name="T10" fmla="*/ 2 w 349"/>
                <a:gd name="T11" fmla="*/ 0 h 362"/>
                <a:gd name="T12" fmla="*/ 2 w 349"/>
                <a:gd name="T13" fmla="*/ 54 h 362"/>
                <a:gd name="T14" fmla="*/ 2 w 349"/>
                <a:gd name="T15" fmla="*/ 146 h 362"/>
                <a:gd name="T16" fmla="*/ 151 w 349"/>
                <a:gd name="T17" fmla="*/ 349 h 362"/>
                <a:gd name="T18" fmla="*/ 175 w 349"/>
                <a:gd name="T19" fmla="*/ 362 h 362"/>
                <a:gd name="T20" fmla="*/ 200 w 349"/>
                <a:gd name="T21" fmla="*/ 349 h 362"/>
                <a:gd name="T22" fmla="*/ 349 w 349"/>
                <a:gd name="T23" fmla="*/ 14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62">
                  <a:moveTo>
                    <a:pt x="349" y="146"/>
                  </a:moveTo>
                  <a:cubicBezTo>
                    <a:pt x="349" y="54"/>
                    <a:pt x="349" y="54"/>
                    <a:pt x="349" y="54"/>
                  </a:cubicBezTo>
                  <a:cubicBezTo>
                    <a:pt x="349" y="0"/>
                    <a:pt x="349" y="0"/>
                    <a:pt x="349" y="0"/>
                  </a:cubicBezTo>
                  <a:cubicBezTo>
                    <a:pt x="296" y="0"/>
                    <a:pt x="296" y="0"/>
                    <a:pt x="296" y="0"/>
                  </a:cubicBezTo>
                  <a:cubicBezTo>
                    <a:pt x="55" y="0"/>
                    <a:pt x="55" y="0"/>
                    <a:pt x="55" y="0"/>
                  </a:cubicBezTo>
                  <a:cubicBezTo>
                    <a:pt x="2" y="0"/>
                    <a:pt x="2" y="0"/>
                    <a:pt x="2" y="0"/>
                  </a:cubicBezTo>
                  <a:cubicBezTo>
                    <a:pt x="2" y="54"/>
                    <a:pt x="2" y="54"/>
                    <a:pt x="2" y="54"/>
                  </a:cubicBezTo>
                  <a:cubicBezTo>
                    <a:pt x="2" y="146"/>
                    <a:pt x="2" y="146"/>
                    <a:pt x="2" y="146"/>
                  </a:cubicBezTo>
                  <a:cubicBezTo>
                    <a:pt x="2" y="152"/>
                    <a:pt x="0" y="271"/>
                    <a:pt x="151" y="349"/>
                  </a:cubicBezTo>
                  <a:cubicBezTo>
                    <a:pt x="175" y="362"/>
                    <a:pt x="175" y="362"/>
                    <a:pt x="175" y="362"/>
                  </a:cubicBezTo>
                  <a:cubicBezTo>
                    <a:pt x="200" y="349"/>
                    <a:pt x="200" y="349"/>
                    <a:pt x="200" y="349"/>
                  </a:cubicBezTo>
                  <a:cubicBezTo>
                    <a:pt x="348" y="272"/>
                    <a:pt x="349" y="160"/>
                    <a:pt x="349" y="146"/>
                  </a:cubicBezTo>
                  <a:close/>
                </a:path>
              </a:pathLst>
            </a:custGeom>
            <a:solidFill>
              <a:schemeClr val="accent2"/>
            </a:solidFill>
            <a:ln>
              <a:no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Freeform 6"/>
            <p:cNvSpPr>
              <a:spLocks/>
            </p:cNvSpPr>
            <p:nvPr/>
          </p:nvSpPr>
          <p:spPr bwMode="auto">
            <a:xfrm>
              <a:off x="6111875" y="966788"/>
              <a:ext cx="290513" cy="282575"/>
            </a:xfrm>
            <a:custGeom>
              <a:avLst/>
              <a:gdLst>
                <a:gd name="T0" fmla="*/ 57 w 241"/>
                <a:gd name="T1" fmla="*/ 204 h 236"/>
                <a:gd name="T2" fmla="*/ 57 w 241"/>
                <a:gd name="T3" fmla="*/ 120 h 236"/>
                <a:gd name="T4" fmla="*/ 57 w 241"/>
                <a:gd name="T5" fmla="*/ 118 h 236"/>
                <a:gd name="T6" fmla="*/ 120 w 241"/>
                <a:gd name="T7" fmla="*/ 57 h 236"/>
                <a:gd name="T8" fmla="*/ 183 w 241"/>
                <a:gd name="T9" fmla="*/ 120 h 236"/>
                <a:gd name="T10" fmla="*/ 183 w 241"/>
                <a:gd name="T11" fmla="*/ 236 h 236"/>
                <a:gd name="T12" fmla="*/ 241 w 241"/>
                <a:gd name="T13" fmla="*/ 236 h 236"/>
                <a:gd name="T14" fmla="*/ 241 w 241"/>
                <a:gd name="T15" fmla="*/ 113 h 236"/>
                <a:gd name="T16" fmla="*/ 240 w 241"/>
                <a:gd name="T17" fmla="*/ 113 h 236"/>
                <a:gd name="T18" fmla="*/ 120 w 241"/>
                <a:gd name="T19" fmla="*/ 0 h 236"/>
                <a:gd name="T20" fmla="*/ 0 w 241"/>
                <a:gd name="T21" fmla="*/ 120 h 236"/>
                <a:gd name="T22" fmla="*/ 0 w 241"/>
                <a:gd name="T23" fmla="*/ 236 h 236"/>
                <a:gd name="T24" fmla="*/ 57 w 241"/>
                <a:gd name="T25" fmla="*/ 236 h 236"/>
                <a:gd name="T26" fmla="*/ 57 w 241"/>
                <a:gd name="T27" fmla="*/ 2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36">
                  <a:moveTo>
                    <a:pt x="57" y="204"/>
                  </a:moveTo>
                  <a:cubicBezTo>
                    <a:pt x="57" y="120"/>
                    <a:pt x="57" y="120"/>
                    <a:pt x="57" y="120"/>
                  </a:cubicBezTo>
                  <a:cubicBezTo>
                    <a:pt x="57" y="118"/>
                    <a:pt x="57" y="118"/>
                    <a:pt x="57" y="118"/>
                  </a:cubicBezTo>
                  <a:cubicBezTo>
                    <a:pt x="59" y="84"/>
                    <a:pt x="86" y="57"/>
                    <a:pt x="120" y="57"/>
                  </a:cubicBezTo>
                  <a:cubicBezTo>
                    <a:pt x="155" y="57"/>
                    <a:pt x="183" y="85"/>
                    <a:pt x="183" y="120"/>
                  </a:cubicBezTo>
                  <a:cubicBezTo>
                    <a:pt x="183" y="236"/>
                    <a:pt x="183" y="236"/>
                    <a:pt x="183" y="236"/>
                  </a:cubicBezTo>
                  <a:cubicBezTo>
                    <a:pt x="241" y="236"/>
                    <a:pt x="241" y="236"/>
                    <a:pt x="241" y="236"/>
                  </a:cubicBezTo>
                  <a:cubicBezTo>
                    <a:pt x="241" y="113"/>
                    <a:pt x="241" y="113"/>
                    <a:pt x="241" y="113"/>
                  </a:cubicBezTo>
                  <a:cubicBezTo>
                    <a:pt x="240" y="113"/>
                    <a:pt x="240" y="113"/>
                    <a:pt x="240" y="113"/>
                  </a:cubicBezTo>
                  <a:cubicBezTo>
                    <a:pt x="237" y="50"/>
                    <a:pt x="184" y="0"/>
                    <a:pt x="120" y="0"/>
                  </a:cubicBezTo>
                  <a:cubicBezTo>
                    <a:pt x="54" y="0"/>
                    <a:pt x="0" y="54"/>
                    <a:pt x="0" y="120"/>
                  </a:cubicBezTo>
                  <a:cubicBezTo>
                    <a:pt x="0" y="236"/>
                    <a:pt x="0" y="236"/>
                    <a:pt x="0" y="236"/>
                  </a:cubicBezTo>
                  <a:cubicBezTo>
                    <a:pt x="57" y="236"/>
                    <a:pt x="57" y="236"/>
                    <a:pt x="57" y="236"/>
                  </a:cubicBezTo>
                  <a:lnTo>
                    <a:pt x="57" y="204"/>
                  </a:lnTo>
                  <a:close/>
                </a:path>
              </a:pathLst>
            </a:custGeom>
            <a:solidFill>
              <a:schemeClr val="accent2"/>
            </a:solidFill>
            <a:ln>
              <a:noFill/>
            </a:ln>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Freeform 7"/>
            <p:cNvSpPr>
              <a:spLocks/>
            </p:cNvSpPr>
            <p:nvPr/>
          </p:nvSpPr>
          <p:spPr bwMode="auto">
            <a:xfrm>
              <a:off x="6156325" y="1387475"/>
              <a:ext cx="190500" cy="155575"/>
            </a:xfrm>
            <a:custGeom>
              <a:avLst/>
              <a:gdLst>
                <a:gd name="T0" fmla="*/ 82 w 157"/>
                <a:gd name="T1" fmla="*/ 12 h 130"/>
                <a:gd name="T2" fmla="*/ 42 w 157"/>
                <a:gd name="T3" fmla="*/ 30 h 130"/>
                <a:gd name="T4" fmla="*/ 32 w 157"/>
                <a:gd name="T5" fmla="*/ 45 h 130"/>
                <a:gd name="T6" fmla="*/ 12 w 157"/>
                <a:gd name="T7" fmla="*/ 66 h 130"/>
                <a:gd name="T8" fmla="*/ 7 w 157"/>
                <a:gd name="T9" fmla="*/ 68 h 130"/>
                <a:gd name="T10" fmla="*/ 1 w 157"/>
                <a:gd name="T11" fmla="*/ 65 h 130"/>
                <a:gd name="T12" fmla="*/ 3 w 157"/>
                <a:gd name="T13" fmla="*/ 58 h 130"/>
                <a:gd name="T14" fmla="*/ 23 w 157"/>
                <a:gd name="T15" fmla="*/ 38 h 130"/>
                <a:gd name="T16" fmla="*/ 36 w 157"/>
                <a:gd name="T17" fmla="*/ 21 h 130"/>
                <a:gd name="T18" fmla="*/ 74 w 157"/>
                <a:gd name="T19" fmla="*/ 2 h 130"/>
                <a:gd name="T20" fmla="*/ 117 w 157"/>
                <a:gd name="T21" fmla="*/ 11 h 130"/>
                <a:gd name="T22" fmla="*/ 146 w 157"/>
                <a:gd name="T23" fmla="*/ 48 h 130"/>
                <a:gd name="T24" fmla="*/ 146 w 157"/>
                <a:gd name="T25" fmla="*/ 61 h 130"/>
                <a:gd name="T26" fmla="*/ 143 w 157"/>
                <a:gd name="T27" fmla="*/ 85 h 130"/>
                <a:gd name="T28" fmla="*/ 142 w 157"/>
                <a:gd name="T29" fmla="*/ 96 h 130"/>
                <a:gd name="T30" fmla="*/ 145 w 157"/>
                <a:gd name="T31" fmla="*/ 108 h 130"/>
                <a:gd name="T32" fmla="*/ 155 w 157"/>
                <a:gd name="T33" fmla="*/ 119 h 130"/>
                <a:gd name="T34" fmla="*/ 157 w 157"/>
                <a:gd name="T35" fmla="*/ 125 h 130"/>
                <a:gd name="T36" fmla="*/ 148 w 157"/>
                <a:gd name="T37" fmla="*/ 128 h 130"/>
                <a:gd name="T38" fmla="*/ 131 w 157"/>
                <a:gd name="T39" fmla="*/ 103 h 130"/>
                <a:gd name="T40" fmla="*/ 131 w 157"/>
                <a:gd name="T41" fmla="*/ 91 h 130"/>
                <a:gd name="T42" fmla="*/ 134 w 157"/>
                <a:gd name="T43" fmla="*/ 67 h 130"/>
                <a:gd name="T44" fmla="*/ 135 w 157"/>
                <a:gd name="T45" fmla="*/ 52 h 130"/>
                <a:gd name="T46" fmla="*/ 128 w 157"/>
                <a:gd name="T47" fmla="*/ 37 h 130"/>
                <a:gd name="T48" fmla="*/ 92 w 157"/>
                <a:gd name="T49" fmla="*/ 13 h 130"/>
                <a:gd name="T50" fmla="*/ 82 w 157"/>
                <a:gd name="T51" fmla="*/ 1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7" h="130">
                  <a:moveTo>
                    <a:pt x="82" y="12"/>
                  </a:moveTo>
                  <a:cubicBezTo>
                    <a:pt x="66" y="12"/>
                    <a:pt x="53" y="19"/>
                    <a:pt x="42" y="30"/>
                  </a:cubicBezTo>
                  <a:cubicBezTo>
                    <a:pt x="38" y="35"/>
                    <a:pt x="35" y="40"/>
                    <a:pt x="32" y="45"/>
                  </a:cubicBezTo>
                  <a:cubicBezTo>
                    <a:pt x="27" y="53"/>
                    <a:pt x="20" y="60"/>
                    <a:pt x="12" y="66"/>
                  </a:cubicBezTo>
                  <a:cubicBezTo>
                    <a:pt x="11" y="67"/>
                    <a:pt x="9" y="68"/>
                    <a:pt x="7" y="68"/>
                  </a:cubicBezTo>
                  <a:cubicBezTo>
                    <a:pt x="5" y="69"/>
                    <a:pt x="2" y="67"/>
                    <a:pt x="1" y="65"/>
                  </a:cubicBezTo>
                  <a:cubicBezTo>
                    <a:pt x="0" y="63"/>
                    <a:pt x="1" y="60"/>
                    <a:pt x="3" y="58"/>
                  </a:cubicBezTo>
                  <a:cubicBezTo>
                    <a:pt x="11" y="53"/>
                    <a:pt x="18" y="46"/>
                    <a:pt x="23" y="38"/>
                  </a:cubicBezTo>
                  <a:cubicBezTo>
                    <a:pt x="26" y="32"/>
                    <a:pt x="31" y="26"/>
                    <a:pt x="36" y="21"/>
                  </a:cubicBezTo>
                  <a:cubicBezTo>
                    <a:pt x="46" y="10"/>
                    <a:pt x="59" y="3"/>
                    <a:pt x="74" y="2"/>
                  </a:cubicBezTo>
                  <a:cubicBezTo>
                    <a:pt x="89" y="0"/>
                    <a:pt x="104" y="3"/>
                    <a:pt x="117" y="11"/>
                  </a:cubicBezTo>
                  <a:cubicBezTo>
                    <a:pt x="131" y="20"/>
                    <a:pt x="141" y="32"/>
                    <a:pt x="146" y="48"/>
                  </a:cubicBezTo>
                  <a:cubicBezTo>
                    <a:pt x="147" y="52"/>
                    <a:pt x="147" y="57"/>
                    <a:pt x="146" y="61"/>
                  </a:cubicBezTo>
                  <a:cubicBezTo>
                    <a:pt x="145" y="69"/>
                    <a:pt x="144" y="77"/>
                    <a:pt x="143" y="85"/>
                  </a:cubicBezTo>
                  <a:cubicBezTo>
                    <a:pt x="143" y="89"/>
                    <a:pt x="142" y="93"/>
                    <a:pt x="142" y="96"/>
                  </a:cubicBezTo>
                  <a:cubicBezTo>
                    <a:pt x="142" y="101"/>
                    <a:pt x="143" y="105"/>
                    <a:pt x="145" y="108"/>
                  </a:cubicBezTo>
                  <a:cubicBezTo>
                    <a:pt x="148" y="112"/>
                    <a:pt x="151" y="116"/>
                    <a:pt x="155" y="119"/>
                  </a:cubicBezTo>
                  <a:cubicBezTo>
                    <a:pt x="157" y="121"/>
                    <a:pt x="157" y="123"/>
                    <a:pt x="157" y="125"/>
                  </a:cubicBezTo>
                  <a:cubicBezTo>
                    <a:pt x="156" y="129"/>
                    <a:pt x="151" y="130"/>
                    <a:pt x="148" y="128"/>
                  </a:cubicBezTo>
                  <a:cubicBezTo>
                    <a:pt x="140" y="121"/>
                    <a:pt x="133" y="113"/>
                    <a:pt x="131" y="103"/>
                  </a:cubicBezTo>
                  <a:cubicBezTo>
                    <a:pt x="130" y="99"/>
                    <a:pt x="130" y="95"/>
                    <a:pt x="131" y="91"/>
                  </a:cubicBezTo>
                  <a:cubicBezTo>
                    <a:pt x="132" y="83"/>
                    <a:pt x="133" y="75"/>
                    <a:pt x="134" y="67"/>
                  </a:cubicBezTo>
                  <a:cubicBezTo>
                    <a:pt x="135" y="62"/>
                    <a:pt x="136" y="57"/>
                    <a:pt x="135" y="52"/>
                  </a:cubicBezTo>
                  <a:cubicBezTo>
                    <a:pt x="134" y="47"/>
                    <a:pt x="131" y="42"/>
                    <a:pt x="128" y="37"/>
                  </a:cubicBezTo>
                  <a:cubicBezTo>
                    <a:pt x="120" y="24"/>
                    <a:pt x="108" y="16"/>
                    <a:pt x="92" y="13"/>
                  </a:cubicBezTo>
                  <a:cubicBezTo>
                    <a:pt x="88" y="13"/>
                    <a:pt x="85" y="13"/>
                    <a:pt x="82"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7" name="Freeform 8"/>
            <p:cNvSpPr>
              <a:spLocks/>
            </p:cNvSpPr>
            <p:nvPr/>
          </p:nvSpPr>
          <p:spPr bwMode="auto">
            <a:xfrm>
              <a:off x="6156325" y="1435100"/>
              <a:ext cx="133350" cy="139700"/>
            </a:xfrm>
            <a:custGeom>
              <a:avLst/>
              <a:gdLst>
                <a:gd name="T0" fmla="*/ 83 w 111"/>
                <a:gd name="T1" fmla="*/ 0 h 116"/>
                <a:gd name="T2" fmla="*/ 107 w 111"/>
                <a:gd name="T3" fmla="*/ 17 h 116"/>
                <a:gd name="T4" fmla="*/ 106 w 111"/>
                <a:gd name="T5" fmla="*/ 44 h 116"/>
                <a:gd name="T6" fmla="*/ 90 w 111"/>
                <a:gd name="T7" fmla="*/ 67 h 116"/>
                <a:gd name="T8" fmla="*/ 54 w 111"/>
                <a:gd name="T9" fmla="*/ 100 h 116"/>
                <a:gd name="T10" fmla="*/ 37 w 111"/>
                <a:gd name="T11" fmla="*/ 113 h 116"/>
                <a:gd name="T12" fmla="*/ 28 w 111"/>
                <a:gd name="T13" fmla="*/ 110 h 116"/>
                <a:gd name="T14" fmla="*/ 30 w 111"/>
                <a:gd name="T15" fmla="*/ 104 h 116"/>
                <a:gd name="T16" fmla="*/ 48 w 111"/>
                <a:gd name="T17" fmla="*/ 91 h 116"/>
                <a:gd name="T18" fmla="*/ 82 w 111"/>
                <a:gd name="T19" fmla="*/ 59 h 116"/>
                <a:gd name="T20" fmla="*/ 96 w 111"/>
                <a:gd name="T21" fmla="*/ 39 h 116"/>
                <a:gd name="T22" fmla="*/ 98 w 111"/>
                <a:gd name="T23" fmla="*/ 27 h 116"/>
                <a:gd name="T24" fmla="*/ 95 w 111"/>
                <a:gd name="T25" fmla="*/ 18 h 116"/>
                <a:gd name="T26" fmla="*/ 76 w 111"/>
                <a:gd name="T27" fmla="*/ 13 h 116"/>
                <a:gd name="T28" fmla="*/ 67 w 111"/>
                <a:gd name="T29" fmla="*/ 23 h 116"/>
                <a:gd name="T30" fmla="*/ 56 w 111"/>
                <a:gd name="T31" fmla="*/ 41 h 116"/>
                <a:gd name="T32" fmla="*/ 33 w 111"/>
                <a:gd name="T33" fmla="*/ 63 h 116"/>
                <a:gd name="T34" fmla="*/ 10 w 111"/>
                <a:gd name="T35" fmla="*/ 79 h 116"/>
                <a:gd name="T36" fmla="*/ 2 w 111"/>
                <a:gd name="T37" fmla="*/ 78 h 116"/>
                <a:gd name="T38" fmla="*/ 4 w 111"/>
                <a:gd name="T39" fmla="*/ 70 h 116"/>
                <a:gd name="T40" fmla="*/ 26 w 111"/>
                <a:gd name="T41" fmla="*/ 55 h 116"/>
                <a:gd name="T42" fmla="*/ 56 w 111"/>
                <a:gd name="T43" fmla="*/ 19 h 116"/>
                <a:gd name="T44" fmla="*/ 73 w 111"/>
                <a:gd name="T45" fmla="*/ 2 h 116"/>
                <a:gd name="T46" fmla="*/ 83 w 111"/>
                <a:gd name="T4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 h="116">
                  <a:moveTo>
                    <a:pt x="83" y="0"/>
                  </a:moveTo>
                  <a:cubicBezTo>
                    <a:pt x="93" y="0"/>
                    <a:pt x="102" y="7"/>
                    <a:pt x="107" y="17"/>
                  </a:cubicBezTo>
                  <a:cubicBezTo>
                    <a:pt x="111" y="26"/>
                    <a:pt x="110" y="35"/>
                    <a:pt x="106" y="44"/>
                  </a:cubicBezTo>
                  <a:cubicBezTo>
                    <a:pt x="102" y="52"/>
                    <a:pt x="96" y="60"/>
                    <a:pt x="90" y="67"/>
                  </a:cubicBezTo>
                  <a:cubicBezTo>
                    <a:pt x="79" y="79"/>
                    <a:pt x="67" y="90"/>
                    <a:pt x="54" y="100"/>
                  </a:cubicBezTo>
                  <a:cubicBezTo>
                    <a:pt x="48" y="105"/>
                    <a:pt x="43" y="109"/>
                    <a:pt x="37" y="113"/>
                  </a:cubicBezTo>
                  <a:cubicBezTo>
                    <a:pt x="33" y="116"/>
                    <a:pt x="29" y="114"/>
                    <a:pt x="28" y="110"/>
                  </a:cubicBezTo>
                  <a:cubicBezTo>
                    <a:pt x="27" y="108"/>
                    <a:pt x="28" y="106"/>
                    <a:pt x="30" y="104"/>
                  </a:cubicBezTo>
                  <a:cubicBezTo>
                    <a:pt x="36" y="100"/>
                    <a:pt x="42" y="96"/>
                    <a:pt x="48" y="91"/>
                  </a:cubicBezTo>
                  <a:cubicBezTo>
                    <a:pt x="60" y="81"/>
                    <a:pt x="72" y="71"/>
                    <a:pt x="82" y="59"/>
                  </a:cubicBezTo>
                  <a:cubicBezTo>
                    <a:pt x="88" y="53"/>
                    <a:pt x="93" y="46"/>
                    <a:pt x="96" y="39"/>
                  </a:cubicBezTo>
                  <a:cubicBezTo>
                    <a:pt x="98" y="35"/>
                    <a:pt x="99" y="31"/>
                    <a:pt x="98" y="27"/>
                  </a:cubicBezTo>
                  <a:cubicBezTo>
                    <a:pt x="98" y="24"/>
                    <a:pt x="97" y="21"/>
                    <a:pt x="95" y="18"/>
                  </a:cubicBezTo>
                  <a:cubicBezTo>
                    <a:pt x="91" y="12"/>
                    <a:pt x="83" y="10"/>
                    <a:pt x="76" y="13"/>
                  </a:cubicBezTo>
                  <a:cubicBezTo>
                    <a:pt x="71" y="15"/>
                    <a:pt x="69" y="19"/>
                    <a:pt x="67" y="23"/>
                  </a:cubicBezTo>
                  <a:cubicBezTo>
                    <a:pt x="64" y="29"/>
                    <a:pt x="60" y="35"/>
                    <a:pt x="56" y="41"/>
                  </a:cubicBezTo>
                  <a:cubicBezTo>
                    <a:pt x="50" y="50"/>
                    <a:pt x="42" y="57"/>
                    <a:pt x="33" y="63"/>
                  </a:cubicBezTo>
                  <a:cubicBezTo>
                    <a:pt x="26" y="69"/>
                    <a:pt x="18" y="74"/>
                    <a:pt x="10" y="79"/>
                  </a:cubicBezTo>
                  <a:cubicBezTo>
                    <a:pt x="8" y="81"/>
                    <a:pt x="4" y="81"/>
                    <a:pt x="2" y="78"/>
                  </a:cubicBezTo>
                  <a:cubicBezTo>
                    <a:pt x="0" y="76"/>
                    <a:pt x="1" y="72"/>
                    <a:pt x="4" y="70"/>
                  </a:cubicBezTo>
                  <a:cubicBezTo>
                    <a:pt x="11" y="65"/>
                    <a:pt x="18" y="60"/>
                    <a:pt x="26" y="55"/>
                  </a:cubicBezTo>
                  <a:cubicBezTo>
                    <a:pt x="39" y="46"/>
                    <a:pt x="49" y="33"/>
                    <a:pt x="56" y="19"/>
                  </a:cubicBezTo>
                  <a:cubicBezTo>
                    <a:pt x="59" y="11"/>
                    <a:pt x="65" y="6"/>
                    <a:pt x="73" y="2"/>
                  </a:cubicBezTo>
                  <a:cubicBezTo>
                    <a:pt x="76" y="1"/>
                    <a:pt x="79" y="0"/>
                    <a:pt x="8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8" name="Freeform 9"/>
            <p:cNvSpPr>
              <a:spLocks/>
            </p:cNvSpPr>
            <p:nvPr/>
          </p:nvSpPr>
          <p:spPr bwMode="auto">
            <a:xfrm>
              <a:off x="6156325" y="1411288"/>
              <a:ext cx="177800" cy="149225"/>
            </a:xfrm>
            <a:custGeom>
              <a:avLst/>
              <a:gdLst>
                <a:gd name="T0" fmla="*/ 127 w 147"/>
                <a:gd name="T1" fmla="*/ 44 h 124"/>
                <a:gd name="T2" fmla="*/ 124 w 147"/>
                <a:gd name="T3" fmla="*/ 63 h 124"/>
                <a:gd name="T4" fmla="*/ 122 w 147"/>
                <a:gd name="T5" fmla="*/ 82 h 124"/>
                <a:gd name="T6" fmla="*/ 127 w 147"/>
                <a:gd name="T7" fmla="*/ 101 h 124"/>
                <a:gd name="T8" fmla="*/ 139 w 147"/>
                <a:gd name="T9" fmla="*/ 112 h 124"/>
                <a:gd name="T10" fmla="*/ 142 w 147"/>
                <a:gd name="T11" fmla="*/ 113 h 124"/>
                <a:gd name="T12" fmla="*/ 145 w 147"/>
                <a:gd name="T13" fmla="*/ 120 h 124"/>
                <a:gd name="T14" fmla="*/ 138 w 147"/>
                <a:gd name="T15" fmla="*/ 123 h 124"/>
                <a:gd name="T16" fmla="*/ 114 w 147"/>
                <a:gd name="T17" fmla="*/ 100 h 124"/>
                <a:gd name="T18" fmla="*/ 111 w 147"/>
                <a:gd name="T19" fmla="*/ 78 h 124"/>
                <a:gd name="T20" fmla="*/ 113 w 147"/>
                <a:gd name="T21" fmla="*/ 62 h 124"/>
                <a:gd name="T22" fmla="*/ 116 w 147"/>
                <a:gd name="T23" fmla="*/ 45 h 124"/>
                <a:gd name="T24" fmla="*/ 101 w 147"/>
                <a:gd name="T25" fmla="*/ 18 h 124"/>
                <a:gd name="T26" fmla="*/ 58 w 147"/>
                <a:gd name="T27" fmla="*/ 21 h 124"/>
                <a:gd name="T28" fmla="*/ 46 w 147"/>
                <a:gd name="T29" fmla="*/ 38 h 124"/>
                <a:gd name="T30" fmla="*/ 28 w 147"/>
                <a:gd name="T31" fmla="*/ 61 h 124"/>
                <a:gd name="T32" fmla="*/ 9 w 147"/>
                <a:gd name="T33" fmla="*/ 75 h 124"/>
                <a:gd name="T34" fmla="*/ 3 w 147"/>
                <a:gd name="T35" fmla="*/ 75 h 124"/>
                <a:gd name="T36" fmla="*/ 0 w 147"/>
                <a:gd name="T37" fmla="*/ 70 h 124"/>
                <a:gd name="T38" fmla="*/ 3 w 147"/>
                <a:gd name="T39" fmla="*/ 65 h 124"/>
                <a:gd name="T40" fmla="*/ 23 w 147"/>
                <a:gd name="T41" fmla="*/ 50 h 124"/>
                <a:gd name="T42" fmla="*/ 35 w 147"/>
                <a:gd name="T43" fmla="*/ 34 h 124"/>
                <a:gd name="T44" fmla="*/ 54 w 147"/>
                <a:gd name="T45" fmla="*/ 10 h 124"/>
                <a:gd name="T46" fmla="*/ 86 w 147"/>
                <a:gd name="T47" fmla="*/ 1 h 124"/>
                <a:gd name="T48" fmla="*/ 126 w 147"/>
                <a:gd name="T49" fmla="*/ 33 h 124"/>
                <a:gd name="T50" fmla="*/ 127 w 147"/>
                <a:gd name="T51" fmla="*/ 44 h 124"/>
                <a:gd name="T52" fmla="*/ 127 w 147"/>
                <a:gd name="T53" fmla="*/ 4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 h="124">
                  <a:moveTo>
                    <a:pt x="127" y="44"/>
                  </a:moveTo>
                  <a:cubicBezTo>
                    <a:pt x="127" y="50"/>
                    <a:pt x="126" y="57"/>
                    <a:pt x="124" y="63"/>
                  </a:cubicBezTo>
                  <a:cubicBezTo>
                    <a:pt x="123" y="69"/>
                    <a:pt x="122" y="76"/>
                    <a:pt x="122" y="82"/>
                  </a:cubicBezTo>
                  <a:cubicBezTo>
                    <a:pt x="122" y="89"/>
                    <a:pt x="124" y="95"/>
                    <a:pt x="127" y="101"/>
                  </a:cubicBezTo>
                  <a:cubicBezTo>
                    <a:pt x="129" y="106"/>
                    <a:pt x="133" y="110"/>
                    <a:pt x="139" y="112"/>
                  </a:cubicBezTo>
                  <a:cubicBezTo>
                    <a:pt x="140" y="112"/>
                    <a:pt x="141" y="112"/>
                    <a:pt x="142" y="113"/>
                  </a:cubicBezTo>
                  <a:cubicBezTo>
                    <a:pt x="145" y="114"/>
                    <a:pt x="147" y="117"/>
                    <a:pt x="145" y="120"/>
                  </a:cubicBezTo>
                  <a:cubicBezTo>
                    <a:pt x="144" y="123"/>
                    <a:pt x="141" y="124"/>
                    <a:pt x="138" y="123"/>
                  </a:cubicBezTo>
                  <a:cubicBezTo>
                    <a:pt x="126" y="119"/>
                    <a:pt x="118" y="112"/>
                    <a:pt x="114" y="100"/>
                  </a:cubicBezTo>
                  <a:cubicBezTo>
                    <a:pt x="111" y="93"/>
                    <a:pt x="110" y="85"/>
                    <a:pt x="111" y="78"/>
                  </a:cubicBezTo>
                  <a:cubicBezTo>
                    <a:pt x="111" y="72"/>
                    <a:pt x="112" y="67"/>
                    <a:pt x="113" y="62"/>
                  </a:cubicBezTo>
                  <a:cubicBezTo>
                    <a:pt x="114" y="56"/>
                    <a:pt x="115" y="50"/>
                    <a:pt x="116" y="45"/>
                  </a:cubicBezTo>
                  <a:cubicBezTo>
                    <a:pt x="116" y="33"/>
                    <a:pt x="111" y="24"/>
                    <a:pt x="101" y="18"/>
                  </a:cubicBezTo>
                  <a:cubicBezTo>
                    <a:pt x="87" y="8"/>
                    <a:pt x="70" y="10"/>
                    <a:pt x="58" y="21"/>
                  </a:cubicBezTo>
                  <a:cubicBezTo>
                    <a:pt x="53" y="26"/>
                    <a:pt x="48" y="31"/>
                    <a:pt x="46" y="38"/>
                  </a:cubicBezTo>
                  <a:cubicBezTo>
                    <a:pt x="42" y="47"/>
                    <a:pt x="36" y="54"/>
                    <a:pt x="28" y="61"/>
                  </a:cubicBezTo>
                  <a:cubicBezTo>
                    <a:pt x="22" y="66"/>
                    <a:pt x="16" y="71"/>
                    <a:pt x="9" y="75"/>
                  </a:cubicBezTo>
                  <a:cubicBezTo>
                    <a:pt x="7" y="76"/>
                    <a:pt x="5" y="76"/>
                    <a:pt x="3" y="75"/>
                  </a:cubicBezTo>
                  <a:cubicBezTo>
                    <a:pt x="1" y="74"/>
                    <a:pt x="0" y="72"/>
                    <a:pt x="0" y="70"/>
                  </a:cubicBezTo>
                  <a:cubicBezTo>
                    <a:pt x="0" y="68"/>
                    <a:pt x="1" y="66"/>
                    <a:pt x="3" y="65"/>
                  </a:cubicBezTo>
                  <a:cubicBezTo>
                    <a:pt x="10" y="61"/>
                    <a:pt x="17" y="56"/>
                    <a:pt x="23" y="50"/>
                  </a:cubicBezTo>
                  <a:cubicBezTo>
                    <a:pt x="28" y="45"/>
                    <a:pt x="32" y="40"/>
                    <a:pt x="35" y="34"/>
                  </a:cubicBezTo>
                  <a:cubicBezTo>
                    <a:pt x="39" y="24"/>
                    <a:pt x="45" y="16"/>
                    <a:pt x="54" y="10"/>
                  </a:cubicBezTo>
                  <a:cubicBezTo>
                    <a:pt x="63" y="3"/>
                    <a:pt x="74" y="0"/>
                    <a:pt x="86" y="1"/>
                  </a:cubicBezTo>
                  <a:cubicBezTo>
                    <a:pt x="105" y="2"/>
                    <a:pt x="122" y="17"/>
                    <a:pt x="126" y="33"/>
                  </a:cubicBezTo>
                  <a:cubicBezTo>
                    <a:pt x="127" y="37"/>
                    <a:pt x="127" y="40"/>
                    <a:pt x="127" y="44"/>
                  </a:cubicBezTo>
                  <a:cubicBezTo>
                    <a:pt x="127" y="44"/>
                    <a:pt x="127" y="44"/>
                    <a:pt x="127"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9" name="Freeform 10"/>
            <p:cNvSpPr>
              <a:spLocks/>
            </p:cNvSpPr>
            <p:nvPr/>
          </p:nvSpPr>
          <p:spPr bwMode="auto">
            <a:xfrm>
              <a:off x="6159500" y="1366838"/>
              <a:ext cx="187325" cy="68262"/>
            </a:xfrm>
            <a:custGeom>
              <a:avLst/>
              <a:gdLst>
                <a:gd name="T0" fmla="*/ 155 w 155"/>
                <a:gd name="T1" fmla="*/ 42 h 58"/>
                <a:gd name="T2" fmla="*/ 151 w 155"/>
                <a:gd name="T3" fmla="*/ 47 h 58"/>
                <a:gd name="T4" fmla="*/ 145 w 155"/>
                <a:gd name="T5" fmla="*/ 45 h 58"/>
                <a:gd name="T6" fmla="*/ 133 w 155"/>
                <a:gd name="T7" fmla="*/ 33 h 58"/>
                <a:gd name="T8" fmla="*/ 97 w 155"/>
                <a:gd name="T9" fmla="*/ 13 h 58"/>
                <a:gd name="T10" fmla="*/ 72 w 155"/>
                <a:gd name="T11" fmla="*/ 12 h 58"/>
                <a:gd name="T12" fmla="*/ 46 w 155"/>
                <a:gd name="T13" fmla="*/ 19 h 58"/>
                <a:gd name="T14" fmla="*/ 25 w 155"/>
                <a:gd name="T15" fmla="*/ 36 h 58"/>
                <a:gd name="T16" fmla="*/ 11 w 155"/>
                <a:gd name="T17" fmla="*/ 54 h 58"/>
                <a:gd name="T18" fmla="*/ 3 w 155"/>
                <a:gd name="T19" fmla="*/ 56 h 58"/>
                <a:gd name="T20" fmla="*/ 2 w 155"/>
                <a:gd name="T21" fmla="*/ 49 h 58"/>
                <a:gd name="T22" fmla="*/ 26 w 155"/>
                <a:gd name="T23" fmla="*/ 19 h 58"/>
                <a:gd name="T24" fmla="*/ 63 w 155"/>
                <a:gd name="T25" fmla="*/ 2 h 58"/>
                <a:gd name="T26" fmla="*/ 91 w 155"/>
                <a:gd name="T27" fmla="*/ 1 h 58"/>
                <a:gd name="T28" fmla="*/ 126 w 155"/>
                <a:gd name="T29" fmla="*/ 13 h 58"/>
                <a:gd name="T30" fmla="*/ 153 w 155"/>
                <a:gd name="T31" fmla="*/ 38 h 58"/>
                <a:gd name="T32" fmla="*/ 155 w 155"/>
                <a:gd name="T33" fmla="*/ 42 h 58"/>
                <a:gd name="T34" fmla="*/ 155 w 155"/>
                <a:gd name="T35" fmla="*/ 4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58">
                  <a:moveTo>
                    <a:pt x="155" y="42"/>
                  </a:moveTo>
                  <a:cubicBezTo>
                    <a:pt x="155" y="44"/>
                    <a:pt x="153" y="46"/>
                    <a:pt x="151" y="47"/>
                  </a:cubicBezTo>
                  <a:cubicBezTo>
                    <a:pt x="149" y="48"/>
                    <a:pt x="146" y="47"/>
                    <a:pt x="145" y="45"/>
                  </a:cubicBezTo>
                  <a:cubicBezTo>
                    <a:pt x="141" y="40"/>
                    <a:pt x="137" y="36"/>
                    <a:pt x="133" y="33"/>
                  </a:cubicBezTo>
                  <a:cubicBezTo>
                    <a:pt x="123" y="23"/>
                    <a:pt x="111" y="16"/>
                    <a:pt x="97" y="13"/>
                  </a:cubicBezTo>
                  <a:cubicBezTo>
                    <a:pt x="89" y="11"/>
                    <a:pt x="80" y="11"/>
                    <a:pt x="72" y="12"/>
                  </a:cubicBezTo>
                  <a:cubicBezTo>
                    <a:pt x="63" y="12"/>
                    <a:pt x="54" y="15"/>
                    <a:pt x="46" y="19"/>
                  </a:cubicBezTo>
                  <a:cubicBezTo>
                    <a:pt x="38" y="23"/>
                    <a:pt x="31" y="29"/>
                    <a:pt x="25" y="36"/>
                  </a:cubicBezTo>
                  <a:cubicBezTo>
                    <a:pt x="20" y="42"/>
                    <a:pt x="15" y="48"/>
                    <a:pt x="11" y="54"/>
                  </a:cubicBezTo>
                  <a:cubicBezTo>
                    <a:pt x="10" y="57"/>
                    <a:pt x="6" y="58"/>
                    <a:pt x="3" y="56"/>
                  </a:cubicBezTo>
                  <a:cubicBezTo>
                    <a:pt x="1" y="55"/>
                    <a:pt x="0" y="51"/>
                    <a:pt x="2" y="49"/>
                  </a:cubicBezTo>
                  <a:cubicBezTo>
                    <a:pt x="8" y="38"/>
                    <a:pt x="16" y="28"/>
                    <a:pt x="26" y="19"/>
                  </a:cubicBezTo>
                  <a:cubicBezTo>
                    <a:pt x="37" y="10"/>
                    <a:pt x="49" y="4"/>
                    <a:pt x="63" y="2"/>
                  </a:cubicBezTo>
                  <a:cubicBezTo>
                    <a:pt x="72" y="0"/>
                    <a:pt x="82" y="0"/>
                    <a:pt x="91" y="1"/>
                  </a:cubicBezTo>
                  <a:cubicBezTo>
                    <a:pt x="104" y="2"/>
                    <a:pt x="115" y="7"/>
                    <a:pt x="126" y="13"/>
                  </a:cubicBezTo>
                  <a:cubicBezTo>
                    <a:pt x="137" y="20"/>
                    <a:pt x="146" y="28"/>
                    <a:pt x="153" y="38"/>
                  </a:cubicBezTo>
                  <a:cubicBezTo>
                    <a:pt x="154" y="39"/>
                    <a:pt x="155" y="40"/>
                    <a:pt x="155" y="42"/>
                  </a:cubicBezTo>
                  <a:cubicBezTo>
                    <a:pt x="155" y="42"/>
                    <a:pt x="155" y="42"/>
                    <a:pt x="155"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0" name="Freeform 11"/>
            <p:cNvSpPr>
              <a:spLocks/>
            </p:cNvSpPr>
            <p:nvPr/>
          </p:nvSpPr>
          <p:spPr bwMode="auto">
            <a:xfrm>
              <a:off x="6167438" y="1341438"/>
              <a:ext cx="169863" cy="49212"/>
            </a:xfrm>
            <a:custGeom>
              <a:avLst/>
              <a:gdLst>
                <a:gd name="T0" fmla="*/ 141 w 141"/>
                <a:gd name="T1" fmla="*/ 28 h 40"/>
                <a:gd name="T2" fmla="*/ 138 w 141"/>
                <a:gd name="T3" fmla="*/ 33 h 40"/>
                <a:gd name="T4" fmla="*/ 132 w 141"/>
                <a:gd name="T5" fmla="*/ 32 h 40"/>
                <a:gd name="T6" fmla="*/ 127 w 141"/>
                <a:gd name="T7" fmla="*/ 29 h 40"/>
                <a:gd name="T8" fmla="*/ 84 w 141"/>
                <a:gd name="T9" fmla="*/ 13 h 40"/>
                <a:gd name="T10" fmla="*/ 42 w 141"/>
                <a:gd name="T11" fmla="*/ 17 h 40"/>
                <a:gd name="T12" fmla="*/ 15 w 141"/>
                <a:gd name="T13" fmla="*/ 33 h 40"/>
                <a:gd name="T14" fmla="*/ 11 w 141"/>
                <a:gd name="T15" fmla="*/ 37 h 40"/>
                <a:gd name="T16" fmla="*/ 3 w 141"/>
                <a:gd name="T17" fmla="*/ 38 h 40"/>
                <a:gd name="T18" fmla="*/ 3 w 141"/>
                <a:gd name="T19" fmla="*/ 30 h 40"/>
                <a:gd name="T20" fmla="*/ 18 w 141"/>
                <a:gd name="T21" fmla="*/ 17 h 40"/>
                <a:gd name="T22" fmla="*/ 58 w 141"/>
                <a:gd name="T23" fmla="*/ 2 h 40"/>
                <a:gd name="T24" fmla="*/ 116 w 141"/>
                <a:gd name="T25" fmla="*/ 10 h 40"/>
                <a:gd name="T26" fmla="*/ 138 w 141"/>
                <a:gd name="T27" fmla="*/ 23 h 40"/>
                <a:gd name="T28" fmla="*/ 141 w 141"/>
                <a:gd name="T29"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 h="40">
                  <a:moveTo>
                    <a:pt x="141" y="28"/>
                  </a:moveTo>
                  <a:cubicBezTo>
                    <a:pt x="141" y="30"/>
                    <a:pt x="140" y="32"/>
                    <a:pt x="138" y="33"/>
                  </a:cubicBezTo>
                  <a:cubicBezTo>
                    <a:pt x="136" y="34"/>
                    <a:pt x="133" y="34"/>
                    <a:pt x="132" y="32"/>
                  </a:cubicBezTo>
                  <a:cubicBezTo>
                    <a:pt x="130" y="31"/>
                    <a:pt x="128" y="30"/>
                    <a:pt x="127" y="29"/>
                  </a:cubicBezTo>
                  <a:cubicBezTo>
                    <a:pt x="114" y="20"/>
                    <a:pt x="99" y="14"/>
                    <a:pt x="84" y="13"/>
                  </a:cubicBezTo>
                  <a:cubicBezTo>
                    <a:pt x="69" y="11"/>
                    <a:pt x="56" y="12"/>
                    <a:pt x="42" y="17"/>
                  </a:cubicBezTo>
                  <a:cubicBezTo>
                    <a:pt x="32" y="21"/>
                    <a:pt x="23" y="26"/>
                    <a:pt x="15" y="33"/>
                  </a:cubicBezTo>
                  <a:cubicBezTo>
                    <a:pt x="14" y="34"/>
                    <a:pt x="13" y="36"/>
                    <a:pt x="11" y="37"/>
                  </a:cubicBezTo>
                  <a:cubicBezTo>
                    <a:pt x="9" y="40"/>
                    <a:pt x="6" y="40"/>
                    <a:pt x="3" y="38"/>
                  </a:cubicBezTo>
                  <a:cubicBezTo>
                    <a:pt x="1" y="36"/>
                    <a:pt x="0" y="33"/>
                    <a:pt x="3" y="30"/>
                  </a:cubicBezTo>
                  <a:cubicBezTo>
                    <a:pt x="7" y="25"/>
                    <a:pt x="12" y="21"/>
                    <a:pt x="18" y="17"/>
                  </a:cubicBezTo>
                  <a:cubicBezTo>
                    <a:pt x="30" y="9"/>
                    <a:pt x="43" y="4"/>
                    <a:pt x="58" y="2"/>
                  </a:cubicBezTo>
                  <a:cubicBezTo>
                    <a:pt x="78" y="0"/>
                    <a:pt x="97" y="2"/>
                    <a:pt x="116" y="10"/>
                  </a:cubicBezTo>
                  <a:cubicBezTo>
                    <a:pt x="124" y="13"/>
                    <a:pt x="131" y="18"/>
                    <a:pt x="138" y="23"/>
                  </a:cubicBezTo>
                  <a:cubicBezTo>
                    <a:pt x="140" y="25"/>
                    <a:pt x="141" y="26"/>
                    <a:pt x="141"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1" name="Freeform 12"/>
            <p:cNvSpPr>
              <a:spLocks/>
            </p:cNvSpPr>
            <p:nvPr/>
          </p:nvSpPr>
          <p:spPr bwMode="auto">
            <a:xfrm>
              <a:off x="6169025" y="1462088"/>
              <a:ext cx="93663" cy="96837"/>
            </a:xfrm>
            <a:custGeom>
              <a:avLst/>
              <a:gdLst>
                <a:gd name="T0" fmla="*/ 78 w 78"/>
                <a:gd name="T1" fmla="*/ 6 h 81"/>
                <a:gd name="T2" fmla="*/ 77 w 78"/>
                <a:gd name="T3" fmla="*/ 9 h 81"/>
                <a:gd name="T4" fmla="*/ 63 w 78"/>
                <a:gd name="T5" fmla="*/ 30 h 81"/>
                <a:gd name="T6" fmla="*/ 23 w 78"/>
                <a:gd name="T7" fmla="*/ 68 h 81"/>
                <a:gd name="T8" fmla="*/ 9 w 78"/>
                <a:gd name="T9" fmla="*/ 78 h 81"/>
                <a:gd name="T10" fmla="*/ 0 w 78"/>
                <a:gd name="T11" fmla="*/ 74 h 81"/>
                <a:gd name="T12" fmla="*/ 3 w 78"/>
                <a:gd name="T13" fmla="*/ 69 h 81"/>
                <a:gd name="T14" fmla="*/ 21 w 78"/>
                <a:gd name="T15" fmla="*/ 56 h 81"/>
                <a:gd name="T16" fmla="*/ 56 w 78"/>
                <a:gd name="T17" fmla="*/ 21 h 81"/>
                <a:gd name="T18" fmla="*/ 67 w 78"/>
                <a:gd name="T19" fmla="*/ 4 h 81"/>
                <a:gd name="T20" fmla="*/ 73 w 78"/>
                <a:gd name="T21" fmla="*/ 1 h 81"/>
                <a:gd name="T22" fmla="*/ 78 w 78"/>
                <a:gd name="T23" fmla="*/ 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81">
                  <a:moveTo>
                    <a:pt x="78" y="6"/>
                  </a:moveTo>
                  <a:cubicBezTo>
                    <a:pt x="77" y="7"/>
                    <a:pt x="77" y="8"/>
                    <a:pt x="77" y="9"/>
                  </a:cubicBezTo>
                  <a:cubicBezTo>
                    <a:pt x="73" y="16"/>
                    <a:pt x="69" y="23"/>
                    <a:pt x="63" y="30"/>
                  </a:cubicBezTo>
                  <a:cubicBezTo>
                    <a:pt x="52" y="44"/>
                    <a:pt x="38" y="57"/>
                    <a:pt x="23" y="68"/>
                  </a:cubicBezTo>
                  <a:cubicBezTo>
                    <a:pt x="19" y="71"/>
                    <a:pt x="14" y="75"/>
                    <a:pt x="9" y="78"/>
                  </a:cubicBezTo>
                  <a:cubicBezTo>
                    <a:pt x="6" y="81"/>
                    <a:pt x="1" y="78"/>
                    <a:pt x="0" y="74"/>
                  </a:cubicBezTo>
                  <a:cubicBezTo>
                    <a:pt x="0" y="72"/>
                    <a:pt x="1" y="70"/>
                    <a:pt x="3" y="69"/>
                  </a:cubicBezTo>
                  <a:cubicBezTo>
                    <a:pt x="9" y="64"/>
                    <a:pt x="15" y="60"/>
                    <a:pt x="21" y="56"/>
                  </a:cubicBezTo>
                  <a:cubicBezTo>
                    <a:pt x="34" y="45"/>
                    <a:pt x="46" y="34"/>
                    <a:pt x="56" y="21"/>
                  </a:cubicBezTo>
                  <a:cubicBezTo>
                    <a:pt x="60" y="15"/>
                    <a:pt x="64" y="10"/>
                    <a:pt x="67" y="4"/>
                  </a:cubicBezTo>
                  <a:cubicBezTo>
                    <a:pt x="68" y="1"/>
                    <a:pt x="70" y="0"/>
                    <a:pt x="73" y="1"/>
                  </a:cubicBezTo>
                  <a:cubicBezTo>
                    <a:pt x="76" y="1"/>
                    <a:pt x="77" y="3"/>
                    <a:pt x="78"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2" name="Freeform 13"/>
            <p:cNvSpPr>
              <a:spLocks/>
            </p:cNvSpPr>
            <p:nvPr/>
          </p:nvSpPr>
          <p:spPr bwMode="auto">
            <a:xfrm>
              <a:off x="6334125" y="1430338"/>
              <a:ext cx="22225" cy="85725"/>
            </a:xfrm>
            <a:custGeom>
              <a:avLst/>
              <a:gdLst>
                <a:gd name="T0" fmla="*/ 18 w 18"/>
                <a:gd name="T1" fmla="*/ 36 h 72"/>
                <a:gd name="T2" fmla="*/ 14 w 18"/>
                <a:gd name="T3" fmla="*/ 68 h 72"/>
                <a:gd name="T4" fmla="*/ 8 w 18"/>
                <a:gd name="T5" fmla="*/ 72 h 72"/>
                <a:gd name="T6" fmla="*/ 3 w 18"/>
                <a:gd name="T7" fmla="*/ 68 h 72"/>
                <a:gd name="T8" fmla="*/ 3 w 18"/>
                <a:gd name="T9" fmla="*/ 65 h 72"/>
                <a:gd name="T10" fmla="*/ 6 w 18"/>
                <a:gd name="T11" fmla="*/ 35 h 72"/>
                <a:gd name="T12" fmla="*/ 2 w 18"/>
                <a:gd name="T13" fmla="*/ 12 h 72"/>
                <a:gd name="T14" fmla="*/ 1 w 18"/>
                <a:gd name="T15" fmla="*/ 9 h 72"/>
                <a:gd name="T16" fmla="*/ 4 w 18"/>
                <a:gd name="T17" fmla="*/ 2 h 72"/>
                <a:gd name="T18" fmla="*/ 12 w 18"/>
                <a:gd name="T19" fmla="*/ 4 h 72"/>
                <a:gd name="T20" fmla="*/ 15 w 18"/>
                <a:gd name="T21" fmla="*/ 16 h 72"/>
                <a:gd name="T22" fmla="*/ 18 w 18"/>
                <a:gd name="T23"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72">
                  <a:moveTo>
                    <a:pt x="18" y="36"/>
                  </a:moveTo>
                  <a:cubicBezTo>
                    <a:pt x="17" y="47"/>
                    <a:pt x="16" y="57"/>
                    <a:pt x="14" y="68"/>
                  </a:cubicBezTo>
                  <a:cubicBezTo>
                    <a:pt x="13" y="70"/>
                    <a:pt x="11" y="72"/>
                    <a:pt x="8" y="72"/>
                  </a:cubicBezTo>
                  <a:cubicBezTo>
                    <a:pt x="6" y="72"/>
                    <a:pt x="3" y="71"/>
                    <a:pt x="3" y="68"/>
                  </a:cubicBezTo>
                  <a:cubicBezTo>
                    <a:pt x="2" y="67"/>
                    <a:pt x="2" y="66"/>
                    <a:pt x="3" y="65"/>
                  </a:cubicBezTo>
                  <a:cubicBezTo>
                    <a:pt x="5" y="55"/>
                    <a:pt x="6" y="45"/>
                    <a:pt x="6" y="35"/>
                  </a:cubicBezTo>
                  <a:cubicBezTo>
                    <a:pt x="6" y="27"/>
                    <a:pt x="5" y="19"/>
                    <a:pt x="2" y="12"/>
                  </a:cubicBezTo>
                  <a:cubicBezTo>
                    <a:pt x="2" y="11"/>
                    <a:pt x="2" y="10"/>
                    <a:pt x="1" y="9"/>
                  </a:cubicBezTo>
                  <a:cubicBezTo>
                    <a:pt x="0" y="6"/>
                    <a:pt x="1" y="3"/>
                    <a:pt x="4" y="2"/>
                  </a:cubicBezTo>
                  <a:cubicBezTo>
                    <a:pt x="7" y="0"/>
                    <a:pt x="11" y="2"/>
                    <a:pt x="12" y="4"/>
                  </a:cubicBezTo>
                  <a:cubicBezTo>
                    <a:pt x="13" y="8"/>
                    <a:pt x="14" y="12"/>
                    <a:pt x="15" y="16"/>
                  </a:cubicBezTo>
                  <a:cubicBezTo>
                    <a:pt x="17" y="23"/>
                    <a:pt x="18" y="29"/>
                    <a:pt x="18"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3" name="Freeform 14"/>
            <p:cNvSpPr>
              <a:spLocks/>
            </p:cNvSpPr>
            <p:nvPr/>
          </p:nvSpPr>
          <p:spPr bwMode="auto">
            <a:xfrm>
              <a:off x="6216650" y="1550988"/>
              <a:ext cx="57150" cy="33337"/>
            </a:xfrm>
            <a:custGeom>
              <a:avLst/>
              <a:gdLst>
                <a:gd name="T0" fmla="*/ 25 w 48"/>
                <a:gd name="T1" fmla="*/ 0 h 28"/>
                <a:gd name="T2" fmla="*/ 42 w 48"/>
                <a:gd name="T3" fmla="*/ 9 h 28"/>
                <a:gd name="T4" fmla="*/ 47 w 48"/>
                <a:gd name="T5" fmla="*/ 21 h 28"/>
                <a:gd name="T6" fmla="*/ 43 w 48"/>
                <a:gd name="T7" fmla="*/ 27 h 28"/>
                <a:gd name="T8" fmla="*/ 36 w 48"/>
                <a:gd name="T9" fmla="*/ 24 h 28"/>
                <a:gd name="T10" fmla="*/ 33 w 48"/>
                <a:gd name="T11" fmla="*/ 16 h 28"/>
                <a:gd name="T12" fmla="*/ 27 w 48"/>
                <a:gd name="T13" fmla="*/ 11 h 28"/>
                <a:gd name="T14" fmla="*/ 23 w 48"/>
                <a:gd name="T15" fmla="*/ 11 h 28"/>
                <a:gd name="T16" fmla="*/ 16 w 48"/>
                <a:gd name="T17" fmla="*/ 16 h 28"/>
                <a:gd name="T18" fmla="*/ 10 w 48"/>
                <a:gd name="T19" fmla="*/ 22 h 28"/>
                <a:gd name="T20" fmla="*/ 3 w 48"/>
                <a:gd name="T21" fmla="*/ 23 h 28"/>
                <a:gd name="T22" fmla="*/ 0 w 48"/>
                <a:gd name="T23" fmla="*/ 18 h 28"/>
                <a:gd name="T24" fmla="*/ 1 w 48"/>
                <a:gd name="T25" fmla="*/ 15 h 28"/>
                <a:gd name="T26" fmla="*/ 18 w 48"/>
                <a:gd name="T27" fmla="*/ 2 h 28"/>
                <a:gd name="T28" fmla="*/ 25 w 48"/>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8">
                  <a:moveTo>
                    <a:pt x="25" y="0"/>
                  </a:moveTo>
                  <a:cubicBezTo>
                    <a:pt x="32" y="0"/>
                    <a:pt x="38" y="3"/>
                    <a:pt x="42" y="9"/>
                  </a:cubicBezTo>
                  <a:cubicBezTo>
                    <a:pt x="44" y="12"/>
                    <a:pt x="46" y="16"/>
                    <a:pt x="47" y="21"/>
                  </a:cubicBezTo>
                  <a:cubicBezTo>
                    <a:pt x="48" y="24"/>
                    <a:pt x="46" y="26"/>
                    <a:pt x="43" y="27"/>
                  </a:cubicBezTo>
                  <a:cubicBezTo>
                    <a:pt x="40" y="28"/>
                    <a:pt x="37" y="27"/>
                    <a:pt x="36" y="24"/>
                  </a:cubicBezTo>
                  <a:cubicBezTo>
                    <a:pt x="35" y="21"/>
                    <a:pt x="34" y="18"/>
                    <a:pt x="33" y="16"/>
                  </a:cubicBezTo>
                  <a:cubicBezTo>
                    <a:pt x="31" y="14"/>
                    <a:pt x="30" y="12"/>
                    <a:pt x="27" y="11"/>
                  </a:cubicBezTo>
                  <a:cubicBezTo>
                    <a:pt x="26" y="10"/>
                    <a:pt x="24" y="10"/>
                    <a:pt x="23" y="11"/>
                  </a:cubicBezTo>
                  <a:cubicBezTo>
                    <a:pt x="21" y="13"/>
                    <a:pt x="18" y="14"/>
                    <a:pt x="16" y="16"/>
                  </a:cubicBezTo>
                  <a:cubicBezTo>
                    <a:pt x="14" y="18"/>
                    <a:pt x="12" y="20"/>
                    <a:pt x="10" y="22"/>
                  </a:cubicBezTo>
                  <a:cubicBezTo>
                    <a:pt x="8" y="24"/>
                    <a:pt x="6" y="24"/>
                    <a:pt x="3" y="23"/>
                  </a:cubicBezTo>
                  <a:cubicBezTo>
                    <a:pt x="1" y="22"/>
                    <a:pt x="0" y="20"/>
                    <a:pt x="0" y="18"/>
                  </a:cubicBezTo>
                  <a:cubicBezTo>
                    <a:pt x="0" y="17"/>
                    <a:pt x="0" y="16"/>
                    <a:pt x="1" y="15"/>
                  </a:cubicBezTo>
                  <a:cubicBezTo>
                    <a:pt x="6" y="10"/>
                    <a:pt x="11" y="5"/>
                    <a:pt x="18" y="2"/>
                  </a:cubicBezTo>
                  <a:cubicBezTo>
                    <a:pt x="20" y="0"/>
                    <a:pt x="22"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24" name="Freeform 15"/>
            <p:cNvSpPr>
              <a:spLocks/>
            </p:cNvSpPr>
            <p:nvPr/>
          </p:nvSpPr>
          <p:spPr bwMode="auto">
            <a:xfrm>
              <a:off x="6265863" y="1514475"/>
              <a:ext cx="34925" cy="61912"/>
            </a:xfrm>
            <a:custGeom>
              <a:avLst/>
              <a:gdLst>
                <a:gd name="T0" fmla="*/ 24 w 30"/>
                <a:gd name="T1" fmla="*/ 52 h 52"/>
                <a:gd name="T2" fmla="*/ 21 w 30"/>
                <a:gd name="T3" fmla="*/ 51 h 52"/>
                <a:gd name="T4" fmla="*/ 3 w 30"/>
                <a:gd name="T5" fmla="*/ 30 h 52"/>
                <a:gd name="T6" fmla="*/ 4 w 30"/>
                <a:gd name="T7" fmla="*/ 5 h 52"/>
                <a:gd name="T8" fmla="*/ 8 w 30"/>
                <a:gd name="T9" fmla="*/ 1 h 52"/>
                <a:gd name="T10" fmla="*/ 14 w 30"/>
                <a:gd name="T11" fmla="*/ 3 h 52"/>
                <a:gd name="T12" fmla="*/ 15 w 30"/>
                <a:gd name="T13" fmla="*/ 8 h 52"/>
                <a:gd name="T14" fmla="*/ 19 w 30"/>
                <a:gd name="T15" fmla="*/ 34 h 52"/>
                <a:gd name="T16" fmla="*/ 28 w 30"/>
                <a:gd name="T17" fmla="*/ 42 h 52"/>
                <a:gd name="T18" fmla="*/ 30 w 30"/>
                <a:gd name="T19" fmla="*/ 47 h 52"/>
                <a:gd name="T20" fmla="*/ 26 w 30"/>
                <a:gd name="T21" fmla="*/ 52 h 52"/>
                <a:gd name="T22" fmla="*/ 24 w 30"/>
                <a:gd name="T23" fmla="*/ 52 h 52"/>
                <a:gd name="T24" fmla="*/ 24 w 3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52">
                  <a:moveTo>
                    <a:pt x="24" y="52"/>
                  </a:moveTo>
                  <a:cubicBezTo>
                    <a:pt x="23" y="52"/>
                    <a:pt x="22" y="51"/>
                    <a:pt x="21" y="51"/>
                  </a:cubicBezTo>
                  <a:cubicBezTo>
                    <a:pt x="13" y="45"/>
                    <a:pt x="7" y="39"/>
                    <a:pt x="3" y="30"/>
                  </a:cubicBezTo>
                  <a:cubicBezTo>
                    <a:pt x="0" y="21"/>
                    <a:pt x="0" y="13"/>
                    <a:pt x="4" y="5"/>
                  </a:cubicBezTo>
                  <a:cubicBezTo>
                    <a:pt x="4" y="3"/>
                    <a:pt x="6" y="1"/>
                    <a:pt x="8" y="1"/>
                  </a:cubicBezTo>
                  <a:cubicBezTo>
                    <a:pt x="10" y="0"/>
                    <a:pt x="12" y="1"/>
                    <a:pt x="14" y="3"/>
                  </a:cubicBezTo>
                  <a:cubicBezTo>
                    <a:pt x="15" y="4"/>
                    <a:pt x="16" y="6"/>
                    <a:pt x="15" y="8"/>
                  </a:cubicBezTo>
                  <a:cubicBezTo>
                    <a:pt x="10" y="18"/>
                    <a:pt x="12" y="27"/>
                    <a:pt x="19" y="34"/>
                  </a:cubicBezTo>
                  <a:cubicBezTo>
                    <a:pt x="22" y="37"/>
                    <a:pt x="25" y="39"/>
                    <a:pt x="28" y="42"/>
                  </a:cubicBezTo>
                  <a:cubicBezTo>
                    <a:pt x="30" y="43"/>
                    <a:pt x="30" y="45"/>
                    <a:pt x="30" y="47"/>
                  </a:cubicBezTo>
                  <a:cubicBezTo>
                    <a:pt x="29" y="50"/>
                    <a:pt x="28" y="51"/>
                    <a:pt x="26" y="52"/>
                  </a:cubicBezTo>
                  <a:cubicBezTo>
                    <a:pt x="25" y="52"/>
                    <a:pt x="25" y="52"/>
                    <a:pt x="24" y="52"/>
                  </a:cubicBezTo>
                  <a:cubicBezTo>
                    <a:pt x="24" y="52"/>
                    <a:pt x="24" y="52"/>
                    <a:pt x="24"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25270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21"/>
          <p:cNvSpPr>
            <a:spLocks noChangeAspect="1" noEditPoints="1"/>
          </p:cNvSpPr>
          <p:nvPr/>
        </p:nvSpPr>
        <p:spPr bwMode="black">
          <a:xfrm>
            <a:off x="5227637" y="1737524"/>
            <a:ext cx="1392614" cy="867347"/>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67232" tIns="33616" rIns="67232" bIns="33616" numCol="1" anchor="t" anchorCtr="0" compatLnSpc="1">
            <a:prstTxWarp prst="textNoShape">
              <a:avLst/>
            </a:prstTxWarp>
          </a:bodyPr>
          <a:lstStyle/>
          <a:p>
            <a:pPr marL="0" marR="0" lvl="0" indent="0" defTabSz="685845" eaLnBrk="1" fontAlgn="auto" latinLnBrk="0" hangingPunct="1">
              <a:lnSpc>
                <a:spcPct val="100000"/>
              </a:lnSpc>
              <a:spcBef>
                <a:spcPts val="0"/>
              </a:spcBef>
              <a:spcAft>
                <a:spcPts val="0"/>
              </a:spcAft>
              <a:buClrTx/>
              <a:buSzTx/>
              <a:buFontTx/>
              <a:buNone/>
              <a:tabLst/>
              <a:defRPr/>
            </a:pPr>
            <a:endParaRPr kumimoji="0" lang="en-US" sz="1324" b="0" i="0" u="none" strike="noStrike" kern="0" cap="none" spc="0" normalizeH="0" baseline="0" noProof="0" dirty="0">
              <a:ln>
                <a:noFill/>
              </a:ln>
              <a:solidFill>
                <a:srgbClr val="FFFFFF"/>
              </a:solidFill>
              <a:effectLst/>
              <a:uLnTx/>
              <a:uFillTx/>
              <a:latin typeface="Segoe UI"/>
            </a:endParaRPr>
          </a:p>
        </p:txBody>
      </p:sp>
      <p:sp>
        <p:nvSpPr>
          <p:cNvPr id="18" name="TextBox 17"/>
          <p:cNvSpPr txBox="1"/>
          <p:nvPr/>
        </p:nvSpPr>
        <p:spPr>
          <a:xfrm>
            <a:off x="5475733" y="2049462"/>
            <a:ext cx="952451" cy="461669"/>
          </a:xfrm>
          <a:prstGeom prst="rect">
            <a:avLst/>
          </a:prstGeom>
          <a:noFill/>
        </p:spPr>
        <p:txBody>
          <a:bodyPr wrap="square" lIns="134464" tIns="107571" rIns="134464" bIns="107571" rtlCol="0">
            <a:spAutoFit/>
          </a:bodyPr>
          <a:lstStyle/>
          <a:p>
            <a:pPr marL="0" marR="0" lvl="0" indent="0" algn="ctr" defTabSz="685845" eaLnBrk="1" fontAlgn="auto" latinLnBrk="0" hangingPunct="1">
              <a:lnSpc>
                <a:spcPct val="90000"/>
              </a:lnSpc>
              <a:spcBef>
                <a:spcPts val="0"/>
              </a:spcBef>
              <a:spcAft>
                <a:spcPts val="441"/>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latin typeface="Segoe UI"/>
              </a:rPr>
              <a:t>Azure</a:t>
            </a:r>
          </a:p>
        </p:txBody>
      </p:sp>
      <p:sp>
        <p:nvSpPr>
          <p:cNvPr id="19" name="TextBox 18"/>
          <p:cNvSpPr txBox="1"/>
          <p:nvPr/>
        </p:nvSpPr>
        <p:spPr>
          <a:xfrm>
            <a:off x="198438" y="3237850"/>
            <a:ext cx="3271538" cy="771241"/>
          </a:xfrm>
          <a:prstGeom prst="rect">
            <a:avLst/>
          </a:prstGeom>
          <a:noFill/>
        </p:spPr>
        <p:txBody>
          <a:bodyPr wrap="square" lIns="134464" tIns="107571" rIns="134464" bIns="107571" rtlCol="0">
            <a:spAutoFit/>
          </a:bodyPr>
          <a:lstStyle/>
          <a:p>
            <a:pPr marL="0" marR="0" lvl="0" indent="0" algn="ctr" defTabSz="685845" eaLnBrk="1" fontAlgn="auto" latinLnBrk="0" hangingPunct="1">
              <a:lnSpc>
                <a:spcPct val="90000"/>
              </a:lnSpc>
              <a:spcBef>
                <a:spcPts val="0"/>
              </a:spcBef>
              <a:spcAft>
                <a:spcPts val="441"/>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Light"/>
              </a:rPr>
              <a:t>Subscribe to SaaS applications</a:t>
            </a:r>
          </a:p>
        </p:txBody>
      </p:sp>
      <p:sp>
        <p:nvSpPr>
          <p:cNvPr id="20" name="TextBox 19"/>
          <p:cNvSpPr txBox="1"/>
          <p:nvPr/>
        </p:nvSpPr>
        <p:spPr>
          <a:xfrm>
            <a:off x="3946202" y="3242454"/>
            <a:ext cx="3907802" cy="1312928"/>
          </a:xfrm>
          <a:prstGeom prst="rect">
            <a:avLst/>
          </a:prstGeom>
          <a:noFill/>
        </p:spPr>
        <p:txBody>
          <a:bodyPr wrap="square" lIns="134464" tIns="107571" rIns="134464" bIns="107571" rtlCol="0">
            <a:spAutoFit/>
          </a:bodyPr>
          <a:lstStyle/>
          <a:p>
            <a:pPr marL="0" marR="0" lvl="0" indent="0" algn="ctr" defTabSz="685845" eaLnBrk="1" fontAlgn="auto" latinLnBrk="0" hangingPunct="1">
              <a:lnSpc>
                <a:spcPct val="90000"/>
              </a:lnSpc>
              <a:spcBef>
                <a:spcPts val="0"/>
              </a:spcBef>
              <a:spcAft>
                <a:spcPts val="441"/>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Light"/>
              </a:rPr>
              <a:t>Rewrite existing applications</a:t>
            </a:r>
            <a:endParaRPr kumimoji="0" lang="en-US" sz="1200" b="0" i="0" u="none" strike="noStrike" kern="0" cap="none" spc="0" normalizeH="0" baseline="0" noProof="0" dirty="0">
              <a:ln>
                <a:noFill/>
              </a:ln>
              <a:solidFill>
                <a:sysClr val="windowText" lastClr="000000"/>
              </a:solidFill>
              <a:effectLst/>
              <a:uLnTx/>
              <a:uFillTx/>
              <a:latin typeface="Segoe UI Light"/>
            </a:endParaRPr>
          </a:p>
          <a:p>
            <a:pPr marL="0" marR="0" lvl="0" indent="0" defTabSz="685845" eaLnBrk="1" fontAlgn="auto" latinLnBrk="0" hangingPunct="1">
              <a:lnSpc>
                <a:spcPct val="90000"/>
              </a:lnSpc>
              <a:spcBef>
                <a:spcPts val="0"/>
              </a:spcBef>
              <a:spcAft>
                <a:spcPts val="441"/>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Light"/>
            </a:endParaRPr>
          </a:p>
          <a:p>
            <a:pPr marL="0" marR="0" lvl="0" indent="0" defTabSz="685845" eaLnBrk="1" fontAlgn="auto" latinLnBrk="0" hangingPunct="1">
              <a:lnSpc>
                <a:spcPct val="90000"/>
              </a:lnSpc>
              <a:spcBef>
                <a:spcPts val="0"/>
              </a:spcBef>
              <a:spcAft>
                <a:spcPts val="441"/>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Light"/>
            </a:endParaRPr>
          </a:p>
          <a:p>
            <a:pPr marR="0" lvl="0" defTabSz="685845" eaLnBrk="1" fontAlgn="auto" latinLnBrk="0" hangingPunct="1">
              <a:lnSpc>
                <a:spcPct val="90000"/>
              </a:lnSpc>
              <a:spcBef>
                <a:spcPts val="0"/>
              </a:spcBef>
              <a:spcAft>
                <a:spcPts val="441"/>
              </a:spcAft>
              <a:buClrTx/>
              <a:buSzTx/>
              <a:tabLst/>
              <a:defRPr/>
            </a:pPr>
            <a:endParaRPr kumimoji="0" lang="en-US" sz="1600" b="0" i="0" u="none" strike="noStrike" kern="0" cap="none" spc="0" normalizeH="0" baseline="0" noProof="0" dirty="0">
              <a:ln>
                <a:noFill/>
              </a:ln>
              <a:solidFill>
                <a:sysClr val="windowText" lastClr="000000"/>
              </a:solidFill>
              <a:effectLst/>
              <a:uLnTx/>
              <a:uFillTx/>
              <a:latin typeface="Segoe UI Light"/>
            </a:endParaRPr>
          </a:p>
        </p:txBody>
      </p:sp>
      <p:sp>
        <p:nvSpPr>
          <p:cNvPr id="21" name="TextBox 20"/>
          <p:cNvSpPr txBox="1"/>
          <p:nvPr/>
        </p:nvSpPr>
        <p:spPr>
          <a:xfrm>
            <a:off x="8524384" y="3242454"/>
            <a:ext cx="3639819" cy="771241"/>
          </a:xfrm>
          <a:prstGeom prst="rect">
            <a:avLst/>
          </a:prstGeom>
          <a:noFill/>
        </p:spPr>
        <p:txBody>
          <a:bodyPr wrap="square" lIns="134464" tIns="107571" rIns="134464" bIns="107571" rtlCol="0">
            <a:spAutoFit/>
          </a:bodyPr>
          <a:lstStyle/>
          <a:p>
            <a:pPr marL="0" marR="0" lvl="0" indent="0" algn="ctr" defTabSz="685845" eaLnBrk="1" fontAlgn="auto" latinLnBrk="0" hangingPunct="1">
              <a:lnSpc>
                <a:spcPct val="90000"/>
              </a:lnSpc>
              <a:spcBef>
                <a:spcPts val="0"/>
              </a:spcBef>
              <a:spcAft>
                <a:spcPts val="441"/>
              </a:spcAft>
              <a:buClrTx/>
              <a:buSzTx/>
              <a:buFontTx/>
              <a:buNone/>
              <a:tabLst/>
              <a:defRPr/>
            </a:pPr>
            <a:r>
              <a:rPr kumimoji="0" lang="en-US" sz="2000" b="0" i="0" u="none" strike="noStrike" kern="0" cap="none" spc="0" normalizeH="0" baseline="0" noProof="0" dirty="0">
                <a:ln>
                  <a:noFill/>
                </a:ln>
                <a:solidFill>
                  <a:sysClr val="windowText" lastClr="000000"/>
                </a:solidFill>
                <a:effectLst/>
                <a:uLnTx/>
                <a:uFillTx/>
                <a:latin typeface="Segoe UI Light"/>
              </a:rPr>
              <a:t>‘Lift-and-shift’ on-premises applications to IaaS</a:t>
            </a:r>
          </a:p>
        </p:txBody>
      </p:sp>
      <p:cxnSp>
        <p:nvCxnSpPr>
          <p:cNvPr id="22" name="Elbow Connector 21"/>
          <p:cNvCxnSpPr>
            <a:stCxn id="19" idx="0"/>
          </p:cNvCxnSpPr>
          <p:nvPr/>
        </p:nvCxnSpPr>
        <p:spPr>
          <a:xfrm rot="5400000" flipH="1" flipV="1">
            <a:off x="3052024" y="1136445"/>
            <a:ext cx="883588" cy="3319222"/>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21" idx="0"/>
            <a:endCxn id="17" idx="16"/>
          </p:cNvCxnSpPr>
          <p:nvPr/>
        </p:nvCxnSpPr>
        <p:spPr>
          <a:xfrm rot="16200000" flipV="1">
            <a:off x="8020467" y="918626"/>
            <a:ext cx="923612" cy="3724043"/>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20" idx="0"/>
          </p:cNvCxnSpPr>
          <p:nvPr/>
        </p:nvCxnSpPr>
        <p:spPr>
          <a:xfrm flipH="1" flipV="1">
            <a:off x="5898017" y="2581436"/>
            <a:ext cx="2086" cy="66101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Title 16"/>
          <p:cNvSpPr>
            <a:spLocks noGrp="1"/>
          </p:cNvSpPr>
          <p:nvPr>
            <p:ph type="title"/>
          </p:nvPr>
        </p:nvSpPr>
        <p:spPr>
          <a:xfrm>
            <a:off x="27865" y="49627"/>
            <a:ext cx="11887878" cy="770161"/>
          </a:xfrm>
        </p:spPr>
        <p:txBody>
          <a:bodyPr vert="horz" wrap="square" lIns="146283" tIns="91427" rIns="146283" bIns="91427" rtlCol="0" anchor="t">
            <a:noAutofit/>
          </a:bodyPr>
          <a:lstStyle/>
          <a:p>
            <a:r>
              <a:rPr lang="en-US" dirty="0"/>
              <a:t>Options – moving applications to the cloud</a:t>
            </a:r>
          </a:p>
        </p:txBody>
      </p:sp>
      <p:sp>
        <p:nvSpPr>
          <p:cNvPr id="4" name="Lightning Bolt 3"/>
          <p:cNvSpPr/>
          <p:nvPr/>
        </p:nvSpPr>
        <p:spPr bwMode="auto">
          <a:xfrm>
            <a:off x="9977245" y="2916786"/>
            <a:ext cx="609600" cy="457200"/>
          </a:xfrm>
          <a:prstGeom prst="lightningBol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15033698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6"/>
          <p:cNvSpPr>
            <a:spLocks noGrp="1"/>
          </p:cNvSpPr>
          <p:nvPr>
            <p:ph type="title"/>
          </p:nvPr>
        </p:nvSpPr>
        <p:spPr>
          <a:xfrm>
            <a:off x="27865" y="49627"/>
            <a:ext cx="11887878" cy="770161"/>
          </a:xfrm>
        </p:spPr>
        <p:txBody>
          <a:bodyPr vert="horz" wrap="square" lIns="146283" tIns="91427" rIns="146283" bIns="91427" rtlCol="0" anchor="t">
            <a:noAutofit/>
          </a:bodyPr>
          <a:lstStyle/>
          <a:p>
            <a:r>
              <a:rPr lang="en-US" dirty="0"/>
              <a:t>’Lift-and-shift’ existing on-premises apps. Easy?</a:t>
            </a:r>
          </a:p>
        </p:txBody>
      </p:sp>
      <p:grpSp>
        <p:nvGrpSpPr>
          <p:cNvPr id="5" name="Group 4"/>
          <p:cNvGrpSpPr/>
          <p:nvPr/>
        </p:nvGrpSpPr>
        <p:grpSpPr>
          <a:xfrm>
            <a:off x="1265939" y="1135397"/>
            <a:ext cx="3831833" cy="5347396"/>
            <a:chOff x="7812124" y="1376780"/>
            <a:chExt cx="3832376" cy="5348155"/>
          </a:xfrm>
        </p:grpSpPr>
        <p:sp>
          <p:nvSpPr>
            <p:cNvPr id="6" name="Freeform 5"/>
            <p:cNvSpPr>
              <a:spLocks noChangeAspect="1"/>
            </p:cNvSpPr>
            <p:nvPr/>
          </p:nvSpPr>
          <p:spPr bwMode="black">
            <a:xfrm>
              <a:off x="8208405" y="1376780"/>
              <a:ext cx="3289482" cy="1945397"/>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solidFill>
              <a:schemeClr val="accent2">
                <a:lumMod val="20000"/>
                <a:lumOff val="80000"/>
              </a:schemeClr>
            </a:solidFill>
            <a:ln>
              <a:solidFill>
                <a:schemeClr val="tx1"/>
              </a:solidFill>
            </a:ln>
          </p:spPr>
          <p:txBody>
            <a:bodyPr vert="horz" wrap="square" lIns="89629" tIns="44815" rIns="89629" bIns="44815" numCol="1" anchor="t" anchorCtr="0" compatLnSpc="1">
              <a:prstTxWarp prst="textNoShape">
                <a:avLst/>
              </a:prstTxWarp>
            </a:bodyPr>
            <a:lstStyle/>
            <a:p>
              <a:pPr marL="0" marR="0" lvl="0" indent="0" defTabSz="91430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a:p>
              <a:pPr marL="0" marR="0" lvl="0" indent="0" defTabSz="91430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a:p>
              <a:pPr marL="0" marR="0" lvl="0" indent="0" defTabSz="91430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a:p>
              <a:pPr marL="0" marR="0" lvl="0" indent="0" defTabSz="91430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a:p>
              <a:pPr marL="0" marR="0" lvl="0" indent="0" defTabSz="91430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FFFFFF"/>
                </a:solidFill>
                <a:effectLst/>
                <a:uLnTx/>
                <a:uFillTx/>
              </a:endParaRPr>
            </a:p>
            <a:p>
              <a:pPr marL="0" marR="0" lvl="0" indent="0" defTabSz="914307"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rgbClr val="FFFFFF"/>
                  </a:solidFill>
                  <a:effectLst/>
                  <a:uLnTx/>
                  <a:uFillTx/>
                </a:rPr>
                <a:t>       </a:t>
              </a:r>
            </a:p>
            <a:p>
              <a:pPr marL="0" marR="0" lvl="0" indent="0" defTabSz="91430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         </a:t>
              </a:r>
              <a:r>
                <a:rPr kumimoji="0" lang="en-US" sz="1400" b="0" i="1" u="none" strike="noStrike" kern="0" cap="none" spc="0" normalizeH="0" baseline="0" noProof="0" dirty="0">
                  <a:ln>
                    <a:noFill/>
                  </a:ln>
                  <a:solidFill>
                    <a:sysClr val="windowText" lastClr="000000"/>
                  </a:solidFill>
                  <a:effectLst/>
                  <a:uLnTx/>
                  <a:uFillTx/>
                </a:rPr>
                <a:t>Azure</a:t>
              </a:r>
            </a:p>
          </p:txBody>
        </p:sp>
        <p:grpSp>
          <p:nvGrpSpPr>
            <p:cNvPr id="7" name="Group 6"/>
            <p:cNvGrpSpPr/>
            <p:nvPr/>
          </p:nvGrpSpPr>
          <p:grpSpPr>
            <a:xfrm>
              <a:off x="7812124" y="5186780"/>
              <a:ext cx="3832376" cy="1538155"/>
              <a:chOff x="3978380" y="4859154"/>
              <a:chExt cx="3832376" cy="1538155"/>
            </a:xfrm>
          </p:grpSpPr>
          <p:sp>
            <p:nvSpPr>
              <p:cNvPr id="17" name="Oval 16"/>
              <p:cNvSpPr/>
              <p:nvPr>
                <p:custDataLst>
                  <p:tags r:id="rId1"/>
                </p:custDataLst>
              </p:nvPr>
            </p:nvSpPr>
            <p:spPr bwMode="auto">
              <a:xfrm>
                <a:off x="3978380" y="4859154"/>
                <a:ext cx="3832376" cy="1538155"/>
              </a:xfrm>
              <a:prstGeom prst="ellipse">
                <a:avLst/>
              </a:prstGeom>
              <a:solidFill>
                <a:schemeClr val="bg1">
                  <a:lumMod val="75000"/>
                </a:schemeClr>
              </a:solidFill>
              <a:ln w="3175" cap="flat" cmpd="sng" algn="ctr">
                <a:solidFill>
                  <a:schemeClr val="tx1"/>
                </a:solidFill>
                <a:prstDash val="solid"/>
                <a:headEnd type="none" w="med" len="med"/>
                <a:tailEnd type="none" w="med" len="med"/>
              </a:ln>
              <a:effectLst/>
            </p:spPr>
            <p:txBody>
              <a:bodyPr vert="horz" wrap="square" lIns="82259" tIns="41129" rIns="82259" bIns="41129" numCol="1" rtlCol="0" anchor="ctr" anchorCtr="0" compatLnSpc="1">
                <a:prstTxWarp prst="textNoShape">
                  <a:avLst/>
                </a:prstTxWarp>
              </a:bodyPr>
              <a:lstStyle/>
              <a:p>
                <a:pPr marL="0" marR="0" lvl="0" indent="0" algn="ctr" defTabSz="822425" eaLnBrk="1" fontAlgn="base" latinLnBrk="0" hangingPunct="1">
                  <a:lnSpc>
                    <a:spcPct val="100000"/>
                  </a:lnSpc>
                  <a:spcBef>
                    <a:spcPct val="0"/>
                  </a:spcBef>
                  <a:spcAft>
                    <a:spcPct val="0"/>
                  </a:spcAft>
                  <a:buClrTx/>
                  <a:buSzTx/>
                  <a:buFontTx/>
                  <a:buNone/>
                  <a:tabLst/>
                  <a:defRPr/>
                </a:pPr>
                <a:endParaRPr kumimoji="0" lang="en-US" sz="2024" b="0" i="0" u="none" strike="noStrike" kern="0" cap="none" spc="0" normalizeH="0" baseline="0" noProof="0" dirty="0">
                  <a:ln>
                    <a:noFill/>
                  </a:ln>
                  <a:solidFill>
                    <a:srgbClr val="595959"/>
                  </a:solidFill>
                  <a:effectLst/>
                  <a:uLnTx/>
                  <a:uFillTx/>
                  <a:latin typeface="Segoe UI"/>
                </a:endParaRPr>
              </a:p>
            </p:txBody>
          </p:sp>
          <p:cxnSp>
            <p:nvCxnSpPr>
              <p:cNvPr id="18" name="Straight Connector 17"/>
              <p:cNvCxnSpPr/>
              <p:nvPr/>
            </p:nvCxnSpPr>
            <p:spPr>
              <a:xfrm flipH="1">
                <a:off x="5136282" y="5370299"/>
                <a:ext cx="477786" cy="430743"/>
              </a:xfrm>
              <a:prstGeom prst="line">
                <a:avLst/>
              </a:prstGeom>
              <a:noFill/>
              <a:ln w="19050" cap="rnd" cmpd="sng" algn="ctr">
                <a:solidFill>
                  <a:schemeClr val="tx1"/>
                </a:solidFill>
                <a:prstDash val="solid"/>
              </a:ln>
              <a:effectLst/>
            </p:spPr>
          </p:cxnSp>
          <p:cxnSp>
            <p:nvCxnSpPr>
              <p:cNvPr id="19" name="Straight Connector 18"/>
              <p:cNvCxnSpPr/>
              <p:nvPr/>
            </p:nvCxnSpPr>
            <p:spPr>
              <a:xfrm>
                <a:off x="5614069" y="5363474"/>
                <a:ext cx="186472" cy="491404"/>
              </a:xfrm>
              <a:prstGeom prst="line">
                <a:avLst/>
              </a:prstGeom>
              <a:noFill/>
              <a:ln w="19050" cap="rnd" cmpd="sng" algn="ctr">
                <a:solidFill>
                  <a:schemeClr val="tx1"/>
                </a:solidFill>
                <a:prstDash val="solid"/>
              </a:ln>
              <a:effectLst/>
            </p:spPr>
          </p:cxnSp>
          <p:sp>
            <p:nvSpPr>
              <p:cNvPr id="20" name="Freeform 836"/>
              <p:cNvSpPr>
                <a:spLocks noEditPoints="1"/>
              </p:cNvSpPr>
              <p:nvPr/>
            </p:nvSpPr>
            <p:spPr bwMode="auto">
              <a:xfrm>
                <a:off x="4968918" y="5826037"/>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61" tIns="34280" rIns="68561" bIns="34280" numCol="1" anchor="t" anchorCtr="0" compatLnSpc="1">
                <a:prstTxWarp prst="textNoShape">
                  <a:avLst/>
                </a:prstTxWarp>
              </a:bodyPr>
              <a:lstStyle/>
              <a:p>
                <a:pPr marL="0" marR="0" lvl="0" indent="0" defTabSz="699448"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sp>
            <p:nvSpPr>
              <p:cNvPr id="21" name="Freeform 836"/>
              <p:cNvSpPr>
                <a:spLocks noEditPoints="1"/>
              </p:cNvSpPr>
              <p:nvPr/>
            </p:nvSpPr>
            <p:spPr bwMode="auto">
              <a:xfrm>
                <a:off x="5690833" y="5883822"/>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61" tIns="34280" rIns="68561" bIns="34280" numCol="1" anchor="t" anchorCtr="0" compatLnSpc="1">
                <a:prstTxWarp prst="textNoShape">
                  <a:avLst/>
                </a:prstTxWarp>
              </a:bodyPr>
              <a:lstStyle/>
              <a:p>
                <a:pPr marL="0" marR="0" lvl="0" indent="0" defTabSz="699448"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grpSp>
            <p:nvGrpSpPr>
              <p:cNvPr id="22" name="Group 21"/>
              <p:cNvGrpSpPr/>
              <p:nvPr/>
            </p:nvGrpSpPr>
            <p:grpSpPr>
              <a:xfrm>
                <a:off x="5336295" y="4982619"/>
                <a:ext cx="2017877" cy="562643"/>
                <a:chOff x="7600492" y="4310851"/>
                <a:chExt cx="2690884" cy="750296"/>
              </a:xfrm>
            </p:grpSpPr>
            <p:grpSp>
              <p:nvGrpSpPr>
                <p:cNvPr id="25" name="Group 24"/>
                <p:cNvGrpSpPr/>
                <p:nvPr/>
              </p:nvGrpSpPr>
              <p:grpSpPr>
                <a:xfrm>
                  <a:off x="7600492" y="4310851"/>
                  <a:ext cx="2646055" cy="750296"/>
                  <a:chOff x="4872042" y="3212049"/>
                  <a:chExt cx="2646055" cy="750296"/>
                </a:xfrm>
              </p:grpSpPr>
              <p:sp>
                <p:nvSpPr>
                  <p:cNvPr id="27" name="Rectangle 26"/>
                  <p:cNvSpPr/>
                  <p:nvPr/>
                </p:nvSpPr>
                <p:spPr>
                  <a:xfrm>
                    <a:off x="5782982" y="3716054"/>
                    <a:ext cx="1735115" cy="246291"/>
                  </a:xfrm>
                  <a:prstGeom prst="rect">
                    <a:avLst/>
                  </a:prstGeom>
                  <a:ln>
                    <a:noFill/>
                  </a:ln>
                </p:spPr>
                <p:txBody>
                  <a:bodyPr wrap="square" lIns="0" tIns="0" rIns="0" bIns="0" anchor="ctr">
                    <a:spAutoFit/>
                  </a:bodyPr>
                  <a:lstStyle/>
                  <a:p>
                    <a:pPr marL="0" marR="0" lvl="0" indent="0" algn="ctr" defTabSz="822390" eaLnBrk="1" fontAlgn="base" latinLnBrk="0" hangingPunct="1">
                      <a:lnSpc>
                        <a:spcPct val="100000"/>
                      </a:lnSpc>
                      <a:spcBef>
                        <a:spcPts val="1080"/>
                      </a:spcBef>
                      <a:spcAft>
                        <a:spcPct val="0"/>
                      </a:spcAft>
                      <a:buClrTx/>
                      <a:buSzTx/>
                      <a:buFontTx/>
                      <a:buNone/>
                      <a:tabLst/>
                      <a:defRPr/>
                    </a:pPr>
                    <a:r>
                      <a:rPr kumimoji="0" lang="en-US" sz="1200" b="0" i="0" u="none" strike="noStrike" kern="0" cap="none" spc="0" normalizeH="0" baseline="0" noProof="0" dirty="0">
                        <a:ln>
                          <a:solidFill>
                            <a:srgbClr val="FFFFFF">
                              <a:alpha val="0"/>
                            </a:srgbClr>
                          </a:solidFill>
                        </a:ln>
                        <a:solidFill>
                          <a:srgbClr val="FFFFFF"/>
                        </a:solidFill>
                        <a:effectLst/>
                        <a:uLnTx/>
                        <a:uFillTx/>
                        <a:ea typeface="ＭＳ Ｐゴシック" charset="0"/>
                      </a:rPr>
                      <a:t>Active Directory</a:t>
                    </a:r>
                  </a:p>
                </p:txBody>
              </p:sp>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2042" y="3212049"/>
                    <a:ext cx="697094" cy="461261"/>
                  </a:xfrm>
                  <a:prstGeom prst="rect">
                    <a:avLst/>
                  </a:prstGeom>
                </p:spPr>
              </p:pic>
            </p:gr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7836" y="4349739"/>
                  <a:ext cx="2063540" cy="536710"/>
                </a:xfrm>
                <a:prstGeom prst="rect">
                  <a:avLst/>
                </a:prstGeom>
              </p:spPr>
            </p:pic>
          </p:grpSp>
          <p:sp>
            <p:nvSpPr>
              <p:cNvPr id="23" name="Rectangle 22"/>
              <p:cNvSpPr/>
              <p:nvPr/>
            </p:nvSpPr>
            <p:spPr>
              <a:xfrm>
                <a:off x="6202352" y="5844500"/>
                <a:ext cx="990091" cy="430948"/>
              </a:xfrm>
              <a:prstGeom prst="rect">
                <a:avLst/>
              </a:prstGeom>
            </p:spPr>
            <p:txBody>
              <a:bodyPr wrap="none" lIns="0" tIns="0" rIns="0" bIns="0" anchor="b">
                <a:spAutoFit/>
              </a:bodyPr>
              <a:lstStyle/>
              <a:p>
                <a:pPr marL="0" marR="0" lvl="0" indent="0" algn="ctr" defTabSz="822144"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solidFill>
                        <a:srgbClr val="FFFFFF">
                          <a:alpha val="0"/>
                        </a:srgbClr>
                      </a:solidFill>
                    </a:ln>
                    <a:solidFill>
                      <a:sysClr val="windowText" lastClr="000000"/>
                    </a:solidFill>
                    <a:effectLst/>
                    <a:uLnTx/>
                    <a:uFillTx/>
                    <a:ea typeface="ＭＳ Ｐゴシック" charset="0"/>
                  </a:rPr>
                  <a:t>On-premise</a:t>
                </a:r>
              </a:p>
              <a:p>
                <a:pPr marL="0" marR="0" lvl="0" indent="0" algn="ctr" defTabSz="822144"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solidFill>
                        <a:srgbClr val="FFFFFF">
                          <a:alpha val="0"/>
                        </a:srgbClr>
                      </a:solidFill>
                    </a:ln>
                    <a:solidFill>
                      <a:sysClr val="windowText" lastClr="000000"/>
                    </a:solidFill>
                    <a:effectLst/>
                    <a:uLnTx/>
                    <a:uFillTx/>
                    <a:ea typeface="ＭＳ Ｐゴシック" charset="0"/>
                  </a:rPr>
                  <a:t>apps</a:t>
                </a:r>
              </a:p>
            </p:txBody>
          </p:sp>
          <p:sp>
            <p:nvSpPr>
              <p:cNvPr id="24" name="Can 23"/>
              <p:cNvSpPr/>
              <p:nvPr/>
            </p:nvSpPr>
            <p:spPr bwMode="auto">
              <a:xfrm>
                <a:off x="5111161" y="6075028"/>
                <a:ext cx="202031" cy="188925"/>
              </a:xfrm>
              <a:prstGeom prst="can">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411"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nvGrpSpPr>
            <p:cNvPr id="8" name="Group 7"/>
            <p:cNvGrpSpPr/>
            <p:nvPr/>
          </p:nvGrpSpPr>
          <p:grpSpPr>
            <a:xfrm>
              <a:off x="9352117" y="2128232"/>
              <a:ext cx="1014747" cy="467587"/>
              <a:chOff x="8504237" y="2286969"/>
              <a:chExt cx="1014747" cy="467587"/>
            </a:xfrm>
          </p:grpSpPr>
          <p:grpSp>
            <p:nvGrpSpPr>
              <p:cNvPr id="11" name="Group 10"/>
              <p:cNvGrpSpPr/>
              <p:nvPr/>
            </p:nvGrpSpPr>
            <p:grpSpPr>
              <a:xfrm>
                <a:off x="8504237" y="2314520"/>
                <a:ext cx="364575" cy="440036"/>
                <a:chOff x="8955062" y="6306063"/>
                <a:chExt cx="364575" cy="440036"/>
              </a:xfrm>
            </p:grpSpPr>
            <p:sp>
              <p:nvSpPr>
                <p:cNvPr id="15" name="Freeform 836"/>
                <p:cNvSpPr>
                  <a:spLocks noEditPoints="1"/>
                </p:cNvSpPr>
                <p:nvPr/>
              </p:nvSpPr>
              <p:spPr bwMode="auto">
                <a:xfrm>
                  <a:off x="8955062" y="6306063"/>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61" tIns="34280" rIns="68561" bIns="34280" numCol="1" anchor="t" anchorCtr="0" compatLnSpc="1">
                  <a:prstTxWarp prst="textNoShape">
                    <a:avLst/>
                  </a:prstTxWarp>
                </a:bodyPr>
                <a:lstStyle/>
                <a:p>
                  <a:pPr marL="0" marR="0" lvl="0" indent="0" defTabSz="699448"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sp>
              <p:nvSpPr>
                <p:cNvPr id="16" name="Can 15"/>
                <p:cNvSpPr/>
                <p:nvPr/>
              </p:nvSpPr>
              <p:spPr bwMode="auto">
                <a:xfrm>
                  <a:off x="9117604" y="6557174"/>
                  <a:ext cx="202033" cy="188925"/>
                </a:xfrm>
                <a:prstGeom prst="can">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411"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12" name="Freeform 836"/>
              <p:cNvSpPr>
                <a:spLocks noEditPoints="1"/>
              </p:cNvSpPr>
              <p:nvPr/>
            </p:nvSpPr>
            <p:spPr bwMode="auto">
              <a:xfrm>
                <a:off x="9290631" y="2286969"/>
                <a:ext cx="228353" cy="364820"/>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rgbClr val="FFFFFF"/>
              </a:solidFill>
              <a:ln w="0">
                <a:solidFill>
                  <a:schemeClr val="tx1"/>
                </a:solidFill>
                <a:prstDash val="solid"/>
                <a:round/>
                <a:headEnd/>
                <a:tailEnd/>
              </a:ln>
            </p:spPr>
            <p:txBody>
              <a:bodyPr vert="horz" wrap="square" lIns="68561" tIns="34280" rIns="68561" bIns="34280" numCol="1" anchor="t" anchorCtr="0" compatLnSpc="1">
                <a:prstTxWarp prst="textNoShape">
                  <a:avLst/>
                </a:prstTxWarp>
              </a:bodyPr>
              <a:lstStyle/>
              <a:p>
                <a:pPr marL="0" marR="0" lvl="0" indent="0" defTabSz="699448"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505050"/>
                  </a:solidFill>
                  <a:effectLst/>
                  <a:uLnTx/>
                  <a:uFillTx/>
                  <a:ea typeface="ＭＳ Ｐゴシック" charset="0"/>
                </a:endParaRPr>
              </a:p>
            </p:txBody>
          </p:sp>
        </p:grpSp>
        <p:cxnSp>
          <p:nvCxnSpPr>
            <p:cNvPr id="9" name="Curved Connector 8"/>
            <p:cNvCxnSpPr>
              <a:stCxn id="24" idx="3"/>
              <a:endCxn id="15" idx="3"/>
            </p:cNvCxnSpPr>
            <p:nvPr/>
          </p:nvCxnSpPr>
          <p:spPr>
            <a:xfrm rot="5400000" flipH="1" flipV="1">
              <a:off x="7134452" y="4349073"/>
              <a:ext cx="4153975" cy="331039"/>
            </a:xfrm>
            <a:prstGeom prst="curvedConnector4">
              <a:avLst>
                <a:gd name="adj1" fmla="val -5504"/>
                <a:gd name="adj2" fmla="val -293202"/>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Curved Connector 9"/>
            <p:cNvCxnSpPr>
              <a:stCxn id="17" idx="4"/>
            </p:cNvCxnSpPr>
            <p:nvPr/>
          </p:nvCxnSpPr>
          <p:spPr>
            <a:xfrm rot="5400000" flipH="1" flipV="1">
              <a:off x="7890938" y="4159828"/>
              <a:ext cx="4402481" cy="727732"/>
            </a:xfrm>
            <a:prstGeom prst="curvedConnector5">
              <a:avLst>
                <a:gd name="adj1" fmla="val -5193"/>
                <a:gd name="adj2" fmla="val 209256"/>
                <a:gd name="adj3" fmla="val 101442"/>
              </a:avLst>
            </a:prstGeom>
            <a:ln>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9" name="Freeform 54"/>
          <p:cNvSpPr>
            <a:spLocks noChangeAspect="1" noEditPoints="1"/>
          </p:cNvSpPr>
          <p:nvPr/>
        </p:nvSpPr>
        <p:spPr bwMode="black">
          <a:xfrm>
            <a:off x="3098342" y="6180552"/>
            <a:ext cx="230267" cy="230267"/>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Freeform 54"/>
          <p:cNvSpPr>
            <a:spLocks noChangeAspect="1" noEditPoints="1"/>
          </p:cNvSpPr>
          <p:nvPr/>
        </p:nvSpPr>
        <p:spPr bwMode="black">
          <a:xfrm>
            <a:off x="3692603" y="2080937"/>
            <a:ext cx="230267" cy="230267"/>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411"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TextBox 33"/>
          <p:cNvSpPr txBox="1"/>
          <p:nvPr/>
        </p:nvSpPr>
        <p:spPr>
          <a:xfrm>
            <a:off x="3034035" y="2384514"/>
            <a:ext cx="457135" cy="849293"/>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3999" b="1" i="0" u="none" strike="noStrike" kern="0" cap="none" spc="0" normalizeH="0" baseline="0" noProof="0" dirty="0">
                <a:ln>
                  <a:noFill/>
                </a:ln>
                <a:gradFill>
                  <a:gsLst>
                    <a:gs pos="2917">
                      <a:schemeClr val="tx1"/>
                    </a:gs>
                    <a:gs pos="30000">
                      <a:schemeClr val="tx1"/>
                    </a:gs>
                  </a:gsLst>
                  <a:lin ang="5400000" scaled="0"/>
                </a:gradFill>
                <a:effectLst/>
                <a:uLnTx/>
                <a:uFillTx/>
                <a:latin typeface="+mj-lt"/>
              </a:rPr>
              <a:t>?</a:t>
            </a:r>
          </a:p>
        </p:txBody>
      </p:sp>
      <p:sp>
        <p:nvSpPr>
          <p:cNvPr id="45" name="TextBox 44"/>
          <p:cNvSpPr txBox="1"/>
          <p:nvPr/>
        </p:nvSpPr>
        <p:spPr>
          <a:xfrm>
            <a:off x="6094730" y="1007962"/>
            <a:ext cx="6013165" cy="683222"/>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ysClr val="windowText" lastClr="000000"/>
                </a:solidFill>
                <a:effectLst/>
                <a:uLnTx/>
                <a:uFillTx/>
                <a:latin typeface="+mj-lt"/>
              </a:rPr>
              <a:t>What about identity in the cloud?</a:t>
            </a:r>
          </a:p>
        </p:txBody>
      </p:sp>
      <p:grpSp>
        <p:nvGrpSpPr>
          <p:cNvPr id="52" name="Group 51"/>
          <p:cNvGrpSpPr/>
          <p:nvPr/>
        </p:nvGrpSpPr>
        <p:grpSpPr>
          <a:xfrm>
            <a:off x="6617567" y="4716290"/>
            <a:ext cx="4501613" cy="1857547"/>
            <a:chOff x="6312141" y="4716290"/>
            <a:chExt cx="4501613" cy="1857547"/>
          </a:xfrm>
        </p:grpSpPr>
        <p:sp>
          <p:nvSpPr>
            <p:cNvPr id="48" name="Rectangle 47"/>
            <p:cNvSpPr/>
            <p:nvPr/>
          </p:nvSpPr>
          <p:spPr bwMode="auto">
            <a:xfrm>
              <a:off x="6312141" y="4716290"/>
              <a:ext cx="4325070" cy="1820075"/>
            </a:xfrm>
            <a:prstGeom prst="rect">
              <a:avLst/>
            </a:prstGeom>
            <a:solidFill>
              <a:schemeClr val="tx1"/>
            </a:solidFill>
            <a:ln w="3175">
              <a:solidFill>
                <a:schemeClr val="tx1"/>
              </a:solidFill>
              <a:prstDash val="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411"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47" name="Group 46"/>
            <p:cNvGrpSpPr/>
            <p:nvPr/>
          </p:nvGrpSpPr>
          <p:grpSpPr>
            <a:xfrm>
              <a:off x="6488685" y="4730298"/>
              <a:ext cx="4325069" cy="1843539"/>
              <a:chOff x="6928205" y="4676893"/>
              <a:chExt cx="4325681" cy="1843800"/>
            </a:xfrm>
          </p:grpSpPr>
          <p:grpSp>
            <p:nvGrpSpPr>
              <p:cNvPr id="42" name="Group 41"/>
              <p:cNvGrpSpPr/>
              <p:nvPr/>
            </p:nvGrpSpPr>
            <p:grpSpPr>
              <a:xfrm>
                <a:off x="6928205" y="5091909"/>
                <a:ext cx="1147886" cy="1060241"/>
                <a:chOff x="7132637" y="4337103"/>
                <a:chExt cx="1147886" cy="1060241"/>
              </a:xfrm>
            </p:grpSpPr>
            <p:sp>
              <p:nvSpPr>
                <p:cNvPr id="38" name="Rectangle 37"/>
                <p:cNvSpPr/>
                <p:nvPr/>
              </p:nvSpPr>
              <p:spPr>
                <a:xfrm>
                  <a:off x="7364483" y="5258825"/>
                  <a:ext cx="867064" cy="138519"/>
                </a:xfrm>
                <a:prstGeom prst="rect">
                  <a:avLst/>
                </a:prstGeom>
                <a:ln>
                  <a:noFill/>
                </a:ln>
              </p:spPr>
              <p:txBody>
                <a:bodyPr wrap="square" lIns="0" tIns="0" rIns="0" bIns="0" anchor="ctr">
                  <a:spAutoFit/>
                </a:bodyPr>
                <a:lstStyle/>
                <a:p>
                  <a:pPr marL="0" marR="0" lvl="0" indent="0" algn="ctr" defTabSz="822390" eaLnBrk="1" fontAlgn="base" latinLnBrk="0" hangingPunct="1">
                    <a:lnSpc>
                      <a:spcPct val="100000"/>
                    </a:lnSpc>
                    <a:spcBef>
                      <a:spcPts val="1080"/>
                    </a:spcBef>
                    <a:spcAft>
                      <a:spcPct val="0"/>
                    </a:spcAft>
                    <a:buClrTx/>
                    <a:buSzTx/>
                    <a:buFontTx/>
                    <a:buNone/>
                    <a:tabLst/>
                    <a:defRPr/>
                  </a:pPr>
                  <a:r>
                    <a:rPr kumimoji="0" lang="en-US" sz="900" b="0" i="0" u="none" strike="noStrike" kern="0" cap="none" spc="0" normalizeH="0" baseline="0" noProof="0" dirty="0">
                      <a:ln>
                        <a:solidFill>
                          <a:srgbClr val="FFFFFF">
                            <a:alpha val="0"/>
                          </a:srgbClr>
                        </a:solidFill>
                      </a:ln>
                      <a:solidFill>
                        <a:srgbClr val="FFFFFF"/>
                      </a:solidFill>
                      <a:effectLst/>
                      <a:uLnTx/>
                      <a:uFillTx/>
                      <a:ea typeface="ＭＳ Ｐゴシック" charset="0"/>
                    </a:rPr>
                    <a:t>Active Directory</a:t>
                  </a:r>
                </a:p>
              </p:txBody>
            </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9969" y="4337103"/>
                  <a:ext cx="1120554" cy="741463"/>
                </a:xfrm>
                <a:prstGeom prst="rect">
                  <a:avLst/>
                </a:prstGeom>
              </p:spPr>
            </p:pic>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2637" y="5068525"/>
                  <a:ext cx="1104260" cy="259560"/>
                </a:xfrm>
                <a:prstGeom prst="rect">
                  <a:avLst/>
                </a:prstGeom>
              </p:spPr>
            </p:pic>
          </p:grpSp>
          <p:sp>
            <p:nvSpPr>
              <p:cNvPr id="43" name="TextBox 42"/>
              <p:cNvSpPr txBox="1"/>
              <p:nvPr/>
            </p:nvSpPr>
            <p:spPr>
              <a:xfrm>
                <a:off x="8562362" y="4676893"/>
                <a:ext cx="2691524" cy="1843800"/>
              </a:xfrm>
              <a:prstGeom prst="rect">
                <a:avLst/>
              </a:prstGeom>
              <a:noFill/>
            </p:spPr>
            <p:txBody>
              <a:bodyPr wrap="square" lIns="182854" tIns="146283" rIns="182854" bIns="146283"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mj-lt"/>
                  </a:rPr>
                  <a:t>AD Domain Services</a:t>
                </a:r>
              </a:p>
              <a:p>
                <a:pPr marL="171439" marR="0" lvl="0" indent="-171439"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mj-lt"/>
                  </a:rPr>
                  <a:t>Domain join </a:t>
                </a:r>
              </a:p>
              <a:p>
                <a:pPr marL="171439" marR="0" lvl="0" indent="-171439"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mj-lt"/>
                  </a:rPr>
                  <a:t>Group policy</a:t>
                </a:r>
              </a:p>
              <a:p>
                <a:pPr marL="171439" marR="0" lvl="0" indent="-171439"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mj-lt"/>
                  </a:rPr>
                  <a:t>LDAP bind/authentication</a:t>
                </a:r>
              </a:p>
              <a:p>
                <a:pPr marL="171439" marR="0" lvl="0" indent="-171439"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mj-lt"/>
                  </a:rPr>
                  <a:t>Kerberos, NTLM</a:t>
                </a:r>
              </a:p>
              <a:p>
                <a:pPr marL="171439" marR="0" lvl="0" indent="-171439" defTabSz="91440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latin typeface="+mj-lt"/>
                  </a:rPr>
                  <a:t>LDAP read/write</a:t>
                </a:r>
                <a:endParaRPr kumimoji="0" lang="en-US" sz="1600" b="0" i="0" u="none" strike="noStrike" kern="0" cap="none" spc="0" normalizeH="0" baseline="0" noProof="0" dirty="0">
                  <a:ln>
                    <a:noFill/>
                  </a:ln>
                  <a:solidFill>
                    <a:schemeClr val="bg1"/>
                  </a:solidFill>
                  <a:effectLst/>
                  <a:uLnTx/>
                  <a:uFillTx/>
                  <a:latin typeface="+mj-lt"/>
                </a:endParaRPr>
              </a:p>
            </p:txBody>
          </p:sp>
          <p:sp>
            <p:nvSpPr>
              <p:cNvPr id="46" name="Right Arrow 45"/>
              <p:cNvSpPr/>
              <p:nvPr/>
            </p:nvSpPr>
            <p:spPr bwMode="auto">
              <a:xfrm>
                <a:off x="8428037" y="5516502"/>
                <a:ext cx="184281" cy="201855"/>
              </a:xfrm>
              <a:prstGeom prst="rightArrow">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411"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grpSp>
      <p:cxnSp>
        <p:nvCxnSpPr>
          <p:cNvPr id="51" name="Straight Connector 50"/>
          <p:cNvCxnSpPr/>
          <p:nvPr/>
        </p:nvCxnSpPr>
        <p:spPr>
          <a:xfrm>
            <a:off x="2906550" y="2349633"/>
            <a:ext cx="218272" cy="245035"/>
          </a:xfrm>
          <a:prstGeom prst="line">
            <a:avLst/>
          </a:prstGeom>
          <a:noFill/>
          <a:ln w="19050" cap="rnd" cmpd="sng" algn="ctr">
            <a:solidFill>
              <a:schemeClr val="tx1"/>
            </a:solidFill>
            <a:prstDash val="solid"/>
          </a:ln>
          <a:effectLst/>
        </p:spPr>
      </p:cxnSp>
      <p:cxnSp>
        <p:nvCxnSpPr>
          <p:cNvPr id="53" name="Straight Connector 52"/>
          <p:cNvCxnSpPr/>
          <p:nvPr/>
        </p:nvCxnSpPr>
        <p:spPr>
          <a:xfrm flipH="1">
            <a:off x="3456900" y="2332042"/>
            <a:ext cx="224339" cy="262625"/>
          </a:xfrm>
          <a:prstGeom prst="line">
            <a:avLst/>
          </a:prstGeom>
          <a:noFill/>
          <a:ln w="19050" cap="rnd" cmpd="sng" algn="ctr">
            <a:solidFill>
              <a:schemeClr val="tx1"/>
            </a:solidFill>
            <a:prstDash val="solid"/>
          </a:ln>
          <a:effectLst/>
        </p:spPr>
      </p:cxnSp>
      <p:sp>
        <p:nvSpPr>
          <p:cNvPr id="44" name="Rectangle 43"/>
          <p:cNvSpPr/>
          <p:nvPr/>
        </p:nvSpPr>
        <p:spPr>
          <a:xfrm>
            <a:off x="569110" y="2698560"/>
            <a:ext cx="1032463" cy="215444"/>
          </a:xfrm>
          <a:prstGeom prst="rect">
            <a:avLst/>
          </a:prstGeom>
        </p:spPr>
        <p:txBody>
          <a:bodyPr wrap="none" lIns="0" tIns="0" rIns="0" bIns="0" anchor="b">
            <a:spAutoFit/>
          </a:bodyPr>
          <a:lstStyle/>
          <a:p>
            <a:pPr marL="0" marR="0" lvl="0" indent="0" algn="ctr" defTabSz="8221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solidFill>
                  <a:sysClr val="windowText" lastClr="000000"/>
                </a:solidFill>
                <a:effectLst/>
                <a:uLnTx/>
                <a:uFillTx/>
                <a:ea typeface="ＭＳ Ｐゴシック" charset="0"/>
              </a:rPr>
              <a:t>Lift-and-shift</a:t>
            </a:r>
          </a:p>
        </p:txBody>
      </p:sp>
      <p:sp>
        <p:nvSpPr>
          <p:cNvPr id="50" name="Rectangle 49"/>
          <p:cNvSpPr/>
          <p:nvPr/>
        </p:nvSpPr>
        <p:spPr>
          <a:xfrm>
            <a:off x="3631905" y="3128710"/>
            <a:ext cx="1032463" cy="215444"/>
          </a:xfrm>
          <a:prstGeom prst="rect">
            <a:avLst/>
          </a:prstGeom>
        </p:spPr>
        <p:txBody>
          <a:bodyPr wrap="none" lIns="0" tIns="0" rIns="0" bIns="0" anchor="b">
            <a:spAutoFit/>
          </a:bodyPr>
          <a:lstStyle/>
          <a:p>
            <a:pPr marL="0" marR="0" lvl="0" indent="0" algn="ctr" defTabSz="822144"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solidFill>
                  <a:sysClr val="windowText" lastClr="000000"/>
                </a:solidFill>
                <a:effectLst/>
                <a:uLnTx/>
                <a:uFillTx/>
                <a:ea typeface="ＭＳ Ｐゴシック" charset="0"/>
              </a:rPr>
              <a:t>Lift-and-shift</a:t>
            </a:r>
          </a:p>
        </p:txBody>
      </p:sp>
    </p:spTree>
    <p:extLst>
      <p:ext uri="{BB962C8B-B14F-4D97-AF65-F5344CB8AC3E}">
        <p14:creationId xmlns:p14="http://schemas.microsoft.com/office/powerpoint/2010/main" val="137002639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68262"/>
            <a:ext cx="11889564" cy="917575"/>
          </a:xfrm>
        </p:spPr>
        <p:txBody>
          <a:bodyPr/>
          <a:lstStyle/>
          <a:p>
            <a:r>
              <a:rPr lang="en-US" dirty="0"/>
              <a:t>Two widely-used options today …</a:t>
            </a:r>
          </a:p>
        </p:txBody>
      </p:sp>
      <p:pic>
        <p:nvPicPr>
          <p:cNvPr id="5" name="Picture 122">
            <a:extLst/>
          </p:cNvPr>
          <p:cNvPicPr>
            <a:picLocks noChangeAspect="1"/>
          </p:cNvPicPr>
          <p:nvPr/>
        </p:nvPicPr>
        <p:blipFill>
          <a:blip r:embed="rId3"/>
          <a:stretch>
            <a:fillRect/>
          </a:stretch>
        </p:blipFill>
        <p:spPr>
          <a:xfrm>
            <a:off x="198531" y="1090014"/>
            <a:ext cx="12041780" cy="5836248"/>
          </a:xfrm>
          <a:prstGeom prst="rect">
            <a:avLst/>
          </a:prstGeom>
          <a:noFill/>
          <a:ln cap="flat">
            <a:noFill/>
          </a:ln>
        </p:spPr>
      </p:pic>
      <p:sp>
        <p:nvSpPr>
          <p:cNvPr id="6" name="Rounded Rectangular Callout 5"/>
          <p:cNvSpPr/>
          <p:nvPr/>
        </p:nvSpPr>
        <p:spPr bwMode="auto">
          <a:xfrm>
            <a:off x="9799637" y="3116262"/>
            <a:ext cx="1600200" cy="457200"/>
          </a:xfrm>
          <a:prstGeom prst="wedgeRoundRectCallout">
            <a:avLst>
              <a:gd name="adj1" fmla="val -45238"/>
              <a:gd name="adj2" fmla="val -122917"/>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Connect app to DC VM in Azure</a:t>
            </a:r>
          </a:p>
        </p:txBody>
      </p:sp>
      <p:sp>
        <p:nvSpPr>
          <p:cNvPr id="7" name="Rounded Rectangular Callout 6"/>
          <p:cNvSpPr/>
          <p:nvPr/>
        </p:nvSpPr>
        <p:spPr bwMode="auto">
          <a:xfrm>
            <a:off x="3246437" y="4183062"/>
            <a:ext cx="1600200" cy="457200"/>
          </a:xfrm>
          <a:prstGeom prst="wedgeRoundRectCallout">
            <a:avLst>
              <a:gd name="adj1" fmla="val -66666"/>
              <a:gd name="adj2" fmla="val 106250"/>
              <a:gd name="adj3" fmla="val 16667"/>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505050"/>
                </a:solidFill>
                <a:effectLst/>
                <a:uLnTx/>
                <a:uFillTx/>
              </a:rPr>
              <a:t>Connect app to on-premises DC</a:t>
            </a:r>
          </a:p>
        </p:txBody>
      </p:sp>
    </p:spTree>
    <p:extLst>
      <p:ext uri="{BB962C8B-B14F-4D97-AF65-F5344CB8AC3E}">
        <p14:creationId xmlns:p14="http://schemas.microsoft.com/office/powerpoint/2010/main" val="28556719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Read-Only]" id="{28841E4C-3918-4368-B735-2FEE76A3D5D1}" vid="{2645CAE1-4F94-464F-93A7-E31E48A0E1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themeOverride>
</file>

<file path=docProps/app.xml><?xml version="1.0" encoding="utf-8"?>
<Properties xmlns="http://schemas.openxmlformats.org/officeDocument/2006/extended-properties" xmlns:vt="http://schemas.openxmlformats.org/officeDocument/2006/docPropsVTypes">
  <Template/>
  <TotalTime>0</TotalTime>
  <Words>2097</Words>
  <Application>Microsoft Office PowerPoint</Application>
  <PresentationFormat>Custom</PresentationFormat>
  <Paragraphs>394</Paragraphs>
  <Slides>31</Slides>
  <Notes>13</Notes>
  <HiddenSlides>1</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3" baseType="lpstr">
      <vt:lpstr>ＭＳ Ｐゴシック</vt:lpstr>
      <vt:lpstr>Arial</vt:lpstr>
      <vt:lpstr>Calibri</vt:lpstr>
      <vt:lpstr>Consolas</vt:lpstr>
      <vt:lpstr>Lucida Console</vt:lpstr>
      <vt:lpstr>Segoe</vt:lpstr>
      <vt:lpstr>Segoe UI</vt:lpstr>
      <vt:lpstr>Segoe UI Light</vt:lpstr>
      <vt:lpstr>Segoe UI Semibold</vt:lpstr>
      <vt:lpstr>Wingdings</vt:lpstr>
      <vt:lpstr>5-50002_Ignite_Breakout_Template</vt:lpstr>
      <vt:lpstr>Image</vt:lpstr>
      <vt:lpstr>Microsoft Ignite NZ</vt:lpstr>
      <vt:lpstr>What can Azure AD Domain Services do for you?</vt:lpstr>
      <vt:lpstr>PowerPoint Presentation</vt:lpstr>
      <vt:lpstr>Differences in Directory Offerings</vt:lpstr>
      <vt:lpstr>The wider context:  Azure Active Directory</vt:lpstr>
      <vt:lpstr>The wider context: Identity as the core of enterprise mobility</vt:lpstr>
      <vt:lpstr>Options – moving applications to the cloud</vt:lpstr>
      <vt:lpstr>’Lift-and-shift’ existing on-premises apps. Easy?</vt:lpstr>
      <vt:lpstr>Two widely-used options today …</vt:lpstr>
      <vt:lpstr>Imagine a simpler alternative</vt:lpstr>
      <vt:lpstr>Introducing ‘Azure AD Domain Services’</vt:lpstr>
      <vt:lpstr>Managed domains</vt:lpstr>
      <vt:lpstr>PowerPoint Presentation</vt:lpstr>
      <vt:lpstr>Synced tenants</vt:lpstr>
      <vt:lpstr>Features</vt:lpstr>
      <vt:lpstr>Service availability</vt:lpstr>
      <vt:lpstr>Networking considerations (1) Use your managed domain in multiple classic virtual networks</vt:lpstr>
      <vt:lpstr>Networking considerations (2) Use your managed domain in Resource Manager virtual networks</vt:lpstr>
      <vt:lpstr>Networking considerations (3) Subnets and Network Security Groups</vt:lpstr>
      <vt:lpstr>Deployment scenarios</vt:lpstr>
      <vt:lpstr>Deployment scenarios</vt:lpstr>
      <vt:lpstr>Deployment scenarios</vt:lpstr>
      <vt:lpstr>Deployment scenarios</vt:lpstr>
      <vt:lpstr>Deployment scenarios</vt:lpstr>
      <vt:lpstr>PowerPoint Presentation</vt:lpstr>
      <vt:lpstr>PowerPoint Presentation</vt:lpstr>
      <vt:lpstr>How much does it cost?</vt:lpstr>
      <vt:lpstr>Demo</vt:lpstr>
      <vt:lpstr>Roadmap</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7-14T12:34:12Z</dcterms:created>
  <dcterms:modified xsi:type="dcterms:W3CDTF">2016-10-28T00:03:26Z</dcterms:modified>
  <cp:category/>
</cp:coreProperties>
</file>